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</p:sldMasterIdLst>
  <p:notesMasterIdLst>
    <p:notesMasterId r:id="rId19"/>
  </p:notesMasterIdLst>
  <p:handoutMasterIdLst>
    <p:handoutMasterId r:id="rId20"/>
  </p:handoutMasterIdLst>
  <p:sldIdLst>
    <p:sldId id="274" r:id="rId6"/>
    <p:sldId id="272" r:id="rId7"/>
    <p:sldId id="288" r:id="rId8"/>
    <p:sldId id="275" r:id="rId9"/>
    <p:sldId id="289" r:id="rId10"/>
    <p:sldId id="291" r:id="rId11"/>
    <p:sldId id="293" r:id="rId12"/>
    <p:sldId id="283" r:id="rId13"/>
    <p:sldId id="266" r:id="rId14"/>
    <p:sldId id="284" r:id="rId15"/>
    <p:sldId id="295" r:id="rId16"/>
    <p:sldId id="277" r:id="rId17"/>
    <p:sldId id="292" r:id="rId1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6060"/>
    <a:srgbClr val="CCCCCC"/>
    <a:srgbClr val="FFFF66"/>
    <a:srgbClr val="FFFFCC"/>
    <a:srgbClr val="CCFF99"/>
    <a:srgbClr val="66FF66"/>
    <a:srgbClr val="FF7C80"/>
    <a:srgbClr val="C67275"/>
    <a:srgbClr val="43C2D1"/>
    <a:srgbClr val="3AA6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82" autoAdjust="0"/>
    <p:restoredTop sz="93979" autoAdjust="0"/>
  </p:normalViewPr>
  <p:slideViewPr>
    <p:cSldViewPr>
      <p:cViewPr>
        <p:scale>
          <a:sx n="116" d="100"/>
          <a:sy n="116" d="100"/>
        </p:scale>
        <p:origin x="-270" y="-48"/>
      </p:cViewPr>
      <p:guideLst>
        <p:guide orient="horz" pos="2112"/>
        <p:guide pos="2880"/>
      </p:guideLst>
    </p:cSldViewPr>
  </p:slideViewPr>
  <p:outlineViewPr>
    <p:cViewPr>
      <p:scale>
        <a:sx n="33" d="100"/>
        <a:sy n="33" d="100"/>
      </p:scale>
      <p:origin x="0" y="-26227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9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2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9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4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3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38" tIns="47070" rIns="94138" bIns="4707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3"/>
            <a:ext cx="5618480" cy="4189095"/>
          </a:xfrm>
          <a:prstGeom prst="rect">
            <a:avLst/>
          </a:prstGeom>
        </p:spPr>
        <p:txBody>
          <a:bodyPr vert="horz" lIns="94138" tIns="47070" rIns="94138" bIns="4707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3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25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68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505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582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200900" y="63833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314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584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28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25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25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25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7845337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906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5562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946548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081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25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25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971722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6" r:id="rId9"/>
    <p:sldLayoutId id="2147483697" r:id="rId10"/>
    <p:sldLayoutId id="2147483698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at the MBT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6/25/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5715000" cy="457200"/>
          </a:xfrm>
        </p:spPr>
        <p:txBody>
          <a:bodyPr/>
          <a:lstStyle/>
          <a:p>
            <a:r>
              <a:rPr lang="en-US" dirty="0"/>
              <a:t>Quarterly update</a:t>
            </a:r>
          </a:p>
        </p:txBody>
      </p:sp>
    </p:spTree>
    <p:extLst>
      <p:ext uri="{BB962C8B-B14F-4D97-AF65-F5344CB8AC3E}">
        <p14:creationId xmlns:p14="http://schemas.microsoft.com/office/powerpoint/2010/main" val="30714978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 hit targets, greatest focus is on key garages and car houses to develop new process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533400" y="1524000"/>
            <a:ext cx="2514600" cy="5334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us Maintenance</a:t>
            </a:r>
          </a:p>
          <a:p>
            <a:pPr algn="ctr"/>
            <a:r>
              <a:rPr lang="en-US" i="1" dirty="0"/>
              <a:t>Southampt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314700" y="1524000"/>
            <a:ext cx="2514600" cy="5334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Rail Maintenance</a:t>
            </a:r>
          </a:p>
          <a:p>
            <a:pPr algn="ctr"/>
            <a:r>
              <a:rPr lang="en-US" i="1" dirty="0"/>
              <a:t>Riversid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172200" y="1524000"/>
            <a:ext cx="2514600" cy="533400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Everett</a:t>
            </a:r>
            <a:r>
              <a:rPr lang="en-US" dirty="0"/>
              <a:t> </a:t>
            </a:r>
          </a:p>
          <a:p>
            <a:pPr algn="ctr"/>
            <a:r>
              <a:rPr lang="en-US" i="1" dirty="0"/>
              <a:t>Rail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771327"/>
              </p:ext>
            </p:extLst>
          </p:nvPr>
        </p:nvGraphicFramePr>
        <p:xfrm>
          <a:off x="533400" y="2098040"/>
          <a:ext cx="2514599" cy="1559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0437">
                  <a:extLst>
                    <a:ext uri="{9D8B030D-6E8A-4147-A177-3AD203B41FA5}">
                      <a16:colId xmlns:a16="http://schemas.microsoft.com/office/drawing/2014/main" val="3737911795"/>
                    </a:ext>
                  </a:extLst>
                </a:gridCol>
                <a:gridCol w="773723">
                  <a:extLst>
                    <a:ext uri="{9D8B030D-6E8A-4147-A177-3AD203B41FA5}">
                      <a16:colId xmlns:a16="http://schemas.microsoft.com/office/drawing/2014/main" val="1841441229"/>
                    </a:ext>
                  </a:extLst>
                </a:gridCol>
                <a:gridCol w="870439">
                  <a:extLst>
                    <a:ext uri="{9D8B030D-6E8A-4147-A177-3AD203B41FA5}">
                      <a16:colId xmlns:a16="http://schemas.microsoft.com/office/drawing/2014/main" val="4107421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KPI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Apr</a:t>
                      </a:r>
                      <a:r>
                        <a:rPr lang="en-US" sz="10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tx1"/>
                          </a:solidFill>
                        </a:rPr>
                        <a:t>FY19 target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817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Cost per mil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$6.45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lt;$5.90*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0130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MMBF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8K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gt;12.25K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4636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RT com-plianc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54%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gt;65%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5447777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253884"/>
              </p:ext>
            </p:extLst>
          </p:nvPr>
        </p:nvGraphicFramePr>
        <p:xfrm>
          <a:off x="3314700" y="2098040"/>
          <a:ext cx="2514600" cy="1651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54964">
                  <a:extLst>
                    <a:ext uri="{9D8B030D-6E8A-4147-A177-3AD203B41FA5}">
                      <a16:colId xmlns:a16="http://schemas.microsoft.com/office/drawing/2014/main" val="3737911795"/>
                    </a:ext>
                  </a:extLst>
                </a:gridCol>
                <a:gridCol w="804672">
                  <a:extLst>
                    <a:ext uri="{9D8B030D-6E8A-4147-A177-3AD203B41FA5}">
                      <a16:colId xmlns:a16="http://schemas.microsoft.com/office/drawing/2014/main" val="1841441229"/>
                    </a:ext>
                  </a:extLst>
                </a:gridCol>
                <a:gridCol w="854964">
                  <a:extLst>
                    <a:ext uri="{9D8B030D-6E8A-4147-A177-3AD203B41FA5}">
                      <a16:colId xmlns:a16="http://schemas.microsoft.com/office/drawing/2014/main" val="4107421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/>
                        <a:t>KPI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Apr 2018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FY19 target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817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Cost per mil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$8.76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lt;$7.95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0130701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r>
                        <a:rPr lang="en-US" sz="1000" dirty="0"/>
                        <a:t>MMBF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8.5K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gt;5K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04636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RT com-plianc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TBD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gt;65%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5447777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438568"/>
              </p:ext>
            </p:extLst>
          </p:nvPr>
        </p:nvGraphicFramePr>
        <p:xfrm>
          <a:off x="6172200" y="2098040"/>
          <a:ext cx="2514601" cy="118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90599">
                  <a:extLst>
                    <a:ext uri="{9D8B030D-6E8A-4147-A177-3AD203B41FA5}">
                      <a16:colId xmlns:a16="http://schemas.microsoft.com/office/drawing/2014/main" val="3737911795"/>
                    </a:ext>
                  </a:extLst>
                </a:gridCol>
                <a:gridCol w="762001">
                  <a:extLst>
                    <a:ext uri="{9D8B030D-6E8A-4147-A177-3AD203B41FA5}">
                      <a16:colId xmlns:a16="http://schemas.microsoft.com/office/drawing/2014/main" val="1841441229"/>
                    </a:ext>
                  </a:extLst>
                </a:gridCol>
                <a:gridCol w="762001">
                  <a:extLst>
                    <a:ext uri="{9D8B030D-6E8A-4147-A177-3AD203B41FA5}">
                      <a16:colId xmlns:a16="http://schemas.microsoft.com/office/drawing/2014/main" val="41074215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b="1" dirty="0"/>
                        <a:t>KPI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Apr</a:t>
                      </a:r>
                      <a:r>
                        <a:rPr lang="en-US" sz="1000" b="1" baseline="0" dirty="0"/>
                        <a:t> </a:t>
                      </a:r>
                      <a:r>
                        <a:rPr lang="en-US" sz="1000" b="1" dirty="0"/>
                        <a:t>2018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FY19 target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18175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hipment adherenc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TBD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TBD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10130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SRT compliance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TBD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&gt;65%</a:t>
                      </a: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0606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05447777"/>
                  </a:ext>
                </a:extLst>
              </a:tr>
            </a:tbl>
          </a:graphicData>
        </a:graphic>
      </p:graphicFrame>
      <p:sp>
        <p:nvSpPr>
          <p:cNvPr id="20" name="Down Arrow 19"/>
          <p:cNvSpPr/>
          <p:nvPr/>
        </p:nvSpPr>
        <p:spPr>
          <a:xfrm>
            <a:off x="1524000" y="3810000"/>
            <a:ext cx="609600" cy="381000"/>
          </a:xfrm>
          <a:prstGeom prst="down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Down Arrow 20"/>
          <p:cNvSpPr/>
          <p:nvPr/>
        </p:nvSpPr>
        <p:spPr>
          <a:xfrm>
            <a:off x="4267200" y="3810000"/>
            <a:ext cx="609600" cy="381000"/>
          </a:xfrm>
          <a:prstGeom prst="down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Down Arrow 21"/>
          <p:cNvSpPr/>
          <p:nvPr/>
        </p:nvSpPr>
        <p:spPr>
          <a:xfrm>
            <a:off x="7162800" y="3810000"/>
            <a:ext cx="609600" cy="381000"/>
          </a:xfrm>
          <a:prstGeom prst="down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609600" y="4243538"/>
            <a:ext cx="2438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latin typeface="+mj-lt"/>
              </a:rPr>
              <a:t>Second wave: </a:t>
            </a:r>
            <a:r>
              <a:rPr lang="en-US" i="1" dirty="0">
                <a:latin typeface="+mj-lt"/>
              </a:rPr>
              <a:t>Increase standard work, and decrease waste and defec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353729" y="4243538"/>
            <a:ext cx="2438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latin typeface="+mj-lt"/>
              </a:rPr>
              <a:t>First wave:</a:t>
            </a:r>
          </a:p>
          <a:p>
            <a:pPr algn="ctr"/>
            <a:r>
              <a:rPr lang="en-US" i="1" dirty="0">
                <a:latin typeface="+mj-lt"/>
              </a:rPr>
              <a:t>Establish baseline, identify opportunities and quick win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72200" y="4243538"/>
            <a:ext cx="24384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latin typeface="+mj-lt"/>
              </a:rPr>
              <a:t>Second wave: </a:t>
            </a:r>
            <a:r>
              <a:rPr lang="en-US" i="1" dirty="0">
                <a:latin typeface="+mj-lt"/>
              </a:rPr>
              <a:t>Develop rebuild model for vehicle &amp; component deman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1000" y="5867400"/>
            <a:ext cx="838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j-lt"/>
              </a:rPr>
              <a:t>Note: Bus garages and car houses will also be measured on meeting daily Car Count and PM compliance; *Excludes the addition of SL3 miles, target to be re-estimated once multiple months of observed data available; Total cost per mile includes fully-loaded fringe costs and Everett Allocation, Bus Maintenance costs also exclude Non-Revenue Shops and Fuel costs</a:t>
            </a:r>
          </a:p>
        </p:txBody>
      </p:sp>
    </p:spTree>
    <p:extLst>
      <p:ext uri="{BB962C8B-B14F-4D97-AF65-F5344CB8AC3E}">
        <p14:creationId xmlns:p14="http://schemas.microsoft.com/office/powerpoint/2010/main" val="1656827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Bus Maintenance, the plan for FY19 will build on the work done to date to decrease costs and increase productiv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OSqo7NVRTVivc5973JNOlDVuBk4FQmhNNpm2SiScR+JIhhSpArFy5ttc9fa+O9Xq+6dHyJSEBCKhL5Lp7F3ZGhNK1yZfFWEtYUIZ7kOZBz8Gyo19arNzN/kq75L3TZRdV7NHEMxd+G1RwHqb63jJ2WlAU4XF5jE137NIiHOehGmb/tAM7s8aS3KwB3XqwV3GaSI+73eGQ/uXvdWIn4PhLMNepA2VCL+TZnBQTqRPQ7/G3Q3VFYSH0+GIfAzmJ9dSrTR4trE83AvXmjDomby7kkqW1tAlouvsYy2UD/CQqgQLX03ZdvPf4Vj/AzKeQU5UN1oz3F5YCf4XPcCMMtwRIIP0CIVytzn2HxwVhpw4hHYgvPRa3ISXXfBHaK3Ax093rR1Cf+DVKrIKdjydmBE8gyDhXVtmVGU4nW1lJUmhLgBq0XsP9b8PEUPWotvKFyevKG+mo5iNf44GI6L7XG3o3UBJ3CepV8lFjb4yHZgS7yfTomP80Zc9dMbuolruPmSfstdciSHJIr+IO+EecbfOpVIwwX4hYYP6YiDi8NHRob97nQHawJBFvB5dzaMC1LWiPKNRqbYGGkTF2zvNPoNavsHX5Hwo7wq5kCbLJg+A54qHgXzYK5+FXyirk9xmRpXm/FRAMnw43tn2J99tzllLyjc+LRwV5No9xaeZzKD+iy1E92/MiCnAFVst0gg4V0Uf2crJxp4Zo3CEzUalHm/kc+qy0TGIl6ZZG7ZYmY7cVexxUviFW9ngccLDvcgGDaZZytjAluGDqW4Fw3yRwYYGP1T0AcJJiFnJ16GQK2w4AVznzxn3/i4CUBd56Gw3QZ1uj9VeOkzEOtcQe8YBvCuX8ipJbS1JpFIDZjW6bC8LrhJP+bvDU7WIQ7OMtZ81twVAAwRRKOjMN1Xkb8PcZlKUIqfhI5E7KNF3uWZnHzKnpS1etwO1O7gNdlhFpTVbSSN8t4QnLdl1aHNYGctXT4Oj1SRzBX2WWFHi62UkODLjlvcR4dGhJBK6VhhHQ0UuTMTyZ7sXOHauMK6EnMJKA3RAdVcALohdVXrt0cKdKuXuiu1MKxqE5Gvy8KC0GF33+tvrLYrxVfAGbVR59su0iO5PDyOOn7RCtyE5nvvH2rkMl3rBE4AL3BgwCV8id6spb0pdw8Pafl+47gXxbDwyqbWkYTT8dylKUcaY6Rsxytqe6ah8S8fNKQX1+a4U0qsVIsj5LlJQd+QCV237sMOUEjKOivicfd5xuTQBFVHOQCEalctUT9f1I+3V0AxBMaDcFGmTw2OI66Q3fJnl7f/2yRhWdCbX6GDGYWJ1y6zUgmM5WdhRQFmOgxA9BnDUXLFg/pYDenRMWblkycUItdJ6YVLumZWKpru86K/Axjv4duFcbQ+qHzkxIAZXz0TF8xNb9pYIVxqtJiwqG5VL0/pJtNEHn6Fg0UrP7VqjNymzmzknguYAxcOwOktKjKtVw/wOEoCNpZWZenWLB0KrHj5+ODzxWhQ7Q8Axp942JPPhvPidCSVKo43YDJjNU/tFTcBNJtQMHFLNZR0eO4ywhcY+2oXrUHupu9zOi4jC04CSdqpqMcZ4NQkv0GpDdbFY7q14a+fTho4CtZsKPWq1ahMM5KDIMzRwDy3l0XtTvySch0jlPNFTvU65I7KlrV7Pa7OswTZ/OZyS8r3TyTPUavPhVFp1Df8dD/ole5pYpzEpW3MlKPv9Jgs9vIex8lzhziME2k9lhC8BvsBII0YKcaPzyXO18NlZCgyh2QtQmpOAax2toynhVBplYf++HxRX6D5lX4xb6qtHAtFm57CzD38dRmhNp2NnFl/MU+3RsyM3SLlxUmi36m7EKYg0KxH5kSbE2/XO8y4IA2JacEmXpelDYsW7dYHsT2trAOKTwzRCjxO1xfJNeDAFfvc0D0QHEvXXDb5RmwBUKObg8ierHQqZMqfGQyPHUPh01YTF+VlfSuXADTCi4Q7+tDxv2uUPMmCFCFg8XrOK7IaJxxrJHfZWQnyubim490f8rM/aeXu5hhMFc88JKzdbePGc7efaeqcyWybEXUpw4Fg4uJ+hqM0RnoGuwc1hI5g4cxnLNs5/NkRql+lIKyPabS67EdKyDgLIbaU/MZqM+ENWWbXjIwIVzmWwLx7tUGK+i4lMToUlXBZRFFQphrL+72gQe1gFl04EwWQhQS+9Ow77KE8v5vHm2JQHu7P92StszXvXO2Xr7rCror3cve1xI3lIu+tbByzQs3pmec+EpdY5BPC4wfGDYKlgVGGK9j8L3frMNZfl/s2LxrJ3uUZs2Lq73eVe03F+6vjtVTjdNRYjrtNi1Iif+Fu9jiV/m9WNHaGTBR/CaWfRzfOvFxwDv6bHjTnY1IPrSLIbBOaoidrhAUPeLRREAVTbzU47cmliZxuUnWOJyiinX+g1P3V5UBvweT3858Y2bD+HLuq4g119HdXxnSOEoR9vimnppAMvh3Stnr+Sucukr1HfWxGBesEyax6iIPC6e4Y3QiGCcReNjyR5elcgSuXHvfmosvG5Ak4zXuKJUcCDWPDgi8ROI0dDNbTtZfzM1/Zejv3ue1Z6Zl3kPWMMpf9Rqfx+VS+MOTSeG0TGmn3Uy+rcuIMui0ZsqcukYlWErrPjenY/zSAxmFJNa8W0+gz3othLmMuOr/fH9/O3byYbG37W6JgRBRsrYoYmDWA4DKx1K44z76YtU9iT2Bi9XLG91hnmG1FEgZVVuZGzmzm0WfyZoBI8YUwmO00fleoClsMH6sOYp8QZ00GfnNU6Q6SI1i0/IXbZb4H6NP8JvjK+OlKHFJZCNPAZw3JI4GjKTdCqF46uW+3wQRhXHUKYlcW8tAE3bMBTptbsdEfSgkj2UE3THx65ZuIzu8sCos4UU3GMU2A7YKKjeolnPcFrr1fdjBgyRVV6HhX+21e3wQzn94RSsj50Xd/TyGwmLgdVnIfYLPn9BOyC2JfpQJeIBo4NP/zcRXDn+D8KzkAuoDhKH8x2S02EqM0AyFdrytRo9t09fbDpodMUzXUFI9MxMGLCGb3NBVu1yYjE0pcMdzjJnJxXEWdsEMWr9Mbrx/pI8237DuETvITdB8YTqVOwZ5uecsSfzVfqIs7miymOIur/7UWjpbkiJNW597ysPMApgqokezFtVKq6RPXgqgfrIPhSzSNeFGo98nTvX157AP/nLlqDrVCXhVSdY8cAPED8M2EOu4uSrS7GzUSSvFzZJ29fab2tBKS2p1pVfxwpMmxX+Snuc9dHJhPIoNpQmGI3BP4DbIdxWBWQzBAVr3j7Qbulol5+kd9By5O347wgClLvjAlNKxM821I+cO3f7N6YKZn6owz+8dD/r0ZV1xkbg9wyiSFQSuX4J2zd7oYpSOX+3fcOzkTGZF3y8pOtW2OYqj7m4nNxS6wC/E+/zBa9ItAM1u/aUCHmWxoAB5w03m7/45YuwV9Ja1yGRGA+QIoIHU1Oy4ldPaIoBTOwSMmxVHakam6CUr9Sfmp+/W8m9czgdqinoWQzUiTlzDi/4irI+vqFldT+1H02WqA0/PgErars5NCihUgqpy/VydrjVPO/Sx+GJN5DiKzRMqA+csV041462hig/HYhMzEjubTUj4tXTh1HihEAcaK8HdHjE0zQPnBLAC/HcmZlrdbSV7EXZVPgAhodJZTA+WkoddpqBfgvSom1My7EFVCD/a7KggA6mN2xOGZAIrPo7ZbWh7uhPNLhFBTz9lz1Yw3Oo7ovLetkWwR3fkoqhJ6XDJq6DsfuLx7t45HlcIHFnTzbpt5jUAYckxKuIZCkp9zyepcAylveuzkp5myTVZgrCfKc5gkSgSGLcW/ipuPt6xVJ3S2AxyoZmSbR1V+vXzvbn8XFAKnCHPTw9AH4++WDaQGcnFMw52IvSznQuB8u4Dy9hlKp9K95428qDgXdp5/xcqDmFMOmGfdQ6f2nUQ2anDR6m58Vzy1WZPDghofP0NozhgC+V9Y4j5Wsq+O833NS5NUI3tMI3Fx2AHWDurSx96tepq6QLDbM4jEtTvvgKbRQlDjvIjDE3LEBJFB8cDu5wKEmPDK8h1xZvhS9/n/YmAbR2+nwhfnALz2lhtVP823nJbKacgH+QP9XL1L7Q6WSiFY/qmICuUUYoEEzlVvcH+wi+67dfiBlurFHQh/7E6/7jUu+MQwhgoX4NKlQZE4vUMXP7ndB5uPUmmbk2Y7oxew1Ts3TjU4ki6pSX7kb976vqOVrtd8+LW6Yp7LINTW2zYmtnz7yXHANaggKUzi7teocQHQC2NYJfnUW7qj8vvrQeqLounCxyZSHHOUAuDNoqALPPmT938bjqUzr/ElvNwYYTVGcGaQ8/GUEs/46fcUUaotWyWtfc3SZUZHKmeScPrE2vXsqKjd07KOAE3XnDiWzUT0ZuRWVSZOhRC7dieFzODPy4859Thg30/6QOOWo39zOOKwPbel23dOHszS3g/xcG6IOFI0p++kk8nIw31cFhzKygs+QNOgxp1EFfZ6uvGq8jZxCGt6qPBUBs6Ja2B76Udg5E9ROfv7XZr7VtRnjGxc1rjKdDVJxJ6HbeOLegt1Ahy/F8NyVsqh1QCfhmG0PvgRTqd7cNTKO2Q5a0oWhIDfKWToZwVqusV/8jLOIWu4Tlm9IdFouV7r5FnBHVB0lDDrGiIqZnIAyNsSxa4auo5nZccLzNiUhk9y3/sBWZx4C8Qyp8cknTg4QMHWCKtU73mzcko7pp0fAjIHRcrhGKLPXtekV5WdxhAfEi8Ma+aMBVIO3HlDpmx6dwC33i0lYTHKwhHmydnQEAJf0743oHkroTLqoS82NBUU+pm6ZZlPO29OOArPonBUOsOZsDiavRSAHgHZVQtYiR1iSSoq9RvPw5ADOAPV9bojDXie1GteBwdY1jF0VSBKEVkSgwuIZWBzWihaLPZskn8Zng9lw+ErCw5hnOh4aLTbedqYG9Y/vVMBIPsBCornHVq3eULAjAE23I5VkSHjWjWAYfe7h4hpp3ZEf4l7N6H40ulABJArFnMc4DXSZbwp1fuCDNN85kpgEyTo1EnmwYhc7oZVcqyJsXrL+HNeZ8PGrEYm5mxFViq85OzJrgjoDUzJYnyEq2fbWwlmeX9GebUy1HfzMM8XAaacFC5wz0a+rcGKphrQAU4iXAUgmNiCJwu2kxW5oxCrxtIUunYs1+/kGWWUX6P/I43lzEhsxwdC0vMlQStSYBK9w1B6jycfL6nlr+gNfQCjrQ9griytRST3xg9HiZUol5pORDQ/Rle1PytsD4BGbNgjzUQEOsWAGIJLQHFwH2y6s7LE2tDBMBxEQVGze398vg19e90PUhasPNmLP2Ajz68vNguy5nLc/1DYGsRXtfksRd5DXTFXP4VPwmEPGak2JEG4LjupDJpQNQaNdjHB9BAwK0Jd3ZvO//DH88uNNXm5vMPYFVIUVFGB9kNwvnFsaCjzTG1DnQoUNjW7X0GdlqP6NMsmUPVv91Dr02QwRWLJpo/lDc9vDkJbMMdvZEz/fg/X6CTmNHZqnrPt+fMFk0zO7fA/ucO/3Rq/YS/HctvpDGyFq8nLBGb4SXyfbXBHp5t6+qY4UafAKtXheBP6AUio7ci9GWvqaUR4Wr+lhoPyIZXdeoRMTnyP0oaH4JYhfPzrBZZxpjWxU34o0TCbo2YPMajqPdlPppzhxW0LoQbbRhvbTqCHGQRrbnZqwkqarN/qPiAm/keOAllmVT/lDyKqX9bsmHyhb9b+RfcUGUhYZMfHGNf2etIxfmWTtdQaXxqri4jfSCh9jDKLVu7cHdQqOLl8gff+4rxmkmTF8wrho61Nbt2GOdkksqzkjYkK1fiRMMGqPn6JfA2HbIjcZ2AuxEsSq+WFWAz3M5OzItOpWMv0MjLmTMjIwJYhExP20GPkHRz9aPGqJj4TzPPdllfH045NLW68JvuG5gkeBk9GtwGDagCaWxWGsVM7PxDwtA7FgzmKFrC65qxN9d8WZAvL5dw7PgYJFdLW9PG24gQpvG4fpPE9y8sVyWSREZVF5PFmfcDxjA+fLtz9S9Z0BOAKyTgDw3s7A7ZmM1ndf0yhprHL18CvAy1JFyqHiXTaIrNhy5amW7q5lBHZiEOdXtIKmJVPwuiYNssLG64yqmF+M4S7MJT2D00XIdqVFdEP1GlRoSRfRQbWlp7WJ0s2iFuz+TvonhBxtUeQfd0uOWcOOkRtAzOdMjvWJiY2SyeG8vVN4jaUWO7nPJXkCqxyHd1bgTfijHgvT3n8IwKYYGDLvWC5p1afks1K5dre9x/xjaMxZ5HVQMYTbHhcK6uqX3jxFhvE6DaHbecpo9l+jkAJDIXuBWdUoSF510ZJtf/X46VpZf5iucJ4lm7FymWU9Akfy48tDUw3hy097bW5gHqbHxlXXCPCHb4p85NntR79OnXEbV8H/nLAxo8wcg9eUQcpRfyxlTfVswxj/82E08HSjtmT0q4I9nV5lkZE3xyjmPi6Z15wOUFpWp8W4qwxOXZZwlspcfS10BFJ9uMv28hFCwcq96VZZ7XaUQ/4RmfVHN1k7EM6DA57n6fEPLTjZhJykzMl6NeAJ3fcUoqDbGHmSIZFomoBuaK6y5kxRx88jNAwBOWYPolWFUUOSSBJrF1+YhRW8pB0drSPIcqYX7vqGPUh0e1HJD80L2uumWmEWDN5rwEK13xlnh1C7h7D4yAhLAj1Qu4S8LdNYF0g/NlShxdYPE3et9a92CzgCPyO4W/OZvWBdabfcyRBlViJFtIQYEmAGOzgHal+MhviLsxY+FiUMi1Hf2izpKw1FByLiHDE2Hd1kvEVWdrZGQyL2ziVgLzRzBDkTFp2rZz7ASb/7FJFZC9nyoxnBMVl01XPYKkAKqeoerEKWf4mkiKBmCo+ucnOpqBXKEhuEvHhNW181Qw/tm1SrDC0n8LJun19SBf0aib4s5a5+AAel6+z4MSCUKqASbLsr6B4xJikwLhKFXEmMW5taXSE4sBTCLug9XvjSJxX4r9jnJwhcTZC3mVoqhemKgWcI2jZXHb/1+9LD5SXsGJQD7sGjJ8CmhzS83sbPqcUkMn6n9DrIOllhGkZU1IzTDjPc5guGdoXWfcvu8b7D+yzTvILWjSgaw/WF7wVSQMtf/rmpFrDZCIj05FLhavERUfG7cGcvg39ZHRms9XXCAt/croLepmAaN+V7sZYLHiLD3SQa/4v1UJFNkqaZqA6ovqLGP5ItTtGxDX2+rXKZ6oGr3swWU9QJ3o3YmVCWQuIzcrrWQPQuQmccw6RMYDalHmbgRnZnAp7Y5l34gJpzkupZdNJ65dKkWIQe6M6FSJaRmpzDaUMJ89xJ2kmLomLGeCbceFzx8CtwxyLAkNRdpXJtgCBVc3jVIdIEw8WqCAHNLLYHJuolowbJAEdiQ6JUR2GTdrkhLT/WxAcNvgIuPLU5y4sBLeUFsfMShaVXGvewq+vzfXC7Kt2dRrRZgG8Xv02Rppem2WauL7uxfN2mYBSN+s8O28m+MGRB/hYkRBfqf3jOnPBPTrMcl2jtuiLlCi8v1aaNyooSf9uhBbiFrtAVD83fTUrfKYZG4QzP1H70MJ3Io2LQhYQCMguBmjH9cjuh/YkuyGmmXHWyyAfcdnPrSDkaOUfmWHTBnuTaHYEhhUarZvnyiYAaEWCTfJNzK68nNHy/D180IntagXK/Yih7LOJjCPKo8+iq+m6mXE8J9NEdZqlz7uATIqQWInGiLNDeDQt1DawE2hcMFNva104E6LqEJNN0f6xaJqWQLGjDQU/wUMQS5h7cENJWoMgcRTqEGkWiHRag2vVc9qdGqo+Bd1GODq7peVdMn9EDn4CCDPL6pdufHqgkxgmX9ACIFNcbq4Q2L/ENWzgtiC7FEAnBaudxwAH2Y45gF5BOXhpyfbeZU69A8AxSj5InxKnvcCnHLWz/YMpG0ODLCxmnewXDZI5jMY3d1w5KclQXYA/llgrluyyigmP0tnuQbTjYaDYRvaMWhkQcZTsFYXbGk7rgVFn1F4+U1F9v90qeLvUrJHCSXG3YmBOheFd+UXegMWE5mNHL2j27QS0gjeuGa1afC0SJvboPxf3gQmhHwaTeoJcXzFovxgIACfKxOU3+uLg+3B9ABHLUjsv5G8TV/k9RzWqGZwheQNGHVOWSt0nUWenheQwscLKTB+HP4RwfhG8OuEBsxJFVHYZLqwW57QYljuHAwmSQ5A1J5ZDjNfnc5m65OxN4BFK/b4KOD6oyI6bHOzRS98lGkX8Mqe3J68IM7xg+siePEFx9KctKN+lE3Ieh+LgpcDLY9aJDrR9C9KM5KdJFPdki/WyhrV+lG2w+haHdLsBX+fwAPrA6n/avYWtilON0X+nr5UeN+CWNvyhmxfYr6rxYKGLbQ2Y8CmnonQGRqmNO/5uztpR6sSHmguZsLRL87q0Wqz1Xr5+wnelTUuRZl2BarB977U7nCbchw0qyBRKOjTY+WEiqpU34Vfgvys1oMUnSHL/lPEEEkoKz1MR+a0vTNeip8n1AdDgSjRFuy9ODkTpFshE3PQZgpp8NrIU/lnuSBVYS2niXNIHgeRlNUnJiP8W/SSDdgG/zI7CANvZgXz+gHNQ5CpxaPlRYoeLswzPHNTbG97ISddhF+Oh1gP5Zhc9o4ESPQMceyhl947R+Ir4i2gyiJQ/xSHkmV8wZ0vyfsnDUPB69sjmnnSECPVdmplc8ucfPZxz5+6/TySRPO0iDw4xzDma3pxIsSdMm4JowukA36Dky/FVdwN2J5HZwkpLr//PbSxWCNpixJHM2WI40Z4Y/g4w8BBHBJCxsSPiXAAI3csiv4ckriapVyKKflAD0t2vl3O4qK8stCQYJRAxcHgLQht2O8vh7BRVSXjnAlczJBa/1gZwlz1rq62XW8/N338qw3Hlrq3zWbJXkOJ9oVrutGo7jzve+L8AYUBOoMhVtjYyV+1UwocgQlXQzUTD0iXW0L8LOM/8NPZ5kIWqY7eIHlBI+AyfO9L2N9Y3wdAHymGc3RSSChgKnNVUOJc1aQG3Im9gSNwiKCRGVbk9nGtDObIzjafaizOf+mp5etfoDQOGq7DmjY3m0Y3bHqfLSrxstU9pHlk2CKiIO/7ZrrppKTGOuz9LOSi+Pa4kjtQrcPU6mPC+h45H0Bo03iK1ikke6JSUuQ5wg/ma/R8qSkCkgsT+FpK4l0NDvc4wmvkucdMut9yH8rc6SVGxMa6fnfBM6HbENX6lHdvuw8ofXGfIQNxwpieLFhtKmfIUyVp9LqTHwlWSSBcqe2sVoJHmJG9wXJYLmZTLxU8xL1IMbXc5/V95Ejg6GLLFfeUgZea5yupyfbN+V98KvfB7BHZOtcdHSbq0FwR82wiB3TDrDp1N2bvvyiJ4ymS/lPSevRMCS7/DMds8Xg0bm3MmNbPQewmRHVdUAI5IbBkl5oe49h7bH68JlInTACSvOMThCtyasxDwncegTczptnmj07C+m/1/PDleSwZc7sOS5j+Bwc+QgmSU59kYNmX5vJaxQQVfbNupW8OF9SmSXNvVkRUEfvyq+qGmeKiIahlFZsn/XuEh0Xof0HnUxxHCRvfLiN5nlpt801S264H6TnhuuRj3h2sFdFmp9fgijmOIxnrF3paiNyS6wxl0gnYZLeTfOZu6n5T8AO4jPKpKX9pzmGizLx+LYhxqczDPwd6MQfiKQCyoae4QXW7AQ1pggGv1h3R4+fJqqVAGsdI0fl+lP6I/z+oyImWIrRlqvmgIF8GdXPa1sF28W7DkRNCbdQFSHBVN8nC6ZKVRqLraQk+epGC17qtHtXy6gKMdnan8/SnZl508No6SwkJghtZ19KIdEcQWyk8Lbv0+1gMJafe5tAzfA4Fo5DCWQEKfUs54ELAD3ghN5adBAnjKmlEE51zxYSRmRW6h9/Vg2DsyG0h3wve0UyUHYHr7u+XH1C9AZX7a9tdic34vk5DrjIpR19yS6dfM3YuJwA4NqEywWj2WutL+o41/8klsgJLcILiAOLIeYnxmHTJ0YIAGpY25oVtyEU7peCeUmVCegGIIpLaLAylZQ+JKM9YqumclF3JK6Smw8PJGPwMjgQMn0MOEa8hIOwmRSWm+0zRQx4BVW4GlorppG3mGrZ3Zs3yt17S9WVsWTxf+Trj9LffUkbWiDQBldXaXX4zgrimmbOk1W4pUjVg/6vKxzb20Tg/LyIbILgd0E0r+lFJbv5he9/1EYAAIaWiwDfNJuzgPZ3qV6Kwv9XLmNDA53rTXXcGkN5XOQrYLuDZ3g3vZcLuu6sNODJxK7wMozhUODNKuccxibRwbfEOGK99xmAsc4SNbRdjZCAWPCuHxS+5oILECuUwx7FYaLbO98WqEHmt/+xY9sVgRwNX2J5LOPtlizKt+b/mqyVjBC8jQBl57syr4xMZs9HsUcMWxComD4ydC+VR9s2IOw4HZBN06kuCanp4dkVMetX86/G9TIAjwTjOpU9ciwVXk8n2Y6GGFtLNgUrjAINQsilI3YMlprXXILZtiV6rj4a2Dxv6Od2ESZKZMRD8ZmkUvmi9RsjGm8NN11AMMUCXck/43rBEos6BzJnOT4m3WBftlPSgt97s5efKQ3pfT42bclKab26XBvBX6HCYX2Y6o8I7zK80JDwZWq0lRyL3uN3RG5i6LGJPVcjSQ9KVhxO3yt9qn/LoHopwlwf4VA4ow8EennTxzUb92b/QRVeR6CZAmbEJ5yrfquBsI0InhqGa7UzLlP/eO/SoJycPQ3P+Ac3h5NMUg1TbAN4W2hL5lifDAEGZYGq20GtEpbolBRpPWyVjcFvPhwoGHK9/P0nWhf4E3gxPRMAU0Spsl8m5kFZQlsRZDgca1q3dU1SF3Zc9YeS9ZuGpnyWfDfLgA4AX0KIh/PPxtW54MeLJv/fRxMek9oioypmb/uGWtoKmKFK4FDAqzTJEXLwwvY+jWV9AqpbVtP98AyeFcZuh1ONUT8JppDdDKz4VDobtjN2hLmwu2Sq4Uchj22zU9uoGS8ReCOMiTb1LubUJGfV4OqpKigfjkn0vptCVoisj1p0OlGuQCiEoMR+Z0w6UIiVXmBjAEkqfEpVFZzVuhGoApeYddgIPl6SAoDH5mHWT5fkRPs+S2eh5GB0PcUHK4nRQG8kcrkQml/qmtDcUAOPQm1GqoYNBw5opoHFS6KSj3Di7Ye1m/UD9Vq7Qqs2ovwZY1893gtCPKvXQL65TaPd+KnKQUYKxmNKyk8ZuMADfPFkWUeKhDZFOMwwD9mheQYLH/aROLrjY4nDx4OVNR222GXhvlF0ike6ADBXJGKMEmxl2Va6sf7f+44S4bZasc4HF2EAQnVDWwM6eccReIGounc5asrVExqwwbuhjaipfx5xLxVz3ld+Vz6zISNUCt43zE1/XIH9dkHqIdTpgUInHd1159xbaNkFdaW06eMqiczibnZz2jvjkbi2Lov30GjsZtoRfLPs9lELXOHdLw12R2NvapeUdH+eCB3B2tdlvqV+5Cj9kxUXvfpGKtHTBbhFTLEVCHDT7EqsNvgRuuCWcW2Ov8PexVMBTqnGw3S2sfF9NGRhuzTjMnMtv6YAb7irOILXxX6k+K5sPQAvKHnh1nHZ1nL8BgElpWIkIRhTyiV5vEApAzzEospVsqu/erxC6QBXlbvbBbf6RI87lTiD4JF7h+8se3RHlPeD+2fkTangEE4YWn7PqLsl8wfuwOR//s961HAELBLqu0esZa5r2CBDY0q3hXqrKP+9pQokPwoqSRcdYiroSCikyYb6VF7ioyxXbVjs/wCjxgXwu7gph/AObtVx70nLzqM3owMuJFBBr1EHejNpbiIq/FtHavSTixue1SnSVwKYapvmFvH9TGQnBJMdxhPnP7Tu6OEQ9Py/+0dr8jZz56aZqC3ePEI3qtJm4yxhsEOwRj9C6gd8yFI8Iytp3LdrE/K00cE8EjSp7m9dRh2BOIiT2JjTiKlMLbzFgUyeeiMXssK4iLUZupycDEiwE/+6Qv4l5CpQH/G6p5oTf6VBnCz/Xk7vaoaJNS3UteWG9jnZetTOUPLOPMsNHKno8Pl9Ek4JYMIWwIWafsHGNmWY2rEwHjO8mo7r1AsqesKEjbJ6VIkrJ/ffO9VTsbU+p/Fa7et5DjOEaqMwv4ocbJE4WsfB7+JB821+Ne+JRmQ5ddhlBfV0fC2zeJ554tPVbdr60p1rqZY7/ZzxoZyMJXE+xHZG+Vvkao0cKvWLRiN7NDdcwzhDyrJ+EhdTw4Yc6jPxnrC6kUmMDQEF/7TT4Hg4C6HKNMPX600tXt7MJl6FImvxj0jef1dXEJT92b1WNgPCvTCku+5F+IBHLI/wc2W/TpSeciwcVki7FS/8Z01+1L00MDrZOa8ghJXFVMbOLI/ckBOXKDi8fa276p2jpRRSDezz1GtyXPcwuu9M4Y0Ck5DS/TyhB/hoB9zIu1OqlTPzATtU8dgxzK3Yv/5H24mxoI5rU7d7BvgdnK9VeTHCv3349e1yO5G1u1ZxUV2/hIAdO1E0yMmuUEVo8rB2evbleguCzP3JcykGG65ON0iFqJ0sB9qxmNX4V4MdXvd6wTum1nzRgyIUvobqhVBcpHCl597I/xnQy5I1I2ujcdxlUV8+IWTs+BMBz+l3hthnmPF9l2VU3+ImztJTvlMBv8OjZBHfHyiEHlrX9wKp3sceIvacsjv850IY2I7UojR1uthZpHbCOyCVYQ1Cfa+V96sMq2KhoqOsKWGFz2hKvYkYcXf7znX44RYnyKDisVr959j7e6iZFhB7CAFX3mNVz0q66ARXqqYX92CDSYI/iNAgUDao/79WNQ0A6JkCj8zRijnb1KDy0T9asj7+//jr8mK+gh1bhviSepiB+ELFsxXwK1lzzY3eAIZ5wKrEJ5JlcKE+SuRyvZSXD3qCuj+xSMZ/1ncI3Bj/gh27813f8pjt2xN9eGLF14XXTeIoKY8ZZNi2j0CC74Q4XEOorrSEVGzIWaaj2BR4XZNPTXtalyU2a0MuS98r1H+oST+ZpeDaOgMip+RMOIshhZWTcASfvH3yg2H+QS/o1LrCM/zIFZJUKozghWn/JQQtZdi1zFFIBO7l4s7MNLqdfTRAAksykko0s19X4zA6gCrWVDA0Xw3G8sao63bZ0N6G5xwoksJn332VF5fJKDnkdlsqLcgq+l9f1dfnKOG4Xwoe3tFdFZkB85g2rLzPjndxOni/GObDaTB8+a0l9sA6NodVKaTsGH4y53Y7rBts2iPkICpJCfyMJTI8p27y2mQEPm4czLMRQM+aIOT3VBW1aMf+KRbr/tfWUwYXpuLuEFirihNxO66MD4v8LqJ+Q9MQnBqCXfNT3O0rnekW7bVySfgf1wSR8HfB0ZoCl2y4tfXw6AVpM772SLFaCnlDh0WuOddMpI4xzL6OStJG54+hUqVadpNE8kAWGon8GK4mGFLmVDDfxnASQsDTEDYNSNaZs4+H0h0sGd0/z5u3KNtJu/tb9+7C6HgP2NLO8elVBrHFaRFf4Oa0aS/iYNijAcAmFHkLBkNdMYfeuttG0joy2SdDQs4Ik3Em9h3dST1fkB7YXME/5HrlD52/aUB5vdBGeTlonzpRlWcIP2ZMd+de9y6zBXEwmyIVUOXjWPiSuaO8rgkp+AlO4uTPIw3LWqwXXjx1x/hzt54CZvj7XqqNgEbAdn59ZRF1GB+Sxed5H1QijMz63T4kwm9b4CvPSAkVJRP3lIRuLDx+S7gMGNNyv6eH5BnH3rGjZAkvjAlAHDT0tNDWejVWcwtTntyqmUeYV72Ez+h4tqOFVucD96EV5oJ5q+eLvDeqBpdAA8BgwvPnA9emBATKpmLfAG362RmibyZjfu9zL+VLlPOfNfHDWThq5tY0GkxssCXWihaT1v5fW8Iob+g9tcjb3TdeXcUjaMiX60EUslYRSjTX5v10wZw81APwkv0wx9FOgyVmCGP2jUYPpJasn6Nu8PjXqAZM7odVipM1cSUyHuxiGIMdcLx/v2fCxs4BvSf11T07nzVwOjjhMRC3MNMj5qBc/aZBcd4bYGVQkjxHbUZntmVjDvE/UtQGNEaqLaBBHpH0cp3p3naPzSKrK9eUPR6t6VoW9xndwbiTN5AXpnFV+YW2/9geXP8z3SDEtJ4Zt4E8qr7AEnuy1FDrC/mR+A91YsMDbIv8u1P/sMh//uVkcjz5C49U9d9KKiAp750p2bdJopaa0ji6tDq0ktddWJuMcQVEDJkVGE98ODa9/pp8j/QVoxqwH0TWyDu6zjMVvws8Qy9JkkWk8weH1ARvFYuINAgiz9eFTQjxHezN1isjsvXGO6JQfgfV9XUr4M8rSOMKxhfhg2y9LLqMarwZkBOIGv/VVgRPNl6OSK9Wjz17+wtHCNZT0yvlSBqDGKONHdCcfZRnz501+G3c/l5USSubVsrJYX9snxmVAmN5pbxx0/10FWOFGx/niBiNh76TuE268x+qaaOst1Zuxkr1tf+n3Z2zZww9Ozl6HeKfsXXp0dCcYzgv2JDoJb7i2hGntz96b6FZESauyMHUuDODii6VbFWsOzLNZJoEl000cDkcxCF7u+XfOFwvyNuUlLdzVSOjVkRBqZmZPHQ0PUfudaTqWA3hJzoIMHr61SfBRn/VA+5N3BYM8ZIIwF8rxoLu5CVEkVfUyVk3eRLA1AwH9oK8KH5oht1m98UIG6iGKUw3JrlO1D5LGBEw6DMcukaKiXRToPG86xHwq83K/HsgICb+RZtIPCTCFOqyYsNsmuu5LBa14JO6aSoD29g9y7R/Y0a7dkF8CScftZ/W9gZECv4lcjrCvTsG/yTemlhXlVfEYWKeUe2s+uBSzNSZ6e97w2wKYYZUxbAEJiOwxkDfRYhIWG0K8H7PtG6qXznkOuvoFnfKM0Lj3dqxpgCFw6aeaR3MqHH7Kf+Y0kmFh0KLq/095JZEq9VUWgWqwyJBmYfHiPBmJcBHbIcXNhpKPTpUf2r7Y05dfB+rfgbyOim6e4xEKJ973RZ9pYeoiva04XxTrdd5zt4OM+7yoOCxkftClPsf9S8YO63AvQZthlUwOpMR2rqxVfzjRATbbx/q/1XW2PgZqVCMmOIoiq0GcuC7Rtz37eHCZ/HDWBEq0DwGS7+fEN+PiE3iW9T1o0mSV87CRmNG6RmuFZmPBljeFM3O4HHzNEzWGjx3W5PPrhekUNLTN3wLkISGKDX6O/L/s1KunBLU7lhbIqm5YBt7JgQ/EMb8Iy1DfQgQee3Br9Pi0P7zyDBIJpagHmI23vN/r3Pg5xFzISl7tXUoPCTjUh4m3epgq76S0QqWO1+2V3iYsHxqGGb3UuNdTTduTY7kE8NBodhpyAAAZQnYdpUJYIMmlC52MakV3t85ipYwV6V54XGFwWR1eQVRtY0wIFLQzPPwCw8n5lxfEyLH+ZmaV/yF0s9cvYwvpe2/mDbMh41uzd4qHVg0T0RFyh3kjYvCXWxCrp1qQ36XAd4ui4DvF8zEUJ/+AP2n6Zl/KZP1W5E8Esg9ctgQAAdbw3aVJ1HeOv/r2qBh9f4t5Cb+yKgEqhKCD3EiO/lD8f1jxAzAu4jy4CbAtjbmW9XIu7R75nBulpAOWUn4MSnfX+DPO8mvZbiDFFTLVmFZax5FLRQPDqC+2azY6JLh5JX4Vxii+Ca+iPDd20Ue3FUxRHFxzfLPZ1kUE8lM8PLXfUiEaNgqdL3woLhM9oilEPniS9uBmLpPJb0kZLrk0yssvKroLgORpi2Gwy6oRhh3McZEveYmXZxTchL9iG43n6k/yrNmmiei6J/DSgisJE3l6dbmocevFDIv30UMJmb05gPRBWGNAPA2n7ejCVx1SYMj3EkS2t6kXuWhFr4DNoXyLCAFXPWjMsTbmxCxJ+SyCtF+Mf0zPcIpiHozKvYgPYj/04wt+PBkdqkjQlhZ6KtN4DxW5O5d5SOsTtCsVZvh4TQiRdC/AFBZ+HhzvL8beIJwuxLxQ2p1jzM577spGjTbdmFYAGCE0wC+8JfYuo6+6zmaSgyh4VVtCOefqEE/NuqKb6U6kOL4oK9eAESS8jggAPGqLbR5YTDa2BTKAAFmqP3J1JHsZZbp4VkWmwwBsOKYEfqBnQWjB8+6cDLlX7/wF0Lg9SdSTsWhwSgj7NFEERxrDKpa0tfbnpiXZNsL720MUPauQPdvWF5T+5hU/sx8GaO25/ZwCyLQ1UM8Orz3RhDEmYVsu+QwpjuEPWsDXwusQHOod+yk2gB9sEYRtG+MmG2b4nGGbyLdOMLjgYwU8IXNLTumZskpuDsorRMAu97VJgpsTdvA5MIbBLExm5qocRvY8sbauWLT1yO2NpaXveYVsyNhfTyXcJNUTK2v0/zrbGWh7WHOCiyUcdQNX1t7eHwCKvl4YJzRFEMTHJpAOfveBH5U2tsLEtdE0nsx4VXB1jgeujr3AhO3WFtkW3bgNgk9gQnHRyxmMOVF0nyyp0w0wKjLI7GE/QsLqqV+4FJb07ZjkxMtJk2LwmgT3vA8pJV++TlXjKMCU3hHUsRi+YcPrEiwOV0V1mR8zBU/Tumza0OCchXu3KOD857oLQm+HM5gnPLgChypr3y3LfWReXDfvFMHz4DM8qjckploQ0qbQbvYopiLpDS6Ir9I5lS6Avpv0TG2FkvFr4lqczAtnwGCGZ6jOW3VRiyAxTOAEmWbFsCTTtw2RHNWEa6S8ywo+2PRqjPCOYJJXkvdw5Wg6z2aXyB3cIh8G9QZOYTMQFsSg/Ow7FMZYMCR7CAAnKfVCIa/cLQkyUO7V2RAoq3571XTzSIYvZLwqnvXUweyKOvKpIECI9q+MS4so6ZmPgBv8kA7qDeXWkNfox70seTxn+06qfjUX2MuPnhon3gPbugtd2NFh7vBW/HCthOw2kziotgyAlWnxdUHNN5KFSh5doEzxLa3eIr2vhT+hgyQgpxfKZcwQgfUzxGp6fY+0tINjN09UBbPMEvYFAhpHLgYzqAOrFK+X05FCDuDtEt+/wzVQtmshoEnIObG4wo3NTpCXLLqQFKogN+MRR/AVTVHd7y4qHkRSvJ4pvfxM8jYwRHzTFKjJvilgG4/c2BK9YRA5snF5uttTXS9W8w2VxQPn57eZah4L0tK6myKO45bxr/PKwiD8v47MBWDrAVUQC9Ki8FaS+m7IaMmXhqwja/WL2Q4Zsj3O1Cv4MPev7bKq+MkshAmvAUPpJtkP2zRAgG0ZFyjebLfurs7OuTBzsQlLpYd4fftbdf6h+ZB/qpSlPYsxq/RfJJjmeaMSPScUdZ+Wsj9MwriCYU3ZOcLjQmRyFJv71J3DpZ//VHOKSCK/2+IX2dGuJr+izMhVl2ZMTUCgWiQbGOKxUo94RENZ45BhfdTds+/36aMQzTj4xxkwdPpLrxn9MA4p+ysxS6MCnQ0vMVsiZeVcbZI5C/NkXOHipRdGuCrf/dT0OQrCOh/hZ+WPhG9rYh6/d3zY4h1RQk0CSWQCLpP3ceR6snKkBHB3xOZBa3I9KT6xg3lOLo0Y4zHJBAucc0tJOleuUUdhazx1fsC9zg9Mnse2JL+ulY+js4lib4jjACW0ZXh8RPSv2HB9TUcZbIpWpAw5xpAcJKx0n1xSTuOwcwsS1CzwQEr8K5fIuXeDLFulOG/yBLipN+ohrY8QCxvVHYFHEIXz0T1O1UMGGkfJFzAHezzFu9YEael9eQakt8Dx21nIkRm2UdMJWBQMygV4LylJNSFAiVSvNdlwo1wckZYgV2Tm9519tLQH8PzA/zpDkFItZwkM05wXrsGDM6FTETvBXro/fTL4XkdGvFfok4zaNmlJnqEou3Thz58yzFHtE0nkUekB9kaUbNBH3Lc8biQxwqMJlxOYg93EZzRiwTnkHc2jUFGNVk5J281HiQPXr485ynXZuzPg8NE4ugX/Y3j+xIEg7DxytqbeUgFVX53yD0Gj9x+lwob0VbTZ9H6J77YVcpFecz+wAF0gqP7/9p7PtPS5clUNdVMCuHv+Ptlxp6eQSAg2q0vUUaqxCrcnOGrILkOUalBIIq8hVM+CGiPoPCgUlelCeUP8JS3kMcTV+JW0pydI2WpQTjskzc+7QDiahWY86shkggwi1a3WVhDoEtIXyB0bHkUxkLGqaDN1SM2fuogI7/wehlaDIwRLcEbpR47La5WFBKJh8f14Zawe/VEGyxijl1HferXHu38YgtBV3UK/cqjcYqghN2UZ9gGval1Py2Z1yaubYZJwyYoF5suS0W8sFeQ95Iu5VOv2oDCrAIOM7NcPoeMedboaWvcWnKGtmHSGXO/AIvmBWPzY7THLu+oJBl3DwClQMsvf6p0FnVdqq6bVI0qutd3uOvaK1qFemJxHtglqUIiXUN3xnmh9vuSvXG2lajq0WPUGkuEjHisioI/xvWvuhY3JB82t+CcCyfZ8LGzY+aQGRj8ixQj5U1M8FYY2P9UmHThnBeUZiP7tAsYIU2guUzBPdcYYlsuDjQ3CXHKL6a4ygIeN/HXmHCixhnaNp29tXQBEkc/BUINmyPNnPf6bOi6//gQI1FPBhmM1g+V6US6HcnfpufZlYSsbGK8gFdMmcl1iFM5jL9eEeRMCRjWK31tiZcyfsf+uxGxVdmb0NFwzCOnb5b00nkcgYVLsQ+rJhm5pG/LedooWtTeebhm2DnPSUtXO2X1MGI1y2L9s/H2Xwj8WsMlXDQ1hv+dWOOQIPT9ormsttzclxSBPJVshV9i+VtuVD1BRMaI1chjh3Y11h6Vglolo9VG5592jrI7oGgUyaaoz9QFYiapl8OaqSfIyFs4N38QJj3d5Qbq6fknG+8Q9KuLh86yecmymAZ1xrLn5lkyqqmV5msp+qFQ9rVcv/wPZPWc82xLRsPVxhe9bEMNJhiFK3Deuxnfr4jQeDVRXBoNAxMON/sC7JYCOpxHlLJDp3l/4IubTyx4d8pA3gvTF+Pw0nBfCJWd6jWdn0pIUdPH2yziYZMAraliNtWzR7rBbfjUuODgwWQEQ2biEzYBZJgPJn0Ied6kE2ZtNDOvxMnj4PJrpj5H1Z2vG/MdZRdE5005+HC0qCjfW3rPkXwRh6EFZDL+vfxqh+Kxx/KGhsCSoLHy9494xnNFaQCB8OjqbrVr+ACwhhugv4GPFCUX79LOp+T0L0nXj02QuB8t3zEX5hinqWpo+IokoQIiFrQQsgPBDHWGYXBM8aCxdUVpbZ/DSBZ4qwp7vRE82oiD3Ijr1pxj0DCvJ1dIrC50XBX0B2/viNr+XT2Z/TaHNPGz9moEIfzo8Xj3wsmkS87yapKZ3SiehyLxfU4DMHl0R4N2m0j/FQHtASniB+VPNvP/mQhXJouHAZk+Ir85MAzqER42k1ruFNIX7BnzgckOG7c5yIr1ljgmZWD+8/kNSbesTkluebF7Qil5GY+9Wd23ah7vpgmAVw8RGa7BV7pF5vbdXjShbToZCPMhc3CMIP5wB4zdPfty5B8mOPTtjYSpbixuH92A2QKLn5/UFxfPWVeMJ403vVUE1Vh+3j8isxrxXxLRe3+RmiJLZMNr0yAIMi2dR0I9jYT15P4mMeeca+QLLHYyWR49BmwFkyldCggC4AotDQhAEUe9QnZ/AQQaxCc1LWv9xKHRf48R9uwX4xLb8KZ3oi5eiB//dA1uS/E5ZLwqXlH5SZNrUGk10AULB+P4nI2eimXYT34G3yDTbLn1bHbYdjqtd3eORu9XcKsdCCw/H69TqD3o38KccUZyWdp3LHMmFWjI1CQRSU0v7AtwDuJurYBv5GsN5kAy6PLEqOlLjr/bVGdx2jj51k1lvI8/hxB9fDQQ4rza9odCW7zfVGWqfmu5Ea/qQzTZVUCwgGQkHYquw/vObOZSUWnSxX984Z1dd7bmdAf+Vhq1f9GBqqyl8+z7n29qaB4ucWbIsaPkRmEYnxlr2qebSD5L1+Yh4BRwu0u7dwGZH56A8znda6Gd7Dya800opx5gH1j8wSXyaNHF/6gANKzrPaqybxovD0q3WcrQcQcKFZXZSn+SkJLz1x3yS1HZXiHc9LxAK21GzytiUT7jbnJTYJRjEcjAlUwvSWbq3aiN7F8tHahmwmWrhFz1362aSrdKELu/eZPFXMtrUO/pynrjM64X7GY0N++rmlUn4R1lxuKR5GjwuqCExCgYWtnI77VokAgLeZy7U0n9GkYihRWiJxuOjbRKevqPM2I23En5EZIaTCdxlTcr58fbTIUDXGAt33E9CFFadAhealddVpdziYoKvfyYaFjSxeb6/yEvXYHEkmSYxttVaIFHSO+NZzCE7yGWTA8R8XYIs1+vOgBEvb7jJUMdMhdh1pyxB5hvFe91R0mUa4+Dj+d34lqheGzFiDDvkq++P/c5em05/YT8TWH8hjPLI68QdcBJJz6ezTAKzyKGI5d+wFPQu47TsSVFqP6W6WyKekW1ZFrrEsQ0c2Dfk6kUTK9hT4Em1yxkp+TNhWhWH857bg5Vq5DsL6sgnnpeKcJ0cDThTCHZBJJ+7qEz7W9Q0nP40P64UzvocZWr8bMIufqXln8utl/BDOzD9chDRBS1yCTONR8fHDbK9NVtFAK5fdv5XEGJGi+ERc5fsDp35oZlJB7ahWFKwAlYNKeDyt8JfCNL7HYYp0j45F9wurp49csgM0nTliPmK1Ac58ELocKYDHyvBDIZkUIatCV+uFmhoByYFdKX/HRNHptegz7ZugwLKY2B++iM4iOg/Q0R1CPOUGP6pTEcLcaxUdbZHI4BKUBmmQJ8pxli0MJkNzvQsS7+cuZw+b3DoKqY3gZrDVba6N+asfZxQPf3ndrFjfZj6pHPbuyxTrTSg7eoiGnj4009y6gM1CnHNInylRwaqqwk9TUoLw8B+fP3Sjasf3ZqU0MA2JZIEvJyDevuzPCIu/nnQghp/5EFdVuQBdS3WDZG5uOr7LJfkgjYKGyLHPVPJK4Up8BybPz9ePxXHEkSAydLIylkhAXnX63eLAKVzjdYq4JE2Mr0Zw7mrHL36zl+O+P+UIli9HcBQ3CFpVBedl6gM+4XU7oxTYMSP3tZXbGhRvR+aXh4IlyLGjwdIW5TWzJMr05TP/oArtkh/tPqLMOzbx3TpOAL34lhGmMTozVY2eJFaljF6ljgg3FO4onmOzRShZh3uhnymrhSGPralcgjq7SsNz8tyL2/o3mecgi+sLlrLNXyKQlxMGosQ/kGjlCr17tGTMes/qzJp4LS8zbA0qEhShk7HMnxgonB/QrZ/WOlA21eh+1lmQCyDCsWZqLyz5o3dBwqySDzxFQtG1PurVJUPBUxKGZA7U9rRlevqJY6PQyz+6+6DJ4JLm4Y110UmvIRGtki0fqhA4GCfmOmo1EeWmVWMfOFasMGt2TwRkb+UB/veS9LkxfXZM4T2FvzLmKt69UQdcp41TT1SvjjKcyZ/gBeh3L3s3Ei6f4jUj2R85eBYltLjq7TVAOET2x1oZ6NqCk9XPM8ftDnmybMYJqn5H+W4UNxy3ZzFs5QsPqVdhsappwjXZ160wPhKkIAtSedudppiWcr0qWgdXW5/Gt6h71msIRCboyI3AsuqFPJkQPxBOmM0UCY7+SK4vePlqSaoPhjVIN07Kk8wRMmYpXuznYl12tfX4uaggaIRKxvKHGB8cfvzf7O2STADGmFrSsJbw1g1xrfHUBL94ttEi/7S4TulC0h7qYAaJO3huwjWlrhJ6d2LFagLqd/VXqLz7RhGwnGk8klmdAJdRHAt6GxhGI9lzLO1IU6/SbxXVsZKm+4tdpDs4tOJFZ3IaMA7j4J2rqz0NSStiyLBBbaS+1wl4F8pptVlecoxl8h3ko/TiYvtfg5XvFiVqhlLUBPUgw8RnANr7gRX4cE+6W+awhOBQAzRlmCP3g2sWPyaic1MpULAy1RuE6bireKS2oMBDuTGLe1q9qHwUBzHwC88+fUX57b2JSEyE1tBMsy2BHANddLKm5M3obOewXjTbh8t75+MVV3ayiF3ZabEtjz5ZoHNXNlHojJHIl1PZnIbRTgAVClCKCUncLI6y1C7CKviGHuB4JfkyTOfqRciaJl1d9fmbWQWwtKHZx8hQjzcfodrrQjwvVQTV3KTqhnAjVgIkST9T0kri5dGL/dilLpuHi/R3h2MeYVtKnizMQpWHnr+Z0KK66dBGlwlPcQmWEzaQxrw+G0g2cm84cXdC+3IzGWWAFu8FGq7ONlkwu2Uq1No4vxIfplesqAGor5qcUUZQIegr/0Vf0rG4AonVLZ8mdKHbDawe8SvDA6dZt166003KsvUTPvtSy55z06b7FGgal9QGJHw1EBIuEjm98Vt8vqa8Qs8Kudb4NtPv0KI8kEp/bRKu2DACyUA+pF7arJvkkkZIlNrOE7eHyGON2i6MozUgR5aLje9gvMQbtZ+9otuprI9jxqv/iZjOOSjANg2ufLAxHkOKOf1AHGBhuQNx6ze381B7V7xcgVqvIQaLvyOlbCWUr5/1tqt4GMs1vajUllnFgvyEaFQLkpoyIdaJJ3XjOJSJA8HVLaOV6UZHbWkjVwL7VkhqW28t+LXoNsTEhp9Hwibcq5Dx6gjl5Emzy9Nv/BCQpdqZgxoVVzZzF8D3Yt0TA5WevKjM1CM88zoDbiMfeOT8wPGPzR7RqvWZ1bTqXuo0Ln7+5bxsAstMVof1KBhmV513eWooTZ9/T0xHtXlHWVTifW2BBTYyXRGTVOde6qArCSzZN5mYQIwS9P9dnTfH7E+kdXoeHz7xnjpTqAPHSt+5PNPTyz2GF5CN5Lr42E3Tf5vB2Xdm91qPNO4hfAPDaYPG0+4KYFGdD9O5DHwO4Q8HYv+ONxc0kNaKuvEtHhEivR9Sz9/3byDAC/MfEFUpJq/Jy3iMqOP7UGaQyr3fRaJF4aNAPOhHPHaC2kehgKOyaJxIFM5o2KCS2aecak5NowZ5Tk4XDYcl3FkUgL8zkC8tsM/nfvoNn8BRsk77vOv6jrW9m7m43isoPLGJPFACrUtUmbCu3rj5S0j6mt6KFC+ucFmcOJTcmfwDywvIqSK7P+nhIiI0CPrpAY+iYkMudrYxvyZC40VryaOhNZl/Qu+4YWD7Tmau+ZlPEkZCY+gJnT/ug/8L02Fw3MJ0aimqIxbHpQwi8D0XIGKKwjpNl923Vcjp6agJ/IWvBLUK+/LoJv13jZMxgODjWW8JCjrU6JZxtLxQ+n/5NC5VPJjD6VYDcSY1mmZz8ZUt2KqOnNEpzyECGfyiThmE1ok4jmWWdDHw4oBUKFi9gO7OTCFUoKQDJ3l4mCuNzy8GsjRzpAlR3yzYPqEy+rKNwCYG2lIC+GLf7jLNSCNUOTMD3tuUbW4i6Yb8dLFWf6UpFvOD2wYgjf9aRezvk1iG1NESLSt8eDe9Auff0CZjjUM/waTbwJgiu5GkrvWRi8kc3Rx+3qv2Z7Rlo7q261ZSwEF7aHrM7yeNYHm3vTw/JLHbhzmhLBRA1KV0dsT/P/l5NKd9Ic5OvY3aPHrGv6FDn2muxciCkDZMCVyLXEt5Ee7nijEZs21BvWNlqtamD8wG5bGhN9lDEkexInMPOaIT1DHYfaD6nRAWD7iaRX5o20aXM6LZA12vdNWRMlnE3y8E8k5QeNpEPd2qpIU3Bk+6gF6f1qqT9yRJcuxIuqQ4yX9SOZHkJinWgMg+NALCFHmDPeM3I0P+BlBDTlmSfhSZ+fAD7Y9TMPtiqwOStgnyVncquydzlBPAVYuUMbDM8Q3bYn7abotaBFS9aKbgE13pqQpAk40dCAEN4XbR/KOsWgqFbGxXjkXKwtCY3utl5x4cNgJEb/PcWT2ir5LS2MaW2p7fxOxujobwfgRMP/mjJ+PoqcHn46ALb+30aBgaR4dzwNEd4PKknU6mUWdeLPb/H0vUr9p9/7NyOEG9JQHyrJBhAv8i90ydtGKGLggAQCbFdLF28nfdw1ru8VudguATAn00+v7DHPD9zX1n9DwqHe6mHjAWGClISK2tR2+ZH4PapwTqdaKZW5l4znSRHUts+H9jCZ7RDEe42aCh+JvFK9HnSRnBaho7CKs1nbA+wqRtHP3Sj9pLhKmMF2uEJkOt8ARdUjHlnlLNnONjEUXxDMnZmxkSYZUHkkYo4fad+uCnsrZJmkLDoB10r2I2LvflFny69ClmCVBEZS/5I0vV4BbPQnII12LkUL/8XUUDGhmBZUnDG4PqKpaio1qGL8XnDDlkjQavLiEkrr37O6JMPKJOJaev0NVTSF9Nr/fsE7HP9yn4Yh6SJzf/Hs15IqjOGRWzyl3Leh2sDA8X2XG5GXgXnQDoI8OE1e3OD65g3R9mks9LlVLmT6CqSkR07CHh9GZom9b5qza+YQvv076WCxiS419wQ8zDj/hghmmaCgMqVtCNg4leo6sN9V3vjsldDDgWlTefbmpvMrqzxM9auK/ENb4eo1uqcwHGt/AqRreLT9lGvOlyF3CD1AzdHjvD//dovnh+ovKTb6GKRm9lQZzUVS3wPW+m/LoARfhIT0N83WYWK2ZhhV1ceASLflJfguth5nk2HC1uTTNNHiyzS9y+TVFlKB1YR2smDo+8pGNa5CJkXFu2xajusD0iC8256gBe6vv5MrqKtvx6zZ7phTFDSK6qUeYTU8oRSA+DZrtWz2VDz0VCkUk/QJvaLUM4VN0MsoecgCpKZvQdL063T9mtKDlSnndypjW5deQSdgd0hT54sFmivp9Tb/cdGAcyCLK3Zx3gorUMX9k9/vf9Z3V4xXhyLwFC+zal/A0TNKXxzM5dJTA/6cG9c4Rfvcas4/ipDzmIF3X/XJjEYE8IqzEHUnhwWFJFokTK/4qBRm5FzRpBrWtWBcsbky5LcxGIqTVMHeth6wNDEKTD+ZfbVqvK32ZjfA11Of8HqUl7u/JeqIry9TeskvAERgJkPjYKEpa/ZK82U1JD+lsgiGDSqBqEPThcp8zHZ+uwpuyuIvwSX0du4Nx0mriq+NQrpJzUToCKTmASTk+3Kq+eMjjpLG3ysEadrGIQUSmN2i3Tb4JuS3GhF9uBcFqLcIy/ak7XZl1Z4G/b1nN6x/PLfiysS7PO0aDoaimXCQnT7RsVUtFOZnB6p8+3PKjPH4Sm0orJy2Musi94jfdXFb0XoC19ffvKAqRrwjpNIN/5E5X20oMv2kog7Lpfgd8iDaeTdEbfzpv1SC923JUbWXZJsl4xX/2ZHRLd6tBlEWbxFjrkcxiskF1mVevHu4BXf0wn/k+Zoz/XAU0Mx7F3g42qOnphqe2phXW19ZrDk4E19b5AHnPr5qegwqdm63JhfAS76OkjqtfGGA7Bm5fCB4ml4iD6mu9WyK69/JJVI8MlA0XwcAFp1FCfbq1cSuIi0Iv3ZfG5u2j/vYrFYN8dXM3J1d/o/77FCoaaCAvy609inf1WzSsBTZomkD+ixh4lhhzOZgUr46qZZymdmizs5yWvTMMU2k5zw1lNG+5h+U67S90hEhLHrHVwFQaafAqTmNU5j/pJ+4mB9BOU4Sg5FQLDwcKJZPn6lwCxN2q0QJHtjLOIClNbkxjJWBr6AwuZzk4NR3qsxRz6iS+HN3wagjrZKYgJ/ylvHdHEVPDRWKK5WZfYXNNbaIIz6a4qaawizy9CFsodOLGZt29CXo098WlbN4aaDQhJRvQ9anDpv/zvyjTfs57zYzg3rZkjyjbBM6OpY0Og5LWZoyi7prjsblGqXpER2zwNuHsjoWCPVMRjzKoGmFXjNzy1MtK5SuKpQS7dRL8APCrOxCpJI0lgvMrQV06XW+vV6b/3YYGWkJ/8US06CvQLFVsJPdpkTJ80qxtvk6UApEo29n8gt2y/2pJnOOvxGH3SRwYcIHRVNV6mJDzY+G03TQz7NTqCFf7iN33lLdDrKE7x8mTylR+TefKotUyz44zwitmJDMZK6dZsJM/NnqbnMXDE3rgwU5su/YrXexq8SkCo0lfUIEdhtwdhEruT5PdZNVWH/6XMjuQfzsgelAH+tHdD0T9iPzd5VHYT0l6qwjDjdEV+G3g+2rz5Ny4N2VIWZPilEH7NcRCXOxzZnidz0EdVY0JQRxTIBOTqKMRM5WFbpn1aliemC60KNU+M68KFhuIdTokW1ahfWspoFZ37N7t2pwrsgMGimcgF9QZ8mJURscTUfrvAXwZ/mVlXGvy9aV1pQFbV0Jwllwry93suM09xUoA+QxM0/yjbc1jFB0Eq6GD8Mfd7lqeItGzeiYahtZ3ZJtwa5JUKozq0srCYidATeZT83UpaEe2yUGz4QKlZcoP4eZD05l7slWwt0hAjKSv9w105Vp/KV+bD5ceP+VEJFtOEgkcfPhwsLNv2UNp3P24RWxmkzqtJjTPOHg122sHEjnriD08jfCWuHz02D997af2xm+tdAKKuh+ogk0rh1SQ5XtMA/WN6byQy2LS59M1QCK5o5HCSwQQzI7mjGHle7l1fRGxzqtRouWNJvmIglo8RQwSSFqeXt+ruvXcZPbGU63iLw9aveXpcc9xvjUH/OpB0eHdZbHzwyYSd/96huyyNeUT3DiqN/xOcJW/RVbMNfP4QCAiFUVcUIfMIqHp3UrGzJUy1THVtAnEAqZHcChl4EC159/Pymh6LuKbXwkguqgbnIBvoFaEE0/BlcL3oGLfaZPsmUr9ai2bP4aYinsEnbySu2Rs3ZMvoC/+e1vfX3GjPynjwNW1ml/mnGYWjFcleVbWWYkEn5cDn9w2tI5QYQFjwad5vhERV24tHqUTHfJIhwaE4UIyIyOQaGod6uzcOTApeLQW1x43WSZJ0F1gxnmiifSgmMj/X19xOXfGpj1tEA0RVYDN0RCpKUfV2PhGxpqxlabUDRV/ID5jhve8gAgXTR2WwigoXSZRcXZPreQKfmz8Vu7WUmO2n2O5Re0huhsgWI2gbcrJdN3l3v6MLqFNWosHFGTUnJ8TfmMeUg5T+3UYtFJyg+763YvZ6v9Qw6DB4CCBeyIAXSKRHLLD80VZd90I4JIhe93SDU6oedUgrSR/XeA7D/XXCiJkOVlA4ZWtodUb01kXsPdRUHxY2skLbsuF/5AuC1wToiz3SEzXQzLeG+QgIMx3fv3h0BFi7Zy5ZDprdzoy1en9t6SMQSPW1WEXi3rGVZ0M/9OLOtSQUtydxD5CYcIk1qJH3yK3tjtK8Pr4UCObGpEQpvjy3B98bTsrTZv5XK800FzTFJ+8VI5eqDe0DMvnD+SEgV/xoR8dvO0gJMqb+vRsXexCmDIFRVB7//qFqOWPmggnuBsSHgRdLjQ4XZoZ+ARe136XeM3jx+Dr4vYrQtg1i5iv2Yxl4BKn3hNg+NzLxj24zkgpKzZN/QKy6UO2hHCuSc+KGnSgYD07AnlWT9rQRpWcT0G26Qs2tTucSCpufwnflC6iqdT1fyO3MEhiBofWrk5E8/dMRyOwTlzbQ+oUAfXS9O9kHL0C2NpOC3IPF3hFDgaeV29F42s0ohrsVI9wD55u6Lpd8LIMi13XCRVBdNwvRdVDuin4B3h5l9+bQh3Dlnuobc+//pfemLGUL0QwvJXiJ0D2Vy2mkZ3pYzWTPpJofM85/wem5H1QoPivvg0xNjGHYAR6aCbgGsoIMq75V92q0SrJQn8xgFesPJeor9pbZFY8Y8bRMtJsUkGJnLc6cngG0kHsDOedzY28EAhOvWjiNga+S37oTeEMl1wTxN1KESVUGf+q7mwIMOeC7GKBa2qltBUURf6f83QiaTjtwrdSAoQzNs8Gon+lakpogKGY/w8MUbeJGZ+mV+TrRJq5tbiLmUzDaVz1qHz31f8JiTxVYPRdC1QAYFkBZbTVMKW2d9dVAbFIL8Orv9L5JtopaNUzGIv5YBdeapyWAJARbYWqp5ZxD4pnfmWW54hN9kyiWaQfWPfKmlt+KfyXKhrmQasGxRqNXidSUreJvqZfjRVlwAK/qJcT5O3vmXR6r61ZRk/6bFI4zK6GZkhv0nQhCWGHTnlW6ySEsdDqrhB0zw4cw5n8QMdAZUdRTthoIdaM6fvSHKKfziklX2kwQsAGGvy1K55gWgnGvgDkFKF0Y/2rhcrht1z95iT5PRiv8jyeLYOFKA7aH0Wp9j+TozCjG/rAIpB5aLHKE67ZdhDBe1NnZPa+ZZFOMOiuCt0P0+oe+vFp7QY5mR5M4Guevs6sYikrKe4U40kmW//ZD1mKbZ6TqoSFkYj/JLgT3vNBX4vK5oK0+ErMC0JxmbdIYO9NASWvxlLAYbDT8fEo6aJcYd58YXhGAbvGLHPrX9PAxJ0dTy2gmmkSuqkx//ZOVQUof8yI3KfhOknC8Fxwdz0Tk6ENUol4dJtSRNsxvs3Oc9yOn58/5UkfZn8r8CW+qtNfmeR332X/Yy+dpXt0Ri4/WSM3fs8Dh0MQGIo83d3ffCs5aKX9qfHPrClw1jDjh9nxDPVkj5PQtvoVLTkV9vLOnYGREbrHcSn18xjBXnyHj5JtG6SBKEOY1BO48T67PRTAsiXesjezOdoHU0QF+4+GBPuw+RLh9pLNXQIyhoxucFwMLGh6CNFhAOzh+dMzxHhUTcL9qpZTE+I3QV2dCxJkBN7GJlm1v0bwCuIlhR8p9E7Sr5opNLQpp4178Xi47j+6M22Zi47yJlpe9kai7jUDmLL6SAlKmRsK42oAFPv1zomV2L3IF95zRI7ZdeZw+Qaiw6wS0glci4nIXDmuZTAz4esCSS47U4E/F1sUgJnzAy3kIyVWePBcg3dOa1/qJZe4bovoKfFOslS+0vhTV79VOlGgGh8CpE1mNiSu05qPg7MMliZ/RbMJryaFKQEPDOIZUYQssxxe7qKZOBZ0uNg4ZgyRzsvMmYfNtnfkyUtuou+a8ZnZS1U08OWifqLVfv/MDe0ouNZkuxy58mUnCnWG2mPb4XEdNI2i2lSRspGQ8KNkj4tYCWG2oSHcjYxsokL/0SVP0opB0yqBaLXKXtXuv45xWF1vY5bsmCQZgzAYl77j9KaQuqK1ELkkAKkNzv2ImWRrVDrC80pdzRrUItSFKhQoBvbuj44ffp5haadmsN/X48GqO0/aEfNFVs+/hUUyralO9YeoMe/IxzmvhpzWyVp+/PFpFeIuH2uipwP5Kmuk4tH/KNS0Y4mtUdkklfQKVYiHju81lwpFOF36YZBn5UPQ8yXH0vb2wDBpMLLc+PE5tpKTDdSfIvbuRCN2VCpLl+UZsZxE1pfiyK/SzpHh9uUH688nXpn/TJ4NkSG2z/Ug7fgxaBhWXDFz6Pf7wpJ2vy0d/nxCLPSD7lnH3YwkLFu7gjKQokMHbEHj8dLmYUI7VdvCy1QoGyeitLzZnmT3o28Uux2x4wCDr4OBzhriqmxxvzF98D1ZYreZ91DzxVXxAe2igYEe/j7bTrhlJBTuztRm+CtA4k1PrYVdLHM8RCV9ZNIartuI2F2U/a40hxiPa2Z3GN0HjrcwDeB4xC1o217npTbsWRxEEqcsOTToYwLIU2EakdrSad+sJQn80Q3EIv82y3wqazgL6T2FfUokORmqP0hpbivR+O1IoUu2E2JE8vrs8f4xfVcySe+A93EQG2ro8mZYe1pGy1ic0L1jEDxM+04M9HaBGspEuGhqzdSYT3/+Adbwi5RTMbajr5VI6dI7YgJYFTjPspcKLUqHiilUciny41daubvWwNwRF+TUtCINyWdAkVgQq8tS04QnKHa/+HcsSmFHGOmcaPH2i+L4eJBFjkID0uXU+E4NNNLb7n0ERGSbW890nzoiYi5eADgKb70FtcXIgDeyGdjRxF3efQszCF3RzKp6VHyfc0Q/5IgxnjxOglA8CH9/no8Hko4Dza4C7+trcTFgqZ/0V72nbM0ueHlg1TnJiHJYojHdWsmQBujaeYWnhkx0JboHkJ/X0uZYrZU9K5Pvo409aib48fB0OqdFoeUuvit8ZCFDiyBt90fqYYdHbJN9dBHLnYvrmTy307ayQ+7y0tcIM/fgRA4A6jhiDP0A/u79GY5tp8YhG7PNHmX8q44OpVy9SANHfVtqSgTQZl7KFtJuK+ghQUIOM6x2Y3LUXdsPCq7EnhRn3eWZmAvzqfjcktUHX622NMlwjwF5sO2PLoBej835WdeqVco7dAVbcQlRsDP+gubN5+TxVKb1B7pk46b0k4Kgd6P87O7obXrWPOzSJqmbO6x+PGjVRUcVb85AeGauxpAGppe2oPJ5eSTF89QLnMeOrGVgKeqh2Ap6gAsBbo9hvth0vBsxZlUhsz2i7lfgnpla3vT3ao2nvRWaAOMkTGdpj3oZetlImAFv5x+kA2GDvOTDNCV7YDw2vd3vjUZOQnb5vldINSpKsBYCpn8XVak2Y2g3kT+cEmoAGFTWzqbMYo4S0BVzNdHD5N3CamrysbyetMkbkRaxeC03Hukvc32jyy5UmKWVmJ6CoyiSgooZa1acoRok15KJ1ODlb0MAFq+Shx2I+X3Td+FJHczQsc5xyrzTwW47/WSGE56gjpp9ONXLj0+2Pl6zB7KvHRozf3RSNkR+8BmNdrcJVL/eMAR5004io8lF+JvYfT06s6Oa9ZdMdT+3jA302m4mWYJBowSyYNDrM/fY8e0Iq5KkxGtiYP5E0aqK3cbs2omLsCItQknDNC9YhMAgTpV9lkT2dl/+zzcLEJMkCXe1hoavPkc1BCj8twyFfqnLdgf5tZSdinV2364Z+eHUjaaF84ZGeYrfOCDDwM1Wawyp54+w4s/084ckWH0zRuH0HVtC7SVIuDlRu5apMDN6QE2th3Jl9qItL32f1QWpUTi8KcnqMR48V7Qe2DVhzaA38mDcKFCpH2apcfEF1Rnav4YdV/xZbEpYQc7iSwT2IojniPTyIFjVtCocED1wsWkup6KIqZ1MP1JA/RkEBICb1y2Gz51Q5pW6rKDXO5KytzgXC08EYhSAjfBa1x8bngxrD84GYy5qqqJ9U8T4FsFO/l8M39lRcCx5rnVOEP1zNt0Rg1o0UziWx+i3MI+f8HI4HNa8B5UebfUso6OHfFxSyK2UJfD6EjyCsx6D7z4r04xOuinJjUp8avjsJJnKQXfGyLk54cuZprXRwrb56vaK3DdrmUbvUhcthyC6S6q9ZkH+HqY/NI+Ys7jzQOm/WFV6y/x54byP6QakkeklsyPuJknFTuO8+2p2P36dUp8CxivtXippJzDKYht2p6zmHJL59ODRiv2Lyy5o0EjhT37CNIdlK4Lwey3ADV+sCncdW8JEX3EwvExZFJexW5NFqCK0BkvWkT5oj985/L+lXI82od0X2AjSLQMwEdy/vnK1aoFWKC2lMd6MYuYkAYgVXweQe04PHwsxBcf58qkHj2xcUIBUy9WWj64Gvspydh82+plw7x8V4AsU2AAn7U4sQk1GNnEgbGJlAhA7mBzmgDD9EyTeSyq4m3UY5oa3XIXsYA3qNjOZ3RiuSXMzojCCkNGMOKo1s//Bj+Wi3vF0VcJo9JU3AonnGhepvfs/qfYWUgZuJbWPAa+wN9CSvNIbdYMte7bMVdgTdWKwsm4l5tWsbR7NyRe6M4LNk/iGlAdROBJ/H3cNRhIk+5XWA1s7s3fUt+VI19hgl9W0QMgYqwNsdAlVwcnTtmvdfj76QBZQT/nHxAYY2DmPSvq2vL02Gtif7NFSAtOTf7OBO4bS1lGi3DAb10VPYgHVGqt0ceT8MlZOcsC5VOnLKSeh7g80S5mkvdVRqD5cbhvUqKAnMGiIvDP/ujf4SfmKDddHaR2n8pNrqS3hud8I/aKyWKs/vlQeSRcmvVKKQkoJ6P9uU3h3BW/c96O0h6UpyOl//OuDoNnWrt6oH6e4TVrq9UxDLHI20KyZU/XBpC9vfF5LtUg3Sk1U7N6irVcecNmGJCM+jUe63gR1a8AbaJg7JvIyyjgpgtmHSy5VynhNG5mlqZE63q/ZjCx1zmuC0+ncMPti0vojtZpnETmUyRqIJ1NMYHTMJJSM6TZ+HGdWpjNk9xwdWEtaXTmvvTKvzXsyk7FhgLP9JcHCYdclO+XFRs8oC0Ys0zJGrDjEDQTcAeVr63wJpH3Qf14WzlGU9fROTjEfB6Yk6V1ATxFYoVicycIAVyqtE8DYY4bNUZcR1037EpJY44i2qS+hiL0oMSdn1i0TYXt0AYZY5izbJiavKNuXYadI8zCXCLXn4LciXpNcSqfOzkwXGO7b47lwrZJTnGz+sMSsfOsiCa0h4HsMeylsR76eGvr19M5e4+Do/3rar8CfKVgyD6g7jSPDHeXNXUjA9ywn+QJ4fnr+ta1hHS/7O5N/BNGt38Os9uV64+qyNLqwBQW0AS7hyfQ5k1y4xzvIRMJmb72BD8tJGwkacXnBZX3ZqXtWGo0FlR818up4f8FF4lVryNx8ShDOLmSxXGb4r169/jrahBnqvCZ4NtCegKEqnNWqSUGy5Dmmva2s+0sOYPs9HO/5Bs8rnWZDwqffpC3jhSIJthdIYCTA8Xgxp2lXjvCcsHhs6M3CR1i0OsSy3IWbh3XwprhH7BCK127HJye1/iweml5UwXaV6jlBnD/9jKJ9EGiIVNy5KoO7LpHDGP/e4NUopbji1fBPQKEHYMP1//kCDVhhKVCaYgsRCQpEae3P7qlQhIePD4fgKrK6rg6ivKZ2vScfchlOEjLZsfC/5UPI6A7M9bHyssKQbweSX2OaA4rK3lU3utqP7d0frLRdiLURJ7TTSPSKDGrSuzFtRTBuyE4E+uaHAy0fPh8kFYUVP0SDEkoTUFrXnBDjHLxpaird28LU1yXAB2GdUQS36x5xYrkV4Ow3muaDSuOuM006hDF5Wv0GpmDShT+CBgSemxRoGfuif+IvA2ig2MccEFBXh5MUs/sv1wLvFef2nL80K2dlcUb3nH4AmvFUQAi2+GIszspASv+GbwrRIt/iXYg+ityIG6FstDvKBC6jKweivJap+lk12LR+9X7aBMldSZ0zS8Go8m+rgIA2qCEivW26j6dLbVEH1YeNZZ6ygkHtwyYX/MAYT4NItW19S7bF+8VXR8zxgtIAdrxLg6uDTtXbY4wYObii9pY5I96t3uUwErpsgdVVuCXitXzTVUu3hjvCTJbrj4VLaInVfFkRLiIRb693MzdqEu5gCteUl0SsmFpZ8lptzU0wRGspE1fl+tzQoItD/VIhP4VU4ru+ou1LYfPXWIJplDoDI6dUKzUoCk37//i2lRFUHGh0FNTpLxgWOAl7c5+H7HvYK+ZfGKas1otvkpIPIdS2xApF6WypBebnxZkNi3IHozwKxZxshb1ahlfh+E8MHQZk0I3ORNNORlWJZsDw77NSVIzE+21qA9ZUQl08KybNKU17ZNK5ehX8Kx2xG+HVKFGR1NBZCuURTcVH3WEgQySeWe0vhEcsfKRWJp6JQ1FgKINUJR9RgOHR7C623V37O+A7bvMWuHtSHL7PqF4N/EKVPYeVVIOEaxr7p4oOi0kY///KpkErLNQrWCy665Hihq6D/BCMI7s+twcwtX4mr5SeDqmogHdc0pMLXZvBrkjoARCMKdY2F1DfvUDawYKzQgdI8CGC1f94saSbJo+7OobBI/yzwCUhv99vAJ7bhplwmJ4Y6ZKASDn7d0O6fLFazkRt1JUCru42ZJcdPCZDCfFg/xXTYn/spjugihVjiuCvEA9laN8+8s+0VRR+pJk/UMS2EaSFldz3H54wNWa+THI+BlcmqVjd/GXTRk7Q0qNR38nuuzsG23/tU3w0A9BHAQaad59FaECUO0mpHcm1dIk68pAgk7jg66/xa9NldDGHRPfhEjOIJYAiCcDNmsfJtKwjryDZIa0CdhdB6th4ZzHyIjGs7BsZz3DGKkAeP9L7KBmWCXlwFEDyCdUHuRO1UZlQzugbi656sX9yelMA6pu2m/wDWdGk6KkXzSVqR1wm4vT0W8O7P8+7DRsGwaJME3qfCDlBqmPDNTKanCKQR8iBegVelAZOJ7rNj0O2oOzMMU49wOt8AmpY/MajXC8G24hApTseYezDebH0DCs2vREgp48MGuJm7StncLyiqEVBHubJkDFDcJDWUNM1CPrR2ftXEO4TijcWN9B0tqeve0ga2k55BlCdYGdEuteriPAokz6VGrMmhya6XkYeMjRAICIXVYaInAjbDTnl4SrQoaIOy7vq1AC83GjSV83j+EZPmamIgrYraPA3Wc0l/Fs5mdQ21yH/T/n7pvT5UIvL+fDbezPEXNH0xI5X6brfrCM4pxu41T+edLe42L7/hF3F/ATkR1oZz2+x+g84gF1oUyeTO05/GJe+fn+11ZIa8Dp9XjVQauJ80D7K73w+7aOHeBQ9Ob1lILtO0rEe8PliBANM9DK/koJTbKXA1ReqrJphemAt+ecuBgFgVbUwSnOgraCpqfy96jvYFkFC+4DxvPuCJxN+e0c4RtOyIosV32fnAGBpwzIRaaeJ6l/3Ano2JRnxxySN6Wlz9AE5kynebpcqdJd/2Fn4/mBgPcf+u7OUp7uUvftUlo3pHk2aykXsF5p4Xei34GWBh361/UhvQs+NmsEdMOkNHtr9aFi99m/oaC4gQxE0qhYnUI5hFu6CbBRxnuIJiA0S/rczkZCYTj3jgYyxa5pjrGxklh7bsjWjXLQpUxshd+8TsaD2abscLo7+943R9gb4HQaZ4fg/XQ/0RLEvfcpZOdvTSrt/+oowxhsyGe+PL57erBe09V35t1n1mVdG03w/fdIdFMqcT9f2/QlPDVJRw9XYBrSPqMYUw0YejadSphB+l3ztwm4Zd7FKY2ZcOJqCLa7B4dSV/RN099Z0Xl44WQnk6cAan2xY1mLFwVtULeqfz9gczkTBVkuFjs7L6IQAK9tf6dXoIGhLYBA3tpzqPY2Ic+P8FdOdcH52U/1nXR1plxGQ21tUIJD2nCBoV8ZVkJCTYsBGijCML4RL0UnOxc6e9PXCAqEfovxplZDWCyfRuf0B556+pEs3UXbIZk1VGdfZY1zjtTizKM646DnaqTrM2g8BF2d0CCMvR44tFYtSwwtCnlvbJERK226ZH64iOkjbevaysf6PJ0HqCaaTg+XANU014EV6z6uVjfx65Ad+YIeQM+W8iaNntCfatYMRuhunRLDct3NuQEpSCeToHN/nUi/AU8mf5FzL12NOgxUBMO8qQquRlPyh1PLJAq54GZw3j3xaiFbprHiiA8FlVV2P+CZAWQT8JFIZJrLs/ZWdvLr5ROFVmBFVnwdSSkGwcQt/OJWipJvAXp2ZrgvTzUsiiBPsfY/ofF5+M/+qCAkwnYoEot8MBMF0xBDvPq8wuDUallb9jaqG9yxOiRorcOuf58g8Q3211NZdNINahWHdmHC5pKozLbwgHK/QizGwTkDHCtA/kqRALWUcmkWwWVV+k1GMKmwspNg3CIFSnbMVC5KgvQy9ppcktPVOmForLmkyWXPIzJH6mlcJiZdkUf0cEXhU75DfalXjAXSiGF5MEkfpQRshrO3i3SLXxYmBdsAM3zQ3073ORZWBeUrUUrW5/pFRsIlE50teSl9KuN9O7ocPFi6WDw1hlt/a1JwlQrEsawqajs9Giwkpr+MnrFUUDmoGdkgBOJyXrsMPaOs5EJtDw/27LqNo+cXj/xsLifHN8+jbDNIiy1bp5cRWgIGibWxN+y7KcAioYkVyjPa+Z2zzd1DVhI0vzvxn3rT/kAfg3W5q/mjl22GMXaxFAbGbrXHelaZ+ttmFFcWlPACeof/kkAcCfmXd77Z9BrLKKYtpMijLA3fqweaDrzsMVsKXivx5WYe6Niw6vj5DAe1D7opl3uNk9w5sJoCWquXbwx932SSTTSYpaxKEU+3rWUaCWQwm3Z+Qd+vpfV0QFcihV4eMi2rVXWpobLdHLvnJX+6CfXF0mJ+5YT9cRJzFRagcg4yk6SUw1AJBf+2fz9IWeHPjE7CckbenSYfmb+JD/2c2N24NGJ3ZswbZpL2MRn/YGdHkbdSIWxgF0vAjEdBwks6+V2M6/XE7agkLkSM5sftpc9ZKbdCTWFbqvcvdtvPLmHfN+MA5ccTc+vTz09Z4iWv7gDVx/Y/Se5wfX0AF+GOLh9JtojYBYXkTq8JJvvai7uGBFmkcJAVJ+foia3eZQStOuDLKGIR+KNh6JHnEWH/wYM3ns20p7QhjDi0q+y5WscudsE0Nwu/bLXP7HIAHoPf2BbnuWBLcOM695natnuNEqfmWXZ2QxroWRnU31ifeYJ72xMyNh6Q+pXprygJ4RczRN8fNe4oYkThHM/uolIMOr1SPFao5vflXRx/N2wyJevfDdHlC+Ye5N2sZMhehd7pRw6h/KFvvgYjuxotfTb5RmTdQAAf/8Wk/Y67HbR5Z435doG1D0JsyKqD1vKbbZMK2LiKQkFaO8EjN2YAkMdeHVQ298jGmllPID94hY5+Y3ZjBbXShfLKQ2yH4H3SKx5u6lOVLh6vFUDfiIw3nj9bdstG4i6bAAxUZ3pXv8Hr+DfFCUKo2rbKB20h9JCuTzwH4v1AELaOkaos4tk3bjEi6nwyurunpf63vu5Mj8ggoDpD5hKKKruIehYgINyE8U0gx1Rjvo2CdCzB0TvqxomuQDzw8yLSMz0IN1dO5PsbKL6fzJ26QtmWeoKdSdhXLNXqvmD+GUKSw6S1DShpycRfURFWCIKLyPa9SCQt00ymd+cIdMInaJXrLgPn871oMjim5kZa2DvqiB1GENxe+18+hRWxB8lJ7LOjAuO5k9IxfSsL0/g89hsD0nBQCGXzce5fBjudE8JNKWJGBRziLFSsMS+RxDuIml1ZjvVdNPj3mI9JVv6Kxb6Xqb54G0oq494rImeMbVib9zzWKbQ6nVwqSGxI7YeQvQXvRQ6EynQ31cX0uLLAXENWPqlBVS53aUAq2MkgIK3skVfXGcZZMNpWOvN3UEMrKD0Cpi1bPSmD8DVvjAAQMKYs6eXl5yAnSCQ9Pl+zvExRsBaQcUb6YQvCU3XotSRXn3josFIeMRvri03folYlt05ggPJ/WiUVmkRQp3rc5SvnpJf4ryuj/IQTZTIeTS+lLYFoBIJtKm08SdJR7kdRH03Su1EdWJ++U6VYeuwMB1nui3bhxbMM1W4M2M0jXnM1jEPDcAPxFywqWhgcxacmWZCDzhJwNVxJejLbdFuzLaEL1HVlHORahly3YAeHiM5kJjAsmsdMY/JQ00Roz6Hf6P37xAld3vD9O66Bm5xtA0vMnsrnRpImSNBUegP6NVVtxXMBOo3hIGLPcKi7PQ4iDr7u1+o0G51bm4qNkJUq+/GS+faMtdY8/Imy/Oxs+9zUQYJTNHeRDyi8b0HEuNP/LmaYS0FEdDnsn2nSsHDrBEms4BJ68e38XlHkKs22oN380bqX2DedUltA3PnT+c3YrBhXEeSGmpZhHgFQAmD2wzDeBxtZGWD7nJvQ+mnrbRJwcQVP/xK4UojM5aq3zFSKsA9kKc5BjXhyXhi8lkNQrJSCB7HCAfoa8zwgFT0jDoFKFfnq/hrAKn0p/v6iitwbnb7OyWZf3QS+txXpU+TJc9gCH4Ydk8sjuXCcDN96x3MN7PRE2VSHCPwy210v9OsXQoiQ/4mNcw1UVD1iQ6ssnsT1iAGXOMw6e0mUavI3fJVOxcAbNaRNg+ZttRCZ98wx1ianslODWad/hiUq2+58vlbi2int7jV9ENS6AD2pJ/1m6Mucw0FoulL3rvV51VFwfOXSYmZBGDQ+D6rhQlwtYvyZoMh4jP+8RlHjzW0x6+bfqJ24kMHXde9nJvqZFleS9qJV+YB5ZRTNngeaZ0D/KE+prt8m1bhMIm7GmDqObkkR+Oe8tXSmMoF9A2ykIiztcdWFJaf1ZkRZby3dTKHQvkVPzyRBdzktFha92qJUy3DDoZQWJSlREzaFYlUpK1QlFkQ9lO4lUMexU52CWUUtknNXdQquhmgXx7SPP0tLS4f1jnNwbRFPmkvoGQ6Tu3Q2tntjTE+2ScnyARGrO4pJb2MtNo6YxOPZT9gsLmHHQBfoH1kfJqI6UamixRkDCkR8AI/CAMD0W7oDGpyC+Qx9xDxZOpOMX4sp8emMqZRcePnZc9auXZEL/NkFLUrVy7ivrs2EpG7/llBh+b6s6Mv60y16J2fXX0BMRNtTSmVZBnhwUykp9oDRUH6y9GIrlhWMJMg44Eo72rl53rdf+KOC7adxUn83gC6rWWMlZluauxJoYCthhxrYYqGrMgCnaB9KyFrIM4Sj13shzk0vlnwc6/CZeGyZze8MxgN4uGEfCcH6Jpye8CrQf6Rb4Cd892M17mfyT8XgaliBckIuc4C7zzmBf0kDrmg73cltaPPcBWFDTW4W3/qjQW9vvRu8NFZqobdXDlJi9NsCXw/VrGWmk4yJDzOiJVU7SrBGp7/owFGwWqPX8BI0lC7XyzG6Pb5UTav7UEWNx/Gm70DmIprlTHXJlanT2FV4v3jEdlk12RWZMYZNv+MIUzub3+ooFDwm1s345Gz76bZHsAq0re4GWvmNnOa7IEnMf4t7mpLNq1+WtZLHaL/51CG8ZTCsgKa7GSUSzWCTibqqVaBkXzkv4Qgrg7xCWUwOvjRV3zRUsOlwUs/caRV+m2LDfPsQPMwsMJiZUVgVJaEd/SdXawmm7+HPcJ3jFNnh/ihXcknKg/PWFO4raDGLYxqfOQsoF5JPnbmxAnrG5slZjCsKEdy+5Kv2n+0wLkdIGgaymwe2700BHaTYSz/M3kmwURAAL/VbuwCZLe804hkyLrJGZGC8oxLNB6aFV1L0TZWBeuJc/qnfIB3GbT9NK2fWeo6xI4BkK+gqE0hkQRr9Yfp3ZfpA0Uz1fAPVhDkNFTqftcqJrGm0BbdxmfaQbCC7PVOoDcmu71Z56kodVQ0da6EysCGE/W4nu6AHcyEETesj6Z8tAe2VdZg3LVolq7DM1zukzFM4hSwfg0kMZsZjrDdV61Ia8jbdt00VHaEEJwtDXn01g6Wcg6yjRvZrNQ+Bi8xBBJa494GDTt9+9KoqbOw8ljzLaAzYyQVRXa338XngeueCtoMKbQ1+2aNlU0LpEoymjv9Fhyc8j9T6a4IWWrmWC50CixUWtiy9AlO+vHjZykaHVFwFoPi0hJbifxnJVTVc31GPBLTW+26sLkrN2m9H8pkq5KPrv8OPwRI2ikQ0yuDmVANCbjSfk6Oa1ImWg5AWqGk+BSnBfJbzOgL6xbdsBI0FMhbI4L24kZBkmdHVX01z8o978uCfyHGazTGXjSSAOAyzsdUA5Hk9IsP8IAaDIb1vMdpfdKVOs0bFGPjkHa07ZivwQYfKkjmAkC7ECG7J6R4ko0nKS8ba7TaMtFSEiA6W6tfz66uRoO8fEGRoWWgca3+OhaZbdkR9W/qhPm1SbPXlrbR3JwmfkiSBJjU1J9WWt00Tvi4CaYFxjpuIWbVjsrvUtLrBY2lvB0OwWAmlPwZTvuvvX6OxFcPrDpXvGIDDPUcSrzX6KQWsETWhTKB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8353" y="1219200"/>
            <a:ext cx="8821102" cy="54889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81000" y="5862935"/>
            <a:ext cx="853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Note: Costs include Everett Bus shop, exclude Non-Revenue Shop, and exclude fuel; fully loaded fringe costs include pension costs if funded at 5% discount rate instead of 7.75% and retire health (OPEB) costs if fully funded; FY18P is 11 months of actuals and 1 month of avg. run-rate; FY19 fringe assumes FY18 fringe rate; No accruals for FY18 include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408545"/>
            <a:ext cx="419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b="1" dirty="0">
                <a:latin typeface="+mj-lt"/>
              </a:rPr>
              <a:t>Bus Maintenance costs </a:t>
            </a:r>
          </a:p>
        </p:txBody>
      </p:sp>
    </p:spTree>
    <p:extLst>
      <p:ext uri="{BB962C8B-B14F-4D97-AF65-F5344CB8AC3E}">
        <p14:creationId xmlns:p14="http://schemas.microsoft.com/office/powerpoint/2010/main" val="3594088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Example list of Lean projects completed to date or in implementation </a:t>
            </a:r>
            <a:r>
              <a:rPr lang="en-US" b="0" i="1" dirty="0"/>
              <a:t>(not exhaustive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055739"/>
              </p:ext>
            </p:extLst>
          </p:nvPr>
        </p:nvGraphicFramePr>
        <p:xfrm>
          <a:off x="533401" y="1447800"/>
          <a:ext cx="8208873" cy="4648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90599">
                  <a:extLst>
                    <a:ext uri="{9D8B030D-6E8A-4147-A177-3AD203B41FA5}">
                      <a16:colId xmlns:a16="http://schemas.microsoft.com/office/drawing/2014/main" val="3966732582"/>
                    </a:ext>
                  </a:extLst>
                </a:gridCol>
                <a:gridCol w="2857500">
                  <a:extLst>
                    <a:ext uri="{9D8B030D-6E8A-4147-A177-3AD203B41FA5}">
                      <a16:colId xmlns:a16="http://schemas.microsoft.com/office/drawing/2014/main" val="99070221"/>
                    </a:ext>
                  </a:extLst>
                </a:gridCol>
                <a:gridCol w="3238500">
                  <a:extLst>
                    <a:ext uri="{9D8B030D-6E8A-4147-A177-3AD203B41FA5}">
                      <a16:colId xmlns:a16="http://schemas.microsoft.com/office/drawing/2014/main" val="1698184742"/>
                    </a:ext>
                  </a:extLst>
                </a:gridCol>
                <a:gridCol w="1122274">
                  <a:extLst>
                    <a:ext uri="{9D8B030D-6E8A-4147-A177-3AD203B41FA5}">
                      <a16:colId xmlns:a16="http://schemas.microsoft.com/office/drawing/2014/main" val="4164071647"/>
                    </a:ext>
                  </a:extLst>
                </a:gridCol>
              </a:tblGrid>
              <a:tr h="270437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Dept.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Projec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Impac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Estimated cost avoided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793262"/>
                  </a:ext>
                </a:extLst>
              </a:tr>
              <a:tr h="249635">
                <a:tc>
                  <a:txBody>
                    <a:bodyPr/>
                    <a:lstStyle/>
                    <a:p>
                      <a:r>
                        <a:rPr lang="en-US" sz="900" b="1" dirty="0"/>
                        <a:t>Railroad Oper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uce</a:t>
                      </a:r>
                      <a:r>
                        <a:rPr lang="en-US" sz="900" baseline="0" dirty="0"/>
                        <a:t> Lead Time and Cycle Time for producing daily coach fleet status report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70% reduction</a:t>
                      </a:r>
                      <a:r>
                        <a:rPr lang="en-US" sz="900" b="1" baseline="0" dirty="0"/>
                        <a:t> in lead time</a:t>
                      </a:r>
                      <a:r>
                        <a:rPr lang="en-US" sz="900" baseline="0" dirty="0"/>
                        <a:t>, saving 930 hours/year (observed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85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9760127"/>
                  </a:ext>
                </a:extLst>
              </a:tr>
              <a:tr h="429996">
                <a:tc>
                  <a:txBody>
                    <a:bodyPr/>
                    <a:lstStyle/>
                    <a:p>
                      <a:r>
                        <a:rPr lang="en-US" sz="900" b="1" dirty="0"/>
                        <a:t>Everett R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esign in how finished</a:t>
                      </a:r>
                      <a:r>
                        <a:rPr lang="en-US" sz="900" baseline="0" dirty="0"/>
                        <a:t> components are stored and shipped to the Car House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20% reduction in touchpoints,</a:t>
                      </a:r>
                      <a:r>
                        <a:rPr lang="en-US" sz="900" b="1" baseline="0" dirty="0"/>
                        <a:t> 20% reduction in truck turnaround lead time</a:t>
                      </a:r>
                      <a:r>
                        <a:rPr lang="en-US" sz="900" baseline="0" dirty="0"/>
                        <a:t>, and finished comp. no longer stored in aisles (obsv’d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3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234171"/>
                  </a:ext>
                </a:extLst>
              </a:tr>
              <a:tr h="343247">
                <a:tc>
                  <a:txBody>
                    <a:bodyPr/>
                    <a:lstStyle/>
                    <a:p>
                      <a:r>
                        <a:rPr lang="en-US" sz="900" b="1" dirty="0"/>
                        <a:t>HR / Bus Oper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esign</a:t>
                      </a:r>
                      <a:r>
                        <a:rPr lang="en-US" sz="900" baseline="0" dirty="0"/>
                        <a:t> how bus workforce assessments are conducted to increase instructor utilization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25% increase in workforce assessments </a:t>
                      </a:r>
                      <a:r>
                        <a:rPr lang="en-US" sz="900" dirty="0"/>
                        <a:t>by instructors, increases throughput</a:t>
                      </a:r>
                      <a:r>
                        <a:rPr lang="en-US" sz="900" baseline="0" dirty="0"/>
                        <a:t> of candidates by ~100/yr with zero cost (observed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7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691247"/>
                  </a:ext>
                </a:extLst>
              </a:tr>
              <a:tr h="436860">
                <a:tc>
                  <a:txBody>
                    <a:bodyPr/>
                    <a:lstStyle/>
                    <a:p>
                      <a:r>
                        <a:rPr lang="en-US" sz="900" b="1" dirty="0"/>
                        <a:t>Red Line Oper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Identify opportunities to improve headway</a:t>
                      </a:r>
                      <a:r>
                        <a:rPr lang="en-US" sz="900" baseline="0" dirty="0"/>
                        <a:t> adherence</a:t>
                      </a:r>
                      <a:r>
                        <a:rPr lang="en-US" sz="900" dirty="0"/>
                        <a:t> and OTP without structural invest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Expected improvement</a:t>
                      </a:r>
                      <a:r>
                        <a:rPr lang="en-US" sz="900" b="1" baseline="0" dirty="0"/>
                        <a:t> </a:t>
                      </a:r>
                      <a:r>
                        <a:rPr lang="en-US" sz="900" baseline="0" dirty="0"/>
                        <a:t>due to improved coordination between Planning &amp; Scheduling, OCC, and Red Line Operations</a:t>
                      </a:r>
                      <a:endParaRPr lang="en-US" sz="9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7670400"/>
                  </a:ext>
                </a:extLst>
              </a:tr>
              <a:tr h="343247">
                <a:tc>
                  <a:txBody>
                    <a:bodyPr/>
                    <a:lstStyle/>
                    <a:p>
                      <a:r>
                        <a:rPr lang="en-US" sz="900" b="1" dirty="0"/>
                        <a:t>Safe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uce lead time for creation and</a:t>
                      </a:r>
                      <a:r>
                        <a:rPr lang="en-US" sz="900" baseline="0" dirty="0"/>
                        <a:t> submission of</a:t>
                      </a:r>
                      <a:r>
                        <a:rPr lang="en-US" sz="900" dirty="0"/>
                        <a:t> DPU Incident</a:t>
                      </a:r>
                      <a:r>
                        <a:rPr lang="en-US" sz="900" baseline="0" dirty="0"/>
                        <a:t> Investigation </a:t>
                      </a:r>
                      <a:r>
                        <a:rPr lang="en-US" sz="900" dirty="0"/>
                        <a:t>re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Projected</a:t>
                      </a:r>
                      <a:r>
                        <a:rPr lang="en-US" sz="900" b="1" baseline="0" dirty="0"/>
                        <a:t> reduction of 15% </a:t>
                      </a:r>
                      <a:r>
                        <a:rPr lang="en-US" sz="900" baseline="0" dirty="0"/>
                        <a:t>of cycle times, saving ~130 hours/year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12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419889"/>
                  </a:ext>
                </a:extLst>
              </a:tr>
              <a:tr h="343247">
                <a:tc>
                  <a:txBody>
                    <a:bodyPr/>
                    <a:lstStyle/>
                    <a:p>
                      <a:r>
                        <a:rPr lang="en-US" sz="900" b="1" dirty="0"/>
                        <a:t>HR Compliance / 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Decrease manual nature</a:t>
                      </a:r>
                      <a:r>
                        <a:rPr lang="en-US" sz="900" baseline="0" dirty="0"/>
                        <a:t> of tracking compliance with State Ethics Test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Projected reduction of at</a:t>
                      </a:r>
                      <a:r>
                        <a:rPr lang="en-US" sz="900" b="1" baseline="0" dirty="0"/>
                        <a:t> least 100 hours of filing time</a:t>
                      </a:r>
                      <a:r>
                        <a:rPr lang="en-US" sz="900" baseline="0" dirty="0"/>
                        <a:t>, access to all new data set on employee communication vector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9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9833025"/>
                  </a:ext>
                </a:extLst>
              </a:tr>
              <a:tr h="343247">
                <a:tc>
                  <a:txBody>
                    <a:bodyPr/>
                    <a:lstStyle/>
                    <a:p>
                      <a:r>
                        <a:rPr lang="en-US" sz="900" b="1" dirty="0"/>
                        <a:t>SW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Improve process</a:t>
                      </a:r>
                      <a:r>
                        <a:rPr lang="en-US" sz="900" baseline="0" dirty="0"/>
                        <a:t> for </a:t>
                      </a:r>
                      <a:r>
                        <a:rPr lang="en-US" sz="900" dirty="0"/>
                        <a:t>design review comments and 5S in office sp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Increased visibility an</a:t>
                      </a:r>
                      <a:r>
                        <a:rPr lang="en-US" sz="900" baseline="0" dirty="0"/>
                        <a:t>d </a:t>
                      </a:r>
                      <a:r>
                        <a:rPr lang="en-US" sz="900" b="1" baseline="0" dirty="0"/>
                        <a:t>management of bottlenecks </a:t>
                      </a:r>
                      <a:r>
                        <a:rPr lang="en-US" sz="900" baseline="0" dirty="0"/>
                        <a:t>and lead times; better functioning workspace (observed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8372284"/>
                  </a:ext>
                </a:extLst>
              </a:tr>
              <a:tr h="343247">
                <a:tc>
                  <a:txBody>
                    <a:bodyPr/>
                    <a:lstStyle/>
                    <a:p>
                      <a:r>
                        <a:rPr lang="en-US" sz="900" b="1" dirty="0"/>
                        <a:t>TF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tandardize</a:t>
                      </a:r>
                      <a:r>
                        <a:rPr lang="en-US" sz="900" baseline="0" dirty="0"/>
                        <a:t> daily work forms and process for dispatching &amp; closing work order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uction</a:t>
                      </a:r>
                      <a:r>
                        <a:rPr lang="en-US" sz="900" baseline="0" dirty="0"/>
                        <a:t> in ~10 hours/wk of administrative work and </a:t>
                      </a:r>
                      <a:r>
                        <a:rPr lang="en-US" sz="900" b="1" baseline="0" dirty="0"/>
                        <a:t>10% productivity increase </a:t>
                      </a:r>
                      <a:r>
                        <a:rPr lang="en-US" sz="900" b="0" baseline="0" dirty="0"/>
                        <a:t>(observed)</a:t>
                      </a:r>
                      <a:endParaRPr lang="en-US" sz="9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385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94199606"/>
                  </a:ext>
                </a:extLst>
              </a:tr>
              <a:tr h="249635">
                <a:tc>
                  <a:txBody>
                    <a:bodyPr/>
                    <a:lstStyle/>
                    <a:p>
                      <a:r>
                        <a:rPr lang="en-US" sz="900" b="1" dirty="0"/>
                        <a:t>Capital Deliv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Redesign Task Order</a:t>
                      </a:r>
                      <a:r>
                        <a:rPr lang="en-US" sz="900" baseline="0" dirty="0"/>
                        <a:t> Approval process for both GECs and project-specific contract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Projected reduction of &gt;50% lead time</a:t>
                      </a:r>
                      <a:r>
                        <a:rPr lang="en-US" sz="900" dirty="0"/>
                        <a:t>, from 9 months to</a:t>
                      </a:r>
                      <a:r>
                        <a:rPr lang="en-US" sz="900" baseline="0" dirty="0"/>
                        <a:t> less than 4 month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786828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07874" y="6478802"/>
            <a:ext cx="853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: Financial impact estimates average hourly wage of $45/hour with a fully-loaded fringe costs</a:t>
            </a:r>
          </a:p>
        </p:txBody>
      </p:sp>
    </p:spTree>
    <p:extLst>
      <p:ext uri="{BB962C8B-B14F-4D97-AF65-F5344CB8AC3E}">
        <p14:creationId xmlns:p14="http://schemas.microsoft.com/office/powerpoint/2010/main" val="7960985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Glossary</a:t>
            </a:r>
            <a:endParaRPr lang="en-US" b="0" i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82296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PT: Assets Planning &amp; Traini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CEX: Customer Experie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HR: Heavy Rail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Kanban card: A physical card used to visually signal when inventory should be replenished or other actions should be take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KPI: Key Performance Indicato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LR: Light Rail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MMBF: Mean Miles Between Failur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SM: Power Systems Maintena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CM: Signals &amp; Communication Maintena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OP: Standard Operating Procedur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RT: Standard Repair Tim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WA: System-wide Accessibility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TFM: Transit Facilities Maintenance</a:t>
            </a:r>
          </a:p>
        </p:txBody>
      </p:sp>
    </p:spTree>
    <p:extLst>
      <p:ext uri="{BB962C8B-B14F-4D97-AF65-F5344CB8AC3E}">
        <p14:creationId xmlns:p14="http://schemas.microsoft.com/office/powerpoint/2010/main" val="1885412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62684" y="1524000"/>
            <a:ext cx="8305800" cy="504753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Completed first wave of employee training and engagemen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30 high-potential employees trained as Lean Liaisons (</a:t>
            </a:r>
            <a:r>
              <a:rPr lang="en-US" sz="1400" i="1" dirty="0">
                <a:latin typeface="+mj-lt"/>
              </a:rPr>
              <a:t>Jan-Feb ’18</a:t>
            </a:r>
            <a:r>
              <a:rPr lang="en-US" sz="1400" dirty="0">
                <a:latin typeface="+mj-lt"/>
              </a:rPr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~200 additional employees involved in Lean workshops and process train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Lean Liaisons leading 30+ projects, 7 already completed (</a:t>
            </a:r>
            <a:r>
              <a:rPr lang="en-US" sz="1400" i="1" dirty="0">
                <a:latin typeface="+mj-lt"/>
              </a:rPr>
              <a:t>ongoing</a:t>
            </a:r>
            <a:r>
              <a:rPr lang="en-US" sz="1400" dirty="0">
                <a:latin typeface="+mj-lt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For FY19, goal is to achieve operationalized 5% ($30M) productivity targets including in operating budge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stablished departmental-level KPIs to maintain or improve operational outcomes; KPIs reviewed on monthly basis (</a:t>
            </a:r>
            <a:r>
              <a:rPr lang="en-US" sz="1400" i="1" dirty="0">
                <a:latin typeface="+mj-lt"/>
              </a:rPr>
              <a:t>Apr-May ’18</a:t>
            </a:r>
            <a:r>
              <a:rPr lang="en-US" sz="1400" dirty="0">
                <a:latin typeface="+mj-lt"/>
              </a:rPr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ngaged with Operational departments to identify 1-3 potential initiatives to achieve budget goals, and/or maintain performance with cost targets (</a:t>
            </a:r>
            <a:r>
              <a:rPr lang="en-US" sz="1400" i="1" dirty="0">
                <a:latin typeface="+mj-lt"/>
              </a:rPr>
              <a:t>ongoing</a:t>
            </a:r>
            <a:r>
              <a:rPr lang="en-US" sz="1400" dirty="0">
                <a:latin typeface="+mj-lt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Continuing and expanding groundwork to redesign processes and focus on most critical departme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First wave of Lean: Systems Maintenance, Rail Car Houses (</a:t>
            </a:r>
            <a:r>
              <a:rPr lang="en-US" sz="1400" i="1" dirty="0">
                <a:latin typeface="+mj-lt"/>
              </a:rPr>
              <a:t>May-Jun ’18</a:t>
            </a:r>
            <a:r>
              <a:rPr lang="en-US" sz="1400" dirty="0">
                <a:latin typeface="+mj-lt"/>
              </a:rPr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econd wave of Lean: Bus Maintenance, Everett (</a:t>
            </a:r>
            <a:r>
              <a:rPr lang="en-US" sz="1400" i="1" dirty="0">
                <a:latin typeface="+mj-lt"/>
              </a:rPr>
              <a:t>May-Jun ’18</a:t>
            </a:r>
            <a:r>
              <a:rPr lang="en-US" sz="1400" dirty="0">
                <a:latin typeface="+mj-lt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1" dirty="0">
                <a:latin typeface="+mj-lt"/>
              </a:rPr>
              <a:t>Next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Developing enterprise-wide training and tools (in collaboration with MassDOT U) (</a:t>
            </a:r>
            <a:r>
              <a:rPr lang="en-US" sz="1400" i="1" dirty="0">
                <a:latin typeface="+mj-lt"/>
              </a:rPr>
              <a:t>by Oct ’18</a:t>
            </a:r>
            <a:r>
              <a:rPr lang="en-US" sz="1400" dirty="0">
                <a:latin typeface="+mj-lt"/>
              </a:rPr>
              <a:t>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Onboarding Lean Resources (</a:t>
            </a:r>
            <a:r>
              <a:rPr lang="en-US" sz="1400" i="1" dirty="0">
                <a:latin typeface="+mj-lt"/>
              </a:rPr>
              <a:t>Completed Jun ’18</a:t>
            </a:r>
            <a:r>
              <a:rPr lang="en-US" sz="1400" dirty="0">
                <a:latin typeface="+mj-lt"/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latin typeface="+mj-lt"/>
            </a:endParaRPr>
          </a:p>
          <a:p>
            <a:endParaRPr lang="en-US" sz="1400" b="1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84" y="1371600"/>
            <a:ext cx="506382" cy="5063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84" y="2465418"/>
            <a:ext cx="506382" cy="50638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84" y="3940345"/>
            <a:ext cx="506382" cy="5063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84" y="5029200"/>
            <a:ext cx="506382" cy="50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9859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What is Lea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1981200"/>
            <a:ext cx="80772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What is Lean? </a:t>
            </a:r>
            <a:r>
              <a:rPr lang="en-US" dirty="0">
                <a:latin typeface="+mj-lt"/>
              </a:rPr>
              <a:t>Lean is a </a:t>
            </a:r>
            <a:r>
              <a:rPr lang="en-US" dirty="0">
                <a:cs typeface="Arial" panose="020B0604020202020204" pitchFamily="34" charset="0"/>
              </a:rPr>
              <a:t>systematic approach to continuous improvement by applying principles and tools to </a:t>
            </a:r>
            <a:r>
              <a:rPr lang="en-US" u="sng" dirty="0">
                <a:cs typeface="Arial" panose="020B0604020202020204" pitchFamily="34" charset="0"/>
              </a:rPr>
              <a:t>eliminate waste</a:t>
            </a:r>
          </a:p>
          <a:p>
            <a:r>
              <a:rPr lang="en-US" dirty="0">
                <a:latin typeface="+mj-lt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Why are we here? </a:t>
            </a:r>
            <a:r>
              <a:rPr lang="en-US" dirty="0">
                <a:latin typeface="+mj-lt"/>
              </a:rPr>
              <a:t>MBTA has high level of broken processes and ineffici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What is our opportunity? </a:t>
            </a:r>
            <a:r>
              <a:rPr lang="en-US" dirty="0">
                <a:latin typeface="+mj-lt"/>
              </a:rPr>
              <a:t>By providing </a:t>
            </a:r>
            <a:r>
              <a:rPr lang="en-US" b="1" dirty="0">
                <a:latin typeface="+mj-lt"/>
              </a:rPr>
              <a:t>collaboration tools and establishing approaches for employees </a:t>
            </a:r>
            <a:r>
              <a:rPr lang="en-US" dirty="0">
                <a:latin typeface="+mj-lt"/>
              </a:rPr>
              <a:t>to solve problems together, we can create lean and efficient processes that generate </a:t>
            </a:r>
            <a:r>
              <a:rPr lang="en-US" b="1" dirty="0">
                <a:latin typeface="+mj-lt"/>
              </a:rPr>
              <a:t>productivity - </a:t>
            </a:r>
            <a:r>
              <a:rPr lang="en-US" dirty="0">
                <a:latin typeface="+mj-lt"/>
              </a:rPr>
              <a:t>creating bandwidth to invest in other critical needs for the MBTA</a:t>
            </a:r>
          </a:p>
        </p:txBody>
      </p:sp>
    </p:spTree>
    <p:extLst>
      <p:ext uri="{BB962C8B-B14F-4D97-AF65-F5344CB8AC3E}">
        <p14:creationId xmlns:p14="http://schemas.microsoft.com/office/powerpoint/2010/main" val="36186688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00315" cy="466344"/>
          </a:xfrm>
        </p:spPr>
        <p:txBody>
          <a:bodyPr/>
          <a:lstStyle/>
          <a:p>
            <a:r>
              <a:rPr lang="en-US" dirty="0"/>
              <a:t>Recap: Our Lean framework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62684" y="1676400"/>
            <a:ext cx="8300316" cy="837323"/>
          </a:xfrm>
          <a:prstGeom prst="roundRect">
            <a:avLst/>
          </a:prstGeom>
          <a:solidFill>
            <a:schemeClr val="bg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Lean coordination and internal resources</a:t>
            </a:r>
          </a:p>
          <a:p>
            <a:pPr algn="ctr"/>
            <a:endParaRPr lang="en-US" b="1" dirty="0">
              <a:solidFill>
                <a:schemeClr val="bg1"/>
              </a:solidFill>
            </a:endParaRPr>
          </a:p>
          <a:p>
            <a:pPr algn="ctr"/>
            <a:r>
              <a:rPr lang="en-US" sz="1400" i="1" dirty="0">
                <a:solidFill>
                  <a:schemeClr val="bg1"/>
                </a:solidFill>
              </a:rPr>
              <a:t>Co-identification of projects, facilitation, analysis, results aggregation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62684" y="5409743"/>
            <a:ext cx="8300316" cy="5334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i="1" dirty="0"/>
              <a:t>Support from third parties (secondments, training, specialized consultants etc.), but with a goal to build internal skill sets and capabilities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431742" y="2644393"/>
            <a:ext cx="2432916" cy="203480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b="1" dirty="0"/>
              <a:t>Model</a:t>
            </a:r>
          </a:p>
          <a:p>
            <a:pPr algn="ctr"/>
            <a:endParaRPr lang="en-US" b="1" dirty="0"/>
          </a:p>
          <a:p>
            <a:pPr algn="ctr"/>
            <a:r>
              <a:rPr lang="en-US" sz="1400" i="1" dirty="0"/>
              <a:t>Deeper support in key departments to create ‘model’ example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6400800" y="2653253"/>
            <a:ext cx="2432916" cy="202594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b="1" dirty="0"/>
              <a:t>Unify</a:t>
            </a:r>
          </a:p>
          <a:p>
            <a:pPr algn="ctr"/>
            <a:endParaRPr lang="en-US" b="1" dirty="0"/>
          </a:p>
          <a:p>
            <a:pPr algn="ctr"/>
            <a:r>
              <a:rPr lang="en-US" sz="1400" i="1" dirty="0"/>
              <a:t>Track and celebrate results, best practice / experience sharing across existing effort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62684" y="2644393"/>
            <a:ext cx="2432916" cy="2034805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b="1" dirty="0"/>
              <a:t>Promotion</a:t>
            </a:r>
          </a:p>
          <a:p>
            <a:pPr algn="ctr"/>
            <a:endParaRPr lang="en-US" b="1" dirty="0"/>
          </a:p>
          <a:p>
            <a:pPr algn="ctr"/>
            <a:r>
              <a:rPr lang="en-US" sz="1400" i="1" dirty="0"/>
              <a:t>First wave of lean tools, bootcamps, and identification of high-potential ‘Lean Liaisons’</a:t>
            </a:r>
          </a:p>
          <a:p>
            <a:pPr algn="ctr"/>
            <a:endParaRPr lang="en-US" b="1" dirty="0"/>
          </a:p>
          <a:p>
            <a:pPr algn="ctr"/>
            <a:endParaRPr lang="en-US" sz="1400" b="1" i="1" dirty="0"/>
          </a:p>
        </p:txBody>
      </p:sp>
      <p:sp>
        <p:nvSpPr>
          <p:cNvPr id="2" name="Oval 1"/>
          <p:cNvSpPr/>
          <p:nvPr/>
        </p:nvSpPr>
        <p:spPr>
          <a:xfrm>
            <a:off x="304800" y="2545598"/>
            <a:ext cx="381000" cy="381000"/>
          </a:xfrm>
          <a:prstGeom prst="ellipse">
            <a:avLst/>
          </a:prstGeom>
          <a:solidFill>
            <a:srgbClr val="F6FA6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1</a:t>
            </a:r>
          </a:p>
        </p:txBody>
      </p:sp>
      <p:sp>
        <p:nvSpPr>
          <p:cNvPr id="16" name="Oval 15"/>
          <p:cNvSpPr/>
          <p:nvPr/>
        </p:nvSpPr>
        <p:spPr>
          <a:xfrm>
            <a:off x="3276600" y="2545598"/>
            <a:ext cx="381000" cy="381000"/>
          </a:xfrm>
          <a:prstGeom prst="ellipse">
            <a:avLst/>
          </a:prstGeom>
          <a:solidFill>
            <a:srgbClr val="F6FA6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2</a:t>
            </a:r>
          </a:p>
        </p:txBody>
      </p:sp>
      <p:sp>
        <p:nvSpPr>
          <p:cNvPr id="17" name="Oval 16"/>
          <p:cNvSpPr/>
          <p:nvPr/>
        </p:nvSpPr>
        <p:spPr>
          <a:xfrm>
            <a:off x="6264348" y="2545598"/>
            <a:ext cx="381000" cy="381000"/>
          </a:xfrm>
          <a:prstGeom prst="ellipse">
            <a:avLst/>
          </a:prstGeom>
          <a:solidFill>
            <a:srgbClr val="F6FA6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62684" y="4777993"/>
            <a:ext cx="8371032" cy="326950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Sustain</a:t>
            </a:r>
            <a:endParaRPr lang="en-US" sz="1400" b="1" i="1" dirty="0"/>
          </a:p>
        </p:txBody>
      </p:sp>
      <p:sp>
        <p:nvSpPr>
          <p:cNvPr id="14" name="Oval 13"/>
          <p:cNvSpPr/>
          <p:nvPr/>
        </p:nvSpPr>
        <p:spPr>
          <a:xfrm>
            <a:off x="258725" y="4723943"/>
            <a:ext cx="381000" cy="381000"/>
          </a:xfrm>
          <a:prstGeom prst="ellipse">
            <a:avLst/>
          </a:prstGeom>
          <a:solidFill>
            <a:srgbClr val="F6FA62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09746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929384" y="6172200"/>
            <a:ext cx="737616" cy="213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khLv/jm3RUjchxBQYCVy5gDLshWAiTTVbw7rvnE9UH6cjVfes3oVbScbpuukXrMw0FiUlg4Cb2leOxxz3tU6PvXjE2ax9Ufqo3XtgDU9vreD781GM3qHh2OXzHNrg6WVcikO5C1VMJgGTVF0aRdQz96Yi3yZ+BxbppENQhdD/gzkMwogr2do9Huk7cyG6m6tWloIBx4Vvrv0KU4EMH8RWZoj+BThDzM6UZPzU3PLVgyR5XPSyQOYePdePRtcmp43M19g5QoKQtOQFPSK8G6C5BNkUXPKazHDCIlEaE+YfFYrmtjZ0AF5FzEJnQ5oRezBsJ4gfVniTtI3E3o3YaXmiN0xdBb6MwRAE/pkL+PyApNLF+gThC1cKX5SisaEx/SD7w01BKMwGmX6wmcf095aOO0trKpbmPxFU7LDSHJIc+TvUZYafVsXF5eepfw0Ywd2PEd8k+rohZ9pg2Resvi2MRUISF2LMsSQak6RC6OP048ERUN9ZQydbi+yaEv+VYe4ekFzlF71Whqz4nJXkPd6yG3V0OicG44oaDaKB9pzRMiCtwz+EmP6E47UzIc/d1j1K2C/bdY8WbELqwFhNEkN0Y3bL/Eiz9fahF/WTxB9RpdbX6pnt4lHKNwISBthXqNtuMsGWprwsRMkrg3s7a/aFkOR5vY0vzmbRX0Q5r5s5sBo0Kpj+9dwtLmkIfUQ4jSlyLHuCZcbMCyuIUE/qPze6tuWUC39wZbdE/c1oFyF5b/6r2V4DimYzg2m6HR7DZbBRvN0GwxdqB95IquDRMpCPS6lvpfPB7l+adStihDR3sTyW8X6EehNzccxMG6kVjybaZp4+lBkaAfT8bgMPNDGLPwPZZq/tCzxS3H1QM7Wux4AzabdnDbqYGA+51cpJQES60lDduY1hDtdTjUdJX/CrmPWegrLTwDXrXfqjQk/D46WeY6KHQJR+HwHss2MljSvgBM4DTXtw5IyIWkoRhoM3c+42evKUvBj3xEHwkrtxSO3iGhzaMKxh6xY3knup7pVT9VaqWTNzJBoQuJwD3toUPvrqSt2McLMmpLFHM5IStiHwV+DR9pIP+LzCyZoPkJCSnKqbe6rK3tVHB9VZqRKUtTpsobL0EN4Y9UjinhC+bk8aW4DKehx/sRg/99mN/RRuIFUI35s/J5kPO5KsslyQ37Xt5kslHZp7nH1edccnvhmYvukCPhYs3WOLrcHKZheM/Bh8Ym/Mn48p1l6wykyMosHW9sjLVgPOQiEe0dCtcSRYg2QgU3lpNC3zWmRPx2vs5pJcb2Nw7sDdmA5YlB8WMFYTbdGdLpSoOeWsuQ/xfU9Fgw9lIPIXa76b8VlbDJgW7KAE7O1dZsbjOF3XPBRhpw1Hlai3iquuvPLWs3bvk8RyWPuTjXYPwb8CGEbYMdPLat9+2ibo8OCG0LDcpYYwhjVOhWvZWmo5shdNHu7/3YEglBZxTqgXUckrrcUVDkPrsWSe+J0xb41z26nMqL8evBl9CiRNFTtAQN62tJti+RwrwxuJF2RNUv0ADYVuNshivy90rI/ZAz5Scm8Gsn+rbHmh8+9lutsUsfuHXrCb1Jv5c/KZg7hWUEB6JKhgH3lvQAWjo0bgAoH/WpUNtdBxCYhuxd86/rq0uEK4ehndgQvAIiQ/ICQnkx7v2ymHKtqAwDynHYsX6AYTC0lGPJQOXU+Y2CksGjJ/GJ85d1IuqjehcT9tb1OZDf23yXIAP7tGs2a239CYMLQ70Zz7fKhKZ/964uzf9hz/1DqT8MebUXNDQiz1NRIYQlrOqnXLCdDAKU/9Mr1diZtypY81q8yE64RWmnXNJiT4iTufKWEEEz2vMu/qVHO3vfbsPzGO9BBTArVmvyxy1sadwip+uSFlVl9qL+Zw5Ik9qLyyu/59j99a5TSlSLHVm308x80WBYTMZhc5HizvM8PgVBWEhEBWFcpEJzhVG3qP8s7w23qm8O5/kh/A4UDtJoBrVQaWymt2KoHUlN6tlUKCVn/s2u7tP49L48/sBrvEdhUo/Kxj6+ghvmfFcSHgTpxlpvXAX04wbKEQyo5sBSsgR9pEfzdp5mAqkBj9NaV5QiMf/ecPZLK9iWN47id4T4/EidUSNSfRUqkg6H9m7RuPzUtTkIVZk0VTU8Z8g4dluZ3fKyX1QHDc4urYqiC0LPpuzWOANSfxQj5hUNmCGrYPEKUGvFb+AXCqGQgfj7lhQJFCumuaizhl9QQCu3pk4RsVR1S1plAAnPuEDs4zXJIjPu2w1HZ2hQhWGTx1x5h9F2Bp5t/bORX/OzZGvB9V+7nq923apUM4I8T7iI2N7c3IQsld7jKGGHiLCJqXySgssgw+1XCBMCsrsT/RspVqZX1pzOgKAr4u6h97tqi38m33lHBOPL2Yx0p58mCzZSTzfvBniczNilG9ib2BY5PHw46Bo2/OSCJcBK1BlQlIPuMllTVl2dCA9Zaoeaj6fNBCibwIna+5h7gRmi28h/wJRxzHzzr2FRvUvDrxbwFuW+m6RDTFAxOZIgGpa2/4Am5gT+OA2F4NnZNwuAYE+LI8daUbaoaLznm7zCJh6sr1ctThhtTjZhYDr6hpG8BJ42PCqfSoLOqC9D4ll9EIEU9Pmg2Mv7iINjvLsxIONY5386T+RnSjr2sooZ4WFail3N7kIIWVXi42uHuG/8Mokiiv+gsCTaoMdks6qc6MAc9NFSOqmIQNPXxIxWTVKhb1w/Ep+2aDYydfc9Hv1eXfej86k0KTQhGe++4keoqDqOqzEoC3TFJX1szGWGex/KQ5TKGuQqD5yv1yxB3AYrDEr3xdX5VgiLAb5Onogz5oqNjkVApr0oXW+aUy0bjAA4Hs6NbkQP4/hNyKn7mJDWMSCR1gNxhb+wY+3Gx6ffTf3UGyB9nUN7VzpKjs0jSVmV3TpLoHQDQg9u9X95w3LvJ6Jz0lALvWGSlBMMQghp32BFJ5Wter22Vo2RVmOQJmz9WLLpv5Ec31L2Ruim3S4GWyazFCpLTsJmZOB76dCXmOmJiD/3lqNn7B/Soy4P3BQM6UJARRUM3/v/GaUipsLOvnekeak36YRb6TNE03Cqv/3Y1q2ehvSFA5YYQgsW/W6ZeiHg81AH1nkft/GeFA69lkL3paqILqKVsTUm1j+EoZyt67b5zTByJRY9LVY6khblOHH3rCFsiPvIM8eQSbKLfbhMy1qNixLxWJJ9fOqrGQuTsCeYNd18yLPZyjiGxRY2ZXaCflRa+j0X06rxZoSLC1q5g8KQLmu/b8Quuf3ciagtrZOrpwzB/GAaNWyR85F0GOttA/h7FuxJKRNq5tX+0patAbwSdka+7Lo9Q0KU/CAh+o5ZnKZFbLFope3tEMuQRpKxzmEsCa1q6QioYJksvlcUJFzBtpyZoW9WdjLMMm4RS0Tj4aRwocEjUsS9lnWnU7CVGVK9d/ktdEYy4XUHmxnrPBibEuxDUUl9Nkr8g7ijFC/LdjgyD40oMOM/H97vf6yZO1RsPLuh4sy7mzI5GWjpUnpTR0nSF/5U8VjFXJUJDrBANf4cjjLpjutwBAoAt77aAPeqLD46T/8P0Qh1td13qzXpWRklmgs/NkW4TCTjWowmbJRLuCQzHLK2XOod2FNnTJkE25Ns1PazzHMNXUsv+3LI8bG8pQpYC146EiqoOQnKEaj1wnhkWMe1S8wM4TzTf/VHPxeUthog+So4475XTziiQSlD7/yHIaUnyi+wd/O5YIeEkuvLC/GIRI40G96wk0il86f2MT1fSz1cnlgPisDGGnS7M7se3F0vw3NoxMFgzpVQOTffwcNGq+5wsC00Bp2149g9lO0xdFFs3BLP5tJE/tIS0KcKAf/VGNh+mXoFjg8ZwnS54o4aSdOA5FMmO1TqQ768WyL95UohtSL1jbxR7eT3c0TqNBxks6ZVnV6beni36hcZ/rrKFokrmvCtZNmWGubDbhRWghZgP5u62Nttkmh08UVjBFaqqVrBUe/faP6CXqFkEyY83WJwlPG/oj8rBTTr0pvONwbxR3Ne9SfdudR1Ucpk2VmAZRxTJ8emocVZvOTww6Dv6xeHvnvU/YrFR0+mF+Izjahl0sdQAKkgeE1GspqR8ORvx7Bg9io69tvnLtGOizYL5TZ6yyfgpI4ksA1Nb3/GKtLMm2SkN3uBq3aHDbzJTwwDEp3vDspREfkjGsP+94y4PPXduiG+EdO5VGZQZ5PctQkGApXM/Az1Utj1WAkWKk3NpzxZxbunrbti0B6pTCv75PjKF2s0yMZRBsMS/FKwA0r7LRsDlGW/HuQckFEUjQJ83lfXlvbHwL5hXI8Qj6wj7BaDClEKrCYZ1JZ6o7IySTj5cR5qDpqakE9U+lVYftTJJztk69z7TmIQKd1H2T0AFNTWjTF+/f+bm8sdNF51BQrWgQ5WBc7khXjeKov+8WSOEdIDsYMxWy/TUzXboLoc5tjyG8co9soZ9c01/o9JU6M6nsRcE3r+P6zNnpXmwYwkvydKFC4astJzwIijgNz9V7LW+t3pHBzA2KOeaSDhnumdUTWXgjuO2gSAmws60IddHlh44fORS3iZo12ysb5PqMU0FUHPhM+dfS+7VWVeluooUyDSK7trLSOFZs7ZMuqDiELL+HSgQ8WRytAWVdaqcdqJrURHslUWfHkAVfuFT8vz5nDxhQ9TYhCzW4to/PTKlEjPppGxrWkiPgYgydaVeoHuGbGhmqcrpUVlTZ2DNFUgW9taaDWmAF9MmE/e93mZxszWm1L9Zqww4+aLiCI5+jNoWqGhOw5D2VnTM6gh1QNQZmZvLBUClV/9hJmICBMf+gzm50fnC5DqmhJmuCkoMiCAyZDMs1AcAnbIF2IO65wW44YWeoCNLl6iM0JydU8pY1WDmrf1vQ1txTZtJVO4VQkuPbrW65r7OepFv0ucKdTub3yaZmUhBLxlF6L3NAlortZzCR/xPZCkF/RuRPXcxmz2gPeaewnpvgzV36dAWbgMs5QhCdS6amPso9vAFjHjbJqeEHE3Q6CksoWpAYCMJhmoaEDQw7c9ukwcCsxkKZi1LfRwxF7KrG8QbIJV7SBhJbdf5qJhL/JSI3300gekIUitZI0yXuCeY/b0ht6TzHMK6ByC3X7jTCXY0kLfdp5GuRqqhVvfTQbPtjd4JKdigec/Bc8h1bZgWtVrkQ1ack7ENcS9Tc8sjTWbXyP8eKeOKcdq+3aCG7gYmg3mU9Zs08uzto4ggo1PG2J6Z7PG1XyY38H+QT+Sz1Frdjwapnw3cMPWWDeN9lP59O/vso5W8uRm8cBMykcXfkIMysAe4xCUfvOQ82hWSPmgy19QQRpQCZxBGUOoSNH3FeGPl+equr3v4wirtIckrowSpVLwHBNibFRWroxleuyOFx88gWi+hicr0/aLuzvDnhCrT/92/8mwDXtUZSpXw4zntYcHLsOuVv92d0r4H8RMEnVp9QwvxBq9O/D6phXXWsOOd3TfZA/f9FKpoTIUYJVpVt7skO2pCV4cMrwI6d9YhLsr4WDNLgXk5YanQZKjCMaEwCQ9mR8RPFDYAUDk+VvcpsohyAIgKhpn/opySenjFTK846CfgiEAQ++/Teq51oZu/I/aomQy9162iL1NJRObWgTbONJB5qq17aaf8I8s9WkCL96espMxo106bTqJylrseIlffhU/bw6egLS72DsJP+Ao/h3Z8GRkwbnD1n7TKC/6l8LINocF2l+aPVJLVOhoaJLYZpJGMHwmU5w5QW5NGvQMD1qJ6mfS4M/acZ7/DpGByTeLBnDO+krynUo7ZSvd1U2qOMIcFAjXzxpfiQquH7XKoQ3goX5lQAub6qyS267PB9s5i9Du0mO4q0KqfjWgEdfz5mZidOHNXeIVAqGj5c8speg6QHpGi+hfLwCbA+dApQfeQxbuzcumQVITK+7sXczPXzxyJ5YMyrVW1bKMZ+LxNr43YzHPCJ2HT8y2ddj2TXvjkgMAzYrYdcmH8J86GaK7Ffc/Gu7E1yqc70m7gIM6mxjVe7XPSniN2y+M29E8C8kZxuEA5f4atoCPSPXYGeVG4ordULdeov9tpETTSbVefTGQfzT7jMPaQqeoP52al648kVcQWA5+JYTZr09H/0dwvXaWkBnUCwI8x0ty88PNjdELLIk8PHqNVMx+kacuONCJRcadu2L9BFXvPvFpokvxp326iMpc1ez7Qsyqmnv20PkdWQQpRLt4cITJfakkv/J2+se/kj9+rRnkS7LicxL5rex0Y76tKdrg1yymQEKndZELPUFcOKBKG2ub39HRdJAI0d/m/1Kj8MXxVLNYtNC1eOhG36FH6K2P0SmH74lHd8tCe74CIkZ9/JM3TUeq/Nud77MFmLVNLrQQgxLwWYnfxeJCI1sxVCLl/yGkuE2E2lOM2tqwvzHIS+DmMVnN3SNFB2ZO1cwNuUtnDV1BwFYlc70oHuebjEgyCrYMqbB1RxwMoomM9myhaM8ifCpq5SnrIzemKRfr1EbtOPRviMiU/5sPVmwnAutVTJxdWajKrS/CnTAlSanjio3OszYXIc73FMfxm6eK68i9ntQbPA/nLFHA8TKuhkGb+sLOeAoX7mKMTomW/iUM2QYJr6CFW1Og8udVAF98nMYtw3/Aehdipmq275xotk/qldyXNZMkF6qtSrUXCPlNm1qsdFh+h1C0714E0Dv3yPpl1vdJ9H+hF7mbOEGA6xdlKul3+UBTB4i1tKkl+JMCUs8X5H66HnvnxZU6rMfn8I2dJZERSkBhyMZfn6jsxlMvAONyDeh1UODkk5HmQsou9WBjyP7di2Z1Ug+xniR/Unuyc2Ds+fHWs4LK/J9iVjcQ7nPCCONEoUw8gryGBkHEBimfrRgFZS/bjAk4zmopgBST8/YnodI87Lhx0F1Dmo5KR+NCxYcspKljPVcnG53cTHEpYdJUP7eFHrOOq0cMQgPKWCirCTqXTZ0CNOCrdIs/dmdh1Il6iKRa61xtCqBiI6fqK7z6DkoA+LrOk1S4wR4TDfNmFZlL6aGMdOE0GTECGpzBpSthA8BTdxYpoRAvNoPtufviD8dD/6fS/lofbydLaglRRdD4ICSWNZpal2zd4PgkBKUUsVZeh5w84821IER6dm6X1WYIzBYZ5Zc5ylDZvCkIpTCjIXMbDNzkaTs/22EE5h+RV61W/nNFigxXUVdaQuw/jC2tUBQi74yq9OeVvmY6YWJV3wps9FS4xxfd+Xxu/ne+O1QL0xL+rVw/0BvIQsoqX+VW27O+z0Iq5m1TnERuWSMCP7YBv3VUcW1n01zILepKeZZkuJCR/Agk0FLcsQxXjLgUNgLTIg8XKBiee1DtUHY89LJAhMSOyngM6o/nz6BUTKEz7bp3OHMfq5mOc4Y9E0aQaiUHTh+KUdlLqVoKrKVZBkvRj2OOWk8V4eOdFM1+qZeAT5D53vYyn004397Bx4eBxBIkhoz/jlZwTyJnTwGH+qCbaCpSNVUvEPwf76NR4/u9ncA2LY3MJMLSPZz8v7TgXJ/j/ltGnY8xtx2Z3NJlZ+jylQcHjVqGpX23rOnW4P7huBzo4H9A3CASqyUtcaD/d2RH4KRCoRjy77RUE8eZGNlIXKSvoz9d56vhO+HJuavHXkfmxN7QCDIeVmlBfvenOZGtpMHc6FjVzQDtmyRngn29XaWZvE3bLvLCadXrHLdnKgqiGY/lkbGCE0XPiMRP/12nW6wokKke3DZ6QA0nYc3XUiQnk4yMI6zuJkNzZcTCnkSczOj5CZRwdNYGrAVX+m/HuTze1Q2lATgym8kSOxCbaAx6IMuwh/KXhmaYjm2IrgAsHdxRfBskSt1ZCp59f90AGNNf+isiNTcL/B22omDxVhqXB0F/CQzMed2DWLFtJdc6CBJxa8yYi8E4UQDhoQieOQ7Tc6z8zJ8lGLPIzeQHF3PlCD8+s3ov2FzqE0PC0utKjScmjUTGEIc0ukcZ0utfrvyYij4nwm/q/NppAhEKn8yAIqZmXly10WzuQZegg5yrD42Zlttqwcq8c2usZMb1zoonXSz0tjC13kDXhYISXtnJFHNAun2gYxWzX2PvIWLPM0IzzLQZAkM2dZhXqTgcZIBCfP6Pf/JfSRnCLYa/ch1W/M3Q8hjeY1s61EhYR6Rnz8TfvbBqWKpuixSINsbaxDHTXsHeosfICUp0iM/WtO0Xjb8uGuLE3CUgEpXdWG7+0+1YZxSnUhtwVYZ6qFqAZNc2m2DwpcAgqZiWc0fOtYv+M98OQ99/Zmj1/70cSBSr1qQh5BQQJ5Ah81vteGY4M+8Yk3Q3dm76EGEGpmLva/mLfSXAUcAU9YtYbZw7sHctxHiv14YYH7d/+ho7935gnAmx07hiN8yhqcCRSuGGgHNunppM8rEmMPGHUXeFmq/B9noviTs4tb7aZLygjLIeldKT52ECqjqnisofZSolIDsGLDlUAYjDI69GCk5r6QG20e30+rSCx7nfElSqbzUEIt4vDGKUF7ZwaM4cUTZsV3CVAJazLDBugJK27GzGtrlycv9kc8HVe0N+TlBUmKKSLyBMM1rZr5tybIBzQkTVM3e9I/2Em8IcYJssIXOaiREiCr9TYkt4i43UAmOjHW7YVBilFt4iH7YxshwJik11CPSlQ8KfNehZHoPSOQZsYG9FI2pJqV54IMQYRwTI1BELnd+pGBNG5FrDakWmy/aJfXYcoJbBnDtcTL3Q/Dq3LE0X1TUbu1YlM99KX+6CUiYyKRV1dI3yyRIZR1VY7a/VxowYtrOZ2jd+W3RQlOS2+ZuyPW2D7FkiRCUsu/uo/TdRdpBM94UqfO9bxSyeaW/9LgJ6dyMS6Fkxim0NJFL0bHAgrWiqFdaPbh+DzD4GBfS7Yr7wIU3K57UCvf3SWsWVDkyE+/MtEebfYnB233rUz42I+O+hestfebCEgdW04sD+hnCW93km4J6W7SGoCz+w17Awc3z2XGBez9H2HJ8yHPN9+wJm84luvPabAxd48YtlOGc6Og7nltXifhw4PD85/6wFociqoC7iKqatUyot793kR1ynCeGnmTzTnsbjzaHJHz1mUN/KOgIK16Tl7srvTNwOp/LEwDgNY2k0s2BqOearaGTSjT9kRqKhCuiOIW+ClSojQWbL7ELH30WXzz6KnyPK0KT8x7+NvKBKfEdU1ddjsXr2OS2/JeCS4ejLE7Z5Sj43jDSF5LXdoNdumdYA0TLBibKaw20e4ClE79tuVNU+oN2Rhrz51uxNIf5sXs9HF6rS65O8yFe9z7bQSCYsoWOcmO5uBNjUFDh4BKrRuebJh1dVUD4wnEVsokz51vPE56LQSC7CmikaKBEBJ2wKO4MB8S+W9XPXD0K/1igi4uaq2DpaSHZlAJTddfrriZcRMV5pWBYJvL5DbyjFjBRhctAHoQlCeK8U7P2aYPdlURqqwYBo9vxdGHPdP1DM1Qdls7akmYCEPQMlUyqnE+FThiebYi/P5yejho5p/wY19/piP4VLWg+5Yq42Cemi0Wd8BeXJI1y2mk2lAi2DW5ZgOc2qzyBT5dPXfNWLRBppPOsEIWLFteS/GfhOHjPfVR/Hz1faolaGWnEmV/PpMuwE+hyEtm/oE6nWYccXW0XF62Ny9JZuh1T/O9zyEeBJlB/bbnM+3txYJ4zWDGoE8RR2wQxKtGocCMgrE/xq/hVTFqYcA0xguJhIlY+Y19PTwGilEqQtJGA5xljGFBukvJeFC040Y4Nr32s68+IB3kOyiIvWKtt98QSw0TX5vKtfyhUXiZDz3m4LuJ4cLdYqERlmj4scQUZVPdjqPUYTeOckbAOL2+sI1VPW60KMyb+5+bK5ezm/dm2ljiVX35cVXbGwE3rdXRVBO2SbRYM52JFc/SyRTMV8kYgV1t5rWbU8DrkpZPRH5DHfkCXpD0LmlYQJlxMwHxxh9rUMGazkPicvEkZzeeCKPIUAk0/EVVckvxG3FjySlN0qvcrUT1sU0q9hyYdlPoz+bZT6Uggd3OpC9qKLXGVWKPHeDaDTBOpOLWqj2PelG+y+1ZX5APPc0GulTTrAQSLG7xEWESzuWkTf9A0B8CHwe4TuK71UjF1ny21vWxXOS4roApcJqrkSGCUKUNfaqSj5pbAvaVdF6LPW+yMblKJykOmQnfYPmXMQuzFqX+8PjKJyg8jijRaH1OKjJu7UF2SZBUmKrVvZbIychx9FHEPx1nm7sO/mLysdMmN8mEcaCMisT1dJfERZCgM7vWNzr3+ozphYgsbwDzXIfSbXwipIQt8iiPiG10pDGOhqeu4OebNpm5LK6aeXQWT9TVBRa4gM2wZVfvhWk2CAEz9E/U/+y0m5f4NFegSUh2hVS6INWCHSFhsBR6R7G1ROzQw3AlFvFgqHEhximrLGafd02e77XsUQ84DdhRwjETaG+tcUi/8Nhs6kPxb4Ee1xCAcIOkYetN8Apf0zmPSFSjT5P3zvqKmJOVPM0NsusVLy4LdXVxUfgi9/+r32gIzdKTqvihuyAfyWWUe62icG/RXKAyUybSR/6+z5QQRusUVSgMCLfJzTPQB3y/ACxKYC2+WUhbImD0kROcC2fhcQFNiyJb1ZQp0il0mhMxign7Y/fQqvwZFUmLhaHegdg3J2ONYchgxnimmgDD/hGk8wtNp4ST9yzBA35yI4ndrRZF9lHSBhqap+DkJS/t5qauarhpWcjXPnmtxG4vBb8RykywTbuTx1a4mS94eKsckHxWQJ1VDCG86lp7ECy7Eby48/DtNBhlDkQSinDmHdOXBAUx3ruJXxrf+56P96ATXk6RZm3gG6jLiuoOKXeOl9h4F51zjXyheF5gymvQR4pPKnRtI46JQHfRq9g3I3+Np+5R8yQChxnO1bM2zQuEOjaOqaDvWaOB9uJfiAp9y7cX0nQvW9NzCmRzkIEHAdg0PVH6/cTDzhADR+iSyk/fwI/ZRjCGmjcTLMr9yXQewzzO9YRJB9FmOvz2F3P5PgAz0g2NSIb19fXJMVeacUGCdBWVaYJk7SfMu3aYoWI67TvQN+m3zXeOi99Pz+JJwC3CaUli/PCC4VpOUDGU/X78ppyL8z6/koUrz8w0ZT9s95vjmHfGHUlRy9I+pLxfGQukqTq0YedEHlpgsI+9PaDsYyhaT51WCuqmpXa/qEHC7GBJtMaAoonQxURYMvb1ZO9qBDBhfptd2xIZEP1beuf+6i4vuWffoF/hHJcQwL5X2YNMimWxaZ9Vt2WS5JGQ3LY1jTBkZ5Kot/8x5dhOvqCwdKa5C67n7BO6iQX+EgPb41DgJdD6Tw29lixLOFxkvwi8gIZxnpKDlbVw/zh/eLcFN8PHAq5r/70UZoF9an3gHBqD1nrKqI7U8VRf4A/yu0nOuiLmCrkaE1Cb/SA5IyeTqdVhiN1Vx954XCMoFqKMRQK8Gadz97V29B1zfHABHpWG/p2J2Zwodq8EMAo0DF9hpcXQHhtXWmWmSwxpZpjz8yaL12TCX/h/T5S4D9ZXqx/66IxJc3DJhYL5dfXUJyzV3Rx/k/zTk4CG1DtIN74/kBHkatEUozW+WKas/JjDxt2UHkvM3viGex0aNv3yNU5XRxGLYdQ1WahZ/7qC0QIj9QIPmlUTA7tMVu9XNhOEColHsKhEjdy1+I8XP91D0v9BEiX47/jsj+O9wMsTVLf60vav8GRB6zG/nTQqpdsC6eneagdCgoq2UcYF9tb3T0R1V1y1q4DyO9IYOoTbllqo47JDJD/B172/hk9U2+oYfRUIO4txUqx5vrrL0qwF2y2gW7eo9LHhFjo5EtuXz9/A+CfXNo9uEqjkHourK8S9fRJuRHD7FaUkh1+6J2WExSFGKqdRAbwm8dzYnDoOF6lLq8zIDKHH1zWHNbe+oLZTyi3nMzBMTehye8kQY+cJNwXLQgxcR6TxD03hooxOjxzBzWUmz7/eicLuPDV3LG20d9xRclY/sfNp4GgnQMkBhXfZxKTsO+rHwY2mPs9TQLFm8vJ4mfxdydl3Rxj/ru9y5JZ5xSDWWKGU/hIx3WHKvGyYyBgiegwdiyy+kYB51koS3rCmjo/1pBioOmCiXhFIgeAYBEq0BYuoojeZ4fEMEKb2ajo9ugiS1QcPrpccMuI6pX9gLQpRhK59TgpK0wbVU4++VKSMJbEaZIc6s8PRBMVCsA9olTMdT0dbrfEGzzlEpeNZxJQO1kp9BnxUrtyQN17d/lCqoXqsWMsd7gVnVQnFAhzs9OKz3b/ERo85a4/Eu5PxELFzE8Ad+WzZCwhBRen1Hu4FA0hBrPLhMog3X9dOIKjZLJZ8uGKFA0nGzGAEEzsYGE/ys1yo6+lBUKjJvc7mUp8wA/llctLTz7Af1XpInhpHbgDoA0tGtsIZYF62r0OjTNOl/9p/Tw6Q8splCPRXS8+rtGqfaf9XD8aQTuCh0tXAWzoxYptHhGE0InSC6TLK5fB/H02ugSN5z1GyRMA54PGm9nSH7UorkJUaL8Y6raE88YRLPxqzdxoigj9V3kL4DBr0ZxH5c/6A7WTbL0rOe1c9wQ1Nsb94Q664/lBUzAw2LQ5DSB+F1CMRbMwlFQovw3O1USx9w+AS3QeCAcPWhDBqVn1PYUQz33qh6C3hc8tnIRqjDHc5JOKYroc2CAG9XKR2LKYcmufDE5lP2ZLWmoKTQSCO3wVHQtiRisL926EX3UBIGiJ/051Vyouyr+xyw+F0EbFNlLAF456PZoX0Zr/2zUAJS699Td9Yfi7DB4UTtCmS+yHN0B7luiuIsbap/KmX7TlocGFga2TS+lC0exqq1dn113H7Y7JzXeiN5xC168tlwzmx34LH3XvPjHyA2vSm8gVGWY/N18/YIwhoPUJvjlfutlESF4xlj7AlKxptYWQhyHmEduwGz7qODghX3eVE67hCQ0fR6XX9TI2dpqDpfs2BMIfA9TH+QWu/H4fUlVfSNDR+iFMtYYLN7BN0eR+UwJ1hvMv3aXr1n/cHK0676VCIHC5EEQaFPmLC1QKtzhxbE84aW47UmzdQ9l+czUHgt/4eMY2PAxdxwlp2ICIN5LPV5DMlG02gjp9Rsn6kKQAUw51yHjsjAeHYG0bkpQOdyI7gICIkDRWt6eZ6X7ZDA9PAYak0Ebjf3a/6S3h3CrzCzXQcMK4tRzo6Gh3xgc5BuD96elQ6WrCtpIjaSwbi1gXJnupk8KiV6iH9W9kvSZOZIwgao4Hg20N2X5LLBYGO6YQrKyw9PbOGPQgtTTXfDhgM/PDM/6nYhHz9ab3hhUa+2LaS+oEDPQvCJ3WMvrZEJ1oPHkgEUPuGKh6bej6ZgNc5yVhhowwvRHJNrrGWoypIRWBcWgnakjsjjK68QlrPuOPBR2uRoNaeRc0HcSAZdOJwhut3YN4FXDjXhy90zTZCN7xWvDmbcGOI+QFurfHgp+z9hVRZGRwqBh750qezzGRdeN7UGsNMZ9E9aKtqbDc7dNBuYTJd7VvbpM0kKkKl/TBRzQh9/tOdOTAZwJoNfX34iGpQAfDYIx8+sAGulsmJ5sKRgL79I5B4u2cCo7qdW+zi2eLqUZMV3O3TL4yIiSNDRXCGYCdVQoV6phYxrmutQ8aBywcgRpZxZowenard5ebDnMF80Ay6oKQpCpw4kFEW24J90pEPzhvKlFIJcteGCU2ptPwu94S6p87L6uLhePHDvRjYKpvgVrQ56ZPKnrp7Wf7TA9ywMHq7sHqC/bKCdN+k01AcOsXWMFlddVsduw246DkJQfNTmfU07E0HyeXR9HHl7mKBnzk4C8hr7wVuccq+fD7LL8cd9HMTQ6iabUc64JCWTEnRCLzG5c+KM0NSOUdP2XF20U3BJGjpbRd8686G1jJwUWjyMesKK5sNXDSCHg9Rve6UAgAjPEG76EbgJaKfBeDYF0nTXN7C3fnRgtRsxfChLHoD5X3xtN6pdYSkSz62AuU2W/ug2sPnlCR+SqJnqS0YKakdp9VrlsC9X/Ii2gDMyr1/FEKsIUQxO9IazynVJLUq0jGlQw/VlIbaxG/cEaRsp6+uPhzlFTpaNhCctQVYsz355VvBWb7SUZ1cLoNRZUQBWAu+MAscu8+UDlFKXNNOldsd5Z/P/l1Tb56x6I01IPuwFB22Uz2GhLnnlE+967JijXJhnnKZ9++SATOT3txQEbKQmn6+Xipg4PjRwt76iXnPAOw+X1hjOwBqH5cDpLtbbzHv3p1c0pzjWlQTMm7gbvmrhQfiwSTeb5lorLp61EZiZchOWLOj3t12GakAkSseBDVeuvr8eS0arfeMprXBY3JJdDSPt+gt4opgmDbgSJpfvsGRnhj3MUR/clMrS3kccJmevnIPnSDmQHEvjhqI/bLXonJYzNKQHemNrhBDYtL66XyxVA0p06EstzReQvR/nUoFL9aKb33WJ5WGSgXsXkVdgincY3AmkCGukCWhykikkJ9TB7m6kOb3TXN4e1z6aXl82sJhKNajCwONiedUeCEQpmxn6agIMg2ouwU32y6NhSLs5m26f+OVBnzodN2tenlJ3nBhThCyewlF6Idk29/we8UNGs16RLpt612GISuDiqJ6OLDLPHldazM/TgZfOOEz6BtA9bR1GIUTJX5g9BXiG0v/4pDDUp6S9aY0MP9RNPjQl4G2Cu2/yB6Vr3Q1VlmhMXWScNRGGsYhBBPK01YPyLJKbOZ4mei0aGcMh9D1ktBCsiVYXVW1CLoh67RVdV71DfJDjaKCJLxk2gRJBudlDkQuISEF8y3KqTm6OphsL1pTYULTk3Cf4+EqlhUgQxUrwplI6bRSG54oKc5Oz753PHTQOeUubf4xr60DkptuWXe7WkoOkIPlVMHmtEdhffGj+eRyEX/0YkCNp/xyyZLpqJGMPhCuFpIwzy5QCuCLAGfCQiLa0wrM5/E81KK1ek1/nz1UbNty9yzv7bUTpucJ/QKEuLghq0cRAXmcTLogNM0xOAJr6jhd94dfpdijlT340yRI80etO1pCxEiA4WuLRKDdnWGv0W7XSO48BCZLtMhUB55ypxIygEazQUTHApMBZiQgdiA/oqNvqWsa/94VM+stYmNtF0UbNgnuWTMS5rjyWAqPHeID/gmfenv3TN2juLU85y437rinL+RyHUGuzVEejVxQcnSbWZuvQirxSpsrof89rOo2zEqxHG8BKAadybfohuq0NnRGoPpbXlZxz/u5uvbT1Z5uZF2+4Pxg6KLvbHADB5cabR8vXveIygSjXV7jMeX9vib7U3MmOIwWOBoszzpKAGwElHBHQnHtQzdGXLd0BbEpQdZMRYjq3ayAPzlWTLVts3AMOHp/UbXq9swNVZdb7tGxlV2j3MKzUoZXN1zpmWRaPuxsMcGmW9+J+BFz/aAArtOrPsFfcVUr/fN9n1oIJ1IG5zuaGPUMskTzUdhLcjZirJ5IZ8nuP7dSMpibqbB2oOhp+JecYx+t3iZmh0p0XPi9t+kAE2pcM40wZPaYIxkZ1ukBH+Y3j5QKabAB+8cIKS878mOokAc2bQfxwrj6Na0E/JZU2diWYIkRRdppcM/sv8LgWJ8pfRlC7WO5lMCNWnjDAk9OzKc2tnJRomeyNDGMG0W/9DeR0I45A0n4cFkllbiL+/6ThV7SDKyy5ETPuIsVgAEdzbZj3YnWng4lbUtnpWb4luP+/g4WI7zrVELUJKHaXR4UFazEpCKpiL9f7Ddz9YJ4Jhth0H4f4l3X+bEMn1kQA0iILDp+sP2yc8ombj8SIFRdGLfi/ZjlbWVqK6Lk7F1+kJueKY0e/BzWjW6pkOYhlV+DmrpDNhK4TLKe3bfc0fC1TL2oxDyjO8a80oCXZMkjlYV6dOUBK5rphVFNDx1H6OyNRVijeU7xfd5mJlsEUi0souMGsynX/dUcKQcHsp3acCmBhn0GHZP8P9zFrYcckVqH/PX7j4Np3dU+tmIeg21b4DsZfGypOO3brG3cRBXNbJjNziZhs9Z2Q/9ugKHPiWgytWrzRntlBQy7wWI61hoHlEBnez3OwCRTt7LLWIpiHErEWROXWgHEF3ZdcD5kOnJ3kJYDh6tAWTgwxjjBEMTWukcDKxH0V4xL4uZtHfac0A7DhWs5NjuHih1dH6lfAjvq7ZGctUxEn0YjNjNKt8I4Rrj6jvdZHRIkjPZWSTwe1UdhYbPrvatjgWlXJicxs1qwd/USRrb77Ioi6Mec4PPFuhxNY9Ed2984Xf+Tq93sy9/0lAn1+ZuLnptUtZPb29ISAN8HpFvRPAuz6Yb11lTJyQlvbDx408A6oNaUniEMPFpK0yDm6RV6jnKEqD56+FWH2u+BaX31nuEb5cReGxxCuH/xyO3tRAk82Xgp8L5DgMW5SAhKrs6uKTo8WGiKSiLjPJYQ22eig0uVy9vz3DZlMFek8Gqd8Yg/oYI2a++9UTlg4W1hXL9BJTlqqmUX2GvIKv9fhqK2sKTuzH031l7mlyi40Zs6alDK/of00R90RPVAhQ8fcp2q1S8r1oQ6DCPo4WQzfrMJyKFQQGhrB1O1hRfr1GnXmgwHUL3/b8qOmnbYsVxQn2TZ0hCgMpMuzutgMBVokWmXWVHgMRr2CXHR8nm0KRJj5w7GbsxASuM8e1vxFjEastyf9diiV7iRGYnIK6Nj03WGZa7YD0SYWD0znfWWr6q9IchrAG0BB6FFDDD7xpwHlNXzTKxQStJOKZNI+h8k0bPH6Jm/QAtYpX42MX6ulBgrmL/SCLchj815223kLSM8aaZrg4Qi7A3zd+NmugCSy7kDCRr4NdsS+X0yIHWicIqA50clpV9gOGC63ndLKfEeXGK96KZmKkVye6u3nCV2XKkYJswktd1+6RjbwHSPvPqCB04IPNGrASVM8StRKeRL07pLSVevbggxvUM5zn6AXsHMNQzSq5pT9QDF+yewMmfGpfHfs490gnX4ukF2ViqNZ8jnOTqIxId+q9vLYPK4kiY5Mio0LqvrzLWXikAyEHh/Isd7ivLsFVhvmt3rtHebxr1jMPmQurUM0OxPd8PYc0nR2OaPcSJWUX6LgvoW3jG10uwKDP3h9IePaE53F27he+Nj+MtpvZGbRZntLKOYJlPxTZpQhiaLBbkgRVwny4jqubzisQmsoJmtImno1ghMWGiQV0eC7zZWhEg2fRUG6KKKmj08k9nETg12Y3artVDlFA/+1U92g4M7FufW1m4gZsp8qGF1OmjwLH21SrZM/8NLAX2OtKQxacb2LkpeEglZUKkOtrRkegQqVw4ruMb12cSytZS+mOTznECBxhRyviu+/Tch1V24aMmYcBxV/jcqvXTXAdG2tJy6B/S4IuuCktej2vjQJ57lCdev8S45U93XdFl17jqMo8qODRfbLkDDj6BJe92Qxtt176PWugQTxaT0kUPyA6EWoHZNrCyIGLN1cDhU3FqjpB+VGSli0Z5O0nX4UkHtGpFLqLT/herMFezVOkibdK+fpPN2UKVk1LSNeNGMhExBlWBhe01zVK7Jh9guE1XX/W0A5gBGlN+Szi4ZL7VpSMpqX8zSXaif3bmKq5MkWZNWNyqp0/UoLYhv7ceZniSN4+ikLnigc2YlWSGs6RXnPnXz8hNVHQ05MPFdXy+9oNAGAzStQPl6UJv/GpBzV6O3/VEVK20XCuKWjkzTxfAIUKHLbu6YjqXzidX6Drelz944+xtRPhqXCeTJnXVRHyh491GzKU/Ne/lobm+8NN2kNZfKIUUjwj4wi3rss96hf2IlstttAFbrHYze/TDxm1nhfXr05/LC6ElwiZ6Eg1aCt2ToRUbY2uxQX+3d5nAMRZKiAzIPIXhEV+dExM6pW5rsYax7zCELOttKJCkHyiwCZxrLhw9bHzWJwNo0I+X68DmYucBmO5h0Iq+zO6A1tvR1XqFXyMUJgrIaiukoFHC+r9Rii71amgrPHejp0v10rwLTZwd0v7FKAyd2sw04ZxRedTg0HFCNftShlB0dN1/QliZvJvKSPf6Ilcc3wqaW5WkGFQ/Kp35ZjZv55vmsbZcW9wIFZzOuOGaTB0546RA67UzFpVCjNYeOs37/gnPVNiTBjK3LGUBmPzenROEBP6gUdUaBHBaCMu1MErv0mHpCSSKhPF1k5Ib1uTEOTBd9AwNLCk0QMvU0x5m14i7lh82VYFShgdOWpbMOfzQ99HYSoiO3AmN8QPxvfm+FU9q9d+RzO5txM9Bi+ZppA4FSOBLQRuOPI5THypN01RfRP5voxP3ybTtcoegL98t88cmvBg93LEQgyUxQGCOvGaBssQ8bEKKuoluvktG/HhD24Nt3DHtC+T4pEU+mfEX09LWA6QXwtfhpsiCBQdkAtzgpV11QfFlZaQhOCiPSn638MPAhFUvliQJYP3MoBGHG/ZqCGFGBpYfmk6HGOUk4snZ/Ut48wudOSvuea/3v7hyr1+7zd26ZH9zU3iHMchqXBAEAN2BZTqsnBg566NEXJcdPCJz10PKH3d3xX33KosVS2E4zizu0pSBVWWrkQERoyqEQm+zMp5RGtbEK3pyysxCOOH2rblMh3YxqSRWvLZF0BD5nUdO7kKeK23ejSwQX5pxbz0CGzSwNOtQOTOAmm7p+03pdxpshNCTefGEvRl6VUVNjTunwhaKgbF/CLmpgGaUSOOSkxA8CBM4cnmq+05y5Y68Y8KjHr2B+ikGEHBDxgYOvnltYazx1YLo6pCPgUBZyz7sy6zOTDysGilF05iWKAJaqXT2R8muhkUyAvGy90ygORMhnX17QU85EJa3MITCR9gGxqYGT2B4qqH8r1YZnEpprX5uKpo897Tu3F1Bl64yZdi1Gp0Uw+29kkpnwSefry+oC+av0iU9Hf3tMjRrCuM9goUS6MRuR6s8bYEm1Il/tJ5PcpGphUmVN7A0237REtlVv13ccidyMxX85Y7DH9nU+3QKiEfi+lBAXBjj24BKUmpfuzFqPJQ+yD7TY2Qr75CVaE+2Ev3uW0leTyoFCnUhfQQz2vaFjv+FOiHyWiuXjjCXOwVNdOAOQoN5D/YG+YaP2RcXXy2H2Nn++eS6jegHC8qCDbe5OyRUDaO6OLObeuuWjOJUQ2WABVh7WkPYjwNO52CMCH/QF/l/P6dFWtBl9ys5I8frX1KrRCI8auUU2Ap8OYkI49XAtpzt4EajpFpzkmr2GpS0ZTreXsKP1tjn6lv5tOSzOolMAtHDEN6Y/5Gl4iWjDY2tNacFjw42uJcW6VAwWpiLxaoOdHe2DXXYLJIzyFLyd+XnmStHFsOWvHSzDosVn9Hq5KOidgGJLadYzAoomtTilfY5Z9xIQh+8r4aSqOgDuNOFUfE0LDV8Y3EW5CcSFvVZzsR73/d5mRIXSwG287uYxgOX9cnrPeOqpIyfSLhZg/bcB2Ta6nL8EFGasDkJlEO314QzHo6TXtXTsSARljgTDEI7Hq7ZOwcPBqdFkptaOhp9Oi2ocf/U5mc4Zg8PJoFfA4xAGWW0VSgVRt5Kb1lp6u99jKkxFRngE6Yfky1ZHjooXziCdOPeajFcb7PBwTkePyT41UhMBAlYusnHvJ+6+NRYOUZ27UF3KtzSIclv04LOcvUDsXtEG+tU1x14doblLDhWiiPiO34Dqi/6PYmlISS4zvSCT7A7wLiP/Z+ab0cO6Xrh6mj783fE++q+hE6pPNOttvnghm3GN5P9+ByQI/djjGd6r0S1Bl6igpyoJEIOTJezmNC3ry+jjT7qZ4dABdIdThwNqeMvjfu72kTkiuaCf7I0pY1Kya/ZuLfsfot6i/fGZwfoEY1kFkynNEspIcYNPkHiOHEmZzSSkv/51s/XfdSyTwekj6D2C0krmcgOt2PNRzvosJeXYlBQtaqjrvuFz0VVzlwKGv+Fe3l3PTm9h1idyR40WYIW7XbDaYgSCWHPwgLyjP6EhZZy8t8IBey3pmSv9XSV5NrlygHZTLoVLWefT2mdqo9rd1gb2nVHfx+PeEa7zd5mDgGBA5g+kL/4I/i5sUkAsDJeH6Uh4EAWyR8NrJj3YJR5hFLxZdjS19Lpr370LFqP2OG7gLleo1MA7biSBOqPcMWOS07dbgLpupK5FUwiLSwcS+T3z61qiQU5pX/rrpF1FyoLbt13n6vt1NJCqPkmOjycmho/Ym4mIDlfLHG0J4sySwQwxBzlzkSXyEZv0eMnVt9N2vfQpHyY9unlB6VhUAT4RlVCrXdivioJgc54U2Mhk6FbscZcMxizq7aLJz7apD4TYYCI7OUfdNYh63SJdMTfQnz87u64cquAjPemE518XCUQ3OxCQQtGpjJxgFnne/LDt7lV8lKElFPHy596kzP0YXu7Na3wDmMW7V3BOEzYXse9RJgsIF8sa8dKGOhbYpFpNlMPqqM+iBFtkouuyALhlgEBHf1fIlXJhRRhMFPggMMCYnOKywj/s+b7ecKbE3xqCOaYyCc6sunN4DMaQh/VQRBOpQnxf5dfXybQ1o2avd00vzzZCDPtaBgSVJTzkzg0nezj4UTzOVEc4I1yxRDGOUe3/4lvdVG7m+nwWzDe9yQ/e4Csqg+6Lo/CghLtoeetCRbD5OzrI18vKYror9iHLvB9nC68GkCt0Y47hApY8SQTSJGP2lQmCNiLirJMAeoxmu63XBrOA4tDdXPaBvsJQQBdU1/owxZ4CrCmjFAYQYzpZNAdy2ypw/XuHs5iGLyxz8f4C4Blgk0qVIR1jwd/43RNdFRhotyvJ5zLibL0OKDkB8qkFwIlElD8iZAScn7uakILCI6dK1IAgFAI/ZOu9J1cITb8Q7dKEclLBmIlytgd9U32hY99Q1iP9lE03/x/8/sNWoJz2JI07J3IlsqYcReXuRdRpNYQGdxQlsk6yPaDqW7kZVODnn9/CmS3tTL8vmRBhSBKHoZX/3CCSXgkpM+DkBuUw4TqUarYfuqH2LBRVkCCiZNltMTVASekRGTqsdmoLPuUmAHHeiIRUVHIf0hE8zEbuvOnfcGys9YvjX34KNEo40ZfAs5Mc2iSzKR0WADyPNxFxU0SozRWDtZ4LZ3aEVG73ARRfujRMMdfTOhuQvwp9Jm3ansWTtNfLcKflXlBFOgE7GMIJlZB5AcIQnaNM2BtDKcSgBj7XRj4kb2hKk2m4MYd4mvM6rAwAmebq/rrVLPhutnXekuRU2dCHhEOR2x3UKmbvThmSRvVEWtJAo6uT1KwgPHLkTU7gbOhaMGkJ+geh9/5JAF0a+0qonjp+tYGykO6v2Su17Yp5lpGRE4AEf3JKLZEHtCFRYLJXlX343O3XnViAgPFCZuppFik8kTsJrOPO14lfdkYLc2XDFBYy4jF4XluWPIT6pYpFZJA57+GktE0+Hn1zl+b5d+W4p3EojVpjrWciQoiyKuSGiSkFkkoebrhTRYklvg2FNFt+KvcmgdGEtbzr3dI3GWMq5tcml0DmZsAiitpDiQsy2mhM5/EUHUWj6pLMrgo47iQUrtpHvFmjvvpiKzonHuQHaJIcNbe7M+af0guIVbUgdudlq/yQCvyN2jh5P9lhL2XaZ1Aj3PJ9XcLUOJgLSs7mD6XVFnBEKE+UknUTRxPc+/2qpIRgVfK2nnNeBPg2AQsA0YReef7PI3WXTeH+XMa0lMB8jb/KpReiaBXxsTo7BIMWJUwfYRDqopkUxWMN8aQkg+dihRVDEDOc683xx9Di0FRDp67kziwU03EdH+1wgBqfoGkluj4bA/M8UoIRTpambLDsS628B67uIU0aIXTATAgSLlCmZFNr46aZeAHp3wlHcGATlTqEcPN3bCD6cz1ACD6LWKdOBIygVm+6Vt34S+zeXPe0QWROT1bZ6TkENUSXHr8tutA4ViYk4aWK7z1IlddxkiWtm+ubr2IYYLg9Antkul5TTfOmBn092WfPQrhGFC1AFcQbxPol60ZsEz4T8ky1uYgXKDwNO+mnzjKcmyRkCI00NOC5GFhy3a3vHRty0KvIQQ4XDajVHSfO+aqs01Uepa3N44KSPeBG1sz2dTBgGwJUH+KNJAkk9EpZrdAkqRKDXt2nDsnfm7NECYnOpHS/yWm/tLQ3CpmZuUbkJBOSI1AYHh8ZdoF/IN+FuayrwrBZR1LeNGlWorq0imtiiMpYcjh71aTL8l/ZLbooI3muo3iDkBbe096U5hXu7asixWHGy7bb++/QpfrzVe80RiLqe7vw3THX5zzCb9cabdVwCbMsYvED9769X1kcIikoDmiH9bvhI7IlSl23Wf/MUDuP3rivBY21GgAYgzlF69R3OJjHLfTUL5qyVA/b7o6xE3576D+vIY7+z9VV/iDHhiqBQ13H2SRxOFJDIiLlNw/CgvMUmcFAlXaX3DLT1FQhsxVYWlwo65g4mpnuE4O95M6EMZqKDm2kBKOBIWxDcUVlyf7glCOfQ+B37AcwbBBQrmda7fU0g6aiGp4hk+zBU6Hln8pEBsQpjPv6yPa5MnUez6I8iBd+hwMfYo8qE6LkSfwFtfe47rm3zRKKPjQpRmabnHtbfWLhi8Ac5wKu9V1L/nPRgvsH0pgWAQ6ez/wPhXB6EqzBVRgC0m8u7PC4zG5jxM52mi+V7fWnBPIFZcslbUgHtdRsAjHC0zRKiqQLEP6jS8PoPLlf/M9rWTkvd+dDO+qyoka0I4u2/tdT95WAVacIucc4IHGxnY7/dHJRKQNtvAWQOyVnnSeEpa7GJfSPiAJGEhRpCmozGVyoUhr2htLXh8jWNTpL7P3LjOxf0G1FzZGaKd1ZPT7Pabz7tH6PGWO4UV7RKcJOAoqEn0teuyAmwyKg6DpFk1qfe2ccXAbwz3cw3vcPPZrHF0+gwAYRd4sJkwLBsmWdS7cZ2yQwAdbSGZbkEC0jrco7gBmIvJsmMh6pYVzfAzJufolFScJVHuXJut1gD5tn7gIhdRUuyE5FzU9yo9PGSSNjJPXIWKX3QLUrl4xQ7flIllUsf9XElVatD0wiFllHwk+yMmuQX471smZOWClItAAA5ccFEPA7pdAsVQdsrzLhp6JQ9Sf9hXrrn4NsgmKjVUiaHTbQX8q5krog3N4tFjx3DC569fe3L9j2ZUsLbHbxxiPN6jPHBedX4KAsgHSpImrZOy+oonc//fzgLdSsBdc8ak7PcNMgidA9KmIcZ5hUhvyYxXAdkykTc3HvrzTTL4mx6cD/lol3B6cguBKYt72qxMtD1KVIV4BLS80dhaa8R6vBEkL70WO6hIEHmI8A3kzHFGEyFgsbLrM1dMbTScjyspFyzyjpKsdqy53/8uhPyE17+BnPjcDleq+zc3y73s1rWzHwithxCgQ9j+9lD2RWeIsjxdyRRF2XBxMz1DWM1oV8z1dR5gXNRYfk1fVZwkq201E+2PKHMOplmuJGhnDhH9/uf91xGD6PgZlqjKJFzCQouQotJkOCFvNEBzLrMtWslGz2vp7oztsT0Ks9UF5zOlecunEjRou07HplH8T0P+WepEDYex9qpRW1SaGqIcxYGLYoJiHpDMnQx38F2wVuZdTfKnBF4tWhsoLJdbOZOOPBdfpffCy36lyd3QK6UohE3Dyr9xDzFPo91L6hnZ+861PhjCBQM8ij7KGxpIe3hAs18h50czEUE519vZaDe5sVREjBpTdovPyA0IXlFhoHrwMvaIb7qhW5wwPQtFICn+APBwFIXeBleEG97gy2M+brPJJxuos+pjmBpELyyoJDLCbNOhuIJP/gTUSxvU5M3yGePvhsYO/FSmvip9EBK8wl5UQAVrUlpfTVdAhAWquD/cFbEWYbFA1ffyMx53/WyoDjKO4RUjp2KlLGgIax7pL0f10YrmEm7OwwbNGC2QnQS7b6Pr6SVskkWosQsgsC0beBVEb2lqWjgEltQdssRHtzA+uBcXIwnViU0Lr3bD1VM+EbTN+Fnp6n/A6S40+DoxUoBvbZdI7W+ut39rUKnCHIVi0N2yK3hGkRshd24RkcBdAZS3bdc1Duh4KJzGK/wHGeUjSITF8/dWHqlSrBwzDttpCRPsvkHMNVlzYQjfZhwQTdu6m/mQXdYFYy0cwCG8PFk2mumQ/C6tXHEO/ef7wtifSAU8w2+r9BJo1ka7pHU1EsQEWO2T5MF9AMesNHSK/lnRfSTDrXL/z1fqVPQioqiZrCzcfr+cEUSaOFJAbPktB3fCbTkHNeLJL99y4uKuweRuzcRPFh6FhcUZS84ACTWrGY4wK56V7zcLUT8/bKYoXnHdDUB5iRi6fn21UCWU0zsdPZQrFzYW37uD2TF1MQ7ZO8W7bDr7FfZs6VbdAXV0cBk4MH8AgwKIpryg8HiTlEc1Kjkrn2i6C8EynVhYu8cZ8K5LALu8k9P0zcYsHWSa5Y2iEHX8tNiafmdTGWe4daeYQ/E3EuS2sm6C8OkwuL4ZK3vs447qx7A9/GZcHXc4h8yfQnpvBJNW2WA5GJ1gXVE1Yh7Elh5/LcE5CN8omiM/Tgq7H6ltsDWfsy5yHrJgRMTVBBdXX/JfnpT1Qbk57nU6TazggvvQs3ACSPq6rg1h9Ltzkl8th9H56m+CiR/PW78WqPMp8BCW8Y3lQV/goqo/ThiWqe+5DjZQcyQrH6ieWonwM88k1H7PcTWBaGvLpZdnpYGhA3S6/d72SaWH1m8G4p4fBwxKqx1v8Mi6oRHiRa7GdSIkU1aGGu3eL5rWcmV8QLamp2UdLJtbs8Sq65bkOlTYNQZu3zl4PbdH/Ts39L1P+ZYsJ2iU1Pbc5Q1DmCOD6tdnxN4ZQcfRGkAz5Jw7zlwkq3dAnkMXyEeOSj9Ue/9Nfn3umskTOcc4vCxTRJvwj00fdX2G0Lec3lK+HsUbaSXL0poU3jrdNJrX9WgZ0zZL4OmuK4jdEnOcEyg/fHzEHZtw8QhFOEzkXPq90ITjOsn2pnnYZgu8GVpp6tX1VojVrG3FbQCMLdYmfi6fxFpprkYwBxSgak5rdRfuNuemlvpp4P18ghvMPy5SMCpKFiZUmgV1oDwCRXwd8iojaeGrrndB7+lyRm9cH9rqTXMUhn2Sld7wNGLHkjWI/mOmpPIIR1EKa/PyzxSQbcuU6zzZLASoDLFw2lSSkAtSXT2k8ScyngXNeyK5o5ajBFkZMRS+0xENoYTePme12F8X6l8gktfXVLSK1pKih15/8AHaLPhqJZydUBteHSHpE2h9AjrDnAdXxLvfPekV++e/zmPOirgdka4hoq3fOISRmykLsPIaCpb/BURZNXD6H5NVdkU3Q9vDGWssR0Itj5Qp9QbpTqDk9y+X3VxbpKzQCfUO/O85FLXXjpI79pKRijjEE2E8Bmtosi9wTcpJ5YdlInoKY8AJl3h3nRU499w3ya9Cg1eO1ZAcV1WQxw3aK4Mz9ZqIYFseqgvw3w3XKE3QZCubjQCXOMienOckoxTKlkzJEGwkBrJgeG6999Xmtj1FFWpI5wiRXSWuBZXZctYSyOWWZ63qgWJvwEXcuLvUjyRw7HS8E+hSXhrWZG0xUgasQODgLuXqjw8UE2vfRKPiHwi0spbhDhv5YsDLVF9DPR/tJ4wU28/HUaErxGMTjisalmi7XSqF9DZy46AOCg5zE4E3BI+tQlHUUpv8YVq0lOf9Ga9GQlRnRiqOtk690TpfScVnsTXvi0r2gx8wntA2SqvwR6IeWL+zTkzo0TyrXWNfFWMj60MVF9oZ0DBFWR7VvcgsSYLAgd1mgNKbS1Qc69XLFrEirJVjyZq8jpJqA38YJVdhoAIKdcTH4pfI8xHn1B4p9GUsCg1FNNPur02J9XNJHRU2z+2RCvq4E4XaT1IPNSFjYj2mOBvbdT4vOvKQWuMaRqHvzwEoJNcFEVyF1KQkoH3mNXGfergZu5TQY62kAiWS2xy5DWDj+udBTGW8/dMH8BGn+lywf5hGqtBgU6ZKLWee7yr6YPVEDHT5qGn+GrBysQrdqF9dKXn3qOxoevTe6/N8y2E+VsXJRl1u4x2Gi9eh3zpWtGbzhuSwkCRUq246ZFhCEaikdtL0pu4WVO8MJGn8jjgHzjLSMheKUSQPNUUipjQkWT3F/UzYOwoBsJJDs9/SFExSjbGP7Auq1VLKAZDbNq4qa6NOQGpBHsxFaHklnQppyjc83tvAvZLJhdCOuQEuJQ8dWYvXugB4Fa9xLU1bi7lQswlY8KPjIcDJLlDDO4IC6Fxg+EJoiQ6NRSruAVCeA4D1nAIFE5L9BH44S3H26ndbx3JF6dJftiIOIjM6bHIU7CU/7JfMxys/rfoub3P3pjeBfCRzdq4Ap1Yxj6DVMCDoft624gVVqVrOeB3FzHT8hV2FEpWYhtmsNzbK2uz79e8HSdDSBcVK7TM+qd8437xffwYXHz0co+vgr9fZACdYMKDAc6HrU/bHf/j6LqFJH84L00ZULuL29KWNaF4R4H5uoNN1c0+kllAXythb1MhT8Liw6rR9UKEK8DuitP+HfzyCmFR2cTxGPTl20Sib0ZPGbhzVvBKYxsfPOo+p47omQaLfl6CKdRrV2yO7Ntc+wCdSo2TWAaUCOjJpDlopkyNWlGdQ2ATpq5FRevpyBJecTVVX2ai4n+u8ifZLsID3PgPuioLdSyDxQhCbFw73HY8oSImHb/UXdBPVjNC/9Yt53e6ajgvmLxep8ocq596EXLfPwwNtJ/FXIeYJa3KTqtnsHGr4OHK37SBVStV/4ZXs/ElrXSYl1LKQRrclUKCXaXyl/uwMhC9ICbAVdl82ReLuC3Zngu7VjFw9u4e3HU3IVKqcY01ytArVSX6R6zICM7+fPQjRvjM6PVMZLHfu5jMsrgHMLbkJdi/yQndGaHvkaf7ON6xiencNRKFyEX8L7u3LwDwajoj5sb1wuHqGz2x/m0PlaqXYuGwct9kJqSLWPUR8IKnnUIgmVLNXwMIUvov2MNsF5GkSNMP5uOuQTQMcT0ITMih/rnbcEUFKKtcn1X/6p0sfQsg62hoOaYAsd9fu5ppeSCjMPFfAKQNe+auls8GSRgtJ0kV87O1zGyA3gnxy0kPfEoVbnayKVwNf+I1zPY77SX0JVXoIjF24mRrZOyTepTUfY8qB/qCtJOk/IuK2FK8VQVqDTDHJkZwi1v369XhZiePmhILYgIYznRtuw6hbVFjdt/cXRPVW9h+IywLST4TE+KEjo42rw/CH8iK5XM87Ui/TuidRRfHeVX7nqt8LDZPsRYkVPC1HrEWqXhNxNMYYiMBUSArmGCv+rLosmShJuawOMcDSKMA+6EnPk8YOybkRAfZBeZXseGxoDuvWjeaFPFOzvjzzOyeWusoovab8q3QoAWG5F8YkHD10ZZDYNaQy8rpEl2vew+dHJCW5hK6Nc3mGOdVHv2R0JQv7eSYGQxXvcKSWlbmK7VUPX5KanDaAKSu/aPhQWOSObP+Ywswf/fpYXelZXkHIBoNDKO3MxqGnMakA8YbwLECOuLs/R5oZDGPvgKjPiBermeFsJTncQIMGIRhXvZjHfbZuj02XND3GqQdgZoMsZkqOBCWSacxxqvHiVofVAdarR7Dn/IFzgQObno/rpUgsGRE7kK2V5Ju5Y2wxeg6cR71AXPNu6NDWbFSjzAH6SGWvwfRtJaPvsK6HHC3TYdEV3mWKN2JgvutN3TpVKiTisXZa4d3JFNoCrOx+KyCZMb1vKUxXhPe4xC8CTMvKthm19COI7bZdkETX4Syc72Kmasg8Au2C3V2SFtlDUS2ccFp1ia0hN37JC2jbIDpdYNdgx4OP3I1RKtSg9li6Vx8qETpyPONu5fUWsX+3I4956oyaKjUBuvYzl91cClzYPeGpEXYM1U6WDxsTMQDBp5jrsDyUfJEgZiXVyIP8GYuUdcCo9+LnOzyj+RwlAMXpVxoiAxWriDzyw+j+I+zoMahvvZTJ65q7fF7mmdd7YOqqXcEcEJ+3X6Z8w3Ow+ccXOZ2KrjH7CWeHh/q2K0EsoSusRUa8VIGldi8IAwNfKIHzGd7SJ1D+Dw5PAM6TzL22LtQ5SfCUSbMyU+Eg9a657TpfT7tQN35XYXbzc4KQA/joNJinCxPta3z2D0zjWJ4jugettfBNPqBLi9A03brmw4el9FjvWQIA+PcEGe0kdZfF/4FpKn0jNHWGRiOdoFPenk6RfB0iK5BXasOkWOjPPe8+ba2WWo++uzBTuSPGGdOan1307t86V81TiQlYxjlv6U4cKEK6ofvDlW77bEx+KFJCPzPNSj+aKnwR/lcREepZbZFNvU0kwKJkOm4G8jayLisvZfRuo6puMLKfWChKUhlh/YZYSYMmy72zER2DPKpf+K4DtsVaQIx7rhUmeZWhtaRiooGfPSqvUE9GkKlJ6cI2tup0pRZ4baqFdW/FpfblSqpaOOzxkPkl/CyYgS5LjJu6zgbGIrlYWvD74omnqtdVT0yJP0PJTCB6wKIUIdtsc6wYrvL3k+SNrEHYshKFWrWWdtjatLB7Ss1NiUbhedeWzM8iIY8NA/OzCtuR5KI4Mx01Wf5a7YaNZ35qsrLFAkuTQkFhalL/q1YwIAIyiVXwiQihbBCiq0Cvd1B/0gRSRb9GXM+5E5eYHL0zk9MyqIqR3dB7+q8p7zcFJGxYgKq4KUwI27KEUzpgOr7vKJvenYD3wjr3saYrBMtuAYOG5/53PDhAKabH/hvMBZj38/phm/d6qaagqRcglLvRQdrZBo2nQgzqqIzcqecbEllMBK2mGN4MBlYO7OuTkeBpjyI8hpFD3MsW5dFx6NngGpqakzdSDJDzDMER2AvKTyIG1TBc9kjoi6GDw5GyAJjDwrSQDKgXkSBFp6ZlWkYt6SsFaQsbTeMcNpafmBy3OFZvfhq2ipPj92vXPFlPOXySOHlCFAJ/qinUKs79+Ho2a6cu6bn71EQ5rg8MiK+LnB85BalDm+a03sJazstqHxJUMTAQuuGimxUApDW2Dl/FVk7YckkPa3RiL//I3BRhjF4q0PySlK+xWzSR4xLtmd4kxoZWO0oxq97JySp1dJFyuS5PIGynjF53xX23xt5fmLmiosHj4y8cmq5JwnqG2kcVvlr3JeJSVXbJIokiG6j3ep6QsHylFHlK6yYAKG1/+HdoSrNixB/vnU7fQXZXWrSIRS6w4DfpiWl+7dyGNtjxKTfhscqcLMY3caCFx8oFD/sTW5mCBZBwN47a/pq2g29b/03jp9DtaQDO7P/tkIRFMZGouG7CfKPf1YOvLeEZPr7w8kWddWFgcycurJj2Tu3bRSHqOAzsie6sQVyLxUb+IUZnh1FSxsITPMp4dRBZgvQXnRSTUppCbZDLRK2M80CB4f6AdKJJkLNqLc1c/A/O1gUCxhPobWbPwcc+NZIA70JIBcKDa+s1Zj1cHakiZhlpp3CB+/LjKNQmHvuHEH7wKMsuYMQ7uHzhRO26EyFRmimvA3QcvG2CEwLUg2MdWVeGr3forV97DQbSCBXfm/W4910fVsTjXDtnb1LdjBGtx9IRZNO/k8Iw1uTa6mTBTa2UX57NpxMQBu31pgRvFqJvfYVL7aKcrf8FVB5vvdG416H7XAt+qI+251V9kIxKWSSStLmiaV8U+74m51+eIpD+GESAekPDNnMAxqfmbtlHiYm/en9riwmKgEqbUWrP4epj9DqVw94KtDtDDKu/tzxrrGjvWjbAlGU5/pgNVDCYY0ZRJrOA0mFrOZb/wYhmNhW1PT52pi22xoS0EoAhtUJGnpg/0UY8gcFAJBDisuTgfCbwyHiyRgkzjGs2CsBp6xRVykmalXD7enQZfQZ4smiAN6T0CAB6IFW7ZcPl4zHExur+CLOQxp2ccAoO+Dfq70Nzs/GlPqMKIe0ZaRqn8ubp6Xq3Pmp/tvhKVmuW1pqO3bCrDFvQwdIjBN0Uj4Ry0YXMp1jvA/09aiDs+JDvRJbpG5QZOXreoGrrTK8PxOsq8g68tX9fPSIhakgMxSX5fLfHUXMdeozQQvzKSLGj7xelIVIsgz/uS47dGKz38S4V9buKyAnOg5CsDBiI3hBqfEcCz72xGucrT9X7Nr+o1trzzkuP3Tht8LsuDDvqVKCXRNdVsowo+WYQZaQlYtjudneQd1R8RrELc0i8xO96nU71IquSZxdPOwkBJXcFodzo2GMo3Sb7bE0vXJKDTtYSAt65i40toHhDKMzxf1Uvhju4f2TNhVTbuJXQ+9je3O8ePODwzlIbty3jZN9YnKXEXd3PQhLF0OLTFApFlU35SnA74eQYr0WOZZuWF987vkG56RRgeBsbCzk9vbk5f3J3AmL/KdbeVs96L6jEvMwIQOdWvzSM5OIBX2TiFNSbR/Ja/D2AlejryzYudnb0/nLhc7a4sz1CnjJC8EmVtcMz/N21lR49R0+ctj3oG9eVvAVZnLqLEkPhvgSs76aRGHvMjCzH7MEaEfj0L/iyhEDHRlBoZMVt6zBxdeFjpo1YQgyJJxIMIz5TVGUVz5ybpjX4r+uamLMLY0GBVggjOHxGuIhtlJ3YoeNrCqxjjYbGuvh2wTwUVEVG/BuefZFlyUHikT1ThTdakakjWkt4KYjCFNYbN/k3xPMM5PSa0Y37rYTehLeiu/wcPBmL9jym9ud/OCZY8AkuE1DW0QQc68KG1w9OID4pDNvdOCxbOFqepcs7EmHLJlSIR4Q3ca7ArGnQ+iF89NPsC3vqx24bQh8BvJF07EgKTzKCE0FOypHcOMtYpxlodKyOec3EKdL0dn5nmZ7Ut/cF2g4q1hZQwrqXdI++x4rrMoj4MLJ4T0xn2aZTeSEz+HVdxZFMPAvJqcpy65bcod3Tip8wdgb07u6W5i8u3VicIqnbQ2asj2Wj0dvF0pR84RnNIJWBxPn93d0fe6PWuMJcgK/A0YI87Be+UkxHq7ympdWawq0Jw3TXtrwEDmqUo6nuMvMoGr609iRk31ES4nprH7N0T2oYRy6nVMiskjo31jFcY+Js1YXh+i/MNijHghx9WwHSmHUjDtbNuz1CPWM/pKIGu4JKQdLSP+WFHacYzYrvHo3nfED4VvlcquRa2lj+PGFpSQKzrHQIXo33f7hsY4W1woO6WsFt/0crE5zy3LAGwGH3dpusAt4tbQoCf3KjA1iNkIxG1d7paIdlrKVdy7lCeYV45tz+agm+5BZGxSC54GemDvqsJYUwiQ4yod/peklmIVKtcLH6Anen261FOACA7W/yM4nGEJxL13SOYJcmCbDwkCYm9DfTklsUtFy+XyXYa8hQhpVIej9RfB00RmqWQ+aSXYRSspEO1g8nR3esq+Luo4E840t2XS+vtesEFqluFooGCRfmq5xgHrpFxXJ2oyhF/lwnjTXeTFkUPN4hi9RR08MtXl6IeDj2iJOqp4XYF93Upf6UbE0GmF1WePyNipQrVnI9XRJ0iiJPS989W4OuNPRLXain7X6v791A4XTo16Q9PHCndm9QRKwr7Q2jeXPcAoW1e8n9J5dV0P4ShxEt3+wZ4IYj2mL9giAFPBfFjKajL4RL7HJBKVhlNyiXQY5HnSO8EWpNjam8OFpced73n6SksU0osoLoLAL1NIrz+FFdDR7V99IUS44JE1cC70IYyPKcpaFZQh0vHgE/Sxzm1W0LTTqyw5jGXt0VGl9Tq4QR4YehBXtRsdeNUHIPSOajbFuifcYEKAafq7vDnTfOdy33dOtcWP6CEM7nhyq89g/CxryRRg8g8jlIYznN51Bx5c+n3rEXM9OKJMR5Fu/m37Qgk7VTJFKk5tN+oVcUGYxMvYGbp7ulgIYZNiUW+JZq3CBtDKZ1cWpCettlZJS8JIjUoDZUAZGTrL1MKASopQcJRkYtWCrt679RYkgLAmVj/e8QXIJazGvpepivuvgpd6j3mB1ejn1FP7ToLYRUDCqbRFpaocLB5t238blvYwc9DWssq8vCBbmEsA+hK6kFmvWKGjFoyptiTDpofYgJEoRtAZIGtZyZsvpnfQJBQubPMRHzOnVv79yT2JmEy/NWDiXnGLK8byz3qYjRfvrrpDk7doJc6y9KfLcnR5XHff3ijshX3AW0PmHSyI+okNmS38haIZBU00IBYcGJ6rfzsHsqh11fgBVQjQ86yXgPhOMHqsDMR+mvT4pMJVVjOLA/5Doop52306BLaZQPvqlhBdz04F7hdl6Ofs331jBrvybUDbZ57hFIt/bnaemIlb2N0tgFkBBBImGEJQX4A5gLTgUr9tDOxYigxzbFdDt5pKjUoHS5wh+6Ux3UwkHGHwWjIZepzxJk4znypMROgU+KNJwXf7aEEMWnSlpEs1ABoJdZxZuJKU2SMXSu+rwXKOIJW5D4SAs5oOPeVz4r3rdd5yuL0k7e96KOSG9waaMP6CxUHaP3wBFGq35llv3Kh99Um+NNvCfZdW/2gHf6FmVwVevSELSUtUKwB1o2f+oE0qeD7NK3nkc/ztTO8gdQ20eyXijBZh4BFbXoM12Cw2apsvJFv1Ns6VdtTcYHN1sptvBgJpPTjt2iUYY5u4A3zRNpWXARXa232EfGXHAUiBb/IGPsyZLruytp9F97oCFCU9BjMksD2E4m/CgERmKx+Df04XyGwjRPpqQ9o6rS0DRf0Vjd/UNlmGJUuQaRhufKK6kOZvMW9Lwb3OGZVGAKRRtYby8llIVZSkIJwntbwwdZ6QJ3SqZ2fjpeVJkQgP+jQKnCjzuC5gtetz12vOhY3bhkZUoGmnofqFU3smkowg/lXFNv+8hSHyaUhTjrFHk4XEJL/ixm5Qhy+XjGRNPuMPj+EWG9nBMJNErLavDmXA0Jj3BlFxKtuKMpLtzBjlenLuyMQHXSZf33jUD/zKI80VwM4AJ1n5s+OG4p66pGUtWaBxhnIfm3dwkytJgtp1+D04PyZOOWez2rLQtO6ffH3+kIr7+mU3QpKIlj+LpEVNTrUza06183eUYaNXby2CVVPVOo5obDiwk8+Y0HA0WacNLpVRk9Nu+OpnKxi77masWkrUX2RyZJk8M3uqO3mJ+7eU/imQuob0f1uXvR5aqKewYuG/pQY4bpQHlubtleWejwUCUAXvAWGWQugtUZSyw1xJCWGDpK2cJtwuhg9BrSRmTUvqp0rkB5+vRw4TBelZxGp3b5FS3t4jQSgsc+yJSAr7sVbCZyLsyyqWZOZw03YgGcI2TBz1HSVF+FZ8MaA/fgTK8pLKzWbnbuSd+4M/Z4bvojTC53Tg+6KsdSt8D6ayor7AFnywMYH+Orx80XHXDxgv2F0piun3i6C7CbDeAG/BoI0VhnXPHZ2IZdB8IOiZd5i1ry/6j7SKYoiV3cPBpCb4o3dKjF1a1H7ns3V3bf8tX2h1Urswc0wYx+ISiNn7ErH4ZWfbclkIokkZ1pbnjyX/+Hf4XAJzV2zYeQe+SAXtwYX5mds6I9w680f/0XNndK5sDVV8vQWCjz8d3z+4SPvDKPbaBgW10IVF4FpuPXOqgAX2MbGSPMiZTs4LFeEk+0zX1/vqynlYLBBPtL2mQhe6kUB5R9xT3/elzZQQ6m/jaFO0R/RlGUVKufd09x0+viVA2K4L1oMjJEhw5wDpqupqXtFllT9P2zduAQysxeM6IbMBeEdhwofm4p3Q2Uef3y3/Tg9l6b6PJzn3wWKaR5VkWczIJ4+Y2Z3GArpn6lv3z8bawEZ9bOAfrhHZYjame5MYTgsV5Islk+jbX+q98kgb+slxFjkEj/mwdhIv0W8VVUUDEdL17Vw2B6r2xbsd0MHarQEFT6ir6nBjNk15TvG7IQMhd7yZlECyBG/rtKfVrVPZywR1et6gp+qmxy+v5bq/Oy3Sth2UF7mR6fBnuPp72MQmrEswJlN62xDRTy/H0HEgSSso45CQnmT4nNdrunOW7JOA2buJtPF8v9MTfKSlxaQy5+7pjyFd6fu2wUyxCTit1En1+fD4K84GL1oupIpEN/Q6/Jtlm2CYvRacr0I1HHM7lhGRGT+OHJECCHsDdetxDg3dYCWuHazddVpzZVMY/Kv3yumCRPt6Kgol7JT4+QKmBKqVaus7ReFV+GfZz15JW25VTaAE5VBEx+Mzk3/NYBD2eJPq4zTNXdlHR7f9mD3eOh6c+iFR0U14D4ve3k3NJaJvrVv9w4ZyhznmqocQMAR3pSNtphNLVuodDwySEEAnN0cmqwEdXqa2qE/PG6+UE/MJMdFOn10JQIKPxucOf7CoujHaRZAVw29UP4qYU6PyYUWxh50hhX+UBJl2QRikGR6G6Hq9LstDRel016iqktvoIkz64mSlaqyCdJHzZfkiFfOCxMM9dO2DMDfJFGuWyIL6aAnt6LvCxmh4OEv5vAiESCcO5b/zaT1+dLgRhAlC3ElSwAOBpCfKAhxBY4ke/0SHWAGL0CJ1N1Uql1SUPRcgOfHmjlXgUw88B8Mj94PHfGRjkSUk7Ba60LwrMueYXT7iRoNpherxd8yD5J2rVLeNBaRkpB9Z/7tqaN/o10Z/wYzbi1cHuNV0PT/TqQ/rKJgBTE3JkY7/E3+TrVDDT5ux45er0ggtvVxgnFhE++PuqrHOGSo0QScRJJ77E88g6z69SedCWyKi74JiXIrsCmgtfdlRHOIdI8ww90VVqWyWZ7CDwLpGJQNzo1WJj6lwqQPyT7QvcEAR2Vb6iWQismNiFZBZgWWbiMI4AdjdBObPVcFRG28+s960/H205kcpVtTXpemrAcXxD1j5JgwfFe5BmpQA9dZEmV/HjUE52Kr1mjYp94Yw7rJ/s7qCqsev9Lmb3TLodD2N+X1O7fJ8QNw0RlAND+KhlIqsbx0TrqTHN4CtAkV0pXAOHfyhHSrLwr0N+6yeSezrBXT/AIYYUPV9AAtq3UkABW6SMkJDIZS93Nt16k/uAzvxOJBhhxhEb+uoF2nR4NBNIY8z1waV3g0z1nWRfWI6wNhgLwCUKeCAWy3C+yjUbGgEPAsMgoqWq088pnfuIuPObpqhoV7OXshmYQytYgfA9rL7U+9Kelo8QnlfpXzPaQPQrwX5wF4/Mt5phAhb8h3vg2JlvtJlH2ptox8jHS8INdxuWWLpC2z0caguULbW3gaf1gl66LV2iNsTP+IJj4WVAh8F7RfJryyDI8HnKt1GVjl9WmolHxV0vWuq3emFxLd9z3DDAHnwt2Zkp94HV2Armxrd2tTFzSmWr3xpb2zSzJ47YI+fV1KmRDVB+PJZ8bnNPpyUrD0oep5yKIvrpicI34e6wJcICC2SGs2s1D/pngUkCLNMcLZ0qswpvkPyKdv/SXbODXGZxFIpDZodxpWlMQOi29AFleTZIqHSifaE9OM/9+R1AyzfrYNLnanl7w1zSFp+9HvuyQfgCdeLt7TdNZoHEwQAsyaLg6v208oxpsvJaTqOZQuCA1oHgfXK1nLtwnohp5y3bPbPCfCLt17pDrBybVDUrf56czXpQ1FQx9upi7nwbqOiWjLTz1EjOD1sXDCvpaaVcC2hLIg3SkK0MHu/z/V0hjDx8o9I4TheVBA7LBdebNs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203773" y="1408901"/>
            <a:ext cx="3388111" cy="5486347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khLv/jm3RUjchxBQYCVy5njxzoAobgTVqF1irMkM1vBl6hALZfXPdteHAkalPVqZLLYjEfra6BTlcaPsfbLMYFhSM9SpuhDVgB2Q3cLCcL4bv14bbn+x3aSXe2hfo+iNqfioH7dpEtgVFhVVWrE1pkuZRy1KvaCUehLjbXZtAUKLVTy9XCssMwwb9EMHWgMNIoYMWh2sRWv1S3y5TMkdkdFbwjusrZfLRMZGZwtovCVybHc4388Iy8jkKszlL06oDvnQVshovosIjicgffrRQi8q7mCBbBPJyxN0WIha+IZgm+lKLiZQzzr4KISMSx9wGIvq2xt0EVlSJJAkMzXv+fj1s3YVyTB3+4sBiOTm6A5baGS1ZfC+bFvOrC39hmSA0IoYgFi/P+87jeDYzz3KcsdifmVWgc1egOgh5NLwFi5bzseNGyrKMIEjyiNph8la1NUeZK6xpr9uO1h0Mw8FJ8iTNWIOzD/XlX8pZ4DfRYwCzkVpxBsBXJYs2IERuClZUafy19KQ4fcRiIhwSKYhCw3EOROM+BXybblsWndcbaatCK6PbHqtMYC7ZN3E2XJ4R+GLkJr00FHSBmGp6J93t/cMY5Qkc40q1u7DOgLo5TnmJdcqsvDvNSrrgZXTXO++ynppGCj1Z0bpRRS2XQWXdvG5VgpvtyUAq3G5QIEIbSctWxf9MC4mchrRcjOE5uPAEbXTU5zIwyn2tn3nRIaOdfmtan2Ksjp78qjMt6LVC02n1oc6yZQcYnVm7kTjspUjG5SPxvqRAtot8cstadQlsQ4z6gXENpg86WKI1cnnNoNUmk9iq06l5YNpv6uLwiPtaLCUJa2vC9vMbGakn7IteHtAwPXqZDsKrkt03OmFbwE9NkPzMs5Sk/5HRALHipOr7Kl7dch3wi01IOa1FBQ4wsD7E6fW9Cn+CWcVsieeULLFiZV0Pc+5ASA1WGhujK69gz6sfIXwuHARK+/gDtLKHwJS0+fKvohcDLJ/sqUgTFbHbubURasivKgZOYwdLnL7D3x5YgzUiJDN6JTdDsJrmIZb3/d6LUcCGH9JSV+75F6lSlz/BB4uUrjG2ThMiRfXRLBjgR66Fipumxpv/Hhztja8eeymHvr3GOFF//FQcLiI0SJbhRksPyIIik/RQB21vfQ7hP0JtUt61hi3Ob1KuQKGJ+x1k72Z8/z9BZ+f7Sxode4HHT70SkyT/ATqRB2J1d96UHgTQYJ7j1gYYt1T+52pjDs04JLNcDHzxjw9csi7VnczxzDOYnbnd+URYCx6AIpUDrN5+Pdy+sp0/WIxboZi1b3ZaJtodtF/wpCgh/Xjs+9EBMKQBF9YwyqyTnTpnu1aA9cuJKNzeRbzYzYTUKxDP/O0E6m95xpNlWwBQBqrtEPWCR5z/qudsG+tOyXaO5RAWQIXpowxwTGLaFSCr5YzopcJ6GNzm9RmUpS5UWxzyr+Wl7r9DZJtEMsTxqxx5KiPX6YyNNHxP483QVMPzrNIwFRkrj+a9WpZjW3EWe/MUQRdYG/lQogQBHcbwGvjU7sXPzTjPXdHwTUGqwfSbUOvVVR6OuM88BF1CLT85n9H//JEGuygi6ZrQwsyTIF0lnjiUNNzYligPllT3MatvMVqwRSKdqf+x2SufmRbyK/Zp9Rw7O+ON7lfaAQyqw9QJdUCsEqqJN12MpusgM9oDm1qw6C+PFIQjbefBodIYU+2MHQokeudkJf79SYdxn0vGRTaVZ+AFmiOTlt8aG+y++4FW6ZVXLSpl/FuMcupjuYh/K6rS+qmhiEH6X1TTcWnWBJDEwydDVZ83N7B1KP4Tz9rkwhMHNbSZD7FOMqgN1Vgx8i4LcV5w9DnDXcRnyMA9rAyj8hUXRHOiyfztWhQk6UJNleS2VVvKG4Vt3Lit7W5yWGcTnNcw12+6Lv2Md9iZkZwHrX53UlnH8kJaVwDesFt6C9Tlviar8KwTB7D47yGHM9GKqxMsL5ONToc2qVsfrmBID2B2RnyNWE6JbR9BDgePNuTsKo2b6jfDfA9DoGCtXJOoZwYm1HjDPK+X54FrdEqOpXSobZXkXKMtfYdhvKEyjMxG/GkJLTdQ3CRhUdZLpksj6eOV/IDY78b8Hq5IsvMs8USPcYTtCRCvrmL+0jPnR3DtNEEnvv3jn3ZzuPqVhjSa+fPvEzJgyiUcSXPvpwFIoZ+KQTBM7yc2SRBoVR+v+of2W+tsaVlEuGVpRKM48GPo3RHshi2Wg33gyCg8PekTHKLox+q7FcJngnEY87ly1NKy/T3hjJR4HYDndaTHe9L2XeTI6JNuacWICRANf6r3Jhaq8iLQegqcGGxj61B3WLWGc1kOBZSJ8BEZY+JIWCrszWFinVTNV7q5As8Jqt226oSC3BFDU+m28UhMH66zs/OkoxdYeSf/jjLiiZvXli6r+uSRTrHEqID7J9a84VELRxKQ5Xnh5Y7eDK/oOGn4Lzda5dcfXeRV7a6V+73pb5Gt40Rol+ILwJZYgNYip2b+B3DC7G5MMj/5caMKjYABf+bfdDh/VqHFqSQnVBwLgSyrpzO6wKYBe9CssKHKktGK4I0zgjJdTZDYMH7Th0aw6ajQ/XR9Aj4P4k9VcoxccK0izK7WWL23XW8fKewXePGE61aA5wbfihUnPt9YBZ2dLP4yr5egntA4qm3hiDTlxHlFYXRK5AF6Qjc4LZOYXm6pEsJeJfYH6LoJRLCygXuaPYDoEnaMkyd4OJC+jR/cRCMkpPJEztK+MvCc2gXmiL2CfHSKbrsvHNypUQ9r+1kxyggF80ctmz7jgW7qkUg4XxjNOse1JCCwuWDpT2C64Wp9pLdef/ru0PZCwUYdqwCgnAuwlT5H7eb8njJZmwUwq4KgNcxrhzDXD7z18dZW+N6vmiESaQg2sVXJHn+KW/GW8ddp1xL2xok4a0xROpuZnYtWCCiQ9xGCsqmp0KYTZ9YTGoNlGJFT0ivTa83JSL2dwZKDJ4YBCZKbg3P2VhOQE7FSL/goZiS/WRy+uVi0YE2p2Tx93KoMn3gm0ct09hEy5gCWrIx9zci+7KYcBMii5GqmbjfdsopBEPm9W4WHHCnKIxQDRZz8zwNX9aeJpPj8RVNTn2126hj6lyKBUxcNDQu5Q+3RVtcPd+vSBYMpNCTbqs6i7BBWw78Gto4eBKv+HfwbbDWb4qx9+HLVfFfQi+GTBmFt0WGdz3ARnvZknU4EHNp2bZ/Qqi5KpJ09eaInLFD1UY0WZNfngwpBh0qg74aYZ1OnnT2jgwKFgkJYfSC9rArIjDHIzkJ8KmQhiTelyQILoBE6l8jA99yJT7CwFRtClLPlFPwA4qkIigpAHs0sH/+oYBfp7cNssuNJ/2usdEwl+GJYH18aWHs9daOFrq1CXIT1YdQLmjQuKZrSzh5mUgftSvak9HtgZoy3SR4iaLtsD0HgGQHEjVS3DgK+0+OffKcuCDcIZqnsaMa12wFRxtcoSh9SolahIQ7tsjP3oV2Uj8uxwO9J17eXrqU+t/GQoTmD+dVuOxEtOqxkau/hlFS1tHT9GOaKJJZS4j7a8dk5Ei78PviRNZ1cQEUKHfWc5uXip6ZqgDhp9Zq25VR4GRl+MAWrgVkmhcFDpl2lcl2y4xLFwqJwjZGtYcsBJEu47DqPahuMqdxqLbL2axLIomyzlUuW66a4jvgmZK+cSJaol3apKC/nxeNQ+WLCT2WeYrAPsUlY3MDNAMQrgIZRjHPLrqATEqr6B60ChKBR6jkGok5ctLVlPsT9YxYiQJT2PEPgd6t/sIyr4b41S+JS0RDWI2ibPaIs5yHBuw1fg7n0tOmjepAweFOT5U+iKBI4FNyMGMaiXj/hTTCoggP7A/xEEXWiDPrLLt8YfEL//lhNOY7g6dPUo/9/wYdzxxe8ZumcyYFGSN+isANhV/bWQnNHd2h8eQ9qWK+Yn1wqA+YxF3OJM0kadeSjk0HSS9u92uBSBPHMYD+wfmhkhRh5FO6TE5/DThAuGCpZL9nb6HoETSC0Kq2+9ivgKfdTd4IW6jLwOC2vSDOWtJTDLKy6+fgQdJY0abSwwJXwwkJKZH7HmUYpv2EDf9ru7EDjYER7tXTvWmBfCBZGzoMqKotEV54kIDCULFqLi7/pqXnmXPoo3O/tOjIMZnBKVgaFtOUUXZKAwOOmDMjexOBpwNll5f/jqWKNilY26+M3lCXq1glA5AmyROhZCRHRV+dCQI1R1L+QSprh5YJnlrV2m5dHhFdZea1Po6bwKCbjOTqquZXs9qAXAc0vzRhr+f7IuNPgmb9Imjy7499EarnhVWGm0h3kxEcsbPGIKet2SpFRv+oCcShdqRi7yYjYII8CMorWjPBiDpLBaC7phQxzNwArgzLQt0N6GwbsBi0AgBv2XKfcech5ANWyp/rwDpJFwYT7EXBL0UQou+ex7GlqCxOq0QtgLtUJVn8Lf/xpyGlNvR/gQqKP5CFVic6J/qEQ8kMk4BwrJHU5DnIhPuHkQ6zRtI4p6O49GFduY6BB72rEVxmYCDxDugiK47C2a55q0/pDVCUE61PDg7zIUf4svX5pfvAelO95o5A/TEk+ouyG82NBe2+0f0W0LTbHoqM8nQAYn8Q3Oj0jn299zb6mWVpWP+fjhomg3Lau8uGxydPVXA0OBEA8QQZ9ai6qfRJxcPmJ/v/O1FLSwqaFOmiiidoQ4Sm5duWF3DvHND92hcHfuusfSZK0SGMKvvcjZcOIp3L+jvSxoS5rJKVOA9YSA6OlBCvxFL5sgA4HeLxgl+xuUwYi+TbzVDGF2vHrD7DVK17yqz4p8ym0Yw5c2jo5Fwj9h34Yc/zSRPm0bMZxAOHuMp3Po9xseihFFdVGQRPXJXdAuYmOaYHW1/29w/CfMa86Tezi6jz9h+/TrPGxMrcpZGWNWHhdvY32G9rNyKhkkMrTyntYndpouvs8r+tUMTaW1oqEfpKmcT8NVJyInVTQratAl5WOMUfbYnHiNRgOeVCwag2i2+v/MVgLLLopEzTfRAKgdUVzBxpsGa5zC4wg+F5ogWc6Sm9ha/Qj3OAsmMa3n3kTxOjDEKsizvW/U3/H01CppeeU++rqFgibZntqN2QhI/4k6YexOsIFLovSh9sGSzmVL4LdRvasIEs6pUON1exfQqejoWNvYX6akwnOoXizLP00K8+3VURW0gax2+2faXOF9LIvtV9xhnzKK8sDWnpT3xZSih6licFvno0F7Tqec16Xdpz5UX2oWgMjPaykXgcY2hNnNEot9++8+oNrYf71c/1CAavcNGd5CV/r/kb51nRLN1lfcdiTaZ5AOMuZ+Tw4zIzIiAeQquOOh0aJVXJjCGXYg6opbs7x6Dl+naKIWMMBhz0wR8ShMFE3bgssHnRRC0GWGT5Qe8yY7KkZtrdqnQym1wHdUyVL2gAepJTYMn3XcLObdqUDt2L6jZm+99ZqU2iOcUUr1fnIW3/0lFh8xOXkvu7FDzlTCKilOI2YiDkq2km7xW+p3+Gedtxl3bxS6Z/rQ/7hrEzS0AKI/kC54KbqLPaz5jsXU4MDtqrpKM0CgR6Uju8RTOBRRZDYCvc2SWZ29BeZu3S5gU6Bu1WJi8vt8VjhxSWSWFQrshW8sCpQ2FQcbqwlujeTB/sXtFrV7xRJuaLma2f+VcvxYMLqug8E873jpHvyT9bk841wTGX2b6r/UO4nNsOuT9xsu9ZSZmcvpH6J8/tAAbUmZvV5ooja3gN8d2tTa2xOmnn5Lzb4Rd3AkV7rsnmqtFQcYybu5DL5NAwX2bzRC7KRMtmzJcHVm9eY9xcs3tEY+ovMAkywy1jCe385J81Vcw+9UzWprmc6Xgjjgi0aUboWtCdD5P7jxxk8caw25QX3UM54wEiSt6OEcS7vcm/5KPV6cXlpchiNT4tHZqQdGwqizjB84Z0803kFwhCihc1GG4/JRbkN++2xmfN+qIMJmaLyqBAcCQnBDTSlsOxpn0U5twiAkB8pWbcGDEU09Gaock88wHmbQKjI+S8GOEmy18S+m/i4OR+gDC6i5orJ2chy46qnintfsIg5+so0dTuIVMS5RyqKV59cNjgXB+eoGBOdyi8FWrwgaPIPW4vH75SJrchZHln+0qLobAa98LZK44Z/Jvdiu9WxqABi3cckn9JQ2dEJ4xjvkM4p/3GGMhF8/QSLoCsJtfDAGhhZbfyoclpLsTgJhrX7daF1rKVf9Mo1ksHZcUAMzLw43rUql8FqH6SnjuRQNoUVGkSuI/mUsKleWrUR27x06JMyOExPCobw4NBLV5jdvKLHzo7orAFbG9mgMV5u0H9PP1ODfA3D34hqAERjQPV17T6rSfy7b/LkRqH6jXelq2cGE20L1JidjvYdSYXrL/OqyjMyUus4phWOKzCtx52MV8293MJEMf/jQK4w4RFGPI5o+NCF3W1u5aFogFp444CXrR77402S82uh/loZfrEoV0JXOSz0070YNtD3uhTet1tSJ7dDzMhYGym8Yct2+RP0ZzAwdBkDU7vfr2r/h9Tss3GH+BfZSeWEwKT5g2XimWM27NwN01TLS7sBV4LSYhVu5Gnmf0MvMiocPkPaZWepcXt+l2Vf/EWC+majCdmWTdm/eNTLM10Lx3jLqOG5u/jWqyHLv7/9Vp4id5XQbSzyQRsH7GSXyzjaJNaRjq3DDXvu2J4o35uJMw3vDXeAQL8nPyDu0hZA49ssuQqjVnD7Qfjv8bM+88E8GrKbDYAXycNiCIsskJU4bjWwnFtnI5bkdUl/KCt6OR8v7y+fqNQJ8rWepO47FWrkWepu01F6BBebTXkOaizgoIcmdciG8th1wzYyf6vbC/YxMKfNhr1dFHlAF6h9kWqbsNmXFGAx6aDhYWrMeoMxyaxtBfWOjDYh72EX6/xI70+6xaw1z/RQPPEVuV7B+Hkt7qpSAViS7Bln3ub+C9LhcPR1VcqJhsMBGygz07AECNY1soO2IWsfFFKktrfcXch/tTeFDqgR3Ww+DmjynXLIZSjo6AEf0dZzQUw8csqddfryzW4k+j2Q2NRcR7W+V2uD2rAhhA9rAftJkYqnx0xW12puuxeS8S11/Xxf5mO9cfGkO24jDcqcOdc9zXOt4mOqQs88TIXUBqFFs8Ip7fvRs0vBBzl9mJeR24l0Wmk3QTRMv35MHL7jbOfXLQcmvE+jeonXHMuXDOSbtn6HBMcGqK52m0MQ0HuhJZ+WuLLGW8PzO+v9mzF+Qe3op5MMQ/rqC4nPnndtXdJUk8KxDV8OVung/I2EwDTsldyTQrQEJ8ISzGV0iImNyXcAK9+dyybHGgvQ6qiA7npHoiSqu48g8saqHeCXRxeT4bUTJiVvGCjZty63CqUSu+09Efw1ySUTsGBz/tPHjtFSYACFCOJw9oDeWBna/fYfkSa1qTmhlUHQS21JZU2jqx/pfoP+sWbmkdIdZQ7P9OneuAAmsbFvmgRNM18vbMB7Gtb1d4dicYzomLEjk1SWkla2kSKt4bfhuLV0eohzJ2UlJWh6nx/UP/kyJqNolXtpE7YkUaY+aKyTgpl4NteYUI/TJGqdczn4wqjUhpBIhUsUmjM/EhqQN6fI1t9ZahomMxvsiMl3s5pPT9pkNdYpsKMdL33OHfqWvENxb85fOS2t80raD8JRS+BzP8NBoK/QtjIUPnH80qZs4l4/EkTCm2x6/cfHUxnt9l4vvySgMYyFPT9n1G7En6Qgl/kSsbbHlZUX4MpRH/lXG0pIs+DUyxqdwtvQwrmTqugBzA4rdrhnRdN7nX8UWfXiHLKDbY42zdgfU89YZuqxitPi0pHw5RAG8fbDV4ublyykNF/EKrh5/bLAc/M47aE9RS9pmVBK3iTh9V5AXE1r6Q5IDwwNSfy4OuXL0epwStQAaE9it09aOot071YHiQCyWSXQnfZ1RHxaIb193F+28zAY/J5QHYtdt+SyirgzTwnS0TnYxEr2ArjYoXEcsTF/ry56+kDjS7Yj8Q/A40DA8ixLpf5R2iFCqBahGJimqIhwswITHInjvNXR9x33wHD3ZQNRVlGVv4j340BmOgqTILOcm2eNnOULK3SL6E5K5Pk2ja1FpM99c3hH5MSukKr18SHyDCbV6XIadHYmz8K9q5mEOazkJ6Z6nOPdILhJ/NiAHsOYIC+uCswghyUqpsl+gE6gqAJxxvhzF15yi2u3TXZWBQz6CG0eDJmJIOdC7gZEZgqZ1E0oT5Db25E+LmYMurdKAwbUnWfLYUW9oHhy1Ow1eUbMaeeJVjkUbU6w5514R+HurM0RrY/XWaDJSF+E3Hm1pFigIXbsJ80IZhnO+xdtrokXAlQF+2cAUnfKKZGM1IAr6GrEVwAuyH6CwJdQOyX2GxdygkJw5h6y3C8Gcs9IX0QVNTCwo1BFaZ13QWXsGQTPDlj35ExhSACV02vdrmaWfl3OzRKfwHxhCzhRduKpRG2mGkDXowRFSxeqngEzv3ubAURVIlkgywyLoLQNt/mHojrih/3VcpSvi89Bwgf2HYczD9XjyxAoInadHL5Y6X7FwZk39mYzhEuISqb/GvR0nxRPByLtFqCuWg3+VpDnm7KK6nyLGsyqpq0QGcr5TsfAdi0BG0kwxwi9WKlapUB1AfS8aZyZX+bH8bMCjdRmqGdyeJQ1v5GH/eTnDl3AzD+YmupUWvwt4kCXGL380GiJ+0C6DAWWmbN1/vPlwhuwQiLRKD/n1eJ4GaTR5tLY9H5FEGu6vJP338koCx4LY6yivu427h8GJ8aywZtLT73T18/t8o05WxFk04Vs1TXd3YS3QQykXOiIFAp6KhOmJK/ndGRN7BdRSu6w2TBlC/A81IfN2h2bWTzuxDkD/agaa4ByuZ/j6piOc7HRQA1O7zHn5ESZYKOPq3U60lk735YxP6jINfn2P+8UgJSHdLcCRD3CeWPbthfqw9gnALjyxG6pZDGf5v0JmOHBixY348eh96O585UMeVghMlZhHcS5ONcGt468zPzmtkA4WebD3qNiRyUKdhW5pzVWsFtXDAujwscWNZ2HIrsvW6nA1uENymXGM46GM8i1knnd6xCrd62XzpR10ea/0JJ6cyzJxkiKmosYd0FM7Wyg7xIvnOnaIcqxgmaHLG/rHYq6RTt/jH0PKUxcPJ6YBngb+JbgSVeaCL/c1mD+D2HSHucO6961CpThrHT7YehPLvjSCeYT0CO9vwlnW9CJDwKHTslZjZllo+jL/cC4XfNSqnqk1RO3AiySkYDitaYxbrtIRD+CAWwDwFODRpuioh144P9Gjr5CGXDCNF7/Do2xVfsYHY16+rHoENcbYC4FLc17Rf3/BpGJ7Xgr3Tkznvp2aN4at0theZFeV+q9r1ISwpZbiqJvsZ+mhOCSBV1USs5wkLCxw+P7eHJXFoIf7WAk8SKvCZ400KO/ABamxaG9gxdcZouXZPfNIRQmARhyOOOLldevHYuw7+agWNKzLC+RRfohvAZlO1mrwNjdNi89LJVbvr8Rl5JLNXaQcOitrIs+JRjhpEatnuzPcR1bX5WCUpyLoQEGSSk5tQcbXoSkKZFBUl2n4FYekYliKLfome1rAaYtxBt+grR4kC0m8/IGTCf9YiNL+zvJHtB/e29Hdo30omkSKcoGM4AXGwxSrOux3UEeXXVgSIm91pGD/8ytRNunqz2K5gbBt+GbKh9kwapGcxAlAJ26lVmEbc7s68Ya8IAvofvvuLB0V1NrYUmYsWj0IcA91Z5P978laLTGkvVZn3YqXErCG3jSjfHPXlLJGDp023HRzwXZkD/xZQGrfgJEYM3o/RImkPGMPCY7aFMfr4HQIv4EKsKBiACgTWhQ0tDMWJaxlbu9UcOCyYFvpj7/Mub791h2aqYPYYNjXk6JQL/LGXBX6pjzzkj/XQfW7a0U7E+EcCDSzYkAgpbxmFW+wMYsbKTw5VkMG7wJJ2OnqZeqj5+Ii6qWMWc5MU9SnEPuDB4yEjoiQ83eDBMCvgwoc0q4NFfHyrfT7iGc+XLhCYEUs0iirvCFVIrd0Yh3XT0Ng9jDIxkfcDvM8qnStzQ8/403OZSL2ujlYW4Yf+vty2cJCC6IfLwmX2N+NKt5zCtR6d6c0JaM+zgPQHBdr2L+q7QRr7wQg8lm3Hz2LFJBKWMjiStex6AEhB7Q2evmr7tkXrQF1Rsk82gCkWpDliml08VNl1Zo4X5L/yvge6jOw/1CO0V5k9eDK6gN1C6NWgamAIr+vCJNzyEFajZ8eQkqHlFmtu1EAeDYabbFw+1gOeBVVEdqBfRdenHvh0m9eWfipjhFQx48w7uhUQBP+JMrUIKGIAffJl5U6lGOPfTZud2P4SCoZ3rsP8c0HN3n8BKYThQCB4v8OBhIvU4T5kcx5Rlr5oD3z2QTDO5tw3Ww/yvqCQSITGrQLlKB+mRPAhzOzFNyYiKunar37CUTLY0wNzdaHduDntlpEDYPgzh058+JQmfnW3lv4ZaXXULbL3l+VoH5uqAbQk1sS2Fof64XpYMC8K0BN02kJRSM0NyRdOenip5oLQ9jgbfY3kejZU9H0JNs6U89uA0f7N76pUeusBGlZVvyD3dDG2tYn6hMP8EpyE6mSP4faCHBDqFHl/0yTSHoFhf/ADlalB7w1BBZ+dAKrhi2AeM28z61c9KXtTQHtNSpw3UX5MJqhXtIG5wuZ2oTuoogmv4FrGrq0JJSsnlj1LwDkd8RF7H4typmbyyhalYmzZLDVrmBGSI1XtFZx+7x0eKrw29z/QULCGcCJil5zOsYCQtKNtB4PZrrOL94XZ20Pj/G0J1gQB7xDUN8CJZh3pW5dr0w6krcSoPAhDEN9QBjdG1/iL/0uDTX6Wbcserk0EPLWkzNJlnzKCiaKewZepr8F6YFyvjpYZmpWZRtTpn3b05eWy2YKun5URK/N0CSnTw7Aq8hQGshj7jCZR5C8JS49yqMcNqqh2wPkWRmog9G57txAN41y5Aw54H6n1axUVf2eh0OzS+G0cys1Yt7ckzFLrROVAcP57fYPTxXnmPgFxkdhTbafpIKVmcNRyfNwfAvZsqs0pbevMb84MGgQmS8WqF6lYqMv4b5fq5BaYzHqkKbptNPBuF4JCp8BVcEEj4s63wS4/UKeSSr13CFhbX90JFS37v7ggVIC8TvozDvo2gUn3xKQFKva99RLcz23WYv2BK/LZQBG28Ghj88lSFMtz+kpm5BpQqG64r0AZXG5yteRDQu0gMf2yJIME1WRfHH4C4KwJNCqoCTTgHQB9gMvFDFPwgRqgaJv9gi7N6YGpascvgPJxaojK8Pt8cGkLA+MsnSO9schGnTGLFoy2eT4NBpdVMV7y4gqcyWqCpALHljSKZvdGniaairhdkUELlz84XM0ADbHSsE2Dn116tpTtO+3QgyB03HZA3PJlB0sRWJ8i6UsWXeBlliMR9hMIBm0pIV3yc/TeVCAWh+akWyZFtSPvSjbvEv1nfASQwkOnoodHbx9e6BUefzD9Vg/1XalDSKlcr+Ryl/BRUh5yD8J2NmYj73zIaGKsKlc0rnsrzye3C8HDTqhCzix04oNhR0MZ8yKtaQC7OHJ/dkUxDTwCx8JEcoXCd6CY6WkCrktSE2yHya2vSq01b/Q8KCe7YRRWEllylDXwbQDYUScHMeVtg9sWTZeB0IS5/Mr1hj28BQW49T657LCM/n3QedwuiQVyhzVLeGc9tzoj36V/BuhXCtbRf20oTB24+2DyoS+3yWozdFe4GlNtXN7fGPMZ6sHq3rMb27sRDgBE6nwKKDt1dkNewVkmWjwv9alkddXSAH4hpx5C3aUTVI+2Bg2L/5ESY+Xk+k3yn1q/t2n9za4jx0qMjvIxgUNXNVqA1UDUMox0sojZ9rIICdyprJbsW8i1GTFjTkkbn+SOybKexUl3hanvHCkCoZDOxLE9Q+EtY18GUaeQtocm5EeL4CBFkh153jJi90vNHBhlglKhBB37fmHi64o9k4Cx1J7U335Tc1R2ZUAp+4gq5yJTM3G+nMPZPc6S9IJfdwpv5SlJ9BSoaF+1e4K7WTPVu4xlqTB5yN/iiLswXxq7WkRP3GUTTGTzMuebHc7p++e1LnyXrq9WtyQnYForWC16ubCxXSuO/TOZPDAtsJs5jf/kjE932QMtJDd6Maqa7RsQ5E3AbCXDPohEmRrbeEqSk8U6m6CUyqMyHkK/NH3H3LeClJDOix+4JJs6a/p86zOcZ5BqAdssK1u/nkTQ/xFnDCIUt3Etf5Hxhk5L+9ftym4wLiVWA9rktyri1/NjrK6AGfy3UvT7pGB2pzeIrMy6ul02/3QWwl6htsY5gFoJfLjUVxq4axKeHlEbI5dyXw7zZEaO9SF0TKcXIMuxikyuSQPvpca2eA9Iy1rxv5LaHRh7Kk4QMzrS7kzJNdAm3v0YQZ91CQdiWHQCMnOKl9413vS2ZTs6qs+g0TsAqz5bIdp9yGHpMXFKWj/7EwBo0SJdLPqZHRz5eUz7HC5xeX0HRbsbLHzTiXa3F8SjL4dZBz6JIm4P983VQRpFWyqnYNRykMzawMKi6dc5/MWrbn8pQ7ywcnywE7dn173/X7a7YTaSnLZXHhD8M6oSswdZFgwWmTSR/8gxLxbPfzFh0j6ZSyH28qgBu7jiCxUD2HQojD2aIOcu+lIx0utvX2wSancjMihObTT/FY9LIfRlIEgzMxR8Tb72amMqJOVmk3oIRiSxuWtREm0fHNdBVo3P6D29xs86aGuCgCG6gvgf2tlNm6wXeZsFuYkwCo+oSzZFjv3khlRi+2MwEuj5Gx6JH15VkxEw1kg48jZcmS/LT7xOQ6Fz8WI37fCI+i2sMpaU82ABehXVCHzLulbUBJW/iiL4a8FJ30DRQHrYDuFfmZG5rbEIeIevOyGJ5e9gt+8b1FH4DR/b3AXHpziul9j29W9npEDsNm1Q5YYwYICnXfB/OhUeZgtilgDSx7CfWJzMpUlnovVM/zHXRCONJBDxRV5j2J3K4IJQ9u9V482DgdO/aIGh7N1V/uSBj4PSog73RhCLddziMa3mg0nY83Wh/FA1XtRM61nuunC+1gDyKWP+kzLvqpt/uLfx1ArT0axs4oxbcl5QHEpR3AZ+FsgJzFWwgDMlIBHRYziM6kmNU7vFbL0tJgy1asPGt4WhGrpA1LQWdi6uZAxVB0mgd+qjy6+WLMxaBI5C4tDZwO1XzGw4IdHAF+8fc4EX4QmDnLdbDMTFu+GcvKMdH6o/FtmwgaChSbGhDtdU539cYZPaAZIsB16V8Sp82URx5lba8TGSm8rMtnV/W66NpPohp6INX0gqkmN5oSpM08aF4fUy3bAfVSyWuL1+u40vb2WZ7sSe99YtuPuHivN5vHPeYQ0cQZ4rrSJBRfydkABl2JRGzOAIJYRjpg25MN0sEBDVVFl/vZ5cn2DJUYSE9ZKHT6GZiNHv4mOMVyY+hfVwQtw5VJrABgkhTeTNxpSRuLT34C7wEVwELOZONdVRW+jthx6OsIkQZegO5n0fUHbQkeFBuzSeCe4nweJrzONeezvk+wtLF7gUMDiAMrL98By0objVhyKsJIwuUyyTnSUKbWLZxeSThKqTwbBUzXGs3JfYoOfIblmFjWmiwlo2YxSIuLW13RFDe4uOn+HUIx9k/d2U9IzzE6dL+OHLlF7ggcRCS+CNu1TzVThT1ZltC17MRxH03CsxhhzxPLNmZlW2IYjuw5XJT/42isGsboVVT/FDXR42sQMRPoeeWHfWfeFXyOvtlRoPI1t0qKP5zwMroAaXVQSHyHaunfUrWEeiGkGjNjKKtpXLv/25sNEfUytD0IoawKluVdyl+CXb+54UKu95g1VIX8JOwj6+ObbZ+tJ3geLpFz94v+idKl5rpqNPnesTo9fr6as9TAqXtQwCoH1IWGpz3n1kCiXADHO/X7UIFjYOu/SxD8NmgLqP4V1jvVL+Oh+n3wDlcRMjIaqgP/M+ZpMRHfq1gOUnNEJKJPIWj1aIo1TWjwZ42cFrAJsoQ1ACf6DXz5FX/Oxbi3bVbsFDr+V6KOoSjFF/F45e1Ag2nnyzsBj3Dy226Uc7BcCnxoht8RBxX1mIFFRZ+GHcdPNANJ0xOnRMCC1LBUy8J4N3erf9agsrPnCeT4IaGFZpRxNGphHinNO9ZqamHKaxn8mC0sn0lHRjDMC2IC3joXb/PD64wHC/HHyDcxX7t8QXNiBDGsbsH9IfxL5Q0QHK81Ics/K7/H1XMR0P8yPbOdQ+utqEuDLLJuafI6yp+s3zFrYxzBmV8QLTZq5NygUceiyGXF9pqTmFwyMxxH8VpMAfR+E95IE84Q+f3o/VcA6CGiztF6d8qAdwDKTKPINKdDwgReclRUw7be4OvDpkW4ypcpn5Yrx3fZXKuGMDVTFX+dlnQ9qJLQvE9uAwZxqTXPHOOUuBWdpGc+G8T9aRcxtGJdJCwdciogooXQWQvR1XQPCIsfJxhcal/QRdxaaRqx1T6ZFe6dyMvIJ/nSw8TO++YrAMCI4G8K8LsJFFq2V4HSnnG3ALTkwvUf5x2CSo/xelgOYnhHI9yaJlYWqkyHYX2SLdpDow7lCWwTTEmJn5rWeTW8HFBb7ww8YRA01kTbOD4/f/uyZM8vrEd3UNFTpC5J0hp3JyBurgN4as022fqvGV9bGSyXPzL3puLejm0dNB/9rNXDILS4CchXxogsJt9/ZL2Iyo6mdH4tlVRyg/um56/79xB1f1dx7/rAw1fg7tgwVmgRg7OHVtBboosVs3r7E/iAHcI+j+vlIEElDNwwO8PfSHTMPjOH79MDN3umuE/vjELJmbZyyDNl6s+4hP+GU0B3uBagtOsDP2kjv7vnRqRW880P91JqMvJceE7wctXLOljr0bczvVkP0mS6B3zc3cAgODZEsPLUpZySaxFWWnmE5xL5QD/kSgSMfm3V9ZAsxotD+JcILaAsx0RMl12HdoHQP3RZe09BwHo/RqiDyQoUCzQ37f4Cp1ckaMIZL1EULtcf8wjFZMrfCNs94MDRUCe3yWCNAn2KNh7TQn2M/3cUsmmxXVHo/3+y8I3iEyJftqx8jXIee9PIRRHeJNUEIVGWUJC3ARK6/ZhsInw2OiZjCN0lHV1rw+VhD3CjIGFQAfxBgzJ7LusZASNI8auR9gqHAkTrLt+pRdB5ZaYjR4gVLIitysngffWiE0HaqwX8ayNBdC6mcvToQduM+LJqwuaaC+D47WLDrd/8tUvdzT5Kaj4OPVwIxFa8hlTuaDYzzLNm6uZzt3YxSWiWIqlKEQ9aEPmnAbGAUFgHDXVhqPDG84zu3ddY5jnM0m1yMN2G4jwG4HFN9Xx9yyaJEMlzKMqAJSdxWTZRlMOJuq2HLQpu9MR/Y1c+Bljv4bmxEA3ds1G7sW5xf16kJ32FFIBLll5u6gokunN0D1Fzpg/yB3AMjY4PTThdKvL9ElkzquV+zuvyK9e1Z/Acg8cQ8PX2XVvq56XSr+iGEPGcVtn7dVnrDCl+PQ35/YCQwRtgWxKeB3xFNBT93sZVz+pPsilsEKOdD1bANW+0Lvo0VPuZuwIJU+w6vGnaYe6MG2ofoTIoEGcVl1WrzsuybQswi/9D6D5ca7sRpUMFXvE/iem2VWjySMHxfRNFJLH3Av/vQxXUHlAUTRln++0wqAavIaIcUjEiKOZDOEgKQ/o368PKSqq1TZLUcAbVv8jzSvMTXrkHO08jw9Q3N+5JMisreODJF8XRQtuEjTEqL1SegwQVBiRKlMyPkDDnTMIA3c6OJBDYonXXnVIaAVkVDssSQG7pkIVtopxNPhpMDTrwgD7uu7OHWwuadfTwqV0gE7V0AeWsYcH7Uu75poEXmIKLeaKVPTI15vXex/UEQqlQYSc4c+FGmZyMkklTAlzG6zw/at58PVYzC6dDAwDXa6IsyOTBe3WZqtAuvXyOztlxAW2e9FQVhuUalMDSSQEzN2EpNooYPQqjh12/CaFrB2h78WmGa4KUPviubGhFhgiAcpd3RdRI8sAhp41Blp3GHgiDW7AD9gaL7ykYN0N6iDxAYtEfbRh5+njLGsAktLipLd8TSftsk558eSE+XURAob7GBhpF/VHEjuNjvU9Lpgk1Ra1nC5n+C8FFPNcLL4LJJ/8R/s4NEAnj4eHMKCIlRL++kG2vHZYrne3ZlkjKdxA7oG/t9ZC/sEkMLVx5GQl1efIwO+xk0C88NAl2hJXyJt/uYD88l4uoU7vry/5D07TJx9MsJTpQlgOhRWj8gK7NjwPpmsug7nozYUXxtdPwC7Y6wclX9gApKCR8eyKjh14BjkX+R0uymVoad/gKlMd76XxgYOvYY141LfwQe7gwh0glzQNsnnQ+IqZkhS6OqXHp+tS6rym7f21TzMEz3vQmOeXxNyZT4PEWqH+M9G3PGZdlbggmY5Ut+MIuKffcHK2/AGSoBd6XPX/vYlefqPUDeh/QRInBem+B6V2vnfhzDvKh0X6XaouaM8jmbtAOsGMe6i3qsiBpUiHkkaW34nS0GLPZtuVqzNsA17N80w0OHeKzZ4teLfyO+J5Lp5npsla7Lk3i/1N7oTtcP/+deieSovOg/g+zRvLpWckmpVZH4EdSGjoE+CcSfGHE3kNJ7XIbDRcbgi9Xv4haiQ7Ft5sti55K+hJ+0aH6+n10sJNGq5vklb8hSWfIzjUAOKcShTsB6HpquEEbk2QxKLN+8Pkq+t0eVB3/XYcTUQDMqKTtuGFEt4udf/1lCD034Z5GegG66LocVXbyofxvhktdgWo5+eumCTxnS7J4fdtQY4k9AiwpsyF1OOj7+IN94NoxCiWtDnrU/63U8V/CrUhX4Pw/T5eOUqcmkEx/QvXgJw1UrhOEnLKLitHStojebacEd191YvUqd0OfNX7VptJhij/J2A//FTkMjgSxE830M2VRo73ZTFvNghVtbr+qt6/CvpGUgDfbjrLMM7+L2hxasfWv49ytW3LL7QFjXGMcnToLUBRjNf5Uz6LJqqSgAGVeSlKdb/e1szufovbtSyqk1I0FLBcc5Rw5Z12BxzQn+a927GNduzZLKMaJ8Kytrw/qU96diA+ZwXK/yxEjjaEVilsuAja7OWdimKd6TjneRygTbmvx8k+CnUh6AOxxYaxnkjw1YRspErgozKmwvV4SzMpFuRoYyzqRLVEhnlC1Vtar3usbediYTeSlzmEsaP0wirOe8cRLOnIjfY3CK/taXC+4FFFAisQNtaKomzol9GXoD+pc4ePAp9CWNeVMVpXWfWoNwUxMjTod5uJvxCYDy4e77ZlwJVJ4rgubQPJrNVdz9wZDo1pdCBII9XuJoVhu/YB7smoCHXgUr6T6h5+QF/DTIHhWcedUFIZ++GfWBxdAMV81SJtRMpqIlLQf5HRSwg5bZiHJHAi7QOVtPi74nAte8NMYUhggFQ//5QRyKR8oax6ft86YWdxTIZ/vwBlRoPV+WjbEwIypOWuFJnPVYMKjBkwUvdTpt8nQlKqtMQdilvfQh2heqawBBIm9Hl2qzJDMWQ8ZxqW1j8ieiVX2sb9gLceZyKSx6m5aUWEUiJEmJOb6FvJsVkq1ZiuQ9udLY4BEweWyrzCHOQ9T9dCkKB+hz8Yvv9wLWcOQM8/piZW17TYzigau505cKCVUuu6RMjKGOCOHPI/JCO/T3H3XL1tCcrKL1XmxF1nKmuDqJjEmium+YFW3hRzUygmRjZBnQDA6svI+vxWaGOJs9TCUlhz+pn06gGJHNVO4u+8T+GdIQWvqEsvN7amcXLbQW9NicMY2IbvGyZt3cGgHqm9XsdH/pVcKSM/aZJ6J0LKG0RLFAo7zJFirYpXO6JnRmRQC3KtB1wpBLuTkl+xnIG1xxn1vOKakeYGtqccydcfFQksvu4kjuFdcU1MTQIcRisFm5W5apNdatuL1jt2DHzSx8wd+DcWm71uknGznbZoGS1d2fORY5/rfDNMtzXyyeB8EoLgKcBIar5nnHuk2NG1Lt0Y2zrxdkEmeNs/n8adVe2ZcpM8PZO7i4FH2fX3dKc7rzs1XW8gTw2iDBuCjb2ePtCwPHwHT49xWF9V4hKJxC9MFOe+Ox5ncVCU5Rsx8NFJ45OE4pmIvuzjJVSf3T3F3sdZaNmEeSMEQmRBybm7EY7PfKSv134CUIdkQqNPXhHSAJ9p710X4ZH/aywKjKOPvHQMo90i1xmlXiplyvOss/NYo9ZMyjirclItvzzni7ykt4XR7h64ROiR0zLQifFUWPSky4aFtizosvVY7Rj+XchcsGH0q6YUo0yMnA4CJxSAxNprPbThvwAXLwudFjUokh5zTLYek7m1IuZtQa0RjRPTY5/lGjjWNkWD14yCzMi0rSWMLOlLd7GblUcS9C+j4P9U1bp6qQtQ74nDUo3dKUPV0mLvinUggnxXRoN4h9pxeyqcWETwg7aAOlwfYl28768vtFf92q8IRZKE2TzohVL/WUUH28jTq29EpKPmszT4HlDYTLZEkGYPsgltAR+XrJLIBVmNTAvLkPlNNPXYFAjL8wbxU08XPXYM+/XFP2sj2u41PtA9rA72q0W6ECxpwPBAIge7VqBm1oLZgN21V/BnydKVdn1Cj8OSbdCSuEBlbqPrgefyYplBztLxuDi4XyZR5UcrrTlAPqlzHrZAlGpvsaBZyjUFUg3YJAYVKppRfA0IoFJhqsA99ausr2Rjotqqm+KW8AKTfbC1jDJG5ceovsWAzq0qzo+KHUY9nEBRY5ZWDdaD1cMLHFUf3dRQ5lGzcEtnWrILhoud+/QJ42R9+8PUGgchXn9BzPJApGIOzZ2HaSDXzYYaGVNZOBql+Iv5ib5TpP3fcsaHAIdwykPL21OMp85BqnpVb39qIO1ukE/IfyJAy7hgXNtR4o932O/SxyBWgcnIVlH0JH9ouLY/VcUWCMMbbfPiAxkbsC5WNQ2C0ySUaYbNrLHn69xLWU0sozwuyGJM7x+Fd+rLHHA/PRI4QDejon/c930/hY4OByP50FPiRn3meotLdX1JF3JBoI8P9hh5XJ5YKBrT1SFe6z1EvXZZTwYEBWG0nkttTa31yF7wz/Z4HrB23M+3SZSLcuLhQqstdOrWLkHaf8nvlmV5deuyTzbRhs9HkFC3hll6qBuugDos1BZUlpGFY5P5pUP/ajJVy6BqkIlXTCsiCbfdyEJGAhsd0jUos7E4Ov6mNmBBWDSkJMOgWoSGc8kOhGzm43XF4RQgU20/F8KiRah3utoGT2/BYwJQikI7jU7JKmlm2GP717+hL8ck1Z9WMeglMGmHeYLYRotSX0CB96yB9juv1R1N1tOkXjVkBBkGSqND1dsQXfHHe771hn8o1dejkDSimJe8SanxMgfdvK8mUF9zI73a4/ubjos/tCIezt94j54rZsh3paQFCp0Ex1D5tWgSA7yXrC6XbC0THw2rJNkdOvVEB4izzwG03yry6jApEkpuzwEIZNPa9fL0GolTvFaQHSOY1yZBxudgj9CbWP3h3deu2actaTEdSeCuTXOrfnB43vakiiTXKwHoU6IEb1VXnKstA/j9WRRJyLUqdOM26L9OOBgUXVjCN/NO+l8lMw+bZzAxer5Pyye0jeNRfPCFJYE+UKfRh9UxX5ZNXKbfsuLcoRKhl8zTPK/G4dsH0d6aMQes2BqNNSiIBKwjzg1ig98uLh0CSsJkTlP1c6Rlr+uF0OFt9UkWqNZ1b2/hKOSENTuc+alroyiV/JHYOIT4sgsjwsmiXAjcUQlOC6FTXYEySAiWVD2gXHzI8oC/IZGQ5ognxdIuOD92zxSEqGqwnVqKwQ3g9qd5uuMyVRSR/tunJHTlOmsrr345ph4RqQBv/MUQb9hF4n8Q5nfIS3ThI+N9loAlLQylXU4YkffdHIIHTDMArPDQxbiAxhdFzUVvKYbepvADIMozTVI029a/+TynmQqDqEQOcJ1HhCOg5Mdvu9eJTJRSd9WYKKhGlwbm+q7wgTYE+HmiqdtGAdt++Qr1VBFsuh+ocgrfqaVj+pxDowL/gg3jMf/eL2KjT7E03vE+iPq9ptD9jZycRnyKnZOM5gVmxjgKNE5IZ97fLDDPNcTS9Fv4UrDCAvdHb2G17WO4y8hy9ErLTkz0sxeE1yszmAcwgqCLREkg6uddvcabJIMxIkTjlPZcMjniCW/tKgU1vIw12ScT/ztW7ORddYtNaHxKBtxpFWkv/C44tPtAE7+uuz7X+SqJwx1ZpV5oDK5zoKjaC3BrvW3fvW7flY3wYTgKIVZdzGMM0eQypOzpFEJbbKqyK1wOhXCLYoGX4UrHOf2rWec73SChntnv4uLCcNQcgLSVckPf+h9Fm4QkoX0tW0HmfKiA1DD5RdpAym5T7Oe3W0biRXLsPyqaZIyksE5sNT+RybY/f00lSKUD8F8dugMjhQ6FFjvDCLr3/FyzzHZYcjzsIIgMlydct9YMiyexaSINOQYMlwCCiOnHRsNmNTTF65BvKYYFUX5hGSYe6bAXp5FrVzE5pC6DtmMGDaeh5+IPQrrh60VpOfvBbaScxmN4aLdZ5dFou+/kUJHhY5zoyxGx6rhV72xWEW2cy6OsYD7q5RNTPl5JF6G8ewQ5mLoaQYCBLrKoX1Hlkn7fd/nZDwngBRy5CvpNTdOik9q2ZMMOdQ/nwYqAlcwGiuEFDzazbaffvaDv21KbEMK8Asaq3b50B52kjsVS/z8ObXch98nB/999DzjrqNaummX2dlOSQDkTsUuHJKQKQaqfnbx0QKMN/TmGkbl/Y8zAMqE3mgGMN89AgFyMYtPbHkaGwsNcM9rsnwpGn3gDPOHYvmBKjQKBh+DUA/v/q2xTAWZWxUeGAIHGVnz+QwVDBOv3Ns980iQzvUmu6usRpSdWM6i4+TBucMX8/vuCuV0lQuHsE5uJM+Nlud/8mIsrHVrSXj7KlvSHSIR4Sd3v/DElrTdz+7x+3vAGclFU2T5zhSiFTlro/FPCNBNQASJHTnZ1PoXkRHsathUNx6s8mbpwEWyCnoWfv3E4H70jX8gnbwF/Clt/PgCznXtYwVOz3AhZjn5xKzSJ3UbQpjwyafh0SiF1N44CAlAqQ0rQUhFk2gkiRAcYqbMuuZm5TsZyoh50dtN1Y+gPciOGU7dU0bcO5TUzaHJ03I/jfu87u8us22D9xzkuWTv7FMpGAQFFr1q2gjKEt/ijsIoawuYErh5Quy/krNxUWcNnPMPUCXqFf5Ig0J3WFT05LDLpI27KvlxQsP8OAFuABEaut/+nM9wIHFYZdpmUUnSPXful1puiJQq2BKZ0A48nCOBSLTxnGhSF9GEAIzm0DZOZiM7mytrCzoKe1fksaugyZiNDxiXfJVAkrRV1i65tLCf2PLlwsaO79ZjowdwLDE9nt54eWk0NLnRIA72lbYQeZThKzMm1wAVqFKnyCxclfl+9KP/ZS2BILpsNf1IBujw4Klvryb2qRBMc8AWv2xGnLRjlEkWlpDhZhOh3/aZ4qYCRC5OzZVKrQTWJgy2qplMdh5w7+zP43X2VRZoCKy7/hAhgcWZ8VYwaZ4h9fnuZRI49zJy0zWkkrG0OYqjhxXP0tule6T6vUjTgowvEj0a1kGYPJqKMQyRGvnyki+bVvsS3stjy0vbshGlKM52gEoHHBIMgjaTpvtExF54Jq99vfgLtko+jGI/gh6sHQLTAs7k3Z140f9G2WPok/0eX6/iZ9KqCYN/4sQ58fOHl3PQjOOxvf79Tp6ekhwnic6Tzs5XDViziAFTLNXuC4vkOdz5PDQVz94sW0JVItVpju6bDQLH3vLM+2mGhDSExTUTSGPAiXetqpngbAoVpCW2nGtnXXHghW/dP71X5zpdnW87b91j13cnHV8F4LBfVmP/36+chJEHdkKEISMpH7DzhYVceWh7gzyoBK11DrUSB3sJGjVnKw4oSyQmxlQvhz16oX7iBn7q/6NudPC8+dzc/i/0A0c7l8aWnb4OAYP9QNB/cSVFGlPShACtas9QgkULW/2M6Q+ZSdgGFDdfD2nWBxLWXLi/ZZ3H2EiRgOdiaUUCFFzNu98bUYb5HzZWv6hTD7xotO0ALc5WfBwZKY2P0cGgqd+I3VFzKue4CwF088NVVSz8yHSbxKzzashylrabH8i//adhITAsm8QhestEavzh0up/KENvWCJ/jh2OljznXG70R4jfIWRBXgEQWGtqptWpMeqfoL/S6VoLy89r3QFERPnCP4XIDIdbqr9TxpSlDBEZRvQkVs2zkEZyZo9U9eSZD8vVD+N+3BIWvjXAeshUTXFSzOgvzrnRlJxyFfBTz5A0B3rpuMB1J0ol+e/4Y+ZFr+Ez2tT3zbraYevUXlt/OKnpv/t8x3uL64hLP4isVN26Eiaf5JFYT8YUWMZM2gpOe1SqYb09pw4nCoNyrbFEsg6R4uVa5QyHK9Q/lf07DyVCgLL2CVC/M71qfVhKXUFxOLI7uNhepFV9a2Gjh4xzEwrFAcRZnLHZWyeIV+vSnVv0+XZ2u1PX0Hb4LYcMUp+SlC5iy2fJju8F/LOy8HvoG4+ZtPwpDTWguobzUBN0Ab6UAQTpoxjOxFxl3jdQNmF7TzBU+mSHHEfe0iQE32AlSbWspzhIcmuDRk4BySXzaKz9a2DsSRsOPVzrBOcuh9l8qa2H+IYtQbhGM+9BB9QsoOECBH+5FVqQfwPQgYtBDrABJzMK+kY9J0Ch7j+yIHsv9aPUxGB80fJU3oOgQohJ/YiISWbjrYbr/W3xvMJhoTZd+YiDgFZTYrHfRsZhJC+pCxRpUyjtRVv+KVkUjwlzMoleO5XUpWUnPybdqWqiOwLumtLpZbVZK0sHGSIuA9a/19kNzk+qGeRny0AD4vro/3Stiw6ad1HxciSxOkj5kbrXQ5XnpNGL5bHr5S2bwI4wInWThyyaBxYtRwMzCNcN4NrNqTIllzln372mTHE402C97ziTzg6leSe0dKBoRYJRP3XFuuBvppitQLkZgJYxBkPBla0UYv11xB4ULy0jSjUaS0F+5NqAy+TFIz7pI0W8m2+W/5RxClEfL7+O3Saed21PV8FLZeWfZm+nVk9fcAdk1AmkKyeW1EPVaCNqeh8GSn1D8/jIpqWo6FqUtplz3NdXkuULSOzg8CqsUpZvVFdeMYsm/L/ijUBf5ov0YzraQtyueZWz6yUbqHDs697eQ3ALx7Akkyc3Cr2SzRIoHD8O5DeN3GkIAg42qW+6WEhxP8+MqlCeMmVZ2g8TrwMbM2xa+7MwXdvOQReF34aTI3awiswKN/gUTdek2x3Sk109xcxJ+dTVeuFjNjLnT/+iW7MGDJjrw+us8gn4zdMp8a2uwHRGuZwDH76WrsTuxyigB9Txm1C/p480U6Y3m59xw/nNUERDeXqYhZd/qC5X/lmKsB+uXYnRBgrE2nm5MjzRrWcTsewpvFCbHR7tjTT6wZrGbNhiOTRZ3nkzRDKcWX9FA8yQHylSD4SaSlhaOmdnOpLkYbkitK4ukw/DGMjH8boFb3ZxTshwNWvsCRi2A9M2Xvur8PtWbYsTM1xoSJd5krIFaK4rAVTyvoZpfBaS8JmHfR6U5GukpJGUJTZNA5i4+GopTfW5mgfgutHAy1LsKxDavsh1J8GF9ujwkBzq3YkmC/eGGZh/1G/b9sqYHcIglFBoxGSw8bbs2XzFD7jq+FkCSfAhs4utlW7d1FVGmOUOkl5OI0Qmaah5G6soDGr9zHeBvzGDkT3qno3STN2lKFASQte9YwaXBXy4N+yZ/WsdNUQvYOKZgHw65aj1z6C5ffvgVbJXAI4+GLSf3mTnGQNl95QDIIciyQStEuVQFpdaVE6M31ahskelHRN2znmoox1I1fjuRqUCdU5TJ53B6hxlXEtnqgUI6JXPGI7zjHIf+YBDXt+SilrRFEKFWBNldbRLfuIsOPReuPC29TYvtvcLSJT++lV3fi5+1YlLmrkneu9puUksr9sBwwEEx73rehUQyTck140ChbuHqnSuzVxG/x9peIPjbbTzMZRskIGYvISfB9N/7URQ/KcMhZ3LB8k/o3qsxMwZax0RfEiyQNhum4y1DvbPsEmIwjn1dUfb6aj4Pq6GP9XNuhstNZv3Z6MtKjx2RtGq5axkOMdtl4MkJYH/CctxbLVewoSlWzy8S49w9+glaBFINLZEe0XeKXxec8k23ePkl7N4lwq4y5qZ757fTG4fCoacpM05f7tIhWVEocpByC+xz12DTWju5rRpVLi4MVpKX4AI+7VsiKuq3Y6knpxoxL0kxdIMpal7s7AcTQ848mobSx8O2DQOs1Q81vON0JsOUdSnaCP5O23JwHszZJ05gb06s58So9YE8+prlGBZKHAHb5yMLzDeNT4oPm2XPozWz83odaXWfPiGi8X++zl9U5HiwjIL7vCQMgW9WM7GmQAOLob0hGRtzIUFCwPqa0z+OicdKKPaK6jezP7ZTmQ+Y0+bELQP/TaN/dGYz4Wst5fcuAgkPKNL6HUumzdcveUIEf7FzhFnaHxycaIBoMelUlAKTAinHpRJi3qslgOTybwrg+TfPBjzaY7ZbcXyz0RDutJq4XglPsu/tSR46hVVkiYN2yMOS8hSj29UelgyqUSmtlnBfUedwAyIthDnb0l9akaB5kodv5BNSeZmB2M/lZslNxrE7YpN5rP63DMEo4GFBDEQjFyqkSM47YyG6TuGj0k6hk61Mt5qarLHxlhuu0s+QzfEK/vM3O3WalLtKOx9Exn0YpT5YnPKLM8WVrRexPa7w56/y1D5fF25+AiRkwijLnvbtx7ZBafWOyo8ZrtgDmEtsdYGXc+zVKdwwiZ0PtbImgfADzH0m4KdEHBcfgvw5TXlsHjzlq3ePuPBlbY8WpAO71wA79Sm1aH1HNjq4xqxlnjem+qO7kG3ELKYpnXcP9dt1dDA3Fx412rBgvZKcAtr2Giy/FsjyOFsZ2ROBKeku09PjaYi+8dRKG/dSImUQ6JN+oKd/2cmKYtWxuiIEv5ewISOSIGTDQPSGT3oNb+90zEm8FYcnkHIYEMgBAF+bBuccWYOznrns7dDK2npOnwOPehy+gMH2WzIFfHZ76XkEMPoCQQ9W31ErDsW4H/kkxkFYjRdW8RrxZYGLWVS3xnZezQL+1fNHTzM1Ohtm189ev0PrQ06Y3fLkyk7eTc2fzXZHDm9coWHVUWxJoIyOuYeGO3/t0GZbO2EgJSDQM4a4GBufCe3QGsFRWxeaR2XRPZVfXPaQXPgAHet5+jyrYSHeejaxoZEAFqOCW3uD/db+YRRKuvLmU9KzJeeOUZsNLshHHWYt5wm5Viay2IajCY0N+Lj1qh7NLRUmmJRWmUxDK9oQ8Pixboz1WznuUFRFh9OPTx4apt+Fnhu3b1+NJesgfvQbuh4bWj2jptgZj5VhvRZ/JtRmaAbV5PElIRyY6S0jm74Hz1pyS2G0nqbpCB4rKvb/NqazKHX9DXWX3TA37qBBK90gCmAH27NPf49rxH6z5K2SBo2QdSifoJy06DT9Q1UpDpp9wDdBNWUHnSAjNwvsYbe/phlSBcaRGgV/5E7KETWLYcdmAxDVcBSOeXsJPeZ9BOuAO+oBNHBwrY0eqPsugWuFyuxY5pBxaSV9HELrgT4S3llH13sk1Ukv7AK+MUYiNtDebG3yMWxInVxObptSD8aC7ith6L1VQelnMc57dgp280cxOCARSHHjxlcdDg8bODqHuOj7ZEkon1lMDLpQsqr+8A10Hl6mucUBV0+ZOV9fwP5vgLo7f0godgzYDw4ElWpWgvYgEARRKkUIHLvPO6f1sj82w9DwYtX4/UpJVjWhu1i7dF2Gcj1CKQC9di16WQxaUEaXgmFOY4i/jB7T/LWcnTMVy1loXna7BrJSrz0Iix8Yqf6kTygrS9UogfrZ1xTyw/alsUM9hELJ3W2TACOcJfkL+5PUhq2jc3OuWrs9Tur1++iJoxN4g3mmMZOFUg54jxt6wI6oCews3HPMQT1Mj99vbiC5jpCC4Bklu58bAPxYEzzZXZS10c8YQg5HAMnHLx14b6c9NOUbefKOUPWhB+d+BEJ6O09QMr+xXWc1juYa13tqCqLC6ydvJdxN/xlnpn1hki090nT2j7Iv64MCSGu1u/WJTWw35zUN0ddS+RGZuqmf35Se0vAH6Hbssft2TqKiG6iCzIHykaTRHysvOFIS8chb7uJ6f1SV0RD7dnow6pSBIZFB7xr14B41XBH5uOgMceJDToD9+/9J98PAdaG35s/gdJzKASX0BBXPpgMlOrNXPxQlxgiJq+XYwj7CQmTWGUigqDVZ4/WYrP2J3jf887ZZelSxT4/s942sLDFwA4ItuFkw5AWohUuOrnSqPHRmFXc33o6bmlyiJ/kraikxi5bRbFG8CiV0j/BGbqxVfI0b4JYQLY8fw2ncMPYFLW1Bq46lIitcVGLqAOCApeZkSKM1WCweuqijeRDZ3O+t/XGY/HZ3jQInVgC7u3hhSfUZbWKNy5cl4aLrKk67Sz8jFt0YdHPHbaxQrBJRhyqz12f8MDFwnFrhqmACwVWZ37up3ihfz/XQfaWaDCr+0ZB2TU3sIAjpWAWf3QFHM4A3WiebonHzEK6q8KRank8QmhnonqujGX0pwdehGU+AnNrqIrv++3LyfgrDhf9bx6+aQqX91bp+BgNnUBzraOnQzzo26sfYwLNaZEzMiJum2cRljZPUeOJ7SlMGopIjkJIuv1HnXHkzdBmuLFcA7VbsoAMrwFyLF3bWxblNHgkyU9z/fSqoGgNsxH8Jk+I46CRTI/ZsZBvdoFwIUJgfPMDXeubs1D1UTtAV+MFUuWyzmsZMw3YlHAFMlAjQvgMluqBryOUCoYFEIYczWC3XMeSezX565u8LpS5k5qRW36zIW0VEV8zimpLx3jb8Mwpj0am3mc9Lv5M03LdKm3dKuny/BcqGvlPIg2DYEDj9nXavEpg7scCend+0Osi1QWMjIIYXMN325t5eIjchMM1mU75jzXKrn64N+ewvwy8HcKwm7CVN2+ZfQNnGx3xhv+V5boJT3yRUPP/hTYf1HV2ebsvaaSuFc7mPR9pTMnDjDmZKBOT7PT2HTp3Qn4jgSPgbX3kv9QjtPlmVp7X9mKfhyGuQwzv2yFSD31xPTdwj0B5IJBJ7WBMdCrYbKuuQzDZcdzvomKqoxaudXX/Y54vM9hSM0/C/TJeCjMMVXWrWNh5nURSIdHaiA2PQuf+pNy0CSlpQuSfJ134ZMsUnwPBerjCjtZQxnIhmn6O8vjW140dNvWBb7kgv7AxUrb7urWpMDtkN2sPMnzz872jAwn/1qPFQHOUFQE7Tkb/4tjKWLUYQOwJYEYz4Z9ro0j9IVeZz84solX8NgiCAXB6NIqZUEQ2q2/kFiILz3wzLhSaNd8Xpf+6W7jC+6iGIAQetvPFUhEnjLFVj/3cl+EJvH6bFrdidRydjo6H1dJa6DgWQpkhqAjaKAoEywu9hMLcvLx6GQ+7zE4is4kr1TCzXNc9PqvI5XLIAX1cvM84y5XqoPeN7k3VZ2zguNAUQGUyj2LaiX7MDfVlCf/2nPm7/vDZRcJEYZYm6KOmahY9OJiNvdi4+9yQbV4nvs386yLB1DbY/qT0+Ka/S9mGBWLqWqdqCXofHjN1JFGNBTTvWc+G/8AowLmAUSz5fKdo/Ght6+s7rwrsIKw7ZInVKvKNIZH2Jl2+yaXOuHyvtvJU2TiyOfC4qsLTWQlwr8f4e+JnkDJMttWnXKLDBIUZHCSKdC0sIJRPifIPYQwYvJi9S/Czkgvn0iGJY0G1oMEzlonuZsrq+YpNUvnS6b/l1HZGcyf0SesiweV3lF0xKnAv7VmQDbdx8ajtcveRjTA6QVm0gsoCMrISTlJOT/o1KjghYdoPnvFc1pY+7jhMsk3U9fh6/W7P+l8sYhBS5tml9fcZNoYvrohE+V4HbCqIxr5i6MWfh/EDg+7wKCnt+zp+W2SUo5W08JGjBVoU56PhTgSq7uiMy4UUEWStdgh75afZtHIriAC5I931sA9zRJZWj83O5JKME/Hxcs76Ni6qNha+kLwD5oQ3HtPJLaZieeByd57r3jliRN68Ks2r3+RyM9M7toufJhhAH/cq2pXIWPfMXLOyHg8iyECQ3ZarNY+gkuFS3EehlHuwnvYDmuIoPJheveB8NYCvI8u3WV9/sv88mF9tku622h/RchbM1qkiSF294UA6UVxnQIqpqTWADt/13vJKvHipIcJuJTBHJXfbFl7kt0zhzxQD4K+UtMq2zPHw4iV/9viKHB2zeYgI2TRranzfVBwRVSTsR1vgy7VARBi8baNsannZWNaKecaxqZlFlzKD5BJGy9drCk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590800" y="1423704"/>
            <a:ext cx="3388111" cy="5486347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FkRR3BrLS7yulwwQPFgEkKshBwUOxg5MakVjQYzQIDbLE3fT5+V56mrUafnV2eEwImWxyo1ysUI9REO8p5VSWpRReHF2A0tfAIubjJih9pPY0P8IPSdiR1sAvi5N4zrkNTuOV/A++zm+areswaiK9u73kPsn5v/+ZTQKnoPhfuGN/R9Ai0XeHZUGCkpAf2uT4J+VOSh42x2ElkQUTTfKfpLio4FfTKJS2RtYXYYTyg7o+Cl3spt9H6c4NZCZ6iIveNSYlw+paWpNVI9t88ML4mvRt9V5qtumJ5Ul2sqqFHGtF9br3AtJEbBNM941vcvvptns68oHC/AtsPaAUS+4Gte2UnDSXbz0NVDF098zmSUZGUSqesgjnom+XNldT2HYCd6vCKcYWtW524F5ahBLnoBPSzx7BE9uhxsnL1Yu/it6kpXxHvLDLsioG/XGRAXjoPs2WAudf3Xlb8Ku/tXxDuMDPWzsauIiwImudO4nNamaMZg1Sff7uOA9tRB1PkwgawSCi+4jgPeMdvjuXV8yinv9H2vAiyq9vyNxxPg2Q4/NfhVgMqvTZm0Diiy+RLTyTGT11LnWCGdDrOtuw1W+4FuMvrYAgJooq4VWB0R0BdTWzAwiRHJgNhDBbqx15sl8O5PwFc1E6bu0TC6Q/6EODQRnjBNbbgaPFnNAWCLEQMFVNgnR4b6+MhtikDDEd3Sehk+BNfn7gfaXuWdk5Lu0GUqB2iPxA5NYHPl+MRrS4FCa5KElLYEt7c01qoq0/jrbaG+YiD1/24ZBAvcXLzZH7lGNKYnWcJzMgpyJLj0Md0SFczfuQLNkaiwSuoDdva7OegadW6wFiH0dCo14fGFEq57vavi5qh723pL9XCBC9n9gPHy9AF4wO74/HPccpV0TtSvMGLCrVmlj2mcOYQsmDqk8Tai0N+IBLNlkrP/0zXSMGm+s9AwDSlP2vwMTY3Wswr9AQQ6j2oXuFuugZ7PdWQjQ+Ou4Ly27Nn9feFGe3IzTDiFvzZQP98r93UOvMCZh+fWntgkLXDb3Qb1GbLPWpNGAhHBwaqjQzgv0ecbgknPCSpkKemW+mRr/r1H/fgQBmDgDuGQRxSzlotXhuLDJiUBALOztMwZq5AHG+JhrM6OnnPmF0UGzeFSiSEAfgI/V/uZ5YLZxZ7a1cxzmfQB/6zC4tPkkgVnwW/DiG+Q45RhhxSkuyVE5u/bRzvbKd+rSY4LnKRLujg4Ic0qPWlOzMnklZ+15DGLvHzSVdzRc60p7e0fRoziiQJ+g2tS+eXu8TIH/O/y7B4BDuO6y2Ib0dGvCrIXlP0lRPtQMFF80oo8aXaiFrB626Qz7pCdA7zWf8om2A5e+hehOxBIEJ5q0097rFaQYnhBCVUJ6uW/ruFdXXmDt4e59tCE4MiY4+DeTFX4X4eumMpbcu9SBHvrIq7+7ZDPar/kNYXmWi7XjkYJUajdt9fyKocquzxCcMAsjtwe4m9X0x+EHoeRr7WO6ftzxUIxKCKXKhRhfm8wj3+Mywhn2SRceqWKdNA6LDXXs3opPTM3gp5hSkTzzpM9YQCkfRlh2yU+5SNCASpRd5KPrbH/OtjMf4FJet2TKdKRnBhizD6PGqz3g1+IMuenMNQ3h0/8fjSULeC0qCzqACTLroGlDOj5wlwTFEEUuMbyki2ORprATF7fvCC4LLhiRA3r2m+9N0vT+i2PkkTtacdgD+GuH6Wf2HOq8a6ZLNvl7p9OclUjE6Huvop4OFkjp9I7BJilhV63WhjfUpX7w0F0tvzoXyisTAZhoGmVDUF98Qxoyvq+R8QFB3MqGFXQg3WOG+JQH37lhFAS5g2T0BJ7CvpLyaYUoHWmloC5LKM2nNyLxpFDgJ8Ye3uBJog9WC1fdiTRjtOzI07eRgTsC03cZ/s4r/mk8urpfPO8mU7h0wThfqi2w+jk5pAS9UHIVRIQY3P3oDXGk2GeBd2N5kU5hpmLTkM8DjLo0w4VppEoiGRqvAfml03mw4T4L5o8DK2yhkaPiZEM8tXDPhIc1p3N0xNiW2N3tiLHZ379LyWYcrIrE4yrJqQU4EMnbpe1eGds86l3TLHns6asCgCx+o0M6KV6iM4xzCpBJociDWktcUeWn6l0GsnvwevW9QSkBpOnJ0aKKs9cknCeO2RQMjWzV02RVXFRyh+OdjDUTUjlCzR9dQEM2DtR0JJiTNnHtYeIZHuuv33A6oH6avpBcFhDkWvHQ4Km0mst9wD5H/I223TS244TeQmXm5wlDZLpt5GjK/ppnqmCnP7FRfSu+HwHxUzbusQSBwWyKVKJ480fzjLjY/r7kUcSds5y9k2TsXtN4uwPXw/w1IV5PO4DcBXWUeNxnOL3jO7z14EwE2V0G27pf6XYBGWCcmcsvlcztGNrmQoAaGtWnnv5EYfddurdcvuuXX8FefZSZw65P/XZrglmIlqXhyx/HKw0HWU0DFcaTgBK34JvsH4B+7VlNEc+jIoTebVkwBdrf2ta6qhiZclxIj8gmUIh5LZD72yEiGEVqrbN6fNjg5eMABYLwi786ztmeO62NnmoTOVS2sbq/SBKsAEBQPsZkerZp09k9eS3xucS5wrYeBzpwHZTpbhbzkXS7/UmdasQsitiifVtF2jkO8qVB8awmpDse2wKsMAG2DDM0+6RcKaF/zgkOc8MR2+kj9zEGlDY15+OmlZ32U7q022pjTzALiWFhKVO5gaSKuYlh4UZRzK0Ea79O2w6RPkXSO1BRtLmuhEvmr3izbWOKJvVkgzBCq6TfzYBJVkWHGR9TUNErSLGFPYVL6f8MBo5HnRaas0l0ttgAgo7fVOq1GYtSiDcOblx6tOFzEYqA1eEN9ehNc1WFuQohBdlZ6HvvrBGBPh/uh7nnsHUndzVVqHj4szh/8FznahD97v7MkA9oH1SHiIoA7a/Wym1t3B5IAAr7ZJC3phruvI5HI6XIx+I3AU/xL5AhMw/SnoRPJ1zQEH9FmE1iCrzJ4ap++aBPMWe/H/XEd8ItJsRLHpxDEv4+N1D0cfaQfSGsZ6P+9lKk0pjLRFVd/mL6VvkKD7GP3/5sE42Px4bRWUdeufH4PFMUzLc7L3hvUJD1N65bt8anTb+hKul+DTWpzVwq5rd69MXEoDmT6AFPrw1Umb70woVLPV1VukdvBPED9FHTFW30BPbNKWmAQPJcm6d+F+4+9hgzIlcKbpTIl/L4g1FkEE8VkaTaLgKeZXQOL0TFj7v/7qcVq9SIr6y4tpoHsCWewzJGqFCNoJsQt83lrbz14X+4NiXOq/rPRnVPWaOHjgoC9eiIDLefca8OO68RDi9yrmqn68cY+e5feSAAJgXlYjcpd43R2T2mMDr+5tMj7URqj4ePPaeAoNJTuzJ0JYLrMqB47Jue8N7mTbtbTQbMgBIFuALb9yrsad3yPP02xHXeaobm0rZNWRnou83fhOqGAJDngIzClWMKgIgOTQnL8+eiMjSdSWuS95vFYy0vVZGJJMMPcxh3+V9bWrvf1ys29kE/OIajU8QrnKjf9QP3NQe4xv8knQ6vAwqS3tdgMfvKK5g/jQa129g2lHmLSlallWQZ1kPza2OTSrxmuMa8JW/+n5DPbc6MCDlbu/gSst51yuKNv6BM9A1eFE/EgEXQg1leB71qWX8BZ0cvk3SXMIeLGU02cNrMCfUVobHnKadtC6BoAM9Z7GQQOF8IBGr02qEsuM4HCnrWD02eO+10UT220fqXxO/ZsFz7vfEtY3i7M56pZKowgA+55zL51v4XoPrpqWVefpMA0YWYzg84rdKZo4HDO96oXI9WZ2P8VMGKHjKNPR+/AcnI45SYvMu0Xuf0DWaXZ6YFVhGqrsWGvXCTGInxB39nK+OnbjGJ7mrP3yOouCBIbLdZJoxxRThxB+xOsG95FvGHe59heOCLuTq0HeO3AY/L8+/HaYS9QMAGSwLxlWxEUiVK8Jj4ruYNo9dBl9R7PEIEHXgWdFCga5sHmWV6gEbU76AGi8fBcEgCZkNS9efLcMulMCSXNcO8+rJuQeeIYWoQrYvp3UTxkGvJj4fLJBFhVBY6AnytMwAO8zH6wiZPt+ZIr0gW+/Q3JEAJ0bDLaxit11bBBHbsKsTEkHWB4/CuGo4S18ldxYayLOKbHtd8zg6BVrAvqUrnNj2w4o0l7sdYvgUx2E7REdQMZ6t6yL+u1zI0o3dCwTDtPyz6zX/nlXrd65tsokBFWfu4lTYN0bPEZ+8PppNubJdXI/1+uPIcFx6dRJd43qPOwWRcTmjVrbcn6L7XN+uuGjXoFUFKlOpz5PMmy6Sb0sukgQsLGWgOhSzFmBfMdpBkeBNHM2EnQ4ija0yln2gCf5ub/BJYQCdFrXHqlwf05EETNaW2wNSgCueMGQybmm42MpNQreVir5wfnXmlLzfs37C3ZaVar8S2qhTVn7R7u6KEE6wDvOKlpg2ZoOOG/rQzrASqtT/2fdWLlX1vQ2FIOq3We+fbeXCwZ0+dO7cOFdg46SKzb/re4XJ/Lgl3FGp9fqdmQgNbhxU4MWtieqUcvcR6R9d9W8vdZbqGJv+ZwDhKoJ0pQfke1znu2XGRCnYo5VJxYWcFROqfXtUyLiaiKsNB1yJ3t91nW7nPmkYgzaRQ8o9nlygEP0CWBgtYQJ5T+T0B9NV7zX2MK+gFppSiKQ8jEerPALOZhzqV7oReQQjCBGj9hSoLdb97u26tF6wdaNTIzPnYHSDGcZYwpEydZxk7u0vLjNU6M7Z5IBGH9+jFXEXaIfpEQt7egEOvWGSdmbOEHD5j5r00aLNfNNAOtfN2b6jD7UWB9NFzgT9NZvQLKJjtorQ3QvGG94jPs8p28s0QdSykn0QY5DIG7uFrtc3wnaLYZGcWIQBvV8+FsojOGdhO1hd9g9wepuLw6x+fQgfwYTuZt/1pnXuiYPZDg8rYlYd63hOsGSYtnRuMNIDmy04evttVsfb8KngUgeIr5E7MQamRVEWLqfzh0quczTdJ6KkJoqpRC1E8NnCCWsi62fuDT8idUiF6w5w+FUXgkEluNyAJfSSw4XCyYYqcIGCUCuRmX2hVUpQF6dtRDXpMHnIJ0TG8c7/25hNQKD2aBM0F5FHNxrGJ6NCgXop3EAeQiZoiDn3iAb5nLUreIE6Y2KquZaoDxefyPKlBPfLWpjxznegoODGBR098RHpk5DhbAT8rY74W2RUt3R5SpBqASFKCy/jC6dyV4clA22bH7/zU6+luMNUjt9xGAgj10/BNt16RKfzBhH0zHoEIh2vUZpoSJ3a8KT9uHif9dtLWYXMo5t+hkOLa/5734A19JVJGQS+/E7b3Fl4cc2Bous/wTRg/C5NNpdcS8t6DktvIDN6yYMum+UGa5z2Vc4kUP24iM9Y+93K6lXiY6f3UQ+LDgW9xPnQ2Bt/rmKR5/pHDqkAQKvSd94U82e/nrjE/NqvPYCyRt+eB2w/y6+cgW7wvMx8b5O255KdJXRzbq8rAvtc2MvIbRGYRvCLuzobReMzcNWAaWiSwtpNOcccVAhGe+Bz4ib6TmPFkCEr6Vq4c3+WBvxELXG97p/x0fQSfVGZGtnQdk7104FPl6ILBQO2U+DbyoUmr9ciOrpg+AtJ6j/TSLSW4DgWbD9gV0CI5CgpnPft+ko0yZ21QaY1imIdWe6z+Viq/JYqO2oIeDvO5zL7X9GpW4Rsqn3oXA271zJyVqc4VfA3tTIi29ciC6vPeDknXgmObhO3DWvrA20cP6wY5TXyKj6FmgPz+ReSgA2+dRdtDogemsJZI/Lf2Ijnskl+sddtwmNV4Ha3xn/LZ/zcbGliJpcF5BICh65sK2ZxklviZlLI2iATK2sbjMXLe3CXrgvuOENwPo7enko0+0zmnANwZIB1qDq9uqJaVwyLb7uul2frYHfxCNiiS0Wv+FdGB4E/Z9peTugKUQ0Eq6MI/M9LAGrawo7m9sT0OYCpmTzpu731H13SVWgaAxcBkWwHyD9s3/W5qY8aUKxwBJwflbzEKuqqJjDhB7/K0lrRySSFYQBeK1nFstwzwZkDJfHBvpypSrY7SEyDKLLaQJXfSMTIqDr4omc5VnD5rDQ768qdzRgRv0OewCZlnzRj2WbUnfuF5yu5jf73VPlihe0PgcZP6xeUMRuWyK2ooOEm/gJBvhCLG5yZrJEs3KRFx2w1EUjYVdLce9RiqtH+NAPAaBFGn3Baubt/PRhzvcjur8ehY/NtI3zNhXzoyp0iwwCGyw2+yms1ppo0724Zq62uCMTyxSSsZ0n3HdAFacf1qxNQKRsAjluZ7g54697CEnWM0ptAcj9foUJVqZHrPK5gzqeG01bCfrd8zC6GSOTZzKtrh8s0B/qYE2aEp6OVe0ZkrlowDV5yBBeb/MpUBEeXRZ7H/ZnDkgqJCr9oRy09Kugjreh2MD4WMma+D24WzCORg6A2bTddsuV8QhISM3wQHcNyb5TXPyf5pcBrwWKIvllFvfM7eaDxxJ4VVfuh9RfUwdoO9gIICLlT1+pb7Ldnj2bwGPqSATFzPMO3YWKWWg8xd6cKkehch+MF/D9e17njwDXYRNxnU0X2YH9mYv07TqtgPh7YxvG4+X4jaBwUcoly3l1D+aBESjS3dW78Avs+TcKdMl7MqYGLytAAedLLHWDFveODULbt9ZJKzxIc72YKf/dXmjT0p6MA6cVe5/NPrxymqn/m5PCU7iH7kC34i4aU+AVz7K/dV4UcJfTfiFIpi9+6iWz+u+/uPRe4Pc8QjRacBCFFzVV/mRhjrQcrTw1tuO/ht+79aL6hXUUmYE3+aoGGu6ceeWNdI9By76D7v8hax0eZvX+szuPQTWUw0gQkflYbiXNI5nOPUWm1LmQ/npIN+43b6+isBtI7DWU6awZoTXhEtfSemjbcuBcONobWkI2d4hueS6I026vPBD3wOwE2jhUSZ2QUARCZrK3CVP0RVyAVAzrz8NpF6ez4yL3aCCTifqImjLAlfMY0xIiOhpDxMAbDikSm8K9zPQJF+wtc/CfaI/Y3gleTRpREWdtSAl0gASTduH+3m+36t0t/CQzXKYnYhI87lJVWUOdiOYU6vNVdBV0I0dhi8+zuykka27xK1pOhc0YILuwji36NmTFJKLobCQdZkBXSLV52B6pYNSMwGSeNZZioQ/sfsbUYevPpmh0qUbNhs+5W5tZvZT7aNuvlBLOicL1Or551o7ey5BV0XYq3VofP7Ct1hlbFdDajISFQz/5/rnpYLRPCt9nDH+Ttgl0CQWysJK55Ofmt4TeOrifV66IoFN9WvlAWAeks3H3ho11a/rU3uWMMnVQRMn0VlJOP8VpxUhrvP5ZEvrRhJqbfRBXXodUdyvifG48b7kY9xg+ZswRwb+K0uEJSX2oy+uRP9oLOikv0AQWma0lgGRMoFN/1go31Zv9VYKO9DAajduAW8J4fuUahP34IXd9sK8usMfiTn7besk+Fgw9XhLGAdCCYklx722wLF5jmp517HDPxmtkQFqqHcRaMpEzH4e+qsIoLLA4Pr32HlWyaInetAGrguVgyONX+hAyE+e/wh6GESmOgtHIsqM31OsORjr/wrAPqg0pFgJiY2VwKduo+eRTKmi5ufaFWazBDRsKttHWz4mLc6o7M5MQAWJck4mZM3u/FJlUFXyoFAPORHuksJ54EJHNFVQMt6rtgUlgmPJFfsZsTZZZ3BIDFj5GS7JqQD41ImyZr9pdPWPBojJzMeFcIeNO0flIIXpEwsScDGt6wfJ40EfNWajZgE7nqV88ksSeFob4LACsMwG/sWqM51l2e9qYFeg9p002STYN3MGaBno3OqjrcWyPM6q6JLQTGmUjOP6F9ddKIal48aV2fS1x9/bwImuQL23zK06qNJCccUlvidPbfKaxH3vkpgLry935S92EU95fyYmPehXT5ouFp1QVpTN0psuq8EZm6bf31YvGfO/hsbZbxMGzeuh4TMjfB75ZyniR5LYfFMgJD7SuFnr0x15pCyPb3IcgTbmdx5D1RXcmjQQA2MjDrydJLGluqQPJmMJKvYwpv8K46nUG5trne8KBSTO4IZuWTQzmaCflBp0pRh2Wmmz2lEXjZwEGV5WyqfQgaJHEEiL/dNV+dHbIdkvDYqjAdj8LUD3MvwJSwbbUaiVaZcEkziPFkdPIV40aCj0qIQ+QX23eCAtav83U3eL7eDw+WAIZAt6UrS94xVpRwCDJhUWH1747aWrhxqFeJWIxBJu7gMUq14uK3cGHAhDx+vmhxGPKQL3lNDrzEjY4ypad+Kg/TxihrQ46nx4TNjRbQRuZ+3aoUZp04G/oHuXfVtmq+kXo0pTKQsZvk6oYSm2s1WdTOrRbDXhfGYqsCBpIWpVgQ2pcF6WFUMbmJjIwyNqSR1+pZM0ZhfOruFTBcIMf1Ri2GVJAaSXR2OA1oie2YvXHFg9VkZPXVmnSuqIpobzYBJrNsq8iuCcSQPoFiIwFP2Cl8XoiwgFcb0/WljFyqESC7An75wR22pcp1Bj7pIj4eABoqys9vg3wHdlv3xbBBr2zX3IY5a+3gR7GoGzFngtkzWMrcxXSmhcdMOhCw8VSlP56oQK5p/nYVasJI9T0nECq4Tj96uuco79C5SZQKLFi+VZ1xnd6l/OegMJGhC8EaGmiYZpJr/zuyrVeF+XEnGha56DND5LczHLnl2YH5RaS1xQo2rJkFA0vB/grafP0GGn9sgwAthAg3vs1FZ19eQgmLBXQIPmWLJ7Y0ZCIhKCQ5efhFYLn2318+mTDmZGrKhKIj7hFwNnupknpUEf/rdxiEILYeXWHfS/zzFfc3AurfFmZ9EKpuB4iXic/EKP5CfhpMdVIbnkKO00DyOIkhnrCUfD+WACEE9QxtYpnaKY8o7ph/WHqnccdZ6kkQ7vcnSDeVNPVMipUIJ2zo+yzP3Ei3eCr2V09L/cWPXlCo//fswIFAAON63DOWEG6ksDNqtGddb+ml4ySkyytGn0zuRoHoC7KIpRoE/tqpXxxVtZ+MDRrTNoCIyPgpirgjfw+72tHdoKm2XTY+MEdWS1iHgFOLRuecX605UcfyNmxiELaTcW4NCF2VZ6yry+IyYDwzXef5HMjhxI7I+jEgiRyCgG9MdjZmeLcVlGy+vUJ8lk5YeUXPD/F2aYMoByTm6KZ0ZnHyDLRZdJf2oHNodFKCEcfjdNc/kTmWJ9xGdVDzkHnj0P/gjHPwQgomlAntwxYZ2uhiunpqiC6DCxK6BBQmUovZUsX1Afl9zqPctJb6zh8d1qg33A46S0OGHzWuQgH6D7vmFTXfumqgSC8MJYPbFS0ThNmajGqLd3SLDvj70sdQU3h+ilnKUHP65sLI+P2bnojI1V3SGIe8dPiQnLp51hNMOHd9zsMThKwycRIJmuTGZAEp0tnU1FDpmN6YtJDFP+CxSG830jnQ8zZAGStO2CbkQ2ZIe2qCsVBitW4UdNuK0jMzzWzIEvY0IA1tnlcaI27KxA19JnFc4HBQL2zJY6RjyPLgE0AjnMgkFRZrzgamiF/3SV4jcJwZoicFFYiAYlqQWVWIv1wfTCo7yWw0Dc4sgkBsV7Fws2Ht/ArIkSF3GB/1/W6bRZpupPbriOSkrLhuEpnlLyd0KmFEcSm9ZAHCiKLJIaA03kGipFwTaAKSERIKCl2oApe2/DObi+sqmpCA6bmaFlxJoFzyQ+h1cAnCfcSvCoV/C2yRm1QIL8Qwv1x4EJGMVUCulrbiQHXVTPrcqo2ZZ2afa/sCuV+Xf5unzq7hJkjYO5XwRfkaNmGYTV2oCjR8LD7n1lT6HpEYhT7PizrksycZjAfXC0mbFXrOtSnEJjkNANUuK1GIB1ABHMUM2fVQopLgMna7IZl840ACtic6UVWekrBz6S/61ahqn/lFDuiytnCXKOPuV0/ynhOxt66LVICMeFj0YISenLlXrVVRv7nLZoFLigtGkOo6S3Xoyem4DLvlaKbZ2mjoQE5+d/y0SX473cL5SvMX1NKVLF8kIbWTxZVIzIHEUXRayKcQgTa4IRJWMZ8XCrnV6XGdkJGH3LcGNQquqzBfZL2uJBxVft1+fHmVm/9Q7ZtlmW0V/uSxgBVl69ejmD8nEioWzgjcqecJ0CpjxtsPLgW5kGngG5YQaI+yd4yVGoYPKyt4vMbtkOt6hpaa9TRXt5KlyUWiHhiHQs7NRCwHfrsQf6HNvFZ2oRh81bAujD77MqDwxBZqrhSzoG4AeDYJuLnqOVp2bgzSE7Hb8/bPKTSl3a5Hf0934DVdV+ZfWgeDxeGbOt3+LW8EvKjARosoHJSPs/aFrww7cUw5Hhg7T1jNgofX5hK+vz4L2mfjBDKdwKG6p5Wrf5TomGqP7kJnJf4E7ab28514DouFTlXqgp+9N5eCnvheTcWe1u94beVHBqEmVZA7wrbGLGCpa13grgOK9xMehDcDWSQAp0jbWS3GN75rAnKI3EoC7niOphnR5G5KC2DPeOZwoj2ztMskZSRTsq1wmtG/kakV+PegW/idYrIm7pH59RHsgTiHZ7HUJpxIBQpMNzpD+f3khQzvwSkoDEUZhrgJ3yZn6gqXKwHcCqacER+VjQ2QHuqFe8f0RUY0GRyjpmv73217bzs9NEKGLfP2dgheSRY8w2yEfNKk4dBkgWRp3fXZZgjz2Dp32VMHlq1FG3nOTH7hH+4lygnPuw2xKZ4l2HIKATE4KNwKBACKNiosU1srp/YwE1aumpwVYQgrwdEExF8apYeZ1zQZd82c+cJOOMcUiZUy0pPJnhO8/7dWSKUJVBC35H7j+2cvmLh/brYVNokYR+Mlg96p3KpVz9l9I3XIVU96uaO2QFX2pfVpxsKAoLaRkO5mnW5agGPnJaYOEpC8dNaLxY8OOWYQVzpX2TZ+pN82W9xDDKJzpKB1+OxFWfhsJsDJyyjacn1Xo8QSEj4LjGXkYwVvgLQ0aqpX2xSMoflolafkIUDp2O4uSjo8QgNuDSMvIszjDvrgcVGhIEMznY0Di5dErrQORSzugzrylKQnl1Cg1FFpsucaQ+F4az8wdrEnBdGH6ijtTcz8abwTRcbnICYBwH1/40XixagWyihP+CEv8C5FX+ehQ+wAPXbwF3UyWj6ngeEKivfvLYGMQUTWoWI6ZPnKD3QNBuJrvuynKlsntFXvgkGIdd9A3otIalBiLWSMRTIsgniWNDz9oqbDjQ261YFdrGhh+fjfHv7Dwu1icKx9U/RmFCzR73/jCAo2OKextPNUAqxkzzIGlH6Dgi+b8fuNsViJZtlGrWyT9Nb+/u+L9b1Yq8QTU4Yk7JjmIxzvcyQw3KhgwmwxRJQFOd99cQJhwjduerAiFDTLAaaIt2NJYJpBvZ+cMPzFZSGLBRj+ENoCToRK286KOFBLnirCdaoYimFwTRLqJdj/P0YK5w0z90A/hlKcKdiccLthF0O18X7cw7ZWwrIidsX+x9i5l+qZaIR0kKlJXjTilFn9s2h63bvdKg+MNFyLh7yI77BkcJcpspFUTb5dzZhUcs76EoSh50x6SIK+HUPSFvo9amNIK6j+ch4y4YU/Pt8Ayq7A0u87Wgxw4i60QYFDIC5qnlZqZHVjfThqduw0BZYk/CSh9zl4SsCJ0WM9PVg0u/oPYM54F4sDLjiQdE/9bHrAtTirC5GESlL8+EZIbw2XY0D0cHaVm/Kbc5A9PgFuaBmXAeG3PfL7FrInXJBWck7MFshvqIzkdHqmMwXbdVpTRBNfXOfiXrtKfCKMEWUUlZWqlgHCjWwoG4nvVKxKWblClUcFFU9JynXjdxVjwon9RmoXAnHVihOqPoZEbw8/n3HjzW46YKNyfQV/P3kA0sHOaxL/ElT9EOgv9jZ8R4kdeNRQMmnLVaQ2cjN4OnLvwnZd2ew4gDt43xxrFrJYchOm74O5+T0YHrf0MQfU156DjUEPIe5HYLb5ZdqTgrbUiAw84SmgG/3E2y0H5ZBQa/0Z9CHfPtKMqgHga1lRYqU3/ee0LbHo3RwxFPkOtXSxvQvuYgmt5iiGLMZeS4AVaxw0boFM3hr8PKM9T2LJuHXJMGcgk8UjyY4Po5g51A+bsi/GXZ/2ztmyBvbMzjqjU1+44ZIuJDWc7g+xUPgiyYH3wQ9u90YW7Y3Gu+aDYlrOb1yAg1BchY1mu5KRfFIIVeX/CdjwrcuczeXLI6UYOx9F0CQK+udGBom1rCdP6y9IFoMs1J3B3EYNQKYlE88S1mQhOuf14z5BJayyocqIdo7momYpX7bT9fv8jMvmt68AFtSUidlDQDfXgjO8ajiNqm8+kAR0cJflAWlp8klqoi9hrMF/5Se15KF7ipEB2TTItLvuyKUoEoZqtjvX/0x1Eov/IxfseQAJIxrUjxEKoIMMDwNXHlpHtZtfI3pU+lG+V5/7NZ0w3QvDXJGF4pwzOEn50nNbBVZ5WqdB1jU2ohHGGXRg86hWE5iYXOAZ+lQB5/QEk1Nv0ZoUF0DVbIFewsEZoQAyPaQi2dhapQrpdH0pQGQWePH2crTp03ctQsrnIHkrG/OfIvUASp8UqfeiplDa3klYv7cWWj3RBwvXCCVK/FTyWbr2wDj4DNW508oioh9N/A3Cyh78KTIdmcrNhGhqiTqXB9Ydguw98gDn56LVpDp8fZJP+nczn/uvqnHHGbjeU+vT1bHPwFNyuzQ1e6ztWf3zngC/wlfPUCyQRt5SZ5hVvEir+I0PmU7MoSd0J1ggB1wUMn/K559RTORYUKZ+02knjkuB45MngyXyerldJHMsecTWBHf3X6/W4NAiRwSrAKLtiAcgv0XRRT0TEGm9vOjVPBtwyduwLoNkc9mkOSx4JOAAU7vLRRJON7G4+HDbbne+JLMQFTazJq6c/qjIx+SYZ6UbAzXcyJjRXuvx2JtnuDg2KClw0moZhd4YM4njFF6R3RDHHeHq/MNySsGzvkot14Z0LI1BChyFGVH7ShDYM6UrxJxHVQUWgjlFGyF7IsPk8qjfP2EtfnKHXDEYiXpMpxpzmslvHCgZu42Pytroij2y5XpCCwVjJX5xJsOUeb0BK1OWItJizOR0NAGfiS3o/yDUaSJ/MokSwnlASXlNogjPNZuT8c43uqlg6QXHinkPbnH2tixaK5LzdMn6Svl5POh1i3IMHwhgtrCMfdi0CR6nj2+5bCdrHHKwVeFXChG/xjhjThg1HmtsJrU/8RWlCXVr7LyA7kTZA8NIyVK7Qynik6SO7azXP9i98GRdcqEVUW+OdW2tHZtMkP/350Hs/295SczOIqp5kYfwv6sAy1nE19KbEsvmDCfYwRYbhREnfxJ8Ht17oOKI+jV9K5Yro19j6heFmwFIcCxeKk3yixFZnAeZDr4lQBKaKjugBebjRdGNRPgonkY/nDjV0CQRt2ntnGNIR/uJAqY0LezvhY9Y+qNOCp8lLhf/bdQ6iPQ5GEF07w/23DkvGfwEWkcimuOsu7ufOXS7iuf6ctKOFxy0UVQzzLdldZV4bQecU675w6g6X8qTq4ftLJ6g3MjCntlxZ2UCSXesfWEdYJYg+RBd2bwpOH16yxhNjH4gPbyqfCr/yxy6AVDeElv4h12Zx8nB629zwEyw63j+Mf3/xj8amkAhMLyL1vN1trEmbNWMWfdDgIj51pJTm16XY546i7FYSknu3mCJqRKLJbNXEav5Bw65ilcE5DHHVOzipupT7mdC7pmWH7woEk/fTaPU2RplyX9UCI7GxmeMeDSsyeIDMqDaMPIyef+udfkiO/gXyR8WoWLCDgKM3192qhOniAwCCr8ywzSlius8AvA46oavfWJS5pzyF1JyDU1tSE99UKXjo1qCPGmuOxJILBbnOjFuV6Xj0scVqCGrmTCBjJ1Lo3YRgViIYEF1IHo7Cv9SfXHDdXv7CSngVvwi6/MIy/ViyGk4lqpHtfcV2fV4VmsJaF9Pin+yVWYL2Z5X/NbkzF+Qc5plFY+88oXwZFK29xLehqIlnz8ByfC8Z6zjDGrCYF378fs1oq44rbJB2l2ZEp8Vc4hTiMYfepSzmDVl0rTzri9bufiirlQB+vUWHiw4Ezo+HMQSF7lpgxMiOkXhZAZUx/d7TAvwxlMgLcZTcqYsdzLNPwYiU7AeETdcNG2GX9LI4Hwwt+LD/9RUI2ZjaEz8PUak1tuFomulsGvuRTtjqTkNnm/DenaFfc3qDBwntdTEGUhmUrHsSZ2cJ6fue0EJVo8onHI6RQ2CM3PfgGjCGO9/ziXpebNJcb8qFP8FbbWWFim0o9dQuc+J5wrx3R/Yh7cPrsoydnqoUIyPJeh8zgLoPbzCag6EJFqowZzST8yFvMznHaJ5QQP6CNb8ZdHzQtsnElmMwC8EyO71hDWBCRQmeMmF09OKkdAY6h17NhICc4uyqyTrr+T4waWySAmY/aubx9EgXqgQQdNmPoG6lhR9d8ip7AQp6BF/UuUbQeQiXtgW40mO00ATyvnxoCBDFv4huoTAfwpjPSl8DqkFqGWFkpnLG5DwmgMr0zD2KaHJfUbVVy74Wjm6aMLddYqTqmIhj24bg7rpPfaNoaCIHnMklxTEKcEko7uT/AqSt0mxF50dD6RLgyj/d0lMjN9YIHzoRTl8JEd48tUcny93mhsSIyPWDSyBk/hzqSs4ULxYEMxEddrmjrAYwrCFpNZvMRkObch+zgt3zqQ+o07/ze1nftDbPzHDeLbQYUp1FD1Urk2AUe7yXsPgDSUqY1Xfcf6MguPtPDwuVGq5rnWaHihBiHM/3q2j/O/uu2Bmi52omrGJiX8J9apYovzIVlMr42KeD92v600SrYxNYnZx4gFiVTPCm7yzyk1/Drh+aoNe+uqS5vMh4L2mnVEIPFpHsFHhNrfMxzkhxWXzHTiAhztdadr9fm505348M8ivH31EvaH0C1qpJIGsOKER0CaJBkjkJOS+dmZWmZfvgRC/KzymWgcgD32bX8VrDSebFJZ+h/d4Jqhlfb5Dh9emVNFCMDbzdEZAAJIvJJVDo8fHHNCvQ+Khw1oHBCQycptqZ83ck/epzXltl9fuZBl+FdpDq68PyNFM9MCdiYo6uI6ONv+hQM5VQpLNVTMSdn6pdC6YO1ZNXP/9FUskmuwINdI9aIKVqvbckD19R+b2M5KFg4ZSpkq/k2AMp/1uE0sHTwiM1LthzWmTa/43opsKFoirD8YB01ysR1u8/MEwJvDB9CfG4mElusGpbVruxlEiZCqsV6EuNoh1NPAvKGjQW51o/q6tv808bMyf5UA1mqEpf6pRPBeLzGCXhdk8E1uLtbCh9RDzcyh96+T4Wkaz9/gnq3g4ZJXUy9VGMrP4Kvu6mrOpdzlnoFRlwNwaEqYAO0xQZ0HONtoEs/Zvn/hVYgf/YQ12i2BtqNhrDYUrOfxAfgwiZ/vW4gBvXH4Uz1Dyvg4B70xIdn/K9myBYcI3OtnScWBZHscuJiM4kJN4tpTM3kjY3HNWejbPYrpJYkb4opnpWaRdRJRq2xwbUDGHUHoQvJOweZlrTl7zGufwPiowHuk5c8tr2N3X6M/6kEMDt8FcbuQadPwZPTIaE/9UGZ0igVfxLpXP6ls6vW81QmCWivtSD0wCn540dCNBeHpqw3pTgI+gGOL7ASRD0D3f3IIJv9oYL1x/ZKrwNUWojxX4o6AlckqYaR0W2HyFhggLLag4VnA+j20GhTjHwY1VKc1RYYhxvlnQLr4p9HHypU/d4WoiaJMBHXBx68v5OYpxSq1hRsP5YgnUxGUZq2QF7TXNAviv7H9RA5scpFRQNRWCjSwMhYHG9gIwOVT7U30D8W9I3D1ntA6O/C4wQMKVEgg2uAUJylWY7wtTqMeZoM3uIXhZVFaWHu3c7j3ecUlZKvm2hB0jeWHWcK6KQUg8SAgS+QA3a1T2eoIaHn6WK5h2HxX0SOH2kMqYQ/KVjtpIxrJczAgtju4QP0W8GY2+bU27tdl9kUYmGJY8Ts7BB8H9E4uJAldDMwCayI9p3GAJ0SVsMaCNaxtJsgojAkQwFlxubWEsSZt06qqWwXhF7Br+O7deslm2Q4JrtoMuL65Bu4AaLp7Bz4oP3d2+YiaTf+JQAMEXCKGGojibtIzxCXMU901RBHE04IxHmaaMpFfkg7HYQRuFxY9nd+orc46BixG34QVfUfx9mUU7UWQcWBe1Ckvr+W8TmRfkXfm4a+npxLBBxt3lWcBK2nTFGrVroy9V4c48gvT6Kl9216Dqq3z6GXj4AIHiLUEMzXNifaXHQpD7zxGN4VVFx18AqYTnQfzCJadiZxMQPlhA34H0++Q6gzeYOQUytN6spUGDC0H6c7FhwH+XBBvmIGB+RQgWSPdSPCy7IhOQ7R34Xg6A8azQgtHtaYqGKEkp1REWmba/0VG3xQn10JxR+pLoAPpxdeJ7Pkewzw9Jrc1jYIJ/r8a5BS9xGl/j6i9jk6UrirnZbz+mUCfA9EvLNRBO/sWk2WBshCPMiLtvyzIuPzc4+NWG/lFv+ErH2UOW23kl22K67BxCgunqOHSobZ1/Fqbg1hFT3Gbn0soLY+1BHE5uw9nUGK7I3s3chLlZ9mNa5jcNdafSx9lT+b3u7x5hdjlAe5ME0EfPEuogMG/sSNH9lb1d51pC/2nuNWufjPUem0foXfe6ksar/HZ2g5j0wlKz2a6KmbbH57fcagnBROJmlCo9x6expmyfRHgD4wMzk3+MhV0gpFCC6ZrIHabP2SE7Oe/hOmBoL8xsOTzfxfS0OWolX0w4YhbjK9Wme6YOXU+d1pnUdwzAYGqf4QhVRZS8gztfyUFcrA1As6ggoTgWrS399wL8IgxE2OibbrgBKluGqVbJWRzWCF3amJ+4PtogznHsH+VNffg8RMmlntOicRH2d21RNUZre7/Mabf4MsMaORUwqe7vfA6Q81gFQoiIuoenGtUyi1Rc9dUrQF82kdp9tu4FFO8GT2HcIg8vmd0KNwEuSRTSN+EQz0kX6w1EW3GdYKuxyqRNC/NGaMv1SyGZpe9FzmOuJ5MnhjUrI0eGL5Vq53fL9WkXNOk07WMDmhftkL1foR38VCJ9CXgtqhtdoQ/oMqK2jMV30A91O+8v6e+lEeyw99D0/BvqmrZDnyJOcQ8Wa6vwmgtF/CRZW8bEZKn4WPOHUr/A/hd5YMGS05+0sgOGNZu1MfU2Uuh37FNtmMxxUsxboEIz+BxdrDcLoAsuCnKByaeB7quGk8NIeD/izOP8P/piFemiM15zwLnsdTuBDxt6awLw9HPhduG8u12xoEH5CO369NWcMwtzP6enQFUT9TBnGy6joqUsFuLW6u7hXR151J8G37uSpCWj47Y0+QGXtvQPNHeiEDDNLn+CpbRYE+hghLU3cHJTyqtZR2E7iZKgJrZ94JwgZiDf/IoXLOn3XsBTz2SzzfnSStOKW0eWYehxm6zjnJi0ae1vdloxIsLhlKDOmTBCaqzS3Q40lz39fG/6AIYCMG2elsrrOmgUN+EgJgVbsbgBX+AvcbIc3F210yK/Sq89kIhpBC+KGbWYchIXHO+HCM4tVeNs9YbqBc9um9NP9Y/stifbJnmUb2O2Er5tUAW1y96vIlCtdBqX8g8QyoWvgsmetkcunIZvKNRooi2PYMqzGab4kdnbmU610J2pT7lo27Eu2qxqN5+Ho2Eu38XZ4zgYfvCpwSV8eKOxnbmsms2MwUe/QggAVE8MrlaNhqe/1Yu4mdYgQLdI7M6N1LuSUByeugWSHFuJtNbtFpD4xOEyDE8e+U0aRRPowRe0mpF/P99dAvTxGtPXai1aPUsr5CIGs6ewlhoDchCR3bYM7Sab/783sWvrcghC6eslx0IfHI6Yw4T4M1iDOZWdr/SB2/Z6gJxmy/IiTwOXkVfiCFV4ZC+niWmmHVeFJ7PjLGf/ujkhodvfvRNaL/yTIXfnqiCCksNZRy9GN/HJEibP/ShUCMBhmN/BZGbZ8w4KGNUxvgf14ytFUVrnpcr9UnclzAxK2vhzz8GFiK5apKs46+xX6Pl0OebqzB0W7AXIDfEYDg6kEXiqPy4uF/bfAwJ1TCMy5qOXk64Y9MDt0cnGd6p434k5sIrC2oUfGyUzqq5cYwuj3JVVxEv4///nkw2R9VMs4hPtTFL5acyXE+RXeggG+obyWvByyBz16GAZ99EFbMNPX3YIUW84EmJVqB4e3B4z6Mqi1ToPh8YuVimUVoQfMvsA/ULj5DEKJmdaWdjyw9PRugzDKXsN5KxNxIa9lIbGk34xFLSbuwZMREVv/jM7lA5MyRi6KfNy2HhWI+D3Srhq8QsWqf13zaJF8LSkPzf6fIFMZHjD2Sf5yR4AyYyHwoSA6ME0O68S7WtKGjGvWym1OeFsTHGOCZUF1peVaNKNGT0qMyXeh/b+zDJzaLEiLdEF9acC1IoJ4psSsvJoN91+IDP3o/7P8zgr7FeMoBMrmI3xjIQJmWj7ooNTNjY2GJyI0njIGkPvc7Rcb0PPvrnYZyOadsGduu2wSX+B000Z4r7D5LpTiE4yISvPa441kwFuEOENrDRHf7Ejzus1uFAMsDE3hNBxrbRb0M5s7wP/avSaQTTUmFPpaKxTBdU5Fd29zwnMbURGj/MR1l5fv98LPJ1Gv3ZFKelVw4+ofI6/kqQ9fYPaLp5IsNA9TMUhx26XS5E6II7H16EHQiG1BYHhWr1RDZ3n25CQhQh7rwHdhiAOyaHDgJhEC2XDF6A4KV5B8oXAGxclqX/yQRuJQ1xrHPcNkz0vpnvG0c/jL5UO/l5VF0hfmB2vUBwOMUhjahoR4xeLFIgw9WOWNftV7TvA8zvzLQq+x7kUFtG5FbPrlw3ai+LNkNuw78Loi03RsK6cbDbm4HqAXTUvRVS5V9hCQ0Jw8zaGc3sdEXuDv2tdJvwnLCFQWfzf5A8KOA1iGWZIiio6V9oEcDhf1apy0lMuS+5etbYc9Oc9HQiuZXNovukNZmrfgaOXEmB4PbqNkLE6mih6Y93eFxcQEA9SQ5Bd6V7TuAlft5/YexVo0vRmXMBPaEKefNOTas+Vesp9o0nT0nqASWUGl7k9eOjUEVuWdym1oKD7h7+NGnQD8dW9gaj1KJevSILbBNaAHHgp4hj1AVzDLaA1GN9EGP5nreK0OS4RcbJWpLuwrStBsAVaqB//hlXnxY5vnh5KAJE8/u0uASJHAtaHGrn+sWK7ZV5cnKECejv8XlUr8bpILOYjVWsxp+y58fD+tw/x5CmZz7+rEBVq81Qgy5wSTsMRA6XMofMSSnwSNQ7CKabMAgyHLOPIinmDcXuMHoiGwRmJb2aLX9CHsDhL5YtXPTPecdcGNEfEP845sMaGZFJI0AGb8MyTJw6Yg7G8ylJllGKBS99J5kILptf1cr+WoMZfqV6UV+9hfX2XULqfSJdPjPmy4iHldS8Ik2MYvRCTFdefnbQ6xV6uP2S4Ou7fwJKsk09jx93HQPMSGJ9JJRMG3BDiDXu8mr9zkT8a0GvjUW5sJaRjipU1N4/VA9/FHM86rpr0IWuwwJJl6ny2W9qL+qbUxVx50O00bfAbZWwb0FLc9gGvetRhpcudipjZGNAJnv8Pr385Z/K4F9gNNS0MQ2tRfm6aawyLFaqLSdhQfyVT/tVud/FO1fS68MMGXYhxrTsMmarKhdwMhVMk0KLN65i6L4P3a9a4QNhvKCdRfEm/c7X5w+/qtcVtac8mwAxFXD4Gh7HX/AENsnadtV+rWDisB1Gmx+wmweDeBTK6kfoW9VpI+Xwp2QwJxJdop+iu/cLf2NslfTxcGmQVSEE/3ln+nUdczuA6LCxbZi/PUGtuwX7k4+3wJ9GGpfIxsCz1fbZvDN8Pg0tzMTD0jbxawDOsxWN5oooz3RyZdammkLYZIKzGCkxvcu755b7iBAiReL5Es8ugJeizOB7awQLxkave807NWNKkRP72sEfbJDafrk6b+CBpqniC7yZ9FT510sTOPQLdrp4AoM4ere9vDmJxirD+5tFWP/wzjlfeFNouSJE2HZ1IIvm4IGBJ5/eSlgty8rQAXKAcIjrw3fLGw9uYQ6EU2wa/lCm7dGu43SHHbb4ujbYnj+YdDU6/aeFEDVsKwshRzCJU2RSkONSVCzcnGiVCP2+ipNFG7HDgCOH1WD1xNt27e3W0kRqRavrLJrLIo8zKCnAd1ayeUBFsAce9F0o94CgO02d+9LxXf7+1fiRHKZIXZaknzIJ0ho0LodJe+wPn5xupTev7CvxWdeh7wEeoYTKJo5KZ4tAEzmDVin/hWFiFr2I6k3atFdJJrs7MuKAvk/FxLfVwPFBDo594iMde4LuUCkb7SxBLGyA0qtCU6xRaS84YFSycEnxUBDwIui1S1FUk6UdvrOuKXTiMWJJwp6ojcYdX7s4fo4DZJfLpBvcyMuDyIRXIWZxqSGNcaLqt0HCw8x/TT6PRsw69rOwCkN2GQwKt9rZ8knBa5wb4lMJ58MFpZRnBJwSK9yqBzQo8a9qiC1LOduIfgmvDRhOCMwjOXrLkb3q3fQyt79BtNvyigUaR+bWj76mgDJzk7UmAxZQewEFng5awQqbijhMvvTLmGFc/fQQlhDGKvJaZBMAnQc/hywJLnLMKBwjc3ZaljH5tZs9/J0ZqznoGSm764sleVFnPY89bWI1msz4XwRrtxbKobZVStzI0Cv28Zw3SHfxY6VAY+fD+r4XxeyEtuMhIkKupGz2Z0ibfZmlpaXZ2KH1ejYx2BYW78ffJIX8dvBubarhxEXa5y664T2GHtbssgbvuXu2IlOtth2Wis+UyFmO+nAjpGaj4kWZo29CwMMfEp1sV9bfNlXUFYRMoNt0d+wAGKYEELjRqKMITzHD4VOjrH0FrR+fZ21NciQT7l9LOul5x8U9dP5V9V/oyXveJIOAOajPAFwrSGFiraV7dWIXGxQkjgEJ7i7s3uSdJR9WbD/YD39JoDxmcDhkyp8Mx3xSwBB2dwQZolXzXBYHba/vyxDj8cVUqnxvVpVuE/cbhnHor1Wyzz3K2JlaS6a3xvRkbkU6prjC9clYKYQTQ+7nl3RbOc4opR5rXtt/I014r3Pp4agJhUaHTvnxqxAIRyRw6hHkMeU0YaoGdnqJnWoxxpDGYsW1tikeIyOdQGMGP8kcZeWn+AwQCOLE1BFTstBGappz90k0jeaW1xmPYLNTDwCio5Yyny4h8yR64mvpunCWj6f7To4Jq+3xCw1R7GzspmT12WfPZvWreWevEHbsKxsXM6yn7FABfTgBgYb+v44Ey4cI7OzrQ4UqvxnJfNlVd3kQ4GELX1jBPeOZzsDkx1GN+hzIoSrxttJ/YSfdT0/X+fKRtXnfqAdU9hQCkWuSJLH1+cXi0DLEwHfTOn/BS+bn1xrN3yT/FvMVkliVhYVElKCq9CgdZqgFJqdzZpPQPqG/WO8/82rBuUXiQtKiQ7DdWwdUlsFnwYuvq4Qm0z22zS/ndmjkVpPqnTTCekxDfaDEQJr7lcJNi7VnPAzJD/H3PYhxRHWJJu6JzQdKWK6W52ZNVHa3KJhGcNaaJImx/+xcp3AmYmsYxS9IYMwfq0bHyr0IPP1db293x17M1jxqfCgB7Yozptl7z+USqpQB9qSPdtTOfyduAqXI3jZfMJzAZ4/QynUSRCZDVAXsrevWW54H2KNKfmunq0YgSwhB/WJXV8eXiX8xPwwW0igj63ZAY1zgVbyG1gUZ0b4Ffha0sUdfHy3ixUSQud2YYgvOuEi3qqkxIJL2dawmG7ibYwioeId7IKf9620wLkUvcoMoBlFv5KYN3y2e7GQP9q7aTc2E+o/BKDbZ6hQg+yCJ/CKchu++c3H72M1Ao/y5sOwp0ZOH0z92o89TRDpDKUWaxWT/XNhCmEGV48GvGKvuKAJ4ZQ6jKrO/Y7NnoevE2bxyLJHh13xtmeCxRM5qksjOcmYsWfGUgTApxhm9178Em9j0WBoKZ+HoX3HV/qHiO83eXIfAmBlefIshnlnyLLEXtQz1suLs41tBs+7aeJz5EJdzlqZW6foCTxyxIyB2xDZ2aGYoRZVjxvir4mtXseXoyPzz865FlmmTDi3k7nUIAlo+7vb3YBRb+NhspLaXf9NQAPfYaYKD1cYu+9lX5hI8Gd2zLWafVT9pTks+UlNmXmlPBIz+//egVJh4Deoh4rxDsiSDoKoGjxGnQjyMGskVYGx2od1bSRx50mTT9o7o8v49vmFhIq7Nv0ehFsLivNKoI3JHxrEA0GDO8yPEFeIHIR28DNT3BlaWMC9ReqCXVJqJwI2HpMY5dooL9peYxUxV26ePuyqswcXi9Av1dQQ7oieIetGrRDbbZRoqM2lAv07ggSU6V7IgJ1HpA0/W9Z4cbJ/6qkTL7+jXDAFvuN6yJs33R34Eb3oDlMmdSe/fuVkNIcXb5rmOqpIMJWj1eFqigS2Z29k6vflTfC9R3yVcp9yn4j9C6F3AHX3Kjdcet30SH1rPpQpy1Xe1LUOEataljEGe9+rFwHeIdQNjyIRm3rk8IOEdBZQmZTSkV6N8R2wFiN749GWSuYJl1jZFNfcxDJBLtEycPgqCsB6QYJAo30EQ+HXdP4YJOVkCT6I7wLACZBVI80bfctgY2YRL9dJfSEzThIqHcVklnEk6RbFhnbb9RVGicR5obEfNeLekSGOfq7MF/vZIcIuh5Wn06m0c72q6+dXweFmzxbBfwtVY4KmU8hQzuITUwhKwRu26tC5oEfYgkkYsxz2582p5DrQTgf3Nim4JDT5TBAH59xUaMP99ZLQVQIakaMItIP17N2b1ffm8OlSxNm4KCVGi+/zGLi1kD8ylbf7goGBsgSrW71Q8fpf2FEe5q+fxW4skoFLA6jWM+82prQ4AUohOMFjdWLMOSx3CP4Gurl3ic0PVrf8j5D5pXp0H8EwiibVn7ugYbrI/aNwZ923NOQvdI2OfZ1zhA+YA5jBPQW32paNR8O2hYN0hAOhQLBUbiBQVeSxE6Q04j5TaS0zXJnJHncDgmUbS7NYy4P3DAVYDaNRFVf1Y1zv30Fpwo9+f7P2T/lXrwGf7iOhtBrRAO8gpFYUm73cGJMQUmKm5ghfASTQg12xxYI10vtFSPeUZWd1PyHRUWzzEXA8LcwAv8ueUD4EybgL5LmK5yOFzciwFlSJ41Wn4OkPekrRqxj/U7LEcHMdqdG02j3r1socmC3AsLxM/iKRwCQyq5Fy60dis1bwEYbbRoqUeMfZTKKoK+sVK70DmIa2A1vgFum61s+7REzS3wkurkVtd573VHozRI57l6QtvF/wCZJ36NmQi0Asr/A8XRCSkOTcoXyJrNuGnnEpLsZ9AtzMW0f5BO2URwRiQaUL5qGRY06KUtEfIperhFNKNWNEJJQaXxvFecZa6A8z1IOAycvjKTdmqZZ9KieW7Me1+st2+EsPEIrgqCybs1oXhFHv/DuHSWJ/acnKpokWuwZRUYspvrr73EtMp6IkVi36h+1B7ydeQlz87p2ThJENyPCSduxAOJ0PKjtxiM7vRLNs7brtWCDMiH0gF1axH82e7RImQHwY5AEiIj+uzBdZ19C7b8ZQJIlH1zwSL5PoArWdYGYDrgG1x4C2/CxrvHvy20SIGRu5qgzJpz+mZ9lzscdXY+418GotWyukAUbdaGwtojnJASzFjHAiZp2BYmPE/CqOfM+Q+iIccQ5PHqAIIuj2GPzzj+1bOkNOfZcpF7ZTTZTb98MEpPbeC3GfYp5UWkOYt/5DiK/dinN/jZnNodv7QtbDVTMKiKq/iPf0RjvEGYbqTlkvqV8ztauQzy0GplTiMklNOkPvVsZyNAlFlQTDNfJ7iNmGlJTdEcZB21a/SEki3DZvcUg+mJperUkw9Gg83CtjlLYxS7ZY3/H+be9Xbqqisyi5QmpfYm6Vg+TC0KBO6NZIeQULGxO8YRsQ+J0q8Pq6HZV0+CQuTunjpJlTrjtC+Tiqs0WXF/YN05WsVP9EtxOhs75FsXc7X2Y7uyMSjPw9PXqWCCWD2bEBMUBW7BClXNbzWt3NlW4JOLwfycFIc/+5SwRPVU75Bi1Nq3BJHv5FTPiDllXlOLzWnCe4u9YzhxQjLrWO4xl7t1VeKWy4ohaAZj8dypzgo2eU2yBvs+0lkZ/h5PDodt3hIk76OIdE8mJxNRQixc6kbZcqrK/Ma8tsRDRN9tKwH/lUvk1+kB1TaCeTpyGNGkJFsvmwgvIUjlZW92HkBRhTnb3NPNrszMInDatzN+SJiwVI/IvCQVJqJCX4pRQy8fifHxrIyMgBUvDpYSHaF9493EibG7FuxZWXElI5kL6mibTCBRqjORtcAF9lPo9+eCEk9shUI/n+QK81zp13iQzPx6AgiBn+l0FWJQQxnsPkt3DENuCAvYwovfv5QH8/nSazjHBUMg1juafxVTMyChooCp4P+NHZRBEg/diYqUTPbi+k+RpwtFQXxasLbHpH9XXdLGWI7g7Io8gFm1UKyM0/z19zwZzicxrtAUS4SkG9Bkb7i1/N//W0X+RMYcPEj1+DwmP5yHXBsc0rg9gOb8nFXHJn2lJGTnP4W8YRG3taLReKxO9ZhrGgPFMbI3y44B8w74E8bL0zxPnjQFMJmg5KLiYBGISXACxtFnDJ80WBjKIxtsbKmon0lYZ2zI7ZYFqcXS9iy0iFJX32wAGkTyyIQhnW3y+stre0Ix1lHiUtsJIypQjNz5k+orN39w1k5rgtszAeutoTb/KR3Yaza2JkHBPxoj/pH2SJSpKkDQisJeDr/wsawXrZ7m152kl6b+v56KuoUXJed2QsjxVY2zJ5JGT1UZ60rYPkJD917MszR0uKuN9YWVBalzgkjgzyuS3aeC8JJE5RlKKEl8S1bybb2yVi9d2xVaTUo6lws6UCgz2oJ9Y32yqprHPHj/ixWFwzPk2OWIZ5/Vv+3ROd6gtUEO4f0N2YZW/eTt3hDtTb/19+QwrhsD3rQYK1SZWyKwX1Wo3jKgwKjW6/ZjRwt3E94mMnQC3oSKbIXGgUevHFLTiq48KxJRjYn3uTnY8YvBx5OmfaK8E7p6iq6uB+r7pFoveDHFKZunLALjHKrsqeeimntfup2sR1rRxM3I9KjFIMIWchYXK4JR360TAFQp0sK0me9FiRFktohA2rouSHijPIm07IlAEzzudH80Z42NY2bbTY2ZGvz/ISIkICHcO8Ikri30IRSec6+ErvCvn8afsnD64R9CAheGdm7qmvrdPF3SEKqvZ2utbGmdotQH+1ZezQWoBy6F9NJHxaMevekxzzQYdEMNaA1qunoRawat9oAZ2ID/1mREswKOMOoN1s61hBhD8rxPQWSqD6XNhM3QjHzFHPOLFMOo4eynJk2GzkP2AubDxxgrx3PjEVgS2F6Bvs9/WkECTsi0FyFZutUJZaWFC8lzT95j1dVKezG22KGyGHK25XFdVXAmERnfckyl8ApXm6mNJu8fu85NTKy1BgH8nEEsUFEpi23NsW913oXj5zpx7CGcim6zZR24GcXpK7pBIoSQMWjvmK8z/1P5imc6P5WJ77KZBdX0h1J3BHDB+8rgG24AH9riCl30Opgs9S7BRkqcBZW9RaFSQGOtBh+CgUlsIkc/G5jks78eXoDtNTd4o68BclXtzccKBebQ2pT6zA+aQ2A25Ht2aGwNoQEodNkAtonqZFR7bQMOD1s1HXvlsIqk7J+Q0hTPqFbiQ8JlK80Rc3CevtREfFdCwFVenr4JBPGD+2GHBKc4J9A/izm/vmblPkfViB4QsWl1nH88M1bCLAW6JT9Y1mCNfFBFQw5dBGvdmAPZn3U2t8o7JSa8DSZGTaYt/+EKaCJAtGrkzDuLj1gBr0K9r6FH1pWm/ZryCx2v4jx7MAGYSfxh7gk4gEZpklWd74mwRhfKxoacXhc+d3V7BsQEnFWT4Vm8cUoCEdObSxDmvSfdSl0nxGLLbfH6zGRbQNPVM2NtQg8tuR+Tisp1vTWihd/lBuM3hq8kCBlZB1nnUBW+TfYrayIUbnqFIeYuDMB9XVYy+ZfbAodjp3SH956LXfWgeUiYSO9PQvG731WgiW36wO9jC2+qDmacTEAXqCa6lY0ZGKKv2xyLWXgxnMo1sV7Gl2SCZH1sIyOptlnVBs4Q+ECwmGVFroXCeIvRUX+B7OsHc0kgtGagSopJpUQrQ0q7J1N9wAP+72zjiWAHSjrQXefBdjytaOwQUr1rsMVtdM/QpA8Fz7RxeNxQsAxDgg5ClJEFifC7D8J6/uCnCP4z6np5KhnYUBiU5H3tt6NKIIFzcah4XMU35TgBAepxY4s+VrpX8UfDQW5BxTkgg9C4/4mjE2bdBJmhXYYTSpG9HBgzDmvr7+Gio0GiIrdM73XScp/4YD36Fse9/3E0U0qPl1PjLrT6BprCTOwEAQtY19QkXtM57btOei/5FlMFIjxXOpn5QB97daHUvIoRt6J3FuCecNxyFm2YcgRYw4Ugh/H/ab5vXs1xT6qbONZotiUvbCWRJMNhwuuEM6QchG8ZkyoOMHYBVUmJif+O/S5BQUYnYXY2VCY6QFTK5GfTRIdRqrNBpF1ffSRXRi6HqRbFwPHaygSo4m/WRTIWNFWvpB30IZRqDudApcyNKqSvuhOZo4uwovWUbphilTLNwupFBtWHU362b6BsTysDE1uELo6YolUSNmf2rqYnx0qd6MHHm1YdrEabg9jFkFc3iygqJU3ZYzGuElgveGm195CvJ9BBxYnDxiqYRcWuAqIlPEd+kKaTEofEDjcS3/QTAusKKI3DjdwPb569tR28xQg65zOddtgsl9aWJFXtDFGaNVVmd/jEFzdF7VGntu7g27IRRxziIvmBrM53bu63Eo8n9FXz9jCNb6P0yvHhYlEtkB3iqQPKuJjP+QeViV0nQ2BdO+uuKjc4xN8DWL11T3bfjXk2+g1lLvl0+VsEkKM9dHWGhwRjaxuhMrwdOOX15tT7EZp9yZ1xx3nb4dcZp/AG98xZyxgbnkaQCIg3uIyYixTmdb+0SJZY5mfXK8ieFnCFpjLNy0uZdzfTdUU1NH6t6pGRZsLDt0zhY2zJS9q72BIqEI3J3qQ0a14dZ0eZT/Q9yRbj0d8z9kmc3bO1XLNrcYBZJnbFcfoCj5yvcT5Jdv0rnWFcOPrbZ9NZN3m2j/nblfxBM6Oloq72fnWkgXu0DZv7grJceXFe+3F9f8cDO5+hixgNy+cqw3gBM+VeqvuNVcHOsZkKbSai8erI4TVVlM24Q0j8fyYsZK+eLWE71hILxsdMiC8vUKLlwqXu+iimSqdyZ4UG7hTSuujyHSfHO3euL9ePBAWBb32m289n/oNH3EAj8RbMfu5Ar4jsN6TXla/HiSAirxYXuGBTy1F2I4mjnjgZjdrTRMoazBA+2cU+9RTSICmBtVCDmD1hgzVeBWsmHHC88OmcAKOUTb4By+sB0pVwntnVO1Q7mLH7DIba9GZWssqQm3G7kkyNub/y5/gRue0QVDyK/HoGt4Aqyhb9bBJkIjGWRTb597igcKFt6XEQJqAsM+zhsuK864nswWkQbrsAopFxNORWyaaT71/smq8MJecmOk/YCUOdecI3G9igGQeHvupRnL8o5Amkd3cgNeVaujRR/oI40QvKrGrGbBR8ORmOM2l5nDJtnu8FTtA74OUFsd+ycxPGrbRXrfO87VUT5hBXm4d+UIkO8LXxpro3k4k6vgYLA2p/FoAFbWCCTmTWh8Zz28o2ZEhW8kDGlXfxrkXb8h4sxjheVQTLdPULcy7tyzA/HyBQBj9QCHpGJtKeQPDlcboKLUn8BVBvi9TX7rI9m19Le1lhJz5USF8G/JDHWY/GvPNxK9KUTWXAn0jB9GIArAdzxX6KCIWzX8SxrNxkWU6ROg1eN8tCj1TJxCmRxCptbXqC7M1p1xEXcRSxkEO9rHh2TprFXx2viHrH+R5cmPlDq02d8tTFWXq1HoaeVJpM956KDeKn0D1YsYmNmN9WQqddSAfFz+evlg2q3eRkTM3VuNo7h46BgVYuYVS6rwpaQXIR+pUcdiVBGjnuoI8uUMR695y2wVYO2UOR5Q+p4pQBE1KfhqXhYDTYgHZMcDfV5Qpatae/Q0WMvGcqdvufhCC2aDyY+Y9T2nr6FDrghGr/uL04gsPQs52fmsK7c7KafL7QsK41i/kjjqgA1pWMZSazfnnIFm92bpf1vaO1ULUAakFwXkFMPzQwt1/nj3bhq9sam400B8olFs8cGuFvxFApm9yjLXbSiJBglStVcoQsi9LX75dCp+6gEDbJSaNYR9yU3yn+XmilNsS1/EBEQz27eqWtamD/RjyBXuTMWIG3wVxcgYMQ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679689" y="1447853"/>
            <a:ext cx="3388111" cy="5486347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motion: First wave of Lean Liaisons trained, with ~10 projects completed and ~20 additional underwa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</p:txBody>
      </p:sp>
      <p:sp>
        <p:nvSpPr>
          <p:cNvPr id="12" name="Rounded Rectangle 11"/>
          <p:cNvSpPr/>
          <p:nvPr/>
        </p:nvSpPr>
        <p:spPr>
          <a:xfrm>
            <a:off x="408827" y="1373836"/>
            <a:ext cx="2743199" cy="735615"/>
          </a:xfrm>
          <a:prstGeom prst="roundRect">
            <a:avLst/>
          </a:prstGeom>
          <a:solidFill>
            <a:srgbClr val="606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~200+ trained &amp; introduced to Lean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266326" y="1373836"/>
            <a:ext cx="2807823" cy="735615"/>
          </a:xfrm>
          <a:prstGeom prst="roundRect">
            <a:avLst/>
          </a:prstGeom>
          <a:solidFill>
            <a:srgbClr val="606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30 Lean Liaison projects </a:t>
            </a:r>
          </a:p>
        </p:txBody>
      </p:sp>
      <p:sp>
        <p:nvSpPr>
          <p:cNvPr id="2" name="Rounded Rectangular Callout 1"/>
          <p:cNvSpPr/>
          <p:nvPr/>
        </p:nvSpPr>
        <p:spPr>
          <a:xfrm>
            <a:off x="762000" y="2856648"/>
            <a:ext cx="1079214" cy="914399"/>
          </a:xfrm>
          <a:prstGeom prst="wedgeRoundRectCallout">
            <a:avLst>
              <a:gd name="adj1" fmla="val 28982"/>
              <a:gd name="adj2" fmla="val 75305"/>
              <a:gd name="adj3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i="1" dirty="0">
                <a:solidFill>
                  <a:schemeClr val="tx1"/>
                </a:solidFill>
              </a:rPr>
              <a:t>+ ~100 additional people trained in process roll-outs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188449" y="1373836"/>
            <a:ext cx="2807823" cy="735615"/>
          </a:xfrm>
          <a:prstGeom prst="roundRect">
            <a:avLst/>
          </a:prstGeom>
          <a:solidFill>
            <a:srgbClr val="606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&gt;$500K annualized cost avoidance / savings to 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0425" y="2133600"/>
            <a:ext cx="220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600" b="1" dirty="0">
                <a:latin typeface="+mj-lt"/>
              </a:rPr>
              <a:t>PEOPL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74651" y="2133600"/>
            <a:ext cx="220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600" b="1" dirty="0">
                <a:latin typeface="+mj-lt"/>
              </a:rPr>
              <a:t>PROJECT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87460" y="2133600"/>
            <a:ext cx="220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600" b="1" dirty="0">
                <a:latin typeface="+mj-lt"/>
              </a:rPr>
              <a:t>$ IMPACT</a:t>
            </a:r>
          </a:p>
        </p:txBody>
      </p:sp>
    </p:spTree>
    <p:extLst>
      <p:ext uri="{BB962C8B-B14F-4D97-AF65-F5344CB8AC3E}">
        <p14:creationId xmlns:p14="http://schemas.microsoft.com/office/powerpoint/2010/main" val="24948923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Case Study - Everett Subway: </a:t>
            </a:r>
            <a:r>
              <a:rPr lang="en-US" b="0" dirty="0"/>
              <a:t>Non-standard process for handling inbound &amp; outbound components, negatively impacting Car Hous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5334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Problem &amp; Root cause</a:t>
            </a:r>
            <a:endParaRPr lang="en-US" sz="1400" i="1" dirty="0"/>
          </a:p>
        </p:txBody>
      </p:sp>
      <p:sp>
        <p:nvSpPr>
          <p:cNvPr id="6" name="Rounded Rectangle 5"/>
          <p:cNvSpPr/>
          <p:nvPr/>
        </p:nvSpPr>
        <p:spPr>
          <a:xfrm>
            <a:off x="33147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Solution</a:t>
            </a:r>
            <a:endParaRPr lang="en-US" sz="1400" i="1" dirty="0"/>
          </a:p>
        </p:txBody>
      </p:sp>
      <p:sp>
        <p:nvSpPr>
          <p:cNvPr id="7" name="Rounded Rectangle 6"/>
          <p:cNvSpPr/>
          <p:nvPr/>
        </p:nvSpPr>
        <p:spPr>
          <a:xfrm>
            <a:off x="61722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mpact</a:t>
            </a:r>
            <a:endParaRPr lang="en-US" sz="1400" i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6248400" y="4575634"/>
            <a:ext cx="2209800" cy="533400"/>
            <a:chOff x="6248400" y="4589169"/>
            <a:chExt cx="2209800" cy="533400"/>
          </a:xfrm>
        </p:grpSpPr>
        <p:sp>
          <p:nvSpPr>
            <p:cNvPr id="8" name="Down Arrow 7"/>
            <p:cNvSpPr/>
            <p:nvPr/>
          </p:nvSpPr>
          <p:spPr>
            <a:xfrm>
              <a:off x="6248400" y="4589169"/>
              <a:ext cx="609600" cy="533400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858000" y="4625037"/>
              <a:ext cx="16002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+mj-lt"/>
                </a:rPr>
                <a:t>20% reduction in touchpoints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248400" y="3367272"/>
            <a:ext cx="2209800" cy="830997"/>
            <a:chOff x="6248400" y="3367272"/>
            <a:chExt cx="2209800" cy="830997"/>
          </a:xfrm>
        </p:grpSpPr>
        <p:sp>
          <p:nvSpPr>
            <p:cNvPr id="11" name="Down Arrow 10"/>
            <p:cNvSpPr/>
            <p:nvPr/>
          </p:nvSpPr>
          <p:spPr>
            <a:xfrm>
              <a:off x="6248400" y="3516070"/>
              <a:ext cx="609600" cy="533400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858000" y="3367272"/>
              <a:ext cx="16002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+mj-lt"/>
                </a:rPr>
                <a:t>20% reduction in truck turnaround Lead Time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248400" y="5486400"/>
            <a:ext cx="2209800" cy="646331"/>
            <a:chOff x="6248400" y="5486400"/>
            <a:chExt cx="2209800" cy="646331"/>
          </a:xfrm>
        </p:grpSpPr>
        <p:sp>
          <p:nvSpPr>
            <p:cNvPr id="12" name="Down Arrow 11"/>
            <p:cNvSpPr/>
            <p:nvPr/>
          </p:nvSpPr>
          <p:spPr>
            <a:xfrm rot="10800000">
              <a:off x="6248400" y="5542865"/>
              <a:ext cx="609600" cy="533400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58000" y="5486400"/>
              <a:ext cx="1600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+mj-lt"/>
                </a:rPr>
                <a:t>Improved safety for employees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533400" y="3276600"/>
            <a:ext cx="2438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Safety risk: </a:t>
            </a:r>
            <a:r>
              <a:rPr lang="en-US" sz="1200" dirty="0">
                <a:latin typeface="+mj-lt"/>
              </a:rPr>
              <a:t>Inbound/ outbound components stored in ais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Slower truck turnaround times: </a:t>
            </a:r>
            <a:r>
              <a:rPr lang="en-US" sz="1200" dirty="0">
                <a:latin typeface="+mj-lt"/>
              </a:rPr>
              <a:t>Lack of clarity about which components ready for Car Hou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Delays on shipments: </a:t>
            </a:r>
            <a:r>
              <a:rPr lang="en-US" sz="1200" dirty="0">
                <a:latin typeface="+mj-lt"/>
              </a:rPr>
              <a:t>Components ready to be shipped delayed by up to 1 d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algn="ctr"/>
            <a:r>
              <a:rPr lang="en-US" sz="1200" b="1" dirty="0">
                <a:latin typeface="+mj-lt"/>
              </a:rPr>
              <a:t>Root cause </a:t>
            </a:r>
            <a:r>
              <a:rPr lang="en-US" sz="1200" b="1" dirty="0">
                <a:latin typeface="+mj-lt"/>
                <a:sym typeface="Wingdings" panose="05000000000000000000" pitchFamily="2" charset="2"/>
              </a:rPr>
              <a:t> </a:t>
            </a:r>
            <a:r>
              <a:rPr lang="en-US" sz="1200" b="1" dirty="0">
                <a:latin typeface="+mj-lt"/>
              </a:rPr>
              <a:t>Lack of SO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90899" y="3276600"/>
            <a:ext cx="2438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Redesigned &amp; standardized </a:t>
            </a:r>
            <a:r>
              <a:rPr lang="en-US" sz="1200" dirty="0">
                <a:latin typeface="+mj-lt"/>
              </a:rPr>
              <a:t>process with Kanban card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All inbound &amp; outbound components have designated </a:t>
            </a:r>
            <a:r>
              <a:rPr lang="en-US" sz="1200" b="1" dirty="0">
                <a:latin typeface="+mj-lt"/>
              </a:rPr>
              <a:t>staging are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Clear</a:t>
            </a:r>
            <a:r>
              <a:rPr lang="en-US" sz="1200" b="1" dirty="0">
                <a:latin typeface="+mj-lt"/>
              </a:rPr>
              <a:t> roles &amp; responsibil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Simulated</a:t>
            </a:r>
            <a:r>
              <a:rPr lang="en-US" sz="1200" dirty="0">
                <a:latin typeface="+mj-lt"/>
              </a:rPr>
              <a:t> new process and </a:t>
            </a:r>
            <a:r>
              <a:rPr lang="en-US" sz="1200" b="1" dirty="0">
                <a:latin typeface="+mj-lt"/>
              </a:rPr>
              <a:t>trained</a:t>
            </a:r>
            <a:r>
              <a:rPr lang="en-US" sz="1200" dirty="0">
                <a:latin typeface="+mj-lt"/>
              </a:rPr>
              <a:t> all foremen within </a:t>
            </a:r>
            <a:r>
              <a:rPr lang="en-US" sz="1200" b="1" dirty="0">
                <a:latin typeface="+mj-lt"/>
              </a:rPr>
              <a:t>1 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333" y="1814220"/>
            <a:ext cx="1943100" cy="14573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32" r="20818"/>
          <a:stretch/>
        </p:blipFill>
        <p:spPr>
          <a:xfrm rot="5400000">
            <a:off x="1090872" y="1570491"/>
            <a:ext cx="1462379" cy="194983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98" t="-394" r="17852" b="394"/>
          <a:stretch/>
        </p:blipFill>
        <p:spPr>
          <a:xfrm rot="5400000">
            <a:off x="3878909" y="1570491"/>
            <a:ext cx="1462379" cy="1949838"/>
          </a:xfrm>
          <a:prstGeom prst="rect">
            <a:avLst/>
          </a:prstGeom>
        </p:spPr>
      </p:pic>
      <p:sp>
        <p:nvSpPr>
          <p:cNvPr id="25" name="Rounded Rectangle 24"/>
          <p:cNvSpPr/>
          <p:nvPr/>
        </p:nvSpPr>
        <p:spPr>
          <a:xfrm>
            <a:off x="221512" y="6480083"/>
            <a:ext cx="8236688" cy="315073"/>
          </a:xfrm>
          <a:prstGeom prst="roundRect">
            <a:avLst/>
          </a:prstGeom>
          <a:solidFill>
            <a:srgbClr val="606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i="1" dirty="0"/>
              <a:t>Everett Subway just 1 example - Efforts in TFM have produced &gt;$350K of cost avoidance</a:t>
            </a:r>
            <a:endParaRPr lang="en-US" sz="1200" i="1" dirty="0"/>
          </a:p>
        </p:txBody>
      </p:sp>
    </p:spTree>
    <p:extLst>
      <p:ext uri="{BB962C8B-B14F-4D97-AF65-F5344CB8AC3E}">
        <p14:creationId xmlns:p14="http://schemas.microsoft.com/office/powerpoint/2010/main" val="1497519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2685" y="838200"/>
            <a:ext cx="7751547" cy="466344"/>
          </a:xfrm>
        </p:spPr>
        <p:txBody>
          <a:bodyPr/>
          <a:lstStyle/>
          <a:p>
            <a:r>
              <a:rPr lang="en-US" dirty="0"/>
              <a:t>Recap: $30M target set across entire organization for FY19 budget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462685" y="381000"/>
            <a:ext cx="3118715" cy="228600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CC"/>
              </a:buClr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/>
            <a:r>
              <a:rPr lang="en-US" kern="0" dirty="0"/>
              <a:t>Lean Updat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12530" y="5486400"/>
            <a:ext cx="83504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000" dirty="0"/>
          </a:p>
          <a:p>
            <a:endParaRPr lang="en-US" sz="1000" dirty="0"/>
          </a:p>
          <a:p>
            <a:r>
              <a:rPr lang="en-US" sz="1000" dirty="0"/>
              <a:t>Note: FY18 Projection comprised of 7 months (Jul17 – Jan18) actual results and 5 months (Feb18 – Jun18) projected results</a:t>
            </a:r>
          </a:p>
          <a:p>
            <a:r>
              <a:rPr lang="en-US" sz="1000" dirty="0"/>
              <a:t>** FY18 Projection for Administrative/Support increasing due to expiration of Jet Fuel credits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533400" y="1600198"/>
          <a:ext cx="8153400" cy="36576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4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692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00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900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00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08067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u="none" strike="noStrike" dirty="0">
                          <a:effectLst/>
                        </a:rPr>
                        <a:t>DEPARTME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45720" marR="45720" anchor="b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FY18 PROJECTION*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0" marR="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FY19</a:t>
                      </a:r>
                    </a:p>
                    <a:p>
                      <a:pPr algn="ctr" rtl="0" fontAlgn="ctr"/>
                      <a:r>
                        <a:rPr lang="en-US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SAVINGS TARGET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45720" marR="4572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FY19 Prelim Budget</a:t>
                      </a:r>
                    </a:p>
                  </a:txBody>
                  <a:tcPr marL="45720" marR="45720" anchor="b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1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Bus Operations (Operators &amp; Maintenanc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222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rtl="0" fontAlgn="ctr"/>
                      <a:r>
                        <a:rPr lang="en-US" sz="12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$10.6M)   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211.4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2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Commuter Rail Supervis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4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$0.2M)  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3.8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3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Everett Main Repai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31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($1.5M)  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29.5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4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Rail Operations &amp; Mainten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258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$12.3M)   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245.7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5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Transit Facilities Maintena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41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$2.0M)   </a:t>
                      </a:r>
                      <a:endParaRPr lang="en-US" sz="1200" b="0" i="0" u="none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39.0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741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6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Administrative/Support**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+mn-ea"/>
                          <a:cs typeface="+mn-cs"/>
                        </a:rPr>
                        <a:t>$71.0M</a:t>
                      </a:r>
                    </a:p>
                  </a:txBody>
                  <a:tcPr marL="9315" marR="182880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($3.4M)</a:t>
                      </a:r>
                      <a:r>
                        <a:rPr lang="en-US" sz="1200" b="0" u="sng" strike="noStrike" dirty="0">
                          <a:solidFill>
                            <a:srgbClr val="FF0000"/>
                          </a:solidFill>
                          <a:effectLst/>
                        </a:rPr>
                        <a:t>   </a:t>
                      </a:r>
                      <a:endParaRPr lang="en-US" sz="1200" b="0" i="0" u="sng" strike="noStrike" dirty="0">
                        <a:solidFill>
                          <a:srgbClr val="FF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67.6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5069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315" marR="9315" marT="931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effectLst/>
                        </a:rPr>
                        <a:t>Total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effectLst/>
                        </a:rPr>
                        <a:t>      $627.0M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9315" marR="9315" marT="9315" marB="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Verdana" panose="020B0604030504040204" pitchFamily="34" charset="0"/>
                        </a:rPr>
                        <a:t>($30M)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$597.0M</a:t>
                      </a:r>
                    </a:p>
                  </a:txBody>
                  <a:tcPr marL="9315" marR="9315" marT="9315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00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e3IRofc58oivK/ctSK/A/HA845yfDizhbLaIFtK8KhsvJ6XFphTkcfv72XyRvk3InYdwrOZF2GHYGLv27NfNmi4kXFcqqT+FnPzYDzt8WnVxEnlxj9gejgs7Ny6kw7Bue+tLJG2vZl1e0weGQx1Ts3ryN19Tw3Dal2g6Qc8lsFhQX7HQkszHkKxsfBLijM60Mlc6xPEMqTan0bSYWlHf6SkuHrAuCKrSn9ENaz8S6hKXtOeer5X+yagBQDewZozUsArMNCOHIFYPdYcrW+4x/VBkRJV5C8qOTZzh9ZUG+/tjWeOT86TbevbjI1F7Jn952ybFy9hNc0y8cSsvLUzB8+9QFonAzJE6T4oBbmf4T75ldSAU7udCtg5a/glwCvJElPLwqdqgchXl3BTi+rHz27WTTcC7PksaKvUYlFkc1FGz9b7YFbhjOR6/fTAYOrOAlnqY15KQfBKriy1HtaXKRP93V6kbwAGPnyooWAJydtdsTSFUfR3/gvnsB61OhA3edhpzOSbRYVcDFQELYHl/wto8hGYVvwI0CMj/wArDhV4/OGS7VA1OlLY/kX/u5L/dXl2to2f6w8XN33LrBI4QGIM9lPC6ZEQqSE3MZNQXvKbzsDMnc1xx8nIhdTOuY7KucneEkU2asYL7yg8ixxs957Y28UVsrF59HmphdEfeGBsZcSDsa8BDu5ARltLlxkNWSUMBim2U78WqVNMjY5Eqi2NmAw9p1vcG+FR8kZn1XOzRH4rGqzYMBPxldpqGk1oHLSPZpqZBPArCf4TAao/BoULpHMwqWwGsWojnBNfqKRSbU0SO9hvkDH7Q4sb36E1tazrnS8wO4FmgGDG+tCn8hqlkbhKhTuwnYW2DX//jo4d+j4Uzwtk6ITcHnMlU62c2ywkJQWjf4lLMiQkLye+OKxJrvgImSwLiYjZjBQDoa6POjJScGmos2KGTTLQLPoyRIjtjOBB4oS/yl7LplZABd7ZBrhTuUhm4DM61xvTVeN4a42E2CluiO/mMvzIB/iXeXtUNCy3YiwMTdZ+mb4ZMAPaKX8IK7dtTP48w5OvaixeyjrEcp4pSCv45MeqJEaDBKONB6On+LNg7bRDm/0WJPq45Ni3aKhLT04kIJzQUQIN5FV0Xbcdsz+gbhISe1iB/E4ysT3QBVUxcb1eCjAOQT6Dyqoi/bqxJTgqBelVaBo4NHHWk74FQzsb3MWYsAip5G+LNNeAc3Jmynh3WH0hEU7dMZ2z08SaceveAuObG0LW9RliYX7cVfEZZ44DX99WyiOCxfLTY091wPneH+hoxSi4triiVKwzfb8znDGH+Wyfmie2OjFsOKSjfMSZlrldQIUDXblkYQa/40iAUVd0OXIh2fsLNDpP0AVPNRXD8cZYGjFhC9qOVFQVTyOzDEaa7Gh8D8D+346wQieNtsHfrPLuA5uDx6DBudx43UnFOttqN5dMgtI4LRdL+Km2SWLza9CRiYqnLOgEC21X7YrEZCK/oJTBq9FhcLvCPpUiHyvRUcu0V5004qiWdAU0S7dUKpUqEZnfU0sr4UDoMg5+TBPt8oBv77k9UcvS4quHXoESISyBRnSfxe+aS3RqvJGFeFHkVGQ2vvaI4izjHfYZVwN7Rvf1OQ4o5jwfdUy17DrSQu+RC0On9l1HffXS/L6fHdNPCBvbJDjuK+RpekgqMdl5+qHMSWPply9wDwCEu1YZNKFj2Nccf7A1oFhfNfs4iMDu9T8zYeTjvJB2i/XYmYqMSTam7mrWN+XcNI1vCJYQpkckQsDG418BGiUnOPFFzehzv9chFQgOy+o623qstmoqX2Pd7CNod6SUOgx19yFL1j6zvLRlbwKBoClMf5qFc61mnW/m8wkNT3RbTcTHVOruU2Am1vgoCWnt7lHGUW/CYphkvm3+lUAJ4zP9mZuQ1TRJTpex2/F4I5GJJ9R4NR5dhvxuUBv547Qb7MTgtGQdcHrDBrU7u4r7H5+D4AciRbLzEbOWn7rNo1Olcg/NtSNno1KQNpfqQyeC7KC0vT5w33OGZsMU9yERx4kLehLWIyKc5s1cy3CfShnA6UZCxvMihz39cnvJfqx2G7OM+/wB16kaB+E1mngoDZwEJLGjqyShpV+YwQh5J4P4lDBEHfJVGJNjgw/AhBWkVNX5m6HPdnX6HFGH9meqjEh3G4E5QqRU6GwR5USSkLuHKniAIo3f7qttboH6G9a7aOq1Zmu/p+iqxceWVdaYs26JkTflqQWZIIFrnvCl2FrVmTFCl1YNDoQlf3oeN2vXSbO226zRhLMJ4yA4Yfxc+C6h0rWtfPZUw5KZM9PxhPDg9hU67TysCTmWPU6gfFqemLx5TX0DfCHokxvcSK2dXB6Yk1ucDZi6FDsokdVr7M4r2Fe/NW43Yg5QDapAIu8GHO6+XfAvzPTWP7JzJGO9I/dmPJcRMf+B0v9s8tqmPExiWFSmNVZWJr5VuvXRTZgtee8UilhJ5UFr0bbmmNHht+FVnGZaInTlSmDL5d4/AydhNENvjORN+ab14v+Xe6Ro6gpSta9k43Dcfe3leFcbY0KPx35R2/pJ1qPsjjZKsXZOfbRxSljCtc46u4j2m4kOBLVcfpQ53l1i6QXOi7e6imJRSvgWIURk/15y9+kWNFbRSNFIYAErD+85gYT74Ls98G0wXfN37Wza8JRd0ZfqMJl/TEmmVUYzFrBgHL5zjgdGhDtlZtMez8LKFonxNv95lqQRQsWospfp/r7b/ZhLpcv+8KjWd/Fkiie57NaK9xUSJUIhQaR67ubSrGj4u/397Lzmt1BfrvbtmYtGS+KCHQ7l5+pVhYTtJk2130CjSnXg9Lz+c+pd2cdgqHcLQn8xP3KtPNK4QrhuFTFDbyE051b77SaKYOKD09u4J+umxbiKYGMO5PmOvOerUxp+bX4CZREpQJvDCb4PtYdba/jlc+swNFVVvhDz0gU0yp77hg0j0cgCy2kjQGICcDcNEYALjIiSQPm6q8hWz/rHnIJQnm8+L8BJUFx8IPHkUkaGQ4RT2QT2imG8bmuOoRYkzJVpqxG7rge88IBf60dLUQ7CRfdN4/QHNEb+DhGJF39IhlNMxDhMuBJ/TaYzywf5Ybhben0PLAbIpguFtGFmj9h1n1Scnzt3Q8+bHSgT6vrLTbdPGGxUXUIi9onAE711wKTQKrdhy6Vk863mJstrcGMdHMmNJ+2NmHZGUV0ZBKf+wlNGHDFF5mj6OJuJpNNG8SHjz2prLlLaOijbBShAc+Y577ujf8I919EXbWk9obq4CVLN6jwJVuZvUuDqJ9DFdFTQ51zYI2wIybDAJ5pl0+taSMFiDE6xzKVJqTwGyf0rpTACKHgsZ7aEGMCq8wt0NPW10Bcaw5ccovGyZRISF5RRCbymIZ6QhpPtA4VBmlYDj6MwG9HkBIrNQcYAPplJ8xh+i83eKLg/9DWuvFyvFpB/13xTpYU1XVwQIJ1Yigx2fWUik+2q/TABtE5FufFPz0V4+mISNzlZdRDTe0nHirvKobAqXKlfcui9rayzPpGlfuFWWux9VGTs0U+b3XIB1M/086PYg5nG8wQGNoQG+TVG2Q6O+fLsSHa9lIojir1vt+IDnPgTFMsfV4OUlk1Se7Lf2Myk4CTwKWx0UnlmlkaGgFuefPPjp0ZwDYiSNH66LPRNIc7fIoEvGNtQZk8Cn7SleIIAB4YlTxI9CD+yX40kRHkGcE5HG8rCSkHo/ae/5Oku10nJJNAw2LRfnftd1KuqQN9ed4/HAWBQmjoby258wYkVYjF4aTCQ8b3klGUU0SDXWeaBKcwGWKq19D+JOHpvjbh1ZKnz4oqry6P2RC4b7uNXuYmIuqFb0/+CR4yBmw4WE6IBtzw5Jg5fNveGYiBdqg59TKm41YlZe9JVb6974NsCAlz7JLDXT4T25vOeWKRyigUNWuL8xSMwTCv5U1ZETRirhfN9WBoXPzKGpya9YPp+opAZVDlrPuuoyYvZThEu4IaT8/beDcK/QCbLLKH/wgn80U3kqfzfWXU7njOIDRQLJkz7rk6JGgTCa2iYXDdCfNYaDNd0l2N5ZHNFBquBF8Jml2D/hotF6t18LsfLuI4emZVzewmq3GKCAvN8UyUGKzlYD7EOG4czb9pFtW4NMkJr9mDsnd1nxCVhOiHJPhZ73ryqT7Wo1E1TEP8HIaBnfKOvCKEvra/rHcMYwIjVncfbdZM8nu2Xmj2NIsEm1MaVNBw7bfvqZYYmEZl50spol/PFxzJztlh18tI1LiKoHt9y4O5OKteDkbuPqUXQhpHZSvMxyxeSqrqqYbE07WstXVD660HK+UkNMwOhK49WgQXHwkuVRPfm2lvDIYq6aRhXi74sWKqwoI7DoiT5IG/OjfCDrQLAfsQqa1YvlV6Hp4pDrAO8F+wkDnBUgcrFI9s0kyaedQRPxsu8OqVB/WH9jFGxHoFW5I+tA+/QekVEA1zVTuypvIFhJkrOE6PrOLdHQyivn2OMi1MuSB5CQgCaV6X47HE3CyphmE2pZsB3VyKDSDi7KvH5hz2pjJJy8sueYMf+t9B+EycjSInnuQlbjD505pfDVuV3yzHcTUNGRKc/bneyzjGrzEoq2zAJYcdk27tIh8nw1NTNCb8S3XH+Iu2frFYSMXSYMBoM+1vAS0xVJhOQn+rvpLEHa2e4fGjgBXBPoa+eThoCmIY6DAPqloXlUCzMGwhqYc5GrgyM4LnztrVsQQGp0/t3C8ayZ4pjkcoXt4NpFKwqprpU8VvXCZwmhNljlj7wcRIqZ19s3izHreIORuFaoVHRwzDCE398pJIL2jKIn2+DAUR/FwHotKM1+pH5UwK8wXVU1LGZ//h5eJ1PPfisGTP8JJy1IlWvRlXd7eD16vaImfosw6DzERWRiAIkcniT4jqSsRRqA6YGTrrL4UtGrYDRRPG2hbY60X2lp9Bq+xF4rgU7nIg733EHgRZsQMmdL+bg4Dvo+Skr9DjKKziYJ3xy/esnBaIT4QEbyhZ8nn083B1H6pd2ys6WOWrNPTsLBV0SVHxiKBILeg8a1lcGNv3mNDrGL0jKoiISYOhUJmSIiujq/wk8ILlpro+nMlW8d7wkekFFRMgi292mJSgRFNgE4Q0GykEjvJvAca+/cNBcvZugyOhA9kcsdJroyH0Bi6xy+8bseNeKwF63ueoyQ0YVha9ZurnodmKdgmI/hm/sTQaeK7XXwueLwqr7drySKx7ioh8d3eShReWi4hT1WT0sFr2C7M6SVQ3HBoQjxvNl8ZyPrL4kTM03ZHLBLa05EaiXcGSFgaGuhPiolAbBNLv9jQ4IEYk0cvXo64R/vCSEIBiPjQG5gqmFlJ31wNGp0Jxh9Ve/rBYwZAd/1ooNcTUyVWONKcDLv6OcjhTuIG5ffAA/10gkjvPXtuhda0rNQWFIQ7+yasj1xJ044uYxcFTj6a0mWC580qeorIYNXdskLr6TA6Dgqp0enxxy0nSDl5GgB5iKP/X7DWfIdYWZ73GePdXCpnYMbWWyyhzJR0FQJUCxA/4QpSLuFugGHF4yyKKTNU0LX9xyahk6AhfErE/6W35wSBRrqsT7nslKYpIgjd7Vl4KdH8eyNSyfy9C3usDogycOKowGxuLpuGTROm7GcsNphonnjzPzmEunzfoSj+hQu8pUOA2trQZBMViDSkhTpAGa0yoyC9F3y4022f4ZcohGXMbTNv6LPxYD0P94GUlDj8xqCSgD0ZIGQ94/oVfCoBqorVQHoyHt/y3ceIVVrOIAT8N8/uQ/KwYn7Vi7mDe7mesPhynFxAvzQqFT0XbcBd4re3035W0LyfzpGQDAV4xGZZMPhplPtEVYX53jITrsqWFoeyqGKjF5s8YzhI4Ag8h6+DoYKEqOBYlr4LjTShEUJD/zKNCpb2KCG0p02mxxjm1totRYg3v23v4QROwb4rRnQQM86SBewiAcGcQSJqnsBnIQiekOT3M4LTzd+0Vmhx61vrR0QBrRcO+sq78O+/h0HFoYA+YfooyHvj6DqqJ/WIys1+OKlpN5heWehHVTrv6zP2S3gRL4fjKGuze9EWw/ZzbBOVIb1otTNN9lTPEXJ4opNu4//MfF2Wo60WhMMcyX7/Jbqad0FSrx24bnPFF7jEwmCX1pMzxH7+znFwf6ixXQMDb9VzRMcJSWQIpah5vfzHxxM+EtQkFcRZp2Yw5RFaPt57ZP5PWE1SFFbgMMUTTFG5vl+L5gITqGM0uVxYJq+hGCr2DIpSPENht0LRf0Tk77JHjozqZMjwjoa63ZNB/l7rBCowPU/L77uobylOZepIXg5d6zHkw5tvrnPD1NE/G6whtd4AAbUxBMqh8kPjXkWJ2F33Cl/njaiv2uO7MuJcU6bcqqNHWQBDR0tF7ud86Vdm66v8vRKMpLk0yXDPvGMdcdkulROr+piR1nhNjoyh3hs5ThLfwZzjc9n9bfzSW2kfkBbWn6nvJ7FV+yJfEJ0ljwbLF7hblFL5Vk5RCOV1C4AoHANXvVL9bgEJXmq9AhWfsFDsOFKP/PLYKthWlwl/9N9cJjlGpZ0XN0c5xA1M/qlOBVh/F1iTMOjhILnWNU//8YBW8fpiA4WHIF+NCmDJgikPfJcu4LTJxcOyfcUtglbQzsHu0VSdRMtfwpBHwudzw+7cKhXV2seIxmIAENvjZvuE0T+pmlZph8VgW9kij1Sdg1hMy6eNqCz1b4cpjBvzZDJy2ukBBXN4kSt3uXnX6O1eK2zxMrWZpPNThjilf2suT/5GolFiG7+P6SSZdO8zjbe6fojYu8Kdevk8naoQ+tim6MTW3doMRQ0fX6zKTUlQc+x6wk2zq3aKcrwqZBJxK64AIw9wXv2SfkrjiyQBya6P16OafXY/SqSpRTNAn3Pw33+DyzRkLHhmMqpl21RMLM3I0diVlahzw99Z58I9Gab5Oo127D4nf0I44lKhumrd+irrQCESPPo4n2Q0oTfCbqsO19SD/IdYY6JGk0gkLE9vpw2O/YFOg3urU5k+5e6+qnj84K+qB4ajD+JuYn38R9e3f4A+NI8+gYW3avdDbg5+4Ssk+NkWbp8rbu1BRy1wqLSrXB93srCLEdc45JhTSw8uiGZ1TkaHMBNmlW8DvHjghj2GaPRr3CwhqVRl25bRM144FuW0xgnUK16nMM3sEN4BZ/Q/nZPGWe0FO9+WSEqVTaz59Ma3nepxnolwAeVHrfiROEak8dtFESD5zpIDK6w6RLm5sl24dZJfvk/Yvr/IldHWOtzR3DOGf2fCK+OzZpybgFakZ93v2ubHwp+nbmEbBcMLwwyNFP7LsLbAx4ORX7EfURhb08FPSoTNq+Dz2qSy5HeNh6S0ahJnDzHevHKlyNWgDFUubNJnl3U7M3yzhbVtZ1yEtV7fwLOsdGzt/f84b2jxr+BSl/2cThYpIN6Kvh2E5s7h1R3vJHTTQvuYpslb4lHrISM0GpDJZEr9s8dQHY0e42SmSMGskkf/mlrwLU4RK9nblU4nfKlcN5zyn3RsYla479kxfeaCRO/kTZRvp7FRlmisBBa6gG/opXUasFZMjxebVObZJ0LjPqwbzB2bCBYot35yH18b5oZuEJ6yIcrYfCnAjeDZYkCWomp/4fPITB6YVF7FDfH6N9G7uJnIOffLx2I0CVnh8Cyfe/nzKmI1/2SBn44+P0aNPUFEBBRbrUBrDrZLm3JlxP43y8sY/NplbI5KUSukWtRp+s65Gs9vRo7RggKYPCIVXoYoVdSK8X9ahBCTzuMDHm3MFV5sVTiU3t476hFimy33rxsjcjyDLb9FDLJRyPTnFJd1HDszUP1jpyISEREwM+VJhkDIyb/gKqt3Kv/D/W/oDKi9vha+1puzaBi+HD864QsX46dU7BgmJGKujY/hExydV+xU4ptbPbaj3OfYPmJ8G3qm2j27IffrKGKyXCxkCiF3x4m5N859NiCdnxHLod3kEUApUvPkIrKxtStLh2bQSvU2A1nqFd8bRw5ZICvkLNnzVQfdyS4gDQzFtTXDxAge1jd60vk8kUCyte2ZiVB0X3komOtwB1XdYF8lhdNNbR8A7iKRBDkSHwKQFA9CMB2O3B/7dcmll1k6mNP3LwGboY70+Q/oG+u554nZ47RyDkAPYGcluvWQb1RZ9e2vVbeiXutiiYedfS2RKEAkgSr3FAv9Wzf1Pz0JeGqbXljGjMrgMGnKU/UJhUKs6DN7HyCritE1Y/g+v/Mr08dO98H5WperzQLDtxtceZdOfQL54e0L+Z+POgmTsWQZn97cX2CYrkDEidv+erRRvc3K9PsPEYXrjJPkWaZ30JD34qoLt+2JqKxQlyqym5yxcnr2sDjnomulOA6bPz0D4lBUAnR9+I3RXpVF7cfoLyUCc5SbXEXbfIYpqyccqneFawV0mwXgevJiL5dqZgWi0NlvOxrlwTH2vv0QOMQ2KPojIPGIQuppTB7z02SRqwBaAnIG5ldI9f7Gkurhtz5hYmxkze6txz1yzrLQ6bi6ZdRcrPuh/rlSXXBBtTjJV2bXIzGKOPaVZ7rZhDogeH+lIILEHLLGoyWbiAe/h/a7JWL5KaAIyuOiiI0YKlZ9XdEsavG7M+gqExKjzgm7NCE91XhEigqdsWw3gJOjtStX/7i9ikbdb+RrUZIE4EwQTGi2WkV7wvvo5HHmzXvB0+yKC9TvO+Lvct6GEhI+Tbp3PW4mGbA9kI2bN0s0CCVknMPZT0K8EwxmakhXpCK7aR2sHKXzxafF0sOiQ+U8nodlx9MBs5an3S71a2NTVQKv3SLXJppfq2iL4gbyfZgSO13Sn1hnMsh2WtnkKOV0PK9X6wabkHg2NDaOHhI3/DqVIebdfix8Q64G0stC/Q87T6kJy+GHrJ/dVrL6eD/Fex5PNDgAY6gSHCVKRg0m7cnAZtlHViHOH6Nb02aOcxngb0AFOBlTKbHqeRDoLD0XplYCSkp+jvWl4/bTT+9/8HN7Il+tw659QPJ2oJPrBNib0PVdN0B0Kmg/Uny3Uh9SZxHJoXDOgsU2DcglgDK42J3RxdR6abZ4pHZLAJCS+10BK7Hm2zI6k/BIlqyWOT0C/J6141GEb4gXSFh9laWfYib0LC2DYgwdeZdYn620E1eZalxZEksFEYMMXb4Za9Wg3AMfH0jHg0yWPW02nUWd4pcMkxDKOVvIye4sXnW9Snv+c9myUrDI8Gl5Afh1SnCaekTr8uRQRzFNIlH3Fik7JPXpvRMuGnki85csiTskfP1VYlwrPBUOuQZ+XK6OljqC4ZtCHXEwDquONkAHzZgs5RQb+urL0Jn6JW+Xftsyi6IRJUUGc9OV8ff0hZtR5dYr45XJk/zd3ZH+ob6vIPGePaGl/dMoAK14wSaUHqTin04WyRIDxmZ/Hv/J5MoWa59g1XSOzEWuBqu/227HinUly7dIB0nXKJeAxs+DGcMs7sSAUySqg338f09132rJYHSU1JXE0NaTJJ0ymuXyH41IteOLicVESiXlvwwz9qTCPxABWfpI6hPPbEVesyeLMwsde1Bkv93QjKmTuDo79KVVtpD9iKMFH0mUaZj16kJS+77FgM8Vryetfwp2sCI7h5vMwf/ZTLIBiARGQ4ZJT0Da6RIsnyTMkVS659qhdt5Zv3InlR6bbF7y4J3E0Gd+IJP5mhOmsaEDAvF91DWzJoi7cgScYmPiSZATtEgY/Z+yK3jRuzj5EcPhWFx8Nc6L3oNREqdetDj6crt+oV7lPIAplEydIlN2d7kSapbl8npoiFk+b6u0Sn0VNYz2Ez8RqhR/4CoAqgGCneqk7Ec/zNHzKvf0gJliaEqkKrm9uFfBcjXAs/4R2AThQIh4yHr9eVghza0BwpjfgrVDN/7IOF9KUpqP/LRDTulKykyHYL87dUEsyULBoGt8iPojpz1+OPksz4KuH7cW4H11MNsvISK5Z7wxuuJ1uuV5ieoDU+b4Q0jgRM1tp7l38+9ILBwSVtUalP7fOft4dFYb/SJyoi+j1OTUzqfSS2kHM2QJIrJeAUW1KwQAyOG9uAbVdJkzpw5g8IfOK/2sOCtuMmCIPxCpKKTU6sso61rL79kJQguK52wQxSwahDSMMmoJR9fWGcpEoj8LDfHOJMaXLuG+zc+yE8h7o5Le2uyULIzy/U/nKgHcs26vcPy4FRcbhez/3MidABxngi6JZC6wXgJsIGL+LVOWPgp0hUm3fyQg0X6fW/UwvX2Rc3d6bZKvJrYBKH+uDROiYAssO8agbuMQ3AGbB1zj9Xo9u+W1CD6NhAdrqooiH06ChxAihYczvNPtAaPwJjVBdcPw4knI8YyXaIHJw69cRX6KkuJulLqM+qNjw5xA/p6zbrtQVxjdTEizxjXWq8MdMBnn1s/um/pbStJmlMTSEb/YwNgb4nYYdD3EXCOhlmo/Fk+GdNgN0MqRGLNzc40RIQvWRAEPkutOz47Rf2Bnk/M5wgtaGKLTKk+E/CNoF5ymXpf6JZA8SbU1oZgpfVs7C37P/kNNsiysiVPiQrHaF0Wm/S083Pg/c2K0KZ+wF/n0w4YBjaPpYx7gZk2pn5vVr2JnHDjzQiDyZtMpteuu1nTtFnv8uwNuJ1d+V8iJ/tHR7V0xXG1rjP3jOwkZ3y/8Tt7TAAuITGy+lsvMRLjLhE99zpimEmA1I7ElKXtXTGZRSJ2Rxi9pj/HWukPGtXP411XSC3EsIKqIuEcBouWCueBF/GNGjn3+BwRFPBAIomvnoUnU/xW9sSZCJu7errmEKfA3WQVn2KasWmdNpTixGzXch82zaX9couLxvV8Oxb4UTP955fDQgxPN8LqVhFj2dKTJ0+VbTKZYK6TkI7rWbjm51SgLUtke2smgPWrQ8GftL5CGR7LTr0w53GA2YTB0IBlGqyadDJ3SdWFQIDf3NOTsYSaluv4LRZMgJOabYBHCl60LH0TsK6jEKoL1ryVusOdkAYL91RGZ7hZTdVAPS8zPDNUifuAoPCzxCgeOH0KbRHOifXCrI05qCQnreuILN0Er6BQ9SxdyuZEmgS5XhBhPpCJs6gyBz6QoVl7zw7Ujl0PiUGy4p4uOPJtrpESpUjM3q1jLhsBK6j7oCMUaqJoCF9blAHL6D4cRlSqifX2eGlWAjL/F4BaR4U0uhJvUJUCNJYI4hSvgm8qshY+WYUFkNF6qzFUbDqKiX9166mkA3pRveCdbvWsafg/GOrqyxI6kbMv7RzFIrc1p8cyYDSpQ9DcLYO1aMBy38vIcH9oaXg0G73souLmp0ug5hUVCBrkNKKrIO+2aWqkXIJp2RgbA4BB2wJjjRKYT0oXCxljj1ETrQewNmsShK/M6Yr9/4Gtg8ABkuqvEALoQ3huxay4Adu4tSIcsSTi+L/0qFBFmwtV6ILG4miYeve7pE7e5fjnxNDuHc0iiN5FGlIRTjd3U74KyfOj/y6cJg11Ds34ZsToLNPtiLBZk3V5bxCJj3R1RQnoMu0Gnyyc2oubxC/UpeD5VBTQ88gqpCS9ss9YUBSo9e7b1nk23GisV3vTQtGPoM/iHtCI5O1Iziq3Pi9YsG6mqNYovea7lgFu46N6ntXQhUZtDkgdWC7qbxqvcx/NJm39/0es/hOHiHiLbc5OonWNtfnr9VXbmgh6XTXAFONDYTlfijAz6SWGRCen7A8XwyjmO7WlIDcY01VMRWAUIkeRCWmrg+z3KRzcVn5uwWmowCCEg4YJ3LBOLx1NI1jwnBfH/I9SsPeGNw6VwuoXmZhQ7px390M1z3Xb7nNSTRbuUY+/x/UzeOZrEB78ONm9Jr+QpjejGyaZRPWdEFgX8RR4U5pffQ/lmnZEybpKZXA96yb7WNiptQatJgOvyLMB3gcB2+1mbbOdSxJ+Q0Rr+gmvkl/rfG/uMHncbIkKvZ41SbrLpUJUGinajXsRZEYFHsiApLLWeGLfIkpUy+L6o9973IixevLmZqQb8n1iOoLQjdQ+KfBtrL2GCyk3aXmu+W0HHdCmPY7MTUBrbcGrvE410/jzsncQe0iaVntXAuOpSAuWuLoUJbQfpVNXfCfoaUMuydX9+WfXYkYwnKeKiayEoIlk92kCxtppnpYjRJs8fHc9lxAtGrdou6qZJpbwLksLEoc0ViRq8VexzbRxWILLbafPUq9UKZNteum5qjxI1XDon+gLIAzo/UpxfOw0uc4OI+CdRQw1Hc2Zb8s497B8SAy2sKXTsohjkUyCql/hVlLDg5nKI48OpNNy7PMsP7a4k07RuYDJni2afMEVgdwsqwxX9TvpJWpq/GQ/BtZUd5wXjfusEhsFtS8DFRqGNJNpk5Lacc/T9++IuYenWtvrI4SbQhRpsNw4qtgCcpjkJS7p/nd7GbBh4zTozMXJjSoOM8socQA9Fu9cPMy0qAvMYyN/AeqwDUzc9U1/drRXKugtgzscRw7soDOQYrQd+Jgju4v4g7HP4wWS2pBKXkIdjQSHuFjDrtr9y5Jxzhb4DsGyyEbXX6bcsm4SmArXgtX4nYTaBlCl0rKTINpfm5HyH8jvuZ5EKj03TrVBFuo9csCK/HnOX3ZMdxJ+ySXGydaZha7fbdDTKAS5ATMpTHnFCx+GTIRBTzzbFBHI1Z+QL+s6Rv5hSqGkO7I8ZvZF0E7PGohyC1T8SuxGwdtewna3ksYK5V49mSPqi4FxPOe45ey1eFTqblXZoEBhMTc30ZIepiAAiv/3FIMlJ4t42wj7B71vEJYBP6JTlc/xXL924MGxd+JqtWJXXR1FeCsXpXH046CPmwWf6+msAJzMzj5CO1V6hBsiAiQ/bJS2OrnynLIcECMCvUs8kioujFjazjUdZ9XWxGrj7cCwdZcmOK0u8Fho730JtVYHShy1XUuZo6lG+68fnwm/jrEXQKWjnY7os6pr2Bnwyx730qU5JaJGakXV5fcE4CLq3h7V2gm+InjEvp66PZhDO3LP0xy5G5OKytAm1yaF3PaYCmOygYVg1jLU72llRt3VrNm74PpOoTiUiEg3URYcnQTlMJZfu2t/2E8x7MkethBM2VjtNnyu5RZxS1PBSXvE3Kc6kfUzWn5qfwaCl2D30fGKAn1+s9mSJcoM9iUwuC4tj2wff6JcNvtbnSU5u7i9i4jHNpnW+4hQWP7MuN9w8vnoNk6oosj8rpV9EoWhpD33q5j0YHWoUUd20ZCRMsGXkqmDGo6d4DUt8QQt81eww5Wo6JwaYJb4ABsscxNS9XzUORdg2N6AbqDTI7jzqbasaaNBlsgEMOyGRHvJJEQUpxXTd2likaFHkJSW3UPBbCG1STsZ81N1x0o6JdK4qu1ODi9ZbAYe1Jzy9XC2g8jGsO+sQC1GWbnjrsT+Hv3HgTlyk7Gjn+nn7jllumCJxOfEQhltb5YrcstGkjwdWjU3tOU0RuPpg6yTqR6OqkL2fJVfSfC2YX1a5Z8+6TMZSAH9v+i/Ky7ksg3qUJFYvIaAyt4pdyiWSb9sNeElcQN3ZwP8gp6zcTxJdk1T2I4t6hY93aYs04mVp902xpkoIUUb0olFQ1zNOvB3iCwX7vpIIl1llPINVvHhcUmiaOyBqT9+YUp48xQXyX68Q000tmFf5JoJJcMGstjBxiG7am1OgSbHSvmb9tQtVQYpgZwweatQEjUWSO08UneLAFydaHTCxwyhAvPTj9SRR0W5uq8CediNzJBkz5EDAwGVlPm/PQCsTC8h9Zd26AYmVxpJEUCD5503KbikFlKXvoZ7CNcBvzOuLzSiWPQBXDJ7/wBwx2T27hYASwzz5Bors6VJA4CHhuMJuJViT5TUcpNmdg4rckXJo40gWSrKONtxMlSbE7e2WeS/NOqW6/86pQLrl9Q+TrO4ZylJNT6owGtZZ6Py5nSjshmkFWP/IG5J0R8WLRvH15u4mU4qgHIGTcDChBCTZ0l2PBrsGtC+xSzFMMerQe0870cJKUutJLc2nkHWb8+zc17AsHtEt91QLVvhlKph1Q2ERSoi0OWl3lWWhS0PX4m2ekaedrRdmhe+D2Dl4mOdsQ4ZZyD5dTEmnPzTEdCPam2pdsb+FrgW59cmnfgPVu1yZREp/Jy315Rycbt+RdYFqlnL3u/gUlRVoi9egzkoWs/q6D8Cp5rRByYYOh/SuEXPQ8Zui5nKW31KEfN9CtsRImHJRoMNiKtQWSvy2k5Cg7RymXTWTyHeNhdLXuqtJTyR9M0rjZSnyRlRFMXCBS+CSUQ3yLe9GKAhivRGMvumMEI5rlwrZj6PvrClMH3setBBt2AhugvXf2PKmWKvgJC6ccS8iDmqolKNi+UtSgVQNB/gr077lAwVCCa11owoK9UUsuwIz6Ll1H1xyWQAwsFFkw/YjF9rKIz3d8+egitiaTWZqwC359FssRuerj4krG+iLTKiazVg/eii7B41rIHnE4Fsyf1ewMFWwh0qBGF3gdBbMPHLTdBlICli0eOxANCxyR5T+701hrW9l6yMdoYcnjbmiIIpNotXMzH1ep8ipxOIP2vJgjRq0Oh6CLQdJ/BoAbvS61zS85/plrMSV+YASOLyF/RyMw9sLSilU/6wb0oeOF3z7KrbX0vBb2OSsolv6G6Q+AidT+EIF0Pke+I7tVrFYUKg9ByRZMnGHAgFsJ8QI4mxOwCsI8KwNoayLXFn4KL4PsuWsn31aZNC0YAwN7x4Ks7qJA+6MwOJaGjJrjBhSLpHAFnBhguQ9VpynPyylv70mYKJqZf21doDBKrViN5fUp/mHkvw4iMUaou9v3wb2rnWBK/5SbYuxG8EYwquWAaV2Yp3U/MLJqrPIty4X2hWgZFcq3knpKiTvRZ1Y59ocC4cMnRWZNX3WW5WwvCX86rMGK1d1IO27aR/cy9pU7FLeFPxYtpbcy4hCwHD2C4pzoRSwnaiMrMGebWW81yDp82k6AhJrHnZJ6VT2PehK4RK/iITw4z3JHWfmDQ+QvHoNa2Apy1qoFgbzXxA+aSjl5gKdm19UzkkTSVSryQPqe6SRM4j1mOK+J6oQ2Rrix6VlOpbj/Q1JwFde4NHPIbzMqfqEI0QVA0YTLe7PAOrKgVASsSDPIhun8HpTQBtNAv5uVXBWekAICsA+y2XhLTyxdH0HKNTMp8sWvDABECjwyZp93JOxec8B8bFa83c8ffPD1zOuPidGSlwz3q8ONVGOVQ3bGaXVrNPT4lY/7jEBDFj9r+4LlabbNcW+MAJEQjnCYU3lqXXKrzDUYfbZrNajzMhYYPQrSvlpt+TS3BgfWlts6ACJAxc3Z9Z4+dYJKtUZ+dxV4LKU3B7dCci/b5ey/Irf54u39t25VVBPadxeBRB/E5JEMbEmyydkoKtFZzmKGrq1O0u96mS11kTX1L34StEUEdli0yeUEOgl08qIGJODEvRAYZUf5KjmfTkTTzdpXUpuKugieYBAvY4sumUVgtGbeWcgW4fpQRh7bOM98vlUVDPsL2BtBKN+U2OQWDOHEBtm0KfizE+NlbvP9YYkNrwr5ZTTt2xxrBVeFojKcdkqt+SDE70fAhYJKpLgSTCLE7bt2U6xMX0q+5+DlBhlBluMI6czVCGIxAPG4+hsu1GKW/syf3qiJnVdLLW841R7Oa3fdZEFeezeeTJ77az8pOB2ohBZtmx/C2aqDniXVu7ECf8G9Bq8W9otI/PCWhAh86QyquE2A4Z/FybgwBMIhJz1qGRFGhT1teuVQCCGwjrVhhJVktjGIIx0EJHWsYZe0QUyZ01FZ97ZnUVIsbtfPPworSOSq5FcbP4W4KAwcMI5Zjd6IwPVTjKVrgZYIwEiNXzx95H9soP8t9hfagsYMCYj3rtHCpWWoIWoJOmBnLMrikWmvAmhiWzJSY2QFIv7X0SvwqGnITDjzLWhEcpEkZoK00Ki7K3U4ZQprR4QptmN7CcuD2PQZR4GF+Dnm2PMW4dwicL/droHeQgz0TzGIhHnC7BK9Db1SZsjD45LzrV9kSxF3XzLP9yuZB8flmGohwB9fE/9mRBTi+rpgZvG5Jgj+CV8Lg6Bdmq8Lool1Tlbh4fnIXJCu51xax1KRDu5w4WP1fP0KtDFrroxZRtvAZP87Pu/1BOozuLnjUppySXsUFlCgQOoGQ3vcjdL1rtETlwQk4YFq8DQPxOzCsPdNME0ThPktsVYxFl0AS4b6NPB5NQDpZshiPrPR45SQLj58eCHRPgv8DuLi8z76vdFjKjtuhxOxh+1039+CZjVIlYi+m3h33s2pkG0VE+1GtCiTse2oMq0QYj4ILZqI6xwuLFSdUCS3Nnr0XK6xwo95VdFfMkpeKzPDJmrOz1ss+FDvpqyRC4d9lVsceyyo3PmvRMSLMZ+GLV/ezK0CQDgcRVW/3nNrhXX/+rqRmQvLru8wSafczUetHJy8fwjASRm3daLJTq1eOd0h+ZgW25K8e0WLMRhVo4jk6PHDIu8jaC01/2FSUV5NYEsvtoT3n7jIxn/QSPHwFKsS+uFmWi8rw89PZ9z/Drr3H/E94dYp5y4lu6WYEdvnZXnfXRM2HW67HE6ZFPskQbnhsn5uhlH7GbpsL38OLB9aROrFElkoNr21EAkWan/zvIP0GudLTNYcZZlXJNEAEYxhddDiSJFNq77pqK7xLSSMyeFq2DYVqp1/UF/nTjBTF0eBvglWG+BqumZIb7RzOdh6FCH0WYRdyGSzCwx49oevo7TBne6nKgX6UGj+Axtz6/n/rlOGRy+OyImhKhWCN9qz3fg4a5KXqfzqOL1SKFRBamUh9hQqrNsjPCFL0JIwm4DjBgF0ip5ixvH8kFzFqjle+U5qReTwmP+vPa0RkNCrZqreLDyBNeRMBCbTS0O2nNotk3KCzOI+SAkI3x0wRlsHitFp7WZ9QKQlelrSjnCSU9N/3xBPWlYo1qsQso4vFsUTviWKJq1LnsqySdX+4rKfdztnCwmQeww1INLDwwCsqzh6/pRPWpN36ru4KXk0JIQ6sULeXc26kz3PtTgSFMFnFy1/YCA8GvXGSeMj1i3a2hlagWXpG0oS8KO4pL/IMjpvqZ/6uexwZ56G1/Ou6px6gcVztfEbbSn0aL60ZNkkVDK4fi3AVOmo65mcTj7ttInz4Hjc6Yse83ZLR05KgWhBy4dsEzekcLvdhp+MzDRHhvuRK+axx2XJCV7Psjb2UXVvRXda4/dVpILGTZVjk9HBvSL2unWjoMy2ySmWegX4XbSdQFZ3JK5DYXQ7F8AlkBJGfjtJCH7Z5xM2whJS07T8RwFgM4Fheqm0AS63LsOnR81qrkW6+SeTZI2EBihyd+4GtPnprNhJUUTLuToPCGGB/L8h1jL7oWvL72OmVtPgA0NuwZ5IaccOJa8GpRzCKHypCdCOuSFyVQYlPnulJ9blotWGLQSV36fIxM58SZdtpjZ87z9fJAKgAIAo2S0zNSnxuyVxOWtQZpxrBrbmV/RUbq2Uw7C7L03K9jkN2q3+9N1zSrJ1ZQfelXfWPjKo495UBNZtOArel9ijDMgOBJfcm/9ERrQ4aOHNKO5x1962QNweJkZaX8f44Vs5x1mmzkjBy6E+/XQYbvQqe5eSL+boXJYxlWMXKpOU3sujit9xup0TzZnO4eQU0pxOuYZrjQsYTzbyRESq3F9MFIoY9pgmoBIBTbt/ZEK1YRrkspvq88LzeucXLwDFJDQ5HVfcLFwLpw0RhayzGYzrHN+AAmUonFIzeXV448CKZwMyG9MIBFrHdo/D4aIXjTc2edtRvMMzhs+cNmE5Oqrjk97Z0aa8Aw75+vkTA+UwxdPbgTs2uoSOhS/hzHl7CX8KGKcTSdEP2RswlsegAznJX+vXE8Ij2nixwq2oS3Cxm+cZoIBEkFFfNCaL0jOOQkJkNJ6oaO7NPO0FsxqIv9urRWV16JRB+LZCJwb/BieltpdzF+mUyFg1sRBBWY0R28QHz4FlCp85M9FElsEcfoY8CgjiFK7BLhhe7wWOmnaQPqjNtT5mQoybPNP2+5BA5yDp55AQdGOcZXAJ6tBrIefNMqWYHTkPprrCLmEC69PW3vWooPj93Rg/dC5x7b/XLfWBwH67dYwj1h65seZ2Ex1vo7s70GkhrghjWKCessLsM0Cd83md0h+Q2JjXaOvmfx+zpYlvi3Cgeo9OSv1qgeL7rEKJSfeBEz+PV31tYbPprDvYUqqLoDzox7prVAkKdI4hZ1L1zqZ8k/nDwcQBR4+2W0TjUE4YIE+k76PuRDm2jPo72+AzpoMdNPdPxEdb8Ajvamnt/UF/WtyKWhZg1g3uoAeISIikzi3clOYPl6t0mckbp7qY6xQYMCMzsBFB+hde1sSdktwiGdu/Pa/OeXkkmXQJVF5PlmzZotXCQYxSceqhFFnqOaVjbyxwYo8xE63wKN5ZdYXd3ogKZgga2wZ8mFGPCSNlz+S34ZaZjMTF5Fel70FI8h5U+6SJtLdXeNX0DGx4QFM4DZakJzIVTEjjTP4aeZYv5jvL1IkTlS7KoDWMLWIb5etVZ3b5Ye8PdOlO8VfBl9+4yCZ6/U3BY0TtXPWfEEW4CSNMt2tr5lYeCw/+b3A1eMTaNdlxo4FlMj3PQq1T+H5ZGDQzwtn3PNdqiEy0QJ9FX5Po64wAcUIoeW6naiIC9p5WHDUYFhffo95U+YnOcR2Q3YI/D3bTIluvoP4b7yNGA4mCqF5p4a1vOrX1QVoq6TVrZMk5GlgV17pfESuYNcYtiZ5C8JFTcvz3djU8A1lV5ADssDQ58tCuQzMz5kSdm5TzDC5nCFzqp5IZI2oWM3yn3k0m0RLctQ/iktumsglMLPP012mCSzGZN/5vnNFHGD+KV9Isff+tbJ3+qKv66x4cwpY4csrcWFMOXI+TeGXqLZeB4HVVG+uJws1CyKQOdjSW89vjbYynvh+6iyBjdyYMStW474SeQKhIwStFdBoUgsaZSi7GgJber9ceKZi1zU00xDSfwpeHgfEq/pAGl3x/9ugJb+17Y7CzorfBESP+V4DVbaVxnvLa0LaRxSr+iy+4Eoc6hUPxajKa7PozHjKITg5X2K5X9SIxpD3tUkTpanXkc1ubGTokYP/B+w5WaM4P2HDevCEWWpC7gXw/gt112/0tOoRhx1zprIRLOVNhTAsUfcO53D8P4uFxElMSllJW/EUM5fCz3t9kVjRxRSZ7OoCTAyKI3PPig7mKqt3iadefcwMizCXAUcBmmrOIKEnc8g+ADf8R/FJVxfal6XLqzLVETXO0ZCJt8LRH4JLm27bpRHlpKqGBoqZ1qbn/2ciYjqHXaP8DylkPIxTs/P+SIOsoGU4/c8Hh/5oQhIhPfcSafVgYapwaMqkrLqVzA1maAu8oFxioRgW4OwV7bA1caSEFYsPcDUFo6oKrnx1mynoZr3ygJbdtvANJMltc5uwq4DR2WYfMUQtZEn8AIzmssv3cS64q7dajQ/Zimqh9873jkcNy+j2/i5tv+pvIcVqGtyU87pYZs5B7nX+lZWGFZxeXYDL0BYFg6FahRUgds5LtoJDXpjJ5QVv3fVHIX9P1/fVy8qgp8AHinK8fx3F14dZIqHGGPyLvOsnnFTGhkhTu6ZQ0Eq+QEITUEBX+k6cpQWWKj1udCxx1wJAaK/kFax+7xlXjiiC0nRMm0wDGr+IhGo0wc3NZBwtdnqpRz6h0z62TUK8ILv9Sr29fZmnuD/K7hp8qkMKlSny8ZjMdtqkCn86kV4stZpVRm3MnRlk+f9CaF8tBtEE/XYwmIQhtkCmslROzXz1hGZzfk0qCZ+LcTNm8gYOBBuUmQkc/Kidc2AiiwX9V0LAVZd/aTORmqsSP5RxnqM7MzjZ/cSM3ejXBGPsqn8BChfBd7AQ82WDhzpkwsIZz5IP2Wgwl67Hz2E/63Z57kF0VXKYTxHCcrsEkfar/5n2HOlqEAG0CFoSB8EzOi4Q+FQ+KSoxDwfGWoZin9P4gUk+OY8p4bgJRgr1NGSia3Ss5uZ39eSdmRadpu0V93MTucX1E8zZOLNiouq4DgE/xrvUAYuGe7HPm2Z0/YfMqX3gId5XpGjdGwH2KszNzIpHaPymNGLqk9I6SF10C1DACmICSbxL5hEOYggeo0Q4dPL0/CjaWgAS1QJ9IiSacU/ab38T6PHs+X8JBTtlJ7opvB9BaTX90tBlTTyrrgN/3oRejDLs7a5tX2+q623AQJOO1NHQIMJukGJyXif1m/J0HRUGbRHaLhHR5l0r+v64irez8zZvz23SooMqieIHXc8nDdI3USA0b4wZ92H8UZUnaWKlaZ6looC1HeDzVsShE+DIVx/cMSkpTJBOrpWRZTlTaPLWgDnGVXVjOHx0aMI07O7ie9a5LtCckgG2f+Dp/3NJITgTEMFT5uhMJeFVR2Le8FGQ82x4B4nmTEjXrtvdMqkbQ+cuk1njsDRSnGDNhBwqSFYnBB5GIbF0gZmBnraFiHgy2F21UhdcCTFkcLSJb5X74s9mS0UVPmqEU2lBH9+WQ5QTRZSB58taSnc8fy5HQZWxF9kvCQ3yxZjBWS0MMGjjlsMfbs2eyrPCDrZhZ7Kzhev+coMBNXAFNW4pVYX87GfEGEZ4FQaTpPSuEa27PSl8Y/awUn1yGmJCDtonaCOQCNLqxUYZlB5Rsr3Ib+/Qt/XkhRmRr+2WwIbujszZzvmvaY9pxPv/AT18aiWVVUu26midotRFv7e4D0Z0FuEr9DXmiOi9GNuDlRSXkLnCPoYaOFod7Rv/q5kyx3vgiSFe02Xfyw6LqlFCXkIIhpIxihc8O2h7vuSlkM4bjzyoyP9Nx6CyLsPthVPswZFJTp8uWhgOHf7tgUIREuV+YNzK981DQIBKBMjwquvEXPwpRkGAdIeKne6VaDo1OPPKw++q5XlcFQGIxuALVcauqeoXCeloSmXa5SK+MqnljQA90taN+ZYIZzQtywsLJ6usKDLLV+qhT8EMdHeDseErpz4SDTN3o+K5VS/ttd1W+JC8UoWBQInjJ43NHEBBU6gnmBry4Zja+q0UGD3dlbyjfLI9bkcu3uHEt6R91rcCqbGiMDycsIzvV289sFsiKYjmTL+txtTlojHztrdfbJqGBM0Ouqscz5L3O77Jv21K+0OCKnfYw8JctLTgRtEWgPlY8zvj7riG9TtZDxQaNd1OhwfHTI8EEczunxycZqOrGF+9seT65MVF8hisL437Zr4lJOvwbvEwG03v/FkEr/tzKdZs7CQlkXQu4z0RifZv84debCvR5hQAilqHbNQEIpHMTv6cqYZhPbBd0zp2+5rHVhuAIYYRri9Ln2EntnKb1ece3Sc4JStXIDaZagfLxC9pWoj6xJ7Y5WsYaLVcFaLXsV/ES3az6mESswvTZFfpNSz1NKb0V9O3o18v+Jz5h9aqApNGAnSbMlGQpCi+VvG7WI4h6yJr5b28xzSc0a9bvZSsLx8Bftc1UIfyZY2ehLyGwb20DqVQcLZ41s6e13QH/hs0g2kw4NqYqdwqpALhDSwc3IZYnDLCguE51JUjuQT0k8utuswa8vMo+I4/FwRTMGnPM4k0XPpZMj4yq50dfZjE6d7V0llp1VkAO6t4qOr62uxCVnJP19z2mft4fgx47C3z9wQ3jP3pV9+MNcbicnfnvUYbY85T4PSCdmT4UBIoYv/7Teuu9fU0YlxHz+tlGooLH5eyCur0aaY6Ip40ERmmv2SLVZ/x+hgMGxU1iG4FYYLpe2WLswZ/lRhSyMB283Cpi/Q1zvkkLup9i6YEimPsreE86EK18Wmtpajo0kQIAYUlNvklNkS862rIaqghOoRYB/cCNIaKtJxo72aaNZgsrKGT+QzEwhE2XbOvWzeMiuf+3fkoKxvRYk5gFdzf58oW1DhBbhaEucrnA6+MaX1kiWHJ+R/YmZk3QPEYicl4FyAsdSaw8cD97vym3mTKufJOAFg5wzjX8kCnljngRExQNb3skH8Zej1M92Ky0UAznDJLDLIG1H7eWz1FasbjX062EUQY11YxjwN59DuWocBASpds1r8+xz2L5rk2XVGia4XLM/JEiUuTZhZR2PDphesOxyfdtNlakCzu32rBcSEU83kbmlZfqHUJVOJoPWHUBWAJFxo6s80Vqcc+Lf2G68GCVDyorsQf5y4EvYyEsGbruN6omjcen3HoCpi7VTBBn6ZJTRjgatnQprML/4G+8LDvy/cNqoaBEgjbzYLA0FJypAL1S6v9Rn0z+87viFFIDeGGgAgztfJs2QWk5RuSFCcDurXcbRcmCqP5B8fvys+myQAqjh7xkDiphIPOYg4QmKPEiOlRGxZAC4/5OzKfscvll05ezcnRmqpXPcAKuMB0ZFZP0StSQzlpxnrF2Y0sbQFE5cgoMFidB2h33wYF6a2RA1xyp9j/3W4Dr0heRlkS/rCnz4gFTN7lVSOTQ94Ra6dTNJE50WBJB1x/4vgj8znHGVOiKgW1PESNYH8J1xgNwgnOhszo1JVwLbt8fcBEBSSl2axhk1PoYdK+unbjhrg7WBKs2Xf93sf0dv/RHVB6IcDKqMrHFJkW+8xUemUUxAzmmSEf1MYWASuo7h+pa/ksA4p5Ggz63gbaptSXIodENpnVT93DFU7qkEPiYQHIYC8r8uBD2rYevtyIiaKUNHnMCezTXUkt8HcgwtL9DDsPalGoSt3uHrwi+BwrAlKXBcx8r7u05MqcGdT2xQW7iWXgXfHav+pC2WilOt3CAKJYVxoCBqZV34W0G9mLXKqL63sY2dNbCjRk8U7K7D1CGbZS1CjP0vpu4LouJgo6yomScnGcsG5WV2PAaSpiAhgJu/LrvgwAF+7J0niGIBYQQv7QOFjxQmtnVUiOiOVLbMmjQXXHWEY0+r8Tg45G2rSn8DC5aFVgrqkCSu4lQkN5YUTZ27otLef4jZGuLYLS8c7h0gNshcidRbpAJAJ7BLazT51jqpd+OFvk4q6r+UZ535zMVinQ9CHd9cptI64ES5+8xfjQ7jkDm0dZRvkunYyF0lElcbXnzyIPpl/8m3U+0n5UntU9+Y4U8n/Lgb3aXZx3EbP9fH5bmzBZYoVabN3FiUkPD4s2ljVOyYJRFYlYkQu1lFb8bMdXV28M41eWyrPpbn+Z7CPU3WVYWsB1Fl5K0YOA+ys5hw2sdutWmtLrw+5ZlkDJBVJW0eRyf92eY4hrLWGp9szIJEVw9csA4rk0fRvipsPeSY/XHl5KDO3Pu+xtFnL08WHxFofbftLyLSNwPEJLGyW2IRDqfU3gld5awkzLTLkaznXDZatL2gzF5wDjSP2t5Egbe+fG6E5AWRfRvAtfsJFd8rtizm4gJAR0w1Ry7dlgZkbJuAEN/CBHM0QTLQStCSMcXm+oOjxas9yTAAsBEHjT0gXE701IcBEMMVF9Y1XBEfBO92fQqHsoQO2ccwkMufEXgXKaxjlKhSv12zqCeaWR5DNhsEuUKnR3flzwEozEjrJ5tjSjPEzJpN/A0vnraYtcR3P1nvdlQnb8es3wHNYz0yks51lGSZc8b4vln0wleKaGEwXANfZTylBn6RtpOACuUhLiLRlq3QeMZdYBhAH7jaxnRwpj/ZgHeRmHeG9vZc8sEh0weJFiBuo90SxtnWcdxdHzewm+srhoCOF4cK6Ct+BPDc75OaYsXBWIno2EZh/i0SGMzfKfn2qs4fJ0B+104t05kjqYaqo27QAwompk5biE5Ki3xSpXTpdpdk5Y5PbYyLDutPrXvDrAzVh4Ckhn4TbK5lR3EFe/imii+datFbChN1ZrCxlMUnez7Qz5GIznqSZfMGdBZ7JsPulMrmrTiyJItYYkwtTEp+i8BHNOcmtRHZ/59YhD93Nll0IH1JCHigMQhhzzXpfaQdCvOgPx9dtGjyrH41DVpoMo0c/qA63cgC3uTnU+lT5bnwVdtLoznqeTRdslcmiOB2fVrGjTaZQ9XWrAzL0CRK4xkA0l/yUPCXVKWt99evrzXVh0OxMC74vMHKtKCxt1akqUdPraB76aGGWh2fhHfvfKq2y46n6xHVO23b4v3yCsgAPmeoaJ6ZksZiRCNVPLk4JxIocyNzIiKFfVoAvi8Z9cjqOKLTJjGckgeKyQLolB75zeR/DSSx5MrFj2oqW45gpBwcYHfknlgvJ+DP2c49QU61Tg1uv+NO23EIbPpo+nMC03r04tjk1nXVLLihtwJhqjrPzV6Rx0+T2iX7nz6iXARk+JJrQpBfz5m9pXLfPDv2jZIDJoxvvfOnQI3RNtrUPpZNIsCtQe2PiciPToIw0M8X0nvynZxhlW9dYnAe79ijDJBXzdUO5MdyxnYYIMpGFh8mIZxi1hacNi9qFYW1HhWEH3csBzDn0rtom5PzXVRi7psKnAdr3aQHwz9GMOhAJ6osL1hYMcSchr5x+4ixYvSqdky8Z4w8NWd+wzby9uUXXDKcCHbm/yr+IcARQi7sZWfE1E59NxWBoAp47gr6pcZ9j0c56X0h7jkCvAS0r+uUwIECzFZcPiC/epHhBrLKgstAwnD2RdE4Ez/AD5CJPiG2qBWRc2q7GSrLJeIBazs33E9pyCKaCigZ1GRgGbMNDXHhOmSlGYTCsk1bmaak5b5gJ75QDCHVlDmDObQdYvqffHsIDM2bvVZbTe20UQ3sFRbB3DzpZZoOkXB73eHktv0Qthp+6a/+uIu/PU6BLJ7UQC44k5RDKBu+saR205Nnea574nLJnLztJZLHhM5NmHAgnBcYqhLwd2kUBsFwKioWGELIv/f8Zddh0lNz+nP/1X5+BcbNmdZHCDWrahHFVZ3npf9zserZtHYuGtVGg/DIeu6c7wVFsOd1MjOPLkLxwwgcXVqOwpvJcVube7LcQFsMxKC2a+wPCm1NxQGXHV5Bb30F1YCa+JtJbN/ww5eDGD4j53RO0DZU4JUNOji/uegaacb587+izqR4SkMCHQCpRr76QfYRoKYk5/2fZPBZ1jDs5d93fiMepe78oL0+6wVC+GtUrsbrADyF3zbnWFVefl3xkl2GhJmz/mxSs8SHaenLQWzLlqhQHWiBLzPABfENy8KGQNQXY+mUZeztG6XB1m/PePbd+akecFD7I6kmhYpcUtp7RhZZdE/Bq0/8xAz217IqgnH4qD10kLwN17Dx00C+jDOIZeGqwB9NyHsB6bkkma4cpxyPSzPi+8/DPO01Rj+bJdY6QlMLixsBxZ0WxG64wg3TPIeME50x6V+fvuwYWZ1dtZiVHbMbHIN8BHm6wo5KJReOyELmGDMrApSAeC1H1Wo4qDIG+y6c1RjEarmpgaIkLI0xS/Ck1rILoQW2+hgWTJiBEQc4p4p5gP6Z8qksRO+vO3VuF+gU1EKlDgzaoFHk1IyTUurO8zxKMd94ZkQ7Q+vFR/UA21K1xWHp5x9U5Oo6enqqtM8SrYtNJUqI/nyw4eVwZwqfd3wKYRZElaA6/kzEUYKPNvTD70DF3aDwwlyur/3fXevK+I++mq/pbh5Q/wdWmfg55gyRmbgVNvLyA+geuNGaFsHhGNr7oIVEPbTepN6VCrOpgjDYJPlJAiExwsqlkETVHKNEND9464PDLFHghebSGdBOHxKIETYmfKIvi3ReYir4b7AnuKLA1ZU6jkpK8thrI4LENgMfUTkMNnPucLBi0lM2soMai19pSo4SMBcx3natSSgUpK0fDNJCaj5e7Y4Qv96ijJNl10l1HCZdktko5U6ffsBBX2u7WRUoi4yc4krWDoEYhg7cLexswESdeQDMzVW8Wr3rJtk8pq8cdr1SEeMxukbfkr0GzoHUiW2TSciNpR955DP+bMakK7lippdd8brAGa+YcfDDIuYdy7dmTWSxnn4l84GUvizZkMPmwwq0OkG0gINe1n5cp5Ae3tkuS4V0EUZNOzGCV5hNvrVjxiRBy5T9l7rHDwkUGahR4A73IlEOKQuboh9XJDppC8VW1StLRofmzygUrHXVgPKy0/nSzPHJEQ8HBar0PzmLcxdq2VhbN+1dlhxzjqH/CvVMS9PAO4LnqDcLYXefshVw531bju2ELPcZLxF1dk1jGKfuPiz6VAPJSEUQfIxQDoupK2BsLkwzcL088ROa6rG5+2tm/alFypxy3KcLXmRr1/OkIUGqv/dNAdVKDD6TvI1hmkiw7+I9nhrD8rIJd9wNyLwSRYUNWGzLTT/ryM8q+QACp6+SiXaDgvOCSrdLzndjn3+DPuuEF0vevICRi0/s2ssAoERXt21dP9sVuH7eUsOqTpJ0USuewnh7kGGLy1Su3FlBRCxknGHnKEHWVzmydARFDUNnXbOR9ZHsiaA3H9Cy3xEDkexcGN74jCpJzeUzX3In+fnwHik5ojU0f2ejdPDRqMijRtC4JjT8NJCjRwWrUvZAik5T+Tsjxt6IxeTicvog8gXl+YnsQiqj6ZvwBANSLJ/cTi9CT4TBQBmneyQgqxsbbcM6n6Efn4G0H+ruj3L3f1TLm4m7daIzV2t4Er55ib3TItn2PsndLFvXeR1Tr/L6pXSCTz4R6O99xIKI/cR5gJbl+sKQ9jrmobRcGd4I8q4ZvAhSf+7fUZ1i9CISEQnFjs1Jbge5Ouej+1tN9Otc/awadmoK2fw4EZQW4iW+awfdWQGwGta6bl/gHXphmekMU3veSwokEAMrAcaN6ub41FMETIkyISm0xPGhuN048uI9zgQ2UgmNrB3w4OYczLq/0nhJOopat8rr3Z6cvckFrQZMJk+wdhPQ4xXeE4f5GzYIOYDx5B3WLkv1pb37HSEOCNbhHHKRs7j1ENZoYmC3jZASuzvXT5pEjSurgQ7KbE1QVCpO/IUN+S1bW3ZwqKTjc6V/Wm8cjaw/MSLqNRsoiFW+1nmtE1aJB4ZRnMoDkFsMOCHtrigr9uMAOkMm6Qf2JTue27Z8YSKo7XbxZBeclukwtg2HWE6nKvIN6gmJp1dLrK2Enk/+Vk7yYBT9lQ3JCJyh+jYgycMiRR/ThCVgLoIri3AsYIZeIyG9nH4odCLsz78d7wqOOULsHv04ZXuX+1iTKO/HnS9ob9ov98WJ3G3bk9KDFH3PQZXMGxO37kV+BVrWtVQCX8ID9su4MJaj3SZKJYwwmaamMI4kIG3YkDRjhJ93u2w/iX1JaA94ZgSdPVP7ipLhRwZj47LY79ieN81wQnySfXQD098eKJU3sxcqkuaT6wUWNaG7T5NaVo2RNvPfkhSsbg0e69MXd8dMCq1KS2fqup5RCapFoI5KdO+Fv7IhQsConDcEfpxOXwwiDH3jQ23wja4BG0SAs1bEcNOoFrrarCeESKTPb/66+em5yawLx4wB596DugojJQic4l0JyNtRzSmlsbrkpLFb5Erv76ftJQ3CDy+eBVRodNmVvzLXR+hCiZGw+nDICi0TIYQzYc0rO4K2dVhObbuqB/MHN84JQIEC2qmzPZNOeIzrxBmlfSrt3kyiE2fY9tApIYDvJLNa9GIhPKLcP8HGgwRHpR6dt8A6VxAv9bXtdWq3TFzT4wgoX1sjJQJJOaJshGumkK89PXjIEtLCJviI4WzeIa4sD0N/iLaztIm0Ow68SnUKD0CY5TQZBNYq0a4ExyEBvysfLGuFrysg61rgBkun901hT6wgDrXUyluGqrydrLsq8RoNpogoKQX1150cQacx28UoVQ2FCfFrfwxprHghitTGtS55mQe4YD/OFkc65c+YY7/fkzzNHXMFAU6HaKjwbH/B4nAUPu/qzyxcwor9uHXUVapDc2BN3zY1pBbk+AjLOs9b3bB8tJVhTI21v8C6rUu0gPXwWisSTpB734oOWcNXgNOlsvgMvU9EloOEAhw/9VwTsBigQ4yK9oRSjzEK8IvHNf5wIBXJNjHW09t7Yqk7BeY4Xl7E8x0aIy2R4qwE3Gg2RkQSx+yt9Gpx4Gl6xmkF6s/d8pcLeWTpFyUCLvWYRnWLD6XUWxMdUsqQYmBsWKAqqm3eVZFugWaQEtHMYQQ18wPSc0JvFQWOd8au0kTFun0L4FP5/TP/syaJ1Ghinrkm123xm3son2CV47g3UNmZIOyN3PZ/Bkj314Oh/uPRs084D61SKY2SJICyc7QV7vOVzaDzIwXHDaZ43yRBOUNrk3fAJL89T6YrMSFX+Vc5ZQuE+CmH+d80PXpRipBom8LGX5dhkPsL4h6L2+0ehcWlCuvTIXNJhusNwxQ3D1ZHX4CAPU3s3VZ+aojEXrw0WlQkKxEPIy2vWQmdAYgwP0m6UsRExkzwtwCYGejj3pRTzdL1TGMCBO7WqMCQ9SzBfTcet1nD/MI0WDs2e5gns0gL8ZmkKcPnHNZ7PcpSMmcidTlWNYQ7ZyylpEtwYOFBsEyYPA7VZKf7UDLKJ2ULLrhAJgdTQjuy4e5+/+2vzSRtqellw8d/CVu/IO09scbbhZWGwdKzMP3i2Cxs29SInsVGJcTPZZIjBqzujuXyQYiQKn1r4fF4l9c+7uV+nbCMd9fLHv3nFp820zC9kuV9hRrk1/bYwBJ50ivZkbU12tdOa0gRT1GRGjm4YVhuenIGWy/piicblorIrczsyc+Q3aHg/RuCX+SSklevNn4vrQiVQjYew2EosvrOYbvkQssRcSp3F0kfs583DpGTgJa+b9RD+OAH3W+tvOhm6M/esocugAgLldhH3J2mmQiX9KuD4sGCFGG7y9+6Xm7lDiS8AtRWIXfgwTvf6vLsn0yD+taGSbVI8/pK+GXJ6TG85MmIumXnYQpG2w55IXXcVXo+Xvabry5PR7IsaJSU0zM5QhrUf7HraYFnpGjZRlWvGxfaVR6Os/g46zpkFXvNI5Lw7CtKpXRetEbqQUCNY1t+EtVbh6kbaz3T00ws40uPtyvyk6HRGANDr661PqH/wflGmP06bns1FClzd8pSO3giXA9KcKgIJQsJi/QqYnwD07Z3BPcKaWQZtBDrhVHejKoWJzNtASdWvEpsUVR5RyCrs0wjQ+nbu4LXc6H8jGyT2KeD4bx9ygyxb7cMrJBoXY29BsNIjlatPFSOxnUJeYzdaKkORriWkcgGcLFoE+ZOhNQxd5hb6hMHWPu0C/LNanmrVaHIwKkW7P0UPsrGFbBtTxVH9akRj43rwINW/hXxkrXdjkXawXtDfxrsZE5OQeY8vi4GqfdZXJdM6fDYfb3vn2dto71N+aWFDGcZ0++36yqjR5BEwLhy0tzmAvhyxssdQ1el/OhiFLvsEmLQkggDjPiPz0R1WauIuCeTa/1LvFgfqkL9NVlNqHz4aUB0Y4a3sCX0KLMwO1zjOxlsRwYJW0UJ/1SlVgzeW2VcpCE2tXKlcHZSValdXuXXlxN94vwW2w6l9MaNAjx1HAhEg8YttZ9PGrzIUWn3p5Q4YdaMh+JA/GF8UTt8+XgHAuKJuYTECfLe913X/2EDf6nIBXXbhMxWfgwnTWMzowtsOPz/QFKLEgotQKTmu9bmdOAJK/P9V8C7ppzJzfjbWhRz3TQsvYeyIO4V5AmZMR9iKbBU/vtYTaB4owALDyZtk5eWssXgyXpswHVvEcskLJEY/rDHRkl/2AJXaR9sIE5t2ByR0VE4Kq3QgQwYYhiMKc4Iv0CtsMMoRBitG+gz1sNk0D6tMvGTtLBE+z4KEUhfVqBJt1vDRv6GbDM+iIKKCfitfzbbWBUhWhd5ZkfXF4nn5RLFGaQCKK1IEcS53OPg6SVnts99Z7qrH4i5nR+h9tTL49S3szH+bKH/FkGGru5EZ/t+eLd++x21K+A3+Z8o9Kf/QuZT9L+g0iLVYfUQCCVqCHsLTOMB9ZxNCaPGJCDNHXS4vTw68qFuvQbs247n8Woej1zXsHHpu+H8Tn7mUvQFx3rSyupjNU0mS/OC1NlspEwpL8XdIfhjUIIq7t0F/A2kn+5AVX2RphuTcLvdM6TY5t8KD9gPauJqTb3FLuRwnLP03Dv0KxShhWPOyv8zF07JBkxU5ufiOIZIIbcFwnS1H2+5eb5a3TrsR3+SpeG2eFyMPa/96Mq496R9M+gRp1l63K7hWQJyLibnhjHuYQa+8SLKOfTcUdeht/CQtNHdP8mp7gTR9vD2ZCSPkBbtEPHUYBd+SpmS48uR1yj2YUQkY6N6MeiBLuYtGzjAFUR3Iprvn2XuvMch/YIiNokEQgHmJxqiLF639Yn+bL3U65dO6zzCkO5zBqaaUxJsr7TnUw9Dp5VXT6OxyRFTdB2zL/+9vtizRxiDEvJ41JM0QbcCEHkd3iHWjybk3sLJ4WhFFr95pmUrVkWcT8KviCYcPKzfwWXZ9E+0Gn7iAYyG9UjLKdZJi+yBW6Ct3x219rN4l3KhFXWyLBYDTKWmAiWmNy/MBwXXCT9obtKhoHPjAQrmBiJfVhR1d6jDe+peqUavfg+Pt5aJ0RmXXRrOXYwBtRe6YycuT/sZN8n+2uUnrRiKUMeCfHCf2S40MMp8V/55gc4Eg9EljAODEPibdlZwOrJr+C/wtWrOuTfy8AtmOOsXtaj4J49KMPUjzuzp83gz5mhNg/flrayIWFSBbwF77UdC/9rjIPZPOhOLFDCvfLQytL/c/Bc3qokPJqcKgfBnUxP2MEZUYI993rqGt5yd0eem/uCzU4PSeL+6rpsdjuiQq9zwLfRbWwtzoAdltrNQlgKmf9JTXseoiWPu0saxctZSIVwW3LdL3fvso/7CHrUHFJFwzIw7Nzx2D2naZrfL4pYTuRTVh3izdPagcqpU09gMM2f0ktmndDzBT4iX3oPfEYFYhp7gUctCoOTu4srBHqGLh2soT2OJJNn4GrbflqWaMRKcoNr05n/+9bWZWFn7nBWVXAjC4nag1pUxh4JOlDRQ/tkGZL9OLNNeoW2P09oGZClb7gVCF13KIBbJMNR5o7hfAL6k6Rz0iGClnhd3uVK6/9RHPap+OrfdR6d5rpeata41AqYo1xANBXmW88+4gM73NetLeoGft0yd7vhTjq+STb0Le7J8SaMyqYfimXh3vqeU2CIoegK8GlfKJghwfYs1DVLeiGXP7EDGP8ZNhLqCgRqtwJ5ZC7iTHedA3k/BZsRwchDcH9bXS2Gf2Bpczpom4LmTl0AJPahiUzv6WgfvxKqZo40onIqOnA2PG6O/SGaheumR/bT/0AHW8Z0UlErqMFxw/FudzosGYFl3Vxq049tK8jefQbRnlqtTVdVEMkY2eCjlNcnlkX7Sj2sii5S1hfcD9KzhIyRXOXm+m0R1uYUwc0o/sKasJjeuro491YrFZKgWBNiLH10sxdBoHYjpwLosbBzHY8d7y+hj84PfS3ZINdpqRJe8ocHHx6JkygA/jVbH/HFlP6fox9VB3m/ApHnnIRKOxB8GfWwyMkL+VHPN5kirR9CQppPCOKx/QlRjIAOpZrpClxtuv2ccmS2hy2l1Vc939Y7NaWy+Fk+QIZzEmWfQ91EbyKU57CWWSDkus/J/hCJgKA+xcqURfkRFwBDlyYJAHFHHUgQ0LoNngR1+ADFOllr76Wo2fqYWsr6GbnKms5vhXcZ+I0QN0NTm/sNFM5PydcDOHG/mZPoDIIZ2WFmasPGr6aK06lP2C6iVMAv4/CcmDVvBUHTDvKE5M4SsClcKnKvtkFdbIJGs4WjrgNLRqOEcIyIC46uuU9cGVKuw1mXSv4YnWVxDIreVrInISHf59zX3PbFeLcZgdp0IWxEJf1vPhLt1RTjPZnt/PSBQo23cggoTxNvfMH943FPGEAG2q5VulV2jajRan793mR18zBMcNIHE4breW4Y2+ox5oPGI1r6badHeDWVjw088Mw8NDHxThItOtsrbuDh6uZn/NvFMnUhiFCqth3+13ii4WNpTCoTjb9UrKG3FYKUuTM/wEmnIpBsoeH7hlCU8Vu/HQ7q7e47s4Mec8QHvSlrxEAMSkQ5xWKq9y1ASX714UBXG6LKumfQtIndq8gTNpxAVE42ztNjc9FWPYBvrffCrnXNlivwTti7EhpE4nmeYONoTv2woiQaZzEm9gRzrVFLYr/x7KuuZMtWdcrWiaYZaYcXWbdD5h+yHex9pu1/lerPQhTsGZKxdH3778lvVfyRNuzkCGg6EeFwysYAlxQvyWeHpUlr+vTNmCiwsJgGT8e5abeZjpiHVlcgXr2wD6sGVvKEXXutqRs0otDkIXi2TEwsp19O3q8KAYVs9Texg4DOA/EICs1muKih0u0RCFBxjaeGA9LpyB1mHv/Xi8pJBJ/sSmjmh/ReF5Ut0r6NMzTJg/tk9CzWGwbfi9BKbIa0TbSiQSp9OU4c1Uecpo6b+pkZA/XuerGsBITwVfKFuoq5ykRg26DsmVE996YOylSUygCEkIFOExzaYeEVL/Bfw4bGfyw2QekmRmm2rFlaoJy0mXdwgaabqc1Gauxw6U4G48v2iZlGm3IMDzyX2WCmR5aQhfOklPe9tSzWSTgQ+jIjXPpDb1ync6RdiuKqg8u0UKuDsQsdmc1Y+bKdp76i0+Y19lhGAN9DQoQCBdZFpaaQKsMdfRItzeTLGUVeTviPhq8K2QVf5NOQpjU44E2FXKIrly3uxmKa50sDvwSNSU5CrakzZPC+fO8JlRCyCDDta4SZQ6kuVT74sI52+tATf1UYMFir7HpuvrSyv0RotNlD2d1IJCRdmbZ9lV6wO3WSa8kcefyQO29q9nM4AQkgQ8acaBdVvdLzTf0V01w0r78IvDOV26bYIpknz1PBZBdY+LDdzkPYJLi6/hXliBMP+L/Xtjwfm6eQEFkjrf/pdMfQaEK0HfkNkBk7JrbPhnncV0++B25REEFOLT7LSUAqvpKkDyN9oI+Z5E6sw3oS1mBzKcv94OpcakUamktVSdak1jVaBVsg9T5uzwy0HujFZH9/Gsolln2ndRAk5VEba5vi/UQBOrgzvAMv5i9M6yukN86FTJHxwzKC1HJjVO7hFuOlQKiW4E8T5bEvKZJNbVaFCRA9Y5GYfvd5fQ0/ort94R+kAzDqYxaIzE3/v8OHvFf2n1gGA2+YRJNawe/+zPSlodVUK6zFvOvs2YtyE1peXEy78TFVwYQt4iSxO8e/VzGQudbBTmMvNb8tJTBHMNywKHoXaDz2xAMDKo5Jt0sMlJxNiDvUVCpp9tnpm9SKeho/KfwMx8JLoxIrcQSWy6xsv+57ea4h9RYoh6kFOPAgpNleB5JPIIEgaF6lAjZ//PT87jVOzTAmM2Q7iTJQMbYOV/npFf9MjigUHsC+TW1ivMTLk/2J2htVjCaACWM4UFEDnfqUXf/Zpu1eIOT/9N/pI3/NQZ6kw+7PM1zNxO/tlyklk0lmMzXtQo92eMOD20tVKYzOTC7p1+mxYNdniD12eFeygqW4NLWHsNp8ekxowANisEnqYRltepqHntD6FQFnxYDvff1aAqI5gvwxF6pkZSVMMa9WvMF4rNTu5ymGqtocEMPP0Ruc8DM3Q2c4I5+U8GtObXfGi6IIdNwFYXYLYrrl8ApHvjwThzYVqQSIED+aOq1vPlLapz5J8/wbZCph3ynOelqBWYxwaF2JFOm2JQVhn4vh23gcHJlouPyvTmFK5TiAw/E9SHSL8dZITUjHnn3E6yO6UKTSZTlo0GXtzEjDFskPujPqVU5d3jQzJCuYMl+7kGfst/IaXzD5bulOYDCetIP8uP2viJG/YOFlVw7ZlVYurXyUvwwCbsp4G8t5/pZZePRwvuEBKVwo++DwIcA2ek5Cn5Cj+7iZ2mX3q8kls8aX4opxx4cwbk4Z7gHZxiUw+RS0rhgpoDRl0FxHuwxchlDpwHxrvFhDmf+VDESmyQ4bpEsxLM9zVasxcSNVQjTmfX5V48u4G+VlOWVD1ffkgv1TeKe1t3IJoCYGFXqfOP8jnGSfZcm1ph5049c7X5ZhBYA4ILEvfiQADD7UGGHKYe9zTf7EJqO5hVISO+TDpnNXThV46EpFsGa20jSXh9BC4qKCwoSR27gNog9o8cib7knNWAShXeksyYY2JH2x0jzEpQMeL9yaXT8OLqVTLDovusoObp7iRlrsNYreflE5EFAtYD9O8sTWJosLsM7d1bN6A3PR9JvyNZEcl4C9DqfOXzLyGVZY1q7E9U0kQSHK10P16ddlK13Ea9DSInHnpWrZHKAuhwIZfXHpKFqL64RvOuj5ZCbCaOVCVAM8ZBxUsqxg4IJ4zwwdr45FGB/BIjBbaaTFMKISOsYQlOuSUxDuXK/B/SieNp34QFx/gwsmc9zKWmRAfcFzlRh1UAl/6qPwO/5hUOUA2Eh9j3wJ7/QlYFxMjFGbzqLdoPtd11WJjpEIE69xw4nDlaNenXwqqNG4eSrrR1pegGUGyj2CPOr3Vdk0lguwhEdEnxnBpIIjXEsOkW2A+ilFZ5cEeEHO/fEHoXzhoiMTC0zK/jbhZwK/Zol7Qn8Vh4yfy/gbBRsBL6zlUWI83aBvSMsFa9MagKt35Wl2BNbuQDXQfqWa+KyGgmTdfOnSyiIfGwYXmPG9AoSHtcRO8fNxVNmosoADW2jT4/ayotS1VfclELSG11G8SJbXDDMl60ZKPHPlHRwkUA5zUOgXq+UKuUNmESpwFyvmdDOHQkfR9DHRbkAamoLJE3VhXdEQNOwLRKgn3tDePfTjdBNmjQ43YzFww0hwhgKne4T53IrJvAvVxFGgQnlF65D/8z/okRKPDCNIUNma726dNafOoocZkVQdPbpXEoJlMzGqH42NTdnTGUuBvvq1zcwUvKjRoGAWzg+BzvhVqLpw4fWPWEUQZiTIOxfP9RfwJmZsP9MEuGrynSi+HuNdvlKSd205k2QT/398V+kK/OuenDjosA89Ld1jEx3DJ8ORvu6clXLT5fJNvP0Q+h5m34ooA5mXJYi2fJaAjZ+2xZ23M48AstqOqsX7GsdxME57tM7dob/KaZEb7Bi7IRV8jtERKb88GsdKLZRYUrYy8n1zImS/eca27qHbE+H3fE7Jki8QnxiQis3leDn9tPPH4M3ZExXKAHls8cJD5hA74x/JTpxVuMO8jp3JWmLHQRp27HGvK6yXOVHgDXHbLg39tNDGo/YzzIbsU2rgzUl8ai58UPgT6TTv9Eap8iOiQKlJnVFSBddiqhxBL0I4udPaFV5WxfPzGNL9wO+Tf86iiWPc0c0CIpMso1O0q4Pf9mkXh0xV/pIP068sGdJXpIEHinF9JgQyDPBTrqZcHDo5pt3g5sSNDJfYMgsoDVnEr+AV5lrFtDwOE0Jc8vBP6Bip3otlKr1Ya9UhsX0jQT4SOp/L9z1cER0KCR7iYWXwgHshPJ60aCGG84S60gc38VMCpgl6VO8ZBS1M0gMiRChDSvd5bg8fjBmN0HNRoX2y5RZterCmh8dceZr4UWdNo3i/Xih321PLSgbINd4025U2A6ZGwpYoe+uHMQZxbFf1Jl8IYbwDTgETxhRNfQrxklvCUHJksJ6xykJTkW2oDdKrgbR8eqVmOWkCkOOEwKWZjS71DoLs/8SCFUhRaOrwCOyZ4iv4Z3nmGiQnxrSVFgP+kYCfHEGtBqWmEQhdr/NGBXFx3fxupIFpLjuxz8skby+N1OeAXXx4glPSMH5ynEMpHrAr4GQWJixvQDvNDvqNZfanbt8Q21py3A75keRBEI01jFHHnLmLuD1DQHoBguSezEWQ2w4uPW+Bxc9gxzZ9ycdjzaPFF9bAXvbozG+7gPtQImZanD510jywWULRNlHBpNy+uRhYXOk95U0jhtfrzQnzBCLO+CxdOmN+h5D1TrTTSnbOh2s3WEx4k0HYkQJb/GTUwW44ZAr5ZuKuVY8F8aD3i6CFHvCq0XiCChJJWwP+19wmtXzYrY5Qi2qfVLoRLgLbefPVn03dZtf+WDxeZEFGTan2DFgIduS5zTtpfjjBv9j8jYkgFM9lSDIr/UEVMLEaWVEpcCe9ZT/yHMWeBikH7/YxqAlkD9u3e4MS4cuY9zYYtT86XupbXSejlRd0RnolBD4uAD2OmN+tA4p33R6PpnQqv4qekuhYQEgfEzr2/dQhjdj6Nx3Whrg8PG2M6p8CVqnAu4XuiiCNCBVF7BHsLXag4CgvNbIAXa0wSk3gVu68SC4Kq2vkiq5nZFdc9AYjx7braPonFLxuS9/Raaj3o49J4h9+0aF+h4CUksf69PQWOYPc00a3cy9B4fbECEXQHGG8c07WQexmGA3MFxwws0Gpn0uvXujSDQp2v9jb4at6UJ6ev3kJkSf+THp3SYYI9k7OgriLqBmGuKVbHSeDQyXDiTJSVS3n1RTCd3crbvW1FmDhCBsGPZK5ldnPFXRUMG06lxR7trdAmC1EU/yhAkAex/rhkRw/vEgl14Yca2fBEFjrx1ZGXU8G1BFfhf9m4uGf5a3DPP8CEiMXAqH5oh2gj/TznXWx7ySEMQBu4dhxtZuoXRdNJTxtDOU+k6vftmQ8SwEDj33rKwWxpr5bGdEzsZ8yyHMpbV6qo0h9e8ACRhXwtNt1ZpN7f7WGwwid6Oob+KxhCs0IbRGhr3nQy8pohO2WB58EmROD1GY7CzJTJlCbScw/OUUjT4WfhkIxpIrNS3TYxPh4WJuqWobC6vq2yWE2bdkYLh6JjVzW652L/sCTkQFwSal1NvMkbBPhtbMIIWeWjCluwKQCKqFrkQQHo5bK02BUW4XsmSZB1331zdVr0lc8V4B5D90IDX52LrTwBXPpLBYd7IiXbrp+TmJW4Q7xpouIgtFyjjwpAM3MHapkaxTlqvvI6Nj5T4jCl1mW4sARz7h00lCEQ4wkvaVE7CWx4MsQuaFJMBSMcqxz0qUXztBDFj3dSD+q3Coe+byApaMoG+hUa3Q87EPpyNsdG4ZzmmB7A7bgnzoqbSewGsgUDPxfIucXGF8cdnK/vZucktCjRUy2PqD22ZsN6XrymHDrePVZO0YLyXyNdTdPJWhmLt5pdqihtnhPmKJZo8fBZ0noleoMQYOuPd2hLzbIgRe/P+ai8Ghtta5bV0wEgkPs4ropX17sNrETebcWIJkjfV4uPmAnC9kjv+ovCDSaiX6eA/huJoD1KaL+xpBFd0prYZbkcyS+qmzbfeWSmXjcN0uTblJFZ88tQh6a34DnlUECh6zM3uRZihoAYsSybdWFDY4csi7eUDwy0ugzespZRwZCOij1Cg1OBJxT4+iZg7UPvD/eyLZ4o5ASGeH29HQ23oJOM7MwOrgLkv3ariVwzLGb5d1NVpJDdrmqrFBMYyZnIv2siwlRB7Ao1StFETwIgBSAwF5dBPLMqogCH0bH6K4WSSE4aIBww1abma65ruFLik6BsGWtdaCvRjEeFndQ+C37OshMXhsiT0cmnlTID6mG/uRFQZLqPxSxVBzxCKKnlu9rKQsGqcn6bCYXG3l2m4Stzo6Ml9hTlnsm/tuS/p8uFbR78SmdT7YXRQd00Yu89P+nHh5MzaJ8lWE+V0RM8/YPe+G367t5aYFadywjYfHtguwTEKAiimlhDA8/MfU80g98ZzLbXid5x+RJs9p9NTFCtQ/vXd6k1BpJHDBHwBU4ROeg4t3CQXPYrqOrnI8dozlvyuxFQFhRxD5prUlRqHx/D0/w3RaRHiOGHTGqmJvDGGPwnxAx2kgpkObSPfUihqMJtn5ZNQRE+cI2ITeMUxIvkvl58NMUJMBFB0w+El6N9pmMmrzt3J5gw0b+X7iMTfP6P7PWit/NvbSUEgQHHmUSF/vyjsUDZHv3XPkAuFrZNc8EeHDKdZnGTb9EILCAbvgX3y2vgeGZ9QUBP9CDDlCJ9eVM41YhMrWAasHAJcuDQU7d0bTMUxyBTFP8Y7Kp+K2bjc7SqGrF3vI4F6k23hesI8WVuD605zhQU5F+DZKGdhj9mjB/HLxnMpRQHXq5onpGr44KHr1FgQBDR3EJFhxr5dN51R9xrRx+1lCjFccy57Cgxyzyv5KwTEnxfNchVWbeP1RkoKEzs8d/C/Ph3l+m9TkHipjSBPNicfTVS+8p2ZSE8J8CVLaQDRKzAtafKAJBOatNSPJ7lXDsdH2S9TBLYtuSuMSKy7pzSxgVjE+wuBFbw5mjK0PN3Wd99/3YXEY/TQv/8ZdVFHDa9h/xQHf402T+IKetvrj8eW0hMZe6ItEFPYaXGsniUkA88JtrUCvk0qBtimeH2k74+X1RFHLaSBASjQ99IBHFrxuyQMs5FGHcmP+NS1e/C6zRVu39oKh7Tto0XweTk0ObH1+dvnk0UP90JMHFRt5W9SeP6CRN4RtC86Req9lTYTtBklx0uOCRYjAY7JfX0uc67n55pfXLX09I26bo6ViyLm/z2aVjEhyY+FJW18piDL3usk1yu9dwQ99x8oUFkzXzDdzG0sQZUYp1x0NCQDrocTAyBCwLnFT/KQhH/EVEdVmmPDRwg8LexDsWOWyo/ElHavI+c/RyTcdGk4ScTFoFAmrXnWc3/Jy6rDZPZEO/CkEMQrU7tvHx7mugilwWrjDXVewWPTYbmO7+QExO9S5PfmKnf8xbmBQGobjuNRQySKFrWrXYeJDPo8YA26hlX+LR/lHiFxhMkqrF4CaXWK/JMhySQ38NbTVF0wJ1WFtxprdNlOUH2rWe+WM7QQGK5vDhwl/3CCfbvmOz0eI2P5EP3NwXkgycC2bT2xhBa5U7+Jh4ub1QdNu5CRpQ/EwEm1fvjZjsXJffEL37GsYfDCPPDbK+tcEgK1mAFTdeZeUtME9MACPOZCap5/Ol8dideOuOeQ9jUkBUChfpxUEl3egITOyhUiSs+AeA+yFYQlilE2CXNyBYAnaCetn63Syok1WygQwGc/09zrzpc35BA2xqAQIRe0ZZpgP8pShP4bE612Dv9T5DQ5aLpKfPIme3IRHreUjHknyyMSOvuQirLjq0hyLfB1MjbIsG6hOYRZ9LmUJ+9W4YZPFKNQrH3dYZMuWF7fAcZ/GJDR7hC5URn76WZ7NmCZLNQ29t3ul5q/n145gOH+hJPCyWDmLue7dilvV0z82znl4eq7Ih2ywQQGDS8zlBNxd0wa7w6iw/7pCQz8i+YImTc74aGhJY6T9ofO9hYdyMIzUbIMIAFH6Z7O/IiUFbgjE8RbhOGOC1iUGKKb87BU30E02b6Md5n9pkyX6n341zrnC34B4U9ze5xF+SYrBe3Y1UB03HPxygvJOa/DcAuj/JmsFfW1PD5IUjULl83rvPBrOfT9XTSykiwY+kE404VQLVnMWcH8U9ISWSEGEEcRWFWJv1dw0+fYAyofMTbbHV5Xe75baVbXzHkhFdkNKwWOuFubKuEbo+ZJndaZ5frnh6P2n3xRo7mqhXH05OtwMPxoJ2xXSdNe9DJccjV0mXnvlQ/M6R9LyTzxg0z87XPMLYTSirc7aMCxXCr+nokytnGk8anLSFrqFCv4CZxJRhnhU9K7Emegdqg9+EzeQOjplhXDJ7DPjVlyHh2vTYW8MmEJOjCgPD0T4giwXSNtoadZCuqFcu6PjuOWBec30LnApS6TL+7GA+ia+m6WER39Cza4++CBUuFRlY8c9MoXLAvituYbG6PZ9Yehj+3zcKWgi/3uCfKE+KS6JIJPjM1tWZND7ubj9qzXsilwf35fIngIjtWcB2CIOdylStZysLWqopRupdgHcmx60azXchXtFEPxvRjq78RPHGiNTOFoeKDNbB6MhA4BLT8keQ3fl7FzuZUS2Sq773+aixX+T7hnfqZbvbXo+1KK8dqjYpU5Qf9GBxXOIdnz0H8E/7bb8vHV/4qYzCz13hVeb2vgtKJA1lxDQzoI6vNCTnxxLGxVc4XX2zRoB2riFfnd4HXETM/xlkxeYp/kTTtaO2Dcc9NMUVpLfc/B9WeNjMGBUSLiLt3f7qnqIwxt2bJ8EBa7Flm0tvoq7y7hD7dGur3WY2BQ7uAagDxHAtxZ3ghRt9U823oVbZv6Rqb1UzCXD7X2bYFBXfJk3JjtU0ofxlq30MtzIER84Pr5AsU4TeNJgZ+pnhpBfFNbz04e0zMsJ5k7WZADt90UA/VTmGywo2HCxSPXPufk9IDCg+mmav0tDEgdQZ6XAIasJJ37a4bWff136NVfxWVGzJfjU5riV/kkivJQkU1x6zKozXGTgU+UMRe2qdcZjalZc+6m9HRlkhjLxdHp6IoRyf2oPOAAi1Tlmhd4E98es2OhHt/BvJrffhoQy23LVpp8MhYoYLKraAU+StDO1oYp8ayn8IoSYjZ9lN756wAxbdGuDkeWKbqZYH56tUze+jgKmkit2/lKrKeizxL+2KRN4q3i/+UZxIytiH9l/I3Dw1DT0nZ6ewC+I0pwP7t+FwIUcHJrGgV5kHEx9OLZiLxeeuQFuw8JkW8veObxWNsPsAn8WFEjW7BcQ9FUlUoM3a0r3k13c+yjILz7epY8A29eFd0YuPQkWKT4iG3WWYzl7ZitphgXXd94HksolWKDJHi3MjiglRCDwm7r8OgW2pGK0J7P1aNZDTNkKQymge6rpWP9JeiHBUTz0qjem8BOjtrpkdLuMHBRb6Ug1Lqgw/+2L6LIgs1NIes/oppDEqOF/gn4wZKj4FzJngx9yDEauGlA2HU8GAXSzVKZSOkNj+c+THZompU2wMwI/pcpPI6SzVxeWKUpkRNfq2xnmV7GSidNAtsxwstrCDRLxxVJOLtRD3ESBmme4Lx5OFZX0S5u4JP4OZ6dCrA5zpfvMLPZ404qB/HhtIpO2xUxItdjYZyJMYVA4MVvx53DdMMAWtVmzWhHG/5fKDJmGg8z1c+ckfRc+z9tv3s9TZur8EXTd2bbeeE1TFO5SoJvM64laUCXdPPai/rmevBvbvO+8mgYG5Y4qs1ITLvQEL7XidXkOjHDiyKH2blsH5C6GNNRW3Wl593wlk8YBQ23HyMXb47xI0nqsFGN6uZbI17/un12kfI8F6qK7yOm6UvFSHeKqMxY1LoUDphQEv2hUo3uf1fEgupw2et9L769UYWpEhUfyRXL8TfdQefpjVi4FgBsVQiI10B22x9jlibWBSjaPqjHkrxR6kdAdoYutVXdlooOYdDlj1zIRX4Yz/vtviwMZ4/10FFmS2jJQhucMo8cn+kjRScN4/2aMSE28PNDonevrDxhd8yXLKctSR00E4sRvnkSAmmcWt4UfZGKSNc4oaMPpPDODmVFIqLyeZ16D/FC7SgpB13H1fz+7cM02koOTmo7TqD0+TtX5cCTjNshPUljaXN1oWmh3ovRgjoT1fNAyErIN0++j5TrzWnvkClNyVNEZx2FRSayHdE5xHjUrx6It9N3PaGlQWYE0Bx8+0mPQngUmhTbuEJgK9wPMuIzJ9fDjtZ+eCYNc1KqMF6/bcU+W0wShub5qDVBsHaLxmmwT0TgntnJE1G6Z7xr9vIBWvCdC5Q+HQgenZFJFMWAghT23/vCuHbzj+PquZwlYsuNlvwGgik4tcm6nmD9iY2EZFy2i/Ir21URlM6w/TmiV2fUj0JZB2qRxdGp/K2TvLGxxg0GqwK2F4X0qgXdmylYgKN381BYWn5TmmArtDaR6Ka07X3wcO4hVOd+EENAt4aWxpW5gs/rSQKVe9sXp+dEEKpnriwaKKxcbuOI2B+iHHOgeDqTlnlkEQmKtjfmE17ph7Wnlb7GISzZ/HIAwcHcWt8hZcZYRQZzio+QBmRNOgwz72etqxTaIMa1y4h319JtAG18bc7YDedEFpk29+UgH8YLRTaOPwGQvqSsPuHz/IHI+628rv2KkNjrSaBgwXW+mYPFiiJ94l+HnIhZR1NhqrDfBOOcIFq2TKGxihmG98wDuNBTLwlGHTXduiDbIoH9CX/4y66dqaSGBpctEGRvd0mlI6gwLEsFyyzM46xfWvb/E+eIoqjj87l2ZskXyCfRPp42hm6JM4vNKHC86bRTFmdDJpN31c/K5MxQTZLCAsX/r8jGms6BdOOsogurtf2iyGtZgqF2n/5+0d+X0hnY8fdUrcnWjB3B2G5TNLoeEySauG2csbOnb2FpnnMKVcZ1tBfrB7/vDccPOCpZUkmbrn3hEt2PTe8FgnIUJVBoR6qBiNOf9IsoZzNntws8pYZyFXa7RCTM3l6zBy4pDH1GhynViaU+88kaxLbaL6st5bum1db0Qj4ItY3QWJ+skA9PsQ0HVwXYKGfa5KVb7Guiduj9m3iJMP4hTyMjWU4xch/77Cio2FrH2NF0StM3dibFSlss8/Rfqs6521pWJv83gZ0bL7Spz4ADWarQqEditncxPfpqN7pOzKvoJBdm6xp8ZNsEUki5j9G/Lmn0vXnFvw7cl+40TsOU/YeRx3grL+0jHWP0OcNR5FZvc8Vny1IiMKSoO/m8FAx262KjEUW3wevgbVpEefRrZ614PdSMS4SuAC1lPr/mSQ0LEHSExOylap7tewKF9qzf4VcOKO2RXKz68ZFD1s+Z6tQhDB2Btr6Jp525e+XzEUM3Hfkz+1crd1vK8GtkgpUIBq0utFP5HCZrUgZ31UCbD4+wznNUtfqzFo6E2gKoF2K6E/TE60pkyUdZZXxDiER5PI5lvFat7KcNJbtrY9lB9etVAGWm2ZVKhhMcrB/YAm9qaV5UBUDynsTO9X7tFkVvjBTE3w/trZ1Iz2Fu/1l9QuFPGwxHpS1VTgsA5I0BqHYkiwd+Thr+/sJBJNR1sPUSs5jPCxYaOchP84fIkBG2mPzulefVH1DlTcGaDKzmR5c/UfJY6gOCMPfSIFw2XduX1LoSl87UZqGRpljPBD8kfJhXqYCWHzcwn1l1dVrcoZofKLozxTrY6LzE5svhfoVHlhhr9/Yi/3rW2D5NlGCQbFJUueoUdqdVraigXeDUen2DwbAYZfMpJ93m44BKABVAzMkyuArePRlEF0yg7mfszuJGDljmL6+4kE1DAHk5ZRge3Xf68fY/2X6jQQcB02Sw1FZLL2clUVMiw9xRgq/4Vdn5fv+nXLQWXYTZs4rr3i0tn8Iwnaph7bSbbdRnfvWcloUykuFP1/0MRz4Tid4kjZ2pbttGngkULNMu6iktdPa0+gjE15drSoixFnlWQfmQ35uUCo4H54KpKkUNI4UBQSalGRJNyio+plK/HjmAvhxKs2Bcj0aexwELKoi0nGQrpIGGYWLUmxizNUiUVj1VZaPNBT5lFsLoVq7RB12VOe4zYMr/BYNxNuPcfKlqmGX3fKBJ9Hyr85rD4qmUWCySaDb/HPSpd1kYFHZX1zIm6CDgyP2YEWxeLSLplKTkTsztTNQf2xO0EKfQNrL0KFoH3okx8UEE57rVk2h7i4GW6aWt2ZVQNXe6lm8dCWozAgUa3LKwGSsi2FqBhPMPNBWf0DtPzNX79NLh3AZ/TL0CkUIWpeajmr8X/EVXTBX1ceLefuct6T7xvBSJUpkkyua9vqUj3AaQVZjsADF4zHk33a+PrUiwywWT4WCC9WxZPT+n6z+6ceEvVxcPkUV4cU9sLxiAraT0zuOzRKazC+I0YsMggf+twmmDMWz5+186PlSxrOZPFQD2tYKmKH7HrApKr8y/HpV/LdAk9JMBxYdIMVxWrFg9NKS+4FnVOfI3wpyYtxGshpPDF8COxnTMcoi3g9pI2o/vz7j4yqhcipsnm6jtvPurzNRg8szPK+nL3ep3pNSx/4FwhBkRZSEdWpmGV8eUmpkfB5GftwXW+pgP3eHNhpVMHOqQELV8C9lnNao13b/cc8zOvOY4ELo2fz6UjFNr8Lw427q6z47M7WPbytZ1aFEskN4B/L9nodzWxVKNQCIZKMtnWR64Xhi/KxN6+n9kZzWUi50v3UwoUa9gIdMFwyOMsJG1VfEBVY4dR/iBkn1/wM6XCvmVhRA3snirM9Xd6TFa0NZQT08TlSziyME7iAAgP1MaDjXCMUA/Bhu8XvQ8S1uwpEUvdhk0g83kWzGEgOoeiZ0xWCBaZUw1pQ1hk2SrgdXjj3+Ax1S0xfI+lxvOEJxeGBTQ0aOrTpTsHMvacaP0QyCcXV0eUeTXP7akg3iRPkdtKZ9yQHHfMGB7yFtlsXXyFPqMWaGRJJ2dxheeGWYpYGi697hjYcV8YiqaJAVNDqlCqs5atWJ6YeGPD8ebGJrzo42dniiyGgUYw7NkPJ2oQAagO6zbSGeg14U+JE+1L54BX6xgMdGGkEkdanDwTeIJD9csePhqbmonXXAY/2Buck6JsGX8avnOG6SnOsR1K9UCPlvLjYqCvtv9/R2+B1NU4ff2mu17mO6ObQEIZPegG2r1t343Kn2Vk+TfRnGO2ljAaoTbPOwNLb/Bq+l64lR2Fm7ul4hZOqs/HiRpliU40KDNz1hIPQcIgzHKQvAPbRkIUPdxApR+ZbkK9/awf23fU24xOY0iLvQ+aD+5k1IPeg41YGqNoO5en+50ULk8lw5Z9EJ740a3tnGMKfeO9D4m9m9Lph0OFmyz2QcEc9c8UrcFezqPJ3LhrRT6pwrR1CPp6pAi7uVRkrm0ylQgXAKaMTxR91IIDwTbksAQ9Fs4qlvH0xndw0ALzQllCy7b/jh6+BzAcChxA6EXq7G5Xb0XUptMRv0lyNa3Mn5U5V3w5PbS8d1P9RIYtMw4s01UJ0eGCai0NY34OHY4w9gAhOpHcw+5QYS+CCu3aRxvh0/pwHMxzLGbeP3bQsw+WmhciLh09dveC8kTz5InNO77jObx/wYmDYHbSNnFZNOXxG3eqZdEJ32otzIHbrpa4IkHj1+CZZsmhil1rGCAEM5qHgmG3mtB8ut4KVEsMIxDeVROGEd5hfe6OQUbzcYkRVpBtD63lQ+aL7H/BZqk63Rmi5SRcrvIR2nu9fywwOet0ZRN3GCi7dLg9U8c8knclkZYM5vogtwoTGEGMJAhv41R/9MQqEsMzh4F3L9UAKIKyEg21lzO2baH3IbGy80nIUHfVz9VQwfS730DhNSEyLLvHYAq5uWupsvSUZBbvSdvjHxixCMY9IfJTp2gDHKL2hsoEa+yn5cRxfhxqZSytaXvj19znCUxliO+6sZR2NOZXd22wQQckwPatw2MPPXvqHJTXF34l+ib+kvNNMbbSyPX2hvBndHeHIqwYiqPF8XVu4Zu6nUczacgRV7dbP7YNEtRz9IbbXlBX2q93euAq+Gdp22bNU0ohYd8JllxDzkq/swrIOed3xRCucGfrU6PX6kD4/MjB7TwLpKKpWljhw/HDCqfMVQgMQYx7g21W0QmA+B/28Zc6BXeDqYJ5tDIJy0lsBNOduNFW9EkJu56xcbYsM7ul+eNdXZrobWqqMbvw6S4RxAXw6Ke1P5zP8ZqySEVJghSokxkb1yhNcMwfvA/lKZTOgSDPICJPpr0IZD2pTrUPjRw2jSpk5tFy4Dao0ohjB8hCRA2qUmRK0V6bwKd6AKgGi+G1dPaEckJSxhWEbIYpJEtaLy+6BrHNWuldpP7WrEr+qDct40AVQCbe3mtCr32phVKGy5lQvAZTt44NzrEsxZF/3gWJeGDhdCksduRxEoF15IQknQM6HbKUIokM+CWqgKCAMsN7i9Fd27VKDeWQwQKJG29q7qqU18+0axvix0hxbDPvGEI1+bW+aExkT0sNY2zNpKNovZzMJf3kvQEcFgxOSTtvSNCG5r22039E1/ID1zoh677S8HNRbBuKF5Z2ch/4sHFIohh1NYEVTj8vuN2mnXcMFT8qFi+9fY9zVD15M5dftCxmLJARecuF4vOj/As4BhIPSzOokRg7AKmynvrsHNXXLwNHQESwFVAjSyvrrSU22qTaghWktN0+LpmgilLMti45kMNZx4cP6j6ORdWXe5/VqotBg+iysRnk6DjS4LYOAJDNwzRP5qitRBlkDqJ3XtdTnKQ80uYvIX5QeAKEKHcJDDQnzUKZdnjPtpxpda/Hh4Hqu/uBDUZg30hZo3rxGiQ0xSBQ5StuzXGzMgUSCty8v1Tc34JObFWFcW4BxGs4+sssAp+eCOvrnl59JO6fv+rwILLlMm5zhBj4vgafPX/F2e2+HrlZgvfc24TOx+h7lJPb362byc2xqB6ovNBDcB4yLfC8LqtDkaNcuj1XdRCZn4AsJJ2QepIiPCOd8OD/SnIHllClfnl3uTdhY/mfM71Xe9hpXiR7ggI9tKAtSj+7ualanM/75ZYiSXoqIEaZzHsm58+w6vPgLp21aDVF3ZUmQe6I/D3MISdkvH8CnPuPOeWXOc2wJyukksa548FKcnLTE1k1tcopLmLkS8sfGIh7apCFrAI3DsYClPJJ5EnZ26kAWEGKC5NhSskdUXhiyuAoId15Tu8PNcpM8gK9baBLfs8LlhoAiR2eLLGRW7yf1grVXYmRlQz5DWNMWIcgTgLVxUrcR2DIukP8+/wcZTcKfZID6BJOcy9RIdPdZ63r5dtEZIDwUK7gGzceaq1qymTrvjIetyPKVs+aWIpPtnlWs2FEdwmW2akRFAqf/WC2v1Uft7hkNWKVFNtllpQZdM2ZkKJ9vCwAmJ7H7b/p+74sbH4pm/Vt9TEWlFZxupFwV3E2MIa1MdVkPZnicVOqLVSgH6y3+CpGvaZnJF30WPxNed+wxNRlAJdHmnrRoycSxx9STgLVqGlFjk7pyappPkygJ7XYql01gGYtuPdnpbkDGiEdayaf6ZyqjuF3bek9iKNv4P/LCrnw6M6LdVgpI6COu8CyrdWDMtMCI7nqd+d/DLS+Wn76NYK6FMZ64nB7R9XEsBU5cQXUYMELR1T5aWJ7nTMNkUDtiT+KV/ANCG5FcyLoTXTizGIURRcLgUbJi1aE9nWvWHrDuZzoVj0aumq9ykuFyr2Vd9GIDgvv/7hCALmY8s6tZq70FV0aHTw6EuezsIKkL0gwhBd3ARW23A6cvY0V87yOcXls81y+mLfNPtx+TBDuO2O3PO4qoMXXX0ywJxvQI6SvhNYh183qnsyKBL1bzcbxXVkJpxY3B0mjOrzyJNhU4UlTLMtQCaRXT8rdTR9tXscZZA3yDvgprgmoKuA++RZk8SYaL/xGCI4R25xQREBb2LulPI7xncdTaJvugRWFAXRogNBYyiW049uQPcgCIbUnEZKLVvlwBZ+DJdR3C1hmRQib768xNan6FfM2sUwShex/GYFqW1xXWBGmiIhvHYhFPCoQ5Dm691Atz72LxlW2P21KLMShtD352Vsb3ZuQcG1+tkdOuAi8ObBSy6kT/pFcHBgoTuX0tDObRqQw6AFUkiLBCFib3O1dDKpZNBKi16u9RskodWm3cDXDzs9D1GR1CAjwnj8Q2sqw4sbnqxMtK8P6mK/xbKL2uev6D4s6S76vB/GCaGogY8fMUtRE/eNO1VP4rJkA+ojdarM6b1rl0jeGQFab5FMOizg6dUDzfbcG89fG+j06grZ0DOOzDSAwOn8JMPiPbKYFXHukKRKjdU2Igxy5t5kfHuOUpwM2ISQzfv8a2qMLAsRigYyC1hj9WdKDz9qYqU0cj8ozVkDDnDfShulFTPeF/H1yCzYcuJi3mVl8pysIy7m3lkiqCi9+y0AnTi2V658CQKsBO0shcQ8fWJ51s47Fb9KjCg7BcGFgbxOOLW/GpsJwZtzi/QkRpwXInI6kpWD0taqXlqfjMt46LqExLR1QfctpoQ76F62YiLOyWwW8Yw6yNDF9jzk/6PogpF2uCk3qIRO5+05KYzV+LYBt4CTctZ5YjIDb2FfIw3qJ8YgZTZJrn0iPlF226grpimMcv1UgNLWtKcLRUFftKB9LVMcLlgKd6vKvNKdeVcTDSaKzvATG8xA+kbBqWIUd5PJ56TnTkV2yzIaoIY5gRt45e7UyfAxwZItyBEANa5tXGhY/E/W34R8js3JqFKAxXbD/Ih4hDAoP1jNGcB14pxksDU6JgNXdgx0bDXjZ6qaxa3L/6H+gFm9NX3FH7wwa91jGgSIB57lS/Qeic1c9x8+t+B/QtSEOupBQYR1dU22y8YtWwhNW5B2MpLrJfO1w0PronVHfcfYfrYDbi5hK4/QbM1neI+lj1E0NZGQyPiD9e5Q3A027sokzS4DCvCPbQB1YHHQnRZzJQAjqZzJSlTB1XWNmo+ljANIcE+egghgEakxJmtj06h4CuacHMaX/w8Qb51DkWg/izQtwX5BRZYAMd+M/RNj0SYPmxy/Qlcg20JCUyjd0+VPBT4SZM0yoqEP0iQwk5/noGAdUo9pkXxZqf/ZBueG8Kc2N3+LIFCix1lmOSjuXAHULA0BxX6ijoDeblzJThlk2Lm6tcgK0+1otp+NHrpQtiunv+pz87mfsRXTzuXn+/A7ZW00xmYLnYRsgoqyRlrc9YSF/8geuvokRnRVhnz+SQA7p7HVuHuabdMeQ5Srx4BSSP2dQKr8n4zmO9kY4SWJzhZqusi2jVhp/Z7Mh5bH2EyFRI9XlGW1l4OX4447BFqb1YohWltr+fjr5cScqjoBYXfwHzVMGCbjoJSzZwG8nACsJH+Xku3m9vjD2x26u3gN6f3VtEKBaltR7PTCHU4KPsNLGWqPmKqYyE1lqTI2vturRuTTyzapMtQGYSNXMvFRqkmdGpU1G8IjJOwka8Ye3JqAfPdNNbORS6FPdA+QmOoS+gh/Cdvh5aDPREw4eYQH6TeLmnrZoFmh8ad5QSFMNF/3Kfikh6bufUSc8RpiOsXK1HpCVcNiMazheyxw+1UsoiwJ/BUunQJuxhKr91OKSKyAQhqbgzTCjb+NOK/zjhiEv54ToVud4D+fWZEiNwbtkrdTGbZTov8iiiPbHsw6PG8+Uwnlcj4vsfDNKWcEGRCJ98tXYwACNpB4+vE5cf/Qd0yv1UgnbB5kHje/wLFOSOAyZexHVUIp2lwjd1mCAy5rTvHkgaQFB510LKitGU7Al6B7TcNxzLJ+/+Zp/J4GblijYN44JiLANyphtAUCRPooMFDjNzR6yCzFN6DiXwFQdfGuX1vOwvFww2AVB0ZpNbwIWffKlBkACok0FSi+b65+bDBuXpFthFzZng040PMLDCu6K2ycFwoKbcSrZAYvCjpscyKrm1TURuqEkgRjGazVGmUQOYtZFKKQob6p4FavpMm+htJfpX9gkaX7lG77HO1bGq7j+YflxTLT0OE2qzMWe/kf7aDlkORZRsSTi1ANRvSIBaSSo3qbAKLYC0RHEzElgV5pwJyaY5awyjEPIBPNr9Ft32F92qeOiFe9ow3cKG6bX18XB/GLTzAuGAWTeCOKEpgIONLXuvEY85TNnaWXVr/VCTnfPjNMltzgTSxH/rlIpLAfqaQXZESCdYIvrfn6dh34vm2AguE+0p8U6iMORfGptEunCln1L7ZqArPPQsEisx1ZwcyTpMk74EtwLpkelBdIugWhciCCOL8YfyiKr2WbHf1udDtw85cBzyNlgKeci70kiJ3r2+SZ49F0qGqEAQ5fVCY1cVEm0vvBfuINY75t1McTYUka9qORTT825nufpu2P0OXidpTmz9T3Kn4mf7v9nqKQ0mx1/2zPHwbSSdBHduYzH28N2fbj0VPPcHPDrQSouhMVBnzwvzxf3uRE88t4/AaHO9H+zcV0UEDjljHhDn1kLzGn1Ps8E2Hhb/4Qz3Jr0ckb7TfAIs4fhI6JH66z9Nrv976wyuMewV8J1sidmQVel/tq4aYJyCbtUwDyrcOFnPiZEyZUVHYrNWkS8MKgVUsEmvMq0isPAL034xBoeUhoqN7Ooe7HqzNdBr4BjMOm2YzNKHs2tDjbalfrzXXAK6hziVdFZT47x0v8AXag2NdpF6vhob5BnamBXgxMMHyQGq3M9IflZSD4u1M167DbrBmxYoDa35rkPn47WzHpHutoJMBc38wobJnz2KrcNyhRI21cmqsBc9YvNnWGyDZmj9GPABUVrthfRkYjnPPBNqWaiCvPRXVvYAafQF7MRHtTWo6AIEZXt0AC0O/a0rWzEDPlzrAwHRvX9C8ZVGqJnOi4AIZj6jig3qAOxznNGadighr0Z9YlSQaGZzRI45XuHKT3zl9z2wTPcB7uGlZAlwV9+Vff7uGnLyDNBJibdSRzPQfok2j9lHjgMB97Vj6+vNgcH0haz+pdOzJe5Y0SnCmVszlD5vsY2hxD+WpPDnCpm6i+Xgoli0fOznH9BD0DaEdD/muKLllDJ37DMnfPvB1hlVlE2LDgyP3Y408Aj7uPp0wKP9sRnBp7UtxV7p8hpiAHdfc8AoplBhw47cqMAae/pq/VLvQk6UTMf2X5qubi4P9OSn7Kmuewn0b8b5HcII1s/ciLZjHV/LMg6MrIbJAw+7pbV4A8iPM9NKeghvFJi7riJsBk5y9qUMZPTDlKnCAw1e1ONv23CUTnNOa/4yvoWg62IzAf7YrWULQXzr2X1ipAf51cz9WtKbMH3cnyB+1+Vyf0HFYQdiVL/GT8cdPYOdSlnW+1AnRetmo3BcAWPsUk8MUe7fyzkJY+IccqtEbTz8ddGFRxpFyZfSnyJXacCEB+4MYtF3gBxN5ym+QiR9WGmuNJSHaiZZpDEzJustocjR0MI4DtymnMOfP1dAZUcKdheIg4co+CEDjCAfC4J7jVxUOHtGuPOc4A2QWVFjTdqTeWB/2V78GVO/7UxfpdeQr9azcbjizohBm12QK5Ez1X1TKP/xpp/bxiGlC3mBmW6AuyWuCPxsUYbr7UdMt+XJvjHRHmtVqM5rmWwwP/5QF7t4dwqDpigU7062TX8a/uGWE83w/76FINeCVE1Z8AQLjTPW0LbuR3922nzQDZnlP07bDp05iuLin5fBw9idnymK3kMAZfzgoQijaSMfRQw2fsCwgIrPx57lUiXfSH9f2D4Erc6uZ8k30HERmdMuH5588+j/OJgq7UkQCWyt3t+GRlX6xxxG5kBC+7PxzUmAUzUMhj6fHwcqwo1DC1kEHRiXiHWgLqTMRpGib3VNFl8DKpAZ2JiTpeA+dXODxs8zvnqDQbYLxFRoB42XxG7cWKwPjP9vS7EAvDoV5JKfcfBzKXkuV3BLeOn+xR8Foa6APzoQuNkHeL+2SYCHhpptOQLR3W+7WPWvjgsLqrAxdGjdVcrcZc3Xb/FJBxFXp9vCAE3zf5ykdUT1pLCh5B+Fd5v9WbSQErajP+F5o0J4c/kU/ostrgIVw5y2Mmj9MC2RYxUf/bYrb3obZYESYWbjqV8lJa3eUw96Z14vuybZqZty9PuA6SY/Brkepv2N+jtZ06TpOi4b1Pge92mtrz6job3GgHlFBfz/y5EqTGNRkdVTtipdErg9njwKqSqfdEB+j05M4UwG1gOF0dZ7+YUTkC4sC4YOU3bzKZrNpLtvXEK8jC4FerWC0D9Rle+tneE1Gk0XQnkTzWkgO5LG5+rumgfBBsSm+xWKLLN1Vspc3MgnvGd4sPUZ+lTWXqtl4eIiZzdR7xQkJvCmvkAMPMCOuMVRcifenVnAexLZOjHZZcL8eSreEsi/bfbpmy8eqU4AWvtIUaRvECpQvmqrUn1hIWwiMsvdqz/p7gidQWegToyypudJMdHtJ1vGkhHPS0J9P2s4a0OM5jjHmJ5AAYbKVDU9H6OYd9O+xRkHBlFCJLPZhgF5cUeo2RyZtRVMKRe5NEDHvcYlMqw7ca03JVuJKCqNoIPO0BLaVQf28DI640m+cfaRsF2LX382a3jDMx+TdV93hVlIoUUiUjYmp0SYCOtnNCAdH0oSJV1+RSaeXKm27H4OZ3A34jtKH2eKipzwkdz53aycsrl6x6sY2Vn8go2f5YZsV44aO4/mUQtKsWtTma5gO5EDpbMi1mza3R/mWFx3KQ4vM/lZHLoIJCZuplQReP+AdRD7MBbPTVY1094T9mdAqDUw0qql2LI/y72o4OIkrWBFX96qEQkZirVl1fS2Ad+0jjD+T1bnXvwvZG47TWXQ0nHpVmSt7j8xzntnTs/j4HyVWfAJkYQzc7M74ocegXkDzyvNIRxhyc9JLoIbZBepfjCaHFsEY4EpVjqdlqxt76HmWjPFgB0moyI7uaoVTL0kGQrp8qeu9o540xkMcp0CYb+WxovFcXBNfZWOxl9OyTlvEB4AQwm6CoRx38EdjKQDYxkApQnFCIk8UN2/MQyyBWUuP7mjb4Kp5v2P8byP6/wdCWKjBXGO44fbGs6LDObbgIYmGZDaWXDZsMUlxSUl2lUvP6kf9eFSg0ZTp5/w8qe2BKJ5B9HHrKm5rkW/e4rZMVykvJb0x39a8htrfvctU9Drj+lkJpVqdUdijql9oHAGMXQfzmviWwuWZ6BzbcC6EUx7HwUYt8eh1lTzBpfJn8ykaARbCmbi9segn6oC3LCrpT7D3oiLFD/wZHXaq62PlRPhirV7D9GGHhlmrhRID0UK5oNh9qDGhmP3GhB+v6UgS6UR0cR3QQ9tjYfXM9NZ+JaPwuzHDLhjxTnN1EHRXjhznDwKQCo4B9Ac0aOhtgYHUP6rTsA473JyClGYhNA75WGn62kr6LSwEKm+qiOy9wjg70wial3Nva4cYOM5NwXLmxSLzA6+oo1TVZaJeAbFjhz/u68ORRnYFnUnv0URVfuXZO5Flii8D3EQ4c+NZcrx9vPbSjtO1Fg5+w6/5jv1HmlhyBt9+s89YziQxS1vXq2p8GmYuG0JCUoyU9I9y+Dx2JctGkQtvH2cMVr++5CBvix4BiOXJMSr6q6E1KR8dDppdFpcOY7NXAzix+JyrdnV/hB2HeKyhq64YWFWLy+SBsR6TzcbBHZdLXeW64F9Gd1KPpf8spyHZKgy9hT+vw/8m2Y4yXGv8YWaBM0bM93EEvMxxmEbJjWCIm64+yticlQMC4tfuKscgpSFHhxQBlS+bKNp2Qg74bstJ6wDA4+5Xgot9Z6Ogdha9FwAdypKwGpihb3F4NLoWX2ztw1Farmc1uSeoWssz/GVLZT/lDJEWzxwWXtc2Lnt1Gx3+OMXz1riKlvjUSc1E6ppeqOC2IuujqAXLImuybOcqFEkzO2fVyo/xqpTvajOOa8Sj+laYvGcZVa8tqbT4R230dFl49bcXqmerJYqIPZa36QvEqZ7Ra0nENt5VVmfY6TcySuTwNmc2/c6rxH6JRg/61FLBNb/CYsvXwGVCxCiD2bByQOH3jL+YQe8KH5ainLAwq1iS4ODz9JpY1BzvRYDa1XPc0jnv7RjmP++HdUXc48T092OaeGCCW8nfOBUiTTQd6/tBtJ2covqKwp4q4Jjahman/2eoeqSrlH8XYE5K/5c/fOV+512qIFsdHz00J5OHF4WpnPevc15Jov4Yv1c9REHMidEhSdLF1spkLJRnzcw0C4Y5FFuIVJYZUuIBn4p9TQYL6ER7FKFwi4EfzlCOx/2g8PwHfEN+TUkKZ15A7J9WqLJLlWCJV8khzvSXJu22X1mQB//T3oTHGr7WVbS3qO91O3KPfPRbYa85vROvhEZc2mvn4pXS3C+F7MHRhmzaa7Vz3zXieKs7oLwzicflaVGVX5Lv4TnCjc2a8cYOjmYF4HOJmQWNAA5FA7hQ+GjAkbZza8eUoHRR3IqdxiNCxk8E8lqtX8R8q3zHrzfgThHpDXwXTeNm/ksVA2bf7UNT+EvvDM0qxIgHV1jVq4kLODfeyGJ7QkVhwe8LAlT+kh7/usI248BsqrgozsRnjx3OPUy8cjHZczGBzVwREr9fy+Gval1/ZS/CtzGw5xY5CP2uuK6pXrQ3SSe3a4DT/mEwuciPYzcYjkePr8mLXqkQzWAkUqMiRzy4ZBfocQT98EgtezstUT5EtRLdcp3b0a0OVdk+gnhBrS84hgopLI29oMTGD8xfWRI0B2L3XCa1TZem2FH7MHQBFSUNy+1CT9sv8n2btL7jR2gAItkoC6tRHZhfHuqJd/afnYXBQJ8dk1L12ZDw9OCynUxBIbFfHMAVc6GfzBrcz9RgxYe0bAsbrJpn1HRHfoPtBqS9m46OHChfVoFUbtnF7pxJrJe2tP5jd1+ex7dOML2K0nP0/HzoOANwD/xPJWU+gHzcmswDe7ePaEWyfyMiGcwVqak4l3EtPubt6vjauibFPS1/TqGUiyWh8F/8KCyF+WBpaidk6KuNOKK7YTpwgsdm/NcR2a+Ix3KSe/JkYLqRDhY5bGQcijcKr3T5pXuNdx82oi08ytCu8+YGZHDRTn3h6km9Dr/n6iKq/M4+JIkqTfc1iC+OsmrS6WTCfOf9z/DhIpqkb+eWUfDsWuV1HufPLTmvSxu4Z+34TNClQ0aMQjvXzZqKG/p+zBhPHOWV8XYiO4XynIsOnRXT5mAAkCIOmUy3KymFMhLIYePg7em/utOTZybZDw4c2U1YjLyeYMF74FeNstpzGF7alNC1s79kxiQ/K10cxfpyfCafUYTY8FyLNq/TFV2JMXaePQp6sntEBDw+zU9bdFqg0G11xh9868YmZogH+u0qfvqzVMYIQ0cE6gLVcYOCRmAWGAsfH76SzjM3J83bK8YFbbOitlDXszB6TlY9fF43JbwV8R0CmaI2y4nErnrjeyA2z+cRHMrChKHZlXx4RFpBUPxS6Ls3ZXiLvp8zaDHmtUIu+eR/v2LPgrgdNQKbux0ZddyWJtPcRwaHOLzz+AcsF255X3PHbZi9g1FY3zTUljyFlj9CCNnpbx85dYiPdEoJIe/k0Gt8rlzWCjCvlJQYZ9hoAJgZUyV3ATlVtZhx0vCPqwuAB1A+yzzrBr2N6HHIHN30wSIGZHIH7gmxnOPVOoaA/K6AEFpmdbSRc6x6ll8W4KDp3sxJpXPV9rYX5Rx6j/v7y72Tw9ki4XOVeUnp71p1QqCj0Le45EDFpIY/NbO1B6SQ1JKpm/swEIRILbPMQ+n7XIdN0haVpwmLH/UeIddjYLC/GX6krfvuXLVzjweICCuC9fFQ0NWtXqprRFw97yEhOm8smSH0oe0xwp7lmuP488rS78+Su4FxGBwPaYMc+HMde3kCceyamhOwMMzaQEYUkUc+HjS+WbwX6G5Zb/5Jbqw30kw1VHeC6c7abffXxPPi6MHuAN4CTJeoM/eJ0bb5M+uvP40HhJMJLsu53wQ1z0y/7MtiDMXk8xh1BK9I9MZ4ajrcfb0o6b9yBJunodqgcNxcpb6oPSO+U6DXwDPd95PWTI7i2/EIMyG5/6wmGMzIciq3r1+T9W+tm9KfePOhqnbt2jbLx2xBx2wWVTn710hO7W4F7zp2K6qhdrkIVAdlD/e8vFlgeqRUFBdJWtWQTtmqS+KtuP/Ua18wabMkEWzJGiudVKu2FpXaFI9ekeURg7PAMYBxJjGKOzqHp+qzk3lTMPcAQEzh+91g3/6ZRnKQkooqcKLXL4NxNDFyrGduAqxotVz0tNeBKnJjYTXZQwqN78Dpjjgm+sAVt71VgnBB1K0dPJTuuIqhXwgHOyeOAkCgAFLIWs0Rkyw8IXdOTccBcvenJgojJMmpmBrHTBDA8G/qI/ESw45EcCu0DbZyr/QEeIysgKJ+tNMguSc7MegSoFCIRG0zPMJJTkRdmli7wJGrnh5orhL/2j3X3ozVDt0rca0Nqqw98nXOXPsM/vnHPlPuJC4O+1MLwQV4YyQCJqHiZEp0fjvReJOEEkafQYfC4FHXBPxL9kOE2C4ZGs2UZqIjJdndV/gI7eyNwcSFMVlclo0BV6BlrVEz9XUPJ/i5bUj/HBnJZFPf359OkLAoAk7sn4j4my8EQcRQyJIwkcrkQqeAaieZpAcfiZJU3SBxyqafmmTo4gp3OGvw6XBwQmuAEEfWhX7M+/SsKsQDcy2bRr2woUpqyotT+MP5MrOJk07zGeBURIRHl1qbsrR9tu2Fu2uoKZyx2JyIfoZrW5M6E5AMZcMuP6wbEKle3Escrg/3anlxC/yxfre7HrURLKr1Kfmvux9R/mdAxZudWAodhc8It9swE+Z7sVroRSGzQaFzzMbrlXxzvnXkbZQ5M4WJhiW+/9q9y9p/CYj1owpAHd9vLHDuotA+bKloaxlQHeUxBTINHqKPWat2gYAuhMyLzeBgZrDze+kviEhs5SfSw/9MAYDZzYivGTC94wzfzB8sZoAaXnphnHx+VbQfEbwp5regROFCu/CoUnu9x+9SCMrwycSYX8Zoo8w+zCIKDwndnPZ084xIm766fkAtxx9NG/XHdLZSOCwX7XliqXKtjAjrB8Jzl2AZtpVy+Iq3JypSEgWeD38msntRu9yz3gBCVMsN0KuyHSi26vqZ/3stOiJrYu/ZQ8aGu0ojLzuRwTWHkrmISfukMuFf9WpTBjkT+BRgaWGUAlXpcthWf+KdMyxVq4nRgLPb4GSfgEEoxOcfOMS0v2ZsvDmpSPX5HKfcE2OQ2n6EXOaFMnBVUg7F3wyfwNyEh9A+LMmOxz3A16OUtVVvYBCVFOSNyHwF6Aw73LVcc0QBL608edtUVVOK8jpUovE7T/pIvJ0P+WVEeVWvHXmHTtudnf28qh4zriin7J/eBAqfB/ir3Bn73qHaV6Q0oTzhH7GJH89Pk6vIo77umBxt+sW/KGnAD4YWiYhT5Inc8DS0VACbkvUM1S91jet+XUghCyzU8D5TzDksfUJS2VKuNwyUaCAPEg9PArb8hFAjUgzfXF+Nle7RY9kG6qKsvf9r01yGuc3uF7ptyAzoMyLxN3QsC5Kp7sjjoIBDM6FuhLL1Ul/xo3ru5+bRKOalYiA3q8SrQIzJcTDzS7cPzokJYhlMK0aqsxsyF4B5lgHFJPKBtkzk/zyCkcxAseRQEyISLrgOH3Kbo0Wry+FPKLAECYG8mp4lPy0oAatPpYWyiZV/dwoCmaQDxS/jPNgbIP6io6yAjeHl+0TsZ7Mn+wETPH6FoG33BlvneHA0MUlJ9CkGOYUn8WmGSRCr+ssYmnRw0TBc4CZr8NHCaWLtQXAox+fsJgRyJm8TzKnJMvDpVEqIApCZyWQwHwKjrry129odWMRayfMwcuyfWIgzGXlkg82MF2zBOpG97YTcDxMIvyGk8C09BgBb9fut8yigOsKwtzybbDTiC7uK0pUbvqiU5Ub7MDJ+j0QU+Ll/9z0h/xSsgh3PQkCPTmFfXu1wOLrCIxKgFfbk8Ki/FC4dBcFQRdnQZbLoxUyXuSA+AqrA8Ada4S9JwaxSPe7J00zVhp3YtUCHeEVWv/IZm1bokBzOpOJda/FPE9AWbqfNS91vJi2ozH1hGGTV/Mk7VyWh0cSp3rZb+t9NHYUqEY7DVxTuKa/SCk9FsQzGfEXUbUqiccMHyQFHFbXcrn+tjUlWdoPBKJcfuEigavXXpLmXmThsokG/vDnq7P1ETFJhhfVhA/SmaWGc1tnE+yQV5qHhZLQmZ/76MSaLMdPlT5WCTMMCDbechehSn0Cm1+0+BEHnfu4tDniKjrHjlgEenUKom3mdap7sT6GENP1inE/c2wcCS5Ii43rU0JEoiFHH/5qGK2ubMHYhyvksJQmp87HjaHhaBeGQOaAgXlDBf4LxYj5+JyeS3MauTBEWmhNxwUmn5V3+6i6r+44oPCPiLJ84x8HIiGaaVbeQo3CQKHGi4HoTYiH/OUiOE34InztS4BTgiHDtWe1vz8EsYNmgNO7vTJ3yL4FPwdnm8RS9nTBg3aUeifAQR1KD+xeLOgBJ592iQx2w7AKMB0mfmCs+FciJI+Xj5cpNTdIvTEn4JaGu3WmvxC6AGvm4MfneqE2ARtxexlI19HGvOm/5sfxAFeLrAeJp661n8MkRQJFXl5lpyUbNg90EP8EbFjEH8zXnCyUkuQCfbNy/WGI+5JNlOgldPnsPgwtleIBsGcGyBU1LZhjQ9fbQcBdJLCaNKMUBehx+9M6ddFvqfKON3k0gNac3FxJdvLMKSXNQ0csQEUDgiG5ioj47/HfMuXbRACYxC0nfLiMPOJ+Ghva3djwj9UYOpoAuQYMCvyuGp06o8DuPVuUTAayWIU1gD6dH4CnjairCWQfvqR9mIxHJF2+JWknXed4KXGmRgagiudMVQFbgIcby5WInqgMX6czPDcv6bRuaMy6+ebhHvRIpGVAB/ejp3KdH7euZj3pEaIkaCRLyI8IMVPMHSoMJB50YN1MMmwWj/m2cTn3gYXipXYXScYoiDIDioc1MoMV6/iTap+zeieM+hxQsK9MDu+nn+4Ogb5JBuRBx/YZPRPYdlmF9NGEzVPnVwUcUHcL8jpzQueKgdPCQSkkzcEbgxly1VWqfx9hmbvyAV0DlJ9NmYYgO7n+hC73fKWVH8RGFXP3v7sxZ/JXkE6IEZ8J0Xe74o7Gn0Mqc1p/uLJcj+3ESOZ0EO3O4YuwmyXx8JXGqr6Y1C+Lu2gyajZ7W87sF8bqr2/x1wGOWcNYEeG/se67P30LqdIAa0WbxJCcZlwt3E/AeVknnRovRMTIVOp1yvkI81HeUl3xk5kUR+x5l2BWYGLDcc0UmBOlhxP7/UDOrbm1HkUeCugqrs193sL1rVoHLNlAAlaqWRnpJ22t4dqrj6+44/mdVhIf6f5kaZ3sOQTJQRxQ8o6WxgIpzIauRE5FxN5FtQ8OT5qWTzdwrwRzo4ZoYhOBiLRrl3HSxRLzQuYdCizTUtZJjzgmOCLf5m5M8SDND4Q4dy0fKairNromy7DIS0rNm+QQfVILfDswFjDOuiVzcldMtKRar1iaDJ+eAjE3Pk3P//n7bHFFjXwdJnUhJ/In1GsgluTQmi+q0ErShMZLqxren0UluIELy0FCgI9uDpyMZWu2oH5xzRyMr8tf5SiOK2y0kvj5PNiruRvB7zl8H50g03Bt1Z3A6US3qSnWIRNgBFqU+J41zEGTJh7c/jEg3CkWDgpcz4AoEL1sorVvwkPNjGVHmUQd+ZY7LcLeSnrjhENjM8u8G0F64ffCBohhTz/Argatxf4WvNUmULjUXXZ8MBE8D+nPFiRy0vyh5+wKFl5VZA4+7x8ykOBjIVbEtehU4VDzyAcyvz7FUTI+s1I6J4GP3Ny6C4FoaAeFmn9f1u1YVHAQgRGWBpZ/l3EHEDPndgj4N5oKeFR9SNyroxCANJKoobjquOaBjH2u3p3znPRLOJfJa8BXDZOIo4vHs17fDyoQGWucpGvBMtimtNZwXBZPLy7O7W4/AekQ5EwPLObL2LQsWy/F34BSsH40LrneGwB+Lby2VI92R2QRpmeLNkKKfQqarncCiep+JE649meojba6q1i2GxFGzRPgBSDiYjXup05Xph4Kj+czYBt/yhZg89JoWm+XC7naC4lB0kd6ayGlfKIuBJNVDVI8yT0a6e6gwmWBsNlZYiarPwmOyzkZ1L7WMFhpoetKA4auL3q332CDsp3/II4aJoeEO3S/3W8GqjGZ067egu3B7w5C+pvvQDnCVFMTQ0IqepcLxV/pWYKwZprtxh17c22PeLY2KVlya5mwMNFdLQHxzPN0imdh0YoDhRspH9Xeqaj4983mUHb1vxb0ObO/4UyfL60fe8UF8MY0rxgMyEL5CYhOBB3dxzRbdDoi7QpBYeqD8ehdCxJXkHLBoCQm+7Yc7Lo3RBpW+HIeShjEWoOBYs0yeS8xQEBdzNXJa2BAMk11ZpVRkdnbCgPPdLHTCvH1lgenPGbvB1DcQQ752WWs7q3lDawpg/vq81mMZF0q8NUgIctlxq3u97hw1gxSGD2BJdVJg9yvuN4Wv263kXMrl+KG/mFhPyL8Gf4zgOY1nQgOB3CEwDFIgVwasvUfIpLb30b6W6cv7/4pbwy+AJrJ6ZIR0gnNFwd+S8hSheZ8p3PJnsZqZBgHIufVZFeobC04y7RAGMPRVbiYuZ3fgdpzkA2t38ZPvJ6X579hjv2BScOReuBlfKtjG1RGZz2HjhFWPlgwaePoT6ulbEjQEpoEuAi1BGcEze2pARYROGwUBLCD9mGFWCH5mtTPhUxrMqbqA5XvIsunIitJsVF1MGC7m4hw/15f+vD8UzK2yd8NfEN5vkHSpuve/JIM+6Su94tN9MUlBn7t8r7kcP4A508b8CpyeOzZoD9uFALiuwftF6WxN45ExrYB2LZwtdkMro1wl26JjQztEsCrBzpmre/Ey85pESNpftTnkzzR9F4SNINEQBn7qA1HtqKQ0g6JZw3HHNFZcDAAhc5OMwhp0+hKgMwefT3A4ZgCwj6Ocy7gdo5gIlVXsxa4tyi/55/L5blDu1rsOEkoQ9TXxaMMVdyYnBY0TEmrnxIV8snzwUV/S3csv8l+a96rCw42m4En6L9q+i6dTZ8EkZjWqtzvNtec1/u7Z0Nn5uBaHuj5Xh1cV4y328lIj8fke5niI6bY8UOypLgk075oT33O3OkqbwGPipvrdi0OaFIWiHOT1mqlqtWphlXBezpbAKT5pM3SMDgrEU7SXgRwsgO7SJkpHK7RTN7IRN8SjykSBcDe7VTYP59KYKwmbm0wXILsrpLHB3w8ARebDdQXz908JC4rBwYuR7t0v0qtkqI5VeoKEbNf13RKwy/uZixgQKBqijyCqR+2zfwRV5kPwpbqMz6lQeCT1zgWu+ojouhXFja22sMPO5hHfr/rDMym0OQ1ERyTk5XZJL3Yx1lqn+zBHVuxfLIKkKArDrsv87Tw0sw9E5iBIyaveIgedB9deFH5kiHdRlvwwTRbI4FWLOZnAWk4BlwZRzDeec6zAlBCXR8sXmZ2ioImZd8o2laZwNbkH3lG9BxpHPdEuRhd7+DSgKdafvxlk7FMh3X7zjI5kFHSUzH+oZb/OyGTAcU2Cs5xwTc+M0xrMkJ8oj/I8hjcJ1VpEhWrRMSCY4LW2Mn+6AJz4FYxRpvtKlhnC3Et4a8bCmzhNqQvjQREwg+ZOa/1Umo6mkb/8qcdGQsOhsjO4zgJMIk+MQx0lrcKDG1Y1GljWwigJoxMNhHIYCw3DVhJ35rUNFSKpBO8okCmNUlc+ozO8luKVNoCZHTvQYfQT2lLwuF6iRNAnksB+7dUlIlDG94Q7iTT4YUlUNCmnv5Ow+8Ccct14n2V6q9KMVlmeoIITXIf+vir6jbLxCD6qfM1S3cRU4LxaI6B7xnzaDybJiVyut8OuJpH4IWI5EnrzHZE/HCzxdyhElL54vf92rb5OlrFgOmQLjks2dDhadnG+a6ZtZfQAuJMvV0d09kzINSOTGY03eC+y/y87FasyARcLRT2da9gaGJm9S37P1+cc7HaO0wdw4RVCGYdTwKouiV2SsY6UoynVyYMdDdB2Yy5FZ7E9juHMg+On4N1mZ1FlKO3CC0zFFrSo3RuvsHopOYxqNzz5cs29TDr11MKhzqmV2IcWGBxvUAcuRuFNMigo6SmndUA2+wks96XCrFZMTPrSbxwrdqNRP/OaHJPSlS5sIWaPFKmaS+j8+2D08Uflugac7c6UrxtGjIA9bDk4kYi1ZWtpK+XT7p24CzBHVCvXoYBCmk1cNJaW3J+NlXtb45fF1AzWJATTwMtBy+ngqKfpGK1AT729qCrM8bo49CbzCTxicufM6eBtIegymMkI9Nrfx6kagH8Ru1gSr5gpvY3U+9uEItJLDXs3a5jMED5TH3Os+PgUt4GWCSbTa/vJ/mAWkFLfe3O7I7y0MTBenUKZ3FiKhnKwgNAbh8Kqy9Gxc6lNu7EzrGcQW7kgq1GgaYaLRIFp5rPt3oRRUwPMYdCTRAPfuFZJvBPHygV9rW0ZwVJzbSuSmy6qbztQOuCXKgk5+dr+LIjgVY2zSwmf8HyxPVKmvuJCQMIaJVfy7WqTou9+p5eey9D/cTIe+RLhkAidNIKnEwEVznxunP6aifpRMxs9OIAHxjDAOXZUJG3laQkIQrEP33iMB3eSS8wnC2Vi92l5PVauWQDy74roSJqU2qUcM/IIsB79nvTSQpNjdkhGFWXWlL6KizOciB6GLsSOPXx8JeaYSBOTSYmimQh+0rvqRd9Squ6aUMxh0hj2abU511NAS2N/EYyk10UzqXz8tE5EV2DAcVqWnWENudXciF/U8pNuj6WbOSN/II5GqKAHm+xyIwfag78MeeTJC/XgagwscDxKZkAnjOYN/hSCq0hiOOWdYuywE22efcEpqpZieYbNGDJZfFF7q2a/kPp03C73KaENN6vGm1pa3u9wMfGbHjdu06HIIB4ouwwKXm7q2oE8qnH3zGtedly7iCNRyfoSdRkij8X/qzFefHFxch4mZHoSyM9aL2w2TEv8QY8B+lqUW46gGRRbPMqNAL5hNXi2AhTG/J0zot3cUfA4BuqLR9WAqlBqm0Pr6zuLrhdFZ+u+7JYX+0jFB+8KN4KAfFQR9nPgsdCOgklDP+g4LszA94ojmIag7hJqkUO4rEJRixDWNqCGKp6mZX0OtGrA3jI0BIYvhktNU3GkZH4kyJC8VZxP3DnUMYhc9GjGM4bpaq2+w9na01+UHdvdPKvt03bpu5v+XJ/XuyWL5O+4Op/AHPiLrRq3+Ft5Wpl5GEebIPYfOffK9EKhq2VCIAuQGhfgrLwAbPzLn74nDbSU4Tt8bs5CYF4Ac19mEM4UnARNgJTNqCs5Q/9ogUYAJi4mHSvy5jGudX39eNj3huYhsHZhVNNxajNXP9uDSNnEil3AzxiKK/Tu4/pDH1I9/v+96MyQYMKUN/rJnPfH1/hcZsi4gcqmeW750mtA8I99oWdbRiMxQ167p/Unx+C24EPvkIUumgZhfqMaVdsT/wcbxGNDaGz9mR9t5XpgZinu90WCC+t87Y+vOOsY029QeTd5DtoYvvJmsnCpUIzAGijADN1rIRcAjd2kcnrv1fQqVxq98rTtQ0kwDzAqHv0qdVoubG3rkM/r6YlbR8s1LTzzcnS/GEO+BD31hVBVfe2kxwgqfd019o6/I+TenGVcg0MbzCH1CBruJbO/s+IJD2tnURxWWMnkqtAxrNKdUd8OnHNKPja0n4RPECTIIGQvVk0kH+gdRXG1ETi58PSx8PIFHNOU/8K9EaI77ywhR+xzU7sn/sKrAnHjBnUDIgSJFWuIFy2qkmkdH8N+17DB9/8chgOxU5sSxtpXMYnJrVcTYSZ50UJDR6H0vtQZG98W3HNn6KAjYaSflG1cAwaPFQOTWtcZ8zKIdQoPA8mJqROo1pb14lSCkjAJCMOXGxxGdXbHDY1jnlDz7wcoq9Q+8P8AOIzJ2kg7PkQZmMhDal20TQdcV9rEUTtyQ0UUUj3UD+4AD3JGBL5+kvFYu88pvwG9RH2Yz7NeUoJfEylKtovSPGRlloPci4CW/GdbqOMUadiDPG4cdAml30Ak/48W+m7Ws1Zioi8tEPeiKCT67Y4P8yfhoad5x1tf2v7VVMNRdIr1mVcWK3SGuI2CNZWWPtfAxfJLrNan3EhZ6P0QtJfDorINDCX67GKAH9x6JwUXl3SsjUwyYQSlM5wfKUq/wI6iHwW/2pbAM7COFn2s78eRSm9OOy55kamKQ7rAKNgqFzCr2EYJB2/zeqHbeWGNpFF7O99ffF0ZDpqEdf3TAxphkXk1Lj7Nd+4B2LYAOTVDPwGxlBqRx8NLqJIcc7E6bRqF17ANeFKwBCtlH325jgb5aBQ81XWfwW1L0EPf07cxHu2JFSqgI4ugr3CDZiub3mpd4BLNf6eeg3k5/jC6hbNoQPHZUTKxQXEa2WnIqDSCcAGLxWOFHUjonvtGAG90/bQuFKlcy7ualNGm4sEV8t++DUdIxdI2olVd9b70bZmk4qmYLvfjphLrMydRlP3XOrrJW3St3FvC8cwuGRDPNXCpe3KJJg+atPkVXUk6LQgXMOVfQsBTJbvJEAOYIaj4rZuMKyRNkoGdaW5GiN0mGbDIKivGLXzzJevAQC5JIpYRjF5re4W6XqxIdkYtMUdAaqvadxoqj2Hq68nBLKaT3Zbj5w80UkjXYmQ4tTxgUEjFlO1zuMLh7+CTINsDZG9SG69pr+2lgO1E5E3yoz4rQxnwEq6tAILY+4rbO9O4ZBXAuOXL2figzVYqghQTYsjJrMQOCjMmtHhLAYDYwrH4FiWEZsMulthbwKUDRr1q074JNOvQ6Ekt172TlL+KtyOVn4vB/3UIB9ZDuPYwpmOG3T2y6h6ULuEOTOX0fC/ftpw8YDPBu78zuxScB28/t5YhT+i37U6012+43eZa1mFF88cnfFHU/10XuFbJnAzYV2Dq63wqdPg3PeuDbqfGuzvgbQ5gJCV6bmXMhYDEj6McP3knHSK8miL4Ro9wyW5xV8tGqjuejVWwORo5mnBpJZ/VqfzOqq5PBlmW5FF/pCTdPLG0XQPeYebvXAze/dwnBzC7H8uYpSxK9z3aS4Hm4YaFvmx39UdvIZetLfFD5TMe2QBuy6n2Mdjtja8QfFg87S5qOoRMsDobGmV1dJPmyMX+lOTXJuiPdG9zM+AJHIBxg+EHWVQl57pSO7i9WKpqu4r1oCaPYG5+VE2Ha8B/Pg5QfIYyC1+32fnncFR6bcXDjeK95dkgoUHoytmp7Lb5dG4spdUPiJn+N3mJ5qypByJ3Yr46VZEofh9/3kEccvObyqCIQvk5Yy0CzAVMew+F9gjVQqLVpBkXEv42M2RXYPqeNhT2rPNAPNmkHUXanFZvH21lZ1qElT5cloHjxu3KSasVz3dCoyI+ikstmOaefMVhOTWKBlQxcQK/V+cUzWSXVm25X+qBMrxoyXXZ8Ukt0SWFSsDE194v7nEozlcAKkx/AcLMjxqZFkGZF/ohM8vtcwcoOwVOFAH03w8a6zHF7pKMblz01Zg0CZ/eUYo8Xxu21zvfd01xX3+JXkn/2y+r3/CJDyj19VQJOBoyLR/osTXobK+ip+jciy8mcgbZ6ZMJJid2Vri5AfK+ClGLvKljxszTs8cwDLFHSq7RS3UK19N0b75y+KZc34B3JOCJi6m7KVNz7kni2O1JiI2nN06/OnOkFPCtVo+lHpvSgIA4m08jnqn0PLid510tR3n37sZFhbsGJdGN3cnIhSJ0z74nQcETYANxAC4NC+HGdGDj/hc/n3qKIpj7t83xrBAHSPZRgdQvKfXSWHTge2zraNMYriLPOAQ+82xBXkzaPukO857KrYU8qFZghQnaCMC9TcXu4Nj6PfYIhaCx8E1bfSFbRP6fG1jUcsjSXYghgUZrmjda8iwd0ddxJkPv6P1kLgiL8KxpFuZ3KTx4VtFo03NpOPy2gyEPL+npnzdEwo4+Kr4P9/qkmAxDFnkItgXQZDqgnyi9InlikDVvUdNJjYoMjsEb2YFFp2vxTQ9nBXScnUry6WLNAop16edJD84IA20b9t9pRao9CdMfMr0NDYArFUN3aPq10YfQ1ifXx9hykJf6xtUOEK7kmECargFD1f1Ri8t7SQqYKAYBP89uq+COxhDbYut2jqpSSmlYYl8tFaR3MvaSdczjA5YXrjrtBoAZFSZI8IVKMD0FBubIHOKehIr4dGVEGfi/JOpdC2rUmvtwaVtO5XpCnGpM965M0y/GDjuNvQFZYNsfzv7lJ6khloNBriEIK/G5bO3111dWm+meaqARC7xI6dZ2C+lj/iyWI1ze+pz02xGGEate3DQd+SCJcFhoHGpdKYd1x1vZsL6QkL3xkF8odQkCCNEpl8AnolviSo5y1/Z4cVvcaxNSRYBNnXro7nc4yqtOZkCr7hfCj7em2tHzl9oAPon5ukoQWRSAPWc6KklzTfmsk8u0lfDtnwhBZtkAA6TvS7f6/lNsI94hj3vvGN2DW+tndZnv2vlgDkX4GR4Ut/TsSwXnTivyvdf386DmrpzcGlGUQ30an4HZjzMNWoQzZG7Jp4b263WEe/PsLQ3Dw5if/niRLWarbPXCrk2/5+GGJCu7iazPFcD1Rt9d4yK+Ioh1IjSX0XEXaXvbyKiosvyunS+GOXVCdBdBBecyPEZIl/Kqf341QQgJSH/GYSMMf/23815MksXVmJZzm9LgZMYCkeZ1k/wz77mXo179Pzq10FY8SgA8DhHVSlZOr+0iI4eH+dNnE3kbHA+1vt+lgbcWStMeqEglf6/c9+NaZI/jHiPOvZjBJpOCY+wgBLXLTqQS25PZ3dL37V1e7+JK9L+a5oONHcmX2zZ4c8WbTFlZReMPTFwijzwtKYdbplKOzBgnTthIcmMmun4gNvKy6TOwkLt3ACqRAFlHAnGmpuLXGKT2jyv4/2EIP5+MTmTjc4s+b3YAyA9w1w/LWcOdfyA11ZzzgBK7NWatlXhy1MD49wos74kbwK9ANpLMA+4Irj7/fXk1rl7xQzrHyOltHUr+KngqsYjp+hahCoyXCm5SPc2ZZmoWKrqK3GKacp/8HnVwHZNVxH7w5bCGQBDX6Z9bJsLEhXaiTNMCLCNPwoNQUeeC5st/Oi7MKCjKUTkMn57sK9DpZK6sqXNrhfRbTKV881FnEhJ8ibOxHRf9wc5CWobq58a/F2fUSi8fWYGhKE/bqgAHs1WeAt23LM7VIdsbG6jYEMeqn8Ngxk343GHJw2ZLNuBcGWOHsWf09g2Wr/GCAX6ivDHQU+KNZu2chetFZ4cXxWHZRoxN7hxuynTOV/FzkgWlXsoJOtd0PzfdBP0ehZ1ZAofvzX7WDcmLCDfRVrndFBfQMCM/9Dd2et/EvhT78ixpCAuExwpOEgoQRu+uaIAHua31BEOln5qOaQJUhWQbuU8NR/SQsSx1i2W57CNq8767Q0SlfnDdAYzgq6OB/q5qjha0P+lL63E8Y9MVgVHIUlqrGnBHx5KdCWC1ynnt6eZrowI2Zvn9iT/iRuzy6SSLHZ7/zqbjh8h5ytM7SI8bKbEJNqbHcydKjSYLPHMdM1Cw3Mc6e4fsUGfRxKRGyDl8Nj9SBTnP3ioNyoPjtFSFfLfM7s8kPxN1YXn7z3KUzHKsd+60pCi6ZLmbIrT6paa+opGzlPNkG89FAWOBidXABIJJytrqWccjAJxCZW6rmAS11suAwOPpvGTY8WGegP627SnB+yLsBVU4Kml4AlV7r4fIoWtiV6AKJnIVQz+f/BC9TrNevw9yO+bsZCeAek/uvygvyVyYVsuczUdlU/egYkbgM5i0JBXAaGsnj2QuCGckuR7D7ob6mSXSHXNCkX/ucmqwlxdKB9e45cN1ypu2UCkHRLOyAFVhVqH4JYmbM+9DDSeKlWoKL3vjn+KS4mmBzSYW7M5vt9b0y3eyYLD4JopMLqVhaatFuBmVAbqFzvm0nYZdJgSqHc/kLInXcTc3pmzuFikolu22yISEUshms8OpYhpngGzPwkdE7TBYDsrnNhYcVeXvU8N9hP1rv5pT8Tph6NK38l+ZOGvqH9SZla3vJ/6lLXy1UxTF5NuNyuLYCQnqyrWINQ8QGvdZh35zVbKN/r08IjiYgL1agslN5V92Syv3LgyTPcBi1Kyg7lPM67uU/AGb5pEjcssgVeVJnk6z4ocD1Vb4C7zuDqKfVMbSKbHF0Mx8MGtAovK9EPqBs52eRtyTCzM3w5v1D+dZluFu2mmh5La99LhSTdx6Ta+oVMp0yDvb2gdOhVvqYkONkQ5AvEqY5sppaB0NuwLa4mlye+GvJ/pZCYPESoUROIZVOK6v6R5hustM6WRCjNK4ZbU8SMfekcz99EE8BdfTQ1m+zlIIZcINWh5EBgGocoFjZzKoOfibdvu9FYL4XU5/Nli9SMFWlQ3/QU741fx09OR4KG5M1R82D0dwXq5TkRvLej7K92q569DKr0VxDjCMdLpyWfz+gIO3K4xjCgeTq/9zDQYBcqboOd447mGhZBJrz73fcNdwXshTPE/ajqGJbGpVDNl+PxVSEYWH2Kbh1pVsD97qhHn60o5axXavJyBj9J/Wt5DmBee8Luquo+AK8H1XKFDne5b7YV/iP960CiU9ivfsEN1Pnnjdvyn0ZwaPy43+0LnbiRpg3H1bD8zSsAASUGytZK8GzyfXeP3GXLxCmb3vPrmKb1OY3S/92CIy0xW4yrLpheSsM4tAiSJu1jYM9u9dj/15sYsUTC+wp/dGTAWj/k5iFcuOSPX90SS4J+KyNcv2+dVXiXS+TqVd0D3/CMT8T6qBl+IA7ltfhIergRNKyzs7316yXqc35Di4GiX9EzjyC56KCyEodsW/htg9Np26eriPozQw61bIFWm/nuNNUgMjyzdVodanHUZi/MGbnagdeDsr/Gi1bVIo7Ky9GXbDJ0I0C8T7KBmbYIozm1r6Brl+hBaf7kBCplS02cCpq6yVcy0lsw6Wp/L9vVpaUx9ULcUx/zO6sb3e8kRWl9xqzsAid+SijL4aTi/Xzr5fYrrKZmCxPlASdFezOt+XKjEwp+1mid5UNGHNVt0Z13hIviIIv54wUdg3CiIy9KCoBJPg1sGarCFJ4FgaPu2nTrBvv16mKNUfFw5BDdl5FgbVGSom+CRiSXODivj+m+WO5ppgB392FFjwIwywAERVqwXUDjYhAymogZANDCPV93pkEBpIrQrrzDtUCcwkqK/2LdhO4mFXP6geOyGS/GiJsWmu2IzDQ7qbdJ22hYcp7PHBJqja4D6JF/BnsA1e2/27DGXPOJV8RUtVjCqFilDAKIQziKdokthp9ujqpvZAKh8IxJhlB01KpbWSj9fIULtC7WzTZrnyMFp1M74TFHL1yWw9hUJmRg0AVbT3aN//WFiB52zfN3tc4kAP6VeiIzhBNcM6bqJv/GZl0fX14q8T0WR3ZWVXXUF2izxQZdIGK4NsfaEFd0g5NVk8RwtVy6DQzby8ZWqc9kGfzymt83GPHW3aKfmCM7sIq+jv/t3rQdl7nibKCO8vPN707zZzssqcYm8PEQajlaC0Ca09eOgvK3hda8DeOHyVWN1ylHLeuONpbW1c5xXByKgJWiLkiS25JtRC207rCb7FAvWjYNuYcEGTff9mtlCNxtWnRLXBes+sRDpSdUi4G3tvx7XKrYT+n2zrfmiks6dq8nbI5DksX7dD+kig01R9XfxShkPLiHVNLHOOilvQxMH2jH36a4NlzOQXvFaY+zcah2ThI9N9KIgzHwwoRC1tKzVYk4/hRbeFLQWnwoSAudfVNQbPypuZ0s86pjUfcyuHM6wCg63AwlVvLWSmvdG3dH8kWM25afUJjbgzdVUNIH/piGGbsevAhiWB4YpIyl2EY0+7TFRwbGoaHDZcTa6ey9Udgu9YO6WIpe+KRqlpuSvtd1VvtqwWX8WkK2NLXtGOrzENUtoPv9C6ZmR9kSidlg+Ql1LP6AcceWKQ6tvBtN17SPvGQDfXhT4/Rsp2WTwI29dM1V96oZlv0YNfvF6pqEBlFliMd+jDcnLhvBkpBq3dST+M/+JKJxerdsHBFH6/JcrPmXF+wy5u2JBXstSI7CUV8cru8cBzgWlVIemqw+wTqEvtgSFvxEpJJWysmzFnLV6JlPrj+9GCPx3WUb++g7VS2JPUVotKxfQs5Dasnr+VhqKqEefsCvF9tSecVV8sCZWHSiLTtD64b87dNQFolLL/DXfmL1rAaGKKsb+obBIZg4lqJo+6fgxV2lB/uADwwMYxqWg9PksRegCbnY79p6bb4AHYo3AS6D+P+qOXm2c3DJ3HW98a6O4/MX25RWk4nskpvneRVJy7SMDPd6xFQ0OwJWf67SlZS+6PViX6PnNqs2sCU6KuLAE1leYDHT3CPD8e8o6XekUxlzxRwAGgtcsF83rgQEnMz4lrVKWXIQZma85jo97JIZ5OhE5Qw4usUE93gazy+xp2TZ7ozVi8MP6eHudEYqNHxd0iy1HAKfOzTHG9yqmMtbz3eroYYMWe1DPcLH81YeZzHE11ZGH9knbXCkLJtOu1q1rjLdtHZOYfaBp2r1quFtW0ijr2cGGYX5LPBi8FpLO8r6yt/70wEfKR/dGcCVURTytcLXnEtdOyMAwbkKax0Yc/LBPzks37An0C6jLABk1BmTUtMux1EvzVcNCRUQKloBjOU1AHOKBhf/Bb2mTeQwU1A/bQZ+uRS50EX5UgmGygJ0HMC40mR1ZVj5IVrW+RmS8Cr8ZFV7q7MQ4q2FBiOxU+HekMl7kYevtMgP1wJHs3kLdaomCLpXaW+TUjniuF4n1E86Aeh77a1seEc10bIZ2mXG6BP2jvShNnRCyMJZtQ42rCoyPpKOS0QsGnh34Ntvyf2fenWy/v44+SPe0Al5qiFJoG6i4EAMmFVloIpgbgcTuc36qh4OJ+cTHSM9EH5kqP4MW0AZ+JgAI3vgimz5P+Sueuv4O7hiugJbWXD1K8BZog50f280/qCFRTU29h5qoQFeHUSw0u130vgwSJqV0L4UBeYtlX0C3y1OOVqZbD0dGqIntG0n9hpUV+aQdPljfx8NcSVStHjhjy29nOh04GPcX1/iNmtWrve1IGGxB+byr6CUSjWFefPXWagEVyAJBf6xHBMKMA5kTdXeBOen6xeyf88p3ptPeXp1Aa+YcvdVny2TODFeEo7ve4e7HBYiNuN8PUptY75Ung2exF5mmaa6pkSSZN7TiuR6G3cf5XeqLTNPFbXTu8+qRjH8Yv+bG1rgpA0qqWwvGi8IW9Pmd7HcU5ohB9oKVOJXJGHn1JAm8ODVUd0A6iXi07sCCO7oxzdQ9VQyz5tIg3femR/UIU/V8qljo0AXzeKaOJxIjLJfBXBozpdrDLHbluBULZeJBHXp3M0YrxfKrzff5gk5o06zjGU4aLGX7Cp79JSdGC62LPcwMV6i52+xypj7KkvNM6xYDQNu2Ncg1Su4ujkMI7tQPiVifVjSsXGem+9+AedOAx+lsAul2EzalUQI17hQjT3zI1AEwxFQ7y/Ta3s+nhGiF2wHLeoFsmMiRpCva04x7i2K+1GL/dKPvm5EMLhhJH810eRcwqRbueYHyL81/IiS6sAajYz1/7ZKs7tJpeiecfx6SnTBOMyfbhdcSv8YUgzx1b3VETz7mgb5vDNav5VixL/DoxVTfP+0j/DOLXB4XqUzmMXjPavfaGOnGxN2+azhzciQm75hAAiO5LL4H5jzwBNZTOzjU/bfJPWMuL8UjBZaezfz7eYCnRUxtIavCKrJ4aZEJLAtSwnfap9oLI/i++CrrLKupsOoh0plBtawgza6E3wTlV24oJHGJgEHnMEArX3Ef1ItbPjmzr6hC6qO/+uD4t9tzlQeHhdqyOvl0C8X8QO1e+K3bk3DrukdiAbk7thUjPdLX9ueXO8Qv92JsOgsid2i62ZhMhn2XDnw27rlFIMHANea+yuOK+GlWgFn7Lx28lLjVynLfYuYPbZyog3Gn7+j8kiprZnyF11wD9xkRWvMUV50LYgwzLxrvDmtALQKtSx24CBzWtDfz9cPWmAYim996vuZdQ9ebGQYraENnmokYlJ909x3LLrT++EC5Xzoivj2lNbVMG/lCXRutOzNIH/EDyV5VDFxh5IoRQWkFaiofoDRGIYVmPJlQ33ib01Qe4l6Xv7ooV0bBmrLPaBdG2PHGlyo3GSS4Cl3uwvqi5pgDg5/cd9nsiRugIy89hZLNdHZkIpJzkKIAmSCCsp8Wdkf3GjgBskkDY/DfkNmct43sQr3f7dYPYmB702AJztpRO2ahiXjL+mqy3S1aIMlMoQcPvQlw3TGr57Z5lcOcqQZwWvSmfuQcFzt8LIpZfBZMYjUprkWBjoDIm0z3s+TdsNGzyLz2naW2XMzJKBVaO/bBlRsI1Bh4VPISvv9pErTHegCdE23u5GzHtzESFv0Ju9xcCanHCGK+pOjKBnvYfzzrgUK6XtqSzyM1ZfeAP1UtI58/thiPLfKM/XQZmWaV69T5wCjyjFPZea+rTqm+kpxbQOX8qxlasFD6eLY1aZ7+rXYQd9CrfHkLShkc8lvQaYLVIW9Y95n01WvrZU6JlywaXZ0JSrnWxoF2AY4VhTM30pfKFzg4Kw1IbJukixvhB2RuRQ8uDsNxV+obNR+8G9yk8iRl0eT0IE/4W9BQMEDHmFQoftfI7kKg/A+GA3249fntVm/U/tDfBXWXULPVnYoscCRRQ5lSIlwV2rg/rxcrkhzROHN7xna7A6P7crHuXb8OhWHc3iiTMW6r6L9NrtFzrPjV0oaDXc6VNotl6L6xip5th8cLdwSPU6KUXYOIIBRZn2IQRx4c0G0fnrSeDcda4lSQB+kGkXoHNMmpas0I2MmMZGxdbbnFRF4Mz4TCv8QSOcSnOukQ5GQyCJrD5i0U2i/iUOq4tR7pFfSHtjzxjb8mQfNg2yVEtH/7hyJEmUA6YFBkqpMS4HHp+Jrizfb7OoI1JlCpgJFPdx2Kn8jTyLaZ8o1dCVIh0WdBc9t63d+Bup++HFCjwJ17E+c3TgGFPFDXvwrrk7H7/AlQHSgbxuj8vp9nWClUq01Yz56CJ6f0fJ6lmImgK8EmJzrdundlxHz6brMDFrHJyv/0PJ9upf+5RR02SmFhrmNQPb0VBgLb6HoQaI1xqoomFVXCrc3z1GVKln0/JH/dGAQzw5fNNk8DOYLn0+sUiuI4fkdWTxAdcSwhbDO0adMhvA/RT87GliG9MVG0yrQCkrVkbV4DO2vH4PQlw9Zcpfe2AwF6ELvK2RFbmv00209gn3GyYrEwV4CBUq1pizLXpr4gZUhsOq6jKv5/beDR/lyXjZ8jB+F8tjR/pHrveMQhOx5NWfybB4xb2DvwtcubLb8C7uXGl04lDUwdWP8naXQPYrsk8opqi2vDgv/cQGOcNJYBUSg52KVUTYPdEmqG7GcQVbR8hCRRXiUTJTzXby1VwKsgtNFu1w95TiP6iX72I5qTBpBkPmUQbuj8658D+v7piXAh9N794mHdacXMgtHZrUJ/1Tb11K8pKC0K2tvrIVJDWy3xIJaanpBEbZnK75sN/u5h6kl2LCR1QfdOreS3AkxvsGn09VgPRlaGDxujQigI/389X0KP9D+OySoSYfO0hykbaCEC2iVI3vwjCyt6UueYVZPRPdCR+3OeFvobdn9tkegNj72wRQK7yVWTwuxuHBOq9mU846lg2mY+faZV/u4jsDEKN5Og7QaQj+LLnGMvDR6BEmAMZ9NsCBpdmqHZD4KhqGea4mjoM0KagpHQi4Lo+VUUSsgtSPZ/IZ1RhLh2VJvi+6LNXKyVmnWPWJ2HtCECk8uwp+D9LlyjyCbzePYR8n/mKfLwsmx9S8Pd1l9bqHDvuCW3TILmnSk+dmCoCz2B60yg6TOPikxbuR1VKjsVjkjQIagFLVK72uf0DUNpMY5cl8L9T5DfiDb5KF6ZjHa+b14Uer4o9EesoKxCjSNf9DMcbpoQwORhTPJM1qomzLSwvoahjQqYVvey9ZvUwgNome0BP590s1u2E/sqln2ffUhUDRXuk5GyBupm5XPweSbMJLKKLjhRQGnqOPmbIXP0FnW1rbWc1QK+hhQNP6kqVxxOPF5mKgP5OCtoF8AmIwdpL2KwTAhDr8IL/s5NFUeSvD4zcZ2bfqIPn5QAD73DHF2L0XXw/d611E1mIhSP6uDb9cIQ/QIAWLLlFTFLN55kYmC25p/LA13S13l0OQJLuTyjYGO1ua/pd6OP8Ai8ZSzIHmMSHfMtagGyTHW0BSf1NExOrsWc65QaYh3LLswSA2c1NysHbcRnvsGfEh+MjCoK1/vKMeDh1ivr9wVRjSRC1WFC3TIN6SbNFBu0ME01MOSk4nPUZez0pPazdG+tPVWoqIbax/f6/Wf/DEXRlMa4WOeXvTelYpbxKjl4/utsC//WuIJaqdvIX/IPQAcZe2nGtyuNes/2yyr7IAlMou0d+jlTlEcqvBgqQzhFcrMJRQTHw3oJzicFNxvx8wjRIelviSVD22ICMytpvh9kIZG23T0I++W1zq1nDse1F6WAxxbi9kWYdUnc2rAkmBRm9HmGfwS8jV0CIRWgshxTmzVh2sBjGjxfqHWty1V47m0OlCC3jZbtRHR80EkmDdE0aVjpyf/DuxS16lekqMFXHy6mUeVOvJh9e21Pf2kg3zxjh2WrjfrEyKk4OdSSOiau/j5G3bAhMRCU5Kg+v9LIeG7m0qQsgGwpTMe24yy6nFZAFRom+VrCO72uWX/e1VUkwxLpnoJ6Id5ubq1WdtrktLArEq0MDwqfF3+VaJjwTjHQuqUz39l5OWr2mT6jjq1ylgP6XVHqbEMtGDEUdcEZJ9nuox26ycLhYEyvgLhjbuyfINzFe9HNglJeR2sOKf5VhnF4qs0qsWmvGUSObAmd32/1eB2/EWkg6gjQ4bUipFS8FYHC0scNJTlptoQF2GkWy/Z9N0LK93pJkFfrxScyr9F9P2GZBq26BE2sNQkBi5295tLxIICZA5mk6VLWd7iezQW2jG0/7DUk2KGcc7HAyhYFBTbLuAuD7/+l6RKn/o71Qxb3FJ3R58ZFhoXq/YDoqQ9pN30czrR+QTctnYjoTdf1pF53w2cBr167aBXsPQmxGCfw6BnUOEhcGB0uBkI7WKB9SZZJJaYHJhwWXLq9LxDT9O7YnfHoJnhgMdGN0R2KVaMXAtlMLrDo+MzVi70wHK/n05quE3MCRUhj2GC1ezxJbiv4XXlxelfMm7ULP+GvmgLb0f4OLe03nEXPvOxm+Hth/yJbQqRSGE+cav0n5+vqJjP3vzTqMMH88u3Crsl4PLpb2apR7C31A+V9utXg6DU2ZTSwTmgoDE5rdwtJXgOa1v+TluQK5p08/DSeByicNvV9hLKYOeznIR5S8Wz1RssiZVvEWeh6dmoWlsTzoosVJmzJ2VyeuSH3SZEPupw7eqbBJW1qHsYdNy3xIhPVLAe9gAYSM37Xm7CrynCBNBlh9XdF3ejmkRyAtDJvNj1E31y6zsR8bmjRtlWHrtTP+9G4GB4hXp8gOcNX7MRjYn1EP0AmVR+tAyBTp0VM123BqDkKDMeNehKn1IFzqXBo+poYU0lU1FAKaGJEHXPrApMGxkYV21s1A2O+kh7d9M2W2j0impkPxTM7i7mEkZg5gZFAkEqWPCEDY0lxcmkCCXlqWu9kdYJ37Lu7LL9i2vjTOolK5SdHHATIAGQRSfxdH4qcBozRLn6NGFQz8ZHdGuG2HaHOo65UPhlcxbVlYh+uiSz0ECRPtHiGklJFbW/UJfQGcz6ANBot28umEQ6zUqFHhSnseIqPbcsOpjz1UJ8ZI29J+WabHx8fWpFDbm5ufAycKWZuFn/ScDYZjWTytOuC0vQ45lyf0sQLcxDxnCYsDCJuDil+DQs8tgDd1RdBTAzDI2ajrM98d++WFflstiuxVB3dJlwvUW+HGQDSaamUAafbFb4Ql1sN4OJZSjKR9WCeUbu+sOJyp94RxuDeFdY2ZHLZmR8O3CyNqmrxg7C9Hmr/kRUd4jS2p2F5FnfMCH3a4ZQHx46izkeWSDa0NSWo4S27vRujP6XpIfqdUSSzSeq7n5qOnTAt+7q/plSSujG7iCncB56zVuqGqIdVhWblr70GXzZy2Mc/OBtGAF3xcZF1E2EFRkDRlR3QwTr05l4LBmCnZPGiMSmvSzoMYg9jSDtDXcXpcwkYbbgY2Uh2Sivs2rUBhnMSJuo5UpEL5Bd/phTtJTK7lDyOR1WKEHKnvgzLNL5NYcf2Sq2PX+15xtvfViU89eoquSUXPms95UoX+JQ6lotrFpPwIZnD6MS4G0aIx6fZ9pG0ByDt6KZrGrHsJQTDSg912nNWQbdLX0vEgY0jNSg7+BcC/WnithvMnAItkGtRR8drxhdC+YajaCbLY08om2J4aepxp/Bjbzj+QzhT9K5Z+/Aq2eUPLwF/mpDsXK2mx+9lMP90zoUhf7Hc0xtt/+ZkU8dDtsH43w07P/kp1ifyaBBUkzPUc/R1FTfd4zAKf//4PvutI5M1S/U0m5P1H/+sO14yUD7vUemP/bj0c/m9G4kDbfP2TW6y4dHvsyMf2FMQNXKXxwN3wrVETSFlrwXLYYi/R+fsfvvnsLdxYNqSJQ3Jp/NeWCSdPamgfo811qwEPvo6lZQ0ktVwwp9gDLQvIgVMbfvKG/S4OGPuskxnymIHj2JIEdio6pSFDLoHoNk5U5YoD66+ry8eHG8CGuc3vJKEgryizcCbDCmjO2m3OP5ghr90naWDLOCuIa4q0li0/GajfRVjdwpVI8PQ1BiI45r+Zre67sK4JwvNYiAwg0ViDEaFmAndOMOhlAx67nPUrCLMwBhLxtqgUSUivqiM1l++SiU1DVG7jcg280A7J99WlNX93tYFkKYhOmDwULlQwwtui4vtG7WgFRPUvmonI6OICxOwwdZU50Dq9/yKEyNQt2WwIBtE3Une+AULQ+SGvZtkLxzZDjzlA1Fy52/+CggGA3U+slhPG7EQZMcWyOY+kFLgDT8P1pYkvUP79wFbSI9uZKUeu7RhXOW7IOlfdquixzeeV4J1vASCnfzRlN5fd8pXn/S8m+0tjedjvak/WXOEhnpCUli1Kr2sob7C6zxP+YMOHJBpPgB94BWrWFpYcgtvND3mZ7uLhgOwgLB9kvLkncyewcUWgJw0IXaEEWAHlE14aKpoP2NSSgT4hSuIRGJerzDK+CcZC8st+7DhNbq6OoIfSuh/KnVwBHk38lPLyhT2Hx3XDHsco5BNX7Q2EazkTTeHf2F6WWZvpNRfT0sDo3yXFnYAQgOZHbwMmCDvJga9LmKKcSwF4+TaqAH1mIR+8gu46TA3/QotpLU09fCibKA6SOALr8Bruu0fsOCZUtxiw1BOkKkJUZPAdoTmrQkHNHPwMezcrA4dLmJiJvf2cO+lO9WBXLTjfNGd2n2kg0r0y47rrx0e2/2s7MOJ3C+sSqg1Pl2k9NgV9LNQSSJM9wnuLfsrdXCIDmPc2ZCGCPRNwyd+bcuFHTFd30o16U/T9MIBOXNs371atZbqDIw+W1mHHyeuhJOMkNpzY5BhwPqLgNmioZqxjby3HsuSgvs+mqbiLBrr1RXuNZG39tcxYZ+SxusfKxfRmKx71euaAcJuMh2cQc6zWevKuG31GLDszTVGOdStWgEtqeuXivGYFZWnjIU3SfZ2FzJM/rWCct6gkFg8DIwgBD/QoAKcbkmcr6m1wXtgWW0096CnrPkSq6kvlGWgA0CbTbWDX4C96MF2VYic8JeeQGjSZGkAR+hz0CanYQksFjCd7DQYbMSVlW7pmzXptv8R3PJ5cR1UC8qFavEd/eSZTWMQKgMLeEB6JEO/jRRypLe9wyjAFrHDHzuzyQRbUnqIHa5f/oAgDxinC9nuNgsGsJl0CxzgvUawvn0W2DJHcMg48V4DRbha7DLLVbb+VrM1Aud5obrC5LgF6UjvtFuNS6GSq10vUJMB1qyiwOcKRma38+uWGM1qdjgTHYh7O+ZNnE2oEzrGHlAjK6xY+e7+4iX8FMpP4Ss2kO09zqK8KUZgCoKtPRAeX0FgH7qXUAcmjCK8enHfW8WZyF7gizmA4s5tUTleFtcOdyOMbGmQha4WF7cjUztaZtekIesCLy1gZ7JinMrSThW2kcEC5RpEtMAwkdflPykYOa25JyRdQV7UXVnO2kwbJAeeKqUj1gVp08Lh2j1FOZQ5jp+mcKzwJamqvbLzNPA5QU1lpnxIS2p+4F8z4HsYVJwA/+QNHKI5gtYOqlww++Okfnd8qu2d2Su3A0G4xlXads6COyCkJOOLMPRrVynQP0tKzNu1F88sS8APNOqrQcdEOR3VchHXnqUfMAmEScWga83V0FnkuCGSMFx7zKPctqJ1d3vwERXpYdSkFypTrSQKd93uB2Idf3tIaQwFWeZMJO0Ldva2uxZNDRb4wwhnq7dxBu0zZ9kf/4HLb+bh/ToEzJlB8wbdrBl/g7T2IsnpSiHnvpsWs7SdSkszFiMBo50RXRnVFBZsmIBluTiF/MnQHRcR4Tbza3ojTF/vDA+IGQaORUcdJbVrAxLzbuDGBOoBFrwmHlws2R+5IqjC7VW7fp9/tCI/1P4fZ1wXEPhSBIU6i23Ifi03GU8tcSrrlFedJTRcfW9N7/9Va8i3LOYBmfO9lxwuw3WTkVIYtmHczwEy28CEkcQYDaypgUyC8l90GyvBK3H18TsM18EyH2DqFxf/Rv64bsc0qZRbmgENjJe0lpC4ZbHcgmGYMsvb2dYOIBzkAwv0NaPbo85FjXIFxUWY1rQ0++zcrRYmoYN9mfCL0dqi6+IWpOzsTvQUN3/5k/sfS0T21nTCh0/h5+M3QLky70lQi7VAK8pXa46tt/dHi6Pj7yGprYS74aBgsv/uJ29GMfjKW8zA1P+yXZaD1zKCHgHPBepvHiRKnDz+n1mw2dVR0WwYkdkVjewh5lPQbvz7v9AOBAiYxDJ9CfIS7UOjMqRTJowPlL1S78+5Ge4wWuDOjy7hSgLTVtezQ5gn9rq97mxduV+Q+KoI7g0L5vxwrIMOSmA0JU07SlBYCub2/8lNQcvkCzEz1bbJXMQ/Ject5On9l1+ccrSL3C7rgvh3t7QCswalkYohjH9I/Male0hBHuxhykFM1VE7LwvqcGFlUuHo6mggN1Z28KOJofTQVwtplq0HPecpxEBdcCZvcCtwZESCtPCV8+0+n2A+kTkTzrG7Ye/ixYBPcls7oW5TeJhTLA6JceyCo+UfYRJzY1fyBUZcJ0V7WPOkx3x0aO1YNgPzwBUd1zyNqS2ALSR3h05aYQQer8hKhX9yDjSdgTy4hbaTJf2dFarNfXgCtZrZ8+uRnb446wkpL68gZnxGIksk1O3mwO8DGN85hnf1y3tgyhviN6NPquOWiA5EhK6KpadaLjGQOqhlQrmkoN6vpv2iuQTxhHbioXtyEatOzv6h4XwkTxpHWACNB81fSqdaxUGcb6FRfvy4OTRPMbBWPAa0Qswu8gLPwyUxVNl/EB4ve306rUJSKK+3WD8du09TMEW/B/+QKJq4G0xPXGHVQLaz1FRRMZmTJJuT6ncpzR4YyQR14GovTQaCBhxnfNuxCiIAWdFM3CGgORIrN62UAsP+PBeWhJs4PMZhGzFbuzQzTK7yjFbN2iVemu//mxyTGh2wUh9fG9lh/rwBVzVmOSaTSaQF9Xir3TgIKPvuqvLgG+vHOI1u1kE71auJpDRzktAX8sEoytvsm+O70bVYM1AhbKD1HwqAV8aJ7L+8aFL6npUrqM2IPMxy3C4yCE0XCV6PcTlzG7D/IWQ+cqgJ5fs3Ejw6e6Y5nbM8OnVMSFCbcPs0bOgv7L7jq9tEeY2vWvMi0MDo3OHC06s2tzNelo4ThTo3LxUyTnI/LMV8FQC796Wk0JOFBR6xG3oL0/r4WnwqsU6mKfnNqBFHt7E+ayvAcEOuOVgzW7R5xc/lPg4ibwBVsQNKcouO5usjiIZ0rqkt7B4qr7HTtUzczz6SgoHVLrMa1oM7J9zTpxtycNLfLnfHPebvYFZCnrtqAP7ebmRebecA3WfDCbgCrysqjWKfqcNMLAqRi5hu2rt7UxgjuxbE8+pJHszfKEq3/ExEf5g6gvLajOk1x2khigjHOCkYHu/EYHm/qErhGQ6PDwj22+Q/+YwG3UWaNwP2Oktqy8J+bi4dycMywAQtvxWi2iopTdHCqKrJ3sqxbleW9JCtnPIidPA8V57W1ChF+6zCG+iuYMdPnV045YJ1vn+VPQMl3qTmWRcfXnXXUdCD+U6GU0GO11yhXQbfJF5qzMKyAAiUaBVB2DR67dqM082rm9pWzFWQhWsN9+c9wQLhoL4lj0rwsTkCKxs6XFZw8s/WTiYJwkqdHHO6cOxZkGpsfd8w/2nLe//oZ0XgpBe++C7SCxOzwm6j/7YZYSjxlb3SZZk2tclCLQIxjWTA8byFqSNoemHkhkkjlC1jCesHuTBumMON5gkUuSxwYhVW/KThopweW8smOT9gCjWD55de8nzzBv3e496xwrItFL+YYnpsL67UwofRVdQTB6EbpHRLPeAdQsHGLvka6lq5DGFCePN9RJfLfeX5OXjpgC67kYFNS9FgQ6YvI/K6jM2C0QAWnLgpkGiv9m9IhPX++c/76IPgU1zsWb2ozzlz/SdOMBb6A7n2xbTHqQgQlpIKgLVnvEt5XJpP0Sec0xmb39yx4lBwe49ShJTHz4UjKfYARYb3ooFdmN+l4/oecwk+WxoL3sObiYvXpUq0epd2s3m51qEuaFbeOwoqeKqQiQIewLQe70G5UEgQWFx/jk36YRH3JpgPR2ytUDPZmitLA3IBzqWqNXsP0XPaz/Q+Xc80cXD1HS3LFI6Z3f+ewmIXLtURbIw5fqRgpJgVcWoPAeQTz6FQI9D/cvlDb7Xc0x7Kkt94jV/VfFJDgp8Kg2kyp0ow9rv0EkQSyjynnkmjScEu1mecuDkayXelUZODFxAumSAnNa1/GidgUu1oX1cVoPAlRW8YVQXbGPvtlmeTJBaCTgmIO9sXtXOWcZVUXeLfY/pnhg2P4Un48nUqbx/fkyFFPbaQWK69Q9JfDDJ9r8ZA2mBH3wr0txGZOcTqafuL2ZRJuj4UvRO6j+P6zZ7ah0jkUTcVZCF+JZKDhEToXd0ufLzKHqoKafEjoETsO+Nyc64IEL22uNTSiwtuO2FaShgjxXxixEn8ExfX5Miduxb+iVYwYgCUHk0A844aiQnSsw7m8EB6l4Srr5wW++S+haISFDJToNEWjU+2w24x18rfRA4Pnbgu5WS8sThE5Kt+hK6inQ0w/Msm6oAHdmFgAgbTvDfyEBvI9nhSb+OooVOfS5H2+Q0GeUbW87acyUgS/lCOFyOZ48n0BdEyyrie/NFB+DhpaD7/TbQphw+Rvq3SvcR5q6YDiieDlJwGixlEk9T8gNvltvDe6dwoQDlOF4cAbTPCZ1aoILjLTF68SrpXeDuShYf791wgvK5zAJzCVPlQnaxuE5XhBJzQCFOuOgGEpXitc4tqE8xY0HV6EbnxQY54Trf/wqF/4i/qgVQRzZrJGz0cdS6m5GLqZoYb1RUGw86ou1Vmjm2H4Poca1Sk3lFruBHyLPlG7kTVJ/ITdSwFVU2CAnKqdj20pt3azC8ZhkhTY8o5v744UT63f+n3ixEhSZvg/bRtNQER+rpgR19iySK3amQLME9b7seSg4TFQPRlgeEHaH5nBFzpKHMpB1h/25R8nE//GY2Np+sAW7WBWMOPDldAQp3K7ER20ajXYU84RY05Ce89OMibwE8qTDQu11A6d8/gqpx2zlBU7tZIzGRsNE/54YVQLZzhxxLMvsEDUL4C42gVjvwdDnPlbCzmccZRUz0CGtdno9RUoRrrKmRrkfIp5kZKD459sbWxhh0zJz8ahvOQpPeT5IPDYpMK7+n2IuYRdJ/DwQA6/lKEvNOMVm4PgXlGgINWn3HS96CmC2IvM/jyHnDjeDbvDVlg7WUt+kolxVIJxIjz/8okioCKCfiYfbsBFhT+oJxlGBCoxrtHx2VSDaITW6zQhFLffv2ndzatTpUr7hh7WUdw4uDRGmlpTl+QvWzZrrauUM8GT84CeI9VolbbdBZEBHeFWBaeQnHWCt628vYTf7qZOJkj0i5w1f1oQQfdgPb9bJ2HH+Z7rwCTSO/9G6uABG15eKpp0Jwod/GN+Dh2KQds1Bj+h4YYyRlVey6x5ahMZrbEUH04qfjVtR9GnmxFFR6dVVuI0feHfTyyEEyUAe9CtceZuzKwykhdFhtK8GJ3AnN52qhgWIacmKHcjCUfbjsDpKHlObbLy/Lw/+JdTvLt+Uqn3YKkTUt9u38SBLaSmz7DfsyYQ8STvlOasBUlA3wTQb/FUKdUQavBZOxP/ifXjdBubAp5oEHv2w6YxEk4MHySqRM22ZIQ2ciYKkfU8uMllN6a2Ja7Ewf+4iktD0n5Ac/L8rLFfkSLM14bnlX19pb9/U0iAwI6+y5/8LERTWF2wo9b6xg1JJuXa1CoBkKx5CR8KmjWsRAgdgo4ppylER52RrK8yrNqH1hMcSUdgHkqx3Z+6s7RUTFYdKmX0F6w9GqcdVLyLKKpWCoVLsdZMqS07BBnFLiMV6oyOdU40/MQVHmuVPDtUo+VA2ljZLv97Cb5uu3K4YulxaX+0mk5cK0bt/HJN31iABFX9oXejBI456/DpmFp/rJffKhlx+RI2aEojhAISjDuEXxmmYOXZwmU6b+LBjNAINQNGKq218Uj86BEt6tj3rxqJMtgwwfKTiDDPQZhv9ikq1z+Kdu5sDDhm/BukDQe9Yx4PWx97SKEEwnb+uNs0zapKsVp0zdiiPg1ObKEpzoKgbqpb6BSS4jlxYCuV7PoDH7IFz0MiMHG7sAw8ks6mHcvVrGaAnhEmiPgS6OkVlHAdmoRe0Wk1h9jxV7/7LQxyR3Qi6G5cVJzf79KMcKJD7vepp0YBGtREYbvnEmAGq5MNCfSQj6AzCHZarPKZXLOUasawXSk7GOYKk9rgtvU197KdcuFVpyf5SpRpP/RiKmp8HcdIPI3IMQixuxXYaB4cG2CCkUoDm2wlhp5D7YNdYUPaD/lUa+6y+X4TzhwMBz9f4OxUueHxz+/nP8RzKUTbnCZSN3PbwAE1RMtp8SBNNCMXVBeWStL4QnGiB7kTxOYtQsUfHV8tQ8dBZfXWdcLDy6OwEBQ1CAUxBeJO7iRyiz7/svYwgvJQBZTK4iY8a2V8yrCsGW9eGo1FJosk2n84+JzSC4r026etcMzQ+PTibvCE55je7hW/vCxVmMsg810G2UC+zPVsmlbO9CACKKR4r2WrOtoVJE1MhJHXWpE/tdF+lnSs4QcSJRTntTLOk5nqTYCidFOvA0EnT5UINTl+SMQ7eTHwQawRviXknHrqjEkh2xFVkFo3iUhRGlWBQ7sKwCcsGAra61W7N3Oi96rbmb10WiXlKacBTqcd4cgZ27/e+rcBQbtqiuV7GFgv3pJMArODtrE9XEgtrUosOt4em6/HEDDurt6ZJI7FCIKIektakZs90oU6+lJSx9BttGlLbGLjWtJyYLX++6BRmhlEm8WOrOMef1X5Sd3wQfKYleqQUbdLotKqGlShwVASGNL/N3xVEcSMnDr/XnV3l8WpePVtL/S5zKw0xzqYCwPL61QqcovMmKi0wAqX0wNjZ7kFIhP9EJ4tXNHH+oed5RsHoGg77TkdHiGTqazRQ9PJfBYL390y4KdcXl1lryDRkilxuaIKr7SMopoVfj3Z0ooE6n6vC8EwDfQw20j2Gq7G1SQqrB6w0dqCKkYdF4fEtghbTbDeibCCEX4hwM1moeUN3ZVa5SQ6rk7OirTm+Yib0Xx+YgOxe1KZdYn4LC7eBOCb4/LALQ2/QCQmhKR9O7AADnfCJNB9GEm3FCX3biwwX9nfRpl3qHGIUQ1NNcUqgn0VmkLmJ0JmffeuYxyCQuAj7ZOo7rlt4vHZaSKyI4RX+0ltR4p6ap3gCLxd7688Vzzh7z+tqoQKsn5I5U918q8ABWtFPTFD+q2891UyXaJkm0+DObE2dSiNp7vODudvqelj5iAtKvY0gK+AcmVL7PGCpJNXe5Tfi9pl0/+k8CJh/ZedjFGBmBJ2moF0hMuTWtTLAX3VwHk2BumSb2+uiIouMk7wKe7xgbod8sMP6hHQgWjdb2iYNwKEGd5N2aS4vJpiYCN/F+1yf1HLTSuOrzRj0fXNCe5vNyUhQbCSr1JQeP4YcGSOozpl4jZxbasD3qjONmGRV3vbQWm4o7jVrXby/Lf71FS9mP94WOx6q6FF3iLYUtubqv6XWN29z/oTrZ+W1GON5Zi0EdlZauhpF2Mo20n4GSgikZsGQY2+KOAE22Om2C1suibimwzifUI7uG5rwt3IqU9eHEGVTEzbMvJUEVRffbfVx35316ScKdIE1dNpniNuO1gBp9xLt0YxBy778pDV3RYfgS2RK1zkyn+iszJIz8Q0vWR59rnakYq6YU6v9AtNXdnXNH88uuuvdJ+tV5h8BL81++koi+8FftdShSrE9kmzM1nkA0/gRvKXTQXU1mcEXSTlNeZ5nZqOTneF4QzIeED+UY34yKRxylUv+SPv98eeYn/bclnAp4hcY4jTc2N5yIZQy52v1854C4QR7llxMcBTIvy25QBQbSpPRUM8lqWmTYymR2oWsftN9QlsAbZPac/4lKsxOsOg/FsHPY8ThVbqWwnvQq93hHO+zclU+zRpZm52S+FTq8k/jb90VUdx9PP+8Fy8fohRiE1JyJhnH/kWteySiAJGeg/rO/NHu7O4S166sk6X5B16muvDNvr7+FefAVPbshIdyl5uOzjp4Y9DMthukwTqLHWXOY+ks35+02JmCYpu0pSHPnZzXWTvb7aj8LQzbSl1By1P0VObqFEsqWMKVC7wBiWTqMaT1+0lvJd34rpTG1banwDOrfbYE3gekOlPr0I079418IBSgoEvDtHG3Yt9+1LszDnLoyzY0eNWdpws99+IoSZFiszLMYrj02mA+/Z4lC75dQZWk7IqByV2mE4S9g62HgLyqmUzxNhBc9u3mzHNgiQ1TSo5KVXs6pSEB8NJ2pk/E5HQFYyy/3xTk6gwlepjHXaZmrRjP6iokj02RE/HqSR3hMPTJoAtoXUUw1poU959bdoI8vqjrcCXMtkvdJac5yPAnpc2GA/9WcETMZ12AqjUqVPVh2+fTt2giFk2IvGYnP+EhVApNxIJbRpPYqx0ruizXpnrBFZEubMREzwuv2KXDQpwdjDrI6bGBxM/QiNzOP8AnDa1+aAIhvrkcKObK95ppjil8YiplVxN4AaJ/T8+qYVEVx/j2OXfLnKXx50BpSPRBHFyV++uI2egAYM0qhBBbgsPX8feXbJOlRrAfzf63J68HxgzSAJVPgGPCCObywR/fyGaUdGc1qfpptBQDjUN1ZWFJ6y4fsE83TeEcZRHAnKJutr/92T7yZgTr8JdM/jKQ3u+S9Nl+4PQDYUnBrCHG/48K98IUUke4fbuJeI9+Tdu04dFAdCUopj033NpxNQNoIi2VM4U/PoccsOiWS4hnKim89UrDSBgjubUDkIteBJtR//p19agRyZUakWQCToBdyycCQ4IPiP9Ri6a7SI+ryYswj2rLLUOiLJWkSL2/KAhGwx8eZoEbgYLa1i7CIgYhDP9Le3j/HjBzZ/TKJQFIAm/OwAdUxMF9u/ovQ43gFIlR+C22tcBIhX3TT2fkl0NFyFlpA/zoTThp7CK1HH0DBUE46aQfJrLboD6gvm1Il5qVSy2FPohxfTy03n9OizCbAN2r9ZKC1g7WaXw61Vs7VogcJm5Hq3LFvvMjeMYieMXG4gSdH2aFe9GM5AnL7K2VDHcm+CA9wo7E3PKUR1oqx/5KerBRt69qu34fm/Wahfq5ePKZykCciMZ7JvJAGIQ300COoxKpNehaYaNq9LbpTtD3S8YazQtqclZ6hugHbkJREY9s0shotg0tdqKgtVgeJLLMp962QguJfxxdsXdd65OBC+pFssXZ7KoOJAGZkSGN3Jd85VjdBgzGWrX59tcJTu5OBTQ/LmX5nY1BnkGvlxZws9eybWKhtLh/zRzjImWqfSmcF+/2DqwjeiIlDx8gsJ3jEeMKaC2v6FTOF0fp5Atppj5xjEqdAyEmcgaewF2P0xoHqWiTQ6X3DZdVAC5f1UaLQFSWhrk/r34uXTVZUlzPjczqYxZpMACcJNBEueZ+IzvVYRG5g+TipNBiMYfUY/iBZQiUkd11jszF2iua4wg/UehiinmRObyNsRRGwfNKRdP1/WbTxQkkdI5HthlBsbmT8xrD//JP6y4xiLPJbCG4iN2KHxCdspTvt5jZ5FZuXtCQI3k0NiTM/zYsmM+iEzU7oACIPxHYdnO63jS87Zl1o1XtXfgB25VcKZ44a4dQEXA9MtJ3zTI7WDjzEeta6gE8pPZKsXVFfE3zFW71U4XeKr2kPIjt1MCb/ihi3C4bR6GnY8Q402MgxakifONYBJ2Gc+Gma9fvLzMOyoP5rvkjUnJ79lrStzTkGl2Ad5We0CEdCYDyXmIau5k11l6K9DFwS3J+b/EiuClVKkp7ROL9L8AnWr/Ahwf5BNcNVglzy+x5VYTkCWAmhFXxTu4/2aLoODUlVRid3+zz+mD0TB5VaJbqGqZRrBHd+IzVWboQ+qBU7gHbHis9K3Z2bQPNS428voREcEkHdtLrox0qEH/cYgbtKgMIW6hGp3UxP0iIV4ApFWDSB/4Yzk6pW2Tcj0Lu3sQpCBd+X18PZLMSpHONpclbZH3cacRiH6yaAcdUffSs2wL66Igf974doi5U5dyWo8avmUJtMVrelijsyeZOIE+7voEN/jz0vYeqeOBG17aqjqIRK4akfHl//FAw3oSeOnCUbFQALllOoGvGS8YO59/c5N6C3Km2HvrWBefCZIF3BWikvWG8Ud30dVQAXLefWs4JDueKhXSoIdvAOiZJXwYtIMNPucMF+ib2Tpmxx4JjcTPwmYM56AIedocVIn6voMAEduSQI8Xltv/VCGoQwztXrcbPR7Ld1QCJcHOYWyTHezT5W85oF9mcCErtCaDPrzWAFewMDtWuj3gr5xIugLZ8B2ScOC0HkP7rVPhi0WFHB4sjj9bnRHkKHeyNkOinbYdyetbTtq8lW4KxIY7ycxkBtJgJ9eAP7JfX3CJ+TmRWqZ+3PHZBBJklR45uozQomTHzh0dI4UvsqMryrUNxNanZ9BZwB1EnXFSQLx0NRffKeYrI5wzo00KDSsBzJZ+gSc3nXGniukr2fjfENRNBMqUtcn/Yiabc10WgyBoZVgYA6Kk1O1C6M4H7/PJB9ApqL6E9mC+Jiz6mpu1FsHlIPqxLFEb/dLogzoNHOETSWxBg+R840uvOQEXKPF95i5JrU9LKV7DDiMe6G8JbMOfpRw44kt9Bf1ueOumgmx7CiewcPfanQ8r6XbUOUunY51EuiBFE3V1hwYs+jNfFk0aIgpsdOcxnnMlRGW70+0XPjPBqoYQk0mXdooMebOxTo32tySIcUQfNG6SjkJBcluiCEi+m7nABQJ/Z6ONByvQ3WCIzZ0KcbZS8bvoqLt0Ycela3YaDrv1WEfwKPqPgcf6Vys+C7Zm4K51zOXckXqwg4NqtAwVniFbGO0Xwn4tzhHg1Jn5ClsoWNS+4d9d5aO9mSceyVqwGgV+pomehynSC22vBfJ977g1+SWleBuZgK9kfnyVaoUmn52mzodXR11EN67rPPCnJzpYFEtlxGGT86GKEV/+Yf0EwP0RbiNhZoqiteMp7MXCZTj4gqqfArS8ksWumtatPeXnvz9vHlIIvi/ZmhCEedQvMHcsJnh4mlclas89ec9Yuf9kVea0XXsEzXe1Ve6bGF1RKngvuWOtZXhc/NQF52sOslfUhuP5IkKiGklWZaKq5vpf16m13vVcYBZGTPLru50dfjUjGXy69ue57Y9abKTxtXHOX1a440GcugirlglMA5bmAunClzV5u+hQn8rF6F3isAbUNvJbC4WPkQ4XcGb5TM0veL6DNGjx7t6cMShunnTlgLCPZ1ix77H409rhoC9Om14CREa3HKzPmeGcOf6OfUSDr9mYc7n7Lg8XroTvv0U4yxHDKxoeMEgSqQCca2dm3DpQANht6STOnFDQ1fEJ1KhuDYhwWoAmkS6mimA0dM3GG9cfeEcyrO7N/76IoHpVXxTv7gydB8FKm1kP2uAodLe7M0t+VKMvkumV/7dPN38IPyUGSNYMjh0yFmEvsYd3If42SWlN9r7tL6FMc2vA/VaMbgU9keJT+33SeIslhlbubIlOv+CZJ5hJTv6lcKElozt9KtGLlTLk042ZzWsFFLl6trsRVTIdpz991yg4ZyoiM2rZqLQ5za0z/8nrYugZ/sVr9XZQDAzWl3G4OQSSoXvsWeHh2LNDQVzkHa7zmAhrIDjnRfl88QCoaUpw1KQSIxG9xPdrzL0rWPqpGDIUBJQowLSLlwkpa2Q78muV2MvmuI+tm/zfeNFI/GC8epvscsrptaWdGKUHXvKP03KIb46wVP7fx8yJP+pW4jY33OKNkV9drVh8jKumj+ECot6IdaGI6HJoakrgD2/UBVU7aW6ToBUtHHV8QS1W3tLvYD0ALMvd1UdSBC6Klv4qQN9/SM2C9h6MFnnaB1irUkWR1E9MwvnQvVogsqeQR+05zCn7TrJyfquQWua6uqw/TQk/4VRXHzrDUk9sHsHxk8RnCZoIR9hQplWeqRp/C5JdOdkiF+g/gq23dOqtcP1eIaRz8LUQjQydMbtn/JwK/lyIstnRmjPk72R9zLlQdly7JzRYLkeFLcAdVXdKUC3+58W+ThwbCdA1ZNCgENx2yqT2RSschtV/C9wYUUKlQRjGuf+LbsFZrMrOLELHbmmPF3riXTE5zcvFoBgGthrw0egyrqNfONaqVWz0BoQGHOimxH9iy+VB+9wf6MEMysMy2QAy+V0Yk6sgiAU9DL8ejRHrrIJvn93cPlGhB4+YYRidomNWLEp8fa1S4FkcJGvqdI6qw4LkDP8UenUL/9RWpThr8vdADtJdSHK4dpLtPEv6YPQce3OW8ZSJP0sTLwGd2ruxM1M0QmESPmd02NJDW2Zp8Cucq+6RNqKU/lCyppW8rCbZaE8YYLSILfI/tlgxRxnsnk9RK8vorxZIUUBOgkobKN2Vhdc+vDAyMU9OfTR4HVjuIIFdsbT7OEOJozuOvppDkdTfzYLF7b+B0C4I25h87zRiHQt9RMTdgviEhYbrao+Jg0eeFu9pdAqxfhJzyYQ87PqhkkV7jdDxcbDs7OpQGpht5eej3bYFPsEfIvv21tDcOxZL1Hce5uOCCHzUVhIOiYazNBesJXPktwkhkfXUHNI/vkUerl+4oemw95f2Pb5Tt7hghg4nVrC0/UJrO/q/qAwgoh+WSpXvNISOqF8/9NGv9IvU8H66khXJuSS/WQRlKVBZG4u69c5gSQu3g8ipm2nnU0YbYb1M4jTohNxjhy0VtQsxjtBO/uYjYa0Rk/EDrKIFXwQPkXOKf9yCKsNgG30qqw90esDvccVA3dDyF6p7/UUlz3q9FIgEs08oxBa+HSD1iPZuBV6CLoDQMmaeAoyy4IWlSuXclQr14dE/ig/v4LKTuZ5vutMTGJBytkiZYsAPS8sSPnpdDd+vSa3XGQolUfkgyLZSEBg83VNlPEFqrX0sZ7ONt0WP+HLUy54flw7nW+vD57Bd593Y06ZU/zDjWFQAuE5GmZCJHBuwxeXEXFNttCF96b+qlB6OGg2cYRJfm+fxohVwZV2C/yiW07UdO4KMsmA68Gbdli20UqBTgcdOt9Yt9Hk3yMd25q1hoPs45aDO3K+hYWiagU5qSFREUfGnN/EptVD8rLtOcqaUIociNb/REQNgOBvGxLfN6v+NpR54N4sOS36Ke8PgIHdeoONXoRBUL2j0s3qS2m36gRpOvXVj0LskAA6SHls4RXJSve976bKFuySOLAohLo6rea1OBh3d9TGs4fdq0Gv5krPvlufzCO4LG8kFK2oS5igohAAbzqpHcpyNGKl9Wd9m0gUgXfMfmd/LW6G3gX4TWNhIwmDv4f7Z1hSjekmyt6+9H7WTHm6GHT+OzAXi2fgwlXJLF8bBrdxDevJiDUov9ec45zLo4468HQvacR+9VZKVXsRyGnBQ+mA0tjVXY9HkC6fhA+cGhrpnGrkC1a7pWrzlHaDVSIBonDtaCH5+qngm9EnGyc4rcNKsvGURc3BCFJxnR6vC2F0xlW0WYtZRFjXkIsYni/yuPbTiKsMDs/b4Cod8JBonsgZB0xRpunOFhHhv3ccpv0n0Vukh28BIBPAOinoIp9S+wh6dcx2z2gGgIOKSpzu6RlMRZhtdw4s0w3R5nRtotaG5USNZqs5Xji3Znxmr8gauywU44WseZcEgrr8nlgfNsepI34BVq4jN1gSCKFzI+vpgS1ShEONqJ3ITTaJvyfxf0TWfrKIFzVPANM4A9U0RjjqjmjJ4153zjJYV1pIfoCc4hAIbKJy/Hs3LSsgG8VbKni6qKuTr7lPss3X+wbYnqIBLwYQMAvJDKe83vkAPUaUE78f8woJqCDdjsvk6gEWTrOUXeJr7PlD3jdVNewmVm0p2LBhwFsaiFGXTjRFke48zk3PMRC7LtWX5xnMySg1tqYUadVNcs4TjSphBCcWZSts73gCtIZ+qPN3pLszXjeOYS/NX1APINxpQnJiIEGAHwgiOBUL7g0AA2Ogsk6XvUUv2qzrxRTBlnv6nZr401XP3mPpP/f2JkhQKi+IUqSY3GGd1ThZSj3S8jxVqnH/qFlHcPUmFL694ASckqxQsRdZrkBycZSe2diuxV/ERr+UzX/0N2p4VRzz8zUmMK3J7pU5sSrtdGAGzOfQSl+aLOrAfDgmNc6rmeYYcGTmpncH3drMj3cCmBFwkFCnHHMmxrxBMnGso+UcHur+5hGmi4z6U/W5MOOfFnu8fABT2RQ/r2avm0U4X7hN3zj6UoJLxI7o2l7V4rq9cAdyE2sPY1dflTKqSXrX/Et0pajGJG15IzqqZ2p9zYKUTR2fqwNFmvfSDnHoB2SMH+HLBbzTaVKYzfuaENcOoLEsgRojLwh2V8sJ4ZIHZVCs+pEDtwpax5aoGkhoJ2RvBk0YjQT9J4DkZw3rXfvv8IPoKEKwV1q6PWEhitDBoaYY4NznZ8ITHgzLyQZHeWeNcC/VYXmUlxv1OgkvKCcqVe27wCgUTkI2trj+WzbkNq2kTHUbAwHfE2089qikO1INAsiClQici1Sjccmksh15y56m+gToTw8E50vFKdp3I2Ou43k2AsLSzOTbMZZyNZ8wF69U982XcQc/VvRwvzlkthAJVLdcVOYWA9S8QF6C80ZIxqEt4+x3Ej96XajmqtUcE4bs39tVtJWVc8MY86BYxdB/tSQr4ebXLENvS9IL8eoLhP/8ZUFGnVAmfLYqHQMo8Vm8QKZ/MZIb0Nlj/Gnu73v22mBdsokncKimZkvJGeW/pV+5Vtm9kZTWHlJfro9GU6PMMwa4qMQCAcIVEIyi6d7o0gF15ah7GX6xCpQAUOTt8e6Vf1jbnmtdEkv9+vswHegEimr83U9ED1MyfImQlZ1pFGpEN+1meQaIXX51qFTXh/CJwXl56O8nvQhndFgUUoqVgaU2xz1y0TyeyJA0mebGu9Qsoc7ipmNy0iNEipPoVeV8CqXrOkmGWGlioZlbvxu7JpZuGvKz3DQrYrA04RULQ0Prp2iZlJp2NiLCZeRBAUxmM/FShdSUqBCD7fnHhG0KG07kfJT+yCqsSaSbeaPHHRjJZaWKvzs5R4V2zvegcnL/TyVtM9tu2LOQEJGBpXV7Q7zR57+CkcaMaUnbNPz/hMgYUfbcLQkNHW2QUDqvWA/x6MTyftzArVcggMg9XDJq3Y/NMgn13awLAwGFTXfzMOlGTaL7j7ogecUUE7eXgZrCiKmEDXsmGpKcheGq3yeTyyT/J3H6kwGAz8CNHXSl+y2Ey1Qn4qVkfmItQdi6z3A/mCt9YLbMhUcw4HNL64xeMIrh4pomwyOHN0aqks3k8xfVXMr/CwKxrNm9KOAQ5EAmZ018fx8ucakGinYasL3HOVdTAe1iYvbgPCLP/xePdIw2pTyRdPyVHS6Q5K2DvwEnOl64VawLiNBU32yCs19bXZbGxD3wr13CRiQAgDcvrt7P8xt52O3qZy61q8yzuHgvvR9mafA5782C7K3PiT7MJxXiMIOKidiQ8vRevgl7iQpJq4NQMKJz16nH8spHC2DB0R2qvEIsi0jB1lg1+arG+KuaMyycJKikRofmLq5LfSEE/iftTdkrejpFc407okKCBXpebf/yb98/msjtcXd1iKcTD1e7Xj+VU9vBy39bon8Gvr/cpKCEto4a6HXmJI+opQkl+BkBinKlE8kwlwg+8EB1UHIwrHf/R/6SGeV2cqjXOzZ2bqvOI7w0Gs5A0IxZmkVc8Bnz5A0gpRa4UMtwClTVAHe6IrmCtCNip5hmp3jM5+ko2mwZQpelkQRuAmYUCIg9s+ozf3fqxZ4xZc6cgP7oIetOQns0TWyNomn3yWMmh5+AzVILqnAhOmM/NjEvlM73+zk7N1VT19R+OrpPV8wOtCaC+CcrqsuQF7FvoEY+SZqh0aJmYSFYD/3yoFk+hIe1YjQtnjHRN4XgnvyAoIbbEXfmph9C1LV2qLOsAB1fVwjdOea7VYMKKtQz8AyeWjcXz/jILhjT+zj0qC/3G/p2/1Bfg4Zwpg84trkiJigMbIPlxfXf3Ty2Tf+YqE4wZ6dvRZzJWcXYYxmxQdEzgL0nw/8WFjETuIxMDuOOGStXu77axf/gPYRvPpVWwEHqe8ANnYZIQ2bx4m6TGIvky1QiZZfbLvqvYiQYHQX0JN2G6QMt8XoWXWPzbZcVJ8+HZTtI3mUAR9KHv/DeXnv0xQzc/mFQgXIneSEsL8B0+Y0Cqr/eS5ubU9G613IVl/b3lhUpM0I9r0fs5LVdXLRmTzuvzSeEXB1MrW9B4comIE6W6csQAgu+fcq0jydHE9h/foJjOPYBCO8h7MAp1thRylmCjpyfK8F89Uuj/AIZSfIB9tjrK8MY96bXaHXh0Usmu4/POlko0Hp3CwESvatOLT+jolsFioLc+o0s/F96y6eViym4nNujQq11TNB90GL+fGSmfSm7aofP9V2MN3dIDjXX/7K7Cc51Qx86vZ6L7Mf/kVzSi1zbQSI2VEWb8uXaXIMn0gpik0d7dZtcJWYr3OL1ipv2T31HJeKShxzq8bG3zeHeJsBNNv4u2zS3I18DB8xAiGPBFzmdtz+LT6hqnAFPjKWvEYqEXl7Y2hQaDmlb8NKFca1+bmyPsGpRXydr29SgKigDjdXoIaulL3Q1bt8pgwGh/tV3Lt+tLnGvl65sRTdlnDfJLIr05wjuvunYn7VeJ6vW783v9z1IMOP3QPjdNBZeV+3kqB2Qjf34l5jwMCsaEk+PLq0N4YhkriIBVrlsWdbCMAbkc6QVRDZZySlk4SBR54E4TYlLeU6KCkFT7/Dzm/yVQI6gl4DEKJUv77bDa543QGn4rWXr6eyIrweIrk2/fmPfQAa023cw5BJ7vSPrj+rx3HApozkx5SZyRsXs16GhjXgPt0w411xcDHPUWdjeSB6/cQIzG6tfYQF4wLZF4m4dtKj7qSosK5fXc2vSGLbUdWrGx91IYVZdKEk1uQS8/ZmYvk/cw9iz+gTZaym3l9DvihgrZjNy5XR/3fJuUyYVMt8AphmzBzxeV0vxR8g3sY5uUUkZSSg/xmImydMi1im9+MP//Ak4gxYz+ALl/1OOpK0GqzFTvFb6YZJYDICc3i5zEX8QAFAu4i4e4hWP2Eel+okAZvlLGWrsyLa17RoV0bkGDi8ucUWBM15+5lfTDa9KsxRL3fjPjLMnSXW0BmFjg3jCFeoN864ExIPbKcf+pXfER8RSqAR0lOaw7agok9N/Vo+osWWRGJ+vMz75cKV7X4suB8r7OlZelEUAICJ6NwC0Djf8iMoRXhpHfd/EP2OUhYYFOJMb3apB2s7Ms5iCplSTxcesN6LlgEbycAdXGqKA2RUGrfSMFLIBXivrn5SvP+3ZLveLAcL723CvolSJU/MJPQUMKhu+pvOmtuK94jiFGkJWCtC+Q49V98/Y1K/PonAHKLHAoIt2L3oDLkuBNi/NC4DRT778zdV29I5pRVMeVxVUFq2yAmR4dlykWHJxMiBwZ9886Ml3v83zVnD7ErwzsCt7WHBKQgqNOXfVyi466r4yrqRMr1dPMqdQVrqiI0dYAQqhtTyludO6Tt6B2XsmuCZ8HaetaJLNkxkAnEVDqeLSxKsCwSCGfx5+4rOfX5tay0E3wNVQGEL7Oek+89k+fB1j92tL+OlpH/dAr7W0UMqBi/QdLhYnKVFx7moq/AYJcFLfXhZ2oZtPS1T55q1MRLzxn9jVTQRb+VKh52G6wDQr8OL1+xm2xYHLdzoIR8+2ZsbgTFY8NSdiRSnTBFZwkQYFUnCjDpLLQCRH8p3Z0G70O/tRNU+5dsmN9jb7NW+R1VLDgzCzFyWV2YzWVuy1WpN1P/gUSBZWvNP6gzKTFdcH0RE+8gGT66a1icIFY2YPnFsasly9HqzDss0DCDs54PTxwKwWQMLBPMJmWu4qhCyiVVD84wHzJqHFJxgQl9kLEJ8csnxIGKUKm3mERlH7tnNeat64N5wOMCW9Ao4KS4n/pamFVOSOHuITST2nhIN4geTFiLpH0IaHUoWmxER4dEAccclDERsJBomr4DKEfHSdTlySaIGGYRuOCEmh0HraAbFXiwCrKXa7BjSEm+QlsQ7sN0tESMBC1r6oibiNsqYHjKpJr4DkHlxiQAJ8vrJTHgIw7Wbpcaw9ti8vIl0ZVggl5gAQjBdVuyPUcZ1swU1Y9aoD/ZjuFdQPTDbwt+qJAY3NemB7pGiuo/uy1/wXbZOxf7YaTHix9SHUY7GCkYuNbLa3HwoV2eMcmUS378szHWgkK68MkWhx0SPlNPUWpesPs4ktQv40Tul8yW9bZXz2XxoWz5bZLRVD9Cw7vWer5X39LrSAigraCxaLYSmJ5cKZkpabxjMM6X10W1+Kgb7qyJaXXx1X7y0DqnFgbXSg1DGgpN5h3gH7rLBFTeUe4H5fAjLUe/J3tmMuIT42GBpPHZIxvz5s0opFEfeeu5K/qTj+DgkUsZvr5011BCjOSFKJv70mxgYoGgRsIbEndWWutsxN85qkttWCBEggbHSiz/B+OA4SqiLQhVvOAL5rnhqX2f9vfYHbzUCRT5JJxxzAPmmCYf3WrTz6yEtSXEj9vV1rbKGqn2Lbyi6QDH9oKnsVEuVVcM46HHNHUm6hqarPIHsaR9GpvIH20tjLziqeV9+AR+QNrpAb5Zp8lpqmT3Ez3YUk74Y9V9Md/LqrZYLFqMzVBwanMhcW80kfw7XMR8xVG0kjKqsSyXf0qjzQPUEMCylNLlw3JlCkYsBghndzbBgSsH41BSI8pZl9XCH4w5uGo7xdwAzFLyrFQN1ecKhsybrcxqqeF4n1kPS81yLfbA22mDZ8WNoTv0BluwlMXVrJSm18poyUfimAI3YLJtbDN1qni5vzh7kAxvMQxY1CsG02DA5R4jrYuwXLKwgWNvl93ENmLUXET3AW80gAEhYAQ1ywPN+WRES/l4KIV9WR4G3ltlkBzGro6SNU2lpDKNypdaoQASN9h4ro6w3sUhS1CPnJIqgAyowte9HbaGHVVwZfKc5FQzOSm1BE/CBYqQmbHypqeAThXRgHTvb/LIn/W6QhpZJhOg+bCOcxhdSuo1OJYGJaeLgVY3w8rG0qjb0WNALtECKzSANtia5Vpw/ezWmuAmI/D198gNz0lLTb7EbN42jJ8QQQYzwKAIVY4/k8mMhMw2asWn3u63ObYpufDA0GQ4BjkLptv/aHTCOdyIy9JHQRYX0z6wgEmFpd41YsiXafmjvV82V5OWV92ynNXwiPIEF3ouO6VplbSUO9q2Em/2Q1Tc4Qa2JA/GFpsAt17XzUluI/KOgxsiCFQTYnXdcbC+2tCVpuVDpQEeSgrd6vS4S6MoWYmcIaEkzCOV2EBcx16DYgzPmvxoXnp6bN/Opngh6bNHqBEhJzeM1n7wpTxTH89kXtIrTyJy1XxwEfQfAdAHIdlyWOCL+K98UqQ5J43c7tq75pOg7xcKJ1+/iVPaOjmbxEejIFPOwXh2B4Kqh9eQFPa1MR5INL2akIojl65f5Ip7xKOYDhaqY86QP+VkjNeXE4eHv5Wdiyt89ZURbTAkgaczi1PlVMgZFn6I06sKsw4lYode/YTe1Y8AuAV24GFL0p2juRFEVaOCnT6uYbCMK71Og0KEgRM+GWQVffMA/FEqagcXzwwHe0zRcStDxqRD266IGdvDXhf6ExsEc741MLYBaNI8MD5dFuuFstogI0+D0AOtZpaUzbDcL2MwatUuHWGS9B/BrgopJyCdDl7aflv+m9Q4oTvD8XvlujE6cZeM5GuCRfjE/CXSgDGSUptFfaogOH9HIRZ5pLTy1oTKkUbjHsv9iP6nUQgJNv8CnSIsdaGsv8fSFPUFrmbFuVWr6sWk0uARP4d2a3HQzy1MewqgrK5tFuOiP41NEoelKlSfSR28ZTlgWDcMaRIOrgMvHoJXsyRfIXYPx6zZU2JjUKWLYc68+Il70vsfjUUPKxpx6QVLu8rcXFp2fdtOHlf5ienYoTs75Z9KHX9jWgc85nFrcEAK0EAVOr4w9EvnWek9EbU889OTLewW6PQgbkpB85Ih129Bf7DRJ/HYAhoOCFKfo311E8xhAe/1gvCvyJnyC8Ihk+cnGbqo1R0js5CPskxiY6Z6H8VKUS1iCuMTLj+gYq2tj8UdRGYhgDE9/Hqt30XISJOpTISVSN1qhKJcvWkFopTARsfuSXBR7fcIq8yT1WQ7+T2WjV7FAdlDji6AbwKSHJO3AhcY3/sVfp/c3oUBfL3J1xv1x/7lWg1sg66jY0dgFm1SX0zDh90Xor/umBv++l7cutvbKc+gALs5tB3g4iL4ykhncPdbmIlBxragpWiGZ0vEuTd8CQNH9exn3fDLJ71UA3x19KUdWVe8phXPNORV8i/b2KrkU1dpyTfkzWyY9lvJ4dMfbcmCf9bFZt2IWtNNbKFZzUoEarhJRDAmEe5sS4f2/110FOeNjcQW47U0rK7idx8pl/g7KxR3JTynqwNQsCS95odyWn8gTEmJEC3g77b9RpCeEsESUBJVc39OkpwnS2IXksENdng+s8QX4MinC+eVo2gwe2LMUxgyISADR4JIUxrBisRR6PGBuF2q25njA/BARNNB0WMAFK/vxAhCi2SYj+hya1MLQrfhw2IsxuEcE9/3PTo6Ao3MwF7BcG9gWjlGtjkuenv7Yqv48Xh4EypQvwHhBLDNo78XFZABqbDYf6MZrn+t6dt6ShwE3oC7akf1SfnqVDarR3gn7ZO6NvY66afTJ4DGDXdxVm5rxdx0V+GBE+nT7NP3uS6Zy5wAYTYnys1STIJM3JuoqdGhKnCKSGtAUuQn9+366j/5gz5qrBHOWok/VMENAByG99xv6BXG/ciz8APEBJb+FgkZS1V6e6ZGpFTjU4OVlU6TF2rCSgdSTm3FvOz8FkJ+qA5bSvMtBWkazIM0C7hRkTsZOiCYfX3OPAFnIBfJ5UET1oeImqEadkEMQrep2vI9fWIPRnl/WqptkB7BWi0N/CurTafhMSQ9pVcgr5n2qr/PSQ0Mp+47qXteW2LO3LCjxka0Qv9CXdQpiA2658ZJllZ7AN1r5O7fZNDFQCIJNeLddVkUUxy6fSi0tWJRaEypVLfBADXHhXOv2SK6oC4rj0+x0B4NRxgRU7Lw5GBEUBaezQSPAdV+piT4FpBZi1JG4Yh20ePreYi7H6vARjnA0mkWShVnQF47oKhNgb1PL1RfZVjXLaIwYlH64S/W7I1iN/Bs6gxAqyGR05sdBlufv01/ABM/o9Mhn1MumQItUZcTZWOaYPHUMAwQYb7GGgBV87G4Boafh1nHuErTW+zJJribhd0dzDz2s8NbjRkfdAi0G1pBMoUE82DBX7YB3U7If/nWDp8YcVmfXE+1ZWHgHFsqt8DfpjTxpCny6bMOs0W6APX8sRoXrnSdaNnlo+HBkY0gdjUXG1OHKBsCdV7Ol5krC9+mxOCXj5dDLwvWLfjtipWUtVaeoB5RhKYzmxLkTAQuclmSY7v7Ka/iIOHPDnABqRJEYiCMpV7LBN+31v/76zEFBB9r/HEJ6VsiA7jLCAAQA9p2DLVEEDZq6dmluw2xzutTjCuUYmL+LHK6ttNQQA8q8nWYfy4NvSWAoIZ2Piw1YXVvosAqgw7Alnxh+Xw81s7Wxn1sT3R801kEis2wqsmOp31Pp3R9PahC1znBx7XUtdWHWnh7hvEhFNyk6pjmD0JZqH6h8sAJie5v94mJOD9cm9yVqy3hTlibmgUo82jHYPoWnOJDi16vPReJYeZu6Sb6Ltsl3gAh4A7+2GmSALV4a1RRHDqULw5oynAG25jsvx7yku72Tx5cP9yTxnbdiLCnpcLPgufQIHufda1Bda5q3qTSAAcRlhGELXyfUkzz0K3pQy+7A3iFn8bQBqQrt74J5beLT5/5Npkt1aXZRDECh86NL9MZDTDW0g1JIH8Gp0QHCjIBYCt5eZsPsZYjC75eiThkqp5NIc0Q1/8ST42dxaYMahDAjc9J5gfrOJTmYX9kXxu5viUcgJFEuVxdTFTV3wUIiDAJugN2AepNo1FL6J0K5qecg+O9zsCSEOkTbeBXP76iHc1ZQVgW6PpForLYWaDkGFj+yW3FpAPx3Pn3g6ncx8dVGxFKaJD4RIM8TMe9tIINOjpYcMdMBUKf2e83glkDTucgjpVMiST2zR5E0vaCaxNaSuLSiCEff2alIq+MGTOSViQzoo1je+KCbQXmqrETUEANdjqBlh6Xap3o/SVtrl+d/jDFU7S0NI9QhXvTXUTpOgYaA5llVStl2Lbsn5Tt6lmOvQU/+zblpw6L9CfpHLqBx/pocCuZdIlUz4w+eMFkEGugu7Xp6kLJ4T1SueRF7jXLY3NLXAf2mnaePMfK8D5EoMg0cniMAmTsWxpyCrVpm9/F5Bin+98pTu165ov8+ZwWz0GLEgOKdyTdwwbgpM1cR0B0FsRQMrSTzu21TjualoTvi1Pb1lteGDA7HVVD7pu5rWIBvoY57xvHxGgJ9ePDoX5MhDjFtaZqIqJauXRPiUyv4AB8vB5MioB5HO57Y4zcwfNwnR3XHuF49kPasYogCq3N2qxsBBpr/Ag7EVaes2FRTFTcVQA+MjXeVUXGqqylo6rDy4r6I2iynYKU2XINtXM4v0dIiE8Rr22gCEp86liUe0c6THpIyDwgoAeK9Sw77XDVk1ow9fQ/JxfRqVNpdhp+ix0rxtAnmxBLHzQrl9B9i7opzfL+ST9ZbwOmnPt0AOffvYMkW9WAPnKhbRoTq+5DY/wntE8xNWCfopLILChREHRNiAdaVfDH5V/0TPrCv0YH9pRijI4jp6vTxmZXnmdE75EGYNSJXMd/BhgMz9AHXMFqmNViin/iiBbfJHSJUcU3/k+7I/he0yPnECY/6Qtwy/dBkC3ZgDabFPeagfVKBZQAhO9AZNLeng/joEPwnmzqZPkDjgYUPhyFql7UQfdyeG3gWk96CMXE9Vtu7bFZStb6Jf0pXGlWB1kuxAnN4Wgr2ouOkG4+7t/CDaes46Bvr3jBRxKN3iHU6KEu/3yTaM1nNiVgtLEdE/5q4/xbKRyXz+f6xdPbl7U8AolFCmrA2eqEtcmuLTU0NaFoG4wfbipfo8EQHetffMU3R2LufD1T7ANbL2HesA3Rzm7+s7XN7Zl6X5JME/aPotaYewi9DXCD8UOduq2lTcmbsvt0A88v1i/8E9VRlkjQAomMjNtngPg0BRMjvFuiIkkBHmcEHf7RnXY3TH1jaAFERZO7wReN1Y2VdXoCrfHUlOd/kShOqRYsmj0sNVMMa2wgOlQi+n5OOIZ1ZneKEnT3GRtuxMqxLniBVjWZR+wP2+uBvzpFht4L9JztJgBJ3Ikw5p3OnpNpMf3L8GXtuE10OlBo60I5ZhtzQoP88YjoqNGJnxIcGfHHupADoRSrqpbX0v9pLgr9cQXwhJGtxUrxItJTa5OuLtuFkhjhevXXTTWk0VyNzCod1rIk6tWs/t+t/ZXIKAZSlasWG5BxOr33/OW2K7yEFeOSzWYW9VIAtO564kT1NS745/xBDTe3zoOqvjdZf7E9BBuVzKVdTSpjGcdqzeh+lmBvzTh6OrSmgdARqFLugcEdCoKBO9C4A809dsGz0DUaSqTIq7sR/Ze4KIlQStibuNRnsKmmyMr4L24oFaZyirc3gk61nFzIifiqMVm2ur5tD+apmpMkNRomwNB6T01tjZQ2s8IiXPcY0/ocxu0YaqF9PIy9UxGG4OB7gcC5NforPhN6SyjvsMzsZ8PAMui0EDG4doCqIagrq5wC9DzYHlTfNYPw9a7h0DBnjAgH6YQZ/7SF2Ci0UhlKbL6OnkW2GiLsk4v9k3SAEFw/fSobWGqbCHkCY4uJrSTnEeBMto2G0RldgF12y+vytTePSk64uhWdxK8neFEpRqdQSyUGxg5+9/w83I2OJmaFCPjyIofLhwkOa21iuqTxoB5Tc0z5ycmYlvhQnHE4JQxZRfuvRISxLcrauuPSzpt/baHzXeA/z335kroklnJgEOeOiFtyE+PXkMvqPSEN1mNp7sN1YiToYAMA4TLmtXIeAyYda5EEb1dwlr00ksvOYwB533A4WFLnxZegJq/XzHl8UHUMtDoeZXAhePcOTvYDvndzdab1Yn+uYiHdVNv9w3sc+iXapo0H1zl4NMZeU7INznEgWLCFUdpvQAi5SE53bLDrZxLMstC4xvd9zT72xEYpH89MqOwRoWgMg3KtFpXJV8f1ageKz0GIDQuyOBaIOg6eqPFPJbbf0s1R5hvSE+o1BXxRvKtoEathHCGC4+xT6aOj1No4TEkApivdr70T1S9l3eYTeSnHyPUyUEkVExGDlAdJFWm6zrFtlmhTiBf5koIRK4sZf/WtsaviXoyWIHmhH5mDmZBnS/d6p4hGE4xmwcbT5RCztqcyd2xHfbpdOaUWJM0fdwq1yTRN5UkMp0dlIGupsnYwNN43Z7a/bJSfBRTKCdhTABp24klt/obDzH0TfBG8WQNVleQVEyWDGP/NV0ng+7CcLmBFsYhfwm3Tt1Hj4vxdWMa+h7Nhl+/cvmJZie47vQoXWSRDpNbGJw9TCofaZKU8mCsCUaN4WRBw35NqbABTKXDpv03RmL8pPAtyP6XuGEo0OjH4DhwnCsw9VStb48NjLYc7ge0GDIKjs3TuoC9GvgWHjfmUAWjzzUOuHigpL3JUJXk4G0zXAY5p1gnkAiKjrbY2Dfbq7T5WIJ4CIXQZgl6w7Do5gKOj1UFSXZXWZuo0sUS5tfLZNCvEr2TiSH1HlL0WVqMLnauY8ONPF7F2yS6AW/Mlk/aiV9lQr7clw4wKoDIfUR6C2gl9SsIN+KBGj+T5dhZ6AHtY1eRs9z0H00oiyqFTw3L1DreE/4+44GT8xP6MBosZTOwmo3cZ6lLh1y/aiZadmq/T9prIJ33sUP7gU3XKfyDS1c5r5oFflMK1DzxSlshy0v/0rOH9MnLoM/ygCZqmt1N6UZfm9Ei4PnhvFOprz8/a3RNrB3gkuxfqna6sQFa2eCib7XewlTIcGHC9erHiQ+RtRT2YdBmvUKnUIE33iP3Bj2YNSnbpYOuKpMgAwEf6X9oJUw8766KXxz0jWSKEZ31dSeHrSHr1lSSLxLbqWS7TWIJavhyJt/qJAvQfwtoFpf8qNVM8VqKzOQvS9oohuFFZ+NSE1evcdV82w+zajOMAF4ybe5nj3jaFprlutU9wzNeaOC7OTihVdY16Tvt7X2nNZwxYsIkby5Dr+P+pW7I3mqqPzqGEgPgudxrgHzyn/zlB6x5Ug3kCzBNEVINwSAz6e5F+LU700/J+gBXrW+ZtkAGPIuEDr0TeUxoKZrDmR2KYloV+/ZRU53ys5ThWN90zsiKaR8dFXc/AeGZtw5TmQ0EFBYFOqpyTJIOdEYDdHtr6j5LmbkhyEVGfcckISLKLhjZBYGivGG7gdStCntPyYTiVn365YApCGV3l2oys90axopeEvoE4tpPO47LIsh2IOiareSo0Bnq7MPuaC/qm4s/jfsTAS5EUxMOUoylpJQlUmpsHTk4Ci5+dQ4m02zNZNIYWatY/kpDO9Uu34HcDqSbgVtJbOXlzq3NQoXe6/zKB4RZygWsMByfQskTE9adPCIfGhQt/wwP19Z758k2/ElMa+Mhxgd8RGsWN2pPkV/RbdMNAsD2NEecwjZPqFUblpbaoDTETxnzhxUT491qf//AZId/fdYGmEYj4mlT2mBoume3A/VToU9JJYPaquDrOWeZqx3uiDefxdqOF+YiI9/72DWaxV175OQoik0yvB1Y9V4P8ZfWjo5Awm86QsMvmTkzVOmKAincD3zBuuWD7xmQyQ/BvN9sFpO+AAGnAe6A7yE4rs59C+gpyTxZgUjUjvglGQB0ry9oyQ3P9GmGj+B58TE6ZmtNwAR5Un21TJMhjpsBd6q1j4BWAxKhkze2SX3mYEXhQOPoKIiZRA1ut1+tEsrbsy0Obnp+x84PQeBnRrZjGOM3l+QzQB6BTC/BtZoI9mexfvPA6fyQaECTIaaUzJcjWP63T86tVDb2MCAgFFxcCPp/4P5II7vtPSYodp6wLXdgEhxSuI9ZJhI9jBByxfJLL+L3Qdn0Jfal/EGrs1wga1AQRiqdiNtJ/Fa5i4U+meaSKLqMWXuk74Nd9PwU3DJIDUoYvslccJKRVW/wkbZAbuIjL8ACRp4YZXAVyuYfLibXfLUoRqgSFFhiKxwMseA1d4XtIrx1IgI5/e2Djo44nikV4G1ZFrSVine3lq4iObLFm0CuApj9tt6lVhvncYyNinaF+gN9HT4aEeU25Fjh97yyXpiIOVSLMfyATzz2ghPoS8uJQCjD6br8JeNA7irJj3SQ2Nsf1D++SorROhIWgwqN54PKjeWukJUEIjSJPnPbgqeYImrdjD6rJy+JxGnSUgLie9xcU6V/tMrsgb00H6jm0RBbgT9YyWJbWuwH2dUil+aOjTJ48or33aN5AvCf6naiAno1+zooB4uNh7fYdDfkqzj+R/bn0FS/6Yh/rzoFPY4H58vBORJTyz32KuqX3UGw08xXXHDPJh9dCeb9T9AuMb1Z3xzHSUVE1VlNtNICzr4PUdFqzliRHHgRqf1pR2QFgh49UFHq1ob+LBFW1NeZ3g/Ju47fqbVPD1KHYXRLwNFnnZZ/y2fKBAf2jmD+14c0B1C5id9xhbOcYO8Pw27uktbURbCRHtKkJsuY8WihQXv9G/rrlcqwJe6Yrga1NY3jkjPhIrubBLncSpQ2nfN+B3ecebgFJKC/LyokRZN16wCzrj0wZTPWUDDeQGODU/BZhXYamB7edPZ/1v2UhKOMzIwZsBuVcv3NwCpE1TxaDoqqj3sSmI0ievqgv1cgF10bSIYmF5tCbTnAMyxKWOsKtLnv4nk66WgXhrlM8pVQzi8xs2tE55QPEcR9+Tmbrnyjvxqc1p4FG3ZmWVX8hjpGBY4r41vk6aJTuPYW0rcgSNtLmkN/OxTXkI+Mc0NOO8SwihL3Xch9KHnYdEA8AyLbWxnwffZVWYVV6fO/BoR3DVHpYk6wYWU2VMwM1dRYdCJkz4iKpDSo3mCJWi1OFQVZby6rUS0610EI0yG7a1DUSPd2nJrS2Gu20SKNkyExHsB0cF0ksdQwJnqd8no4KD4nN67a1SiiwI7kKVnDG0bwxsSgdytANyIHOauURlHw2xz26JNCRngnkhr2x0tTbSj8C7ZQ6BANjeibWdxCRW+Oqdt8K3GOlczFNGhrdR06OCPEuzh1YC4G6pGGYdoiWPPQqGdq0e+wB1odVWODXT1ev589XEKmOFZPLuTG+JyPGds3WBbX50tDHRJ6Itrsko4ASXZNEzGdcWFZH/OBPNrY+0s4Z1k4DvVuOTC54izmcX3vh6a8ieJrp7SvMtrpBbBmKfMXRNsBlwbS95l6MKkowoDYFS9Y5uwAuTWiu+/r7KxAa9U3PQZY6jXBA8MHqcgwIRdpNBC1+Q3oBhBp0w/Voyhf29JzRB+J57kfFz7nEemLH7QKNc/9aEv+XM4pds1Tq16VkwFMyFf+hokXpJYiD4wHI1DWT5imrS1jQ5Bepq31BxLf4L/kEmelsOXiWhFeK+FVjNHjPAt7AKxJm9W68TpJiPVXKWaY7nKzBHq7O7spPPFlaOBx/6IT2AM/0ttu+3g6IfVQyn3JoNqsYhBOvfAH+DoWl8ykIMz2fuNc/r8z1aJmzr4YEYCWgaS21jhQVN1VwLRuCQMkEga44D/8Iq5ItSMUL0f0SNZenI3IYtmz62OxLpc0pspS7bJxUYnHyBm83FcVFLII1Oo5MfmCWAJ/McOBGunRVBd9Iy/zOSbY85looGd1pTALqzVs7t+nSCq2K3Nr/ZXHmCl19dtfG0+n6QL7/Y6FXYWhBu7YhJWNO7Hy4FRYjlahX+TQfMajUAfL6v8Y3DNJJV2VrmbqAQQQwq3hxuUkNw/D9Zl/rZ/4Y+5jkAS1fNGQa2QPkd6B/ReCB38d+EMlCDSJjDdHoI4oUktdcVkm5PElCBdU5Y1RaW1r3uZiyeRxXAVVoHid5gGS4ZLzGqQub5FM9dIxZzii9riJpRw7X97ukjSTHp3J+M3KMBuo9lnm9mf9aPUqiGDj1p2AqFprpqvvmOElnDSnB90NdpgBqNrey4hWAzZ1ZvEN9Jvb+Zbtwhle2U/dPpgVhdcQifup52uoE4EBXuE5lXfG442qKjH+SW4AtS/cxnxQXwLLMSbeMhoplPjp35w/GWZLw0Ls315zzTydpYD3dY3mDEnzQALpoRS7fOx625JEydNcys1fNQFUfnjPzwckRjAm7fUpmHJyY7YHZv7R4UuUbMG9P3sbc8dczJL1nmiDPpBs9REBek9F4EPS2c5KYXWnSB9/ISWS7Fq533iCFQcKGG4KLom3aSis3C2gS1CxUUmcxNi8I+k2OsFkjFShNwp3ECzfQeYn7U90Pfi6VJmNGQ+2NotHYIFcwrsthY2UXZqkEj/8OhLabgikqZtqtWi7LTdiig/iIpU0orIdt3SleAZfVuCwLue8G3tRxNDxdhcW6yksNDq0x8O1tsMc+iUm3u14Qad2uOTk7/VbToIVmQlXP51lduLF1F49hOJWqDuyWNHF42MKJxmJXrE/7hUp8kmHzIB7u0NB7uF4RZitXfJpQDupcfNau5aHIn+fizTb2nzMJK0X7oHSVF03Ix01Jzw1c580lae/O+rCd4+0qClxUbpy/Opg0ecSPfc/5RSQ4ArzHgUDHjAtdvpHDaJ09vMiDVU2mP5eG5sCCqYkooOGdQcrNaXVjth5/L8C9SNPsz9FXUJ0ViHkS3J6SnALljo0XfstXeYBxzsjAzZrCjNO4SH6AtmWhlGm/dSBqcP1X7ZHaX1FwkX2FmsVRjanL9lwln6meC+7fkIr3SJ/4hBUorLAKQtvB90dMiUeLa6WNWGpcDFAjzo/p6wSHKO3A5Ns72bI8wNEDUhmftyJkEx1rdZYk+eozD9ND94HJjw7M+LXSdna2gTh/HRX7kBtJ7k/SBwPc2PyKnvtCnlwiVgJdi/UNaV/n1Z2gmC+b71fdwsvWOU3QJqplU6iAtinh1n5i87O3JU6R0uGyo5MusjIhq/hXYNClG7SD6tG9f1F3ZzhHl/91h2DAAVLr/fjbD5I95ng8bZDs2mlDZG034NnwSjs8esOH5y+lu8eaSXOK/cQRI0agY8tGdhhat5De9mQoFD6wkiSJB/r2GjodokwmHYdPr0TzJhUHt7i9v5Ce0x26kDqTqHDc4o1ziUpIrxlio2Tf+EydI81KH9o9mUzrsYJFo1dRvge4maRbvwdDLjexgUA5A3AyZmNSCP4JWVjqzNuCKuZnYyUA2qCII0lxr439KiVImj9Z4xHXl+YZqkb9QsgJNg8CDRLa9v9D0lKvixYPgWDJniz5i8S80IU+1M7vIf0kjR0Ie+1QYdO3+VYGLdaaSN08aYtTSwyvbRk5g5L8qbqycVWHn67dL7mdkBpQG8yICQYuPd4fWXGi4F306MeXxIVlm/YdQMpNod/RAYYq4cfhuCf5Bc7/91Y/U+N+qrTpoNYEwQWpZ6uhTRvA8HetxIB3SirRqWGr2t1WZE2SDhLgwJQCnuF/0GEHF+wJxdTPQVZU+jzBak/7+din7p9pnzZvStigFERyRIIHBGxrG5JGVhC5vZjqDywBVS2cf6ZSyg7bX1cBQtqr9+uyoMZGol56kfZZVEvBNGSuPj8cmzaC9tjRnldVAekDdrlijAndiIy5F/4YfNoyCcgds9f7lPsWlWLa3Q6FzWHCYu+geFy5CcApsaUWeuu5FYsNoxQhq/5uaTrOFMOhYz7rG1rTwatKnF50xjPIJTzDxkhutjGs2cSI1clqCqiu/0zBvw8UqGJQYDBasJOcAlD44xbEOndjiBxG2U71nH5WdrbtXHFBFyGTjs57yOeKS/pzEUtAla1RZARw249bFznZblmm7HaWa+F/jcr8/cMqtTSW6HZ45qpfV8hWM1B7lpsJh0rGQw2AhfMHkcsmER83zdujIpc8Su25YciozbwUGRQpTMIo0OT4AzOPub9jT+WgplI6tOS/rbAypQRpUAubgpGHDvP/+JvE+EBbKhyKz0YJl8lsPO02IB+07aHs/QhUz6zCxl9VHHi9xRkVkpHQfnODqqZTcjvo/4f157v6r9Z5lbb9vqTs96Wxxvv01oqu3LDv8f8XXnuZz59Z4itfrDVnqJwEX/kseGiazc37D9YQ3dT8Yv33N236ylLRuoSgF/bUN4SjfU0yNSFsUmcGZI4+mDK2NY4urhvBbO8YBUMx0JeOYsiPZDbbHg2u4XYqhmp05LJkWYZ1g5zSJ22lytVMIzKBtqRUzrUDbC48LWNBaFk3SkeyPuziUnqikpnP9TA4bcziZSo1SGPuQR33Wcq43PLQZYJ782TIQyAWDKH+iCsH30dyO0gKPyuqJZhl/nm6J4eBxbFj0vCRVL0NdPvFtmHyLERRaGFBwKX4pcRlq99GxVUGs796BpaRoQp4OZNNP1owqS5evgHA3XgI26I+/8OUpDsAR8zEAdPssza6RXnH8W8ovWTq5SUgErtHBU2i5mXgGJPq/XD9mz8Uev5oNagVr53y8+ux2wweAzdXD5+pPpxi9ctCbz7iSdy0JbdXN/RzplvTG2O2hG/PBrVmXkEIE9IyT2+pVif+XO23S6N5TQfbhcOqkhd2Cy1HYeMAVVmjgLJp1gOjP48WlMzCfow80AQ52juKhsW6iZU/2EV9EZiis4w7VwRfFwcXIUO8U2JwJCyiOe/GyIa6e3yO5WFMGdzCqa8U1rxRJRec0JLJSnMGQnPnH7/i6Vv5k2Ab7o8ufEGzseUNhSk3iGJdhXA2D7laOIR/ii/rLgSkY/9o+8zP68bFevE9bUpRc+mD39AcO2wBj+H8nkYALtw8dXLXuw5z28Tgisy0zwiSUkQcMaQk6PjJtBdH/50O7hHVoQJ9W8nx2F3ko+GQpv7+RuSYr1ZMvkb7on/FnV+yC8D5Vw5Z/nHk+b8EL/U2yrUlIP1SjtP/L2SMtDsKqYixO5EcL/DUQu0GaHriblsRiJTizhOUymv/CUJXV6uYDGtxHWhoPV9q2MW8TjT2lQ9I4Wi/Z4i2cVS4EXjl40XH11Y2IOxTuYCjKHOhqPDsWE5LTv+x5pmf6WmzjHicsDY8aWxwPnjk3tZ8q8R09r4ZqcOxvLIKRWhP3AthtFhL2pZbCCK2AsFV7XeZjKdnN6sglRm8SxRCPZgkiM1IeILw4zvwirbD2p4HgeRMZzKMq5s7kJIKBkf9dscyQpYPgddI3loIbPSb/jPc6h5GwXj8nL6iARm1B8SvsN6DnQlMNmVlBFiK6kguYUOt5B7XVer4YG7+MIAmMDL348qHCuWfi2qDTsLtvENcXVe5YfNHFScxWnoAVrjHbbZNj4Rj3tfPB8L4PKzPNeOqG1cnBqjLjelAs4He2PiaIoDphCRzbZCEh1DwL2jM5u62AX2qnp+XctloHWqApF2xhiDP1uGjrPS0+2446LaXz/hTjS2IL/XC9XcXV6yDEF2BBA+jUAimFXajHaYeHWh+9shXtCrKuCZAuRocZcJLJG6Nv3Z87jQ9ayXGOzBVt+CuYmzNY/0XQNVA181h3GCNat7KRTcCuUMRrphtcXaJMGacAGnw1R/xt5ixecRrpztnGB00DARstRT8kfzB+8VgNC7YeltMOooKZvQYalOwELTKYPONOArj6wOWO+jlHrHIyluQVyxCG/+vRqKhNyyeY1tST1HYPNryZOgW3wDZ3ujc6QrnOuvRQk6kCCZsYSjlcY8hFVnr0Ji9BuHHCA37P175WIHYF4ikvPUzy/4Ta53MMb25ipN9wVbzjKDObT4Xf65x5e5WRenYhHCg+eI/7BpLgbokmZLlE/yhwMfr7knLgx5b8iKGJW0ZLEfHimXAYCGzwTFnh12B3ssFKaptewEROpViVGhiAKBj5Ta5hz78uY3CY5tt4lDCTj6Ju+U7ksmCe/JujEJE8z26pg3/D+RsmsKub3BfZxjeqYqFsAOeWcs6jG0UtvHegbNOD3d807caX4VXDGnjFY5zJBvi8MDA4a+cgcEgnHSSAf2xQhE4U5q7eJnMNZ+dGdImEh24ImeKtubGj+4gL0x4HOaX+xZfCf32wdjp42GJZBSE+k2e6XZpxjpYV89vdvU5FJix6UZYzVbM/i+iSc0k+EzyCRhDqk9G4V8uCmr1X1Ra2HPV9zwfEcaGeQHE+eLPO9dscA0iV1N84Q/guldPkjtBir95sUF40JR9yBhReJXSSTO6GldSQkt+mESPllilORQb/Z2g3XHP1dBWJ+vxuyj0IpZMFtRQWwdUMoOCz8e1R7FViM40D/ieG+P7tPU02kwHYFkK9gcI7Vo//GAwf+AUCiHcnpjd8XwoM4c6Z7TMqByZqq5QedCHos0cP1Wf/cOSnSMG48/nXhOzesiCcBMLwRtKqcFOTsCS5xNYPQMgx7qyw2ln6mpkzQhZieDHVDFbLWTOIMARHxFgStEBXV+W5L+pxb7BP4B9+OLXb7/+79nfxr2Ifzo66xLRmkglK7F7ccsCB76LLi37LrQf90N44ODHLDDG3h4ZttJMye/x9k1L191PdMbo3/EugH6+47tN6/IYBB/YU03E6OTeBRvvv684PhfJydMBJO5OTQC73yrV1FT7XCYYDmcQmEkqH0tDZY9emJaN+3et/qCDKrcjr63I/2h9sw2OmOD8uCTUFGMO0MOUn5LdSvcXEbP8kfUoPdSIid4XV+ulXOQQ9/3JHhtseZpQrZcjFFHfvbD2+kciyQ3nXOjnFy6tfDSHJgt6MIVjFlk1Rgy7SoKsFIXB7alSHPKx7yMPc4ZtTd7H+IwCpMZ1pbJfe2jiTTV31Z9ckl/nvoGxkLhbiWRQKr+q9D5tPoMfoa6wRNN2C/7XYQhX3+Jf2hsgpotUk+Sjwwdd14NyVnPO0fTjzWRoS3SJvMVw8G9LUKiytSAHkJ02swBFCpUbjEoBiCEseMFsJwTvGeRzK+D+pgEukDbNlFL/qVspYor+45sSPua1DkeJp3Ho90dIXzd3mWSIJhfwpR3q6tFu7fz8zQoyfxX35kJYVak9+Q4myqBn2L9EIVV6q01p+B6SKaV7KbUooOtC/sn4r+1Dlo5Rv6R2+MtqYNQINC27RLa7sremDV8atRX69FA6F/6pViYkfai+Fc+mDgAifleFVNn+VZ6FBtPuTiQZPhiybvichqxoKjV+KnUDJy6hCLNFDOnyE0T7vi0kw7d5UDnpxO1kyr23JwP3jazh8v/B06M4koq2az5fumg3sAkC7FeRB8SpXOtJd5ZiyC3a3d/WoTpL0wV6W+JOLaDhjlYtGRn9rPlVzl0oLqulqYJn+jhR9hOPIUfwYVp1+lhOEhn18W632uWqZmrQhQFwWttMbQRKqSwJ+PvR/dGo8KpcrremoRsOJzVI6wyWUGdBSWRbBRVv3+XEfIxr/Q7Tcv6Y+Hmy9GhVIGSk0AivPEYBGiiF+k0EoyYUapgc6TeTqTEynUr6b/7CpHEya+LzB+Obd/ZeGJHij0X1qhhxMU1QCQT3z1Djrljjz91fgaXtUag2kE/ZeePOM5sue6cmfDcIYzk/1/ZIkadA8tjobFFaCH0fTBGmnJm9nE0CuNGqURuyS5n+59bb326BptPcXn0mgL6qu4oAfhGYPxEEfi8+Lnt36pXmrc0J7XpxB+jbEW0jmW2mXf2OngmGhdHRuzBBDYdWcebH1qLGAVJHBm5gbLv39QitcJBhzFJ6r7x9mj+Dj5xeWWaD3ifocTHWchbOkQXulR9j+ETRc+BIcqisHwWKIFnycmcTHDdzdI7HU2bkVNd+lwd+GA4bL0lT/oAqCUtMTePFBGjFDq8NynDiuVNROI3IDgzO5VHLsEftDeXLmuUt8cSVhoXSyCU2ySePqiSGmVkw9y+dkie8F2PlNKc1kMjoIO/EcQF1UDJt3Fdq0xWrKnXgJdzYB0FHkQDnj+eWT8X8gavWY0cGKyVri7D2kZIISvXSav8zUQZHpVtZnlykYGm/mYEwCq0Oia4RqH3/Z5Q9z2MOcWn2u4wJM6aLtTPy2TPse/i6hOEHe4yCQQmAk+6DVVr4+FbrTDrXUBJTqS2H6r+fBXv6xvN7wBsQd7DgEbK/QkIK2u+fKILtQwustl3WCuuS1F3X5YQJ0pAdH2UtXLEyTXrJECx7Kus3uAecJ+TQGAzakBqtfIdWRkSjzmjplZrnHDpMjtLDt2sp1d0UM8Xl6BDRj6u0dwwn6mXPlsMwas5prdQUCL+E+yGcgCSurALL5BZcuphWH3KipTHbYe3+h7OEPnnbiQlKyW7aJnH1fSmhxpzcKM9CY9cB3kePMEh34/lPEueZGtfguG0rNKjogXPUGgGtXjLHlt6XnJKiByrBzpknItsD28euNpAnSe9uMRY3kY8sLIMlxwc+zLRiAKn1aCC+9k5saDsoWfp6XnBWtXfMRfK9YVxIZMRzeIxLjKHoYCrjD5cMXT3hNmhCt6clY7iQ2/xRCTOz5mcxupge+Vg0+t7F3Cj+kM4TERFC3b+Vsj3TSan47SlwBB3ZrDlBxc/qs0EwApJzLi0JBCkPAA3HSZiUBVQ/9xQWC+HOdkaq1OwQRda/AjOM5plvoTS59oJkdZ0E4ZacOj+Dbfb65rGMsvmOc5mb+yhttMEZABZpaDDS3TV1HcDDQj2dSVTgcBZq7IRI+oqtJya9KDZI7hHYRxfWDvfKP7dty51w+radmygL91bVRpoIhhEY0+XbiRmdfBE6Y/N+fV4degXqZc+PDm3/Z+BuUSMDHOl6fhaPeiq7ClrSF1jX4hfgRNNhkD4bGq9b2gk/rQq+7tOuv/Reii9vynzcdtzqkoXdI3OpgD4CqVd0oWVnDMe8ysqlW6lzU6rQniXocgV/uAgqkZJLwmrbrLK2D8XX5jkSBI+RU370tUv9KE5aTSygMJxixHwYB3YnkFO8uW4TwXhDwhroggobOu1LWdbNLHdI60AhtzuTFwmZ4K8p74hqCbYTNGphRNk5C9euJ7Vs+90VF2CpzYub8QWDgvZn7PVgwLX9js4ScX14HZK+cipBl36hNVNGih8ceW8klON0qfsGK3h0FfdB2cYoGfUznFBGQ1dexpgCiq/9Jpuw0+Mu6IjlknhvZ54M+dbUTma+VssKBOKT2yiO829LGyYVDeZcWW2iq+rM4+IVkuadJHvOgtK0HAvf6Hqv6MvzMxrMRIfRVaYXNZItwWaMhK9EcHvmKollg7rRwj4za6A5YP1M8ICVYbu/ejuo3px7U6X3653jZwCYJLkYPJJF4hsANNchWw1DxHd9XRhFpEtDpbwsgnRdHe4d3JJWW3YlUJcaETFIyqyrfIDNl9FI1qdhnsErd6PpJDsXdTVBssnnywWOuYBDJuuROw7dJMhIyel0KmLWAt4WuDA4XBDXDhvdH3YMzpvSwpGayA9OehYLBdiJZg/Sqcgzo4fAxY60R/D9lv/4aXf82WIjNr0OJocQObI0mKOG+YsDVDkaN8Gd0+FWIxQYkKaqz5TKA6GsaQDQVP9unjeL3sq+T40sy9jMqejF96YrCVs06IPOaHEk6ZeXD+pYF/SgbXnP8FpxDLZm/5X2uTbU+KmcSA8qTHtudYm60C+qgjY6q7Cq3PwPe6x5cG6aCy/iNIJB4pqhVnthmLB7yg2ykhBjI433x3zCd36z7XXtIKaDDzZ80h63LWtIPbwAvrnEqhjECFSeZ7dcEuouAjwMtDp/xyH8g3YXEM/dMaXeczfTvzC9G12gR9DsTldPYxQr3S8svCc8f3eYdY7ceHz661Hvsph6d2UWYorNiN06FHIsY8JiazeDCIPwN3LTQhfq8c1y6Sxzjp0keL4sB8eSRoBySl7i4vaK+XWooY4GX+G63p7c6kqomt/wv7OUegVhe8gsubcMSFHhs8b4PDXcfeQpDkXi90QG702Sg3MA3pTyrFY4fs26TC0BX3uNxfLOwPXP27sRgq6php23x/wrCYNMmRD0ygm3oaXuc22fnzN2qfIdZND0ZXSg5Aw0zZ2Ag5eMtjwtEhh+oAsi58fpbprCd3Y+Im8X3dHxAbJBN/voswwB1A8iFTjwnJS22VfXzVLgJOkAbN93ypQiQgmmYUB8P74RgykpWz/kKDzjYEICESz+f1J3+d7k+nDF6wdbyJqKa2JLnaUEEjzTE0veUXhvGyxwuicIs8sjfUxRS1xaTFzBlaJR14473/5hgrS2C7nxgt5dDHgJIzkWYc3UH1x3YcuQxk8jd3yjUjgLhAu+ajNAIA1u4rggxcqWhBd7PARsP/IbjYWSyBqyzWHyVH135RbugYs/g8r0k/6Jk2iWNGR3WStZjMs3ywJOEBRaLhJN12glBmMumQYTj0lWp/dXUIwgq31BBHdximsLgDh0ZRsDBZzQ6esLIuFNeNHJePFmy3/T0XoC+P1rlexIWwW62lYAHAsekcEEsioDTMb8L9rvZSH7v6tbRGI+VuO+iXypFQL3x5+F2ZQuNrQqPTVNc1uHe8XoDmKzoIhI4Jb2+mwnlHz1U8kBJ0rraYrbWtBK6jqZoeh9f59snon5cPXTg9xt3hPfSD5THo0IDgDEzHbG+AxJAIWFWrkw8YzxkyVTrr45qaf8kaOa8SC0FqTd1vID6AQcAgUY8fE/4pC0jzEkTt6PsAjQkz1hVOg+Z4zGcyynHMFxz8JR23C7VLInllNNiF7sO8POGKz5eON7xoxjFkxAJSxi+zTwsHLHhARd8+ZcsStHP/VC7DedS8BNvJShn4llJY0aRAM/tyRhfuLUWIhfjY7iKnxFxO2aihY5zK5CwZnOKs1vY0jsp0dWrEZsI/00slpharnjRHix8saKT20nB1BuBOl1IOf2bhdCjqS5BWxCRf1ty4ryTEgrM8rhvZ9DYq5CnGGY4H50BRhfPikKrKr9NSGgfo+9tvfDrrVe6rhwOj7VU4K+TvqxpuQeJJ6IQ1icni+57klou5QQTNPMkC6Zx1FrSuamcPLDK0uZeH1WHkHpMHECmIHs3yVP2aTYB7LxIn3fRpTv22m9APLRgA3NCaZRhtplzXbcgS5HcfhiRugMN7jX7ocJlalULdBQYALuyHwIsnZpDRvzPXIsLxzS9yQ0+ed9wpDRUSM09zLRW76PFELUCfEL1Zow0637gcqvTMFR85coU90Z1scXNIRsvTctfpNsz8yBM14o5+67SB8SxYwDEjAS6dnIKhBfj2DWNZhbcDDh8iykbN+aEgrDPmJBzaoNHBo8FBSTGJ6P0Ns5pSjWeXnce9v9wrjQw2nTtk2pexRGVR0VPLvd4mWdXYQMQICtxkZDMhtqHrJRrErUVuYh20SxGkkCHGs4zRkjodcHOYZ9x0PpZNZCWTgmMPwfT7O5dnD8c65vxT6zLrFPLQRsv16Mi6D+yb9rloMsXwTvp4kWk32Z879iEhp7SKMqC+7LTGQfGiPbuft5kAfN0sb8JOnYxCyQscy343gX12ybth9ODfS2POj6Ndx13bTiUps6RMVvc5o5aOo+VP5BJUIUANOX/iObflpSWr7rSac9sW3HgpGu0Nliy0eudWLp+euHcnO6t0j1UsyQji+zDw9UUeA73v/lo5t5OWgPE7hBNr/QIzYuw3NzlgBj8AminW55yt+JeKw7BTuog15gt9EAs9KuC5On1fhjHW46V1nrHMlLod+Cmm199OrsBCSZ+rSnAs+R+t5I49GCP4SpwEV+RTTw+t+Hpp3x5FvOXiPXjTM76HY/58rBg4H9rbqYtJXIZEPirqw7kx7b1fIGqK/m7nCa07gC69YnENviHWRMWkCWuP4rjBkRczcJQF13OU9so3eJJXjEGYQ3FCqmpZK9JXFnKmVahz0OlakIeLcUfGRX7tf6CTsbFM4LdQK9nt+aJ2PfIuCXt9SwsXSjpZrydO3efU+4nRpcpVLnfbyk5SEq0eJZ8ra8DFw4K+P054MwQGQIJBZ32UcQfjKw7nxkrG98b1U9lPp79Tc+6TPlGNa2D4s5UlH6wZ30VLo1DASIUN/58PuMz0zHJV0J+1EZ63DWD6yLLbWukppmRZ5JF2PSn5qnxIQmX9Odb/sv87TaH+MlsGdaeCBlOvEAzVdeMWBEq618h/HB8Qj5NuA5KYDqOykJi6UlU6DYEtQJefgF4/TzhghUUN8IVl+D/hfyg0S8KYcHgyfcrZN4vJjIhI1h4G554fVNLtxICgY5/P7p0/iu9R8T4ee0mSJIIvG7G3ynVfsRm2vSjBWadHOeAdYZ0zPmBEbrVTyEMmuedd4HPmpp26D7idSORBEhBi9Quy+JcL0PHh1jXlc5ahJaGUMQsnSxp+w6iOQhueLVApNNuhPpKd5GS81mxMEHB5OV7d3lnA0PDpVoONXmqgnPBmW7AT8y4mwFFoVjkusqyXX3+0pW7fqdftv+ZtSl5Oo84lmHmw6exfiql7yJ0//34eA12vXw0QkgJ9p37zUwWYdll4xKr0DSsNfw1JoXaIAPZE8KUgYjzvzNv3+xuUERahYaMjP8c7DHZPSAIE8OujKfvZjY+IsP5IyptEMpuP9AgkLLbERRmpYPXVOLc6eweQJgOZdUaaL8ngaGgvfhrc5tJ8s6hHzbK68jZViOKMme1ahYMB+qe6/sDNijQazsrksZmKR5+FOBioNjY3SYH6kikguKiCTGJd2e1RB98CSUD5ou8/gVYHjbJdYehci8CEeLYAolB4KzceNBzHGV13CVoM06V+AMYKLrfeQbnVwfPw3bt0PAaHEWIQCOs1Z8Rez7DojMdwMnd+l7edHxIOmS4gIGlOiVHVWBhwBbl7IroxSH0zSb5WthJa5UrZs7qIgXSIRDTMJhG3ngjmNZ7ypRi5GBGgOe32Uilv89yorAjFQNPisFMX1D+2cG0Ds0MKojL4uTsDW1OkJ7xD40BAf0Sd21HzpvaXk8IXDQ9hqcvkq6bkAFysO0mB7mVQJJ0/g3u7QOaTXINZmJPsaA/NL61+yGYhIYI+UQVZGfndGlGlhFsslWoqt7puUxtNTA3TvR8dNKzUkJRovN7mdrGBxgwltCNBMeCZ7uagydWA7a/vFu3tOHxlQ7+kbURb18ulQ6sFJHX3epbkQ1RqakI3xQ+hZElQpOSx1iU89r2JKXN7cVDCWaxAZbU6BlA/PoWW0y0CrgTOBrS7pF7VVlSF427pQ6tBzfLF5mpbBPkIx4DLc3qlyqieKKQygaCVt18Pc1vuRQmyu7ITO0g4NJqLHjMA38T7a8K3wF/wLSDOG4xj4Omdb0Y+MBca9qqF0wR5n+NKPGugpWAyl228vLDGb0sGwR0DnuD0MKa6Ulus4wW9FN0ULFZJ019acaxNO05ityqQjP9a8MpskeR2zCYbTBg8jX2+KcxvshKhIrtuKub+7G6DU5mf+9gOMdT16RMm3wWpFKnKLXAKeBIAnZy/OLsE7f1Oo2VuDryNAYmY7cxoedWpgpyuc6MCFyuIt93aHqAecocgQiSwJwv8qoX2QFiA9ofKeWo4ASZM9bn6cDoxbs1yboVA7EyfE2k0mI6pQHNnLxJqoeOUck6+lborg7jaaYst2ShAFDwVj1tBouHNs/QSRvi35EajkZa+0n2IhVS0lFmuPcqIzu+2Dvua+hQU/FQlvx3rx9hACMmKg2P149Ep+HjQvssnknSHNDgLoWtkx5oLQhdbY3nJXJFDBEuC9sRc0czJxEnCrmZJJWpN1grZOqv1Y3vUQETk+/ZmiW3y5AOnEu5GnYwtFqqZ7OfaM2pbGAQEytuzkCwQW2CvUu0oEk12plpLsmpWybZG/2CrfW312L9q5t8muF4y7OE57b7TwqQJo0VcT3pRkh7vmZOZP/DN3nMLkK5AZAx1fIN9C8adjsvkpYVbcFUbs8wIB31gGGWgoK8P7ThCjbnKFo0nx8c7bzVpiz9CMcYkDIuaVNQFKGoH6CKkXZftE9/gH9AwP/+V+G/P1oO4YyI7UmGG0b20/++JieyZ2709l23M1p6kxE7pujaE0pnEe9mb4Hef9yYPdLdoNyWnATaxWe48EK45kqEDEyhO8ZUr/dToW8a/YXh9chZnOQpA+VgHTNB/oEqFOeEi5hbLg6MNfbF+hY53o9Ipm4Iuci17jAm6+NpP9hcqXO1X7zzaXCkXG34jpkChv3QpjjMDDH9nhI6k7KqeES++MttAK2hIxFmp34Eaziny7+9bf5lr/bb+bc8Xk3qraepXtz2cNflIl10+Mlsbci+UHjA2CRGh7O36zpS6akgi2KGIRUPIl0Vpz40sgcfYvPbPuEDwlKt7JlQH397JYWdNDKrhvpC02ZbG/ZeNFq449Rjd+tFOOR564GHsb8gEfiseyXR+uLauwJXam3WplPXCDqp8MXxyueWtsjhxuY4y5WmtuFJlPJ4WcjBALKgwA/sSYURWJVkPN9CnK2i5y7o002GMj4LV+wWPfoZLLJ0/rX8n7x/NtQyIVdakSqEDOBI8nRs5od2MG7cQM9fcL5DJb4NUzgAeA3J5uYIw3Mngah2+daq6EiOJPy9NSDI8HxmiSkW+octuB/i9R6NdsJf9tlz7bUP43zrtCE/rHx4QDN7eTgAvLrxhsJJfaPz7/xEEexY8ffFgcA2vLRC0cGRqd3ieM/ZMyYI2/mVRYom2KJJGTQXfVyaB7OFia3qO0ohB+oLtYV1B22BUMkQuXCDr5mpVC9HZMKwq4SaosT7/i//qfrAyOJbwY42t0nYjLCIYuuFU5jX/aTQkIHL0/HWfIz42DomWgTmxdy/QRkdGRcNau7rTBHSSKpQ2E+UGOiPxsrppGTb4mQxKG68csmZlGE2EHyh8BtlyVWGil9Qibh/Veu9awGbaRomAWkwhxg3wcQAsFmkAOQzuDSteyk4hh5X1KX5z5yxBfZ7jxviAdDMb8i63h27UVsTrAJ02CBNuWU2pAxu1O07h480C71DaduD0f0C62ME+DqVjmu1CV9Z4lCINQHuI1zVqaqlut8LsY4ZF+ijerh7MeDx3Y4a8vKnaYPkMNd24/iY5uAC5WFpJJJhh7DDCO8O/qzhTKLOBJsGQtEHnI9hcj9ACZT13olPeqYlADeyXRqoy64PnpjVodi1Yn3wx16ujcgFme6Dj7b9WOv1zx5oh6yAXlqRqM9kUiF8QSDiabuZYhlPxcqFdlS/1+6Zt0dwcYm+dHTjNaKUJipCya5CFOAsUB5yseK5KlLLCIqmUsiea6UW8Bge9New/qUbsBT0v9aLQalutg4qHTGeJ6Kr9Tevnfh1KWCA9t1r0h+tzr1zZNJqCFaMSqrHqLY70TfDLxqsRNB3lWavcXCeMxAXs7bhq8Lk96/u45P5AmyXDcq9w/UbG2KgTB+OdlxVx9q/Q8z/UUR8chNrRnAYbm0D81YrnniDdYavRvc2kmQboasms6s0Gc9cjoh60TCtdpDQ6/JVxD0RW1PswbdpramiqvSLOE6+Zj2e5PBNKBYuMtpFp5KiWOT78IUTzoQFo983dxvgWtMvRVZ33xJg5RDhH2/0HaxaPqMKhT/0qYTM7hFrdva9e/p21+shQIpi+t00aA5TghV+KhvnWSyOMYK5XhqfXvJsjJwaLDH+/fXyGyH4znzXmk0BMq1aexF/bIxDj2UaoSFid9ftWj/exdH7dlOAeiOqjJUCv4pz+n/SAZEECCweBR88rh+5tuikeSF4fomBD/UcavPWrZnmD3F/ACHRlp40dN/beVu3djTfqaD6kzxG+8Q6cBvhAPIwyfyFTYsKprHtBTQNjemS67fL/my94lzMOYCy5G8LDV1CBWWkmqLs5Fa+CBON/WB/cSWj0/Q3/Vermig8BhoeUsBAYI2kgkvAETxB0dmucDO05+xe0/W7cEylJfa7xGNrgEE7hpvwryQi4Ws4M3+DbuhPAqb1irjQGr8WjetGR8ET6hlf2syaQ2wn2zvfPLmHIVPkz8vgKf7M1UQeZm9eHYUDha2Wshu3zcg1XXjNenII6No66g49i1ztjaqIYf9sJDXShIbHCzxDFF5ZPdZfMT+hnqi5a06FbMk874aG94qFq2MkAlBBWTdlAn1RHoo+mQEWPT1SShmo/LdJlT6296lL2J+dQhx56e9SMa3TGU6esTV3wd9Du0M5XLFDmkvXgpok9FzC6A2QCIERW5g59ugq8h4qYdOcMhFFa7SxVZ5GTKs6PMqCirdhNG+xCBBQd8cB24bwI8UdOx1ODP2stOusOFokXw2PRDp0tb0CbOEMU9aqtBYqzc0ZkBxNAAmMvxmjZ0QqD0Y2Z/0tkgfPBevEJ4PpqFS10///mTZZHO1otMZ7Jl1VyTALDv7xEL7Y4/uGzRnIBsMpa15ssotgOaBX9aHOmUYPuh2uE7fxXDiab4PJevyaMPY5NPmAcYyDz3ywv14b3DpilvgzIL91Php4c2fndjd6gVSggYhwXXcdJDKKxSuoHt6U1L/eY0D5mlfnMXZJmAOOQ6CuFf2jzssh1/cNkcJTiWZlRIQ4hHN9Uh2KhNefHrsM4cVRj8lSZgL6jkkpDS/FLn2p844KiSGh4LYI6iJFOw4hmTqMWhfbD3v0XdoGoJjr3Ivk+VuAFLPOIknL4irj+SzYZ5RZeJ6j0hPySHq1/JTfC3ZUP/hEnCBKHBbsAJm6uAX0IdEVGfQJ8W8M0CoeY3TQ5estQeSl9msgSyt4bkBfPHiPFe8PPvxIsLHeyHwNpFNWZbtmLzavg2uGFmfz4iDSQ32Nl3mx4j7XPyIWeriFclUdIt/zUeOKx1R0OzgMNx13h4MHEvX59g6FRtbuotwM/nAlblczU4h8OzTavXBXV8uqFpu+SrCA4AQT/FH/Eo7ZtWpn7LLVdAUR8BpsohtKnFG3H7BTbeJVqN8e7x0gkaOuqQw3Ab0f7lG41SURedEabgg/2noDdfmflatC1mhEkZw7RhBad2v0yNElT/4342Vjno3yrzNSHU/aKiNFJbeuETMuwEweBTlCEfUyxP3Xp3cpP4hFI9b7TuqEh6OALDIaVh4Xksvbs8BAla1vkAuNJ9uz981AYUQRtEFSinqsciHLd/L1vkM2FRNNdsbFcYIIoQYbJd3/GsiQhEmtCWm02cb4nR+RgO8PlsmkRG+9wBgIXf4lDGWcxcrLKB8Bcxl5hkCV8wDgfrawHL/MTC8/vCsvzyr1P4nQIuaUr9/Ne0KlGSOjCQ7pJxv6bPSK3uSxQbfnu7NWJP3LkbZcSZWEAISIgn5crfRKbCfkumbDnHytbhw1VNVMv8IzYgPsJwEK8Jhbfr145N5A5irYVhK7i4o2KE+SAmccq5YD15RL8Hqc97n6jCsRq4/uEJS7h3Q8sXq/aw+XRDvcpmf4Seb6j2Ybn+spHtV0+9SRYCK5wYhw1MdYCb4+BxaxZtI6UUnDFnlNp3oX3Ff+UC6t0xwD+EJN09b+GWEUgiH7/w1PLjWN2g303NN3v71t/skUxqiMk4LaN12aeB513O2Ev49QCKKiTh0bMH3Lr4h0J7+jXLgpbqOKXOfn+4aSPycZPXCpmIhE0peXCCXMZ7SfZBVOQ+7HCryw0wO/wRlYSMMG9Wehu+G+XPySILNY+oXcZGMhhsEgi7Z9HoGpXROMsyaZD3DeSIDucwl89+/KJLhddeXsybHpX+373Z+9NJFLvXGhj91z7iHvFqc1I5RbiNILpvfY1izsFehcbVZM2GOICZ/gQoMURt/hFSVF4yQ0BYO525PnnOV7VEEJZqE8ZuJHhsaFY6nmNW4oiuBPquCJz+C9GGVhQsMLGXAhgZyhLsDzEEXm3711QsvahGdhDihbO5WPbkP+GXr+fvlgpdYxEvUk1jQxONN8N5WEtPg49RQYSUGi0ERGX6DodlkIxPnqgqMelCCj8NiMcKZ3RKyNA2+erjTEwgHO2kl7/BKaPeBLwzDVvXaSw8pvv4JfH3MGsM0bGRshYjKcilw0Mholy7ZfuBa1/iD3vmdaSLIc/N5o5N5p/11yx9HUEXj353Ej7MHEK7SIHOZm7fUKBw75SXAGAs9tkwVz8J04tXLpzh7thwieAP88Pm4uhiFgmX8dU6xn0zVqdIQYac/qTwkKVPm+jYIpGXlRaRdT0LgGI78EUVeSrxngzv6DzyBGF0Q8cSPKow/2lCmdAd9evaVyikKaHl2b8rguH/ZLSuFgRrShD5kaxGw/3BcWCbDN2258JTBa0/svXzwZlcGNTgmxg5JkaHbK5Ag2kaEV7Ayl+fZ/KpPIkdjEU/8jEJlFNcXQ8y6hUBaRrinB/eqxZTakYFnqZKZIUJcseJLaHmcAoiGx7SD14hH0AdaLlDl4/Nb6Sb9RRugrmxbzxF7QLHoZW6MzHo4YDPrO/uAiuXJGDOLLpQmVTskhCHouxWMA9nUOJJpVWJxxLsihZRh2FjYKeHZ6F/pjbFgOcyUF9h4O1fAQzWDbBWjtQ+/n1EzyB0amJdH4ue14ETUbvbLLg0hTwgQXLrIQ4Lboc9S0sHWwAi0XWbcbvkw5dTQRJdy773vVaJTyvSBphJLyNIFOcFeoe9tmFrZM+M2K11j/rQv8zvsAPGCKyMAvD2qO2NibI8MPnhthDaIANgiMwSQuld2zQVARd7OkZ86f5R35gObk3dPorleJyt5eXtZc53J5LuZ0bl5CBSMW0x62zrVHxp/cHOsS2nlWv4PAbK+VoNHUCE6gINpAl5+ULxkpn9tCRziAuPkOk/IGm27HYUAyUiAe7Yt3xER8wIriBXES5Xec8B9RF1/KOEn7WhkfmCTrYlaqtl4zAsMzHu3LNMtO2sedCBBRqakP+71vqxdwF7Federh7EsLvYkjMCFjATRzL2I/dEstjE0n5mDGqvC8L/K/HKBfitvgMT14FT20b8w8yIFxq6FvuX+ODnwP18dAAfAgukmEnWbNTYucI7TNxoVsKtPKlZyydwrzQgHjbLFcRJ1qPnOKoNWVapkwYKu2dbxIvDM4J5WFMvnz9SEiSZGjw2jHGlbMdcoU0AZ0Lyl+FkWAyGjb1Mt7/Ceb/3iLohpWwHQ8K6BRR46CQ42OalviM8w6LOqC25q8bfhBIY9LC/sfVumkl6OpKvAbzDCpf3HcLoP/obXhVxr2RPN4lbxovB5eyDa2C1EcmnUjR2abc+dOqt4U4K7H4oGjpJfs56wiKZY6A6NXBY1wvtSv9N+zXSmceqzRmyvrtwWQf9JD/lg0PSV/pQ0ZJN+ObBnVUk1fwXwg/sZLkSTmVRA6SCuNG4LNH+Nnojucv6B5ugdhnLKYHQYB6EMtROAeUQAnDLVw1+zswAGLSpgvhnWNdFLG5c1XFVvbGTIPvtvu1OFHOvMextAKZEh7+KWiGqZoXafj7wK3xoYqAFcFlV12NH/pvyduJGgRskb2vhecuv8JaCXejFYIyxUBcAJIcNSorIUdZ6YvSvFdvBQXb0LZKFN/t9ihCGgZf9GcuUH6b+IAB9qs33ejEQi0bzngqIB1zAnsmx4ZUF3g287YtjVNtfJ/D5cqqdWfshyQoSa2CE99sPor1WOY/Nrbk82QfiPxx107MdKw39Jt1cLVPDb7jIi0ryoS+uJWECppdb0lRuHvz6afSm3D9LxJEfTeWjdW0pQeWgc2R1buIlCUwOlenm+hABrNhWC9FydBU7H/v2zZfSNybnOZ4bL60z0Lg9T2AHkXPow/saHYQDFoGq+B7ohEu6d2btGqTLV+glLX7Wrz0t6YC2cXkKssYjGVZNMJFVVFXnb1eOS44RbApLYNOLkklKQE/0S04SfdMzalg9G9RZvBYddTsn96NJBxq0f0MZsa51JK1STMHbRaTqWSbqtWRUZWnnDt8gg9PDPi5+i4gVgfqsw0dZ3t/kfU50qfvQRmifCYwsXpErr8H9Wp+wK4M4Z207/+gYnlhWXzvEE8K3y1goag10n9TEa3Aup7Gi9wEDc5W55x2c5zi600My7gVggnrOBfO8AFEVH2rlJJChDo1+BOODi4jL+o6LBOQVClaM41eaUwAKLLvCskRi2Zs4DvHHuoGmwjOwQ1UnvakRaAu3b5YqHJWFgvA/UtKRCii5VpgKYFo+bBQJ7Xv3HQNWS3AStLFt68ieV050b4Hq2GHvl8mIJ8gnIuN05IAH34glxChNVKDbA0iXRZ/T3HIGFGlMzf/m0KuX0UW2Bbbv0esDY+7wJSwoKMAUdFUkZTJIwjSBAHEa7IsJTXDDeyWVks8Spr0tO6wIvS/Hg8iEsEge6zYlt2MoLJue2U7eRi+oLj8VkHHA9fhf+RdJR4zlQ2Xz/oYtIP32zHgIQDeUIrtsKM9dtzJMVFxfj/x69INtzZWTW1psh/FLL+5igRwSZYyStdHv1AKSZNpPHOE/RwsYmCl6m5Bc/ywg2yETZ+wOlvNi/VKckZLOXHU3G5v7sfUuDFkMyQr/LUosA00ezYXfLKaex4XWC0CVoM447TdlR2PWoDKmEHxpWsJmkpDxTKCmHtMKqUbBrIc7WjXdTtnLBSPOS9bBEtQRKL1EkIueSpOCcK78e3TynY7Kz0QUyR7+HsjVh3T7YJhzLD6FfiVt0/TrTR8PJEQBk7dSB3vLag7U1UHwDB2NApgHhXBEUQvI5o5jTqxHGQ0SJRiwT7ayO+//VpCPvyXw71hK5Alpj+IvQriFYJzKnwmT1MpfzA3d4Ntt7tca86wyD4cCrVKEaPDhg1cjFvN5YHCJhQ3F0wBL4a/odf4OtUtPiQbIgbm7dae/zpp0K7r3PgViQq+glXcCRjj94O/zHBJI5uQOrYqJJOMgZjYlSeWiMez3xxxrBcHM6udoeOA9ER527CF0OdILJgNZ8gtdx76O/Jhc6eaLMpTxTp4taKQSDUIWa0PRvGFvnTiGVkSu1cr10QeIEqc88r0C5Eo/hJB17U3TefzIxn8wKSVzjavfO8tit9iLm0fHOBbpNpFn0ij1yVzsXD6hsWWVRlIxLzhpfpryus3J0Czt18vXVXa46oy+VlCMj2xv/SdsVDmTPohibRIbEzOXsshh7NDCiG0H6WJ9+d2kdlPippJvYTJ15jJqVzNnFyiC5c7iP9nZnR65K/6xbuoHEZ//Zt63tqreiljoUtHAqyOi9RON6frrRHF07KEZyYD1kp42T7qFEPNDlN8vb0idcueFPprokj1s5GmNL1nevdS7EqFQJSMzI7WuD1Saha7Ca3LYO/WqCiG143JxDEiB+r67lC5gICTdiA4yG5NyxPGtWRiV/FdvgQLkju4E6SPnSbs/Vhsl+EUjazwrgfc7I+mBoVRrA/v5ChMZcDV9Otk9UjVVe4p5apiX6kiP2FEfTrDvgnFZzXGP85o7Z8zxFXjqYGvdk5Ze+4/dkgPlWe7k/2/yYOm4OlHiwHM2NiMilxYCeENjNXwrB7o3VI0bWFglhqr3aFmCyHQBpYzQ1fx/6mxjfQQDv36MI3RZA2TSyU0UiqoLjDwmiHZWB+lVz8HOj92OMMbu3+aghrDv87vtTp45BUvZHX2MrodE/DFAZy7nGA89AZsHVVWABv26eTMG8tZfVDz+szhElTDR32FU338UmLw/e9dalqGmoV2OmztVH8pfT2Km4anUR3tsIp3jOKxaomnHPKbZeMeEpGtHkQld65uhTNluH76XlJmp4m9TOhRdxgu0NJighoYhQtEfqaCvfv547sEMn6HNm6vqM87KrRcB/qS+iIRGVEvAWrrQMlX7Zli5zgNF0e2KnoPeb+cMqJEzZy9x088m8NvFffSmflvzMMurWQwB/Pv0NU6E+tB6WVuA70kwtak7nkosBnp/8ML2E+gongCi1qvHpoBFr4pfQYeIuJgPxIZdp7fEldFqmkkW0t30r5xLKjuv5JoqKShd76vQqX1rpWns52CmrPHIIjv7Hnc2cH9lhBiyVaOpkL52MUb1u02+ZEzLF7ENj56IjIIFUvIG7Uu60bIlf2IIB8Xsb/bqD/R5TChQ52cJAF/dnh4gBqm/HT7oNcgV3xLcpMa4GM+JS2SkxSJiMO4PvtgUGMuCxi26SIUKx/OnaSI0rb3Kpazn7briVd0No4aRIqxDiwTWuhzxOjaC8FXOVtyWcSKHMCpQ0cqchdl/ijz5/Y6aEBAUI5fVniAMbP5sF1eZT7j2ZIzkjM+y/OslCYEM/X2kqfKMWJuNj643TkL1djH+NDS932T+O7SELaH61uwfkuSjrYJjKQZjVkO4fOAXsVwCUhMfTCbZ6EQFr6q2lFO1lgGJASk46OrOoxZ10TizXM4tSgwTuFE/d+kF/Ds2PA/CDiZ4Zr8BsLbVO+yr9GQGKHK+ytKj/EVEQWbfxSifdr3cMkATnKWnBqeL/3x5HCyHKPvLlBlJDPpeqvnKNiYvs1jC3Cea5PG/VR6TLVAgY5l0Qi4qEeFID+DyiSBWsP4X9BBegjT2dV0Ts4nzB1bNoYeSPxvS5DRmO1lW3RxGxwYG+ALIJfa0a75Jg5i/YlxrfXKQ91MtHhSt9ReGH9VDxSOQIhhYRYA3L/cpdGm/GTQsKAOCuM5W9f2yoZJglA7dWHiXWW7LgE/vhckQcg2tQmq71diJRbKVDJxKHq7m2DEEf6oLC0xljNZMjSFo7BPsZX1mMnqa/FvJ+L9Cj0wsL8orjqyEaqiTPayaeqXsPji9scgOVV2vi6bzNFQDJGnfq5Uvaguy3fMAm1VdYGtfeM7AQQCVKvI+UB6XvUL1//zgpMOzglQfN+AaI1cgLmOmJ9rJKDT2Yor+UO4EgO5bzowjHjlSdOjAMtEp1MIiOXeYBLOYbzf9vdN6vjLXpvuU54ULPn4+l4VaaFIfObxJLyM8TAThsC9bUlGsvaU/x28V4nWu674XhflA6m3kPqKxUM1+/KpET0KW1jm2w4PvY0ZCqWrKQFuGExwCJUqZMCwTwQhvicLZLbrv6XVe6imeDuMS67vteh03TEk9YVg06WyVpc6RBeNY1iT9h1G7PHTRN7ha2B9vxcUS2LGaJrJGiAhw7E+n7gTQVpM5mw5Gvh49W0JM+YL7INPGOVdG+AmGuHYqCxwlHF/uJiMZivhmt08/TlQrEq25M8ZPOgpypiPupkM4ZiCaOdeWePV+YcgYNceljsNiERoOfQRwx1GXvPN9Y81s4j0ZmT4BSsvETwzT7xTFxN6tlnPG1Ub58YL7xUwrCHF5wm71mgWONorBwbhjghIY/X/N9y2k9EbbX9dZFv4gZ629LXnHzOB9h6OTzEXzcMJm2NWztL09bqooU4MpImRa7RQsBcsUc28KIH38qOGB/MW3i+11o4/XI6KhVPHjGqAaSuD8CmfhRmcDaDiVHmUokrt0LGkwHg6xX8YG+zE7DZ8LkGgCj3vRMkHpCu5xps2D0oR7V3u2ncvpxZOGYkkaAFTvmyOr96O4mvxrY3OzIFdVAv/wyvHnJeiPF/YB+1JGJXy2zQwW5qe6GOlMhFslq7ynECx9OsGwDkFCgOLPaQsF5Y+h/DbZ26F8EbbXA02y8fJK+5Nieeozw1UhxbP+2NOKtXBSan6qQ+bDP57sOk8h8AI1jmZ+NnCPoIaP4Jf3kQKyLl3LqB1bJqJVE02+/LCCy/LxovosfExObgBSHowynwj6UMxokNfgFJO2Wpw1melH0l57WOz5+C9qLQSjnTSm4QObdy1j5BspP7pmqSdqp4/k30HuhmuWQxTNeoUVH9Ocaf42MRS7GDsegDXq6icUqbz0eLULowabKO+yIX2AXRZ2bMjnMug3Dg7rEWeVJFVU6dZ9VAf2LfaO5uAgFBa0LPkhtv1pc7T+P1iUD83B85UniXzdXj36JuGfclBr5dZWmtaOVBd+sKMr4CUUnqxLnljqvYTk7s/smL7PInpl7GwO8/f20f2ulfD/a7yiFMck7ye9M7FoXX6trsYKqbwSCF7CR9i9VAHEKJ97sagG10oOitCSahn0Qv0e95bfbsYIYRZjEFMAZHJ/iVCm5wSuzmDeQfhOkgnO9BfyxQ6Lgl5VsMHJ2RMWNzvY4/rS2jbPHcOQiH3lR7DZlYt3eiTlbhUzl9qWiZPVyKtO86tlKvPKL/K9QLI0gOLnwLAVY1bHX/no8P4QRSLCzCcucmWASGw+dcR7omPeE1SiAfCQmbY7uIvXuAhVNDe2rxZZK7YFmx3z54t35DNEqkWaJWa/nzQTWrGDIhkP2zDoB7p+7WQsCrlrUtWRk+xc+VEq1p7fceiReaFMnjqXoHYLFaKR8U2UVVgXsDnvz/tGAa8FN/X531PBONza3LCO8diqmN1fL41f/ry09LvjgFWm+AR4G7+6g1oWvgXp0vGacFT0Z2d2jk/ncOeskV6ZFmrRS0ADTd4ntiWjs1gU88y5/7yCv9MOlSs1L3lrPz9vBtte2e8XCBbMJ2wffrFcbdfosegnaKvBuzg5HLX4TG/LLS1OzCXNCn1BzZCT6MJXlqdXOTYPlmDO+U1h44KEoRwhP4uBqNakRSbMI/l6hlgHlNliec95MOCV4eKna53v8Y+tP+UidVrhT6gX+KFHWpBr/a88ZN3B98Qi2SunBDBmd31OUzqejA1YL4zDi2f17o+WvPAEYXfviqUbOXYgPqJ5S6cgHtk6KOvYRrW++uw4cMDRozsYvD2vMJm0fRDRNS8SFkRSeeM/J/sRU6IuRUc6SbLcj6lplzZXlJ1l64PWo9J/HvPlHKsD8S6+1SpdK4KNUsbTpeP/TMY47Y9HPlSTmtUMPEqR+tGswrOF1HHmFiG+ocptw0+Eqj9HvYtUodikE6pNsu3XPAdgwd4XIE+obI9t7JGNIUlbSzV05ysLgHToxv3MF1wRtyqxiF+q2uBRmZ10x4ApbAraQ3HsN5edoyoi3M3gZVkJAV0Zia9jQPzIrogcjXPEzXmTjYrXdcU6UYwdvTkf6skzWRD3oFxWyHGifnYE2grsK/nJgQGuFYn1rqagt+j6kgRxizFSwGGZTEFi6PQL+fkKdZyxDpuWoX3owzEjNvaon+q3eASDB9UTeeIcrX8d5B7pWVVEdlW2Vetl4ksuuj5WbUcDsMRW+8OK6WMYJgtMst6aN7DqCxqXY5vb21sQLziGw1cQ7QYaL/GRDsBIb37up0NzzUoYeRHZW8ddaayjKILWOpwQfRmfjcMsOfZjrsUnvLzPQs918nJWHivC7M76UEFEyVG2pubTpf0DJ6LRj5HkgEEIu4YARoGKfRhgyygdIscdbevwtlamHDGS1mrGhf0tysWm3T3PVtLpet3/D4IFa2OGu+BylGIb9ffXZQkGsi5kDujUFv2GTBs4EysBa/nz0DIkQoFlEi8hHhORbIEWAlTrrotM6g01P3jlSRwfJQkUUseqrc5PdAWafGvA0IP87GfhUKwjau/m66d4hqJkTUsGbWWf73t2NObU7eXRR6K5BZFYDOSzgR4/MkZ0WDbGfeWTckWuWW0WhxLVYYM9eloV2TecaQraka+V/7XykVejgHYCJUJoBeV2QiWUwzUsX8T9cnTdiIQnsC4yyGwWrKyiskgXQChizsOGq/vo02ojlCWGar5G3EZyz6TPNSsA9O2ntCgz4ycYZX+XqL8waYt1SPVtkbwoZvvdAy/AL16w0oW4BsSbjC9tM1z8kFwGnHwMHEt7ZLl8OEZHfijMRGvI2AA0E+lOYYJYluLHmCus/v46gQ6O6sqN58qUVmIIV7kOLGuw6EgcrQwiGQcBF7BGiRG0cMQlXPsJaV5i3QoAJDDrlKAxzZ5xvRVne4SBfLGBOcGo/W1J7c/xwj0ABGia3xCbOOb0S1St2kmWMJURn2HeeCo08+R6/2RSuEBXXTE3RZ3KhzYpCuoSWotIpRZgBmbrpli8Hmjh8wgXgI8cp6fgV21fdSAkLuYwkODJXMAkN2jdcKautP4wYlgOVnEN8obV6L0FUYBzYtJHsKeRZ2BSoF6HGmlp+tbJZrr7SeqUqtnoiosJaeqWrlyKm5KC9BP3pqM7I8YyggsApRofZ9CgsvLkGWC1dERL00HbZgriHdlEkLygt/7WVw1p/FmFgDAngYFVDr5Blathno4ssNwWGie4mir7rOjgDZ3/DquN4EvsAwOPYfLbBhBDF8bNxSUt2SeY0X7lUfocot7eVXCY4B5le1AV7kQLXTOi+xSSTRUbcQB+mJ1AcdVQn7212pTsiq65Q3WqHJsLa7wHkHNkNl42CLpRhflaRfsTp24pX8zzXY03gu99eBPiXA33nMPWChM4iknJ993ux7P96y4YJbxiaDw0NtmldyMB/XIEJOF0hyX6D7zxt/z00RVw4QqF/0w7W7jqIEC+r/PPP6aV7b6nO5o38Tw3h1WtWQHTVAAanaef+YSI5jxVu297XizfJYnUtqrpWSWcHcE2qO0BdLtpvxnf6OUv+3ICaLTyGmC3Vj+z8C3YbzdBvopuzR4bi/ifZln4QQdBohO8ETxYNr2bxDfiFwY6LDK1SMBUO4EteZZZzE+Nmfu8qOQJzg4XanHDYQQ0wWAARNUGi0ct7X0D+MT/H5DDpaE+dOcBXCDQ7qwc1qv+6PAGl0AhtV6BQUKcfH8/GVIFDu5alIppSUr1BOIQr/ySicjLZBvbwD2sT1sDcoUCWpWP4WRsEoKqcwmiA0GZxRc5OfsdYPH5G+RiwKD60UhFCiECoKMPrUon3Mpjqc0LAw91YlkgUl36gR/l8iwtCW8qRIaJ2GHvUHLGJVgYo+cjl8MnL/SlD5TsNGtI8SF6hQN7DOTORH3040CgWHW+5eGNjEPGOvS7HpI5XENp+uq4MVF55q1h5PJzEY2Q/aHp4T+U7XWK/GVP1b5d6lHhNkB8QdAab5PIashKpc/cbyNkE+RRD7a+4G5kRKHsOCUzzaahVaWzral/tkfUB5xES/15eXJenbpOVwcBMuXsOhzeXQNQmHLPQsKT5T040lFg4H/IwvidDwwhB4qLUYZ1Yq6YeIp0GN7A52BQl7XysITeYXx6SMW09/gZwZXdCoEctW4nhGXyGB2wXLyTP5IdlFxDWC00iy9v/tqWJ2MT1UFW78p3ez5u6ra5zjZddO7n3fIFM1SIcrTjvuupXWBev5vkBYmIB2GQuP3RPUuMK5k3LalQq+MxEw0p6gSLai69hXwRKexN5C58bX3gYrrKN8FgqCMbtYbx2mulyaFKU2oREygyh84MRip25S9T0WaejGje3TtE8nCCsqLPLNFMO+Id6Wys0BDTLZ2mgG6hX3bAZukCx38o+8EDjPAY0oJlmLa8pe15sNScr8HNEBOtyrsBKjpCQ9SCbmnVZpc1eUFLCFgAz8jvGz3v2PGZ0UejwaES4NyRQEI0H5OCi1JlVxR//cUioLZpKFDZ9mUCXlaYgA0fbUqKsWSYDXucHqody7QM0BJph3gwZqEAFBIkWw6rHqCV8G+K4CTLkxU3N7IFVSZndaG6H8+ncaEI9KLaCLtKLclZ4vDVsSWWoIGLf6k6DrEWE8zuRXzU3cQQy/c6IvIOSY8mWL4mV49kwmjCYX7i/kMRMn4yuPyoUCnUM1sU7f1H2iXvJ95yPJRHnFmagO29vrV9tzFyu3un0Kqc7q0/hludYnisHL4+y3EVAFstUelgjA25qGKDgnAexKwaA4wUt5PJMi2DYKz4an12UhKo4cW1mRs0xG785G6H60eGwrpZkVeg8Rm2iQwEGLgLBDps6hMhoO/g2mcJypbxRhJ8Tla2oweB5R8MRKd+whmqaApAitJwCi1pyOG280YjvfU+A6DG6vdqNJkwV5oE7+B2CLepYYsruQYDGjeukUrNgQtaPKzpzgJx3qFARPQWtAyWDhL5JXBFU2PRXQmdBhs0Oikr3/JXuC57Kc61jYCE12yf12ixFZZM1YoqrX+4zjro7zMztA3eYKi841xyL0Ig6claaODM7KjAzaHWZmgxy9fFJ33XeHOlN0r+CxKMYuSHNPnD83T9qZ47LSV6d0CkGRIq2ydwHLIdRnt2psgKhdS0bBYuB70vjw+RdXnReUKhK0G1wa6nkjlgB4NYgZB4OPSqJ5d8qhxm/S+gFG47c0D0qoaF5VXGJ0AOOJEwSxcXEM5XkYevK0iULnGShK0vhYoIkUOqeecit7jmxuh7ae7CnUg+kszvbDp/ZDtDQihTFKFOZTmo3Z+hYFdX3kQdNzweYCA1NB835v5yCPFc5LRSJUFP5JRjEFyDpTMfOjo7I8OcbismRdv12UnHo2M6I2vjlf5bBgpeihB7BsRQKYBbKX4K82Kf3D6ErBga9qeKeYX5y5XnDJ43YuNlhfm14taTagU5UUpLVm0iMFh/yAfviLI1MYmMED9ibHT5rIiDi1wlRM3ilLv2xaNDxhJtbGX+eUyOA7S3jV+OHfRt+vCgANAmQqrRqqY6plKw1fd3/Ve8n84aIszwhYK2+UjDLbjxIZfeCSJmGNppF55m+co5QL8bsJCbOt4HWIEJnWrTv9e3FJ+LJheFqQeivZasbLfKGS0qNmODj/P3nQJz0ZAo14hApNQv+PFX2B5L1bfsbTBckcx8alPAMPvJwoUBSokyBY+xWB7g7XIvENN6VZFyo0F3o5cxDcqrNgcZ9z468v0hrxlkkJGUPtGA/5LqtfBAw1wo9rS02GIJdiFS6EhLImJfWDlUUmONQ6A3kosqZrwfmU4sN9E/1NAom2xxSR4zwkh1JRbKQmSwiaukdECmzEJavtJhkzbX5qoGOGVghY2hZhRJzsvS0ZenvSXiUdPSzK8Cn4D8wSzQC26xaPBtr/artRcV9bI7pz2SyNOsRjbikIx0Pm3+cEF0x4z+3MQMs9hFe+jb2S+bphb7CLfQZMVlMGZsZ0bniopRqqn9IvpbVJgdkxryPqR9+WLTJiBC3H3/DjQlOwmfq1UCNSvoU8e4dt6ESXTuTgc8Sprozm0NJg6BX4MO3b1rIu9nz040sSaotdwCG2crP7ma1+Cl+bZodtBcWrDwVFn5wB9i1/oYJ3w7P3z7RCTFNcS4f2RboK6u9XHpJOZIQuJ9joBkxn8vhNZeHG73hmbcEcqT6OLEYrBqYWtUV9X/tfYBHZwwQ3nlMh0PoDurqF5jweZaduAlqjkQE2IMeZKgENJXYEoMePVbnK1s/oehMQZQjYHHGb30H3JfDcnMpiw6CGtS7GOoeINN9e+qUdCdJxvnDzoJZYopjmJ9oBQEqEODa+ecf9OlcC5CeumjWeGox8duWuSptq2sLhguiSWPUZDkiLfhyzghfV5bXlSa8Rgh/MMyodYzXF6AXc6DEQwrUhUzdxLncObckhCHcHxtSSpfqQbPwu91qnamLtl8WC+hFWVYPZ/dpdBeW9fuvxJQaCAi6N6NSTI+0yI1wqU69Zc8RRHTT27R6ghwqAzunj1IB3cnjZ3b/A73lsQ5CGkhRR+XAj5VKmmy3nncII2iDle/I8U9dCekZ6+3KQhfVajhj8UDiU2eu+Ig1ERKzsuTrCOqzWCKj7c3UEOLbgskeXr/s/8Rh8xqTAB/vP/gt40z1tVCrRhL1+cKJLJ2RrejCM7Kzko2kgfCROYYqfK5qcZIcOP9XeRQztn+l1FSxJT20eq87uX+H9DKjPvLfgleDlLtG0VWWZk6m3C62lWeaztdxNgThNSlOr4hQkJm61SBzVRpvSMVGNWMnujTFykgkO6Ww2rGZR+vhs5OfBLzW95UlkW2b3TjUp69EJBGiXxR3XdDIyZI1DrKtilvmxhXLnKiYejVgNdT2qcQIVgXbKYzaz9BKODvfmdba9IdkB2QiAVVxLQGenHlwbF7uDGHJYqpAfsEzemx/fio6xXkwSsS9Z8JcorLaoDIUJcfqsxjhFy4MVf9w+l93BK/bqj28g3J2w1IAZMtsOD+/v8gG1vG8W/qt4pItp44Dcyhdy9q+2EQvkcc6HHkGLZ14fSpMPhZn/4i3DnTI9i4Io5rOYHxr2h2CzIOANgSap0fOipRi+0shBdKM/v4W5OoWUzSFnzQjiQ2exw4LGb9PyTBF4MHi70RPDO20q/7F4XMu6rs+1J/P5TfUu2iCuZCm+EFOIZVdO8NyMQlUSwvIJuly0EP9+bBwrl0Jb25f4zByo9YD9VDOvKMFClW/Jusx37gYtGtrcnQikRdJJZXx3jNsrWSvDAagVIeZ+2h9SQs2G7C/B1zpHEGYs0+FcaJND/IOOXny+kh/U4Oc40qTealgoyaDzsqlZkR0U/tC29TA23kbjCfzWtyBO6/6UPt7noZ3VRtpqm0uM1i/0ywV0BtTPRevQemN7AjKiHd7jZ4Ao3EBiqGx6az0Fy6M+eqUh1/6HjAsRjeDhGaplGQ0Aqda1rnVhGsMSYOeyhOKeTKij4MJlGnk0xce3hsQpaAvFMaLBW9PdJZ+ROiem7Z1+LwsMewZxk9U0+8m0oKzPX4rRcUpLk/LJn504wg5v1cQix8CxhLgOhnGZU0uWQSj5ISAPyxGTeAsbecaLAcpZVWMMjH8XCTSPAF0fwexabwkpMelV1NeNd5oRMOFzzUlHkdOBN0pusr4ftClm8CPdT6QMbL/IJ44vBGGsUMHxey17nDC/CBOpvT5jF0jQdb+khuJBavc9tjJIc56iMeP1QVAQ68TBbWYLqyw1FOgh0OWsFaHCf19/ChH9MUR72dDvTvTfr9bysBmR8eeI4CKq/jgGV6HNRFB6XIGywvj+wCshZ/11Ukf+PQjOc2mvlUvz/XVK9m5hHpJjGccoKmO74ly42XhtxBzhRE2ex7VAQpCdE5kbhBuL6idmOUMe1kIeRfUpZPLUFyWmwrKC1/XMbGnOtLmuBQ7JU+cO2aKu/OqIdBMgqOEjCqA794KIM3apriAEgNjj/6oa4vucipwRlgLP9UsuFzrfxM96f4t0WK9csVn9MKtcoDI6aP41tyQm4Gy2pe8mwFp7/tIJVYseT0lHIDU3n3BXhFBHQUoC869rw8frxuHSmv5IkhxIWmHYiKCmzytmx0YPURWYa6VDn/5n3/nWB52EsgBelpdc6HRNVBaEPBbTD78ovedh3wPPpgA9WBZDSZyAh9bGDsDjl871MIWPLe05S24G9xbbzARPfKQsIWV/Nro44hu66HB1x9W9Hw2w05y4pDTZ1AHMBPd9DXHPgrrMa5VgY4S9LmSchAV2mefiNCyQCo+UG9IM7HAwi0rNDbZqyccofwTcskvP9PTBsMDXq8KwMKw95GEz0SGRbV9H07EakvzxR3+mXaiPlfDvf3IJmtV60HwDcw2TaTRfMBdIlkgVqh09jDRk0uNBNqxQP3XjYQcQnejFQgYaFkpXIVjFDEIsPr7Hl1alkzZayfolsNjh4ATeiCnka0IJapCuhI66IOQO6YInt3q8FXOZGHLtCQ5cJ6ARbRIYycm9dCUB/q1k4PXm+1Llh2hjI+aTc/Nmi5/bNSxFz/hfvmvou/7K33ooIuHexHbwzsiyOL9+glmew6oJe+gp7e9rHyya2mgh38MQWNubywQIlyQbRGnKLQ7FjY/yZPze6Ww/s4zALuD60SRRDwhv4sG55Xix1TSbQh+b2c4bpjj0D4xH1E+qHuMk9lRgttQubz9SzA6wjhb6sNopZ6B11AUjv6pezx1mQmrA3d+evqtrAPcfNEeJ7pPjvMtqlBqay5FrYfblCtzVO6CFm8CTIfcgRop1+QeSsTiJxoSvbveBIiZyiI5b1OfLoJk/niqkNUM6sxQLn+SwLdPPVw/gvMoJ0gWuiIBr5MUKOPGpr/0RDFytFrW311cVQfbbvK+dvVMiqExbT64FKZhKGSdsiIEddrCUQi70MiR7lMPLxOFI2gSeKE/rAVcuUvUb5UFcxB4HKTrTmP0BgRsNc0sN7phB1ohwPpfGdSQNrSThlKuGh0weOoUj6HTvkMQTWHFhR8beGR5lrh217nzb1I2Qj3PKfPpTPW3Kj9Heq27FYA5jVx45BEGPGZ9/NCT1ebq8ljdPQB8eMGwoazGnphJb7+tHiSQA8gNJEitjYYY/SLV44JViAHra3RsaBqp3RXSpSY/PZ5mOCeISbQFyq+hF2po90z/pUDqEzmdIf+6qjCLu3wvQ/rRoS5Me3GQXspSioESRcNYVy2SchtzrBD3JLBEBMVs2PXCGQgQIxG3Hs9+IeUoc6+sl2cMH6mg80Nxo5hlRDr5DhPBIGDakOU/Qpxf7y9y5indWQ0IqxfLN6yuYv86iAn3F9Gt2L+TAvO/+YUmKlphjT5ZtxeaSAYTf/nCv/EWqvH69FD29w1tABlACj79YFq+1z5d939XI/4DiGJu40KcQ0w8d9RFkB/rDl5NQTjk1Y+ZHleL38MXDRV+QVfxXhlF9S8YBGpl6TW42Dgd/CnYPMdIkS1UUQTMualUDoR+uzGh9vEJJlNA9klRlXSi1h8UCdgp53Cl5Qmf0u0xPCbD+YS0k2u5bYxsl096E1I8gC8JW1zJTIQB92QieWp8w4srKG8ALg+f5TidjeWo+hVF+s7dY7A1MXEVXoZfijXj9Qc96RqDvkWBMST7jXV6906uK2MX0UrAFkwLTU63truAHhy8DjSmdK896Nr8Q0+dmO8rb+Wq91pb/apQhtr4sZ373kkZhzcsdYUH7X8Vyy+ww7YELRVJWeY+vnc47rhbiSlEIpWN/fk+Gfp/ozUkt1elVSkYZAcfgwQnLTV3lefuoVfovJTqUJq07FujtwcqKUc22abMR3GF6/lbktqozn9Xrm+2gG4VH5aZlglUyyBNBK8XDmYFjtqmKQJ9Xmcnki016j9qSGIUJgon6aRBXBky2ECwgwBIeVg56aEU0b/wrSdFPbft31g1LVMpbExgZ32fUM99oghqpN/a/MD1+F/xdzXpuket/nR+8cb1yiV0KvFBuo3j95d7gfkmmhnoWVLe6dnekc/WxUqpnhcyWDqEt38MGwgGKCqydgCdIdKhyBZ5V6PYTP+0EH/1hxM/pDgf/R5GmIS/TDyudv0tL2W+JcX9CFzj/ncFKm5jhpC23fMCT36GJscD0wnAOiQZh+nLJO1fRd/Ub/26N+O/qOQOC2B3Uubv4ONunfUCxo4V4saX0yUwvqKQAI4pB6VqDiHMZJxmMcDE2ShEVNZMLzsNS3FkXb0vMtqJju3EzLpg2pMGSmz1NN25BPAFqqoYglvy6nn56Eqidh/J8J5nR4Ghq6azJM39DoXkOCGlGvHM86NmBOrraGYJRQ6vkLuCe1mmkmP7NUz3Kwf+g9VYXIk77gDmbPRyhLQg0sfdMmYoobir9fC3nRxuaS/ogm1eOPeILvGrhckuKPVSr+p3Vhqkh+HVCK+Vv3twJoitpvyP1geydfu3n8wx9p3hJMVefa1/zYJmK4BJV+Tr3ZQ5i2/ixq+cFVFOWoVxqSovFWVjkSEZaIfUGD50z/SKlSC+hCRywYuONswUeFw1KEEqyG6gUHoe+ZP80o0mX35AC0w+8KoX1sgQiDukiZK1TPKHwgfOcZGOHqeycvrB/6eKGN2Mg8Ydv4MswIp/GWq+2onB0d+x//71h4LeCI4sQC5MLT3TskiUGRmRzQxrWBJjIP3iXbDpkz/Qu/AgaoU6S5kxaYMFyffwvWzgUl+sLO6GPXeZmKM0rjlOwK10aVawDGAFl2u5+QCHQAVvicDzDks6IfgKCaDBobIBa/5U0zRNhH65O87D5fvX6CxtbIR5BI7k3LYWVcz6i9PpoaBhAiNpG6H5bbN/cMne10aLmaOfTGTGD8sjRGn/pRNYWnAa/4R6iJHDnA/QtGdpusmdcrCIrlmdq69uA8jCDc0bxDVmmXAE2SjK7w6vWlKBuDNtLvZRrk3SsJBmnxQ3xuauJrWYJ8B63JkNM1grfjmd8gYvqs/zCRMpq7J7Hpp20lNqoIkjeLhG9C1NAaRji7p7sScHFymC4So6rh+riyxxQqiK80qALxx5TLzSlOU2F/zbzIMzJf5mqNGVns4/gtOvvYrBQNq2d/IFRC995cBXsRwyEFEVd56MBFlZu8twyrEsFKfAtkl93OrirqPs7St7E6vaTY62sfxob1rMeS6RuPbnmGBgLCu9AJYh61EdP5lywbWhWN+IWxPvsImE68eQYihnGV5D5F7y6klF2m4vNbR6GNhr0hKWaFqcs/nm5nKUN1OngfOvD19NhzoMYFiMSr4yCXGj8UrkTsvxsBiGfuimJm9pE7uPGVjgRkw7wkCrrPi8+PRvPQHnVsfzagHFtKb+sWGyG7Kh+NerGpPAGL5TDbQxh07byS1A6TQlzZ+g9C0egK3WKGzdZAVb/nanRxAPguoFsIeLmbmXJAgxHTzezOyB8x4k/dqgPba3YMdE7zCVFMNSAooNJFg5l48Fe4rkdIe1eoVDFwoih18DTV9Bq33l7YmtsWrCvTQYk0UrPgi2WXgEvhwiaU/NUqsp+iGBuKqfSSEuYULipgRiwP8JH8mLFilAl5/pGQ0TjmV3cUNlg0LdB/L5jXEMd4y2qaC3x0qbRoQlFdIzdGIYPQdEuCfpgHARSv0Vto9i3ifoyEIWfS849CYyVXmpfGfvg8SsXwyorl55pSQdeZe3doDYPO9SFI7Zw61VYkp6w2UjA1tixpyPHLd7DDh8MMGNiY9lQ6dGA25dl0J4WCB/TyVoEzl16mvNqyz3n4g07TkrlaC0IAtXTvYZ/KO2dRrQSCDpgkZiSxTpu2bt+T97n+dzOZNYsnK6r6ilry7b6qAzrrrWtjZmytzGhJ2aMUFfG/O8wpJ0ySdHGuqtJ09XiFfQ2V0oRpECE3GvffBo4eGBHL7hRetNxLr3m6aFVe7+rsH0z0N2X7H+FtpYUw8839/BurrdYw8nYboOKiGkf7IzmRpoWbg2D58zydwWPoT3MqK23v+mlFkiWAIJ3RdDQJ/rXG/+/y+xNkZ0uul0ODzj7Oz3e/83wXl8k0pA8S0jYPBarpoKiV38V8fKnabHuc3vjRAdNERko/9Mlv7MzRMnMRaWNquxqNxn0Lbmut9FCApIYZBG+ZqZGca3VYwEWPcHSBUIdKZHp89J8B4gh1FxEqRZScL07Pih9CdAKDVpQ/CVsmvlnXLAJ/7/eVvsMFKiiW9U6620pvzJK8oBNu9rHRtHH2oCWVobPfh4ZjpPCKDdiFyWCqlsV2nSBhtiR1ztm1LF7CFiSZmzU08gtoIedYfGXZGPucajg0eSEq7LGVqsE+Kx5pgwTtWWP2Mq6pdMeDfl2m28gT/7/0Yc0tC1+yPjc7rxQghen+/rP54ssV2GdppWhK3s1yqJR8iaQ3xVB6+LQ0wRysxobS8KEWtPO3+qFDz5z7o9kRbsQG3n9rLNWfAMVsIB/36VmU0Lp+5qTcPeEXNB+kUOesp5HqCM0McaRKV3sDdI3U8NbBrub+SUfw06mgS7hBJ+GCtqGjpzgB4BddSThwj1BFA1Xw/FIh/kJ02sm3dugiJV57H7lldrQpMHxcIsucquzmPBR/qb2zqOhAFGJaVps3JxcuDjmmGDb2ZSHApc7SqF67Nd3+IIv1iG7SpRbT9a6/hZE+CWX5RfVoqLenhEAfksYzyg4mZnx+LEy2oH2nw10q8ouosWqcY+PKL5oYUr9h4eRSbmlgNOyV2B82LhLVXLqzW0rkd3T6B+4/LxFwrKTE2ANlq+g+UmPE8pZg/kMIuQtSAABaim1cCGjgfb5gUQpwc4lzYOlzyOb9mrIVTvPSreEetTavcoO+AH7FkFv1RcSxsOlL3Zk9idFTVk9h12PCpktQ6mlDV5RTUeYLZhmjz53TlBwsC88cIdZc+QBSD+6GrMjj1IDgzW9bo+UT2AEAMqctBfKVBVmxsD/NtcBSp7Q1BV9/fa9qlLF+kjai5R0BRICTg0BipA+yuxjZlKCFVvLy16cPs37koRU1cbMBFpG6xgN4OUc59fn+G6T79fpM6HkcegILDSRG7jVQOp8PYbLkbYCm28LRxeNiDpFqgfkW7opCTv9/npi33gowH4WEe8/2Pwx7DLAyLDBoI8QVqNyW0kho7fpwbxrkwYeb90LoRRDEoho/1rCvYW9Fklt4r4beqFfkM04cM9t7LpszlKgNqHI9s4SePdSKCarLEZaymf7VWtlbwd8QsdSvJHG9TgtfPeOHTA4B9IPySeEydOJO25pFmtq3fFiDnu+n24qwQdrHPYg/m6LTG7aAar0VyXqqfYkHsN4j4FoY/SyTV48NxRLGDBV8rglek9gdLUgrt378I+PPQssJBDYdpwRHe5WS/4DNkQNttQklfrS8q/qwBx0n3B1HLXpd6ryBrbUDgqaK9lpHGHFmdhx2713oJz4ieKIOO6mP9c2HpoIwx0001aAZdwa3CPlQo7TfeP682cezR5NNwOxdmzSLyuTiTkyedOYnzV+9yNnyBLdA9ZHRbfOrq7E4mj1DRk069pj79IGMJU/6ljfl7XKPCJevgHjRF5dSGxpigqA96a8Gvwq1bpQygBeOPWJeXS1gbtmuLK3MYcYM1RboD4TT0oSJFinM1d48lqSFsaGL3Ndc2ObaT6TmODUPaNZFs8/xxczOK1o9FiExTApEN7g8Dl0qoL8pXEFVSOL9lAnpi6u5zV6kXyvRj3B5czIU0HhLU/EqcvZErH6YkkUKWHkewDRVc6n6Ez/D/IQ2q6nyeMIJUAQBL8DQzOupkswCIeO9hOoPsbx96bRvpOSzxGYsx6vNjqxfhqNzQAPXKOiJ3t85dWVaVG77Cahqjx55h+IrnJ0PYd8JXAng9Y5rjowFH7CMzoZNFhVIhQ3jXsRdNxz2eO+xz1W1FFa5BtjJHSPW+i5DsLNCm72SzDLwbouAs5kuHiOxg+/NEB9LEroIwuh0OKBRuZo9Di3sksTIjt4m71WvsmpkbiLPP6ocZzgtKV1rsFx6HRUDXAij/B1gvUB5p6TTEyu8tLmUd0Qd/cMTopT/c/sV1XXnsz1mAtH2blgIIrPU/FMpsw+2pa4U6n4FQt6s+YntAwv/UBVTaPCVztI62EZ6XhS1HkrNrRuF+8ZXOStsEkXCEoYlIZRTv/4S3B3wTxmqelvjTNpqCQ8eO+/Jl8B7bd8lPCzal34fZ/Ot5J/aGua8B/2/MsjXbStiXrRrDP6BnqL3kRorp1/+Rv+wF7W5CPHS8NGEy7lUSsHTD5uU7Sw9VmvpU+NY4ZcHL6XXdNW+41a2FaIt2SQRAQ/SU+FPrDOYuZkMM1rNKx0mZC9hG7NH+JYigWsdsBnUNCartMgRn45XeITz1Ww3/aYORRuWQRFnhfa7mazjSRF66cygtPYTlpsLWg2Ge7rVQjcqoOPxg4ZmxtL4uhwyHvSHTv9+s7tFxdzUZsNz8BGusaJgz97CkGJHKe3st9M+fvUUUEl6bvWPl850w8L+ODNCkzeMkX2uo/4voCS7lHuWRg1ioBeC2V90F/4fQCh+pWvSNIFOE9qtTkxGijjipz+o8/Gcs0PufNTOYz0xbvj6LprlEYoJ/7E7+BOY81NzUUiXtfnDMyxBURpM4+6vPtDu3OKFmZRCqtls0XaUSdJGmZlrVMB0/MBFvoEL00BPp9AMCmawXnM/MoBozoK1dRxAVNQM8migaC0qnpAnyuEIUKV1y/j+yJP29fjhrQ2sCy8zDLCBqQE4c1iu8BWMJwItNt7jx/dC6s+QFObMXC7kPddCRSTj627ZkKUwf9bR48TxP+ZbdRwECbVqIcUZnpGefEMt2jJOvk2L/Tl+/TA+0l8wjFQPh2+tWrsdzbQ++IXaT6ewV8S42V2Roq51zCI2syC7ondgbUlnO8Pa9MAbda8cKu9CJr/ahBaPhVoh27WGIZxVXgXb5h/0P1WwO2Yys1zqRu0ceRFCP2zQH9fmf8JVMIQJMXZY7N2e3/N87R+xzhz8OMpIpynIIfb7i+MrGgnqZ3jKorFYlz/hihtietGelJCNdFCB10xbRQmW/Zjvhqu1VCFQbAHyFtQjVF3XYJaSAusUF61+wfsB4Xx85CrDrlEJUJs/7IcLOlAqSWmzZRu+W4VFvh3Ilqa0SDhUYKwFh52YOyvloKdLTEF8ayRCoP4vTMacenUiD8vAqlkvLHKVysdZWzYCJiyfWnAwJZy2Jv/+PkMdBq4m3GapumdT1xeJz1vFKasgfz4QaLnAOESjziu2d7dXS7RDwNAu1by1Pf+TQD4w3qxatRGQ3vcFgoUxMdTxoSe8Sd3OebTUSFRlJ39jhApjolyABzjNWQ5h1oM+KYP2QhIVEmnNUTmeeA4nY4HSwv4IXfP7cYpQPkoJZkkkd2QA1MoSZA5WmGJ6CPrTlWlmEIbe/R1+vA/m9xOllQkB7CybnqmA4ewkFmjY1vDZu/dXX3YAghJN0GfM4LyXkTZ3UW8gQZgYxNJtyVCSeT8fTTKGtNGS6PSKk2ytdJ+PXTesmzCwL1BY9963P8j25A/yGfCF1YdTTxSRantfiv9PyWsCaMgltPNG66+EBVRUfRz7Bd+1f0/d/tHpDcJrI2ZjwDKeSZUEq8OyrROUNJrRGRi8GX3Mni1ItPwp8dFvFSbRP+5qm1fM4Td+WChVWImTC6lvRlH9fLJRwSOiC7IFw6+R+x4TpD6OBoPTz9n6oN6jEATMHSu1hrpELuA6SVjrXN6HFP3C6Sos8crSjnrQj3ZXqlgTkUSi9Fk2zMpxHE5OIFOcpMCQepf8UUIHE/xbKLZ58w4JgEU9YytSsGcJfuiH0coB/EJPuUuj9jXsLC5GnP1zBcq+5BXqFv5rnsy6Bo0gL7R3JGZH5CuZS20LLS8PhVw2gvvXDuwJcxgzsSxhICK51BWSDUOUXNhY+xtTw7td/cV90+TXAJtlW417JKahokJ7G+q6o3jFFWY3GGgnnXAPF2eKbDGpdaVT8V+JPb9SoMximuosKhZ9I9EE10DFR/ZXmm9X7on+jr6n36c6Aq+x1H2BOuc3qMZ934iYj6IyfBSxmmA/8kUx0MpAL2zknH/eCLexXF5THiDbBEx/n/HcJROppykZDfGQ5dMm8J597Kt6USFcK3KDUIc/g2ctWpqMqMEbdJHZrYVC3hZpldVvtIzxNOMzjMWrIy3fq9/O3ZIVYwS9jie53jubcfWxz/iQ+Vjik5HqiOZhWlZ18jL01kOfm+n17zX5dW2egLDNg9o5eumoZN9P2oflUe728X2Dn8tuOGadsZ/Dzhes4t4J+9TVPZr/fg+Lo0T9/gYsmLu+r44Z43s/f9tKh1Y9cXNEPSUdIjnt3QW4TSLknxEit8FueX46qcY6cxhW6D25fWEU1VZY8NXXGcAgnfUKfX0A65Yt3T1fJCc16rQPs3vAitQeE1LGPXhmRMp4CBfiwPcFsbOJGPvLvM/jUD2X+giGznmZPn+xC/r3xrEaoFRiDCeVGvCyXizXRr/MOFH7MN4LEF2O/GdCZdpUdldds5ZfLAPY91Rd7Clm/JSKnANMgc8j9lAq5dK619WoczsW+xX2Q+ombt3J1FnWr+R21cdmaTFmXYiVHtrksEpbCla6g25XrWsGf89Ite/G6AjO+mrQjSEvnSKHjOv3bNyK4gNrGjiBJf4MZRjl97AA1KdLSLItXu3//imLp9oETKfrAGxdYbpaJpfqrk/mxzJ4QhR7khGozX15uvq93Kb+/DU1wUfEWCx7rhbu9M5Jm2RR9PF+E/AdqtQkHhNmaFWs5Av3IBR57g7zrbbu/MHqNxfkLN5b/sinbH5mqZP38g0tbZt2vapkuWGRGyWZkcAG1X9/u6ETBoprRDvqnEdsdKz8q9gfDVbTqceBGlCl1XCxXljYA3Q49l2XxwqjK7iXc0qGpkuBFHTUBYw6MhFNfMkgVbbcD/V5iohl7lCde4PpNVIAGtx15MZvk212wlNlEI5urB71HPQ5e/urasvDJtritvRXYWpef3W2oNfR9kggNjiOi8FTsk/X1IRRPg16vnkxEsj5/thy9pqN1m1/i1B9VKoU70LeV7+WEtAjwxBPiqwIq1HsvUGHBdYcXof0To2eY+RXIfJrnmvkB8c/h9nE1jQhW18BB1FwLfsJ6qwnSBPNx3T8UEvhBbTEJJNKKg3i7/YydAdUwVyp6tjTGuUCZi93a7qxxTQueILlZeM05RhVNQ/ffpxM6VlfeX/3dn+2yWSPmDu6CVH6rjWLUBIUwJ9sRgu1NJ14u4LKfrp+aIXPhlvSJXSJmXGohZp6tW9HsNUmzvxFg/Rw3KnAxdvg/6uqCQCybawKxVK5iXeLCmL0fjWW5xQMcvyk/PXQOXlulcvMoVHyj/dJtNSskRmlUH2hnRn6rZuMKLwltBxWjJwGeuUdUuNAjL0DdLb1azt3Sp1dMHcF/XW0ExESjU8Z7a0l7596af4A6UhHJpnohtQZ2x3eSwQxjtF3YuDC4waG5CTo4O+o9W+7bSdzI3YAobycQMPWZWhU1BprshK70vS+M63MsyMk44KkqS5IHcTYDFy7czUKweMoIjbAZ5rcSlH3XA7T3ZTow57qvoIQ7NDlkLeq1ZTiWjf/N0Hmb8txxR8762pOVibx59SMVcVQ6gyqFaDUMJLWK2RVTB0j4z1a+qegN/6ftglWE4LvKh1opsDLrGv/ECykptnKEJFUPVWKD1xxPur0wHUtCZYrAsByTaph/LaRCesv3BLNiw5VPKIDytDki+2pMG1AoeEtc3543PTACvyw9YzP2bdkPugxrprhYZ6LRVckwyLy/P+2ZuvH6zBGiXQSq4GdoGZFVI4JJOdpN5Enoc6Wq5v5UoWEcRn3XQE/7QevJBue9N4t+yndtnerFuOVQmiMlu+9bnPbDMfh/CLDrKDhP51dprO8l3LzgpDy9wSgzpnaWmyZm/vRMW+tnMMLl7GOzzqA1PNWLyKXdW3pXj9iFPd4tqynKCmQQPUHY3jh/P27xuFxdHh8/JQsLkSt5/Rou6sEYySW97Sv9mxjCFERXqxkZfublJpQxZZmeliF7BHWvbOi27jn/gm0J7mS3NkZr4pkj5Z7TQfVSgVWCyIcYrEAIDiygVmt4Pv2/bYhIjKmxLbGgmaDAWqAaUcaH8dyjTGhwqJeQSYoBAxqy0j+Z3ae653HN/45thoRKUq7ccdN5kLlEIGgBILQgyDqeG6BFwJTDKiw7oQ32yPAlz2hTHaaNJPFnPfI/L1Evj4CGkmG5oIf/YqahpvR1RqGHLfLqBuENKP2pM0CxlQCcET1rKxXqIeYWWFEUtMnIPzya/C/7cVVrQdXM3XMaLJqlO7SYoS9yetHI+i3KDSiln7c9/Um+WXzhL+BtUCPtlztgA1IZWCBP7b8cMa4W2c7IfxljPPVbpwHd4yylpTj9j6aJ6kZBX8RXN502p9YW4Y1lnMXffG4sur2R4OnYFCLYTFeBI3h0LQSa+fdiXjVYgyDzVONLmjMIUdPak+IDZXgMEWZ1LZ+5izFIncIOUJWWw+gf0j7aL/xlH+jWwk3m30Hj1fi2CAdSBAlTIIBV2NfNRQT8ihpA+a+votlw8TPX4a849l1yi/tNFuFBFWtmkB4jU8vbX7jMwNw92b7JSvNIGXqzdLcjYL4jGcn3HhRn2+bBJr7H92rdUqCeonTSIMX0zk/RpmWOoJdUffaInyUHjrdqwL8OW6CTYBwA/Xz+vhzotMetQeN1s4CPdboSwt00zGidToA8q0gKBHIdq4CClOd61rQm9/veZwMT8pQu254SaZnEeDwyUSpxqHo/xBvYQHILm+p55kJ8yQwEEM0KutsFuyltdptYSoeyYjHuG3ZaOVVU4zq+eIIFC/a3JfDg6wO1pOVGif+XgehUmGqsioiVLirpjpo+79SNDV4RqLM56OsBwA2xQfQ2uN1qvrS+EpXtrhqJAEwg1dVyFpb+ytG+C14YHSn5v8OV1fE0IlLUWvgEAf3hcsNxPup5adI2zfRxxhx7Zv4xNX4kmA7xyMIKZ2lNJMQk/fb5IiseGJkZro8QLd4ly0ic0KeubfosDAScbnvurScyZsEbZMVX/HTIuRWd5OgFyLF+E2CHB6WFJ+8UKifl1QB3NHI2UFWwiD4eWlQeQlY/Q1V9pEdHC+elW0uo02TACX5YqDcccM6UZrukahWgA+q0HH0eW7tRMmewSWXpmYNvhji5pMjQoRnwz3CMkIJRZS1Yr4dlYrxgbFsgfRRnzybCoOD8pWL+Dt23fbDA1jPdxpRBAbWCxw00HiRRHNG4eyLr+zCAfG+1LtwRuL9522hca596HjsNTg54QiCkABpA27bh7q+8El3+KXTIRLyKXmFVXc1TdprTrJEUGWx5p5fdbmdHWXz6rGIUQ5wGzKGo7qRRmc3QSYvN8hxvqi0+iyreA0ITT77Kxucrq5fibPCYi3kngrAsNTlgyW392sfNEIA0y/yz34U/5Iz4X0C5+rZkoBN6TtVvVi9I/cPupwqeyLP12q1rdFYjmdoxmL9XY1AE8vHFbdGncJsln1R+EPza8JtpgYjNlkGEv+8fUmWVvWgEuob12tB9waLtwGcHVSUfIgVAb/kCNw7I3qLIZYFJSb9lmnjiSduEQAG/hl5qvWzGfr+a4D9DT8dGHSNCYBVTbqYRcuar+bJ3Pk4e63g7OzUA+M1mGGsAqufWCAIzEJyYWBSi9FZPY6IgCRnE4JkpWLYlDLXTubdR8TgnI0pwmUh7IXMb0KeVIBc+/cSAMQI663KXLGalMF68NDSpVS1GGVGr0eG39dAT1s7Ef8I6jze611TczPWcK8VB+e//9XyZSZ5FOsHG0uDh1m8tCRK7DBpFbCvbxt1m3CXHmM7omvnRmiaXmiIe2zYG9e8KOBN/11uR3zfpZpWsdkPMkBR2maO99ai3cw6LOAEHtv7fqyLVga2ciQnAIzMheOCThx3R0dI1dWpDdzQV/Qi3WjzfOafABcPvjPxwxWiyWPpJKKD9H17OzOuHWAYGR+iYGWtj3TtnWQaAi+9oGjAM+pQ7lL7Cn9vQdG8SNtjfVeJu98RmYWwgdOjFFzCRoC8TwGmQI2jutzdidCcyHgbQi6eLv9FCXKdvHAbapSCzEuokqSvynGYPxaH2c2U5VPSbIcFZGrdiMz3RrghHtxn6tbkgAF7shEjZVHGu/x0Lb3a83RPGWoArJT0o//vjTpCsLOcjrThmAu7bLnWkvE/G3e28f5+D/6qSNrUEfd3BlrwtzQQUdIIBuqqSXwIAgIcLXtriXSmWE25ncs1O6WsProG7gM4j5kA+hg8YnXl9pHT7+1ryLHphGfTpX7Q19yDSetRdPZGPVU0EzuoaLr2z2l5ZYKDLEkC1vGdo77/z3mje0YSykNjYvcdMSjrFNy9fYdPhZKvhcRICTetVPmukGB6gecb58+y16dHE7HOl7xVoNyjs4ov/t1o6WePx7oFWRBt79kSBJ30RjTsNqdPTn7tsnKs6SiDPLzn2nnVjHn+II4JnYvNxODx/me67uTWn1gMkbYZct7qz4Uj+9W99CjoujG+7TVk/k/q1rmYD7mNBaE+K+jjuBtyZv+OI5g82JlYFLVr3GW51cmkHLycXZy74Zwpy+Z7ynjqDLTJh4GoEdi5uN4mG4Ih5viYc9qYZ1tHx/lkL/o6+gb7eq/XmWMbx8TT15F1GlZ/6CIrVYUcbpbz1QuPxJED05bZDaTdn4AF9X/Gj9FH6nqNAaQSXg0P3erKvyRS8WUtl9NIU0C+QbVLd3/I3bG37j5Aj0mmP/aMzYcKdAriuSMSgVugLJ5Rg4lZ+sbMcljj25jo4mt7oyjtfEExAyIJUn3qXAA0kR7RcbJxTub1OrdMWpnP+E9PWbnmtcKzif2exDTfmRghT7BX4ESW0Qh3iwKO7V3HiMJ5VXT00arTCBgz0T/ZqzIkWdGtlWKT70QL7pww4JFOlqepGa8fXS9WdJoqbzq9wzt+qHicdOD+MdE+XW3BnrV+y6m1EnnNwmwNzzNBIIQX/UD36XQTn/9LzI3X/UU54NT3mC30nSuzUWs76t0GZibgDm0wiUWifhaPDSBgFbhDAe2IWqAgauw+1WiBFKJd7kvaZwGg5N/2Fy/7Ezhj57as5MxKhkfZZkE7UcFpJQnnqc7pgeN5V9R3UlsAvPyNFf+7uziDIqMkZVBgp6hHu9oEr/TMf5+RzzSbovFudiRbk2wfVsOvRN3N4cM8gRXZlHRJQR6Kte/nM2t/TPRwyek3OCzpkCk4wTSqW+aYWMJkP1ysD2gZ2Sqwi3Ny2gHt1EqflNLrjoT2OF3F4HSMKz0JSDxJsKuS7mlXzhZUqLnXwrkE1c0DmhMBCotHoMykq/OpsxecUv97nbWf+Oo9ovWxkH3sjEDgYneyTP3hdE0MJQ+r7jgHNPz5wdqFXYefJiZ2z2x2dZyCihF6ETeTsT5h9FmuVG3/x2/NdyKqHROUWPKgkGarsyn/YTA9swR3Am4xhUxeou3mRarkXXvqgrlAabHTrHEXi3hb8BIWxDQNb76pKlCWQ3GEH9KzhFfP1rWh+qxmq/EEU6kyPt1YMQUjnjKg9kGPzU05bRJklZXUl7QbyggDBdg+ZyXcfHzRJigSF+9MOIooogG24NnB5030Wu9yJbxZV3nIl4RfqUXWivL3X3+fOMeN4TBKCVKDpnFD8ctSt36Rx+ibrjHSGgDl4OVefAZwaztuPTysy2Qov8EU0kpgl8ex8WqzRk4PoLFqxnoZyEiFYq8W7in1ZMaoO6nhex/nhFVHn7SxRRJntqYEWfW2FwRynXcjhUAWu9VuEwyhUvRt38enROw0tlaYVytNZnOF/fU+qCitXYzCujq+tv6SyOMugdWd0gsMDSRKdZQWXck62B83JWxO5qAa0rycLsn7kOvnsbnjsmLli1S8zFBBiEf8LGwFxGiSwaWCiKLtYGuPk+ruPixT8YOYLf8fHhEjV3gvqwaTqyz8ENkDB9khtROFfgUSwQfBjKrKTVLYeleIyPxAML/Ji+jScz0yPnuGHJc67BjhaQ93yXZ7luzf3ddGl4Y92QykeT9dYhv7AZ4kSXINWRJn+FmrvfCgNwC2j/MOb+9HPrvOqM80rfZAh1rWMkDgigRjA7tNOtwCu0fjfYFWom90PwbQnVjwcNwDGA1MOdw2YwGwpCHmPFyZuf9ewYMTdMF4jHMdvecWSmTExsjJhjE+gHGgfExH6ciqXmQZZjzEnv9bBU4mb0pT8J7P9NP/J0ThlGsUs3RDu0Qj+okvv3dG5xG7So1pL7R4sgmMA2zHF1T4t+Kcb5Z4f8u5PZoPHg2RIF+7dFzUl49nF4UIyGkpkJcY2dHcEYcGxO2DFnTpJ1nrO52N7/ll7JkYrb3wda1sVEmLZbBgmT/OGrB/y0xgR0lriq5H3pDU/5XSLAFlc7E1+f/vgmBWGcZ/w3rGq8EPT0a+rZiVCUmT4uf/XrF8ML/4VkukPvNSqVqnk0lGeinbaoYs29aEZmp260xQS4tx+oe/I1J8sZAlKrc6TzWwvVN104Fog8s7evQnstAPrjJSwIGrrU1MxeF7u2yrjod8EpVuQ3a5I3h/QaFwh16xJIw/npzlhmvh5SDc7amjkO9KqRFjJK69lpaSciOqXKp7bS9Bx6MbIXv9+Xs+q0vwUMKDVCJk+0DEZ8hM3ZgZnBMEY8hhKGmC6HUCtZPn28lLXYhpoUO8GzjFlaQCUCL5xRTJdPg3+ADD3ILWqgwiT//AUTdt88W2U89s+sqLrl3JfabfG6t1OmRg2xaCLsQEBsXK1fzrAw/SmesKZN7zKWqsWakBF6OFMZVGW/JJ1yZTdm4mJHr3vHbRzSC1b7XZ1/2pgl+IqhxzgaEvvkpKDWs1xmhctUjyK+nLzsj8COy15kOOZcu8WpGv+Bh3EvmQjgMGpOFkA71nbDEv599hHuNoUQr/VgE6V68hKJ1Hk8dDmh3iaG3OX1u9zk8Mq8eHyFZUucPyVR+UOk5PpQ/mED/U1C2VrTNja+Fho83U4aMfZz4c8y4NXYeQgwzpzg1YJvYpzltlAds7JFMFc8q03VwnMxg78AhW9d2m6iSrddHV4opONCMk6oFKIJPHEmcsg34OvOIypPXNMetlbFmsNJ+XdvrDjvcWbRC3UHsF8L7/tIVMJvP02RxLHor5RWrWoLKCggFbrq9GYy/F9lsOTBlX8VvXBmZfElqiP80yPZbqBSfNjfkgHH5nUXOHq4OB0RWRqVebtHUpruejx6LnUM0dn8B/JWz1KkFaGUK3Yt7/X2qeTqr1cxIP6uRV4rk2RnLWspR5ZmuTvRnAL/axJYqrerWDTRNLU5vNVR3ROnT/XbFZpbYi6K66GtoV0SafQEwRV1oMMHi+Vmv8CW9r3UERYOVZOT2Q+sL/5sJfgRuzx/VG7iBUrMRqh4O4dSeWKcatLCVVALrnWMhnVmu6sFcD6yzayZdqXVaHuCJZK7RxtB6Qox3jptwkGWs4BGbYEMW52HNgV0gyZZNHD7HMiROWytkecZD22yDwSUDLpLv3kjUE2iUHDHylFDoEZcdcRRfO6chRg3HTJBiS4j4jpYhsx34rH4jG25f534Y/uLEFZDmZz0YBqq5yXVY1DPnWmXtkb90vskzPJEVQxITSBEOx1eVkOBIB0RPWy/yKnc4XfFOjbuT4bIckqbFvOKfO0OfzHFJKtFBlSs7gJ51vhprM6N7BmWabUctH8oFVB8iM8LXBfyr0p5BiB+TDSbI0zwZgLeMMzolNaaHafke+nHs2dPiQuibWcu271fw/sOSnlHhfePYK6oHDbdnedjoDYA+u1MMT8SnyMxO51haLDhIRL4RfGOLUui/VeKRnZ2wWSVozxSjX3nHcTdFf70HlYw7t5YHK/GgoP4KvBqH+aq6xMWgtnMn3esersRoifJ1gVGWAITy8a1M1/lTEUlOlwTPsncQDWRJD2t5xJqC2oWLjsUDAOo8PwONSNUkYql870yaNeYd6jX4p9heDwwx+uQ/iXQNk3ypDkJtsLF+HfDRKhz4Kv9FNw13jkhj/5rtg0LSh4DH4ISggR42JqFpQs+MJDRcBPm7vg3snPbpfO/KxjZ10Al9rg64tgOL0RmFGP0g/Jz6VfMG6rcZ/bYJ+cITXHx4VV3RrfCZwoQElLHixkGyD59Ne8nKCS5XUJc5nQ72FmdJEpvSwlplMvpKWtuPM4byjYftvFasLhoPuJxzXHuPKw+ZnDXEjcvbuU43+u5AkChwWDD66GmyMy9383nswWpwIsDoV4VSr/aqriHoUBubIVMyXjqpGcPqwllWRC2Pawgs6KpBUNIIbiEvcNikiEq8lTSZYELvuo+ex9SEvENO6LJALW7V8UZB0MofZfZJ+QDBfqOMiXNKv3ndOTwOq9P0Ryh7ChXwwWHnjgrqOQ7ocrH5qVkIJt/DvRzCy1xLdZTgBj6WYZ57lS/jXZubcns5RIGxFzFOhrc4iKt63UUHREodjVDr/3qWZZU3gO2St5e5+e9Z3+Cb+PFCC3quq4EOkMu02JmeQv8UWSqkOR3MwF2UHsWvA1hTCkCJM8Pnq+rhPq9kBRDDJRKvgeX7DH8UNbQKCfQ7D++Dvc0EiPoVKBf8SyjRxo+AjgIrrM3xE6K9U91NQtdjridWGB95jSwwS/6LJx5TKq5WQBoMxMOr16gbsFZfDf7Fdln3zMfl4J8uiqgbc+jSB8nBcOTTDT8kYUNxrJ6/09mQjKMIws3pyY93fZhbp9fb2Sno/ztRCMkdQU0VAM3pNPyhPMCDQMZ0eXi+hP5srjyXUJr4M7eHs30X/vM7/2iA/dpaMoy4gQ/VhOMxGxEfdZoNxf+Hj5kC0PF3+JdkqMyCvjtmyH11XEI50styoTu1ZCWysw3pquwQd+Tvae7ejaJJAQBmiCtnWcdMYb8Z4D25r+ZXbtIalv0aSpOqNFS+G3zGQIszvtlzHufgC1Wd8FMHV9l9CT7ekT8hNnhc2ZTCvVWO1rCoCVonDVarXTvZoWIV8DJxYgr6gLqEi+iZWNGxX0ti3tINKBV6+czm4XItzBC54KTOF6quNtqa7HzOf+rLlRF1w4YmztNAxNH0gqQvN2tmYd8dao9/xlB5yPuOdHj+tbTBDt5Vk08KJ/xcgaAyDEufvkLPlV6PvViWKZfMYPzAS/5fO4aNjcurbx8g3QnndEYCgHanWkt7sdN6FKbhV6m7PpnE6IRKNtelHt7E+DTN3154yh78sXE5FgiaVMDGk58wU9mi4GO3Rl9EnA6lT6k4Jaz7REI3deZdjPHwHonKz2zFHxNkc4kw9hn2tbBX2szk7E5sBTvYRbITvMgVqKFhDA7uHjBBQuckcX8u3EssxaWUptoFXDmQwZDPdpxd0g1wARQx3CKguKR2zyZjuvyszX80qbCa5hYji2JlPwUt3OfSGL4C3QmMHFHAaTKPDsMGkBHDhgZ1gWZP1I+AJS7xamZxAo0yu4+cq7vCC/WEjya6DgcLTCvLhvSzbGOXpBw19MwTvipuf1v7CQYo2aRkicqghN06YROj6OqEDsx3JRF1sj8EY1jULcycqKrn6KDLm0/fLeCUNGGfC4xLWaI+INnD10+CvvlMdWPgXYWy3DNjHEVS4ihBZW8cVDaFErDhlRuO3wX9aLVz2KWl9gJRNl79sVl1EPR7aWB6J7gw7B0n6G4xw7fvLrAiBjQFdFMXAPjqV5i6X+qUeksNHcSPZA1mg+1Nrp+3A7Vr9LqNN+J7kSlcAsfj5OmGce7fSbuy+KNItiCYo3onEgyxJlyaGNI7QlC2+xUaIro6AtoYJYhETaN6bYB1Iv8ChwNNg66i7ZOSRnuHZtxMOIN3uxdc82txoT3yaR+pmr5rqWqA+A3uthj6HiQPiQlB8vhJoNZKZ0CLiLporqV+nwseUhMCYVeB4v2NjUpfAtk3Cbxl+swEVMgCu2krmBbBSTfQmBV87FxnEpH7YjKsYJJBZHZnCJx+hlUz9hb++uiKd79fd9sRAq30seGdryR/zWgGjoCMRKPqz7SMPb9RWV6E7Jq8hqeN74/AInP2AuJjsp6uGobx/TK0EGeqc+D3a3w3FJCDVO79m+CCLWefZFxHaOZ5gf9K7CVmK61nFZCAFdwOQRLzLjkcBMQ99J0xDYzwPCxQ/jzkpmCQwktmwDU2cR1oqbIKN5MDYWrMsza3FUOKUFD60RhD9aG0vgq1CL606VJtjRGYdf/I4FLLPr0c/VCkEtYRRLgdL3v1wdVPfp3q7L7MvDcgDQ2SrSyIwjImyLLC3iVjmrXsc1dT+mMay/7hWVAPJz8MpJTTv8ktMeGYrHdB+yurded4cSMl1enf/6ATCM7GB0xKveGQUXryeXoHfM098ISA6S4N64ecszw9VxT1sJDS3No78WG2G+FLJ3amty9IVEyGYVY4khps99oMwNnNQvwIoeVDoBLlG7Se7USj6U8ZwuD94D7TWYxyzFOUOibOrQLMzmeO6xkciiqJ1+Z2UNe/AWdk/sRjXg0dm4WNUvKKsH5Vvvd5ykcA/ml2/WYegbiSITZq7d6cPbbEb4gPD4/l2uOjDlPGOWnfkFdRxFVh7j3iIaWMRVi36sCkrT6lv9KysPXmXnzObJ2BibDEF54rlR7ttihnFIp/mde5AlEKZSuICxGN1PpbMCiLvk2gicx3b3KvsIc0iseArrbPncArHWj4xtrjNBsU2aRCKwo/1HDRoh2tdO0ExJLhGZSqiiXCjJXE3SXiM1/gfe433MtbmdtfmCqqENLP5R6y/5Pt1NRhWtq0mRfZ2fVwIeZ1WuTlKbNXFuIWsn6vyQr9COwKeft62hWd1WXzPG0i+xlZ2/lLymns7bGEKc1tlCYU13RlL1hbMaKlCKj8u0s1EKQiQaVYpUoKPZHb62ifFGIn2Lfrres+MzTT1Z5Y/LdM0iOjf39TifIAW1vBSQkrkYA3d3c/PFzdPNQ7civTi+dq+mYSovwVDiejM3OljLlayd2zcvi3RS6t/Bi3gRD5t8NyPuShUj9HQ6FmMkOyxU+mO6Hymtpsp0kTBdg/RhChwgLy17Pa1N091FTlF7ayVpsgWgJhYeOK7CA8rroH2meJFZCicbSoaM/lopPhx4Z/p6H8PZrdtJVIvFk1ydw5b33uxTR4yaPhOSmGiel0pFwF2kXzEFwlXqs+RDx4GYRMzXmgcbShjr17TdAVpK3MqBHQwfzepH99zK06fQT6PacekF7lQZ5mx3BFNpZx4gAmt97X91o5PwTmWk5ZCKJ0tfkWbr4abLCkiNDpUKloFAH04xZRMZ9Y90YMNYtH2MApKwt6D+wsd7NmOZ1gTsaIsHcc3vyEASiJiziq2wCPmoiv9+p25O8wLTco7NuDJHfgfYWRHEkWnYgABc1Hwn1IczU4kjp7d3CCHmAXX4cumdCBg1Rr8XO69RO6kLy5g+GzgpX/hEP9r7P0HpAlzr9xaQzHoA/XgEy5ybNGoJKgnpeIVwCsYTSsrS72ZQ0y9gAXxOjxvslDj3Z4di/UM2j4VLiyZEwi+iLYtvYzjEcTwPsfFVx4EpLPzk9rtrUwJkrLKM7Z8qI264s8JC+gKfMMjFpxpphV0pDfY4ND1COlGbe3tX2LIZ0V1JwCa94SeVpjJ212xkfXK3PF2pPqXL1XoO63FVjephWRqJ1yqbGJNWLD/yWCejXju6Vspm8N97wJbFMYGIVO3+BAck9qOAGO/IFoVFXPvbQjbrlVBtgTHdOksAf0XEVz+uq8ZD9/zH8SlXPbdOG8zKasgpnN4rvLth35So7dEKM4WsnYBIK0TYxyRcJ+LuuUJOFcB0yzdaMw8najd1Zq7jdBin9w8HbiNd3vNvtH4MOx/TqJ804RxF3+BK/zYlp/elgwINzCttbKal7bEXT8qMpZemqJUP2hvvPxu0ovQcYwArQTvYnGnmW7EProE1Q8cvFdFeBpN9ZxWJT7PL7PF3EPdOJ1lEN+kCwVRMCdILMDnkZh/eJBiLajWDa7FO+q/7CjOn/mX9sCTHkIOBF5jeLyMjx4h3WeBSbevYHfDnOFC2/b9M0TyIhMtpaTwxj4bsiWWNKi7Gt2Des//z/jhxAzY6rKXjprma1oNTVZiR1G3qkE+7tfrCFtKLXmCYQR73H7SPfcTBRFX3n3c6d7flcK5ofLMMi05EqCJIPrlx0F499LsAP5GVMhEKHtjblJNStEzlPrMNXNnZAmfCiUpg8wpo9E0/7TfvAyAg9ExZM4fwqtna/ImL1phRvDywJ1NgsFdrWUJCLj/4J5I1FoPTlVH2AaqKaY8Ff9ZM0BXqiTe0CdS+s8HhexwMYZF8Ck8HXoVwyOOhYF9WbDTg1efnot2dJg6L4H8uBFeWQUHK8GPUTK4rJ/PFxLInGvSz25i+nG7YhV2aR3XghpgrSNFqFboxiy+b9UeYNblFR4WiVzblOcMsaE8oC4GMMOk38ISApeNzgZH+Xy3HJOQntpUi5Rh26tQDnrZD88U9rDmYyBAo9y3HHqMH+u4OeSP+0HMoOoE9Hvt/JeZS/yn9Af2a53Nk9xU1fRXG2aQBq+K+7yOtTUKLdc8L/laqdlfvurhp5eq5kSqrNWlzuztM9cYSmHKPwiX/s6k9gC/Xn5PsL+PBGR3ScqFLV/7LYk1Aqd9YyzjhD+MhKIcf/k6DogO9pyInG8yKGCy1DIP1jplJgoOPX4zOwdrKOPV7jb+ddEN85iSlULbAgZdtmszfct3AuMFLBxNXp6YcmtFRcbxTGC2zaUstPzkspN9H/r+/8BFVa1uaxgtBKDy9tlgNjL4t4aBNoVEIexiJj9h88f9ikvrb3oqwoiunEW4JekqoqsruQdq1+KACaLs+xp5sqC4od/DD02zC6cseog9gWt+HvYssVVnp0c2EL7SFspCJ1myg03WZ7yCsCdOOWNLvQlhna/2qR3d88OeXknd/1iPNPTfGq8SVfFbkSInX559xNHKIlvUGp9NMcZRVbmeSvnjLH9WU5LH9hDUBRyTQGyEwNZaZQXyv6T9Pzgj2SeJU6sHfeJ8kiKPD0A/42N7Bh+s+Wcf1yD3WGK644F+So2gCDV5dFz/y81R1iGAcR4+BRy4XCcKTfuB/jAxV0gx1TJyj0kh9tr7DbfxoOiXeN1oV3R9X5BZwzc63LKuYuqS0DrRWrUoS1ppEvn7bj8+7QlmcWn02zhk8X5crdNAklVI8CWt2CkxVw3E2FolWXAtlFsYBNUq+j7BZCwpnBlsVIqvDlH5SDtiOe3uO9g8ssaTQ/HwZXPqC091aXHotRdsVbMrz+bdVdl+NTpCQsjTViL736qNXirBVCSuvSzyM42ASVVuKdBlz8tRWOL6hLa9/M1P9qQamwZI+MSyD3DSL9I04gx/ojZtQ3CqzogWrcKy1jw7GhzKS/YLaFcbIIg0EdMvEEtoN4+Po/DsQvS2VxaGt7OXYHlVSsb9GTZs1ZgklkupzgOLgbcYvOMAI0eET8CaxQw4UrdSnEkddgDXiK8q11IA2sndPsDtuMrIeYKs79iO5cD0jwmJqFPmLnjcG9KpLWrK+VXhP+hkx4s8Ujj61t2+Wgz3hqKooZrISpdy/ou53SVlAcB9bh3cdC7FB+J3CIf8XEyaC4CNFCES2lG5v4c5WQTni+r+LwRdPzlkG8OnQruYFctqpPdXF6yrSjvBx3HhJCpl1vudrT2pjZbM5rhkLURA5YRid6hct0Tnsfzkp6WhkqLBRj6wVkJniMBWXAV4DacQnXQtN4xmU5wwrIF4J1lIKKSlDhyNZ0hlDSeHRz5V2+xxpWG1PFuOSEBUEnk7v3PJiZG0jOibT3TsOdLOWqvA8FQc6l8lu8IQYip7WADRmX6UETBDipSqV1KUY+kUvZEMh8dHO+l2I0iRcJipmu3rRpghKEl6qXPOpbEfvbhhtjShXWljW60nQafeK1bV61vrJpRGa3ct0WqmV8PCxdPy/fnrHDbLT5YS78xbVya3yd4d2KeQ32EaGf7K0e7fzX1wCnKiuIv0LpGEmQuuz9LAUTfGBVx5hqMggThDpLZzD9n1RzXjal/+3n+SjYlvfbfoCe9bQkI6tGMWcPp3VFSLGweSZQluChW3UhbURG5qwq6/bUm95+qb9r6oAh3QJ3rORriMjekYD85rz4NVY9G7PDyi6/hDU7Rs2YbC7Dr2smHX/O3MOK5uZPiToeoA6FpUXBCzCfUsrv/wNg8YU/l6fykUyIg37QJHHYtpf9gEaBW56Kd2SWmqhI5nV39xPaSC/B6u5YknC+AszdF1YR1Rncc8ufci9fBrciVU8giwxTIEuP+lw+bYuL8gzKARzJwqqepPoak6oZ2BokZqweP12jk86iLftbUA0o9QyQ7umG0sDJxf0MR9YqxDV6pPph5GQp/wkucv9a6QzLSv1onQfXAAmBybfj1tlrEVX18nGprBgGvUHwrE+lacQXSlACuqWLHa3zgw575bjPmWIkItD9SblDxhOSRXZg3DN0PsErrOyJLEndlMh8NtZTPVTEVRfA5cvI294kGWJoh3mMxxXJKum4zXEXm4g+FO40gcgoCt3+pFPW9tZoyDQ1CaESbtNZPsGRd/FM3ay2IZLYycj6TzKuY44V+b9G1bbNRiNO8YExNFzesvZcESn087sKlIPIjJZdPB6t1Jn1kbwIEDiTPVCoykIA9iAHWPqnJGNaj9FtkFn6kxy/U7O39qbxb+SJqT+K9LGeBEmrSSwgFDYwJv0htJVIb99rtGSBEx5K0+KsXH6JkPcXgg8Gr4C0NeGjDMngnoyTAHjQsDKF6mjuOyTX9NGIWhZvVUf1PP0yt16uOyx6F9o2Pvai6Rjnrw3tCmQjDOi9zeZ8EUMLOog2CX79Vb+M9m2O82tykAWVMK4xx7hdITxHgNedtlVqPx1+09Zd73se2zaT4nbwdeW3z28JQX2QpOGbYHLnymh/87iABpJY+6E8SjWNAqb3hWvTpxTGxGOydUVUjBY4ESUTS+pFQr5EBRc4eR1aNbC3NAcTDbdKMN8tGJNOOzp6cqQnxz1dJZGVrC6cxO7ZoncHP9Buh6S+IO56/iym+m6inZBVW0ahEit1MhmVpkV8t9rxnL1MGzmXpotsfCGPRo74oHfLvlTCGJqDsZPiiJy11VD0t8AI0fau3/YKnquuD+0Yy2NhJsbQjBbfUY8L3t7N9h3zxBoXgK7TqL3uqsDKNYLrpiXmp85twLrdmUJbEnkr1tMsohDWuNr+jv3sNpCCVgHJEsnYRvaKYN3XDNaVJ37B+sygG8bXwuiiNG5yY8vmN/iK+qk0R29CpMJrhNeM2jI7vvpc6OwJwJNzRQ3qSmVi73eC8XB2gWyFoQ7Z7n/E0X7k4Yb/IB+eJkNF30uBJNFQUuL2ywTsd+R2hfzRcDSlpEMri6yBG6FoOgzvgQkXLb3evz2sLZmPcmHFgpYLtgQNIz91Wp1OwcjqWXFIvKgrawUNMfXYyIsgmOSyi3LdoIuKqncreg1C3IFXIRTH/h20lwhogPb3piUiuDhxKBZhzYN8R0gE3h8olP364h+ROTmRAMS9ODQhR3jRF63nxH02cofualUHSTMfa0dmzRdDRzIW1SPAUee0ruU3J01ndFhorYwQH7RpbKo3FB27P7sfm8Sw/5lc/wMQYgyBDRHvie/7YH8AOzfb+2FwLmZFBtP8NQqVjaaCJ8MYxT3vpP3gooHQtx9GTitwiaS3hxgQZgl52ZTyHN/C77R4Twwx/XQY+6A8m1R6ZbQAH0opvtbfbua3QvZkNiT/ZH0AnKhNtMLeW3imLmr1/mKQXGjH+VD3xpsZqmx6mP0hR8RPphMJUE9dJTkmj1oiFYZEbyipF9vDxnt49svP2bnQp8qWxBMAAyN/Pw+ZkSn1ySRokgPxIkEhdLk+KjfUWEUE9q4vddY4q6ohzLpH1zXBWCsdea+AkZYpHIWs4BU+zKsZkyS0yV7hL6Ta7JD0itIKwg6KeIe/d1UAwk1i/VqNOAspt0lhnzuu7KkgBE40s8G8o40II6toziv9igc6EoXu2GrVsFdZpDCa2caAY3KsD2kTw4T5w4nzXgPW1b30RrjwcmAmN4XNxiHcwhWAPyv/BGWEOvHYZMMutruUYngZ4c457iHdqoNxauTX2fng0YaOcrSFWuJO1oFf2wbWRbFvEjwFAPYUbZS3LlxiyM7fEPpQpFdhKTynj2h9xYaY+fL/he/lwmQrR0ALh+eBTNpUeGEa1YXah7JOoRN5ZYp3RDRySmtf4dTH3snYoZ/+SHlMSBnAYiZ//lUmS2Y7kyT1aIBb7WWaM+KlWYltGGo6EuaB84SlZsBTksvbyUi/xcjrn5wEol0cx2421G90tz7qymYF+cv3KBW956raZU/YRST74eXyDKme6/M8d7WSAjxWf4xAt6rXckcjn/Oy8zVSD0iG5UIBI3x/2Rr79xYgKbBOdPQl6WjKD4Nt6z5eKdmUPRblpQbQHiHWJeHRtKy9xJUTkjYy1ZStiZaaxlrTbyHLItuy68lFHKHL+kSG967h6QxhWE9apH/K7iRmVxS8QKIWDcWNHT9rkXVrf6RjVvQy/i7j7sxth6QFc2OkkGfLnhvTkIONrMTRxajhti4GjIpn1jibBlq1qhYcZTDFSy+sPHNW/VF0C8OWpM811Rwoswa+OozOU6S1IFkFn/Ilvj2uktWk6kl5wXv3OHzw8ECaFCfpvkxPPM2CACrOrKHv9xLvOtJZti3tAhOgueyLktRqSxvbt4hfgYxLQVcsZ4UMkfEFS5HqqcSzXJUFYiEtESWi5pU0rIUrJd668fAqCpaw0MmYo9paf70mGnVV0vo2k6PD9kuQCUIT8LrxYsjGGj9B2xZVQZ3IpyykJtF6W6aVcZyQ5kcgQpr7TNafu6v/Qo+pyMf4b2TunGkdOjvQUPSAWGEa3BWRbZJdZuChMtHoTvvXoY5mUHOpm/9oISvk3LnTXyOGELga0w8VT8OEh2+HV6jNcDUVkRfuquy+SvHd0cr6pZg0bTqlJpx7AJmCgfT1pEoYFuxdAq/h2Ain2tr/FDEwjsCRuqq7vRJMycxvZGRort4474oUXv9gFzMviqpEMk5Ytve0BEfF125liUMGsfWgQ2V0jpMisE3oHvqPrYjShb1KRSSa6oLvzvvOsg/EDJbk322euaG56vH4DgMBOfm0CErhMLCw+khDzViHoWJcx0y3lU6bNWroUe+GW0ZkVJ3bTpejqChzTw1gmAgJ5AHUn8OAdsVwNHysEH/YwQJ8yPrYT7Sdbw7h0+Lh52QBxx1jc/jnTSl1fFcvtQgPhkXa9615AJHTXmLqt6byJDp2ZEeDJWYq9nIeuu8Qb7nmVf7I3asgj/J5runcNd+jICfs1wsklBZRwksFCQKGhIKI/kEaFVwrvSlVHPz8YoSaY/3xLBMpdbhABUEOXks6KbXrSWzbzXuG1IDGhY3Hlzdsr12L1qmLwiPDgkBlhBueODpRYL7M/Ul5JCy0lfG9w2pAhUinHCX0OE+zvC/G0Pdm7PPfVWrv7Tc+jlGbskAFQ18tUy0olMLFE1KYZgLMD8aI5Ou1FLH1K9a0NTfNDaYkYWJ6fNz278iXGiAN0nG/8ISNa5TY9mMDsffJVW2VYhdQxlS2s+tgBNaFd7JqSxoF3L3LamWZLC5bMsbacd4bpmnWB8ozNgpD5IUT2VLZxAcYWmLJejL/UQv2FndJrFPyUCLseGBYvY4BiLU8J6Cok1ivvuVk/jTJ2SUYgMNyErr/34iaLpwgrc2/cLSms1hCZ1aaR3t5dnOIe6CZfUlDbwG4r/d//hqDWpyCiOkyiYg40PMi/TkrTR250pFVEjHST3MKaMENSeIA3tXiRKSZ//TXmQqojCt9ropZbskBuHeHE2zlpwx0w3X+Lz6FyD84XrDAvIt3z5qo6lMfJKlM77UKAIFjMY8IBgWCPIOOOIK7224eje6su+lGdhL2JT+mTQRThUqM0RHwrdK4zpsXOLMK3qDBkJNna12OP3/eFjHj6+ldEWb3Kntvfk9VAubJqVPbaWxtbPnU6UOTb1FnQPqAC+TMURaH/ZI+d5Sy+7rB09FJW19UEUM7IsO0iVkCtpQgbLtfsRSiOn23l8WFIRtGzmVM/zwe65/iqIG6wsvSthVfcGAmXM0EBEDj736wCE+AZIubMVB0fkWVFEc/NO6xW59sPdVa7PySSiowFXL8byTiNLATFcl2q4wwcXnuDyYxie4/lhcvOT6E8jOOV08MZXOilDhnwhRAPtWuimUIxQajs37NmTG6k7BWbA+uNrZHiFvAkkr/45LHMX4OXqI3MYfsQ+8QRjqq5ebsW9mYTLoQ2tpc3ZIRILDyDRwapi8KeH0ZqA3LiSk2tjwVBak+Px/D4Z5NNMe+KNj9p9bKMHQDC2ehzkwvUjl9W52iHtdiUIjB7L+zreU8491/XbPpAWbtoTcNnJAQATo0vUYrlsOqcttjDV0pGFSRuL28E7/zVuN4XiCK1SF5DYADHo/O5vCgDrBf7tw8DfhRZpuvOSTZ91d7NsVzN4/VybyFx87yI+TOHc2zZpu6yDRwa1fRR2Jsr8A1tM7bqif5jbqCH9n6V1jNDkbmJk72le1EUDNlLSKsbVsg1UP2IwAvbZBjA+yk+CWDUBJLyvnMHWQT+XH1M7/DFU68n55tVoNoir9CiGi4TS+T4ol5stLZ4eXs1rWgEjujqWp2symKXadEK4nquzrPzGBqjwN4RVXOm4lLTv0ML+ZaOc7z2cmbVCTQOXw/d6sICcJ78Fl3JXmPm64qOHbQLL57K5mjj55Y3JqjbwQXD9nmDglgbRU70gFRTUAyYY1/gYqC9nou+u5az6yqDP0MGAJ1Xej1UYbRRTN6Oumwhl+D2EiOgGYYkbyu4likL4UXKn+TtebvofPbuukuFFa4GPhPXb0yyyd25eWWvwNYI8+3jC8fpwZ/jI/2CcTe1Fdy8TfFL/9F7XVQ+DqeE3SBhWBrgmNxzx78/rMrOcCeY1hn79h6Y7OuZyjMHdmlXGcoALxS/wptHXNFSStAARs1VjX5gS2GahhupIxF47N7KPoiXylv+7QFWb6uWhsjQeL9BSQUmhYDL/6dmOCWvSKwYEjm6GqXPnSHpfpMZgEOOWwiOK4e60Vs/BEpzRM7SlY9qZZBeWp2I8E0JpRHVoYEueF90QmnEX5QXczvTSUEgNPqYutmXsucPBrkWJTsOQxyL0pNc9Opb6g2m41/ma/Yr6kt3alRF+H1rDEvF5W6f2nsLyvanGr1Uvv3a1Ly4qNpqbcu2bWAnwGZqjt6SpZilPCDuuXKDIuD+LsKHZ+Gdu4hmUqe7l6PRERzrah7seAHIvoq47ro5fxa9vTzxZCias7mqkiNKMX2t7UiAabMnoBRjFCWrpSBsXLUtAJeExA63cEpZ82Tkm3UkPNqrX4smLwGWxwO4ApA4To54oDBHg+Nl3h4jKfm3ISXEAPDwTIyE5cC0IbJao/JFigdhn03pd313BmPn2yRmKdyIUXmJd5zFor2C14Vm2mkMvl0PlrwsrT0kY8Cb1NtqD3SlolvHLwgXLRUTeP3ui5Dec5AHziXZXeL4obem0qwUW355KDjVgpsl3zToZcge0LJj0CmUdCT/dNW3gkUwdqiO4crvqNWEfnUrrO1Q7PjIJrGBGRiAov9tPD0zWUzL7UgPLyBmYhH2IzDZXuk/6YRdTCNFjvLhOR02TUt2Odv9Cyxs8C3YS1h5KBXcZH4DZgTosFQSVSgTXa7uI7c/UpUfsKvU7t/C0JozWVhaUK732rYJ4YYNuJ02jSGTmnmEfaLtbwN6TzbMllXvc+OZEbBYZ2ldcVryH8EnR9qlvFRjCQqkjMRCe9BTGnxjlGIj7hLnkm6W++82nL5sQxzY1rzhCWWA98DOGmrju+KZonK4Jd6b4a+XJJKyLx50hyOfmR83MstVIQwf33Z0/rp++4kybRuU2RC2abUCLPbfK8iwcXhNjrzWQcjV8oRZAMQkCah1C+5KPT+erz75yqimXoMDN4tiZMf3QuZbuHcJzpwpqr2WSDZklKVlfEewTbwG7Qloy3yGDNL2pEJDeH1jTunHy8LPYF7GGdXJvbNjMmfKMcBJjIX37020fV/pn0Z1gKro81KCJ/34Cz4LdkMIl4/AcV/9WX8csOqC1nNivUWI5AkT8SIcfZO5sIHPLsffTWxT2n4Jwbqo4ln8x83FK1UG83Br8mZMoyv80ox7e1IOUN2vNh2A9JfOBWgA4BReoSeA/7JzseODzxu1zmpvCKQcZHjjsxAkd5H8cCp/g8yZEgQkVvpahNvObmv9fy5ILh4VxY+WeoRFNgvajTsI3iIkZpUy8nAQmoYOtUyBHYTTNaegt/1l2I5pwR7/gG5MbJVe/+xEVXOg+Sn47C8iuIJWMhWzWxjLiFKez9aT47hgZQn2RSdL7OWUJxbhTJYgkjAdWLbN9tEsdjbn/xxVMALfMksuY3ayVsuHiOn27dRekaZAKDf0AjsHGSf1P4wZlBnYXBXlhmozQ6ip6Fr/s9RDnOxglCFFca36l5iUl/mwxtAqmRNVKhVhlkPCxIRf267S5IuajH13/1Wtvuj6RxA6VsPabVHn1dk+pL2K+Q1YYT95ljhSqJMZ9tL77zuKG7AA7RHgSeCr2tq501zl0Sdmn7eE1r+/YBZHRB46hsR549G2Ohq48lH3CTH1ct+Uixbrw0ollQ0IiFJW5JbqjvpDGD4rM0o6KOo7x9b1tUfYRU8NIRGZvwCVB5yvBJ1mHOpL4SILPj5Bsn08GbNxiaTziuQ8M4cgQD2e7lyDOB2hq3v02f+uivYN+o4JMtU7GRmB3+8YXD2GHczI+LXWV/QYPd/aZNIM7ZUp8uIsxEiHOUcfMRsn4LcCs8Ne+StCximBo+WU7Q+pjar91HiXke7cPzA7/3heD/F9YZGApZDWmBRhtnqYRiJzqzBSykoQ3L2Lv0moofs4c60XNKdAlxSiPYQg6wyAOOIQTQlBORz73ysMuGuqWvaqcE92VPC7xNa2mHKM0xZX0Mo/hpm8+NcbQLdgCzOFAQ8oMOgeDXzSl9Qcnr1qYqUKUk+WYxjLnp+b8FjB8emv9/+bcfEYpwwpjIZwrJNMeRtjCbqpL348lFcZ8pbu8d/89U/7dzUG+4VWbyJ+oZJvBTdHKSWQkKzTVxyKVjyZgPamZRvfjxbiaY1yDAB2TkDyNhO5vP4n90O1CLZ96WgJoVy/2+ceFd9hHr9X/q+yV32R/KZwVQI+ojEQyGyTwyFW162TABYP41ncfVo/iP1CEe7b3iz2akRFLLdj2BPuktGFz9l1i2VofM6VImy1wTDZjZLF1sV6xnDy7am7DL1wTWVhS0qUy3POA7u+5EsPctJqFGXnxhHMb0UVOoyNxRC80CVg3kNR7+nlHsywALlpJvF3AwLXrBp3x8Fj/FmCm2cbYYcV/GAeSV+gGh9PL6FO6fW5+84aVWnnA8hJOhjY7stzvFZCIRUSH2Z6toIRHdnPQv2qtTY1qy6Imu560KiE1bPxBgAeB5s/pszkwALbRjIpUlX/0oM8/d9J7mFC+3remdyI6P7dht7cp3291bwkeEuwS9qODEeU7q2Kk+DPs+Bcj01NOIXUBADvf8J0NjfZRZsEIPgF4kolh6m1ngVvAxLIyv0IxGDXXCvttQEdsTBHkOh0zSDppuqEbCRasPDv2ZIk5xFlc1b2LKgP3iwo1qu8QOzoSTHxMFFElKmV3NKD/KoG3UFA1Yb3l+56xAFXGRf+hwC15x5byno7SsDR1FOKe+U4dkVKL1P0U7RMVB4Ue3bd0Z+s6e846JtjsjqGCHQSkXharGdz+QssN6K1jgtyiMubvD8AjzMziJPBa8428vxGO53KzZV5huNS7RkVIU6CaxljebCqM7+roWCJV3F9U4Z40EVtGDtY5gTGAwudY1km3OAUYN4ftadTfwdLGPZtkDf1gm2UBCEpuL2PbmEwUWuHOg2WvFiTD4DBHV4pVNyv4cY8tJJMLTknc/QP+ZP8TlVJ1idVrgiumV4gX3OjZX5jt80gZu/aA3nBZITM7vMGfY1osvJ8rf9kbfINxdhEWvMBlw9NswkEfrde62j0QCu+ghgmNjwYf5x6utbP8Zu8dJ+xncl1IJL2iaqBZtrtwthIcqXlFZU7gtLPLPGvsxbLUPp/er/PPdOMQ5g0OKlmalsdhEWH9LbveyBULtKBtooJ1Nlwx9RNSs5MvggK4RwLkdcG+yRscNLHSkKBCxwZrSmKmr8qOlcqqltdx+wZHTpusqH83DDZNdQEy1KYzYFVqpCAhbjnugblRJ2be6MZSwGkHJ5w4aH+T7hsUDq3xJsrT+zDipTOe5/FB5gPiDzXg+pKSEinypPWR8SaeTPTYivqlGownokdm3OqWuqFXO5gMUQ5ChS21K1OO/j1TO4kIm90dlQeeiWc9aSjVSRSmXcWYiQrUSynk8OXa/75m/28P8o93l6X3Z764HJ5CJ+U8LZIlHLVdGm8w6EcEAn/YDNNIyClj8NQn7/8WzSlqTXO5XpIbustElQ+dqxl1ivaOlTvzpW+jVQAjwsdFLBjCOeaxMsHOMLxppVfBXutxw/436kmVSWgYszQ9tyIchDs2I4SPLLwnWmmCj/61OPGx1CcRmrdj2axtkRy/AUekgDm3jKZgstCfvSj+RX6WNXKqsdgTIEYHFU0xd71XmNMECEJa1QlN86szBSozaRpGMcpk+EM8V7Rqsk1XnQ/HajqMggW8Md9o6ePf1qI5LTJn+5OdLw+xDPN1xf7pIP7hqENMoggSxQNSk4bGLnbP8VrArzFyRGi+IrXIXom4vU/PNbefYZygLp7HFyDIkSr7VJ9X80vxC9ZPt7La0pdqx2MK7ET6UPw7ZDolxZtlVEvbgiwZg2KRCbr++4IXKhX5YXEs0b849dQiZeYp+wUgs08oVcM++9S9KPeGmNEbvLElmrUBmRvqt3/xBpayxCQ2KBwVICFt6IrvfeT5G1fhfmMYSBYz2sBPDgrAKLJUSjUymZ/dhlp7M9f01+UQ0Ma9GLtTOmZ2FR7ZSVTPY3fx5JMzaOBhcM3JFvW4Vedh4yaN6g1WYhyhQx84E9GzPAfNi4VUxevPJJtmY4QQM0U/X5POdgzoEn/QnGaCEz2elIbS7y4Dk5p9xlZZLSbJ3Of9YCDOg8egiHM8S1uswObV9Npa51FvprGOUSLqhL6hmJBGvEHlDHbVZl0OFKZ2neFnTbiOz2/vQAgw+v6lUp5HtCbc9UoGe05YSTRok8NWgSZTLHrM/rfn0fbv9EE7d0vxLzB98U909/VnFNVqoMTKBJwU5XyDwDmlVKVM0Ea0/CLJahivYozmpOsNx75/Zj9jRk31GRsMV7Zt6kiqXsNemGGrLCei5nk7vPPPHPabnOzckKsflwt+CIIaj3ZZnVBh6BNpxzHNVx1VmoZQm/ZCD/wsyO3S+sncgqFatpziudy8GofeNdYznwKQ82FQDWguc9IVFYfw2mUptyCv/g/IV+k5bgs0nkz2p4ijR5Nrr5bicP2l3hcgcusFkW1hcCfVaeAB2dcJ0GWEz6AgoOgGm39Hq5KHgX9HWNV4OguUlmbc963j0fsGWEEykN80G7t/XUc+GThGOLBrsolPZ7eCtXlakVh0HrdjyI+VRde4fEMP3gynUNhKxBro30gErhDsCX1ntHWhXAvRslbwkspPkY35Ty+XpXvKP2lvhffN5B/9NLaEBast/bvf/fRWuwhzVateqwB8ne9a/TmkvUQzuvuLp1xHrkwvlW4rRdXLUMy+/b1LgWjXo5ywIaRMwvya+ChdJD8yxJMXvuVhuPB/ps06vRdQqZawS56Vgb5mc/BFIVzilN86Gaq2ormtm8b4LjsAN/RcBXTDonbm91vYaBX5g53spt87xdONKgQpRznJsavW6AL9bWgquGw4QtFiUhhcWGMS6kYC2u9xSPxHi6OrLoAph7BXc6Yz6MZwDxwksVb5KyjItHt7vaaBZsbTqFgU4IE3afaClNWStHXg028HSJ91W+AD5hA2bed7ID862Z/4EGauiRIMdS7uvP6QArWxbeYZJD0KHO+IAbuaE3TOwWA5Slb1i3tqjzvHyEpUKDX/i0PN42Cc5mk4AvDRghxGV7SZRIUWzY5jbpdIi6pKMOfVwlGx37b86DiM2z0hSGysujnh8ZC+WyEz3De1WGnRfcDWIeFMbogtUpEnMmW6fAuylgqAkiHFXXlQrTQR09yGDdkmmv7E0x5pQnumhqkL45rlt5IGJBDrBLh9IV7VBrRJG9Wj/slmWgtxPeg6qwBa2b6upcrbINV5+BnK1VUe4kOGsWFGFSjfvpEysER3xee20AZiXJXyAJ2ugblVjg6ab9aK1VJtiFED4H9nLW+zJUPEX+c+Ku0StRqXHZ0pu8aew9CkWqpo5iLewvJw4ngg8myAHcWLohy0Qh3X1ttfrRvEEn3uDs938mFgWNOF6vh2a8Nn88h0NXmIa3plIxhz4HcYh6jK8pSkL2VvjZABErSwmw0ijhSZyWsb27Ov2oDmEtDT4SfkSkfl3AlT+l0ZsKNqR9mvIU/gIprx8xSBWbeRsBM9F2kT63DooDeiiG1gqZF5JJmiq+qMFqpMkFxOr7I7Rb2Wv+mJ2b1hfFdYPh9ksiWD+5F+aLLGpOwHeCyH9fIyNrzRgwjClwHMc6s3eDWVKz7ceBQEnt/WEki5Jriudl6QYw5wk//05QMaT92NrSP3MjK+zZoTJK09eXvBNq/6f2kbFH3h+1OOeYgde9UQagf5mrpcr7th9ux3c9IIdOR5CzVDIXJGzFqUCW4m6VW1WybHiYvefYsAJXQugptrfTssHYlpZqZG/y5dL5L9PFzk9DQ37RPoCqWDgf/co+hGdJy9EuCnHrOOiazyHz1lIEyjOWlVzpPwcKUw/ZQkpZ5cK0/cVk7DT2aeRKa/HuACVcNgAWBtbrn19w4KVG468s4YajpheQx8zTtlslupg4+omBAXZUy242HyOmERRt3FT1EKpmQusq2V+0152HlSHtbBXv43biFeIFytZ6iyV/4/mLPmKPd4VrYuulLwP42oTuWue15jgoAJrIsplSmYm0pGTZ2t3lZBEEDZIEXGvRdnoz8DcukEQE17LL4EksgxdjsV2iu4wrHqny5dNnCNF7wkNufMcSpSbFySChvTv/y7yHCj3SFgqiVlE9Qhk7TIjrFElgRINKsGtwZHvWU05B681/et3Y8y5+2N6w3Bc/Po6xa1pP70cM2CxE4vArNbcz9/N6lwf1/T+ajvNS7wU5B9dvzSd+Oe0g7hwQ+m3jQ3R7bBYankSkAyKrasVevK2L5mwRSP1Qtp2+zL0RuQP6DgfRLvt+VmX70pW3e7HplMc0PiTJl8lYKKxKbvGQCnL7OerChMCYpIrPyFTr7ll63TQ1+lhsth/uihH+ZAROZap14zcgA+dj2kshaJxLVO2ZFnTf9Yk2Wf/21XUgSKvIvl7XtzqAgE8taPg+H5CCYrXfFfLytWEVec/s3aYYeXgD8UkH6jAVhWJJzW5HqfJ+r8dJ7+CKqQoVqbybJH6uN0vRStYyuWdpRugiYUAFYauZE8VRVtjIQixzPufzFW4RVW24i1/4yY+DosThnuw0aqgBt6ySp6DwC6/lGL/0Y9SZovKNDNoNSduUAOelHbHE/YU+HbfYXEvWULFGjoRL0TD7QLHUg/K3OsS6qbiyCZ2c6DBwRv25aKu1EeUroXYt2gvh9vpKHC/s1bQc4eBD/h4fTZRy3QdeYWsVCPfBxxPugVIibs60SqemS8eO9zjct6Jsv8T43m0KaZTj0sEKRDad+RxAPPN412Abk0yZ92+ehk0RFtXmqlWHS4qlzCMW5dlS0jXi/8QZEyRs60CkWvei9Ld55jKfzi6b3zfdUGCqxhjyEOXWc20053afChJ2/y/ngNWmtJrL7J5eRNe3kAR79v/vJ/iTM9VBtSVNzd1a86gjL1rzr41VWA1H97uGjA4UTHg8x8hxgJ+Fliqk2Efsm27nv14AG9hQOwJreY3dChmOM6M2SogM+nLzYJOSo1NhbuwfwZbLBN/72IWDh16EDzmF+NDvnS2QxT190fJ8q0Z1qhVjyooIDVn7bimEqrXk3/esJPEws7kcqujlT3WE1EEXMx1uBAB9r0Qot/DlwLVqZakp6WEHC50MYlCs18qN7WcmNbxo+klOfMprEWmrvAmYol6RXs7VswpCW8D8OzHibJP5VqS1D//ZslzWHzGnIcaeFG51lHDx/VTHkFjYoVK6gQStL8h0fM35BCQktOxKlyfTj8VPg6VxqZG1fTJOe/J4xMthupfAn8fE+Cw6Aj+AbxJr9lI72W5RTSdD5TEEyrJBeobw71/poOrnk4XTqoYNsigMJDIIg8YiAzzjuv8+ymMPv6j91AmAqY9I67AIy8CcmtywNuYkdtcCRjUHik/FTLacKy3GIxtWQEdqG885jzDc3ZgtMx+ZAfRXyL7YWZPY2GD8wHKGypFhml4SAd8NTB1uh8hbhq+HhEFa72hsSWRlaIN7B0ybRZTjrXqoRP6uwJJNmguTDjZpkofkN7pghOIpBup7GOYa9kzxerDQa2GC1YZ9zDcNaZYr87iLXWZCCjrRpjZgae1lSvvMFqEnIPJQeUdL7auhuEiQN52qpMQZ23fL0lgWDBS/pZDu3ur2KEiWQe1rjd5bWFHSvWziOtivrMNFG02Wxp2Ef2KcXZhCQLuUPxEXJW+/xoRqov9mD9Kl9LNWLIvC5WUcMFUdkzEjS7zg90B71TymUNqA9MAiQYgOircmbRppT889PIyatIH5Z4lJyNmAM3hJqI9bVsNAghIk2n/+Xdbwi7peWaWJBB6BWyl1+utcl9BPHlLaFILKUR36eeOjSGnDc4uHLzOTKc6ZzQT1haCLd9FgkJ7IG1dx+r0f/3R9Tr9nkmCm9AHC0sGAYbZZ6t+KNlRl/IUh8asBApQsdJ81FzncMBoA+doQgscgEtp517eMZ9C9fBF5rakt6191EC0shGHZo8HLTNpDx/ztK/dEMYhh2fSu6+3rW6IeoHt7hXjf9R/ZNMMJOO2kCAyJJ3z+kV2Ufg7nppLhGpRVWr8OMacN2+jArpixnoBuFjUbEaA8z7kkeaIonrrYvNh1zYUcuV7maDPtDBuBFJGq038BYle5i0tXSLaFgkZ5Rbxq4VjZ6cpjx3X6HfUwy5pwBhIRxt8GaMdEknLoWiaP2GTncQVKfabBJ8QoGeYyAQf/r4Gxz7aae2beMMwglBXXBlakKBvrKrtVohBfzGSfxFYVG2SkgJpKQj7rodJ1znaZxJTiZFwuKSQbJuraO0bdFCi7nYBhcTFugDjRlM8WNRL/jQNj115pO49jhkPeDkqnmSll4hX7gLTkeQ7Ybg62fYfczxO20TszgYPy/CnxI7XLD3ceIPeTb6esvLRuIwIXGMh2K0vwH2AwHHmcgbmzz4G20rKWXS5QtozNnxMAvqeEv+MQAG4H/PO/Bo59Dv38N4urGcUyRWl7GaPiXFmiaBiJ8Kt2DZPPOh9+R9LGtrVUz+XZ82HntE+vxLWDreFdF3asjz9M4UAMHu6uTcb8olR19qldi0FI7OZAtNlG2JZcUS0Jm9DB4MsfpSp7DO8MHvrKw94IFDnxLN3yfxnSoRVcsiK1/MXpdygS6qiJxl/43rYVRf0Atj9rZ0SrJ6A3KAFa99CB10YPPGR4EhgMdjNj8TPJFkk7TpFQPpOSxASo6h92xq/2jtjrJJ7K2lfnsvWilLXjdN/310Kf6h9b3zJVbcfXSOXcDzsODu8XRXOhPiE5z0Y7umz7y8iOPMkftSJ6S20aTy7WW2YBYaHkd5zzesKZEQiQm7i5zEcWnZyIKz5TIznYwmechK6XWZymGlkPlhbijuK4j077m7hcIo2coDy3ARDJlzfIDdAbMEgKewMC2ZKI3TeegaOdghWDVFj8VRbotJrq1Elg3wlbHqsHbcKfIyZuXYOhGWi/Q5RNQSKxfxHaDTPKbXZTd6V/eYt+up4+bh6J0mj3bHVAMrG78kTOUJfP/2DFIesBBtiLp/kZSOZzgoRdlxxupBVqUnbbdSAj9AmHuMxLtnxtu/eDwW2uIQjf1P3CXrD2W0ON/UN7odT26dPkaf3T2Cnimw0QR6SEQOsRPQXOiTYU65uFpcYXGUx+4FlxXhXRTJiXPWNKIdXKHOy9RBJmX+cbljjwm5/0UHphGkRbQ8hS4D9t0f0Y5FJ7giI80zIY/vsZu+gvbOWuQcVVn5Ur65uepo+j7fxJrMNGzhDz4HIZB0S1qT5/Q5kHm6bg5g9MOE/bJuMXLK2cNPPu+dbaVmGpMPmrFlkw3jr7KssXREcZ3etHEyw3/W6xou2NOGKPUxRl0QC2pGj73S9u2Zo2uIxz2J6UjungH53HgQC0sUoCMPfpSe7uFY5s1fzheBRdkpfDtV4E51EhS08jGyiaNO2ZM5kabKcaaPT7vk4qnA+SQIZVXIxEV3WdbPD1647oaB1QapbjVIhS1MfZ/msV1AZQmcGDsN/q/xHn9WOjko/wfzvvglHIY85qNHt+1iT3mqeudUgq7x9bdPoLQn1rDaGpBXL9v0wljec4fT0KVeBHt3eF9ITcKWkv87Kxy/m5XqIGr/rUB81j0UtrQLqnjb87f9whWnhC8Ca+52r3QHTdZY+DYmu37sPYfHtDz1XbV5nwqijEy1xjWXNZhqO8qtuD6KxiYIAc3PwXlhKGGtIaUFA/K/G8w296h97mxoFaK6uDqDeYc+j8/V42RcWYwZAXgPPaCzZBKH0/h3R3d9pf7k98RsteY0Dq5OsC8j/NzUF+tl12t1Ta9mKv+tBhaMy+xd9dsLIRtHbM43fB8r3Oiwi7WHqn3RlDqgKq1wo91Fe3pWwgJr/cg44zWpPlbm/vBMnvElNE40h04bKXBLxeGTy0M4jHg7F5klOJqoIp7bN/eZEs/dMEhqpwvYPdspYBGusVN3cE6NkA7gqP86uP6PdvwS1Axs4s/DqMFnehB9abEziuIIZMsJIoIgttKPUlRXUwMg+KVvcOHh1y4CTe5OrHdbCeljHAGNG1iSK4s/sUZP5DoX8id86KtEcdzwi0qXkX3VpuZwMa/LhiiCmG82I8HYXH8xSvEuKPlN7pH6GItBTlQZGnY9w9mN4g2WpB78Xs5PmZtQY5d+olgPMvm81lCTP0G9MuQdpib1428qHDbE47T/DXxGfsTmCLbZibZZ+QHimBWzhL8VrFHCGf0U/SmJ1jOHHQlZi3fnzIYdUyXDbTGlERWWOzsvAkJNnWIw+3X6yVpBZzAYnyRDsBJ9yBBD99EEe4KjByoJRIvt8bVpNj4A4fm0tswcC6RB/WsyG8IFsk4jkcxqdV7i8V0Jb3XPcJtEBZ7Frd64djG0qw6dODTPHkX00KTv6r027j5NvbW7wlgmRBoVgAT1SCHUgajI4mhdR2ksErgAC5a6N8Oc/QdNgaXeh6UEQ0buQP8NQc2Azf+uGtssNeggLWgX/GQ+vCocBakvozxXH1mCUOjrsW7UAkqLcvQTuooS3hqCktOTz2LAcFYetmtqik7o8nELKWaAZYpoRL06ZfG4+ZEplURY0i03ecgoyReUt83L4/FUppGLmHlYGQNtCyoXlqLRHy/x7Ktk/ei1O6D6FUOqR/BIISax+EWus2WoC0T+AUr6subhWgn5dwVRDZxXyvkF/oYkSzHlRn4qD+P45zDsDIqrWxs6WaPd+rY2fRsC/TF8bdgLpRDE4jglayl17ixbfVo3v0dsebSSVs8MUNlYdWG2tgVWBGCSvLw/7eOVndo4tLWG/QRaay+SY91BhgGH8W2rdJFlnOckdPPpUrGWiekwybk5L1pof9ZMwhBulPMH2wjdxKj4yppXN+XFl835v/cPxYHWvqsM2l6VbtDPpeQ8woPflIA3JuabFpP35LpUyukDvnkhhMxeCDLZEDbcfQqgIw9QhU/oKo/vwNuFM/jafL+/cSShuk+34Q09qhRB9J2ZxHU8VubcAJmBVgggHtSkbiccWSczBMcGbu1oOnvOrzZ5b/1Tsat6faYb4hQRL2wUqe9jp1TTTXpA9pWc61VuOBw+QKeYPaJIV3MsQq3LWLaDHNoQ7qZtKeWrNubrvPhB0khyMBBvfENQvZCz9xjMvKfYdi22URgsHVq0WOOkykwbH1JkZ9WcJs8IqMq2GcMz9y/YKno+TBnLRRX341XjOR6A9Lomi+YCHob9obJ/H/BvYjDQhq8bnJAUyAp3JacGgLA5J5ViO/coRVKbpEN3fDK75lRNeqde7W/Ey9mOXdMMI01rqOqIjwpURSz10dkCyqEhyszpD4OX/dZrXXC7sB1rn98qMXDFmL/+Sm3Dno50ezY4BJu30MrTcB5tzhm4Ixv0x4oZMhwLN4oOw/662ffPfQDZW/+GzmnHOE9eHZNs8TQHhtqdiqh/Jsvm93BjV0y0/DchC2738P4UQSxWYEF0Wot0AeL3Xh3qo1UAYmFbJFrzP8GyfWsZ0xzdNgU6Ox7rGI5VgxmggWeD4tS6S9dbrQ+B4aoIDL5CuLeorlly3K0ypSe+OtqEf/kCR24FLF50HZOmAAYzlFnY8v6Ned/u65/KBxZ0oqlIae1zFEzsn0+a5ILAdWz6pBI5M2bdMRlWuWFkGGkx0OtkAhdiKpWVh0ubaQXC8oKUWeDmGE4eh1q1vYflse3aUWNbk9KU713j21Q80PlnGQnwqJhCpdWE0a4MpAjPxwC9s3We+K1V6rSKIkiTfc1/nSIwJFyyBkgIYPAeGAfEYjHvMufwgfhhd3iPclRYG4R3mbWdjcUzqscckequli8pXbddl2klWApP2w3tRO8Rvg68kR4NEtgpVETREACUc62ifT1lmOS+hN6zUh0j+vOaz73VFNpOh1MO7tFbCpzD8ieVVkysaEGWZ2W+idrmx1J5O92HLuKbKvAIwFN0W+9rv9Yjltxvsk0oLe5nyndDZl6M5lJwIS0o7tPjEgoPA3lDDTN6C8aY5eJFSLyhG2lHssDVb7T1wGr4nskXspuBcyvFMrZKzvubIgtOnzS6g4H2Ah0MdLaJByuTeN5beJtIscxxLxgasfk5DzqSgdZoVztHzyDQWEFQPlq2Ncnr7xm+4FEymvSVNHEwGxrC9Y4Y+kxw0k8yoGQCYsN9V/v8dobMNuZcrN7/apOOBJxSAFXo5TCirMTBJfRgXo4sVmM0CRu7mzanyqO/sAH1jt8NGJTfl7/U1+esUEzMdAajzaxMiP+7cXXncn8jjqcD5nMnhPi9Nu+G50fulJBc6JGT03zOM9V9jWNGM3874adyDwXglmjAz+9sRYJE2mcimM0BVl+dlfH1KkWaImFWpKBgmt6rZEok/3JbFiQ/HPWVIE3HTYM6gcNZCoOjq7ssO0B06tVWlaMNJsApzLNUIZ8yJ2b5h0mGbFwayAjx1glgvAAyibZqqkE8mzS46H3sy9af3FthlxCol/DK7aHQGCT2+VLFu8GrrxVywHUrMHD+bnEqNaWGlAavjWXd0gwE7/m1mDx9BbQEd82vkOEZJpXwfX5j3BqPJ5AhMTgTbZntdCAkrvMz0GgxD4n1hyYyIbrPgckS0QkJSZ7hLQSinOuvMPPI+8JPwhZHFweWz3H31HDF5bnFX9ETBg739HyutoSa2HTWu+d2RR48cevbaHDI1LXB/jProldFySIb5Op/irgS12sMTR6BizcshLOXtZkQ2acjBxzoptXAeZruFsXBtnVmKpa1Q11HHwhHf/jiqKezLV/axgzL/Fiw5Uw32JRxKSTXSe/dn3r54XNCx7TLN+resvN91pSb2AVDb5hD3VvMSsl18U3eLjP8jwfk9GWxPz8YIi8OK2ijH/wjLCbB9F893EvkCTJ1A3TDR8DotxJQ01OLQ7nseq7kwtFENnWAtwogWNtvXjOJXzJFee3LK7ryLvE+urdZeEfqk0WO0A8sGNiwrO5q6pl/YkspgrxrrvAVqOfY+fmXKgWjojJsPMmf5zuVs1VEBv2yQmOSPL7MtG6WUdAA7/98HrUxfTzfdp5mliUr3s1HiIjrx2oH2VQXmB4wciPk0y4oCYy1Zq6f9qO+GsSbB0aisF0OSHWIEaxvxm/LMvVoFuj2lxytgPGyu1BQpCHvSb/sEfahQJnASAGiSn39HlPwnBBXxIFuPPxP6O62hXbInO1sG97/N3Q3kUwjjylVQHXx2YvmHYCf8GMdjka+fgZyXmYnOt9vyAfengVkCZ/l+B39Hcq9D3wqnDLzRIQPnj5NgA1Mx4XhyXXZtOdgZUl5vn1kGLytdPwDjXlmSflHb6qyp0p/TsRFOhWI+z3OSNQBKNdvRRz2xF3xYP+k4nzjk7NTbobPi6ctKM3VnBC8GyV0mc5483uJ4eIShDULVwgX5e8t51jdsPe4jOCD0uv20y6h2h0paRaQlsiP1ub7M8d4nXxt67PWhlomxIaVH1afCgqUhFQ7rM9E8ZD0RksNNCLnJP5+blOKwLPZv6VPloTIY5TakAFpfrDq7nv2eG++h3TVZcqxFHWdVqMxt8dPUTRSyT0UMhlmy/hnbPvZklh0wFkcK/rY6blZlMNGdMn8Z82rquOgun+i6+A3xVAoYZDVYvbL78NIM2FdI3LtLvu7h0i8uRcprDBrh9Sxm09ONJM/CqlXqtSPWXJwRk3X2ORAJvHcRILEmfQgxsVZFMmKaKBclrrGkorCAu+xRid9ca4MKGubnMJp0suxiY8/jMplypVdVQ0an0PrU7DguAECvH/kSw2BEO6ThZRR2+WSIv6h9DufDySpRXapmtz2SHQ21MwHWmh+WiIcrwuqtZ8oM9t7pIGP8CuPStBE56XsJ6KZMl9mI+xrNoswcc9DAKMYxVlj5snxAcbIBJexb9GxSrSXMt9SBPpQLK7afiRWXuwVrwr9LWOfNaXTFNIsgayptA61wdXBcvsN1HZNkClhskQ7LQKyF0jjqBLfq/aUZgmlYmv91UeyjjcDnJfMZhNGQLltbq0HrKD7DJYxSyGHd8v7S+R2T1GGJEUTiMDfxarwtfBU8dvyvKfjaD1A6YKTZX9kAMxvpM1/vr3j5liWGyiRMCfAcOoEuJa0xfvfBFGBLTf9exyTxnjfsdiAitdfP4YX6ObcBBlWGd02JiccEBD4/VENlxSCGRMBZDWBIdww16i7/0yycFFofTLdUfQE+u7vLPCddIRpeJPpE/ENIhMUf+Um5bASzqNVzHKCQW4+49PwjGhrmAkaksCUSJF8aG3rkFXiamc3bRAtvuhhRaiJPeqJL9VGHOWvcJk2hrM8TJUzECFQ+XL5TNwNKLOP+u5UxXOxmLAuJVwPihJielArm7DAqoPAAfrJSh6RQa85LJAFL1yxQMfwlNS+rmOeWrZXJ/9R1v5p4uyB6b6v0a0+nfv/Vuus7gvYBqLD9zsofYULAVpBh9nhAMa4C/LeRE/MQpeDoFajhr/3q/5q1BOX+qgjxckKEDau0TFRJaL4qb5X+XIIud1SUz1Goc3HxJjHuen2iooYPlV1VLgTwNZnlcQ4wLtVDuG/kH30wp3Ji53gQ0KGeNlobNgdpSR76RWFfsnUoC7NUfKDEjPUFYT4CypoElbRPlHToi26fKD0WS4fgOKb3cIykXyY6o813XfU4HSJsjQcMXvlmCJZ3u4+xnjPVljTMZLd8Aydw9DkMB9c4cq6GwCQ8AlpqS5Y+y1lbaa++vJlIDPqDdLJnCW05yR0Cxc4ho/1ohKonVH4boPYzMcRYZ5MC9JBWLk1xGZORdcsophBRfaOYWjct/Xn9C8kqbvd13nSaxxmH5/V/opDmDKQlKBDuVkijUroiXoo2Te/558BqQNhd3jhfcr8rkrZywqoD4uFZt5GGJo0J3psST8sW2l4ICvD2SERaWD+5Hne7+Eq/Ojtmrw1NB0EX+MEpoPLe/SJs1lzNzi1ygyPiRCT0zpUmijM4TFvZEdmWd7BTch977nd+I+oINhn1ztXq7h561vy14T38IHwvPNA7g95Nw+lEM9tSpXc0qd6j2ykr73w8NhZdf461kOLcfEPQVst5nkx2YvTNn4EqWrz/s7xraliXx7nCHZAW04VkCmQbADfuhZyyuU3Pcrd39UjFuhoJS4BI+eUHRVJhUN7oeKPv8TYDAqwQ+GP5k8ixYOcy/Hyhw3yBVIMpopgGeom8u2rmsewpwMnjtHOchQBDYCBQDbhI0EhVjehN9kdP5Lgjl/Qg+4KLxHZQtXB5nu90Wmbn8fNi432ltienKT1fAeGrsfeZXGdrDk/84fhf2wmE0ZJ3d3wYVDIhhBo1qzfQ+yyovcH4snopHhRw7iNZ6m/4/tqb4dK+pVuuUz25Yzj1DlBTrJnXfHPt87HhfvvCQOuP+Ijh7j8e6ZSQ1VWpAM6L9d95yFEq7RY0k8iOZMFoCkx6r1QVbrxhvpHe6nFxCXaULMLrXfNOnjrfEQ/rId4sDUdVyyjQnklMnxBENIC3bETUDv3ZP97DlDhMSfcbr9rWAIJ540uNugEK2sQ0naBivxHgMA/06n5GRzFPl+lsa/AnDARAfuD2ZY773K6kAkLirIs3vrNJ9yRKhGLOwAVk2iMZfgg/5bDsHARyXPL/ueiYa9C+F0xfF5W5lnj4kJJ/zVOVVnXh2bbe8X9UtpOrKd039VU7ahhtZBwm97rZ4UqSUrsO7maVaE1UrGPAGIyXiuCgWftnF9zjKXXkEm/gOEmWLgkcPHNRHJHAvkExAhJv02yR3DHRZ3ucpyjG/yDvO2OM5Emw4wbrx8qmG+gJdvytTt+m+Yu30g0WD8KNusQF3jDScUhA43tGuWU4anKmzSN2ezlf6RKSCgHfwZxKGr3Ca0Zt/SeKxTNOkz1U6mOefLUQCRIMrfQYObcXZOOre1CvmVx6Mz3KPKKYWwLAx33jnOjV6dV7IH+nYA795r6o099Jr+7eD6Ik6l5YI6vdgixCCZLRUhF859I4SCEq4rN8zMJUcyTLDXnXmPu1payVopbZOK/vF0DRYDNPGo6qjLXR8GnK15C00wynfi5OOQPIw6dsyuBSJFYeitXawCE9680iH/TODu3T53pND1xardp8eFFkCj9dQW8G0MtDr3KfCPA4QOiFQaFbLVydlVXmKh7yu3UnYq0aoQXZkyFCHT8L0KnyPvMMH4mz38ZBT3vy+XTG94PVWXO6iNOltim67AN4poq6mPb8GbiEr21gXfEdQGsJcyEzEua+xcGj/vsedV1GvOnwpKgITI0De4hvCgUcfMs2qfc1LC/mlNF9u1v3O8GOXh8axDr++7QgKl2JWtcQwundMAFMhX9WsxR5vx8H040hz39v4rfriHB48qGPiI6UnbdJV4B2+IAO7vDasOFW1mu3jX0b2hcdjf+ZneZiyPB3Xo/0HHSLAdqnBxrY29IwJiqN1YUckgsHub4vIwQ+LHEfc9cntxC8uBDqcfoA4d/HlXiL3AwoiOGO1pL6S/Lnw1oVgdCaeQQdDTMrQiLybtDwjBny+L5qbSR5ZqF12kspszNZ43yQB39QH3Rj9xanVIVenmnX0jfj/LYioXxkKebn633MDxYbSVQmt9wcizS3L6syyVmRdNXy4PjM9FbedtlR6SY/xCG08cbh8KELEpMe7Ub84CGzJy8gxEsoI8Sm0/UJ9jauDqk0l5UPQFFBgEanLfHkdCGGEE92xQTFgNudcvreMmaWEXbmSzQf7vvfGv4MQx7YqUvdod7hd71UWuaFl6/u8xPlPtvv0XF3CaaipmDnpdxMcDvGVKlJVyMZObfFFIBEApeHJH3ApYPsK/nwwlKeEOFfdz3ojCC38AJmNg1rcb+3zCNIf2kiswvUP3viCXb2eQUBXI+IJEHVWFbed2g5HxjKHTk1HiRJC9Ae42fYHPvG+ph7gLrmzfYvYEradgipv4+8rnPo1TuufbqWPTmWWxrJL0Cc9jaqQucSv+Xx+lrX9cQlT4z+ztJp2J5PTUNoklbCu6SwPI1KSix1qU7k9U18fuvL2k3ZuaMNKhq1dh7hvLKS1C02o2OC33hrNjgtfw+3Y5TXdPdohjUDn8IEN0K4hKaTeDSWdYVLJevJePcehsnrRyA+6sKRirqclXsbZs1P/ifXubIyof2PoWEAobREk7+fUtO97mAsLgQltuxWMZDJ/SlVfZG8ablMSRPX1db7Z7cRgJJZGXv8l3YaCtRNOiwB4RoAVo9B9zWF1OIoc2uzKfzk5W2t9A1p0sdtFdYVCYV+WJxI1fgmc9fnHNCaQ0h20qOu//nUlnEUfEKcAM6MIHHQSXNZ9YKjQo5ILk1OHJ62j9D/caGOzWbMK9a0qhfvBW/zK3RQ9+keNytu9xzKopycPOMKd+w6A9zFCyADkppOvlnjkfX7zVybz7dL2/19DY+xiU0qLHW6zWcr1EvpOteQUwfSn7clJrIen8mjauU0V0cfQtNDMP0d99X6BKHEA6IkoFnnnUMNtnev7JkcCzK/ozd8wD0qeRMPzxbMAnefEQK3ZeOHAIXlEJ4V1uF6O0VaHZ7JAbbBLTdPi4e0szGapJ1wf3op/kzM5JQMuaM9cJnCNQqKzmUvOfD/rFBihB2Hg6IW7KEQjNqYACmeBD3I9kQYDewOMvG9hBPFyfmeQ+aoqPlN0QJ5wmyUBwvVx2i2Ut5n/1TPpICEnSvWtA7chAoTkktT3rOUBIM/va3azVDaY/B6nf04iC6+IIu7j+qxVwPGD3K0Mw1yltTJyMzGeAwn92jmhdSxZCa1JNnR+B2hkXyR1i9xXx9gUzJPE0hPCLGzNLEGjkH4kcQ5ang0ofiqUiAnxF93yQMYN7iArly9Ki1YhDKmIFZre4aiNrcSiSnvmyTEjIfPDhUHILAe/PrAm9n74pDMTJeFCwmOtOT82ft0BKT4hgP1fvlfe4iY0MGZEgPn/wMxFwKQJGhcgrshmS89rXpCKja2jJFUZnvZksep6m8EB8uiXpfTRSbAlx6gMOu0fSr9FJaJ29MeLTJGBXYbu1sXmnjNOodHt+Xny8pT7CmZMrVmPJgzKlNIjGHT1a/k0gc9mRBx2htEMT+agvvl+ocjdXMGYBeE+wP9QftwzznbVfaHxX736nNnfa8UOdeZhcotrpQz245KDk5dBBrljXTkpt4FQsKzqJkd8kR336oOxnwJsXyJs+t4czQUhwT8i8lsDQGcomxwol9BLE67NaBS42qqWb2lLleBAKrMjW3SC9R6ofkgYPop6zx/FBU3P9psszTLsPEPnlSODxbnisfnwB+/ZMxg2SSSRGfZa4Kd3BQRvAXKpVAicTlX42LN9uFrVTi++5F0O/Fr0MOcv4Xw2O5gaT4inQrpUMxso8z4NMkdV1MyQpk/uRJ/N6eHEsbKbyYP98oMSLxjk+C9cJz4QoVGjvknmSQFqDJCdpf+ORjSDOIc5nOfKO8bnik/Cgc5Juq4H4GB61Oyu7j20g9VxaDcGA9NJq850tnh8usIGA09eOMie5M4Lmk0EULJbBGWTpkPrKPB9afCI8yT2Ndxjsfn++G296CcejV9VxPzaKopWytSI4DZDQGvUvGGhuN8mcv5uRO1bDEtgIUkzAd2Z9299E5uDk3vDinPltfw1myiFVEcNmDi6dSKbxR7nnpe1ZFxKTLKUHH6qNphUly/pLih4bRgYv38DR2MVlPqxZGBC3UNMQJovYxHwOyd2LopGVb03wbW5rwyk4NvXm8oV3yFuQ2QpWRf81yoLpjCkUcP8hpWK2JxzfNyZYwL8Jkk0/BuglDs2WvCy8Yma9Lw8akr44eb55+42O+qvfPKDS9h7TvrLWKN/QZ8NRxk1/kcZO8fJTHxY02fHW9UMGaQCkOSzBrVQm7JvgNhNO/FjKxJwsX5aA2DstyhzxmmwtH5X30vObaloeWu0dZs0P4478J1aet9mDKTPb5B5IVheqF+GsRDB+wo/c08UdcbaiEzdzsfbWIqEMaetsr732e1popkElk1mEudmeSMZdgG6M2qXpTwJ0DNYpgG3+ZuUfixU3eFmqK3fFKwyURHmIHL8nfdIvlnOuWRvofmiUi1zDXwCIx/+9rn6C1GpqbqiQfT2k0H83w27Ff52SZevlpWoXoqTPjl/WRpd/b/RiIFC+3WESLVgDUeVdI+QteSlNMTxI+g6mcEj6heS3r2gpxsHozCY4qWlqD4fu34gInUrwPvx9jSAFweZtZDTlCBRQXvgBPXw9K0KEHwADiHxWgPsCVR/jFP2OW/BGpZcDgDk8qpccTmiFV4pPlIcig+zC2TijQ3elYpFaJaHcAobQzZAMXbIPLHw5E5bMWdy1vKf2x1ahsp6HYGvxkut8VMD5gOkOovTO/tG4AyY3NL9Fz40LH/w9SrTeI/05DBIl4ogZtx3cZzXMqbRIywk5EZZeE0/ei95p/OpPX07w8jklOK7en2BOScXbc/2UO4VV3AHRvWJnPOgTwQlVTMCZP9T++a0Oqq7F4tG+KWhIEpUvJwMSOll1i4vbVtT/z4cnOZEGQrjJiyXcfVdJXcKGKETSzf/C7aHmVlUd7BNLK8rayKBuY9UnEtTqqB7FgMsODN0el31PeQa4qo0tMi4bpaYILhZSgSXgtSVDH6iXGbGyYw4KAgJ5ZbodbWJinX9Qx8SFX+koaENqAblPvp6xxEslCQ7fI2jW9Uz5Bp1ml98WG7dm3L+s5LzwpGgYJlMQgr42Mp0sbX2Jz/VrE/0u7bHXn3Gyf+fWovyTCDotlMWZNo2rsqf9Acs319mRugO4hyNp0b8mMFMTQqBLaHHUztLyjgY0tZU3icgMun/AkfDREHSmz2i+hPzUl5bXdrJoavMbhGtwJbl8leiN2An+aAKakeWrDBQLw6mvZwxw3DGqnf2Zo36T5Nn1m/OrOSeVj3cekA/sQbrSzDNGiT06KMqSWWqQBTw1huAxQVdGASu21fWxU79ZI9JaQJIx46BKn1djuVfJrKp3OImO3V19EtbW0rQ4mAn3+ml9wPQN7NHy80NK0/6LGhT2OCaPnj/Cu3lZmd1mWe7WnNrdocE2bZtbaT1dWImElR0glYMTqkdWbKulb2lPVx8eRp/m2y/L3qDG5WmBekX34hiL+cLFz3nDWQpOrD4YP/XQVMkKd9ZDM6UeCI4zT6f2b0GcbCGNdCBx/u6CC3W6aTWbSlreM5RIHQZA2Rk70Y9qhwSlJbImApVMDv/mOjjZPj0tiJSBBZnQV8KVeG5hWktUCpB/blTuHLuEuSusCZhpLoEUBIQRZD/jDN5rdhwoNPwNVRcGsFDmeigtIx74uLzC7nuDLl8auE3y6pay4CbNYD3f4Iz+AD9ay17kPAX09ochvff2t0H+NPKhIsLQq5rhgNeINvwYeegsFV87qGN5zpULxY3FXleuxBUgPaaAcmZbMChaEYIBaSLiMhAbRBi23Foq02i/FEpthdDB7IUVP7S8Q+sUO7px/1cMf0uu5w23O/ZRSM1qRA/54mXqz0cDqhbH9UxO6ZUR/LEJO5dIAOhOKDMRW1j27ygmIp/iAgNB3pI23ce6iUYJV1rcatG383cmO0YPCDrpP2/2//oDTyD3Mu4oFFcWlF5K8t7oXZurgqNNmebdx7lkxdulxYdWCGvpVKwflACXtf9J2HARru24qCEXlCAFTq6AcGfhBF0XN6puOiJhWLt1bzBaExD8ZrOyhlr9fUQ8Z5vLFI6n2ErBpSIKDEm2fNxJkfCnQi3vk9Mh0pwDHNGoV3eWIbOeUiGjF7tgXl+vNBuJQBeu1eLbA+wksqwqcHGbrcsNJD+Eh8J0CF4qXAAEbDRn9T6tMcH20+K3h5Eqj9rlbUZkRsCv6sytFHIApy1PuuFbKmWGNDdX5kA+CW0+Eo/Kj9OzVrxVmg+vb1TVxBHGnyw/0UqzJIn3MS4NEj0+ZyywTtwIbwfK1CzzTAd86sZ5Y8KAcGqgf2kgRK0B/DB+m+cYqZT7rxEe5I/gJtpF+w3ez6NcIP6h5yBLwUruHnKbbkxLI9+Q2H79stpKx1TO1jPaYn8S1J9M3Bybo79V6LFShPBA1Lhkd15/b8+CcR42e9OjlIxm6G2H3h9HAgIE1McxFL2BbgGRIs8moepVE7RI4e7t61FwQgmwN5y1v1Ygr8uQvi6fm2uJ7G4GZtvfmvuOQPre5EdWUcx9sEhKwPsgqRLin2F5emlpJwLYe0sW9jMTUaKqMHIlYcUoskNTMPeYHA7R+a3QKv516a/tgEUzDTNvFuZ6cQJdJIZdX5B+PNIk50mHNywRV853S2y4uM9jelGV9QQD0+PRg7LdlJ5zPL4gahn5dDPI7TEnClHDntB46owdD7RahV58GS+jEPkgMlifSlADQYOxXndBEwlHqsnoOBa9nWH83b3EuH/YdX+NzCx5bkTuSbikSVDOHc3pAPNJ7L7K80NBKd3xTuM3u9sVRi9hzndIWRsk5IHRHHTKhI8Je+FPJUqM3pnBrQ01w3Hz5QQ7+8Bwj6/yBE3CC65XHXaoE9U0uRMQmmWe8MnFrhHhMTyoM7BcAH1a011mcYUs8bSTF4W2JJoBZnZqCSlobPEbwewWcs2Xe207rIQfpsHWN36JRYpZv3nxsKFSCnQTXutc04cqnjrP6xf48WTfmk52P8wtfYFA2jDLYSt/whxlJE4MJcVVtJ17to5nlRUdEDB8tMAeG0GhBOAGvopJRTklgFs/vymRiS/CpaH9VLfPHf1DM+ddtt+62Cxj7ZXoxKqpn4J7ImiC6mDvdgkacDxX067AsL0jSIEUjBeCdJKMDFqISwc38aQOmiLTPkbVXIMopnJF80rzjxkQqbHz4wH1Wc9UAvoVCv1uz1cOlxL3+PM/z2DmTN8WfA0nBOst+ueDziIsYJg8kGZYqai41wSgcwzTKyWmC/Hbxwrss32nV5VyruKyRO5Zf05BJVj0AtvkdOJfcwvTFp6mWSkwU8TgvZb2iJWzfVAMIC7qXavO3Mvscn5qrdidCnNIYqXAH7//k3Gru6i8EudLHacjnL7hUvuEkoTg0yvP6VEyXmqraMfVljZb6ghZJWz9poloZHgoc+XqLGrOeumQu5SwPJVYge/MOV5ZCePvKeNrVvXOnMHUYggAINmqoAEiOK6lgHXoFCulfwJEJwrazkfEy5iIe1mwoSWLK1mKU1ozVkH9+9kmKKZzuSNrjLO1t4aSHGrmzea9tXxjNyOQiwksmFv/cveICp38Izk0TVstTOwRfG3+IM/XCMRdkHE8dDAeqpA3prRhipWZT4w+cNsLUjeapWSxELNkx03/JEVKbwbF3ZPnlddzgayv9eXUv1Xom+sSge0Oij1LbVPXge68Fi8uRhl8fv1Ma95DYg5aLZqdkvtweibxeE8+AX8Vr/uLnrf+eT902iXyDP1aTl3fjeIwE8eabgm+UbvHobjcLm1X+1CIjVfLnGcsvdSrR5G+45PLZG8Y0LrZpHOQIqX4It37lKoAEwrCISlxArbCOgfIsPDSN/CxmobRS+IcJu/EN/sqy014648e9jCt5jhSHmDlLLKehlM+m30h9qdE016xdsjQxenp9pUUflptNh5jgRjw/pPCZgSH6WHTmRruM0kbVXKPbA81KTvR2tpLBiDtOJPlLIZmHjLyfZy1GhTRrCxn09b1falMXJeszWpHyCOnH9Vh/DFqpfy8cfAfRk/veaSlTKmXNLUkgrD7qHXOYLEgirKwUQirOUExrfYvfa9zRzaHPmsnLkpnVotc8sGy/tRiw2qQMMAlYaQPOxpg69BHVJfEXszz2k3iRZhF8GGjvxaDvUCYJf1b38W9KDKgFVHLlD+i8jH48qjkAVJgvFhGNTTVDVRlInw7rc3Wg4zMQonJ/HIMy6fzKXB9nwfEMlhqTZs0JWFKl5B5NubMnOLb1m1k7Cp/45P5B3Gls/M+Pw4VjobUoibMwfMK3RNy8OH6bIshV9S57zuGCM7frBm3ptvJXjAofiTUwSkSvDiMl6N059MBoP/zwzqlr+c9OMo1an0CtJFANr/XIJTTtQ6WRRTnHeQc3qrLlbcIV0uBpynvsCibuo/HzSPIZLZIu1G3KYqkSvOsm+RtGzSqFMY+3V6+9Q/dkw71H1bTAFWmsg72WrkLHXXE+Dc5OZA1RnIdfqC7ySgT16sPtQsaGfXb+r1Mmd6r37rz/iMCSKIe0OAJzu8i7zewPsZKKOqWvzxFiVyYGH4zamjh1M9I1S8SmjathyOZ5F7ESQIZ3wYSiIEcoYWUmb/eus6myDWqhMcdyQqMIgPh3p9ydEPnLYpaYst8yGKKfdtR+jBjtvtEqzbXAknBrUonvc6CMF9tFQ8fTz3rE/vDBtuuY53/kQNjKlbJkd/FMzyMQsBeAv6UNQ7k5qeH3ic58HxhMouUPj6eybtIMkRRf8i+mGTl9yH2smAmLgDr0RUJQ0PUeGzlNCq7D7PWQtLU9IHB2tzQrpHyAF3A52oW5yJ2WPKFbKYzz9g9mfenRyyZueelHrBkeTASHgpruZuKwAsXkFKpNSyV8amZz0CrddBD7DmKNXy9iR95IB5v9KicLBJPqZ9e3LFaAEv2t8EVGqfb5VD93Za0+CsqVdIZnQzBk6TIlmD00MYm79SQgvFA+a7mh35BlAhA9V41pP2sdbVkoes5EVa36F/QqbW9Mo96qaB4rn3LbUJL/j/Rs/vB8tAIzXYA/RVQAF9ovA4hv1UVZNXw9cP0NW3bxVaAkTbU379lLn8S7lwinh8KXlOVcaOqNeKoQZFDztgN4CdjwlQmJVMkeSZstHHIrcRzPFg8h00g/h7Gmld4RAjVeXw65oIXrDhAJuAtxEZyUWuyBvTVwAsibBUrQBqFk0sDFNuBJkq8VgoL4fnsfrw4b4GcCJKsnSwdN2noXmTsIcw/eMXlfzBejwpFIyDGE4iLaBzTpiKmqCR8HEdeXUfGN12Fig6PHCni8/qGkloTwkAsjsGw09hZB8pN2L4FlWpX/VjXWtTtiwNRh7b+cvegNzSbYHEKkXcaye/HTmCFegPBEZaUbj/TDIz9XQzLLZux2trxxudX+oYcoa+oBEuo6aGntNWBoYtJHL0buFtiftn2C+6mh7wp/6yS9Mjxjnvt5h8N0U7te77/q7cjVBw4OvD5Dwpcs22CNCphbh8RNlHHBzamqBbXSUiUpfFnK/ABdO4DjUKYj3n4uFdPGLk64GycB/VIJxCIH20QBvKIIJGwZEjMQ7wZ1CG9OPknhR6X998BSJj9cjye7VS75j4egYh/32WQWuBmuxU+9M1Q7DoDG738OM58QhkOudFuTUvnf+r39cgLSw10yLjpj2tqvBA6pKayqX4g3EkFcLrvOB5Pvj9bbxb866YOpCOOE9NLxqW8s7Y1p8a7LSivyKFjRfnWZOOa5PTnZvdiL4eIQcKFft2Vgmt2SWAjIvhrTDDsC4i6dQhwrNPV195GxNnC+eCA5BcY7ri6p9jNJ+BE89QhnoKGQG++1+t3vS4D1Ed6kTs49dQzgmF96EsUqtfN5UGaxbwAYhDAgUCGSqqclnFC6TiiYTKxbLY/o+ib9l6LdEp5EtUL9ircBIsTzzUL57Bg05ead9EsXh7G6wUNhgCd/RimXA72S52cy8MHfOdWQaCN2Xz4RDGw2UbZ2bhcWOCa8TP7p3uQp3fJJi93haUfS8/c1N+CVU5fAJbFOxcPfH39+mXknbRkk+ZxtDmJRo8+iSgy2xO2gAAmP7HwcRC+t3IfaNf/IkCKCv0cPuzxr4EiwXHB0H6nqovC/6IF92bdMdQudijwysIyftzdDGVcokE0s7ijcBDEwnrUDHsNAdS6auCfo8hC7KbjgRWNweFw7qLq5TRHWKYHM11ryUy5xlwudLMv4KRiKYIbS2JDXJtHu2BU/K8MOwuYXRV8WaJDAZ4EAMPZk178accN3n3Tb0uvqgWFs/vwA2V2cchZ8xs9KGBxIbqPCoCA79EyzLO9RRMoTdoabEGJT7BZWxWqm8tVtBI5Tj0JB9+YvoYyDj0LOm0YKVD0GvteadRmGBb0G4Eef+zEiSug9BPd/cLqlsj4kEbIQMwXJl9yQGvgVawc2oD9et8isBU6Pb6CQ9PBKbUcZcKcyRnPFBpm2/oKp5a0be8LpTiUMRz2xNTJBRrVSQ7WfB6cz3KF1SSyV/HZIBGMDzQ3uGhUIpgfhtvOVO9Ky/w5UAovEhVKbsMSZ7u9uNEmFuMZE3n+w1R3mFaJA/6tc2ahmyVivgXvB8AVe2LvM/mXZUlzZ8cI3LrMk8PgkzEzNLs373LAv0XITm5Xn8MmHoP7A4oVF+XVeP4avKe/TVu5a/p0Vp6WYUtog5OLtywWddo4fWxjqkI5LGs9SnnIzs9gQp/IPf98vEg3unUBuFsuFdgU6SW1C4oHX9KcVLllAGTu8RUy6eUhQP+9a7x4JSTy7iO+OkabezQ4O+DYz/KBm+/KUSITXEHRinHWacHcf2eksBmYPXJFCwpG4+WmrxHkHKZoumwoFDoPM2g82IZzFESoKA50v6ayo5R3DR5+AXD4fXM1CRuRjV6Zu2jzdPaO+IjwvJBpnl6wV74JDgH245xTp5gPBB5673T+BssR4gqDVcPA2HG8rKsSvICu8P+20fl3N5MbhJxWZNbUfGVfw9mWLFS8nksExBgIN1YExGmwO3Okz3GiALLTEz5Vo9hN1lbjaw4ZegsHQl5pRj6Hc+7jpcWVQv5BBHQ9IBPu1mig9jbOT+bSepvJc61/ZFjnUl2pRl9Glr8sYz+AsR3JfgBRX8ND1ARDUxzt/TRDAAtAYk44dbmHf3OgJSnn4bZ7dRzwRo6hUkZdyK5hIVIgE8aIF6ibk/MWzy4edtB9YtMVWsrzPbQeqMzJ/cuaaKwzKR4wpXk7c3T8wgurKTg5xaGnNh1wLQBBiBbX8WsoT/t5FnYGgZANI5U6CW2gwJUOynXZOJXeRo8SYxBmLA+pVhYFuS+F/785OaAYUcweu2zh8bZpHyNagMUKJ+Z4IdGOCGidKLOQSSisNytqFJ7usaopbLfLAOcTIdJSP9C9u7Zw1oeJDElUAyDc90yoUXGncdsbjBJ61vwAfMvU2ZjN0MuRt97TvQF10q+0Xjy83+F2LOAqtR5DBUqiHs9JXZnR6l/JIrlL1d4EVrNtruCbAWC6A++CKZYRsFOO0JhjNlSusCyedNTuz4UccGuW7qJS3/7XCeI2NbcCQb8PVjy6ftAC9HIxjaVJkfI0YOTT6yxkuY6lKzXI3Ix5oav9Mrz5RZghZ8MaQ9ZXXXvj9LjlqFBKj/lRQpsKwOlX0Fbmk9quX9JM753BZboH/fVxQFDyDR9SL5KensKG4XL5uh+1Eg01cshRh7NtHVq6WS0r86joif83hD3Bc7XcVVhHi1u3ZNkwviSZUkm5BqlRdg0dbBW2gh3isH1FOgozZXU515899mPz417MWjVVWQfp+dWZavkmrmTv/PMTtEUmSMR/BbQV9Aj28Rw4xufkeYxirtU0GmvaNR6dJMyW1MJT5uy2ioBGGrPgjJTCAs+U+YclKaUTwwwiKGkZ7sSfZ+/cdwlwj4/t5sMOpwnubKuJ/HejtmmqGr1fPQ7FEtSJYV6Hk/Z0pigDZ0fqxZqihI/xKLMXN8a9A8OWLopInr89noiAULALtNbYyAe6TRr35Nl4aHynGgNh9OysyHVeLU+nJNaWuGlMhYk+LZQOll5NYBtcUHxL4zS5yTw5ORjeLj7nN0z387oVThzWTL51SQ55SMWFzg51Lk9LwL/4YO6OezP72R5Qa0Z3VV4Zdcjuh/XY3J9WoYNj2n0no9OjGAKO5iXPzWaYfLIBOvbxoMxW4lXjrCo5UL7utRsVdZQ4F+XQgc9I8kAz90Thi8w+LzrlqE58tBXWAfUDme2gMnLQ729XtKgyfYtv6etkaP3b9bCx1r3FLw+VOKBMVbaoT9+zB+mrMhAsS6M6YNziALuCTb72UP5jsh6ZDGCwRtfHcEsMZuA/vkgB/Y18tkY8UAWTlZtbm38PYdiui3RqYqL+buNoN/7Wjbe1gmSvp+VJMfv/2pk6fH/wFPMfwgm1kF562JejEl1Jn1B4zNS7dmGbvSnl9AZpf6HZM710CmajFOHFoApr+ykgHtfrboWfCGo4wTwaouPtx70PvsW1PqpK2R7idRrXLx73gUYO/5TEh5jpnin5imE/iXNWAgBI86efaoxSZAqqlD6XCrg7sjDYoqtI/TqA/CHHvc1BvsBaJjh0/dqE/ks7/ddYWqp36fJzZsYZwgFwTQxDSwpDegDF8vdDP5Hb3YQ25LaqjwOu8gTJB1KQLIoj8uSLBj4w8h1SfGrzlXQvV4DqaFMgivDW6hG6SY8CdYKPHthHDX8AweBUj51zuNu3FBETPuWIkIHMgU2SXtjOu7OklPZ4Bt3oPe4L2W4I+HeAJMuGEcTB8bJY6RpnL0fGCMMsq0tk7r3mOxPelexcA6sa047IwcO/mr7mQyOOnRkfiZyf1lNdprb0Bn9lPWAX5nQ7XiIAfLX/FFv5vGmqHEHAMDmrU0x+GrTmsiO3LbG/w/TCqHdrHUlctSA7gtoTQLn2QhYELq5N8m/7tLGhKRxLWegueiTy9m4+NmEbKfF3ytRFwk39La1b5bAJ0UL1RsPq3kFKW4rSeAwjfOLxMYE1Gzz983eJKi7KN4iSW4POEQucflh4Eepat2Dg24t3yLKHbvEsX9Q5GmNNHxquDzcWv01VoGaxfI5ry9/HO0rkT8cSmdIuCZItXDQuBcPdXiUQBQOv/NPKN9/zJcco3GB8vw2O1+kS1G7bzsbvVv11a2drQvk1E8S/DchUCLtUi7PLbwE2NWTDQ+RID2oyoyjqxjgqZrxtTwgkZxKW0tywkQmEOjvb6yH/ojnHmPbSt2EREJN4Jw9Mp7GbyDSKwRbau3E60fZ6/WmSzaPzvV9eWbIZ4cr717XnQBwC8StdzB8bYKjyceUhhSYBAydidjhs7a5X6YT5mtkilbcPrGFRJ3SnJ8YTxiugYorlgaR92EJUGJeDNrTxJOYZztEQ+R2MU+giSiFNeD6KpF4dVqnbnXTks4o1BydRDn/asH/w4Mv2oc+u8kXu4H+T4DVZdTfXm3DCAC+gyi4rpDxgwVuYswu2c8HDDz+M7rvJLM+3twfyRBQpf9rTXcUM9lGK8uareZSYsaH8kNtKcnOiPfdUxOxjECytzTbMDKGfR82nt/YZQJ30fy0kCYxrPigWIeHlGef2oEP/j8qcIzXSSxBFNCUoZzIbo34E4Txp507tZIoYlSFJbW9DlDDsItWocPeRslHWi21yKctneerGKxi9pr4ylZq6uLzEPLYuz+Jzzv/xLpH1524gMFwDKqZxB5Jq5w0aWXdjHlGeK5LcwKlavl8cHLOpAASlXzoLoWyaT6an9u0mBBtg77VgardL88bht4ZnyI4+WScX9tiGAZB7mqYiEaCoO0JfA/zMs6cK2sDTobsOZHwPS3dnL0TqLuDTq8MM3jYtWgYrnME10teXZ1QTaDD3TmOAUEJynAJLh9qTHJ47jAF9pYDLNLJEMEAPinwW1MBazLpg5yOFGMj0Z8kwgf42S20FkOYXr4EdnDYiZ9JX6CZFMfka3Yetmgl+OQPIMqtalWn8NsTk0rNUbUDlR0J/0tYtB6TX40hrPCKsnkm7hxhranU7XnzcAZRQ2nBWvjR7yQz6w40OlkWJNL9561AH2MixzKk9+PWWntWsawjNWZe/TtteIIoXRZQ7h0AeOWf16fSq5F6Ozupc3M80CpoNPVsEAga+LdOe0FGC62TmovBx/byGwNbo4rQKFbRVjWxHxdtdEUhkgZxrekst2WnqJ6BQGj1QnNg/ZN6yVlyobZEm0UQl5Jx5EyI/hnFOyeHGFZD6IBMW+X7rkt8j6ehFZY8WUBxmqitET7UgLmBnyU5WCuJb4a++3hna04vl2bgDKvkKZhCY2GZUoOlKQNyKpzi8SgUI3jo8BC7IKykPUPog3zmptYW6LAYw5aPvZH0MlWjHEV8gM3MO5o7EYjZxtkkFt8Wn1CdndqGSH/sMZ458TGtakC0IuZAF/mETT1roT4LM+qJRboDEX87Q2ORaLw1Z1ZyUhw7gNpnMf7OLqBELnGBH1S6jIwK786PrQf6Fu9I/j7wDn4aPSqe5r0wv3FGos35bz0jKEtofPdydz4j/xQim+ZO5fX+2Y698LzNZfY1sywYGRzIwvziqvZuK/H9duHya+UNeyl4pJFUKqioqklBQj6VCHYLGu7IJMKVsgRsVwkTB4sTNUuoSa00dSxIMwOHZzOycCTsY7AjSA047M6JM8MIp4JHD0KDoNA8NZwnZv5Npl0d4OCtjwVjvv3YntJlLOAXKhXgpOHFu1fTpZSGsomLVjR8LKKrDgAahEOCOyh6EDZrlGfYLfhiruL/yLkxmGJTtAXkb0l/ebFY9RMrqb7ge1PL9/mAQT0i85geEociSoQT/9QDJn6/M+eRYdMGcwaItjf2qDwS7+kjmvfEPk331QjGSO0CGZurDHVOLPEraGxUG0qu+qyYnBLwYnWMNEkEd/5jrQLFHvTR7+vuCdx0ZtMinaP45lDn1dGGTafzFHVeldkEnpCPQuY3qv+/EoLdrSdXOM5zPgroRfankSdZeHVcrkH+0BP8AI6fIfgSaMpBU7g9RP9M5mcHjXIsUqktY4cD9dxCo1mZm41rqj7KIGnV0m0HHp+8oC71Yy5PypLa/b70XPtxkoJIrSVI1fLSDqiTod/TMnzZJ2Fq27jeuP+rSxIxYQFdzyBjHzq29CDgotcd9l/jFI0f45EeXNxt/XcpkzWg0sFOS4dDb0q4x2ubUb79Hg4Cd2HzywTSVv7AWcZSlkzga15MDnefTI1gotIPQ+7UVIJzaVqCUxWW6sgtuB3WnylDG2BVAckGfuWEOt7FpU75eYRYqnun+eyowrIiTQIf6HWzvoRsCYC5I5Z16L6YunVbRlnk2nXYohOAUSGMMOgWxgjN1gao5nxsgGVOnoksbPPEym3smLt+vM3d10NbEUMZTny0iKViRnZ8Xvat43J40BuPqEE1Iw5B7mKz37vNLUu/+QVc6IkuMSnl2ANPYE3ygO9GcGcjLn54R1LnB2LJ+Zsn25/eDKKO9spHyKS1r6Y4mU8CXXEqPiacGqrEU2HSfLOtIwO4A0TaYlHnV76FlJe+HRt6bFOCLvDOzT9Yb6XVMq+on/HVHsb/SXHrbGF0T4wNi2vS37q1NfFYP0V+bYP1Q6eXzpB3cD4XxXfnY6Q/CAyPgEaNOj8NgmtBuh0sAqa8JZGCtatDxBcMhohWZEIHgA/X3JDiNhJeRL6Anvk2tCBObXwgR08r2sdel7oxmtx6oszPoAvYrI+fnDlYfM+bmmCqYdJ2yHDsGFbfiAUKWeX4vqzS6tnBRswOym2rf3SLBq2brSUERBm2QZqR5Dhuzwi3Xbq0vWXn7XdbgvGGVF/aW2SoR1ViIe/yII0yaWP30A3QyOY1wRujtU2TE20W4lWOoEu9tgI3wPRpc6uEvtpczwd1VlHJr7APvn3dDubPGO2DU/EFhHI6V2jyM8GJ/rVRsmOe47m2bA7kM7HRLCTQ6X+da1CargjdcVIMrdVwJI3nRRMZdo4WfwZMRGLSaxlbTKrF+7GsIIRfdFnjOLHVwiJE0ERCSNTabCknDrY9jQTAKcaSOYfsQWMafubDINjCX3u5QX6IxjaTe7y4rpTv0yE8ogIl9OowYoKSk3bgyN/bQhEQhhtNt//C7MqEBy3zLPayRrYbgTf/KWxaeKstVoueKNmnn6SEVvNjWJB3QyWfryo2zqHzfDzMLSluHuKbjKtLp4MKFPYjBjXPLiRPIiWG7PFqJf6TYBVjjsLYKDZ8jw/PfyPHi65Kv9CwipafQ0HPP9TJJf3E2oRJjYbqzpjfZoW6Mp5MFEwqA0kg3M//N1+sQXHvfBoRvPX2Td50iMNm9MyfP6GlrAZtOi4im7kKwTh4AT3I3G6b615oyEtbrJ1efl4wQu34lS2uE8glELcnZJB2Wn1T+gVsQOSqwVS3aRi0COlWT+cUqUmgn2oPCtu2eJmw86pFECs0H9BiA4+J2oFKrjJqZYaKW9zRk0ovLEYwMnmm69oA/wSKWbvhHlNe8AlfNKTMV4NPFW/p4ZvW8Vh2lko1FnH4IVrizS35wBMbBZXQsJmXGBzkoOE3eOUlyf3KoiIKjkzX81fBGtrgVaCX//fdQLEmwxZUCk2Ox43or48ocQImT2GoMtvbaRigTuziNF4lIyy4m8co8ST6+QVL0Ek6nSpmg4P29AYLlSY/ttlBsAc9OThWHxxJWEz9GprPmg4/iaQMpsLThtGhHLgrMbqrt9cuHeOOe3Vk2dMY+1ZZxpuiL1ufSwS9WGxS+Oy+BqtWPS+Ny/D5SQNhNpfn16NRQoVyhZAzVDEi719oM4DfnBSQozeJBYpbd7C6B53DitggGpQ4y2/wwTxeh0a6jPnV//hinHqiEK1fUUpydApKY2H/qPLFQ2C5YicGy7igrgB4YGH4+tVycNW6+mZbqrqSzYZPge9q0PLGQXHw8cCRAxLSt/k48+6FZ9rQtgPEf+VFxaK1EyDxTpvsOU6QVlche+IY1T8oj+AobIhuf0FtlsGGUUQJSGJjMEQQKBny1qQk4Z2i1gC1ek9GoLV2I+b+/jmeTZs/gc8qxpmxIS/NL/TFEOFx/bJKPLcmM9lnbN/6Gy8hlxzxGQSPUDMm2z1j37HB6Td51J3PNMP+VfwZhsOc8ZeiHCy2XREExuqT2192YXewsPGYJtUwgBeQ+lMwc5nLBQuAXE0bX1C2y8NYMmRMLJyFo0wmoFsqbfeYAdQuZOvBmZYoMCcomIKSTqt4N0xcSu15jwTWH6AV3+sXiCjE2iFEr3jokJSn27HuHHIqcigoZT/zQU48gVVihzvcp3mfZ8wowHKx4G/sWKzLfKVNF1KnYgTsQs+x2fyScmLPyv4W8rG7yrl58Ni0PgpylE2lAORIul2lPsI2Yd6fIXBoApYb9BBmC3AaNCJL+a4x6pBbsAaNyaO89BtsPfgmGmv0ToBUYMimAiFnZGoLdTfKB/9heo80Nyo06TGjS/ad/yLSMXn4T9Ouxg3+LY2XWIt0xKROsjmBAuyz+J9GGTYZP0rc0Et5uVf3Rhourot6kxKJF42U2Q4JzeurwAH5wYM25Md8vG5F+BPa+cVh6wULHa5ml4Tsi3JwgxWqznXfxz2XMU64yWD8z5etSb4bSqW+1dXIuAGMRB+TMGqae4JFraOnA7RMVS2kSMQ0oVMqQBkTMHF1I6IWrZMEDrv19HFdde+EvIyWssKtb2o0cgevHLn3gH6/Pn020HT2lGgPjSlgY8wzEWf/2l/x6W6uDZ1UUXWVk5rXJMDmGo1UrAsvsn7iEtYou51jYFeQVDYjEvIMrvho0b74WF9uBgb6SstgdYhMfB39B2DJTJtvU8ASuvAOVA3v4lhw7V2CaOCdzgLasp7MqQ+zdXQWpiMbnXUPsBXWrNPhoJzHw+FZ/Ohw75/y+FfufNS6xCjLJJroHs1XNLkVnhYLw1i0nQcT7t0nXVwiWWS/FTgWQ33NYDyA8Ma6Di8hLaZLXj4dyplRqFJNbl0nu++mWTUCFlbUGb5fJw3Bczf2fSTIDqCr+rq8tv7ac6ZWw2GezRl/LzEKGdBP186yGvwv+5jrUgnJu599DiLHXKcVxyL2qKlj3Luu1Thhe7k6mj5dpU2SQPduNcIPvmqyPuMMUIAwkEKs+YYURO7IiQvh/lDivXx25V4udo7xh/Xx4Dxm+ZDtMfWntx2KsdWXNpp0+1DtlAbRRyGqsqcs1oWX0h8wM4cBP9vF+qoDMyaTHvKT32e1ea9+1YcS+yXIdI91a0y1rDAnCqJD78tuKyDMvu0Q9vlTJd0ZaVlkcKC3IwuZcHh28H4FErF4TzeW+cU4jskpNBtc2pv50EXhJA6wWp+JUovD5vLu5GwOV+6AKG5YvX0Cz6TjnDeEry1FT59xDh2aIHKxVB/T+cdpWwa06ajb9sK2zYVSm1EjU66ALKzrxr0M03peOCHJjgTiUJZp3g3TIrgnyRM5/29+6r4eiP5zTc3V7keTOmh3qr0vYWGdGEubpiuhBkWAptksxzXm4shfVIoNOQIJQQlRqLqYs/qECZf1tK2tMj35fg8ajelgo6vncHQI9RO+Wg+v2VOmlhJo8MT82KEGmALomRTQcGGez1k5kECB1bPOhiMPTn5k1eSgqrQyI8XZCgyDuQT0cHY483n433fPLQ0/It4dMUjYRMKB3lTX2q/fsgai4RbyF0brDOyzT60z0r+FcVs1g/mmrQXFcEkFZgL/g3q8AGYKehQlfv9MQtIfG8M1bzQacTTvb1Wu5bECTYaULCDziGj6foi9xCp6S7Co3Bjv5MvuQUUFaX+n/EpwBLQhdstpvrYO7NmHlJIXBT1EGt3e6UXNhY/Y40mDlJ7zN5EsXgQ2tOZwxzaFEf2Dcfghh12D2gLDEhfWMM02OpElDvhQYu+4J1vchfu/2Yx79Dug8DvchYvW3th7vwp6My5kOVXHoynaGBze2E1alJRYfOFltn++1DBTtHVsAL/IXKWVX3S6ItZFODDMedQAcc9NLi/jjUGPJSVk/ZWfviRcofoDOW1MbSf0uUIfkn3JX4yrqPMMetOuaNYPAvpYt6CS2EMzRSpBiS7CzvGDh+LwX1fCQERKcxplH5j+GvvPzazra5yvtKT8BXi9cCjpSpouOeT8d5msxoB7e8nj+EF5ibaMFDsCqDh9xba3qdTxPJZSK3E/tySxomYMxRyjPCJszsljgbLMA9oK8Zlcdbh1sEV/97COR8mnejh3BN819ML+9WpxFeSiRDxCoaspmEbfpAvKU0DsvCFuoBjO0mQ5vMYRcfXHJG1L3ZMovcKT5397dMTd4ujTQoyFlEo7BgU8vlLxaZ2o/RdRMX3tq9d7Maf6j1XPuHUtelkmQI6exH73+TZnmbvL7z7nm49PcqwIM5f+G7jrJuKqfA3V7B+N3FUC7rWpDJ6S944I+3fVFvSL3xteegHV9nDT1CQZ4YrfCnAZ/i8k0iGIENe7SGwP7jOE8D0ijId1svbZnLgdx35cBjtxlqsHPqk5+d32THssakq0V2PWrtpv/5ArAxJOvEfsbE4rH0vI4EuBHGQmF982wduPkhvHbWUst02U4V1bC3lEAiVBbAcwvZViOzi/Pp1coCyKTSKT/6q7oYCBwy621J9b5x/6TudH+W4UG06yItXMSpTomMXTSRlL7UlXCf9GmIiHvjWlX6Q6+ks+IvMgYXyhdMI6WDMlOmujpGu6qYeYSa/8HYNgxX/GAO+ZLvspUWehhymes62MyXTRHCFqfcUxjiiP+FrFwsbAhxLn7UgxtniFSKSU7sLB6RZfPbKt+csgdpbztP4JItGSCl1BBF6YPXaxnPumYyd0eSfA64cl1NmpIuqfTXsTgTaJg2lQb5Ww3Q3deXOW0Xv6RBtxIrxZbJmCQzgJpE2AFZh3rxry7kBF39NWXnPD4wrQGPUtVaH7dOLa2o4lkD+VKAS+LjUUNTrjBP0WdJFGMM1Hsu9UfHxwvdqHzTYU8DeO+UpRsDBbc44DkxsfwKf9vuDqHxNiJR+S8x9clSpM0EGBSDITXX57JKavTwpxTsXbDgVOD8IDPge9FNYm+c9rd6P8KHLzCDC1P8Lt1APBWoKI7zya1GAFORKHGzAV4vDflV2g4AOOSYWQRkcoan34ZzUU+qer9UtFSPjlektv7jI5GIE+ppFv5YY0hNjWhT+Y++B/e4ICLuyp92qUR7FHkA1dUu7FkYVW/tci/tuC0TXa2x7XKaQ2q+mLaU9zvYsLZdFy+Fz4HcKkOdmJxycWl1tzevcpAV+tiekhvUZaWHxN184FqAAA6A6gjuhqRl+xAhcJqHv7i4N6NqOgPMr0Uggu+fHOBC+EedM8s1tAfIMq1UtMrdAieye87evWoylVDoeUUYndp6EmmYKGW9lgovt326++Dp40TzkIiUVpkpxfPQ+X7DkIzuweLOjuFGlGk1+qpCmCI0vW+vY709g2c86aUnz65rtIZT5iDz5sezhwKzqsiyNAwm4gzln+znZZz8VFPsRR7v7OP6t6AHukwquW9RXOYeoJL8aVa7JG00EJgIgTGNMGMVLAGGDa0/di2+74iGku3E07agnmFeacYum7CrG2kpNQhNG6D6RIZSpED3nIRzdISj3tYw5bFGcHlc+DAJ7dKEVli+cTj01m8ERppJVSvRU9SozhWQp6EjdZSnWE96o5rSOE15L6zI8vT8RZbBaEo39y+R22xVcbaxefDJuCnc2M4BOCsa0EcVksjPSy3F92YGoMzXEMhWackjAiHVoXV4udqB4Aj0oJAqSHcuL78nhDNWHUkCWK+ScYPUktH7zRRGyahN+RUfPkgB4HPfq4Y4feqBh97Y9vGcH7PGgJNH0EbxRSgSIoaAfIk9zNDrXiW2/RCBaIsVr6CdXpFmFZO8eEV2og3myWJdvC3XfhLizIH609m7MGxLJlUoB9iVGVzCwXfwRhrCGQ27vXR13bYgolNt7Y0KBbNhP5Pe6IdMQQqAcd8gfxHg3/n/SN9MMDpNh3HFVMrwyiXGrU8hlGFYvysh3Pp+be8Pnnu1kDOsJ+A5qML+uukqifXasevnbVZzl1LM6Bya9WkFysnjfr+bczXnVhc7RwT0fYPh2ZduBKyMXP1cOr+AiMIJ68B8zSJxkR1KdhaNOXgBrscg+tz7V408n6Z7DANx60xmqGR40hGn7PeJ3ifOtzTBFnLMNLkGCbky3Acjgh5sWQgjwEbvrUXTeEsve/Bm2LU5w55jI/t5iRwUMA/wceGFZllXm7a5X5YKHj0z00fQ/NNTiFjcAzhjv8pTObi/VYyliwXQ7JNoaz/oo3Sf+VgoBYNlkqoRJUuijLOOtAEfFoyXYS3pyY0jrYvxTfQiN8+TQv82+sWZr+wLORaOC6SJsypDJb0ahMPAguPBU/544D0PuOcDsU+Ck1P3pJoA2drQw5a4m+eqkHlVKMdkd80VgBJvZZw1/56J3ekFnOBchBFY5LW7PzQbQGvS1wtLELyRPPO3Tc72WFKe/fTl4IffN3cfBl8kX/OZmlrzCYvPRKBVZbNJE86Qe48u9ekB0gBFKoFPcU+kkDdPVVtFyyF1F/wtO8t3k2iLem9F1uKqHdAH8YLj0EZw//fa9EF5lmtVk6/YGVgAIhnTWvcBdN585a/dloiVcdtttUxB80LXpYsTzzZF0xKP3qD6XMhZBtonoTc6tH06Lov92w/nKXywEgaIgZ109OAXOa+aEtplS0HMijvCoMTDG4AKziFBtFppD8OhbZBaWI8cDKhIOPCfOQSODdY40oF/aU1Xw6K6rn5e4e/FdFqo+JLdyo84iWnXlQqZuTvYdi+eLD1t+Xx2KUszHO4gYmw2oRfiXvbCOoMg0sdN37+XoVF2ZCNPjophnTNCTtYX2+rW7EghGzQY3e4OKVnwQ6IUHRh+d+/CivlCiLXhnkp4yDWlahW0ovlVHV6/y8a+0IR9O4kUcp3FzuqoGcXph/xMuyWiYUZ3/WU5qHJhziSPZkbdLebeUGimCtjWo5nz28yepZmDnqOTMB0RLmdxpZ4FHZ59Wz6FHoScOkz2KmGX/7/oUSa0usSg08RU5WjDzUkB61OfR+ihVJIdN/7DL8aApjVuC0LMohsR5TMPICvNVGLfGrrV/60P1NtDYSkHcbtFwlxEK7JwMSZgibtZjlzXLCbe3ppURxkT/qvTFyP7gxLraIqcditTe9ErTbbxVorJ/iFJy7arcW/76MFcdV7gJChHIQFM8NTP1vZdr4p/iwE49PZhwcY6yyp6Pd41gPqFlerNIILvyvrlgkpqPAnB40EGmNyY8Pfte9cX4HUli3v1n733qe++mwv7n9KH2gL+lb8bQJYnszAMCBtryVX27rjdiXBYQDe86QX8WmWG7w7ttWAu5RJIve5zla/G9BVbJUcQ6rz2u49h1ST6i9HGBnzyIctDwrsGszJbcllqarmdE/n7HR27D+MIfjV0tlzHMxFAYWUR0gImbU+0n9k2OUSmBGlfzaiMykfSnE6nsy39y48p8XJUk8YNqYIrWqXnRrf+9ztbG9cmBCzdKWATJwtlyqnz/7w6DSpbM6fVmo9e5Wm/iO31UMcwzIbFDOtmCz4CYW/zp2qCBc3vTnHYeUhtEcf7nYqVfySvcApfwQ00r85jgnd3XaeXTFfoWRGktzkLpcQOlZII7s7zdL0jLEYkrzJvFb2MN7899OoXZDxVPVwr1g6+CzMJbQjAJhYImgh9/kIbxjrwp3+M3vipXAK4rr9P4A7Qj+YMTo0WMJ8s0d1Bn2aF6lNnIQDYj/wjXfSkoqQKbMkggxaHgD/2V482vTu5IzV3omilb8lz8T14RGUhZX6pz80Ip0+a/hCfv1DTxv50BszCowJ7f9A189i+EhZvj00/bA+O8yv/wbzSDlaa2qAtdUV4NR7J+yMXXZrzlGTdxEJEihKVo2U9Pw++SA5LFpE/rOBVFP3qzCYh3kM+EXKArsSdUfGgXQBp+jfuFdVq2k6js6nj0ofsL804A/gd+5cbwqlruJwGHUkoUYl7ya2Rv1IYSDzxTyLmnw+nrgwPBM0rGgiWHvYkYoPWP5pw37QB5l/X63lAwFrwsYftc9wEua3tp30z/laLPdoA+DIkVvNh3i8qi47NCnmHhwwh0PaCo2A1twByb8mOOJhSI4sKTEfHx/V540TePyUPTCL2FQcGpme/W2fWlk/NIvGSCjq/1x+XP+dioEWI6vOqcAqxf0KjdCi0nB6z1j+/niycUt7EWJ6grjri/SCs36yuHTuF49eNt6yIziWIyRB4nm0SeESxc2TfjXt2AATblT7ODOIhNoygUR+lGMTfhquOkkMsvrKww7Bivb30oOxlehJRDwe/TUSp5KhFOQfdHWGU925F/L4ht61IGMe/+PZguYbFa+tnqp3744cGdrj5tfD5DRVfaAztnw6mS/DhM1s5yX6uPVmEFoVXbeVQUrqhkX1Osfv2A2xrzxABeEsWK/2s2dSNRM85jJEJCOhn644m6hUY3hdmKpC0NadJx/56wDRMYDopwV1KwkbfCR/Gwq1IFnGkIg9J1oC8CKgYZ1PgIjytbd003IylW8gAnuFA7TdwqajRMY3bU0cBG1wihRU5UkNL2kovhWB9xnjevpNqJltyohV/kqZVNSLW0AITdtG5smnxFmSNu4Vmzd2Op3w4UpMYVXH/JUJXnU0Z0FUtbIxb5e/5PVYONvoWu9UI3MeKgIKjHfxj+L2elnEWi8l6y5Dz2XlXUZheznTUn0OqjufB2ulvu1Nc967HDYMXaE6bO957CwXF8UCcrttt8W7fWmVsIxuXKA6VxrTpySQ5LCmY6Ka3sQD9+JVUczDL3J+E6wUZf3mrBpmjjQtNmjCGl2vSClTsPkxpPYtnooa/RmprNC6LqIReBAUKX6uYHxL6k759o2mjwt0zjWmNV3WiimdyJWVp/eaf7TK2yM8wXqZ23KR1bFPdAHPn762IqVlUCyPMhLlWNJS53RskkbtbZHEnHsNsnBHz2m1sNzR2wCBxcZvLT+vpSM1vkc+O+yzMeP/qCIdCVL+6NZE65pDJRqPs60c1G5hDXQ5N5xwPHX8GByHD4Lm/hIRV29tEnurix5fdZdxXDdFcnAY/ZKJtxO1pbfrzrHUwHA0nwdtF8f+X9Cm13ybvhOaznUkA19/2zn+VdIXD2yJ9RGt/f5iVXkOm4OxEtBo70B0GI1jI4Q0OMQkUl0iqtEbNSMX+Sm5dWqcaH0vjL0twegZ5AMIV3NyVjpNQ5x0oi//FHKz3qc5gz9a38E8yIFri1UsNmsga2L797QGtqnUa0FSTuw/erniRgNnRhIaLFKP2I/4tdzuxQjNV8BPO6qV1bSMOHtpZ8XtyQcHiIoUcwOr8eFqztx4ERxpgdo6F3+DoSQStYBzy3mURq/bzcJvDbJwtmtt7ZfYEbdGpumL9j1kSzot1id8E68s/tU08IDBQ3ZQ4wZG8HShxr5W6tjYjlpNG6uW7wRcfe7xrzqu+7a0Xi+y/NA6MwKYSBCIrfKXD/+26UXRwfwsfXHjIMewovyZU7lQ0Rj1XUhsbxUJpMDp3480MWMLSS4xYUg4JbQAGSSqU8SP3iBzMQaG1ywohPGah5HS5Ql9LMLL8BxxzB3rufkTSM23djDTAoSSriQm3Ix1xtrofXXJ1V4fi0RNawCBlhZOzcNl5v1K8GddB6KvWr2Ip++kZWkyCfhelrcMJTiPmSHYmkFye22BB0YV+Gtg+OFTAG6QHY+KmBwDb9K184HfRljGPq5UXfAkNhomMjft+IOe5tLzmg8YnsI8itDcYhLXTOEdo+Gc1127ql/ky3efDN+4CmpepjVIFv+fzKW8ZiAIqrBCsu1PlM0Kc9mpdtP1PhPb4xxny+jd293XHpum56mYnOiPFwym97AHhegvQVYqhyUVZ35c9d+yhvR4/1yZjugqaIrmXdESacwIAugcIYThWdPyQPFrtXnaRoRXRda153mfmM2GgvdnSVNkvuRgCbqOuG8V2JYewwuALyDYBZb5Bjw29K0HU6fxxmthqedB4HcsTEiEqmrofkPuf2H9wdBzl99DIIpOMhjmlltwFh9QSB+rwkDegEZLJQ6d717oc1TS/jzrnp6K1EC7F2/wuD9d/iv7iRS8O4muxjoJGiIKk8U2md5wPmbTwJNKrXneFUN+jpWhC0FD2JluYAdRzNTkXRgy59SE9M8jLePPT0CQ2Buh4C540+5xUJ8/X6caSAuYSR35/hJ/stDOjjpuRF/oDmDBtn5vUHbeNR4vgsRu7Lh1jPl7xwdduTMs2Q4n7Jo234jJYHP9r/A8stG98yH7pUwh0sFWKU+46lDXGYvXJRrtk4NqeeWDAUIF1OFJgW0UCkms7ok0V7B5HduVhbnjcjkayTj2850AhSLsz+bEbuqqvaSmmNHFqeG66u5Z/FOj3Sb9gtXovnaL5VnSjOR4qbmde9nL3CS3jFFzoG5WL1rr808OvYVfqVCpMQgWWf9D/Ic58iKhMQmtKbKYw9QSKe9z1hoqWHKh8q7CE0lnxdc8YAvsQWhR7Ay8+dAYk8NWHZw+y8ydU6P6fOEcJplgOLtEWt3YueE4rrIGgeExvIfFLJOqhr88a8HyWbTL3m/oA6JpLBbqUDsPZb5bCGeP8BLyhB+Of/4/1D7dbgIYI1YhjLziym49NZ+zbOzMPSG6PVgbqr7n6IcKkyo/HpjIZvm7GB72u9qZx5zKUczGUXhQNADOjzxBy2ogh2+V1j0v82whxphzHDr9hH8+/N+tnGvpkyO9lrfOXyWfYnZc71RQVL5feG1U+5rN063cKrlOEyc2dLP1njlJySg8JLOIj1NGFHW0NT/AQL/NY21mnVVkNrp1Ca+g/turr/lbNgtDeM9mgMg7au0gOLHof1a4HwHH3fX7rBIgli4WiKqjuu+JowvA5FaW0PtpwUw68hY5hkmDti2A3oFMB6meUTshhBeGayVOpgnWrvJq0EZiKwkv7X+MunWSKPFzcvshOBRajm6bnez1rQfcQ2Do314Mz1hYnnrEonuApFH+NXM06nRptBuWZQDpESoozfgiv5mTKMFC5JOi9euKCtjZrVmiDTScawXtenMIKUXPyP8V9dlD1E/X74CDm1pFxxfV8XTjGqIDQgh8YQsGjXmji3GwkKhG7en5W8V9/w/Yk0sjRb0rwDBIv3J+SySV9UggvmWrdwYUULRdn3dRB4fT74uD9HZ05a2VPCR7sClzQm1JshHK8xfcWqLW6DUYc0EZ4bAG7/8uxOxh0D+Zx2WkITOLcezV9Rt5UpZwDYARGnjSRGPNwu1OgPBhtWy8Ih3EnMwr3VSuJv/QCZOKBbNWxYQ/9drPJoy28yDyqL9CcKMGHhZdT2/uwxWfw2sQDjsj2veY0X/2XogxE8hXj6cVZQEmvWgP3F/YKUm/fVG7HqEDLhc2Ns48NZCFempSrJguARAxm4KZFCv2CguVL7U7uTw3FMg0M16HRPeBSgHSOgvBzmyMnNPtnZZVn0vq88WKbVh9REVC9AVd4B997CwqLVfo4Sbh8mqOBFovImd4HwUpN9wv0WB0PKnSSUjatH9+2oZXjJcFwU3042kfxKdx2XkZOj580fAMxvAs4pOvfvrnEiHCXY+C9mJt37XHHlki+hPT5eypz04W2htSRQwRIyoB2w2frqRP2DBp7lgfRdQ82sSqS+JmxyAVg1Emf4eM/L4hp/3/5IFUXhcueNIw7Io2u/cV6jIz2Ecf5P7zgHj1MYmxsNBX0qByKuIgt7ANvS9g7pNeRw4j0aUUxHHGwpr5Bv8wdx061s+g20BioZ/j+buEH4f5XzAA2X6F6INdN5jYeW8KILR/ynP94zFSjgXRdLYRCD82YOerQl4yAGxEFiQMYFpaNMKacqUXP+EWb0FMuhh0O/iEplpCDpyiTVbVnXYK1tMZ3Pm6OVU8CUzeInvkYY1iUa8rSFEiO83dQU+HKHTZDLsZVAYfXM/y93vytiXIFm8xY+gWcR51dnE01RYoEX8XrKZp7k1FTqGPDC7taZ8NcnmIOJJW7x28OpCzxDeidyEzj3J+Ot4j/oBNCUqQ1qJk8xJ4x2vzmcSrNkjuDglLwcpbuDpB5pxlQCU48Evmin67Rjosl2HWiMfIXGlHU/49S116z+s8HsZInj7FNdteE/xUo2ve3WJU+tu5XgEFECtCxDhwitgsW5P8KOvii5dwaU06mTc3aM1dQJbPQEUJBemSMq/l5nWZrD5WyNN393C4J4tNCry65HRG6QjfJcF4WOA1ZzXKKPRfCARAC6WUZZlr1HnS/yhhpVCT1CMlAOyIVAw0zznKAeFq5/PjItNPWLa0Hjhb+upz/WaZsZo0SqrGwmYbI+WTTFbyn3KSl0shzyOeaGUldIDWzh9Hw4euOAcbp6UzOsndpN1wUFzGWATz7HC0xPKMblRdq7JTK9zXGp7utKnw4c/c0D6HLUktZjIxwdc8javI2eweuGvyW0hJHiLzK4+gUisC8SBtZCySX/CbTfWYOTwPNHdcJ+eY9XdT+UFQ9SBT+xud23JB/JxfQBwZKtVwyoOl8N3ZyKXe79VmlcwLUuOZpobqZB+13z5Cbnn5g5t38fR8cStbDq3CNQsI7DM7TbOihDciOkPJKn1ra7I7gf+3PTvWw5ER0aO2CSSyu0GX8dX7T9y+IvGWtp/VDqbODlThwFAP4K7t3JBNH7SKVApcJMdBryS5d4FxmVbIX5bh8aMO7xBi+oPlWXLon/kd0/zIErbZPZDSMhovh8E5MIYu0jbMgg+Y6KFM8d6HTuUvmGgOemxV/CghLpQrWcKbNL1wPWOBAJEWgNqMLSP2dyWTQZUGJmwKbG+7vvGD6wVd8DIX6MpDOXdSmwIgNODnqCqo7tJJIfpQQD44jUL/r/n+P1DWRCnKEPflhBwl0Pp/dygm5A4FYSXLbtZcYaG4LU38ZBkBgXsrq2KeT8BKyVGFIjC9GlpEABud+2MpjfaMcEOcZUYHpSdD0O8ao2MVN/rKntL+CXaiQKaqO52WGGyVcDMXmIR/ntaee34K8SB3jxF7HHH3dyIhWHaEd5EVEE4wqlEddsfFb/qtu2LSfUlTZfyWA49yvHVXjR3KkI4RMQp4PGW9B7HYlvFgjDMY3Mz/HlK1TRZpd0HDdvLNYz+2NAMEOiR/t5h4XQdYwVUlPkQecgUSax7oLALcpxZGQq/CA+c165fMCYd+VeT1IRJtLvsV/tmD+QA278rGcVdorbGFteRtH90w3X6pslhE7p/I0ZRO55+NOrMMvltgssrZK8CkCYA/vhNeLIzO53Qs1Q6tSVKBei90fS6ABziA9NeJPDtZVepNNjB6UJu9h03XIGLFxA2md2YwgnfRk0bfJnwMc+9PlE/p2DCfz6DDPFrj/H4vNF0TJW5G2oS2zSOB835oiHY2KmC4Qa1CmC3vF/nkUtVnrAPeETuhrXiBQlOSBHaieS2UkOVSy9bXgmildESCD91VMqtZB2LI0dckhYjq+02inj7tRsUmu30KrNbV4q47VkKlKYVqT5TFdPx00Nj60v0Lesty1YLVVjG+WQyiSPGvoqmE6CufrwFNCPWHOp0wYZy6fxaumjXrRLQrq9anH1AoRMK/ffSHPX9gEfQumqlxYN0spoDGCe4vK2PMTlYeFnmqQuxITgT2h/t5gikYfFV96ltKsKnZqOak2CBnG+IaSxWMJHbBhEcoKT9PaKvIZT9229R53L0HzD8q1c/71NYqqeSGYA61LHzWuQaZDQ+pa6O3hFYyCCyG7rU3vPXwL8tiZPqs6pXwfJXesjlJQo08RE+EGTp4iPVSnD2C+iAzCKWaBwDpc6fQ/MNHL8hNOIdp6RV3TKoX3IefQbvuk/LwP6RBnic2UNDd1e6hFhdk2/x6fQIidDb6vHl+OzRITlrwRCp/ZpuIH1ZtVPFrsRK3mEgY5AXBFZPSuQ2qvNGa0+XAvkK38PqivUoiAHT3U1hb7y1njOlfZXjyLMqmkbNvuiP+Gk7So/ZdfoEdYEzVes2vrFGKzOxGsA+FVCyLm6AYV3kKgUk1COcwEu+o208XAbTfwFTggPi4d5Cj/G/qOsD1xt4/7kxqOrlorU+dzR2PkQsctPwUh4pBo2N6DiVtGrO8zBVljHHRq9rxwODdOrq4HQZG74+MaN65pxKRwnho/HVbH/mO7eIrt2SGn4C8tL+8Jm8iBJnyji24O/NX/ABLWMJoo6Wi69cCXsBBKQ7rGjNNNHErBYyZ/OOoywMoYh5OLGiTeWPWcfzHuf6J0wcQVgo7yITFcil7/zXmC7R4uRugHgJMnXeq/iu6voZ92jDAXFOlacXzRRO/kyj3NFcfVgsdWu10KwPNoZ1wQq2qUNxgNseggKloiip5mSUu4ZyXNH81r58SB+5Ol///NnEzJ0lGjq7YCPcMBOju9WD/nN7JupoS7N5AfYDIsqOs1C3Eb7tKN+5ZL5oQ50mMYzk/lvmWGYNndGk81rZgdEBrSMgRgpKLa+9OO0+t2Radvqi8j2ZQzp6y+YTOqD58Vp4rUJijYYHoq31ChKFDZ7u3T32qVVMk0IE3+EFEi5qjuK9yuQI3GO+u7s658gHvlcPM7jDT+S92+/vNsmQp0JmhlOQM3yEsnImwYU0C+g6yBz7h9+2bF9O2m15phFZNqSoYZ3zoaO1MStDXzUd1jndCkPFOAFiJH/KmLw0uw5UMO3WBKkvK7vMbZJILoOe23wgl/Mso3Z3X7vdoYVg+ilFKIronJvhDRVtjBdBYBOoTNy7oGb5wirwMSSBo1bWhiIS8jUiRTE4KOzW8Vc3jCl7YXXNEZSed+BtxE9tY1l3LR1fZTY3SLa93B8mpuau22YD7o2Elvz4qikn5H9w7Z7jLwT5UrqlEyP8P/YlWP0uC8rBsgGjQNRHLGza06xzIJkR7UbfgdVAjwbyMv0AEZdLjtExlHeMMyHo1zdcJ0cjP42eeYmqv6rLX20Di6vPwOkpK6g+/A/V3KZFml6murMMI4vYrI9OtX4s8v5GnSbBp9IyA1y+IbLmbv5NfIgxqtS50LXaZrIyH0JBvJRI1+RMlgOhSHy50AkeRUwh3S/BTXl23iaW0yfOB01CRXXIb4EmIGFr33uG2kYu2T83AGEyIAWdCX0gHT03VzkXbnW+70SkDJyaAhnDRN4LnhM+awa903U7ZOi9vw2APJPEHFSqvjxjLMokcdC7HoBM+a3l4oXsgE8SOX2wIQTCLzCka71S+lxwvxRtRA1ss+l3Bb2tTAA4fmqzVNVSHaqE2QrIjHvGgdnzqM9/vd+nICsnqB1c34YCr9DQPPQPH19R+vFIQQJsGyT3WkdO7gtDDDMV/JKYmK466bkAsbHQozGBc5COX3kTO4VXbLWuehRN/IF5p6VrTZTJrN5Lf+imqW5TBn5ktiLiX957RRQRYT8hrby4Mzq7shDRjKuwajOLtPmI8EL4jbXljPbRGAcVn6D/gbKPJuEuJWNlBczoaBcZXZKw+vQu13YK84CXgmFn3lSgle6euLq9cUSVO+WJRvfoUr7ewJPEiEHNlk54cXLsL+LptAdjDUVIMTVLsPMa8Wm7BVz/dHgwGtYT79f9gaAB45lQ8Tm5uI1aMUL3fIYRbo1rI5WJAAwzSXSKBT0mRcuVcQis6+FICpoIWiotjKrqhvguzUZjtd6W3kk1fR3BMoPaSj/hKkj7Ixl27QKesU5hCZzUv68HIlKby8hwMT0cGsYEomCWB4R4C03+KDnoO2aBPSzHPiE4pyxA0PHaECuPXcN4KYVUgAgwwkZ27q6sbTmCVTCnRlLOhhg1kbXuTPr3ZoKfK3pYD62caOAnHTGQ/3J74aOZQSLfqaf5xVaqnK33GXcgDOdrIdwvJx29gRSM7y62eIsiwkcwlSWyeehPRUBratt5RysNGWx7deT0IEzBD/+u+P22cyHAuKWXfJBxsxg91cXJey41+Vx7+KSKwg/BDHiH2pyXtMxZNZOptPjSgkrILp8KdjEe4AoSF4RFR5nrSmmfAKmReaxIrK6/JxEleomkwuyJvxfnr+jBumvQcdIecgrXXUW/Oa6o1Jem+OYRmrxQqT0UyI8BFl6B6a036NZ+1P7v6nesoogBLnMWQ7pMGyC6pkWdM1t1pIh28MTCIzumpnQKwd4PtPPfUeQzyhBNCr9CTJSf8cvuwvh/FTYSwTvianqoDm82egi7FOYLENplbO8eYBwFzFJ7ZigvulCbysDtSfWWWv9kX/G7Vq71A7Rpq7cAQf++eEy2SYq1XWbaD0ApjfX6MVVOvM5ovHyvtwCogoJAc48HJYvCMmBbSeAzNBZgxALqY7IUTOTb2q/8aXSTi3GlLeyb3lK0pd/AIm52uhfLB1Fo9enO0if9s08zPI63KNJWCG5bNLY8lKqx9a71iPIK/0HqIvfUfYSTsBziWyDTG3zDk/V8K6AwB+GCvk7H/gMaV93BjCgWY9k0ax6r6K3c+bc34qXhJMUneTlKAkIFe4453TRixeMdfQAX+o6MRhyEfTGPGc0B11lHzBX5l6Cu989kidHvY6iOcu5Frf4cXbhag0jfRXWZ5LCeT5KBtgFewBbUqrETDzGkM/ithIf98XT5lloYOgy+Rwe9PiMkXxjdRUUj4IPo4W2Id6/9ScrFo3SmTAqS0OcLCfRz2DVHtNoWE8QbREkI1ypqBKqJk9gFuukUblzhKPVksCOpS1kTKjBzlFx0F+B6KHNuyNCowk2R6RG71BmtoDc+cyoKdy/vd2K3FkOsZh6McscpM60tLUk8BLd+ZDXNd8cy3ZSeIBg2KJ2DppKbKOhRkyIBjsEOTlMdE5qd2KYlmx1CPLQD151uVK1uhV4gv5fH91dCMRPWenesdWueSZ/1c3rh6fYrwt+P4PaLgOCyrfKwO6tF2zoLNiLG4VKeQaz20CYqMIfSj1Cmwae0tGl9qXvLPcmt79BUXcs1cuI3DrttrMvvm77YNiN/pDVRU8vasi9tUdwx2J7bHCW7FrSLryyLN5BmMZQRDSabvD7DP61KaAiEuhz9cOlIpgX5ITQmvdQn4YlTlZA8vqS07ClfZJ8JLcKJSle9qAoEk6Uv+j/gv0Wl4cbB1ysnHvjyN2Ddp1LivIxNuXE/lzWSFK4592c8xHFHHt465MTKk0PEQ0lRaY0HgYIwsVfTCAnJYJlYE4GSrySeKGzekjBSOCx7xSUpTR/tuZTS3jZ2+0ka9nARBK6pJGPQIQJRiRv3RlitbEgbyGEhDFceak5/Jg2MclmlJI5NwtNRsbSw48XK2nTJm3wUbgMhVBU3AASHh+snJOsMAuhbDOo5t/HWEPzeXIN+X+GP7vHbkUZe0K+7l+GCnpFwTdz7nhIIgDH43sZx3d+BzERoT8iM/52Ed/5Gqf5hiOWcEWV7NvWRAatD595QuuE8beiRNkOSRT35aqhGnIbZYL+BlYzxK9xX+ex9IGGAplsAu++jHgcxIYPl8UQax5xlr53Bq42N0WOVZkTfepK61Z0A6pNj5zwh/194+ea4TZ1EfGJPUp04En61KSw+jU+JvFlpPEXhx12vHtYzbfYA6Sq6ISo5KH+J6ARAooQMmU0wzNbCnsNHyfq7LlY1uscodWkCufAptYPl/YXM4O5vzYeacSe6HiiaHPEE8UJSCMaxduCU0n4d2gHUCvXvxwVMSXEgBJmdnb/9moxxFoZBfbyNhpWb2HZPlJdx/5Z03x6jhtTmISA9G3Tape0UT8J/pW0TgZ2qS8YYLa/UFtFKY52aNiMWUC3hAstBNuqpjuFtppr1LGfbLbJDiQeQIVGEhC5LOMK54CjQ+rsnRpowdKPNqxISfdb5qIigZy56Cb0nrofOQGUuMZtDaNjdJZU48A+gyZVvWwFYjhk6/qWMpQg6xxvsR4PsSPVAnDfG78IU3NSiV6j+gI2cTa6pIqUaNYnKVPcLuuwkLU4yH22t+EK3itjvKcsRauix1jW7TcH12EHoL9Ja25kMYuSlaczqvBfi8sIQzQrQ9ai4OD0sWnt1du2iPpz3IJ5oZiMLq4Qev37ZvHhLf2ogm3cgi59QU6BaVINrCop8ti1owKRwJwQfrIZpCXr3ZRcPNSVq1DZU0g0wcIo6aCXDREUnUqw/PCW1xhXudBFh14K28f0nuVkkszJdRKFCWpi+jIdm/7ckCDZrprAg2VQDJpgH2YJlwZrH+rAdQUcfkFdLINhQlYP5AtB8wRzgc6l9uV9LUyiilkCs8lylY0zcctFO7L+iYhRUm32hR28ZPyp7yCMPWkcNu4A4x1iiDJ/01V3dM22gkCHuk0Ibvv4w4bzJF9D9ZiOwTfaHNtfcBOl9cY49jKLhGbR4pHhhI158Ln9hDuWRMsnMT/jaj6o3NVe8OiW5CPTsQYyoCXwLRX4EQx9t9+Lzw9nq2f2ehyvXR8diQwNXW/aB2Sea2OICXdiN1bXz+OqAZZI5Zb9nHmowyy8FBbmYAJaGXoRdccN9wVDE6Q8XOcPWzQ/rnazpc2req8SFH8L4vzS6L38jNRG8dEOjHyEqC+a/qthsn5R0ZXC80Uhz2OZkkxFK6dM+gAVb9o5ZTS1u88HKLgcQUO+Ba55x/X8MuXedJG9Qvs2AfTPs8F/evYvN6MCIQob8We8c7QKtC9z4oGxgbtd05S/5ZeLNS+bDaogAf4ZpogxMDRKdGI6XW1QAD2BsasN3GyB+pUBG18s0fqBX43ba7fLEkfjVStaSlEERRr6tikR3lxfFc+/vF2Zrqvo8EyKf65bZWwuFB7YAiyUhFIzUkDLW0sMhAYrixwSnmesjln44njLHetjFMLy3us49BD4GVX5sKX2pYFe4mtCY29qReTOYqHeLuyUZ7eaTQAZm2BlDUWbAMm0OUPxDxuNjqjs6BqPwOzEhMbJy/RJ/poohqDtSWwPDHm2pbUKVHefuNkj26mKmjO0bSirjfCxYyVBqi986IlpoGLQRuPJfYVlTPp7MH8eThAhDEY1nk/eHbtYhvxvAk/6B5TH6hcFdvquktDopdXRckF288Xl1jjpguEK3eJ/yfFkW5S5OJQiO0DhDRdD3u9AOAtCQX+D+JSXTX5wf3jEgaaMResE9W5TiESZDlTe26n1/DnqDQkIvqMfgjPPQ5PJnqTme7licwKqXBY3HTAU5UHgHfmtY6L7fN+RH6vt/HYEhz7IGdrvLGJm/dCEo53XzYYElNx7N1EUY2/KBJiAbCDpt6zPv3O+zOFiylhk8Ure4TkuGc/CHIxeLrxo6BsHEUD5HvqTOkQKokFBHbL/9oxdLxADflJq5wb31WJBVGhXOKqGu2mlCZJDLmKN0+Tg1BBB1SVPER5wloiFQB5/d29sLO/Jh95E1u5JF/gDJZFrElMzJIiNFZLAtLsyLim2UHKbYBDWVXmXxV74y2Xmw5hHq1tveayr3gfP1T1OsJ+WvIOQI4FWkTlS6V+a0tI9huJW5d0n2/LnvDnX+KBza91tmu83+R02COqfNtgO0S2XBFi1WmBytY7JNzk9p6qRlF2O+ww0IbZugdDBqyQY/GsqwNrKmMawlE+f+AJxz6ciCCj/7fN7qL4FWPJ+QkWYKEPUZHF8hIjLaBI7WwU8ZvThYxp7WvWUfQJPrjyhtOWnd4iuZ14TZZ/0vXnFJlSScfkh0sOfTFkcJrjShxFKq/PqekbnCzoVsK2/X6febSk9sEJGUJYFL09iTfOBMdEG9UpOxpbaRebXUndQg+ypZ+wxJ8CNXvEYYFtMaCyVG1dCt2ggfjykYwyizI/oSBs+8pCZpAj0DuD/1aIjpEp2xygMh7PVDr5ERUfjacmHdcIozIkch7uCm0gFEse3OyA3275N0/h+MDsGbazXtCT+12mAR+qE41xcNDsm3x21FBBCmF7odm8aFZNOd0hgQ+7b03Yh0VQK2LXNn3W8FSmQlRPfc5Qws1akWd3OYgol/zRfpyGD24X9JZtLHFonRJKdNfh/wz4vOs61k9B5X8omjjkpUJ9GCeDLPjzetHYNOkHmOTXQXN6RJLX3QTteVmYy1DMUBtljssZ7QEkSGg2DlK87QERGRnk383z0R8ytywK+6z3gGRzqwJ43BQaT9hCXPlZEhkm/XByZjFjeMwqerhQKMvfNR4bFjtlw96W7+e+0FaAZgcPmwrp2gPUg6ELY5GqN7K/Pv1Yw0T8djHuNwUjCFX+FafarXCwWyLevZWZ6SBZOKu3eczliiy2NrnAv/J2Ly4s2GeQpy1uTlLqNBVI5pvw2I99+W/0ASBh/g4644ODd4YY1A3nmHKoyxv5jFqBTrHf+qr90Xn1hmPgvC4hlcKqkI6YfJgZDss2KubJxX0eiXlV8TF1nREBcOEWrYLkI07M9sE+Qjjf7UqPZTVUM6mcjOyAQW1Jc4WYCpOtwhSjgtQRD/YubQIlso2xZY0EMjaxMuF14GiMUqbm8F8OqhPX5FeJSW2KZR0oG1GBXws33EyguZ7hwXu5pog0Wfh3F3aosBeE4SbHX5i8Cy2zIC9x6atN1zOdrVtnhWf5QCjNmAkKqfxQVP3+zJUQi8uvCIkBOtV5HGaAhzNLhcckeZwFM8UBufNXPCVlX9HheBkQmyyjr86RCh75ymev+qTjwsw86Rvx0MEjTIMuWI1iE4xG1xTcpjSiI+KxOEKVp1R5SqizGuC51X3/Eqq1RidAH6TjtEqkcKbuB3wkUeU8Vvv4BYxkbXIeC7zPv/5JbEl+YQmv8SH1jvSlOTEm8SiwyETJY9MUtH0FWRsNKjU19mq9VZXaVuRMbnLUFa4J2pp5DdC09xPuEzY+rr75kSaJ17hMfMFgWLrBMr/3PrlMe/oqtMHVA7RrLKRF85+qbcsaPHMj+D+7rDxrm1QJbBPVttFyE8jtKgEIFp4ar9Zt8GC9fNzSCacb6qJZ/DWGoP8DKHZBcIE3O3RcL0N2nxq0i4Ruv0d/ZuFnYx31BUJo4EIsXeigfsVvN+sFdmpQAYNEOimphoHZQxcssOcUoiBhdReB9s/joRKWGuOseHaA46UtHtxo3CJNVto9GfjCchcIw0chMJZ7u1q5HQSO7BkgYJdAgyLf+Fqttkqt7qM4Fi7V4EC94DeCuKOVxpEn64tjFIZVYnKIja+gI7jHLTIIOj3jrXloExXKaGe1nV/V3onGmnSsmJ77UPQq/F9FaP7sB34q9hKePU4jYzfPxrbHgvksJJLd30OGLJPq4i2ef4zOx8l+QkvuiQQAnKb1ofVU5rQtplE1CfVS7BTx5Wj0g4LIJkURJIoqnRRpspVV2AVOUZHZveb3JwiAC71Vq+KPaV+tk8oPl3v1DsVutrFtMmBkO6PSwcsWzUK5I/L5Uk3l8XIEEutSd9Rs5EekVgWr7stL9JOLmQ9qb3RsNvRh5QVxYhzE3Z128huSXwgPVfkQSzkNLlUwDw0RaTOiWa/uQDuJHLy8EOoTVT45LovAqKB+J/JWsPHSBBVHOjzfdwZwQ3p/ZSe3VEL8ska2+lJHpMq5k+YDtN3wze7JhvJ11rBzgEtKmHXbS5QJg/QixCL5CRYzlLRtz+04+npIcPZ3BQBVqsQQXPGGs5ATCjSqqNvBkleWcv0JCDkDEB7sojnnVMEUkggv0Dubdj26ZLiQSuslPTSMgxkplr46N8c41E5XcFasPwT0Yfo+Ado5Jm4D23zvRXicXR3V0hff6rXrycspLOpQL11fPpI7La9j0hzinwAsJjF/1MfsLXeqeaUs/ABIVfFof7p15RJ7zzKN5wew+qJ4pEyobRBQ0DxGjMjF1o6xtYBIXxfyxtz97RDipX/fV1EjrKjIxvSm1PYApbvgoOM6WFwS20YUwC9PLJPrQenhT1zeGJu/blr+G17AcKjKrB4XaKwYLUidxLIiHjh6Hm89xdiaFGAuONc5ZEf97wgqZxEk6ZDWGo1eik+CQTT0UBt3GY/z/3lUzssbVn/pgJ80sNdNAkfozbmQ5l6QAv90cEFmgmGY/yijTJrE/1/rVcJW21O6QMWYENDCMy79FhGMQVducCJ7zgAbKv4gDp46hTQuKMJrYvyUrNz3eQnFg6P3u4b+Q24rgiXDyQN3uZDBkxnnbB4Cy1PDGrwGmxgdqA3VZLdOLwYKVQOzySK7k6sv0zQu3ynFcyx+XGiINOE/cKVjjfYLpF2wXfB6mY5/BSDEtlzYEwBJTU0uKsOD05x661aaDpOA/0CT+iJtGBUadwQaVFc8wCe2bDlkQIWi0m3+RpLfkvoMsN7LPEzSk025sCG6F8+p6gOyWE22r/f5/lO8m31UWgN0/nnntXYU3Gc6HtJbZ8b4+XJ9i+GAiqS0R2/2fNQYgEE0GIV2qpLtR8XqdRCthyu7HNZZemvUczFXw9I/6aU96WXeBM+Gr/L26XNoO2sJPxccuNbvHlJ/m8gT3AouJ8fyscyeUp4lV/hn4NWAsFBEvLiVXYjpmNKLi94CP6gELMIAjJNzYeLueDRfqwxozi0naB4/pUFhlqOvCZzt23YTeaSknBZOCEx0Iz2fqkuhXk4g4x83VvQYFFiCl3jSe1wxv4wtBHN3KDSGrjwdCbIVe6Ul+DTTPTdf2aV0sbaGizQfREmSxsZGgQXRBL4U7LW2aiogAlVIhRSKISRG2F2291pOEll5j1KW9r5pZcYFprgcEWxF+w19ke5zCRBt4EDu6NhWUIaoR/tNyZp9sHN2hlyyQHblj7F4HrwbYEDUCUKZB+sQJD3LNnKBUhn8pTbA/CsfbD5MdSHQSBNx1zxR5YKMQ/aw+aX0+K+3hqg3jGyEByLPbULrupjT0EhCfwO4muSO4PlB4Hy2xcCFO0+VDMkVukzNX0vV9QjN2fyIH0qHwzz0mThQwci6vElB0RuPm0cpW9IJCYZBS4+0ee7RFAa4EzI33NGVurJeCnBjB4VJ0VAWvZK3rELLwg8yH0NAUQs6NJs/0T/Y4eS3fgDlrjaVx7RkSpG9w1fP9pr/iLNAMcHQYRmR9ba4mb4Jy0HIWtDZGxcysTeNYOUlzwyBad+nRhz3sw5U5puiyXcmOOd08YsoFhPbzOtFxQwUF6zX6nZYdvlsEc/YLN2pnzebJVOhBTjdPWOa+xOhI0+aQPdMpBpr643Kv/Quyv1gUcpaRBhx1kEn/zTZknoGNuYRLPMhR6wvL3DqXLn2dr5hYvw2BHmNa9QxraEkAoPdaZ4VgBw4/5PXNoAKJGtbBJDJam/jJ8a94ouM4rKGLKPYkQKwAYImh3Zq4TE6L0jpocFGZXLEiIUnPXSx+cYxTcgQ1yQoqJlrIV+fP8DmuuVpOpY3bQpCuX4RrRGFUAemOEGqrXzOGAvHlrDBwO74WmnYk3mMilMIswbCa8rPGvpBorY3AfNpwJauxtl+iu1fTAiw2fERD2xLh660K9eUgmQLhkc+pe2IRpStZFUf9svNl0wAbMNhij/QFInCMi6dV3vXnF9OG8K5fsgpVkfLxga3CpBbxdkwNmMQFIEmMElxpoGZjULz5QLEqYRCWQrEmTfJMBi+jqgPQu2GOXUhohNF8u9SG9Abq6nNWdLKOSAbCmEfhBSFKR3wfUh5DdZ07YgmhAZWBAQ7fm22jLIoUy2bjpJqU6/dEwg8BJuEWwWJDBf4nTxIMVgVlgd6DSEuKL+dxGAOfzKWGTFWhUAKDfP6HtqhRJ2LoqwIm3Hd2h7naolApIBnAFy6icChcpB1RMntRBGGqXddE6BT8EtUpxoYc3CKh+1pR9/ywle47u5UhjuXmkpIBmvhYVXu+hWUYEskMhCr+ZampdlIpbhfK8gWEnmpu7iGqxTz5a0Phqh7dAWb5bNEQHy7C9ZAgOMtwu00YFJB2f5u2Musi++QUnRnFkZoHS3VC3rH8znHPDTbJvd6v1Nr/JR3I2tL/rcJ5u69W9A3V6e1N7hGQizm0x8w8rLrGs/CysdQi2guTmppAfcoSU2dSGV8DqAs7RmZiJd5kZ6qVygSzZTKRZT4kULGtBxoI2+FnOi5px59U5vqNKztBAtjBdAkrnWuFWdMKxZRlforCaGxh6QG246w7p0b7k/T4yX4JVb8+7In/hX9kVM2ApO0FNoHlgLJEWQBlJomAh1vrZl42nEc/+5kJ7pzHqrN1yet7AQHJOAqoYkcCf1wCNcAJ4+AI/tiZwBUnkwvWNYC4i2sQGlAi7HP39LNv9AEnMd+4RuD2hb9V0n3wZdjagpn06C7ldfA+zJDO3XseUJFkY8jW/gA6XcCYwXkGv+LEEk3yQCBsgBlpM0v8cOqNb77k22dALLnX5DB8GXJUwRU7xAA9IwpRR3HYCc2h/asomH/1Jd4XzJ1Pb/txhoXnt4N/+pYNbm5M/mUC/SKJec4QVDNst9wrisFsjROFNeAo9/edE88HaNyJET+Hdad6gCHMabjmNu2tMxmchR1zMzFKh22Pu17C3nUqOD9HkewjywsnCHyz3beHSE7uUCIQ73ZpaLxQByeG9pPWH8F7X7SdAC/BhioOmXLyMCywCywOqyg+MCB9MDduP6FIOfYFmhw+lk4BaCk9zA60p5ktEesrO9QjKu1cqqlEyOZtpctC2C27mFFuethaD2Lya3jKMBYehkzpnumXV5TFf3DXdWuBL7h/LDOgphQRi/N4ZaVyqgH57vNJaR5iTFwg5jaaENjiaReLbSnRzvxT1IzcE6FP334kA14FcYZUhJw0ktgK29r9uOOg8mW0cpHWFNkH14SXnrxlQh53HP2+1Yx/2wyi9Q98ELbYX85oUrjJse/W2+2QsIUJvpQh3Id/+thhczT8/xTes8Yo9+QM5QKW5zfjVJJjG+aFBvi6iTlcgw29LwPVM5T4qXFAP6JKt1LVO9fIrNkn0smiZWixPnNrSe+MAqMjTPv2VkVCA5Hwoizim22MtlrH7IGjvwjO1Eu56WrFGPqmlnN8+g4gNnDg5Bf5McENpNnS5yvn2r7kQcX3HJXV5qAPxHYBGTqeuS6Lj/M/W4seRVTX8q6esUNc/3d8Cy6LQtFmH5zvm39srZrIe05o+glbfJgTWVD/nKiaSZ1fsTCTd/OeCxBxgviovfkwnUKMEy918GUrYHpOZXy0X2hh1e4P9ffwjt189XKJapbrRzjDHaPsQYAsy9/xeyNO/fqSkzCRVIFpkr9YTTxZ9vCbB8khGlXeH2PGB14eZpaTQld/JPO5YNGPlN0jlGN7N6Z7byyMEByySDMmi5ukv+WTXF6PpBW32/McLU7IzNCyakXQ47BQIUnd0T/NuWH2mYzkZsvWUQ3Ivwtsb3kTQ1unkZoljdefgg6aj8TalspzTWdT8cOdV6cPWu8E+xKz8BSxQtwF8C6NuFnr8vE/yUwfFutkq1bNnv7ivnNt6qgmNye1TlwUrSAaHCCgTOa7N1Gi/kOxiGZ1oZMhKzWZkdy4XVm5e34DY3HmHARKF0ClbYZeCGnt8DrXol05uUiD3zN8gO6dbkiBon1Ga4R8wSLJ/+v37GiTl4gdYsPzBwxiVMd1j0yDyKJLwyIZlWYlTFdbB6AJWydIOr4vhHBG4iDbQCgNUTGJ4s7WADc2t40JNCL8N/C90X2Qzrp0olmhbNfT+2qHYMbkg+mvLXbjRdZSiZBsv/ZeOkNBVRpKtNZ/edqQfzCvYW/T47V1oMi5dpz6aUTbT0ff0jm5SzTFVRJPT1wNITu87XoTKJbCaUZOu7Y1W2VW2bMJNu50VFCu218oV5uGevy+303eDeCFvZySs2lYibF6DtzaK0cMwZnYVLzF58v2cMLYsM3kOvmMYQttbMUB+1nuReD8g2JbRqMMbgzdEY8QLsxxZPUnnJuR8LvYnAgMLkfl+T7yoP4nV5Uo/I6TyUwoiNpgFJEdgPKqOg4E6LtvTN3hVJBE2MJwqYnRw4KE1zgaBqBgIQ5SdG9xMM5XZQe8OgHNBWdy1wP9WSH+nStiBvPSXIOeZA5WDHSFHYO9R+SDxPbJVcM5/qdKRW3scKMfZXqTCyDRkWaj9JWwB3VomO4606LQX1yjc/BpRNS66IbqxHSJ+SpMmlpGWXnNBfDNS34nMa1SozNVOHjHGBPllsKddmT8N6C9AyGEaoC9gMTnHMtvTgDQ57MqofE4/joGp5WOrbrKhQiqQBqpUieXeHayp5esic8dT/y9zHCMGnDV99A07s/vBXcXr9XkUqwzmExPlhOL+AD42BjVXy8Owhf3M5/JXkxRkTIvo3U3g/EjerP0IsyAIKVyQOijK2CTxgASFxpICxgYhJjadhizyzf1GGQqfPecT9T2NKVsvrxSWDJKsD2cfMXcnlfIQhf8q5qfOXm8eoQjselgtD/uvWi3JMe2eSfev5KDvLgOHlBLOERa8r+IDZaNSP2/kz9J11Vz87e98uoNHgWTcThUF4AyRP8Xatr/gDSmR+ynoN6bF6b3TJHvzR2YjoC97O122sa9y2EHQJfZLjYgl+ET8KlnJGviVIrh8J80EAGLgEU9uQP0fQzPQocnQLVJCD9sK88ndtsML1NUeHlNLyn72g2m/fCttOsGlsGyuCXLWNSvFCdmmn31sxfHglYEjIQBEHwinHokPDAwDuh9maagI9EQWHgf4sAJINmJ2Zy3t6JzAImW3vYsdfFm+UVkFQPIHsMQ6aI5X+i8NH1m3W8LmeFu9i5oDhEqSeCjCTStDi4X2MtgEvLSKu6XvHGMfX/8WG86pcAR5vgboZR8G0Ys2OSB4kHrMErqVeOVaOlajxwsKCh3OGXu902zI1/8HTFBRYO5ml9Zq7eu/MXAnqbD59AxIYmbZZajoY3TTFvF+xY3afSY0iT9oG5Mq8zuuP3LetAZlOpyDRaEZsEZ5CIhludMO4/gLsa6dWYjeFbXfbMKPotJK7ZkEEbo00jNkQ00OpF8NP7a2nylqLRaO3k1q3TeiSP4b+lrdGQ2FhXcVNplpDMFPVQ8yjPuo5LsQ+cTgZCiZYJkOY7aRIpu8utN7NWZKCnfIMX2mAIRPxYhY9TUxewmtnHADLKn4hqSNtk519TD4suPm0GHoGUPuzZpEDN2vSut7cekwJypah7Yl1y4gL7vawDhl+KSz1CmRwTQ4XH+jB681ayjBwRsfC9OGou50Yy0Uu3+CtoFxCc7EQS/e6xPjFrYEuF2EWfaucSQDhQGsTcgKbZ0T/ONdlelhJQi4ZrCEmonWMitSR699h2dBI6VTYCiwBCip9dp7Exxd7Qauu6HF63lqynBQ6i/IcHOwF2apcU311Ke//1F4C2PV2FevWqu1ONYC7A50EJBBmo7mqvKm2kfXL5rK+pNuxlvHz+hk2Uh+oPaZFvKmhp6dksRpvj6MbLcl/ck6Zb6nkRqjkhihvlqHr6QdloP4IKEZCaFSDnjh3K4nA0RtkE49ccUiO4IKniHoTVr1Yp3XUPXRWnH0R1n8LrUJVLmKdCl6/wc7A0KRuaWVkgDnnzXz3D5x6H8ZDCXEWWETwb3W0uOiU9hySgnFyVBVmKgVerl7aEZKIy2oPg67MHZMmM6QVCYMO8+i7wEL2rHne/xUGCWGUkPZxzcXAQMyKvTY7MKQjpdNaqVG3Sciz69bRS2LscbmnmUBk/L8oPSkoLxpmOK1S2F6sZU+yVvRFbE6r4RTpRmwzHHdqhlP5Pxq/4PhzIBdOfTHm2SBqx483ShmhdBv9Xmxa74HbwjustV4YnXB2ZQA57V85ZtnTfFWpo35xGZuDP71mAOAlU3DY3u74NEYUyUjWggqHJKKq0D9NvjEPA4snv9+ohU2yg1JpzkPEWocbeuuDGNi3xMHfxS52dBD09GIvUqFAzn+V2XAWOmP08ZZPe1TiVHWP/FlKg5Yn+/UHrq659MSuPCMtsgU8x4lsGurUxgC8gUHgAws5kR7CyCnOC74Zk6HZYxTA8L+5F/6EgjyfAB890E0d/V0vvPv2/n1DF22P+5KV6XcgRmu07mD+IOVKaZ1KC3xq0DKp5ptjCOOugGspXDIDTrbYu/68c0rHCaMz2KXOLN2Ep4vG4lT4tx4xQHhvvlxD94lXbYFcmGRzsHSS2OF2jb0b+rzjINkDsExRL+uodEZkZYzKoq4KGGltdE3+c5SilnoaESeK0wv+yMizc3WqiYH6kxrET8HXePJqZBdy3wRknISxvVspGhI05uA2Jfkbx7LSymgXC6HCxQ1Bf6ZLqgkj+zsTlk2hklmyfX9eFX8Vkos4bprMAgwiwbSQtUQku7HT0o1BiGW96HSYbve5l4xAv0tTS1GUPjJjHFY+Eei/E5KyIRtlcXp8GwvfvpAVzGSNTYqv/7tldmq0iZVeb3OPOvJLgaOHTQRFnwc4gErd6HqH4wCyBLFnTQStETitMbzwYX5Aq8PP+gDKxOh8MWH3VL75PL/noa9+7HdvlzCl8wW/mOuwXy+Aqdww/dMEhxdKMD4wPaKe34scu1aLjO4EX5MMrGrrTT1FNDmeZ4g+PHDREtHz1thuvro+sKNlJsEDEnbOa/IKvchnuPt/6eb14/cs9934t85eC1hbq5FxRNF3AGF7LwsJo6OKFdLsAzGzq2DYSBGugBvnzNH7JTxkUT5NrTLckzA54RBni4QvKk+5epZk1JQdnPO8qfep3sdDViQ/GFoqwus4aQKpuXFdsyNltXDHvDI49WYH3AdaCVmyMajR9HRMxEju42Ba7vDq1I43Ts1m69TFBCB8ra3C8kBVIIW4RzZaGtza8k++9IQEKIlpcsDhxiQSULnxhUpvZyHPSdGcr3+8LqEZLEIBXSAB06/qhRhYazuZ/DD0OmsdhPjRa4ZBTpIcs2NQPIWWQtLbm3GuXBkIcoNNevPUznds9pIqHE/N28UDjJHFvWc0hX0/r05tO8rYinCiLg2Xny0mXA6o8NwKU/qHwFe4H3qyMqsyEZ2W3zwNMI8SlksWyUOfKaFCSqKup7D2MugzRPBOsrDrGAlfJdw58xEp81BgmwaR2kJXqSxaKd5Bf/APblfOD18piCJX3z7zzu6c+4j9UcaUBQOHg+3rjXhXgiFLRsugt6D8TJhhA1vksCWCmibM2QGg712ZwYCgdCDj+RMX39mnpnbi0dgK3m7bMmTdsxGDZF4VZdA7RYi5Qa3agwOq3uiDnv2tDQAjW0RMTe2qEmu6b1N9aOqRQjXMNbZ/0uEFnL/7QF9RqnjLvsJtsCh20sw3G+C2qHB6SAJ2+8pERoY3sksqXEKcPH0aT9R4lx3w7S9FfeLgzly9wgyRwujgr5HBKQtKDpWbDa5N/xSfxo6M0S+dfFBckXNXU8FK6JIU4vju3Xt7nEEiRdX4qpCYJMg32vBWwbQ0nJVC5m5POgd/Js3/SLp316y37chMZtAdkPtAKu+H8Vn2sSXi10zBMGmzNBIdykz9P+FrqcE7ePqYCBKQWGgBYKuo4igevDmC9MpmUt+sBJ/BSoLwfQoWdUpPUHeiF/syjZIz8uuUPPKW8PNb9LD09dUJxlBGSRyQ/ZQPT1qoZnYPb+JzJ+QtqVJqooe5CdzDQzeaBHCWMGi43LfEcBDbJ2kR3JzR1HfC9tT1f/4PuvsHQk92w4L/01ku/cYyl5xoVjxEFAQpOlD38OKgBNjLhsYtu6t/smDIsLy3kwjkyVRYrCac0fwIaGtfeUXdh8CQ2eo1Tsjmw1hH7QW0y7TJmFLeMUxWPog2N9MshSK0DGvmthFuL8ew74fG9fBQFi5B8u7ZPFVFBVXUCEGdLBypOve0ww5qSZ4xQDm4XNFmQbB6BxAkFzpQQI2FPoUGSDO1lhSlSl6Q37jTB8+QMd6T7Z0wwNfOOKdfyPU1/bENAEnQ1kgypnE7bVvilJM3ApybpPY/daIElIJyr2oRzNfKtZNH2W8vmAjVYjX5E6ka2P2e4VbeCVfzezYcWhWjKuGZbKQ/FmaRStMZYMR1vCMgNUxI41Mv6T7zNLyMTt3KOgCl9t3O0fhr8/eaRDxv7hoBotLOSVijVHoHCGmQIi8kfX2Kx3TSifrPyMka/pspQKqwHv7NSqiaCDdveJR8WtmqXLrNv/Il1mIXJtvWXCGSO7AxnVrU4y63SSqLecri51Yq/HF/krNZULv1jasBmTaFrr/n7t/IPwZopAvKWmtSR4b4MuIyMG5tPpvUumwCyINwGyPSlTgmyYZ9sq6ks4ouuaBUynvrR//ainDCkXAQpzZPGKJ9OI733fqhlQuUKOIfbTK+xYggzZhu1Z3Kw9p+gm22UMIilJo3u46pjkW9yp0iZ9bGuwA1mj6qkxAqjryUBlnl58S9qrbfP7fD6MgTk+cCTqHN97ZO0CCdWH5rfafgKc0bsnT6tHNuQUx5qKSUGAiDVELyVz5mMSA14V4kRkAK8jsVKLMcrp9zIDsfiXb5WuhSJ7TsAt8YNQgCGorZ68op1glYSsn+AW9q07GlP2nvMHVg/pDZAT36HftbHZlgFip+2Cyw6bCjwG1tRbU8p/g7y/KI7knSvTbKc8fPF+wJ2Fxr4SI6km34HLo00ahx3gOAp+aLNvvFdOyAE398TP2rGWBL9thzWECNU3OU4/VKd7FiFciyC1CrMtt745dmBryfNopxnqkwP4/Xdyo2ofAtU0Zqhaw/TTCIjK1oBRueyB8jMwbto52zNiBfRYtn6YA/9MfHY5nnQmjPM/Z8vbgZyhbBbcUO0427/n9R00hbxMatfVLlWv4sLZ/bfkJIyfTZeYTYpcLqogHYk7UrMweJbZuv5uaL7F6KebZn2wPRcI1307i7VJhCl5Nq1wM2FemQDDpqeD/74FJCvKLE9ZUJC/ygVjA1GwEQvxvIMBoTHSBovO7mAMsExK9DVoOsdkbki0+Gw5G8cL4NL8h/T2ynkrsI30lOnX8TgXBnp7wja/a382hONLyyfVaeQzmVWZDDkHKPHHVhuABCE6pwfgRCDBHg5vC5tyZWqhHP2z71jd16QVFgbTVqAk/TEGitkaKbepCPd7IZr/rwT0VQukhbqMBmYEInQ7HpakQl/tOxqn/U7mAqDyKNorAlS/V36V7VvIiopvUL+4JKWKzcb9kppgwhGgpMnJH1pxQZC48t8HSQyVYgUuA6IP+mJLkIAkubl6XZneYFcR2kJOGlTIYCfM1YeHJe4iJ96hiKNLLJ1Dzu1+IWgpNDEY9CmJy28WncRCpPJ1PuXA2i48FZ1jZ+UdRsHBtGDNxh86d5RM3aMn/ZsRs44vmzqDMxpOJlkA1K3t3Zo6FIRaFFRfHfvNZS8bJsACL0nWznT/wK0OUXqDR0piD/1D/hsvClEsmvya3zeY+MIJVR+K4Pg25WxG8X80WXAFYgFNReQO5CNIGY7IhPf0blnhUHHhRYEy97WKGkSDBKmKK8SVQj2USCL+idoeUBx1RTpIc+YndQTgLQn8+n+m+gKNfcyTZz9giphrvuwMklOAA2lpZ3TjANECILzyFKeqaJ/hAD5GnlZ/LdwRWep1PqUJ2CotAFVle+iynSZuHLbjdouorO35GkrgaQDrj4Kys9KR/qRcqfSeYSG3eVinXwiMgkAXrei1KrgQWjzzzx1KN2fMyPUeXrXToHmFfh7P0sRdNO1apIDb5vCQSEQz5X9+Bbsvlg7YbglvWViAPWuaRl1UbAqrrSHdB9fqsBHnUmoE+aeNRwkMgDky6x07jQmS+CR0c36K56YetDyEaBCklLQDH5/U4xnxbGJ+xSjhUdyuj1dEbvyapt8JYFrQEsFq0IGqtBjywXomNNCHyRZBW2lHAUFkRAa9EvtQHNGkDRCbG/1Ya6jKCVhq5p/uB/ySU/WcBBk/S48sUKjaO3mWPbL2caO+5YShzfRbacWG2j297I0G9okCRAI4sZCIkTLaOpMbz1hvc5KM1180uBMVW16Pdj8Qfx8qPDfsMUuAmuENuphEUHcb90e0Wm4inNLjmxWW10TxFgL2JuEakvxdS80MLNbYSlqgS4ZAWh0X4UK75Bf0I73PDKbg3r4jS1vjTXHYeTqV4nDsBydIjQOm1Jk8fsWve8FMzD8RIkgp/rGLJlGMcjobWwk2SP8UIWkZmh8s5lstgg/+53FaKqd6EhZDykffhX7kHk6/cjTWid+uIBC/3X9Xm0zThiKhgIR5dQnD//uE+sLcWM+kVeIrkVPwfDneltwcrF81i4C8yqoGRvE3US6Ilp4brkyNjaTKm1sFEICIhFqa7SotLRpxP7EOVitb0FSkgDNwhJoNddBcOIFAIm4u2yClDouA4gJ+WQcBQVetAOl/0RoFWF0eQ+v/O+d5BBavb46x0jUWggPZSgWfuM9Ra9hmLo0FEgYazF4Dd0bKS7lKrBbW9xpaM5L87RUUu4ZpaXooVd8tJ9DSC/UfqV0Q56aG57R47b0bhUKJcUlUo1/HCYp0q8F/Gy9c4DDBzbe254nmaCJXGj2E0RV8Eux8xm3/BP5dd1l4krY6jCuW86X5AFQi1YgMvRrblclK17j8czYCzGnvtJrdz8Mu827xgbqv/hlPOglNRICNEiD1PHK1NN9Af/ZgctCzl6GPIvHYlQrw6/CC4P+7smvOa5b0xPOFkAHfIGQ8wAlX1Av8g+EfbiccgbwOUf9FuA77jmZmDpQ+agykf5flzghTGJfYHNrjq3j1u3r5Viw8qp3MpqDmFSR3+8dguWG5mFDSbB576zP4YZo/V6FcHg+JLbSWpOttUDVq/z8rLPmNFNDUsW+sW+DZvcto4X9f27GIflVmNUsXZ2Wi/4lqVMlDNbfCj83hQnS5K2Zlm9iWzG0R4Fw4DGxLpqC3SkKxjJdfRGzQ/n2EHehMLV5Jw9NQqIeyAcLOTQiS0Rdf3IQcAL1co0sxAc9mVzxiI9wUR0KJTbpraiX4JNIOvvb85VwcOyieQmO/z1k3rXTUtHCNX3SzuuTl0ZFvLBoRnpgjiBkr83ytfVBZ030P4LYBozllDAIn4qi/kHoxo0rsdS0BbElCj736S+K3xT9q407QBaSWQtXBfc/Hx4XogxBnIKrY1/i0erpHQ52+bWTzDDpMdLD4/OnA87psdz0OfygVlMb1iCAW+7WvBfZRDTuDA+O5z02zF62S8b1HxMHRmwLW3xfrDy41zXeq0ipxMrFQBdZMRSZzakDGbvkm8B9rryT/lKMAwOeBxldbnqdixPuCdjEkPH1ajLEPzaRTkVA5u/dIpsfIvyKYfPs7fFDTD4NgleBBJR3vEly/JdI1nv647rP3U3Onf4EDAPiJTkSkma73FmbFl3CfmBtv97c4sODcPrmGTAnBSVU/XaBjSF7dQ4Bl6Vkwnlqr9rBTJJM7QqtaGCC8YWSFuBjAqIJxSVYmQ0CAeRWSFdNnMxOhdtr1qCtp6cXS5LV4jutePUbuU0axEZYX7NDSbQgkwSuSqU8P0BE9BUXnqqxuq30D4OFgx1TrmhaUqWOENvkN1KU7Gf8AWWn45jIqeT9Gb45saJXvMgDFyRLr0oy13PFkIEYEFr9Rrm7v/KY6t3Od0nz+1JvZxXPxBDPEwPbL78Gc0KVEOCBUjFW5f1DsS9fS9x7JKgjSzM8BO0kbwybHkQpERu790sQHzj721JM0btVPIRVHST5OxrUN2w9pYDzekUtGGNyjpw5kch4PsRpI4/sKXZx2rVzBVQGFOhDH7+KXf78pBg+OLHbFeBxTwqv3txQKhRY1Hs6sFua0nlBYkasyh1cPywEF3aC49pirh2Kstk6qsT2pDBQZIB+FOO2j8zZfayf9h3TDyKsbCtDeJPnTZLNZvNDhsaeb8n5V0gW+2+I/ZATq2x1uYOVO+/icGjgfeYRu9TGmQ4eeim8UQ9p8Z39ZuXYFaEPTrDMqAb2MwGceyqyIh6ORNqFuKyYBoi8Ktq2AS1RgxVJKSDRkPSHRXgWjjkrvhwXJfIxhwJLAhY/vhaydLe0tEle+zfW2wmFFVsUJogejVwffxvNQeNLjF8z0ePpFnp93aYzeP/L+NRBgyeuCB/Y4qqLn+dovlZndTSkumCkaT9oNvMMGo9bf+VpgEmgZ4NS/2jo9dRPAweetlaqJlMMHPLFA8Mq76mcb2BXCiyzZ4DoUF0g5cldUuS2ehGA6ym2WZQYDbes63F20XEezcHacTxgqRFKGjY4koTkgjcB51s4Q87NzGuStcRT9ISpD+GA+Qi2M8CsNJFesGaTRDesu5PAlx18sIKqx4N6dBMMEiTKnSd8EKP0HwLTF0KKbffYafsCE70M7RNXrA+anbhviYd79QmpBQ7Daab7VWXPnOhFWC0i6RaggROotXFMiZrnqmbrffsD3/H9ToPDJche/UplAFxfVnPOTr26+YlH3zW7blWQQW793ITT4dLesGcKi2mAbxptE2oi6r+JxrUjBkdWESmcnXEG6A0gC+LIfbG8dr3RzDZB9ZsvwF38ib5htPXvoS0Lfcyy2zhkOfSqQHBENn2mZobD6Po/q0A5Q8s0a2zWVb0oe7JbKuttofnn3OyvYG+UXm4dyt12BsYY3JWzRlPiY2F9ESmTgdo0V7FM/KB/UqxRe1kZjyn7dl9seEJi1Zdh6nGVNyBTa8qTbB21LVBSU16FM9f8gtfjXPmIG6pLBqhXx0Q0MOdqsziepEJL1aqN5ZrOyjnrAEtpO+kZRqyJNSCAhIrhr37WEKwy7992lCE9A8Z739z/cSktu7bVmt5sVx4ST7G9IltoT4ElnJFJ57dU5Yw4N8btFOU+fTYSit3lpAlvHvvd0Zvz+WdEdh8cNCFn0JrWgZIux64/cUA2pP1qBJGWZaw7ipeWcNANlJXLNlbiT+US1lPmw9pua1hkquEj29gnTo7T7E8QcMBC6N7r+Vk/8AcNRDRMfuhZIdsxzDRcmuelFWojhWev/Q6od/h7qtd/dSnOWaop76xtm8cljIRn5w7GgYRLBAUExDNZS9infHEQTTlQHSfAq92C/s+6Z+mEVaW3TNFXdeSYfdBwKG9biZU04v0+SuTuIl4vWxUtuIMOLIISivkod3PBAzJQvD1J85HxVvo+3GRLydNHr7jrcoU9HSTHB2rkVNLX+ZpvJrI9JOrnLeK6zDDd1jxeHfkdydfi+MFt+hdBc20XoAlIHUVAi319TCqQS7gxIE+LCuoK/Cn7FPMFjg5Cm1nt3Iu639Vms4iTlgqFa13WNdsjit6f3QoWNy0G6bj3EKDCU0PebBn4MIayQ4ar7vfIVepgMCOxDWuAk2iSrHxZq/RePTC3NxoAvG1gOHc3i7Ci6oV1rzFnwlLsp6QpSi++M4CjZ+dbq4/I2os3/gV00jFZKOXMYlvpHitOiqT6886IlwKGFPLfJ2686qZe8/TclzaG2g1KdImas69NCV8SYq1eB6U4gUxfRcQhftewkkWwxDORR3AMlWufPirOr1wu/MYa4K4LtcEPXUBu5Fhz0bQOM153jKHS+fRBnwI7A4RlfCCje7/cyAV02HI0iIBLJXcP6CTOYwcWQxZVuLjbc9svrB2o5/0qn+MedrXeJt0WMB70PSjpwAypphEMCb6FTo/0WRYrkvb0wiq2xDsuJ3p2MRhtvFcTi1G9RPBs9sVldAONcOm82lbgG9nvIvChwagHd1YBFJs9B0AiOGYMsZOYpjSDKcb+qqXQf3Rq5zl6oZClVwxJZT/UVDAoqnxnjyKUjTBeYORpLzLVHUX/RR38+mANCHYrMiCoHa5mBLki0AgULjWL8qIWOLAwg7//JUMuAZ1I8Rl1FODqvu3UERznFlUgpY8Lr7kvZ+6I8V+f6MRwgv72io+Pf5TmPF45KKYjc0ZwxtoXxW9p2zaPt7wyRKJr+xDqczCBbiZgX7n5m99DKmI5HkZOREOTl3vLlQ8f4Dms/Ml9K4HcZQrZpsfvlkFEARGZIkZEWrRRR5GlFrMRYuhr/yCGl42En5vfjjjjwZ0nAQ1Wrv/LlOz0Rna6iCr24mrrLROMgfWh6Wgt4x/YYeBMMUB8d/hYmi1/UtTk/++VrMvij4QDP1nhYVPTWCDFL4JNyWHOxwxdeRxBpyq6rQy/YrTcG0njTXzE6+FPH46O3FbNy1k8FwOI3xhMJ9P/vvT/tEZoKVl2nSoddO1GjBjDNzLaHU4IcB2bsxhues+b10Q0Fhcwwf7IaqJDQM93sEk8UPh+kycc5He5QzKzh56tlnTjRKEE+9wdFBsnnMfHIiG8eRmC4/HIEkujFf+0jrGPpnR8S1mzhgBDPCHORG1Q+/Dee5NMwk1JHNl+mYwpqG6kxoT5/3iVfPnyK8GuZnT9NTfh1OiLhGOHdVelwPKv/MkyVv5Wr3uzkjnfrX3uzfLPSR3cxU9ecbkYxg/n8JcadmwwrMGfDjyup/aXdM0pfDConV4/pzZTe3SDH1mDWUDT44lMxNjtW9NBq5X8xqEmsPP/F/l3YuFLCvAhfThlt8QeRwG7cqq9Z6+0FClorqSnXOkgvxImN+T0f8iwoHwI1RckjBB3VtrO0lIqWChRSHdDLPsJq2wjkmpjpJlM0iBEpLOJwwwp+mI7Vb6DaQPUacgNpYkvBFmyRhqAZ8cZH4cYa3aXo6I5plxaYu6XGFYpfDL62EOq6ci/4/u2QiVxit3qihpe948uIZt7djMvf9PuyPmLK9MzfqyVxE+KEgx9g3h0TK7nAi4o5uWgFa7KpVjj+BnIZAGu3OZ5qGthk7AV7jN07vuseZq4Uz7MaCmEgFaFb2bGv3CEvG5V6CQfiFCMwhCBSsvodriImBp4QfQYeQIAAvEARdJ6fxpVRxLL9KyWmQ3NCULTX1zgg3spYBnhvCbnH1QODMyc/QhAN7nSbENaVR6/ohgWP/C5YK7xTjgGThgXyGy0mxAU6QNPG2+koxr4N3f5tgGKcUZIo9Flj1OTB0g5ANi/sl/qelU0d1sMDW62J84E/AZC7q0OewNQDSWa007LEbEwRvCHxvSZGJVfGimATrKKsZkGpD8l9bo5/CIO9vuv/ZLYqos3z1SPfMPufwlqccYP0w8tdZtslXiBN1TSCPrSeB+IlH5IEmauhxXIIMgUcRhOCvTqdZ8LeL44Ky/EErYb/M4hm6rzSK5Iti4RkbSrwXqUBmDOgAJkajY4blWb1+0KjkkZVCt7A7vWN7ifO33bmPI42EYmUsp+PHZEVvkT8Zr8UiiQOMbLCbWQ6IfO+UCvvZYGaTqvTKwr2iUVW54V/+jaU1vZdHU03jDILSxfROE6/dn8L4lhT+VqY0I04hMGIQLHsCePv/JH8UU9Acx0XpDZ7pyLdR4VihfhNZx7oP/dFcO2E3eT4WGfn/wnpeyxfbyZuV3/NeOol7qDS9a9vhJfEmI3L1f38vafTd53+VaJ45/CTQUvAIGIo5iCjH1BYoB93PyXCrLBgGs8m1OkofQ6XXAqEjP4NFRUP+JUfBC6790RMaRxPmxczTySq8z07N2+Rpru+nFxnj7rgrJNlCH1lrLCrFtTUQPcTJwtbd7utK5QS5VWF5g8JmZSJMwuMbhShDC8QPy3BJC8JTfJIhmBLuRej9O3WCBrIgq7/mzfY2jPmV6egSNWjNKJIllwp5pk1Tv3NYoyfebPpBtfCJFNR49I9zpeg2PHVMyqUx8CrBSdISSG1qezpAltOEXQNul9flWJSU3lz1BhowlqZRf4zfdohQ2TTAeXQRKzaUdkABCYhij0P+24WauApSoFSCS76hqCKQHFHE/awQN9jrNzCcPpNvpV1NmQLLbvCmBqOWv/Mjg28IJJGbuzDO/+FKpMY7Ka23tuAOv4zAubnCk+hDUJn3T/nfjkXMd4qZKLC6vAsxp88VTgneJLTb601jHQYuomvEx7H8uhT4HGQ2tkW/U7j11X0ZQKMsQii4m4BjT2Odd+YYbiGsgcgWyZGQb4eKwLMl7x0FaqtnosXQfQA4H3JKUX9I+J+SudmJ2/4YOegDkUUYhnbNb2KlJvHD1UtYPp5q1WmXa3txg5tIKnGVh1fghNmcQ5R7c0BK2UJxFJfGEtPOpGbydOSHP/n6A4WTgHmqjBf5viqJAGE4YComjIH8aKGB/nX4AEyQmWOT2NQ7CFUrrDJpKVKZ51fOYPAS0l3/wxgjrjKhati+JX5l4zsFSOH1fG5q7YPEfmBJaMq54TQPYgqQKGlS9qQAQ+DhRZtvhB66UjNJOTGxNEK5b4LktOxGGk328ZdA0+oHR3WudrmGUfT6Cz0sBz1r7WTcrJsfgyi1bGk/jz4Xh93AHr0CmnZAN4FvkesfTDf9+jYZNPJNt4LJ71lf/dkygaj14HC1cVredygSVIC6lS4a5/ZQWhua5Oub6B6uczUcouvUGhD7CqmMJr1EE8cwsaO/8c2j7tdoX7RiLtIisk8UMDhr3oMFr0eihwuywIqZSOOw76Z1EtREAFzLqBqHTykkgMTj4j11WiBE/GwZ2Hwcgu+Bww1FMop0/YR7SjGJdWK4okVmqJ2Doj/T9tTEh3cOz8UzFCv1WIbuxGmXXk3UtkwaylW5aZEaLprJ4BUP/IjvRZY0F2WbltKa9LxLQphNNQU7937GIxDouPio70bmVh94ZNJDaZHbpsUKcSsBzFFWTmeXmx1v2a+C80nDzIOZw00frJ4U7eICjeAi6/7osaO4n8UXMxBWocWBe9pyEQMpmAAVS7ncUBqPqQPw1W1HCezoRbN92bq8fLtinEOMAHrPwSlRy5Bn8xyM5sORtpa7j41bpMgeB1tOdcpArKuOWzln2+ow1oFl/JEvKChM9LJxq+9eeIn4q1ZKnQhl2CrGVm4kYKc0m5h9UisXiKHHM5fb10C9yfTLLdG6X9to8fVi1T9Z5teXQjGtfZMjbHEjLjDnZoxcfh+8Vio7PNcwMz13Md1S7zRWDfU/OV17JBJGTypEYNs1gSwVvX4YVZVt9hO1jxkxN0bJ4ruWBuPVmcsQwpbPcGjBdx2KW0I5iOwmYGQdL0ONzjZXfUnfllJE+XmrObYpiTs5vkZctbw9/mInK3OKPHGANJ5Gg5vBNmpyVReIvFa8paAhIxgGd1PI+jHebOt0vrDyV8M+dQDgBUi2G7V1m2PTcBVTaNGQvR84d9489viIxFku3AOApTz6hm7GMWhJZR5wUzPGRzXsZ7uXacmbVIKs6cne99tGMIhKPTuFfm87AMP5sziyBOHGAfXWyYmU0xdlNJhpyWY3k+ArY0Iw1klLpRO2x4cLPZ2fHyxav1RuhC2jRTVmY/IvRMku7MztnWpDc8hlMMfe1wg3BmTrMUAGVWUOVsk/jiIVo3We6JgHEi8hCCB/IX7BkfgHOWpiLWw6qklIdvHQAjs3aTjV7GkoD5GWCmRsg2D7TzxuBmSQ/7dGGt5lXuCahaEsdh7PLyEKN7tAh/dXwtuwTvk2ZFCOk/f5vjUOs7qNYlRabszZIieVlefKr30nhhALMUFG76SW+feFoXIbkz0dMwvoR2F5bzMQDwLuA08EkRWzGNfwLJQihiuazlMwP2aMExCnn7alUyUqamp9C063U+S95YQK5AXDP+eoRL7z9kGfG6Afv5Yr5h6VnwQrnVLC8nd4zkejE+LO1b72xwzna/g4uTG7WNlsSE9RaoED/W3P9EPq36tdov1+ixpQbA8O90Y4emw/6CipDybcL9su2odR1p7/Jtft+Iw1Twvh6rs4Ah0mRbd5XZkSda2PhZ4XYb9j2Bet2IVdQmo6iJ/xbyePWEk0Bcx+P6koee8+IVe0xkBQpT9NyrHmA0ubfpIFHiEOMqvV2sLY0KmRZkkb3RovPp+HwDf8l2wA+3XLT9zJcMZFLsDzO3/ealuoFvuwjIKeSAKEh3CAL+mwIbaoXb1FPWNrUFCePFbOdjstoNBzHYcNee9wvzhf9zaYw8wbiroXAT3AaVIsEqcOhlWib138nsrJ/EujSmDCGffsXV52fiDsb6C2QqpupEfW+cAlZxOc3Z7Lj2ILJ209EZd9R5L00ZDeZ195JH44Y6vg+F/xRFS+1N9gVI+/kB3JZOseJb5baS43YqwDA4EsO97p+mp6PR/EwKR6NV2b/vTVltwc5cs0uKdTLJB3M6MOj67nK/8jp1Wl4k4lcUT/kkFXRY7HvZG83OiXGOzykQa68O6YuLWBE3MxetdZTIcrkKUSFdmpsdh4NNNV4uyGLopUTbYyKxGy35yF7fJPU7MegjAquufLk7gELGnHHJ1w4kvRRC67Lvye0umi5CtvCe23U12BdMVX3z7USIXoiACEo23M+6HzHj8FGDC+dya2iYX8DJ5CWn5/r87Uc1dmAapnEKrhPRLHzmpcKFU6VAHsI+oIPE8gIQ4Isc1YkdOSm43g3FMP3znH6FIRyCu9f+3QZl0D7GkmcTK8Z1Lx5RNXJtFpBx+JMXVZg/6R5OABHQEwmJG8PFCal4PI7emH5CMPubENFOp9cbmHyt+cmfzq0Fa4PDYY7e260Y4RaF31gi9710P30frW7xGubVdHQM0IBRbuQqp/+WLYDOBt4FdrCT6FSIUnjSLT/DIR/2ryZxLzfNSSG5oQQy+VROvFKkhPMIpO97EFuSTk8wV8vcSgUI+UAmi8la1Dl6qHaQ42/2Dqk0Ve4Qfj4uY5kxoR2x0dpiTJmrjYx13N6m4hps9mbAsRzgmu/qcM/Uvc7gT2TIFUoSBRQYidk/IYcEGpIFFVnkKFbiCCB3oskCXxS7p4QiZvihrTmgT6yNgIJmJ3eZsw6zzJG20Cp8cvXicYHmeAYDKMOM6pvJtP0uvcoGEk1IUjttxl4tpLq6PPDJy6UJG9wcwHnUtmiK7KoX60xRcpe3mPb0qbykuk21/fpcpC6jqM0DNkmMvU1pqVJZ/rbGBacYSddt1jjP5QEPrBj8IeJmGZLg48GL/ug0eqAJhVgZzvW2HBCoGtPjTXjycmAqObtFHV8p9bDoZLUofZ1BjTHGESpFWmnwuAxA0Vx61Ct3jf4XMe4YtUat/CB2xD66ZWm55ep+5fQhDXYb6vye54frqcQHYnsMKfqm430Bgyd7FDG2TB3rZBC7fDR0b/jV4+oKO1jDQYoIef4OyTvgJBcILd//iH5rPYr7Ie+BUH7dhbRf2HWrvCZCx58vVdXTvznD+cysGorAmu+10VFtlHMChpmURs4PeyPpJKEDYx2jJeIeW7TzCx52OJfo8rxam/Ua8RY0612CeQlofIVk2WNU+zrE91ApFFm7SfDipplIXj5/p3P389MSbAA4E5KYC/nlMx2iuOa+MbvRYr4ExmeSilyu4LeseaV3nHj5koFyd3Du/yTFPJ1pC8Bpbd+wx3bi9nx6InJvvwn4vdgHX3SBEvx/k2QxcxlAuRNE2eg41b9gSk2B8TJ+KlfLw51yVA2ccsgey6Xpbr9Z6oUEM6a8WwgCzOJAJSUdfnWoTQMRUtdU7RVRpqeo8wB9S+udQpgpzfD4TsGZeNbqRhEddIHfsFvMBwzgRwfJ3vFbo1L3BHFm9ZscbcY1sReTA2oc7IXh+/C8AFw19Cm6DagwqbiLCkT5tOhxg+OO07iGzwGKobge9tY1ej6Uk+YtBsEvs8hxyKTvyAJ3s3zv/PKaytmk3wPgkhj2M9OUtP3hzlbLLOLdfxHyP1IQuTvQySCfk7KibtdynlJ52SYQO3n/vxNA02Bp8jV6ycPQ7130DxtYWcC0aAsZyqrW1Ab5yUyaECb9CnMIBCMy7gBW1XDAMm2Cecat7MPX+qfxynVyrSQmVDpTZcbDEL+hQLsBpdli2JIsYDPToahqmJhQNyFAwi3QUNNCm1wBf5zJRPm6hIqIb+7/7IUM/Hd6+U5GGNUTWYqkQA4zo1cLKIgNJLl/PE+fuOSUEKS5iW+s6pj1A5s1VZLVSYFZPvZ2mYYL2nyERMV/kU1l1dNDMQlcXZlvamhWS395jCAq1h5NNZLRorkvFWePIQdQLEWr5mAOrUiWmu5LD8965T3fRfSTdR3j0Miv0SDjJ6g6vwJqXYgrWIQCC2XNDoBJJ6MzBNj4i8v6ilGCPmhY4siknZPgVGqg8n3aA6J2worr4yiHtItQSkYT+jaIX/OarQkGAFfff4LSHLaoHCprVYLLctXJzAlrpf59kS6x0StfYoM75byNqcKnKyQzveYVBiKQ8Z+kMB/eTI0QODaKZqNuyXa+uiZe0aE0yb8mkZ+1PbnnWpAjLtjss1sMPxquVjJr5KAZomcWdylthdtksIHrgMBsPuajKSLHiH/8EzDqdropI3J/wT2fRaH0ZWap7lyEuC0cdj7R36auOIqUt/X36cG/ZwSI0W3ujrrSSOAApxOyd3qNIEdDt2MtVihavDjYlsVO4hLbJ4Io5qEzCa5ZC4ZEREPCv+Z+z+HnaKkbZ17H0uGlRgSbo++h/yPe+RYVXREo2niPwUvhZWkA82N4oTdH2FaabBP49yYTlVYaPN0yqjkLGbh7UoSUS39SXfXJrrbYxEo7jEjR4LOVelocyFvFnpQEj4qoxwhbnU/k9+4d3bvvr+/6GIs9bTuVf7Hp2MLAWOlmJYKg25YAe9t3mLQb4WAUnpYE/fcfcTDs3tlIU6tP917yWL1fO7VtSlBYBR8fjwE6dW/mR3D9vICcHdjT5dScJa4qqbKTNxF5VUFQzSUI/Em6cw20uoK0uRdda9QSbKM4r4WPxcWlOtgSayAAPOr8Ds/1GSbWS7dUBY4+7BgWTimj++6tfF/+XxzVoEFsXW2axnzCjzDPW+i6I2BQnpCgKzOnwSxo9JxTvqwft8+JF1XaXO0T/Qv/2x4rbGFCPZhyWwgCOAGxAl9O6kSEnc6dE8d6284sMIblmJUMqnMspG4dNy3riAm8tcZ/SRMdex3wVC0AoSgMQHXjDR8M2+ZCx051SU4arLdeHwtKZjCKlRi6AG2tmro2UTDcO5Ht7DB177mSTeJDHFjOniLzoOkw4+NVNXqwaSJV4gICPzitNUceuKgZ1K3yhPbwOOuECmqtu4lMbHXuWfCyX/IBYIqvP0bD5iuf8Dn9eQfLc0K2K0BhaQkD+zvD9GYI+kFRPnJ7QyQ9FESEuFXqt8Leh2SKkhlbTA4J5e2oy5zevSgmtMr+mxrCS3EeBjRJoIWGpYTzjpNjtrDtLNnEW8iF5LJoQ/+3giiTMvFSSasX1iZdAWHFebbT3LjX6MF7fy3OqP+gfEvLKFlzuJZTfj1Z3uy8qcu8tHKUVGXJ7WJo8368W+Id0A6SAbFn+OFCC5/yOjT5tjRQ6W3miRcHVj73z1YyVbUmyqMC4ePD4IdlC7R1MdpcdvwAW38IZzFW8uRlgrCvlWlbrOqooUJlD9qqbDTr6VN021McHBkMAxLyINK9bvhF1tsIFvbgN+fnuakjqywEqMzJr7SAJiY7FvzSGqmhO9zIkvfWPRaQhieK9n9ghYUyCbv8wvDSIb+T88nJ8uaZeijw27X8wvR8r8fmw5Abr/UT/MZD5SNh05UD6yDkZgP/oZSPZS6Zry2S+roX+Ryqk52f4NzKd9l13bQ62hBkh2/o0B3CDNiI5gFsGxGGd+poXtB0BrCsTzImT96K2KHwFbaRQelaWja7pgBQPfUqpVNWg5EtKp+0yNscCl2qMQdvMHK+p0rm+4/gu/ZmQhNXQDZpRwm4Pbgm7CfDPtdBw8a42vogZN/wdwj7hVAr9Ol83KqM6a2pkNQgTFjGaDZDZ6OlU/k/EI2Qc3uGYBElTwq56XHMFoOe0LxPszROEUFPiQX5GalMnmrPhsl5vvaaGCdNsGsbt7AEUr+/zJ08oFdijELfYxHmzKKEl0B+NzP18DEkv3e0AdLhtZQ+WgQouj1338K6p0VKNZCQHTkiwGnlMeHKfUYNRsstMW0Bbi7wTmaK0qTwf89dP8HZFKxFmA7vcBQ87AKm8TztNuUwQpNOFqXD+8Qb8I1RSY/o3wLnShh32OEo7HbednOHffZvF04KZBjTeOBbUwGdVNmkvrrfet84a1+Oit7kJzn18x07OMsLbsKO1HLaRTwxQpe8WnXfv2V1dSU9BCty/5+qs7s54v4mOcw1V00LW7HQPwoRcfb/85fTvLTtZ2r2npQ/h81d7jGbuL3IbUyy1uDXi+WjZQVJUE2/egaNCnnsogPtLRh2EJi1uzDNw2936GujBXO9GRzijOHaVp7FeDc1F3Fq+0pQwjvnEx4DsuGJeJEBqb6w3LLvJc55ZcFVsGrC7p8V1TvT+gjptqz6bkPftviNOwVBXx6nTCZskzcq9WzoAEPjUppUklZ5uUTf/vLvE2b0hFOOFdYhrzhYEykBGIE557Rh7MR9bPnYMPfTSSN/D8qqUCs5ra2arZ5GmQaRdQ163yUy7t3pbNAWEVDoi7NOU9DLuS2/MaiuQj3KB7rvseyKtmXf7VCdgZ0DT5gVMH8ZvtxBU/MUBi4x8v47RMtrbi79gXApI4PcKp2JD+Eb29qv0uoqZ0wIs78ssj0z0xLlOhCaDwMLTKG8WNcadQyj214Jgh9LSmu8+UYglfXc/5L0YOVKFXvSFklw3krGO78Mr1+/A0pTs5ZGav8li33ZAlcvHQR8UlVRjpts34jk3KpmmoYjCQeOaBlN+mYGy2fcDyTlrHqA6JYWpQoTAU8RSX2fxEQDal/a8loxFNuSDpEYNmeYBZ0k9ikYoKx3RIO0mn+j6Z4dSPXVJWO/KoQ1Lqu46saoSEm12CdjozVdLqVv+Ur6LKuh6Pt7OPvSjs0Sqpi5/ztP9aGjh936fPYIZFRWLS+ibPvNlh67Q8k9kUIrJHM5dEwbJ96GFIh7IzqMkRRDH+TgW2LwW9cTrDYEPNHWcUvbexVrQWiamsdTbcgTzfjjrpHXFPq7dp/OwvfdeMl7S+V5c8bAU0lPasID3wUeYaTye+hnyEK9tnCTsrhSJJStzruLQE6mX18VT4LnLhvVDbiSKoEvBYbbzoNgZTR6fp/VMtcT/RyxUTWnfpeuzRWeTo9nQO7FzbaX50MvK8DDEOohmUOqYOC8644IIypNBqD8yQKbjf9fod7m0dPLzOMFWwxtgqCuK8J2GatdVEAOIxCOuo/T9Mzp3m9kMhJYwXDloJyadgPOUvaFEAUlGhomlt0sbUN/t4Ktfy6d9bwR/V7HyHGOC6Y8+nUYUJY3Xsi+gd36O6oyFOfS0es8it7Q5RBb1YKsFss3gJFfiHfEz1CUx7+JVqPX+iL00cOld/YMJibKIeHc29/E4mS4jtnqKDUNA3HriHxmMFIIeMXG14LzjfO4ii/bncghUsfLZrpKjscD1YH8NyLTOHSCaZ0od3WmSd/WmLlXrFlJvsVKEt1SxTT2lW3Gu+1YrRABJbU5ZOdGD1o2ELX1tNTLPhBGy2fLwbFM2RUDML/2FOuNaI+cH0sW109jyREz6KnhZf5hf3f3SbomdhHKkIaLAYxEDVJpP6rKHM/EP5Y6t0cvU1sLZUY6O0uBuJJeryPnNpmmiB5bvzUgMxwu5nOxbNVleQHYhTMaZgjL5tY0j82VNWsZGGK1pJjSrn2Zxner3gHika1fF0miUwDH8Tx98vzHjAUdIJgumTHvZAJZ2xkBeBA0me4HMuA4NYR2uErUfzP7OgzPPoZegwrbaRa2EzXyRjGb+yJ8U0UENknyMc2qFITGsJ6QkPrig//AaKvyZ/V5QIE2JCa9EQnVWHX63QPIDOokiMcsz9/D3DWUaWWLqqxLY/Cs98bNImNme/Vxzop51HYkPmU+ZuCUCsp8HEjrnuYj026wKIYFHdZdtZrtnm+Px6+WxvsZgFZw2xAmgz1XvMz+fJ3eX0z0lbQMYDfvwtuC5WX8HPfw5tqzbeQfosXehi8Pg4sgEnAHA/xWh3+d2970YEv+aH3rtnYkGkc1jdmiY3qmGlCOROPfbAqFInC0gUzb+9qDW9kF7k2pMXAzvsjdEHADRyL2yQ09sdIeeNthGjo+IG6ROVKta5+K8QXGEF2uqiUlRE1egwgQea42n914kD6QKkE65hqr8AwGszu9IppYAPkMjEF9jC6X6fm18glrOhbaQ6nLkyo03yUyBju2M6wwqbE2a3BXP1NdeUhKGvcUE6o7Zwob8plSaT0zYE0WjH4brhos3cgUP9NLpu+1L7XQCxB8uQTN2Up+RIYb0m8FHrrNgviJtJrNkLkKUfbAKArvjYXcnz6GV5lLQHOFJWXNsf4o5W8UMDQEeCXmkr+kIwmQ0lUrSi2gq949QhX/iULe8+cf4bCxu7b1l0+zpbhHr+UTTvFZA+tL1uyrCL/C5eEfnu7LYW/6slGXw99lY8QIS5WnPvCPDQF81Q6n3HO2UScCD6vsDZYqvpuX9Mx0Ucq1m7hmFfEDT+T1DV8SIrC/SnQF7Ro9XjkZ8Np+9GTLFpUAnEnWTKT1h2FttstAQ5tvrD4LleP//SKYGknpz2yOesEIGyi65OdkttedYLIEISDKlN1um0bKzpaUfNF4VsQjG7jhmO005+CRjhRO4wjnCqkVsZo2Hzv2iyNSs//CsZ+rQrLg9FOCtLCuQuYUzCAmW9vQMSMk9KhSTOtlnsVZI+rc1Y4g61fZf6kQjl2taFZ9xTthsdafJp9lZHnkGMxMaLDfrfWv+TOw8103ZgRxUCALJ/mRNevqyA1RSptlj8HGl0p0yOpxCZgugq9IYZCwgNe2czctJR9fSye4/O+33szxiQKStcxu4eLNAt/uqh4dcZ/kJilFTsmrpPzOthMsdEDMwKlAH0KfUa9v3lJoGOUtR0d9aWseUArLPejjUvHr28lQdq0cGh4Fg1zl4tj/GXbbz8kjAeQ0iIjFevQP9+0ZgHFub4GTHk/yVi8EvTQRFvb8H9hqr1FAiTdEUZr7Tq1zz0Lf7rfxO5Y3LbgWnK0KbmwP6VAakoW7/EGvmcBsQFhQc5b8haNSDIui5ekt7SPm1GbKCoi08avlzTxMDY4ldyD1RgBo747RR1Wf3h4346q3NCnJ57bkOGdsDj9I6x2+iRYiQBQjzg1SIsg6nnM2Sh1W2vym0w7HPxPIyKq8h12scctZEOH9/q0ISjXBlgufQvlDc+lPYbGjFkiFiKdUfTv2+XISbyzuwnjX1HvbRb2SFaPkOOZkh77wgamjH1KX6byRIqDFx2FYthr7sX5UjJqQV/x1suGzZe6o74t6vkZQzrDhnOYCj6fRlBm5DQQTclalLoRayFL8A6SXVlHW5jc8s36lcc2vxMgp1a2GyTG9MYV96iVHFRn0EI/ppJS0jDH8w6uyCiGM6cOKCwLEZxheEF9/wDrdBJAA707r42AVE/beB4/XknrOxoNo0BA/xxCr9obNZZiOD2i8vKkAzcV9Ern8d1HkftEBHmKmWG+4St88hpq6JMRsD2/ZhwkhaRyXFLM6XQ6f1tRXqGSSwZ9r0r+Qz6lhYueWdHmpTn3OOcxh0BGQ7q6gdoJnJxAisnOwApVjD8s6L3EIvuOoPoYrSFSru1NckH/4Frp1dE3MiSZB+vFm5v0QBMkiiI7Fcx2qTm53a07cHG5rsPHi+1TqvSSQ6guwj7/lvG3e+irb6Jq2p1zQ36VUET0S8Lc14XsgHafja8QxUNiDUrEx0l/b03/Ni36XXz+xjIKjWFiVBHVBYJRT0MoyiwRTUD/i2JGROTJvzwk+ib7tg6ew77W24oOQTJR5GbAA9lZZRFKRdtYJ+YyW5wMBaRPIqc4LdukWo9LuEVf1c5Ecz1nnhnpT/JHKbj1utBd+dZ5fyzs6bxnzbLPR6q0Qmf3izPb9ilxib2FA+pFh9DGsV4/ehouBNfD4i/fP9FY7sdAmud6C3thM3My7MduEbFiVxsc7D7wp4yhZ76A+xszbHcEZJJT99BlYvE9ABBBj6AVM3OkFcaWdcyeRivMWJynEDLGiXTQ92z+Tzs34/o5FmATNNKaMWyBuMJuyqJZtPj1voVJGbI/fbtch/GxmGGSgrgXS9demfv44ZcDga4pgywlmit6prvbPhFUzm2rsDu662V8hv1Ob3jtB/+MhPbeiUyIGZW3np8Xdbjccvp1tSZa9GSheBumkIdVi5TX3qNQhQOvWOIiIpFZyCP9GXhy4agVFymrUqs26qudXMP0LVChqbxdZv8zHcI1K3RP7U3PwZtx5FFDWjPUadKOVVRGfu8jsjRftPf8Og4OdjwZhMlJ42/OP0bd2t22dS0DQ/S8TclwvAExp3rrTaj4il9MyiFHMQPMDeny11dst09YCwjeBCrpDShpJ8iroB2dRvyDk5DVZg/Yj8OFVr/ywRGw0Pwp74OPVR92z5pD8um+YD9lyGC5kEU/CIEPjrICSny815U3BNHip6Lp5ejLIqQo0hAk3tqhDXGdaHp3eNAO9DcW2w/XDyek5ZzMAJAcNcFzCeKca/4Murpehnqumdxn+Fz2KmdR43VwZuGr6Dq7ylHhYgpLzlhNLzkVMQLBIiy7Tt3nDh5Eo47yOLqH4R1M/dWP3UIZpd4hcvw0Hx9e/IOW8/u1m2boWBFz+/yXiShldBdYd5LYDR1k+Ty4057dYFv0EbFKwFLVO07JVbx8ChCtvFDsjRDAebJ8NCFzZPcIcS0gPQ6+ndPkWrUfSJTiJycTMhpokn8lUgoBQ+rtwoTfZ4dUtp5gqXs55KcnRaxCQXXrDwFltxJTFYFKjHT3f/wcVdnms/mwmg+AqEwZu1EgCNT4h8SvTFSGW8+yDanJjge45NR0irx7tnw0kuml2fO5hMniONFpSVHSTbl71UqyCuuuZIuJGdU6UflSfnrgdYBObc0HLGcwqYupwqvJLuVxNAeRVW1AH8IWDe7dawFaOxIJ75IdHDiDNkmfpuZP+JoP6zRCnYeWTP1xAAdMwVznoNZwb2vctMlOHuKGR7ehYCDTGFBApEnPaRKRtbbEzeBPECd/H6vZ0EapU6QJWiPq+rctZWcYJcpwx9Mu+WJuCN5MaHn/QmvkAnt9UXi5XIsB1evLQGERrCACDQx82f4VRinmWHCpJiWQB6DVKag4S2OB38/Wq2NXjdTC1m7tOVwFqv4YC4T8oXnKh8752UE5QOnS5ZfEladc9fvyurSSGfic7xqWwl7vFomRmMTa64fT+QSls+6sdV89d7C+RIKi/YnOb7BR2BKHw7Qn0boeVphIqcvYBeEmdKajd1vZ6aLf9MnfU1mQhpUdV9CedPYEGgS5rD0tEiKRspJUP1h1SuDhnn2cAq8BDxlGYmzlb61eOdFfg0vxQccHic6oW3HIWvgrCpVIP6Xo4NBRB4f4lXHctcG/J+gv14GWehHxhqkcj2pkEOmoGfsQ+OJgxeBL7Zr/RqpKTWXYb5TBLQzasuXWHlrAzrjHimJ4DA6ODPUqc6yewSPPT4l0s5SKnYVVrRdGl0oGRa6LzUcKo4OyTLRqsZltDWue21Vd/NBpSWVDHPcwJW8fIA1YpUBJo01XqlmDm838k081AfMhidh5HEigKIA4natDtMKG3NVQQWkCD08Z4W1F9VlgsS4oPCixS/dghN/uc6nsNfsUJ0vMYdxWUJhtOU/dGTUuuWuFq6qhKJ/GzH8F/WVpj1W7ZmQT/r+p0jEoaVH98cgSN7KtTcZYN568UtkdULqEQwm2JQJgiMRDTKvOmp9v8+m4LGvQAu86Jl0IKcOOEhfmO7Ra+jEBnJVKTul0U5VsVTUJq3tyDkGuygd29KfFLmtMJlrWH9KFuBml0UCqDB5owXWX2nLd7x6BAdtWqLyyxjoAHqpIbi1PuToZEYTZGrsPqmFjXZbLCz1rF7B/zpFWU/TClcfBKhIZTP8kosWYeG/WkvztWvA8zTjG3EUNHbGd3sFApijQVIfnS7jUUxG4i9YiPZPvZe1M2JiTftBfSLZu/221L6GG+fjmYgc6ACPDjULQfF/nMbONmOAQuVmBs/W73iSbNUimxMP6hr94TIpPWmroMK7GbebdWCONxy2/hSGslRTQxReEoEC5eFFsgLXQU6g9SAXIUjQxtX6/qKXN7wUMhT1ENIoASs5VrI+DfMgy6IJECsPmUydcfL6BeV2eIL72YmWwpbY33V1Js6KZ+E1AVDh5qUy9p8EFq3dGopqFF+rPFO1f9klGHDL0hp5HnY+5zeAivDgRvSG2ybUMDnluk/fKuos2/vTVF5ewTsEdlkVi1UHDtqogVCTPSp867AAG3nniHa99Qat8EAtyC+FT7P9Xr20VkIq5HrNcmuPGlhk8vd/+2IgxK9DqWHlfydEEOM/+9TB0UjvXhPs0qVfUMEnObgbUMlLjZMjSUCKTAUzMkWftP1IyP4zk6j09dd8pXHeZBExh1pryy8dHV9SjgdYgBgSP6s9q4V1a3KEQ2z7ZxX9LK6cgReFtVvr4yb983Cp+5C6R8Pk7fc2B6mFr2t29O+C5aVSUkfjO56SsTOM+ghl62XmL8Ysz5mDcrtuAlLrpa6RJilgk3CCW/HC2j4yBAsvqkDTtk2o73T//UevrQKA98j0WHpL+zPcpikBooFwIISwwyfAmJMgYvSxbj3Qce51R+YjmBNq6V4G+US8bFaOT6SS59eq0BRiLOPK92AihYh5HDUqWRfihxs83fAqP8Bs/lV3Cnzq+t0zZAken1XOGmFewtbivN7Q2u6LE/CpR1SeqO4lEKjGzjknCLRkKp44na/0VJEY6bCphHpVIdPhQ4f5e3I0hU/Z3wQEdUqLjMumu8x/hKJKUqIPLx2HNzXTmX0Ctb+szesnCHLhDBZA+ieIPzv+WTtGS44ugrxpT+MoqehwBVE/Ib3dqZKBF0lkl8uqlcHu2hRy++IOhhRRlovgOa6eCzY+GfqObko15fLFn2eX2TOg20aQ3CZzHpJrhWKKJ4oWTqzQOTFLkaQiUWi8JC2nuS1VbhaEi/2x93rTmXdj44uyLVmjR8uEN3EBsYK+izeW+NWl05Z818B1rVY5uI9PsgxiMQzAsgwFFWSpAZw5NSTB3Q+9Kli15iaNipKdDSpzGLQoc8YdMkerjydEWnProAMYRLmfp42b1yz+hBgXDT71vTziyKd3DyM543fyRJ5G98vmsVIe8/zUm/gO4Qg2OTRIxLv6XMG/8KCl9giXPYfvOPUtBulR/Tdc35WaFeeT0fo50X2TWnse5fySIUmYGHC/CsW0lM8OfaA3qOd41eUjcYW62e9VpO/ZlRJf87P/Z1avU1aBYuLPI9Rhc1QPQpXmbxBEYHQqbZ9m9TU0ivQ7l8oGdZgUFuOnjYUZezKDan8ZGeIUAAxfcofgWGGkv92TpAN+Rr5rJmoTGisJEN/R9qiQPHS72/6HYqdpIBzVAlYb31f8e0qWvkmOuiiChbtiZlijYF2sxgz8A+P455Hvl1qGNNGXp/ijonk9Fk4nbCSYQMatxXYf8/oYR+Lztyp8w7gwCKpZd+lGEjyYBC9AoFRK4/OfNpxAg7fo/dLlbTzwU57HsLRnHC/aoZY8Lo7zw83ZBymrsNcYQ63Z3SdLgBtShCwZU4dHNHOh+lkygOc+QxWc6bsAxePmERzQziFw0mC0H2CPrXtVSr/9iKpBLc5Ege5c+lINvPlE+ulRGyxYuzy7i1RMBrJ2ccbPCcTe7JM6Suf4Y0704mY7COiUJ2hpm32oQvNxGtXcFUPfCf/bXbyxwkLGSFAbS759Dn/rM90CZww7jB5dBP90yg/FqHG2EGoY/nppEAyxlijhDei2hNwHL9JbsQCGbUJSg5gu++irhihiHGza3+RZxzG+TWTSotKKCbgnZqRj+GYD0LlFA9ySPTghIEoQaHcNyzfksm3E4wuFBswMtxGHVr0uIEtN9l9MJXE9phXsd9ToCX+TyFQABX9EGnJbeZP5DVg9gVG8p4cdNlRvK+0XfE15teaokU13HuFsSNelVxdNtPXGmt5pt8ztfC4wrYCX4OGXVNgKJjzLW9CXdRTzFyH23Ri+svHlu/AG6iyEDEUbIxlRpI5IsJTOBGpPJq+doWhpTfWkY4SUrmDLtwGekj4cI5tDkln1bnjMPvBqKBY+tqa4ECqoO8AAUOsbnpDcD2a1uDvq+QBa0F2I9M5fH0KqDds4KGxzgLPsljk637h8xISdiOrqONxmpvXs1DoGhWfnZiVN5cTKJ/C3tm5Y+cNtELrYjSV98igEoim5WRpR0lHxRenXYcdvEgtqmY8vd9/pVrHoB2tm/AaEd09hRgzwgpqusww29wK0DtBOhwKNcEWEmX9qYAP9gzFnGsf7F9Aok4PxZsUr1F6hqiDPL6jhe0VKW4Vp3ENFyH/9y2oO3NRCpq3Wg9HgUr93uBSD/b1eRWWelUMYKhHuLOtZaswCmOp0BiEreQyE9FD+5N+rPuzCwXkoOZIhued0D3BJbuZGuveHelYoewVdMCJwiVoOrujTObVzQxk+WJ1MogbCSGqyQoVjIOeAGeKb43BnTZFclIIfmSA7xBlXuSllwZyIc3tUy96KvbEmz0yQDD3EEmgX23TzkqOzt+ZJoYLvMLKv5oUIfI3WrPilZqKiqVHBQC9vbtPcyhBh1IJrkIjBEgtY0cieYHQOm2nNgcVjdeTpeXLBhWb+I5Y14Pyj7z59rjaxl86bBDfiYlk8jOR/RNq40OY5aLmvPRMYs+n/nV0LlnlM0GhR2fMc9jIl3JmJtBx58BOXCb80p7bEwC8boTkeNSPZi9ECqxrjolVJDPLJc6E4t1mUwgTv5TmMntSjH21yRKW/Q+kJME93W0S5TfGuHkEp0+EF/cLM/xfAlChcBJ8f46/LiswUwAWJBsF1O5O+XPOJOC9WSQ+atqRfrkTtQ2sndR6CwHFNB5zxXoFXPb7c1j8ajGKyOZbHzYoveiQMzS0gHb/RKEg+jR1NL0VxZVww1LBaAneT7KaFZG+sr9Euo9noQmpfscegZNx/2eqiUsIqhZFk6M0fmp1MMb6Jmv57XQZFD0UvhwPjOcQLXTTXJ82fDRSazwGxCn3XtP4+trm3pbhxpD5+wycTS3cdOrwM98v3FJeWMoEu8fTkfBPRpdEkkp2lZr0oUV1S+309Qh9zPjpfThHAM6u0i/N8oKiBQ8TV4rUkHW+KGetyGxR140tHuidr/cfWk/Sew3rngCrQcjyAljY+sQXleuHXfZeXezPTm1MCbRRnGulG13bzmnbN4GILpEjSuF8FghKbYeaL7YcB0ELXVyQVcHY3gwEXtRnCMfmiDSOqhHvuIEXbM1hX9y5hUr774eBuhSO6jsjTrao8/GS2lq1VHpTktCao7gJ7iR5JpNUNP65nWhez9QHFfJVbpviPgznMyiwaTtalQEyCkp9QVZ5yHlyvpim+PZKE4lWxjMrmq9Um+clLPP7tEuBXnWYmBHO2UyepdI7wfF40fytWgrL0kqR4R7brOtNw8F44Qpge/oLWwAouNXM1ktiystHYst/p0JW/Kw1zXq+6YT8ahxZnT3Y8BUKyPsA0uUENXiOqX0JrMxbfJqjBbwG3DI+F7mqdSX6VPB2zDAmvw1uwM1zzjOwE0PaZl1jYUDHpBJKkm7VlZ9zittwOWzB9ZEDB3aPN0XFH+sm+NkygpncH4U+CThhKW0vcjiPPQ6kDOO0ztA7TisssgE/tt6lMwDjq/7wXUgJn+X+6vTrIOft5C7ywIADbujYk+rY1E1p0Rz90sr8RbKgRKHaG2HOiQ3T3fI5EuqNgbN5V8e9KZOx0Fp7gWfUco8rp9Bn2jG70hUjCxQfVYKypy+KnF6pB342z0CT8WhHUlJo01ephVPfxKCSADPsqr5H7Tj/45Ml/Lgas4Y3vmvsxie/QrMZSLzDgnWBwkL0bg3CzSFWcrEg4ekP9k1aAQnHApK3P7UBfy+hfeMYoFvnC9YGGynVu2Y5NUNOW+OKadoQoLz3dWnrFHN/qkMBzinj9otqs5J/rsXYxHnc0imXcRkik33C0yECRUpgbKgIcEuFDvi3AiLrivW0e5diCgPifj1bthx9M5Qv7/4VQJgbYqPyTDKw1+j7y6s2JgjdknD88ZKQQ1K4xFVS/0uDw6h9T1nd8PczVrEiLmDkcOdqUx4crfjz+HGkHGVU8eOcQ2OHTy1Rybm0XCZjuK3P1umaDDcD4kc4dW7kTcBxoBWShHfL41mghTBECPzcd7B5l6cjwLLGeF6dwoLQ8+ZP+rzcdZMB0RI8qvqjZ5xgwToTfiv7YH8LBv+/tbMVRK8FJgcB1Mb/0SKQvzMeZt+TZEfkLt4dkwBBvEQvxphRfn54Hx1+XJMfp4Dops8yDihE9JudaZxsP9FANXGaNG6KmamRxFhPh7/DH6g9nEMUUuA/gCYYDhDvtkzaS3uVy432I1zrC/Plq2xKD/Xw9jMVsghT+1et8B5RkLr8fLqZWINzOkYTxXCImiHKGZJQDlkm3HPzfN5sO2NoXAF1UwLTryG62++oqxe6H288c2cuB9tK+GEl+GUK8d5tEzgbzT0dTgmWibprUPujhgXD+NJQeDSt6RoW7kYISYvAieDqeg99O65lmo5taL4yPd4PIzNq8B+xU1mGK6LmxztKM4Wme2qpNYskGMVnVF24izYYC3X+FaY2bb+y5YAuEW3lySyArmm517YpSoFxpRtenaoF/PseEH17GmDkGm3eyfz1BoWhURUSVk2noXOFOIe8YxIxO7x9+Z2qQSVUQfmsURNzWrhxoNzsQZEymRw9Li/7qrQQkedXlJ3AQUgL7oBtwpQNPk2fdQaumIIeWgqkFAcFp2H8o4qhlZI5TX37wOFtYc8kNbwkjXyJUrU1S0GkzARlTPmv8ouJlscMVOyWAhCvLNIJAw8OtJNz9LKfB1neKYzJBdIkK6U/blQZelflSyXC037EBg/U0TP0nWvtmT7mRfTDynL71aXSw6mGS7O35vCKNrm+wx1b0Miw6YRqRfkxUpZ21ortiYJRwBwcpIsQMruuPZf19BVthA+j6QQd6AEUJsraHYXZs0YG/hvcVb0US2zhAXvIOFkh/YH9s7s0sEfbY4A7um1PoviOePFwH3tl91tY7nCu7UPbpsbELWmooj9mrQeGK2A3aQxYzTmFcL2P2U/bAa3jcOug/K7NKom96AzH1UVOi7XtqjC7rJsTPJxkyOmygJiQsuBlOr0/iWv5MbBxPO1F2oXHIYDMYo2a05adbITLr5zkeLcs6YZtmJBCBqtP7zPn/gTqwO3n14NJTIfUKpIDSxxQTeFD96i8Vm5ZKH5towYdSRRTNIR3oUZpdajMmWC6G5/WMkzZ8j/R2J00aCK5JXXXa8Pw5u12+JptGytQhAHkfLNWwXijoc4PHAfKWqMANB5Nl2n8JDNKS1LRVThWnSJsKNXj73HTcYN8+qpjX3L83EPzcqwuAcy+wOx1Y/Q2VUwzFSq0rX1t/+TrqIcyqfwVK1qGhOnNkGPXFho8UtkVnJM3W8e1acaddp9eg9jqtzYNNb+e0jr3CVBFHO57L/W1LRfhDlMOk5TZCZCwZntvUW2hrXy6l5KqU8kyXntAKRnFxVdz1+Gx9DTSCI+Wya5SyQsUafE+ijeObHdNS+HW0+DOnpEMof11Fr4OqsrbQDiMZrX2fqboqOC1RVuYsFzdL4wmbKyqAsj5YMeRTqg1TD9gevnTm8CB6y3TmbmnUup8QeSHAbbeh2scEnQy1RKNkW2N3jds3a0ypVVLtmuoqcW03R6pH7MvcXekaSc42bXfPGPB01JLWXNQoy4ihnRhLYvBDpaORkXSaxq2vYxV6vdHANSWk96UBf2oD6CCzYhO+K29NeZoyZj6USBFxiB7LH0gj7A4XUpcjJTy8J4MBPaBiH6bgiAqVLf2IvyG44lKa3tBs4zRrDy59O3RvSIrWCaO/1xwI54QYY9HvEdyMfomuJumRnNQ/tN9d0FF7ccNEvfKCDbtOCyhQRjGfBpvL20LmQiY4SwkgpmYvoC1oomlUkGSjUDnpMG2E0ZLKXtH0+CT6RZWaPGGHHoJqV3gpybawpVXlJsdRwihj2SI5TqzmlackDOX2H1Za+M2P6MQiWzd6jzBTv/UWJvApBm/nLnMLDcqNbYZH0DSdZN/HHE7YtqqP/eVLyeeQe6hrVjXR0MrX5wZKuxoh+So/EwJvcW3UnwvZgyL7+iotcgGdMGkxvUj7HY4NlBwjjxgbNqGIKLYr8VWejFWXxiqwekkvbJil874lsCJRZCwwegJAr5BL4dODyu02ExojQD4S8zD9CaabsmsKUKKQwEAPtO67mTiaHaJVyHyNnfC9XOSZOYRlDtRKX6NkM3ksdGPfK3XPVyhvOPvMJLKkMvIq3SXoxEtPJpep7+K767ibg44lkUmySaRoda0lOealxaP+E0nPduAhABY6pjEcBtb3lCE3/ZLPF07e/K/X9617ReNs/8J763B1K9oEf1byFtn3Og0bcwvpFNGo7yDsATNi2E5iCHInglhBPzGE0ae1L6H86LbtJNiMyj4pnuv3umUtUa3nLsCl5CXWj1ljdU3FlPqoWDAEMjg6MNpnSSq/X+i0JACKPst3YFQa3j+br5PYlmKCDceYY4iIjxtGUHPzwbg4mmVPrw6z2D3dhEH9lut4lj8c7iaHPpozw0gk6IRu/Bo096d7pSpsjz5M6YS6vgpXHNQMCdVLU2C8hMMA7kXc3Mu+GcYhYeNwFG5l0Sj7xHG1pAodIb78L2o+hvQNFqcKzD3kiwYhiy+0+Vc4cZhy1rCteW7h3YgK1zqRgakCWDXhOGoJLOeueK2epW+gtkOLtlD9uDd9sIobd77JOf33LeBwgCd7csAvrxWqeJ2Xgl1zFn4F9sdHfWo+fmEbMiRfriFsj0MyBqQDa/Kr0ve1xjSNFiFUMdBe/cjaPBLaHYVwyXcvfFSzxA0REt6Mkrx3oQkwJcHvz1pNWm1QMVA6X3yJKPXHYz3a2qw6xWfHncEh2RLAG1KadcmqIb3qK2pyJWnj4XR+jnV0S2KKfU6Xziii+tCSK8/Ospn+d541etM+gd9WWpaejpYLJp/3VdWWaqex9YNp4QC4oW9czg9P8y85s1NjnN4XkpWkK/XTrFd/dFzmDnuHV1/eS/NSsKzR0N4UhHUAtIClahxUAcXbqO2cIWUc6NmRZle1hu1cb0p0tRQ25No88Nmq1fJDHtDpU0d5TWfMsOjRZL2wvvOabvGDE8AKWojfXoG5mZYqbdcMKrb0l4OfXPVUTvzv05pc8vqmlAi1IpXlCSljANWRIHCmSsB3D+f3s72O5/5rIcBDNzJwqJwUVFreHFd9KLbfGT82kAgEvNlvF59WiJGIfTAgVg+7SMZwV3iC9chUAE93AIINyQFDQKvReqMkneJqeP66JkPc3TKxEb2R7Bj5nCO3B7L08YJ6d1Tbk84p+qMtkzOP5phbP8rikpdsBzb+BahVWQjZYaFiaQUs9GZ2eskpudqagqYjK/ZkXAPkbvCDHj5Q++wwk20ejbq1dtQ0ZwsQjx49/M101D9/WUJgSQJMMpUCFQkg9784ZcShFn4JGa4cup5zFjtERtytU4K2cs1HVbdnuaq0zYBx/1sRFqBI1kAXPjQcYDPeiO7ty/cIrJ9hZJbeAIAhsTxsEcQ3MnQdmdJCnZadLDuqin3q9BGOkNp9p13jfYRZ1Oq083m2xEQbOZEV5ZgTxA6b2GV6QyFQydhvuZky9q3rNbHnlz8E3wTfuvh+s51yhrshe/ZoXpauJ/9aPcEU7dqxu8Ct6wHL5OMa/OLFs8+BZuU/eC79Rw4MKfJBSz82nAon6Ag2vylDMUUSRV/XaE3n/mCS6i6/cVHBQWKhri8RgFWpavcW4+JsiNpye5tGTPqOYlYCC20/mfk0mrLA4UrxcTNwmncCyV0oHyhNX2PFRuuNzeFiFnHdALVhGIcir0Y27zXEhLzuEZ+LkXE8cmBvBDTpU1Rf0yGUb4RmTigB9Srd/NpkxSMpshXKv1oVG0qMhTjnsjUtVQqpVvlD337WQxxHSo8ced33pxzgy2Hcnhrc1QOb6Kr/6lSUQ4onY0fL7iUk5CIabd5kwQguRHxyNEBANRfTBU1STVIQGOTRo9T6DrMumP/FfzkcsgH8n5QyCMZhzdJHUl1u9rzJk0PYhJ6TAJ5Pwam25ucio/rEKPKeYk/Eq/8dC2IdZRg1IB86WnHXr3vjYSt3E9XBnvtmIIzOungL07leE4G3BQ4jImMlFy+gvsTGwOXfZcCyzN5i1fra3rSPTwILdpEUfxJNzV9ZFgLST3vOejxaHrT/1drXo5u3mISvTf6XKd/L34l8q8hFaFq/c/NoyxcORnsi4ctijEpa/kUBhZ5sQtIP5BYVE5BC0Fv3JDDX/StpLkl43q2DtO/ggWN93nTfVpvAheiBNrxhpYmi3OYJplSLunPUj25pPv0ZORkjfrrFAwFQt+K85A8DoUT4i3t8Njlb8tkZhIIWfGodWSImwSggQQ56iTJN8pORz71fqQP8pFsCR6aKrYkq5GuubsDq9s8ASpS5jX64JeCtc/QicDnFNIDGr7hBwicvzkP9iFF7gazLzuWIdOG7nX8XG02EvRJnooNuff+HfODodUxRWnq7DihlVuNAD0Pi6TMoM6SIMaHBa1qznz0av7eJkjZJ3EwjZm1PKaQGDgXlibf7zZavjZR8hPZq7vsLDvQyOR4e/ifHNPCOQOU0kLzs8uM1clARxABlvShqrchCKHmlGhbPvhvrzwtC9gXoYIPceBYm8xsanhwykzlBVU8u7Dy39MYFg49k8gWrZw7U1XkmDrhZ/0VCetk+zjMpwGt+HOWJLbxyoLnOuJsLl4gQsXHOaq8EytvhxSSYOndXEWysTWkBxCmlYfK3ZvjKNvRAET7MumYqZPvAVoqUX8+DG1/3wPqbTJP6JQnWv2BqbSVuCcPXmkKToP//pkygix6Pazf581DUUaT68hOx/peJ2psExrS4vC7zR3EtSr1j4jY3dU+Xnui2KnrVR0HwtJlg9EwQtXjsFWy9rfKXJmstY3TV715qhovz/SfbM6NA461VVbJLa+feyNabjxULnsAk5QxKV9rbXMmEdYs7F+rM0SL7gkvuTp49owZxcreoKSPeUbXw5/NlgbI+Ou42h0BwuVrSdFND7YkH9bExuG41jAAnKrqrK51dWzO0LQiaHr6KNfTZt0l31tSgZhM4HqHzkT9/fgjP4VZZMAn7tipp3pSx6ugxbXLKZH6e8JRj0fdeaaxg2pVUniWgpw9XOZyXXHLpFLYPbQQStDC0Y2QO0NleSy5vEg7oAOBXAw8QY9LvCt0eyJgDd/nwNtMJE3mprkObLQfGCw6WucDPlb24mjWVvQc5mqGkPjEIxz6W/OEjtgwgBJgmbDDzxZNTy3mRgfLMI1CjEQeUu/29zXtETn4GbgorFVEFmZCA4TRvwa0qopEv1aqjVttJibqX4UJN/S4cm/81TPYJoZB34mHeWIXkS/DbV4FWbGzln5oTAwZG5Zh429ZuOLSy21kd0+fahuYudjSAcOpc2x4twSmzbx6KDSdUP7KNfZLgjwNWTawYMjFsNj9SMerLxE74sR2+Zn4TAWVZkV4T9up1BE5nEPHekUP2xsUnrgTynBvkIH2V5t9OX5R0ez/Bq0xuadvGyZzUrVI3PYEOApP4vcSCy21pDhhXkoNNdwousZkSKAh/dBl/nE/sG8YFts16VSuwvGdJqPPb+jSW4Vdj04ATvYX++ZhDUVQsPpCTjGlLXhPvWx306w5dvgjL6GVceFm0K+YzstHboJ52aWl0fMtsH5KhdfT3V9DjS0pcKSOg+WD4s7S3JCPV6L6LzqAAOzpy8fJLeuscpJ0zym+2lJdpKoPJhX1tpq+h39Plot8K+MzGkADlpSUJZsESPWUpFpAW29BeWf3dRuTZ54BYyOy7P9VZcUi2yq0xO1xbw1ONzPGuObeJ/rMK0ctn93rSwsBtWb+KtKwmQAH04HuQEjnL90IYOamIhkdQCr5c8EYLZ3tRQ1TlqClL1g9I+ge1kfCjUZUwHtOeiuLjmYLb+kKCjJvdDm2o74+R/G7wP3w8MPGXts0ZtgbVHanAE0q14pBA/TM52ltEc/JzfeaF4tssFVFNXSFYGZeI5coX77isuIW8Agp6DcvCMSNuzYkUuywDAwLVx4929OanEoBjkAQRy6Sc5CZrDwiM5dCA5yDscmNXXv3QOQs1EbHzHDQJUvYuuPYGI5ddkUJfZJhx/gXgI+nAJ4GrgootkokUrgvj2t6G6sm6O/krO8Ry1tXCMH3Gn2yy90gShVN2J8RURiZY+87xVwynU0dLU/NdFJOKGEilmk64m7LvFpsjz1BrvxUpBTkEOUFpOB2o/ifoAWcWOjXkbvtB0bf2uRoKOTc2NLsZTVVHTPb455EhABJuSgy9XeFGbzl5QabUCUCxYESU5W8lefa0jRHHYwKbyfQVtMn/Tx9uMeoELq6bMuMBsuP4OUtVsaMVKtopIbM28URI8F1vRrcYyb4w38uNPfGko267oaHvR26mWxGej5rdIPjl67O9R3+G9z6ASdfwZqwGH7csN0YOI2cKsgu+in61mNbxYj5G6gi5MM7TCKPCW+WT8f0HXOzGqgveCuAHTOZ8Vr0MrBqZTf6UXpCSrCdtASatB6ej5xutYhur+xIPuRXxhkI+6DPU58/hdYl5bmNJefVC4Kkz8Bx6Q1WuChztZFNmV/ryy09ZnzS4zUZURzKgfC2bK5L7BZ1rmqooB+2mImhudzoiJaATBF0vxxws5NROJ6Azh09YwRVYDEA4udpYi0aM/2Z+lyt93qPt8knKmWX8RKm0YNPwQfGlUXbkTW8Gz/MKADSQW/bFtTEbB4H1YcCvEZuzM5v41XTWTuGw7iiBDu/4N6qztTljLFO/A7/YjLylZpzXf7tBmejY70slO1c10vIZiQw5QeaAeaypTDkOOUWOnAc/9zfLKhDF3kw+l8iKdtlgAvGXJGWnufgTTSVIJLQ5OStJNCZ1wXsEGhsGYBYZOw0Fl6J3jLqO9vvnsyzI0BrW0hzmLTQl3MAopddP4UV6MIn71RRueA1mBjzEJz9MDr5qz4L5xgybEHI0zKGHZGxH2HRmVsghCD6Z8xeZc/vEbfcJad9+BGb+x0foBwIN+zjhB7N3wI6wLWyiCNrGrHrjDbZWKZkFHXATIcmQf0mnjleyI3oajCvr+oSFdL8Bh3SBKTZnY2Yf1j3AJm1RnKaSyaVQPiPPUNwyTOxn21zLNY/1Y0cneUAA3a+2lrKlnnb1qfTCHRs696O0jU62DJ5Va994FQgRhDJTq6ceML2RZlAum0Y3+aG6EpBbFNjzfHwdk5OhGFYCqaV2XBkoukQysKCGdwIL4gPx4CL0PmB/g280lKLBcFHNiTu5Kddd8rV5Ke9C9RYibrX7BrNn52rbmVLIl5BRjhKdW78lJygO4bR2JGd5Ruv1j+u8mGi8+yZ+NBMf1Nux1wHvjUlrA46A2cifBWVw/QO/b8Dhg/JJJpFwlATwzh5tJvzb/2pb/QHdUre51QGpFDfXrRIxY+MfVNnfd6x/h7GxuJkzzdo77QF/f4g++2gfRZi7sqg8HvLpJYfsKZhjIUnyre2tLs4qhOI4Jz2noPG8XbV1cT8QH7n2VUPZtd6OxkddDN3ZfeGSDaePixunak6ZZXTFO+Kz9P4AWmRywXrW/jE9E+/cUTnSmQBeBNiX+7B6RaWvhYG2ZF4ORJg742B8g7hk7xkrdnomIH6uc1/9ZAKcHsOxGJSN+iyPx1lc1UsB8xlf4bnPBFeqOjtxUyE6F8BiwDtWGlhSGZqDXPy+krDX/BvFmmF7dAeF1iEjid7dIjg1Gb9RYn7bPqTmSH3Qm2TlT4sGB7bOCHp+EBpv8gecLDEaXvDJzjWZ0psv/y8Feexvh8IjG7t2DVfJVTkt3rz8nKeLowWWTEG6plah/pPHuNA4yfntjbesZNhs126g38R1bCZ65ZmtujUzbNn0gWtvQVzQQQKZMYperOnbzryme5xywxoXjjR/CexfJxm3dI1ix4Xa3KmM8LMvRzpiFIDQM/8n99M3EgwK31cIIEWldE+6Wixr9TszuoxbAr2+neiZNzJbpwOCu9ExsSgYCnLDXyUI4qPCsLbB69awOOCXfc39MPHaIlgqYdER/bdepm5/RKxPzRUzEvxNr2IEC6McW2HgvPo7J8fXQzwQyOHOKRnUHq5wPVltfS7IqpSeMDTW6BlC8M3cd3PKKlA1cYhq5owmLhlOmVilk2++1GqpuDq7DAvd7PMNy8gh9+g1JN7oMICCdHjLkGTAbjfoDN0VZvlIoolLUF7cJQG9fhLp2Zc8npTTFReuof6E76DpIdDROs61oPnZDhCR1CrirV2dInNHN65ppZleMzdes8zDcvtTCzFv4ceTphzgfrWvA8B0cMr2xgJSt8sm1xtP3hf1uhbdZtePElMV/Ch2N4WCmL3OHNVEt7R3I1Z368+ve0cFz4am6ONWBu2yi07H+AVJ4oHrPFQBxE78hZoN+dF8sgQGKS5MZbYveC/HuiTr3NgySJvpQ3sbHvL7tOEf1UiXtn3BuNsMAqJp0p6auoUnbqrnK2YsU4bByS7D//PFZ8IHTUJkC06skpnwDvMk1j0b8QOkM7+fzwWusjQfbmgZbue2jhUm20Ga/86XMTVbwluJ+dQix+BIb5e/RZGl9BZa2YF/Y2YZkFXxmQZszGf4bnbiDvB7wLUfLvIP8x/lhBTD1A/FI519aLDQG+Lc3BebSRvmfzY2G9m4atCddlBkNKLp28Vnrn/vyaROO/hZxTptGpPEPE5gAo+fOgIBM22oo/Vjck66d61wVZLSi0b2LOh1r9Axhc1BkGaMi4I9MG2crwbHOHDcWBto+n/AsNLlI2Yao1Y+lXbNYeBGt2NuphnPfhclpJYId0tH97uIeC+bKm105a+yBdF6bFOQ3oW0n7/W0ORwIF7YhMsfN9n17vdDeKnjUeRQFwxWjlPwNXfUOmk8GCuLdd8nPDr4dyxf0HomX1z0CwsiOeWCAeDJaNIy9QHI7058T+uK9OGPAeYe3V0CazJmtIYv3m1XLqa+J9WHIzUxCYo/IgTTQ3tUZ1iy9gjxtUiY3YRUHZ7SGf0v8TyOBotccPZoDbIE2raZ4jKT3ENjbjdk+W0vgcIyYca5JwKu/CQvgW/r6TDRxHMpDMR/sCnk6N+HlEEpDEPusiZHRb3rR/EHdThL1WGq+Wnnbxv9u9xWcJUccT8wVGtPEDHKZzCXTGvl0Vn8FzRJXUWlrG9cBWsoKSGj6EYTFGZ194F4lyOk6bpteZIJObMSbokYlR6AHq/muzKlNeKcktJjBmHJyiMPhVx62z4o6gF/bXIkPXtSm4y0T0+zi4ixF1UYQQHzRHFzLXqLB6/K7NVPZEsVnvqeKG+B2vu0Q91Tjsf+bObekNjH7BVicRKJPWHvPkjGBhDkt4mMFACJawdd228gQaFsftrXY/g0sOa2lafDIrQBJB+rSTws0xFYg2cRN9mzMfQG5cYdr43CDu47mnYxKZ5pDd8WaXGwVhnRjQg7/gepScR6sL9IqVciO79xfM5CZv5DdbWtjVaJjBgVYkyu4fXnD44lRDdFMQkYizu5pjMrvLZiLXPTdyQXGauGkfL6ANtTQ7ilCvcbof1yyRWf/bR8mbtaiOOdjO8Po1zZ96VWqlfXpx4UidmQwqH6ByGrcgr8uIUNoDzUI8FnczGdHX/MfhI99uoI9kwswZ+VOBh8HpYhu13+Cw5HN01z1eheTRMwdReH6Gc9KzSBrnJ9YuUIfyjl7PdsEIHd+SVtvmVwpl6EaJTpbs5ApiEjrrKHq29jRk3xrinvOen1MLjb0VxT7cwQJynBdUFsBCVazV/n96M6gObV0aLaPn6HwT3uJ2e8CCM2M0aPyxSsFWjk9k3pZyOz03j3ni7RW79Yx/15VEsL1iIlmf3rUFC6szqQ8B0sIswctvpMozmGqiuVxR+2vsiMCZpi4olfFsYTiMmmZNCBtIn2oE9Yra0CJhU/cKtg+F3t5YuZy+gNg/U1Lq718+egXQM/cZd4ne/zLSo7fHm6LFyEWbployKg+s91l1gOWd8IRh4PS88VnUKX+Ydy3eTyV+MJD413ZHEmxQ3jPG6Qh/iNcjl64QJn6F5NCPqzZHZOUus1QMFHAfUz+/tKC0SQhS5W1gI++AMzvRq7bF1Rx/9vcfjcb9J5IvEFTqOsumdOGDOiPz1NQvaKzFhc/+QhDoToiiiViRAcvtu7I8cBB3OaAS6qOJP9uf8AH+eVUh/JhE/PHMomyoQ7fGtUIxkkDuqV+3B1JofYfMR7f/P4aO+zmQaOR45qiU9gOy2XFQmaNRycFUNxGMLm9Pc26VAKpSNL9DJkw0tnm2l3YndsFfgM+WwbGoQyhzJey710kA+tmQdOt4my8Z6fOY/aYKTHn88+ruhm9vGoTF9zXSQETo+9lEnbCTCRV/ZL7LUydokZpFnxpNpyI5h/GVkiUMArWzt9EnT/BPkj3gpzaud0WlO45Tl02ZFy/kmwdIgc2lsnJriG0u897t3HgHhoOKWcGgr4OMxIPsEWVk5tjXsUtnGMuhhumXWz73DhXih/Gj5Fxim/796cuqs+nom354bD69wDzvIIcNZ3SlBLy7WBazcZphqaPmwUa6IrCgEYZl5y6icZyPk6ow5Hh8Ex5jB6QaSibCShfKOS53bjew5QlvjXzIxU09jAfWtD/fNwoa5+9r2I6VqTP/yZu2gZCfRMPLa/Wcfv9B8enbrCeYXSLJdVuj9IzjKoFxmXnHuO/iRAsx362+QXczisI9t2uR/H8XC9mh3TYRCKhrO0oB02CDGDRz//puEp1sx8HDf4HCy8/eknSRJHiwHORB5mvOrYBSPH9Ug06xN9E60B9I/bRUc0J7Uzv8/0NcmQv8LZpB9N7qs1lo4xOEcM6APbRuSEs4teFQMNtVvHYqb67myj8RjSudsR0eimq7onVZL4WMDeocvj76Y1B3vNecj3tjVXxoeW2egy/7+2JP9GwAnx56HUFyrWvNKChbty+YHqRhbq7tL66XIxdBaRemrtHlARQDElNtYyJJ5ZfncbVgsJz1bq0C3qUlK4B/JrjapdgD5CMI6S0vNVjJLazG8mdbKr8CE/fgtifTu8WB07EIWJ0Dclzk+Pj1O58EwD0thqRMRto9Ah5EmdbnRHOYMXygcxEFxryr0clV9OF9Z5QyyZ/57MPe6SnEFWloni2CHMsfN54LGJCOfu5lMuFmP6uZKnZ+HBAt3CVRAzPU/knNZDtfUR2SA5CAfprq12qLW7gv6pMDutuBMBLPH9xWxx8giZAHg4nTCD3GHyuvDSciPwXcq8/w3qa7tgji1CQXn94TMOIuuiX4edt48DxqQDHDM0rrrawcVDpKGrv9oNLH6RsHBl+o5QgW4oBggGTsMWCeXjwHOjfCIignoSpURV0NAxEf2Bx6AtAH8pfCz0McuvR4mu9aXjc9X0fpOJ4f9VCsAjFYp5H7DCqkUfhgKXjCKJDIHA0ORX3rMm8Wyj8ywoPuwwHNzREL+pFbnVhwhbiHtXaF9YZXd7oGT9mPnRbetzACkdP0zabBqS677L/nWDk9CGrA7dD2RwzXexlo2kPf5tut+zWmkqsCVkLoaxP39bqWebFS4Jdl6DLBHs2jon4x0/EDOzD5At86MZr1UY5DC+ktoemXXxjJSsuFlt6e9C4FiK1vEdcDKpc440pXe06qiWKQHKY02YqFHtey2L8GnMIstlB9ghN/mgWujtx+ouxshPXmUuin9s9MzlafoQ6vaF6ggMl6edStpkkmopJ0vfax6NfgXeoyU9r0hag+UxqdJU0PFW+7+hFTRMFPtFKsiWt6pLDyQxkFtT7z/KgetApHMYKV6KuN5Brtm2bSBhfb8ych/cuOBhjNxa7rCNpbDEQFmFHLa8FwtHd3outZRixwV4sUimO/q4ApWzEO3KXwARORzT8TTm8bXO9t9oR4G4IWDE7JHdhQfmKUsKeWGAYlnKdRGvgj5CwmTT1YPiuR53VIJxRGgv1X10AuEFca5tYbgzEBb34nUAYpyXv93BU2Dh/2G+fQiHHlODPjX+Q2J8IQvohJ4GdgYTb0n1c5bjwjngyBmLKpKD82Ga1K4jvdOaDM5+27gPIfW1edGp2CWvgj7i94rT2+XTFKCEPwqQpyPtrR5G15yt26mt2m6bnRTiPs40Xzxx3ZHbtMLKwi+YYMdQg3U+/M055PxYO1RFa/jGUeuUyU5OqcULTx6sg7rAH51luL7x13cdTqKv7RbCfSw+FSeYioEPJJPb8/W2Qu6LSpXKIPSZskttLfdgSEMMWjdD2NmXwyC1Cb4YCB9xe+x14cC54Yj44nKPWDiSmQJ2HcST2w0/eSgQH95x3cDCdX/b2wfjiiJjmIVvtVFH+YSpBryCp5ARHp6PK5jwPqJqZgD3wlNjmZzvGAvO7SHigIKOU0sFllmMfVPTG/4F6I67C4f/0aPKARrAaf7ay57mC21V8hEHRO7Z0Rh7c6HFvEBnMcnBlZRTJMWek2CXiCpy0g3NEgfgju5NcTnb0yWSdvpP61h+j5wq+FCp0vf3pK391LJyjgHbS5+khM4t2GeZNE4y27x9szqYSUqlWXHDRgFtWOyc0usTbanWupc3eCdtIm+AQVLI9ok0kMyDP9W7g05QMBCi1caJkMbzkCFz38+Lx5eTu2C28c2o4JEj/Zs7fZ8eW8OhlD2oh5JHPWCKHxbLybBc/gsqH1UgGwmp12on3EcXzpJXbKAAPkEKLTapq78GVjk/8obhf7xo6EMZTbOGhD5NndKvPcN2MOUkyoN5ayHb2c0YIkd2FnFJf0mwC+/14IfUT3hF2zghTPj1n++VkpnIqzaWDfZ/rDIZp/foZUMhEMT2ZmYY+0Kv5hdqHY/tz32an96PYYXF6L1yN4dSTm7P9TqRjYfQ8HkBhpcX0/jOVil/NiifiRl8xDuE97CNA8AhGDqcey5Fcx+vbfAjwgPSNzbtooWG5jvILQvHdj1ZjwkpMM8U9a4BFYst86D+E+cgjGsCnnSYE6Pe9Z1x5zy8HgCT6gq2qlmannA7ArWSMXDlmHhU9knUn6qb6Ld1z3fA79MBUiUCQsl6+NhIbAzWqVgQRtktBfSCMHxpE8Yn8+QIBhGIIMJd00zxksDdbVhb26/P2A7q1e9nB7kMeTxj+NIhpES3QlWM4U6tlBEFuTTYeRfqp8T+ma61viXiFE91QBtihVpG8BvBJiy0jO2OFvcd4NV2oKHRzmNeGa8xOF3cNvyI24OORVBOlaExVk2hFp+WmPsL5HcgX1tTxTnQz4Gk9lv4u+L29TpH4zoI9yKioRxK5t7Mpo9JEiQulUcCxaNRLe8Mt0LuCOrUjzpwxJ6qZBmAGPqk7tFH2sZqz8TgTHnIo7rCHynm8O922aVbh2qa9GhhmUBNoceUwDabxLwk8JrcxzRxXob+EBPK+JTlac3GFKMt8eBNI+5s26250ceoCqIhk4gEORjbMBJXfGuof+V3HNcutO7uNQS3WxVEXL605ecrhh48lvcL4Kly0iiJ3K7LTj1cL//zIqBWTpJ2La5bHbcwPUCsOwCFPn4O7ZD1YXokR/tXkVVOW/yYiNw1IFzq8QPa8T0w1922XFIpnFiIed3JeTp2S+jtUAIdLS47/2ZK44GMUL8OaRXEOF95ZdFhtzj/IkPFauEWGwDOLcrgjZjTsVg83M5LM7iQ+y1urfh2WKstikCHj5uUvlsoaa6DNDpTW2J11dQdc6W8MhDpv9vvNfiVX+DFK/xSgqIaNSiO2s9Ip3vtIAI+kXDX27Yetwmt7icOvqGw09LB2XbE+48/XI4tPRC4sWWZSaU9SohIWl7F0u1UXMcxgErQol32OC32x+eb4SNh3oU1XcZP9oP/eO2qBJoFgPRqBNs0FAN5L8hXArMwrdf5ZcFu5/8KGb8IjM0wM4U0K91aFFKqT1yd/+kZx2ZS+QW0+9wNMsj0icX02JCCM8pPmmynnmf0d6Jd44f5f6hENsE6mpwlxOzu0vo+0aLzmMqxvl3GB5qrCBAAu7mrX9pZ7BpKCijkDUIIZlWTGud+nq2aBW1VpVrfCBiRWeaUquCwXPQwvuoDOClQEdUXKkT0nLkL71UiLhZ1gVSMS++F3brVbaXHhge03lFNXpTRD02mykVqICebA2zhrpOvi56Yd83pnG9/5IVCdJp3PGHIEcui/5Gs1TlqjQfazQXp95NcIYzhMcGcVufvfEKRx70iYansPnlnLDVELRfVoihYTUST5yw5Pf3Su8qacv1GAyRsGtUPtrCrlBw8sQtqCIlpsnsJ4o4ln8kY6Y2Js4k5pNOTeC3PkH61jg1uxzIaSGCtxvZj7ojLhJ4KrWmzp/ZhO8rhE6MwUi7iB5OSa8NS7xdUHhI6Iaxdwrw64NRVijF6H4jx1aKk1AWCk5n7NjO2ebwTEx5LwW6GFwUQMwHU24eaaz3IjgCYBjhA7/eRjCE3FJVRaTPl4gzMpSIL+juzRZDkFd2ANNtkXEDApY2aQKSRsdKZ70nJC/X86M7bkGz6OCrF0UzYq76BeC8AYzUytj3DHQgtU0FUTup+btVhyIiDVnpq22sYqCMDI3y2iXJ2gGEL3clbZz76TZVfY00pIMLzg9fEB56Ktud67WaELjrBw/XW0i6V8NjyppRtQBpZZDiHJ4B6zjvv/PAVsmE4gGBazrMT5GHcbpJzYq1oNtKZdcik6fGVgr6VWcJLx+w/vViuv5DpSyG58PkdZwbbgXm/q9HBJnOjPG4rw6SjnNc1sqlO/aLg/ysNq02nTsNAYguxV8dmzz4vxvs61Xwx7RRbewaakEPZH4z0W+VuCDwoJuX2wfll5ML20yTwpq6fjokxFTtZIcB+AF4ZlX4dJyELYUY6yli8vhy7wY4IlZfLCZrnV+pZZRZh199U4oGvu4cqQBj2TA6acKdN3Mz7gavRXHV/B4OU6LABILbMIDdV6jxaBDF9j/GVaTGb91eFXXOSBK387v2DzH5SjhD1Wad+RLrC+ax53Zzd3bd7wykvbL0MtUlXgxP/LyCcRGDUDyLAe6vtk3FYzbK9U3DIwnZfIarZb/cv6WwtbrqP9dP2ZuGEhK5VJgN5a10ll8elaJzx3emrDcBAQeJgPZdIXtq1RRbeXZOuwq7QD+EOB13bj9EBGZ6RShBsynb3+YfCwZnEfA6/KfMfOZaZms45t016owAmU7P0JKOMpKRrkkjI40+cGN0Sn+jjEoAugRpe0eTDmRlAVzhDSuP9lQW87XcuJXgy1zVNisTdFmMXF8fQHQw4mW3SKdaR7P5QOH8lWQFfOTJiR+VfPLa/2uKSa+85510xjjaQn0vBnZxycfQAn2KRPIKfDLAg2Q12Kz7GAlWyRhNwb7NoR9B888qrSiNXC4djh0FOqxHokIbkdJa9ThCceH4BUv72x7kM1ILq699rt32n+WkGD1G7HzVWeI92/tmTP0ZpKeWKIMgXXq9cYDQptVo7JQfDAbK9QNxyqn/DGjrFDTT9uWOvFeDg0EcA4zZaRKAxqul6xQc2wBsDfMqATmGdHG0oTj3IP6FPktu1Z6ja/+fLXoIIJw3mirWE+dCdKEYgM2GN82fA+92EWRXol5AUl+HtaPfbPletiIXLlYQ/FFQ5I2Kv3SzaXzOyVD2+t9o/7LIqa1SLU0G+kk7F1PujJy3eyYk9yez+oDSXLVQPI67GnS0kLeyOlYxt9Gddo65LVsaRmvtcvdenV8EVO85j2PHQBW8RCFbKXLxwX1I8O6oFMEOnil3d9x75+OFLsyFfwzV5i2zgjTcH0Bj1u5fAxoxTQp+qFGsAdZP1w1qfZFz/UYgNbqF1s7/7g2VWmGyD2i+nLqkh0qfj51+FizuHTXVnYzKWr5pHQh/rbu7Cav0WWkYriBCMHHXE33fKjvmWtr2ws0qtzfX5bi3RarSd2JuNGlEjl4LDLbiVgzqOv0VUovARghqTNWZyS+MmbxmllyfmVHwqzzKhY6j+RaXlxCRMu5LivSnySedgwO37uPaTDtVOHgLu7gzwVSjUg57dFv+ydq799r5keEzCYhYNl6yWtkINYQP5V6VorFrzq3eGxg6P4EjGAnRFjis14xRfpkznG2ntidMEFlAmGS7E//Q7rHdkgwdsI0ub4SHf0uFgc6eaTEungL67ARSuEVXrYuRQkvPRyzUBCtfrlEE6H3XZ5CmzbnsXDfDGZnPjhaMJpM5ufxRlpftbbiev71ZqBGI6RRYLEYB4zBlJfYfuBdev7bUrh89b3BHzbIv6ScWS3VQWDvd+GgoVNbP8UmV7pK89DjZDFWx2HWMvR9Dg8IvObItURVQ+sQl+aCPTJ4Yy05st0oHsiOyzxM9ACf5A8xATZOcxrknPmmAx+TU/c5NMtf+JLKB4y3KQyJfpieFcCPVmxGuIZwIRe2Tx07WEBtpvjMmV53CQWsShCdmTIXD2/FoNvagFOea2alHYmEoboNZy4psx6SryON4eG0K/kIbx2oRH7gC80HNWY70Yr9iiQO/lvec3TGBepasC4HODkOdXOuP2ale60TBUKbTocPM1VB2Yg/eHOfDNUcDLN2kxSZXq0WyRnqMSRjNFlUguX/DWFsPbNTWL4en+Sx5NoX9ieVjEKgno5CWeBqMK3dXcsMvxjhMOZe0kNn6RRgsI1LutpuDn+nf6LkyMfvXb/bt14/XBuYxMBwd2yndFw0NX+UXFujxHL5mdOZA+jEn8iK3jRRKjKVa+7VAi9Ev7pGq6bQ3htbQ9npcMLtdPJxJJb5ax/oFIv6oJIIe8XnvmUoRViwx2XWQPvc9WoIo8yuiI0PNvxUnCaSHgW1yewbJ9yskrMutSCzyhkK4/0O26NYiu6LbuXuQD5pVHNgYLqahYtn0z2V+AzTHqHeb09D1adS0jhN78oawQtKLgfqV/FVL1PvriUupib0CmHcfqgaVo7FvGkdZOpCDfmdwaoaTck+RUAbSZH/4YUcGdMsBmymMPvdil/x3Bqwl3drTpPMcQ4VvRZg212fRYzPVpF3ZbHhAAaHf8hXwwgJpFGcQ1gkhWxTJiXOpMy3zmWq+Avk/4BdZxrfmSt8hpwblny2Znm6mDPdLqEHQS11j7wIv0bChc+fTWrZv/S89jj+2LFUUTRIfJq3uBRKrPna1RCQs7lh3TbtNFDTQYDpJ+1VfXSOm3MwSmKJzctR0FTEad1yGNUrjFtqI7hPcHeDBHHWlGA1jWp+drX+hnfIDljZR6muQyRrbbTiZ9Uq9fIGfexAT2XRrN/912vsbGISKSbbSslWLv96mQJEUDEHYCxy0bQ+5e7UWpaCLAnPjCCTZyKae5B0jr6ExmeJkiQZenh6cjrWC0TqPuDGUfU+h4sfD0qbOWHaWkJTXwo7IJkXS4auOw2DtsFbcRQxJ2Kkr2JzqIzsS/ostq3dIFoyK9SmfK9yY08stutwqj7mSD6rfYVkA12A5VvLQslM+XbTXlk8GxsAiiZewrZOQqKAXrkJl5/11h6JbXU3kPeFEtc39r6tEqemsLK7Y7pjSsKLuMxW7rM15vGoNdYxKoQsk9WRopIl017Mg47lIMeNmtD6Eit2k7F6GQk5NIZJs76ssv79xoeU18fKgdXiynt1xZAHUlqtJNROtWp1LD2Wm7/hNZ/GbnogXiVX8qGaZHrXazpARwkS06eo7GYkD/GHahgGdst6IbbUEtYIv2X+n3sUPdYI+cdnywbLaEcq+xIFXJFUHcSY5EEXUgZxx2ptHnGn/16tR3VTiopbe4OaZrCdlmVGdGe9s2DeIE44gIl+xNyju+b3mJAEwc1p8JJPp4WwKG84skO7Ao63EgjUkcnz7BP9QQ6Y97kCGAzR0FG3ry+DwV9wbzo9YCwnEZPlvvM/jEbrMtDjRciZP+wsy1E7MEZ7A5T1ZAh3crxy2irhDfDgQJQHRziwpimcegTRDVV0DmkqUr/oq55eq8MKH3/3w0zzgG3FDyQSEuM9VLO2BcbL4r8aWAb/1mIiFuIwslbgXNSbDr0d9IhxhKzanWjwD8iIzfm1ek284pSU8QKnBvNrFuRoTQx0zH0WSqR/l2h3eZ0UcMYcSyyMA0/N/s9kMZVPJJLHEtQVj5uEuKULTiXN07XebKEPPBdeN6DMy55/9o/sEbz+Q1klKenlmHgrMu9jBKbW3Dc1sCVopO9VbJ7ijqHztifMCzbVWX+aOdYrcJZPSG5B6Q7gylV0tC1Dy08Sn5aN85vT8knPhQZDkhkInkGh5ShzirNGOSdehF9hDaLqVHzVirHlaFCcZBZmJsc+UXPKmywWfIXeyGvbqumC+8avnXhnAiSdQ8Iob+R/yrh5NK7eR7o19ZChtRivYvXGEnUysB195KMHU1CRfv1TRSrjdaFMkLP1Q33tbvz3zFESMJXubhJ7QAWCJvmzcJSvjwXop34iY7L9ZYoMQaZFDb2AfJY7/mO+SewjGfzzEL9zzClwAQrjkJVPPGfJYCtJbZhbBRSfM2TfA1V89KbW5j/VWfQU/R/X5lkdkNRBwCCuWvJQ2vFb0AVBnkJeJxBSpFpXc8YHi6umrOlSMbCMF8iqDPkgdZffz8TBXneUtj74EL2NWUxZ/jc7S0ZUqYRjpb2on0pKMfKP0vyScrLuzH0L17yfnJnvxi2FTnW+gfGDbbhSmg7SzMrYapbJuiMcOSsrGWE0cjdNaJ/xcrwtOyDIewsBZ67ebh2ztTSS3iiRw0t4Z9lhD4gGqwRQQcnuXhJWcyX1P7GVFZGZlloqQ86zFWzk/FdqfzLH69zh0BN8vPA13LNtwdXQrQPyQPHv+2WgKI2m/OPQhBsdIN+VibfP+qkDmr2dWxsG3pmKLzxWQBRq7fPNn8bMRMjgGLLdY24De6Ty/L0oulVhPJ3+AIcncG4MWc2HZHvJIP9BBqo1KfGlC2j26biZCchkveKEKcAUKKvOQcLZw/cMYQJ+vUYThDW5E6xR61cU8ILcRhbjC52jr/bfA74dAeVH3kOut5QL1Zt+Q+YRGE2On9Q8G5FAd7KV3fndZ4V+a/Am7hU0qxF7utogFW1aGZYA52mudW6uiZ/ugGKyO7hU9ULXY82j/jjxHX8cEKYzqfFjwaf4pwDXdBq8C0hWFov/tyMbALkkD1lUnaVDi7KngzAvkdcgJNgdgXYESd9I8H0Pph/D8kx8QQylylwYh7UMfxz5/3xxic1Sr8Vs5jnZC2RD9YTD3NgQZNjaW/XDbSors7Iv6aHktT3q0it1BV/AqsgpOTDV9+5DfcuWfkZ8ms+CLglSOXbS8Bx68fACqM6+N/77Q3BGh6aqZ8FLB8r5FG+wUodhKgp38CRfiCLfx9mA3zuzb0Twi8PW1UIJTy2FErAKvYQ0A/5an3dtVCnr/gcaw5bnktr1delJN2CIi1Du6/VD/CiMuRe6YwRs3n4WokENNZoz6wPrBWmrKoBsPUOE4TldZNvN9cDBPhSY4uD+l1XK7oCt5Mp39VzMDVNTSW40F5hZnoNYQequGCVPOwHVg4OuJJeswIvWTSdK9hgIiSyc9Afqtni3zS5/sHqd1lc3oiGWoLxYa6KOcL2k4rn40xWRUGy4l7J1kHvDi3bbvKsdZ9Ld/h343TYRGAndVY4Bg9oBxGG0J8dBK9a8ghB9dhUAo7H6X+SQ6S8VxDSF/vFV4fMOuRPvWVwUl52szBgo0dfXHXmPlmFhscXGJv2WeWpajXOJu8hzm7h1rhZeYN2IAJxsuytus7WgYWKvg6qWQ7spaoUmICUDlgUNWPIwrGzvArjnOrlnTJIAmNlh8FXh6x9Z+BH1gMrA6owd/4Ks6yRXM6B7lqPR8NeotAEpydm6HEKduODtchsTLr29gPNDKNf1/KH0nncMMLcgZdgAA1l8gxGPHb1Sju8rq6NMCkMRTrqlX/3zsgu/b8gz2eQyeclPO4C7q7OaOLGYOFLv0vvHye0iy0YZ42Nd4Gb5P00gqhog0RzFoPNeFKb5ZZ+0dPUw8MMWQ62mVwi00ZMSDJR70vN2fBwUsJRnWzuKFImV0Xc4bhIxcHN+7kLUp3rqdFIUnAFOh9DK3af0tniUtJFesNv26zaw+fbuT/adf0Zi1B0sIJ2n9E4Ti3aWEwk1SnbB8AHe9oFDebHIWOI3X45enlhszldMIrx9W/0NV6VVBPqxuMYneyGdzWdiyv6VJLz4fsU8y5lssSoetvzUZlPW3mu3H6u8xdsFURSizmx3UCKtN/IEE2AkngM5wLRoT9rKs/HpuSqn78FzYvbC2gKmv/IMdTLNqRfx4un3PP/JYvzyfBFqhORswGszWavnDvucZPpHrbGe0h1t5jhYE7Um349sw/e8834d2SiGLbUIDnIbpccd26EvOsXu6eGcbL2B+Ro4JR4J3+cw14BZiyFqRdmOZ2L1N2o7CSFCx9yW636suR/zQBQGvT4NX9hvV3LGqb2/+/Xi/pTdZsw1a8rrqHv8Yni1vzxDlZYyfE1ZYhzPDsLn0R9Q0PfnpXUt6fJ5iYl+U8Gad1A+23yXAXEbO7quxQfDSkOksixVSrl+DndDkjMn8LZjZdX0OL24ZvvN83df7J4sq45OCA+swjPNBN2zf/eLgq2dETGGkn91D4mPR+mI3FWJDIPx95/JIqgFtVpcO/1HdIqcrwWjsRJ/Na3Bib2b5rK+r5ZPQZKi6UEiYRr2VeVT9yvXJfkX+JVXcp8nkhokRNA88cGVWlD001JQwt5phrT/+ba38q+dFMJfUGF3mNqSg41uLKFybd1ylb+7Be3rjDYy9ptQMqPAp+w3jk+VbXPevqOm1rTT80aEGR+8RY4iwuSYBvUt8Vqh/RX5b4Gj9PaQEVrsE2UcxFH83uKp/bGUYzeSy4bjemWS+R2yaYEh8CD3SghnkkQpFD5kvQocSA7kAqwgi+7scpprVhqI5Q1qnIgdxMSKJM2gVXKNgSUAHiB4e2dEOh+Ke3qkRHvXJ+G+d76cOfAu6X0Po/uBFmwbKaWZLXwkk/OdOn1p2nqCGSf7yp+ypcPL3X8fPkO//FBMHWLHnXTHFzD/TKad8hj9YMesH2cTsTQoanmobhmvWRmXFgPSoLLcTctXszv7j9LR3b/Vk+2EkAbeiLH0CCHmyMO1LIVSFY3zOTMgnQF3pZ0lGJGfDlkHGAy8mzNqrfrBxzsm/Eu3L7B+Gq7RsyPJVxhKjOyU7kUtjdeOA4CDBGDR398rZnN+p5MATDBPXwLV7AylX2uWuCo/TvxINCFoXZCHsuEYbPQb0sTo/p8fEYFvEXd2DiPGLvJh1CUe8hV3NTC0jaAqH998fql9AhaDHks8I65VJSuBtURQ1ETmb5PXmGQQx+M+cuG8ynfd3gPfQilD0qD9hqWWspnciiFWvCiXkWSu+dHLjjf0wGlikVXA2FEeXOpqTo2cN/YGNnd5GpGUtfvIRnmXg3pDgck1aepMe/w8VRQitGlBvjkzeWE8KSPFFnIlEJO8wOmyPkunBwAV0tNAORqnx0dAF1dfAsftJ+8xG6alG1DeO9FBFhyqmGiYR6UEzkGT8Nnx1Hk7XTtZRyf+qewXiYNV6i/1gR0etim2m+yZQt4aMJmgv1k6NNxh8djO+lGQNnU71CJn4y+a22ZSBhLlko3E1s0N3nOMnaCMvTY/f4G+hM5tZdpPzjH5CVfLLFdYGeSphkJpu24F6uKk1Dn4XpyR1noS3yq3qLpvZVAQoXeAs3+0CLP97dy3+o6PGgupcgGUOzYGydz2e3w6gyfKb76bgcwJfNg3LkKGr8G/ILJFiEZ7LAbyvCdBrZ4DaX/Kr6XMwhl4m8O7yX1VKGVFxHw0Jl2/WEJcqvFMVchOTLjp1dfTPquBw4sHfSaLyveyuG14d1xImUtXG0N+vubuONPPH7UQrHjIhUfSwRBbP7+Ud46rsy0jW9gnnb4n/z6N9ZIsZ99SmJNEZhciapvYhaCjl8ZDdrfR0uLiGJe5rUNI6nls80Kjg2mRfNhE5QPOKlwZ4xUlWoN9fcfv/7qr5yu/znvAsEV/gbAm2HbLnrtev62M19o7I7UGy4x8Eurlc2nTJFpB6oY65nA+CYwJ/DgQJjCPpudHVqP2ucA/f5QYMu4w43PNzNNGUBpzV/Xs4+8s9b2RkAR8rXS4eSpcWaM3jT4gUSbFN0N03WTwsHd0/vzIga6jxR573jWNKhsr4Wol+/A8sltCGavJEjqgo4R1gWa/0TkMIpiV1tjHwHUAfP3fmKhIND/8o0wHRHY3d067a/aHzIjIFQyVD0e7ai6wYrVJvd+/EQM8qtRbyY2SluOlArnHXJtC57apmwYmO+jRvXSYwPbw7QmKoEuQmfaaX5CPZcDxSlEWIDMDcPxheMM5iKT5A9yv+Q3rxEfIwSYKJ2d7o/SiUZf+MAYbeJwu5yaWOy3qnQzs+9CDRTL04ryJ6fwS6iHE828yM7qskIvuEM3ui0Ot4jhieZC6jqam5atRdOAbH6flhek6xkKuGLejSXnzy4KGuROf5258pht3M2MSoJjHK4RNeEljh8af2kDqnJvKqzBE8GZ3xwmPYTvTvYb/CEDrycMm08HXAdCksEE4lGUC7ooSXpcZU1ck+v3QC4ccm38zKyFhUrMJlPyvjT6PP5D6U+J6rCynlj3mNQ5FivPoVo36tDUkAIR2Z1WTRAAAOuC7gSP/1W/izqDybQYInTBbMW9kOHc3pOb0z6ENagBYOkgka5U8lvVYZMQg1trs8zdVG1ZDWXEumIsEM3ke7acU/D8oFgytDke62mzmHTKSVB29nTnQ8ZmeYspOIRxbji9eh0uH5M50cg5j8qRvJ6wqw2iu9qBjm0QkT2Pb2Lluj6kiga68Yq+L2VDuGPi5ji6QBrbjFQSg9rWBI/2BBevErYcUflelNS7G3aGstcxHU90PfYlqph4p4y6PKmhCbpFWkYHVm3gNuauZ75MEb8/RpGsHVqV/0JrA8BywBSmVK7kVo2bpZcjHKFka0xdB3GwWiJwIePS9FYJx3+ub7xfAjLc2jNlHUpvEyIAk9jvPEzpGvATXI8GzZxn603Wo9EJWYE0RwlxV+7L5e7uvhqo5fw8v6mwMTBQQ2asmAO1QJkGu/uT/F5gPOwSgtRvgpZ/ABAPPo0kri88HeCxWu5Gzs7CsOCTSw/Q1G1x4pt0t3s7OJsgrhZnnKap+MRqqGomz+WqS6UNMlUxGBB2Cu3qhNtfBM8n1XF8fCaGFEMgvnKlbSmyP/EAqeZH4wfPR2RNJnrgygeLOlLVivM2QI8mPrzoReJJ9Ker8ONHrRMvZgN+L5apV+C8u7DMOHeqNA7rAN+X3BbLTmUpT2lXmSeU43R7OKH/5lZdt9Tj9Z3diZf+CrKqIw60u9IUVFFD0HU8iM4sAfx/Szq7KRoMaYJOnzIx9q6zWxoYB8yGuL2DUEtaQ5TLYOVlXy9/AsuKYmbhDuzLsMTJnTJecLcaNnUyYb9BDdlo6SmGaUgf4imul/QvCh989sGz8phssx5TKngmrqrqesEahj5sMkEUnTfshJaX+NPMmkAkdVyxAR5RjAhA/z+SN/RHSqn7w0VjLFMWBRJ19qeoUkBz+nc4fZd6+7h/oKQA5wFbEVN3SlQjgtRbsCe+GDM5p771yvw4WLuPtjhqMxmarbhDtIqIqeaphpnJvXZhf1HiDpCqb7SRmXLKYJVrO9pN2J4OScdU9MZ7R8Q/CnaPrqP8ebMchw6K96Ei+YogMt4gmr9Ms3P6+/GdvYSy4qQxJT8tOwDKGrcCk7qNfB/0RDVQAgRKx3jVtrZlccgQvaILpXWlkZ9AFDdo9SeQyAMcUqx5pXIoKLEWZnBGpa+p7DPva9i6EB26p5KXqJ/FuasXMooePfceF5d0rnI0zaZExG08ZZ3DFjZzk1sc8F840vtYTBZEU6msjftJgQ/ZfmF43/1PlAbX3rdOY8TochxHmLNSwkkOsnBZL1YB0WREVyCMqDAtkotooRdyXcI9tVMUc90lvVc6WsPL3suEJ3c86//C9cN3roeC8h6z3s9Jp9UXjk2lXy+M/O8NnhwCI7fSjMCX2zHWEAAu+lFugz7qOKu7ieAhplbSLUSFkSGu1Sl6mr3ZtGMXHglURh4BPXbjTh7nP+Ewj5hvlsr/W2TenpnCdtqyApfJSiyl7ZlHZt0EMPwloNeQDf1uHtpblOLpzui4MbmMEDodx7zGisdrW5xzIY2zDpXN3wB1ceFogZstfIjGySpKY99fKNBbo2Rx8ZEN4ceAg7kVlVBjMrQbeIZEqAsIo20UDuZn0mGABqHZ9PbiFzJKjnfINRg9jZXQqqu9t1rn8ZSeXUyNekqWnGa8ahMxDQfBzQqf3rHDDWbVzIEdoUfzs/O+ACB+SQTOLEBi1UKBW78auha1XEHda7vVWwUVrewog6aZO8hkUCZz2SA4sLf7OS8TJKOSKuSfQRu2KCmez8wMEa7KS1OSErnrMGSoFHxKoVgu/UKsbp+hVrFbdB5cI1pwlgQ3B512OSLs1JoYziU2KZQPGTbvkQGbKTL7GgHaDk/rwMSaIsA0K6gg8URVycHHQSKesnxXzQm9uRsfHNDiLxZZiXiczqcLiIBNRr0CySIzbZN1MCpKnD3cHfnbKyuqvhx36VNsvoTbXunzK/IrIAoLqv8xzu9ZjVtoqqlQAsY1T9Sxn4XK7oH5PSoJ8fK1dvGQrHsx/8bJ95JpedM9pPbLFbmEI1BVMsXouACpDii1rFepWkuKMxBWN99KO8pvV+OHEi94DBHeljdO3OwxJPNj19Bh2JLqadt76A801jHGgFOw7RNkCUNfkP/NSZgSMIRWTSvD2t60h/8j7EzhYcBtlCz+Ap0mbAUsiAdhHdN1PrfAGJqncHM+PTa6P8WdFNRCs3w+URTMBv5fPjvWxiQPW/YTfY3SdDpqCp4ejtc4Ps6rB3WzWAsIFiM/AMSIPff7Ax1Is2KQZVvHzPWDSoF7MLx4aRl1/RAtzT6gsRl/OA0kfTrFCtKth5Kacbrr+Pi+Ea/Rv8fUImOebO073aH3cAGyX5+QL7ptamlVwS006OfhMz1IqQwcfGREEuDTEAvX0fBkt8I7hETKv8F9iDjlZoxH+5ca0NMTzJgfhg9ZKTbr2+6bZinfvl4z0Kq8jUnxRCe3exLZFHgZy4XhjKiWZr0xuU7sK/UuxfJbdKs6HjmWe8xmFXBvpPTXrLr7yyW3dP30pAo+Au988PrnHDENPTgD3+50b+qP42TA/yH9c+AJ7dz3b/5v3U990/3y4KU84NK2imqu7RtXNysaZbkRmGgaXh4s+5z05F1G514mPKfIvGRXR8P6aur47x7dDYoUOgYo/MwYo/048tFUYfua0Zt1kC2lYSTSzVeJYtOziFBu1AF5ZI/MkPk3Od4v+G4SA7ll3g8XvnIpbghCemmu4TDwqTu1AtJ+nL3pU3rs61E2eW0kdCTq3wei2uKoXrGhlfgABvECqAEeqtI2a4rhjMLCRI3O7UbUSLI3eynjjkqDw2bgneLvvhvLrjrlAGsgJTkMOa/srfqFBb9K2w+gyGxKv6bM8Vnlh1+QdUUXrFWD0qKpLhQBJkSzejWLrib8/o0Ip2DdSBswsznNaDa4UYwUr0TBY8WY6bZNWTAqUIUC+HApZ4rplTl6LNQwu1hAetqXFht1WnE0t3nCu3/UeZbzG3fIxY1AqR21JM3QMedpqotzf4pJsckge/BbzdoKlWEQu2ZBYAMeCmS6D7NBjuEnNOVxnEtklH0k+TNI5Sof09gIMDe26x+ysmkvs0F/LkwDM8zFBrl4BnDBki0dLPb6kQNnPr6AS9XGTst2y5htMtV+vhquIDPqOYbOsp05kaGD/fOQk7qQx6UJXY8QpKXF+F3+JbPdY0MdOrQDdOwq7o8K04Uwcw8j1OKrEZS+PLQSAgxACJBgbt5C2CI9t9Okk12lBbyTGDM6PSVkeo6bBT3Ib5wGJRhamz/scY5f0rzMk+QXzmk9NQ5a8ysTx/9wu+h6AaoWmXtGVJcRzfnBcO4KNgOtldMScaHbmAdwXDpjlnwFio6M0Lp50GZSPmQYYcvSDJopRV8FhKuW4Svkt632EQNN7WNnS217Dt8bdzHYOhD6zaG8KrQwzsLNCyBHa17/jBIOml46tP+ZLaGp3RCwBkSHO5/839QBHETheLAvBkAEV6riAb1UQD2FV2pgC8OR3qiI+nJ2GIzJMfVNyhUVMbMgBSnahENeqWW65L8LOEND4fRqzSsavShcdZDINquhw94L3hZ2QPaaordx0CxFh+FsypjtKPci8cY8pdcTj5StAEL1Sj/IgdRUp/ARW4PEK9GXx7XljHtYmFLMNtaYVX2Fergw9xphwEzw/ovzE6UOUWbm0eHScX2ARWyT94uB/FmU/QCp6GRFQyUNpC05P2I1UYFd8sZKgDDw4PAlTtrQZ/ffmrYoAHQsdOzxmE5N6pDc3DYI4r3frSVZhij8E2Nf3xLjMFk9z/2lkoWEdLbbAtv+Fv2WU/TW59nRcv/zRfZMmapIYNh59VulI/ydLAyvftWkYasYiNeQOGnfMCaSQxoXUmRV1sZ1jJoZu9B4KFqmTuI08cDPUODo2CrFAEO7onzLXj7kyEzoabeBm66HF6Z3wpF6eWUx/XcxitUzR4RFOutTFEI1hyM+I3ik3OMvoIKCfF9XQvMMHZM4mTGceounv6XDm/n0FFyOjNdve2XSDihs7gNbNqyZCc7F1jH2GLR8O/F97zNKNuW8GsWRT1cZb98JrrESreRfqkPVhyMMiS9W3P2m80yqXOa0XItSmkNIO2PlU5+u01YzolHZQ6vVHxTemtEjoHrOYdFuP78ttua3T4lokyfl47jLdAgaqmfGZzWYLR3/vNHp5oWnmdqNncuPpP0bpW3g9fvCOjohJim5Qvd/ESpGPZXLe15cNH6TUmMyk7suVO7ENZ4SLn97UJyx3kUBmylM3/JN7dfKY0Ec/GqqxLvCGcjEtGOruPyEp5bWNuOvMSVkg5/+05W9q7hP19MKLPdocwxBrLSJiZo5JmHzGnG6KRkFbLdh4+KxzOThVsserTkD0HqczCsRywHsxgY5du1ceITLXaCe0gmgV4+6yfdUwsSK/IAykbSe1xvGWwJE968ZEaBROtKQATASeH+hg1i9FdXM6DUWx2dVVErwY0zS1sznHLJEKjh49doD2MDoqwkOF0ZW8HkHgr5n7tZTNkkZ2IrUHvtoYrjX9QEW//APWZY36zvjA2Z8IV+H1lm/+mA4Vny2rkkl6DNkSfCYAunQ+G7199aW8Fco7Xkae/557KsCvKbjlq6WWBgNzMceFAGqB9DNPWAZDI2oQKXpvZCmxMASNMjpfckVsWEh/ZFSqexpeRX4EdSMszs3y3nI4dyGh19Unk8PJUNgKRjJHSIcCSKeP8sOygKl4r0TzLU4forS3XV7hrTBcJsEOBa28qOx0QMty0VHF7uvgkD4443j5jUS7UcnLvLTkh55MoZdWDaPletxfje9Mu+X1/FkPFwBlEOPPPpkgp9mzDsBGfOE6jmcpBzHbwipeK1RwWFDM/ieuc637eJEQCUB4Lc+aeUEA0vSQcIeqWqbWea62V5WQuOFpNYTF04GynKTuY4GDH6NKxLQHsmC+Z2n9nVgYEf0zvrgBLNwB0T0tgA06X4BgA3sr77JCfg3RTgIqi6xn0Ky8ljOlEtlC7JxJ0WgKSVoz9Nu4Gh0uTNqdL0OcIvt/9KaQAr+UgN/Gl4pnDgHo2ql/Zb8QIY7JEmdqIaL7bzLwq2a9rOMF6fJsmxACXwLy9it6JcCUo7VTGlediVFf9VCs/uap/gY87iXDlJVH//GIBFOg+CdNNFHu2ePkdnNO3YCU5INATzTFbXYStYNyy+VJG9VtctTAycqJNiw/bx1zF0fUypigdlF6al4+VJUK2L0M9rlwu7odmC8yxGP/UP1ZtkfsekffhvFdCfoAlB77v4aOib07yPx9JmG7pR27C083cjxCYnmR5C9C6SW6RcZlWqrnmy3LiBunAzCbUR6beK5bDCnuG9oln0QgGOOm+lwtLZGjAoSa8WMQ/SBGiHYuJzLRRfYbnuYEa+vkw/exSgt4eo7csuj03id27ZuEYL0EfQwxtmsvssgK5dNfL2FN3fdywi6HOs5WdsTP3T+P5/iOS+A5eFyWx/XB+0EMgjNBQ8pPuNO5FDTU2ACcjJMP+Gb0zi7En7G080gMmiNLNbh22K1fl8JeH1rjzk6SkSqoEdIhBGf6RLmqOkAT71/7YqAcpB53xx97+nfNwTaJrBfZO7442DMlQStfD4FWn3c/zCanQvwv9tGGWyz6Zu6QyjCUQw3drTek+5jqia8cMK1KbTSFyMy7W1GjhjZR+78oVieMc8lW6HF7uGZ8wavPhegkKnSUMxEJisOm5qj/q5L0kc1WWiEkQXNRbViWjmdtj77msbjfgNazM2s1yOhReWNv6BGzm+VRjmaK8qMNJASv4odS8Kd/YT5+OzZwWyZ7gHS0McOB0xaNEvyRgUn8hsJWJEAU4ttaFKwE1fYq6CdseZo7VgkKjO6N916QprZOKcq36z96V4+LbG1u/n1nHmagHK5R9WFCnAQvoNpgEl1kQYxp6Bw6sJn/jPXgig8r70Gcz2rt3aLZ18dZR7JUooNfj8DU5k60VuIxKBStlAMwI60Uiny0zfLUSXAN6YUFzwZpm63SGsz5oXGRUFqdWssUpfkLQUa+UHMDdYDPOv+JcFQUQpC4BlL5UlR9yPU7kJ8GebKktnJLIsViuBRvMa9mH7wRKSxOq2W7N9zE9O3OIZ3vXKQXmy+kV8w4F7vlnVHM+aQ9063SryuE7duNUhZZ7nZzpP2QA8eEHTX1+jI1IQY2jtnHxJX41EZj97596y6IG8YMUWKmiKI2lR2Whp05IKgE3qZgxoN97f3Ji0Pkkt4A8t1sM8PkjjqCKab3hgMuCVDhqprddHOmAKOIFPzIQ5IlIw5jafFyUOydKWtwuG2eznBprEQ3eGRH8K4HL5CKDpfwhOLNWoy135TCcx03jb11QzNsZOlGVOUrk1I78qkqAYxXfSdX6MAQ03wHyu2+7wIuor/YanM/mRDIiOWnFXX8bWqwzQNpdZIOJCddUq7c2KCdVe+3ofgxqPAjfOa1oXAAZRwf8RlxAW85x1jxz8CRymLzlm2DKUvTICY9sbxAl8Lo2GAPxYl5s6O3j8H4aOfc1VP9zcIqyLPwdDH9imOjdlorwjpU/I5vDxwmNUBWvCoryjicpgSsK3yPB7gV6nT1z3X+efNgq3aNrmRiGD9wu2UCvdsGTJcEMT0fMD2o8EHAwcbj/tIGNjQHGgsXpCd45wzSgN+ISq/Nq9ntTmBPqTPxUWAgWPRTSmx/4K7f9NEjDBokVgDDoq9eb8I+XAksWbjqP0LmijNbP7O/PJIAhXN48a6ZPPgcgb1Lrp63bnBqngZ9VJeB6KQa4aDS1/jOiOYQGkEFTQQeSyi6fgT31qhoxyEVTiAECkZEu2m4h8SbfnuGt1CruHHdr36dh8TYdyNiOIyNJjQ8GhHWGL6zVA1Hhbqe3IEdEC0Dh/wziGW7Jmp1CZ6aik53fkr8/DFSyXTsnEzDhEqMs/KjLG4f/FNp2P0+RoY4SCi47S5xOpm6WC62gG14IQODMkAedgBseYCEnlcv1Qsdf6KQoqEXr0+bdDlHowS41i5nhxczUyMqnggyJWQKOjxWLcCMyOkwb3AJylu4Zuv6WY6e0uORsOUr1uBsmdtGfDWalADPEezw6W9ALhPzGq+GGz++QjEDZqYBxvqyWlgWdO/ustB5JvLZAZABL1i44m3dDT2zSld8im4JzcHDiPUoJl/PzAU6TpB07698T1X5F0nx3LpKB0SUAyim7Fuah9cu5uP5edyc/P2SNAvG2xBaFVcqNq8hPQC8BDb4eE4VhlmeDKRxuFCPKy/Gn8dIKRa5EVmbrkAVXIFhun5ljrpJCTQjSgX4Bd8OxUS50rab8L/z6DajMILS+yay4+pOOIALu5GN2HiupvEouxSM34HKqsHrlBc7LLW74gCORpagVjCeL3ItOcwSN1/+ozrrwonNGOJJIioXaup4FqO0/z7M3wLZTDjdvvXT26OV3CWACSfyaY8BZRjku9gik0w6wii/BF7R0u7OyBmT9ihDCTo7DMDUdM/x4/T973NgSvhy+v1d54Nmjj3FKMKUn4tKGMIzyqArdyVAEjIizKtCL3NiZfJwE6Cz7I0qaZRiAYWPciaIU59OllndM+2Qs/lC6GyNrvzpNedjwb+hnrTb05eMKo1uHE2XDndycKwAczQw4do7LPrD6eW5UQu7s/6lH5cGGX0oyVyeUnaxWH0g+rMc0xfcWIuJa1M9aIgv0q5lk4KBnER1rPvfJIHAtg3fcT07RCUSWlPN6Y0H01Fwee7bPBwF1UMSfAzG9mHwwr9L2CZnG+t9mSmXfDQiZQcy+cvUhFI+xyWn11jwu19NPx/P0Vkq+Afm5HrYY9D/TMOcjUXIuThAGdF8NQ+HyhqByceiZ7Qi7qUUEsZgxCp0y4ONOdrJILWb+4RCIadXngfQ0x3iHgO9YeTWhRS8UEQ47A3E5lwYI0qIYyWRm0iMXoICaj423PEFujK9hkUnmQ//S1vQEAKOx0A07rPLVmXi4jvHwwHkP4vknwBNcav4DncBNynoWTqqN155th2q8kOY6maHJVPmJhHaDPbwSGUKEfOU+fJ2Egw1vOdi39y18aidvLuH8OV7NbyfD1D2Dyh2T5f8ULOADQ5XdskJdJd4AFzx1NwthTNqoo4Npr5rwnOm8wtGnftG7aI80Fe07c9eA9RgI2SL+Tbjdk6rZBaqIjRWDukx4q5R5rFuNWsgx4OXQjTQJHkANnMpEgEHKr193Bcht0+RAHUXVCpv4wNH8mjM54M6CvVic6pSZsizZEhqx1m46kRt0B2kWiq81VWLhxhqQbHcCXw9fIFtLc9YLlOLDOV4Smjo3ZS/IOlkCV2LRnsoGWFw6Rk+jSB8g+eMIz5IBOpEFurS19en+zPFmlZUtYhSJ5+cXXzPI/jwZm3cr875LnkHOu2NwuLsB3xX5j1JgwuBg2YU1tYP07y7L66AMQo2aHfWNRCFvlFSrL7bTbcz8xltFeaVTheFnLaygZD1XH4j6us5sVo8wf+VAg5PNdhdBXxQIqFSVjI3kWlTJiU8kVPsrPwkTAPntCV6h8xwFiHC5kXTgOEftmx4cwvpgaQBekAeCFPF1G+EC+vQvhvf+QUAtUvKMLjk9KupNMR98J8Wz4vkJzGLjcKPP8L0qTqtd8YPEjrfuBNiKnkhUAUQVa9XFb6zlQk/mDRxw9k0NMC82Wwt2RcE6t5VKaeYHWtkt0TJOkJwP57/pTv5GOkOIdMbGOIxLjhrfkXIZzI/Nvgblv2x3i1tbiesHXJCsdOTfvaxfl7MQgcbLwT5gdTxxlYbaDTYguxr+QbpxbTLTTASU8lJgw0NfA7R9oZvfNY6nUwZLxudv4S02V+WECrQ1wYeW577NA6xuVbpAOLPC3SWyB59Ogkssek8cx81uzQGm0YIGtUX8f2iaktKBBXEWmFpthzpYcI4ga02m2WsISXrGwh44TKvb4Vj6LsorPWSdAVOHYrNL21LYvToNejuZUTkw5YLQgxmK4BAIBet9oEHrZH0MXKKed6Zq4UZD3kYNldEmUzA/x/h419YHG8NNv24DGm0DhzWE0b92nJhFA+toOA0Cso1WgvynWiRcKe9guJ3iVz9Dn5ozMhX/aHPdyzbtokOmwnwtXh7bn+AT4cbWzvrQzO8C9gOoe3Ixk+EqXe/taQQZ7L3Y6GeLiNv7s71+tShOzaCu9O9Y/+PHyur4CkknCJbaS4tv4QRWpC0FzLLGwHhLXzPCiV8VaTMQCijL7H7I9XmOad7c+yQyXdkz3kRFejrOMscQnwZ4NHklXilbPdC+s/fgTVGD5nEAcsNYZxnuvnx0ebC95BUUTWm2zoHp7JApj9WfM1ux68yulJ8MeG4BJBVz+kR6/c5/4lIXDRb55FY0ovzwSYFlqqO9Zu4s+GJtl3Dtfpv/h6LQnUt8/A/sgyG+NmulJ9r5cihoHUhZe5P+p8Gcl7yhDatw5ynk/GitZhTE2F5mJzNraIfI08bl1rwaYYMa8OZ0Uz8MyE7oGRbnWCSxVJ/6ug1dvmVqCjDctDtfukHKWd1Ghy4dLmoivN0TFzzaYeD3i7L4cu1ND+pv/G3cCeGvI3lSzRIil/lkeYe9CwcH5j22dTDlqqG5QJrtqRcTQRmOWBw82Yg2V7algS8MhIBk5/zspyYk1f5OFFrq3DkD28Vux473e374nhMv9bELivm+IXNCQPL12/GiPBb2iEeq2Qzw+NMX0pBRxUtHXY/yGia3fayZ9z9p3f3M3+MuEgveHSJ4DNKQpYXjr12cDk2wBdL1G1OVA0OkXWhLEQrlTX0XeNx+TdtYIao++MD1D5S3I3w0wHZSXMAwbBe6hBwExzq503XqGY7OgLqnTHNYh2OAOru7jTL3Z31WUJIzvlrz5tWHjp768PlB1Vvzl47jkczYAkFW0MrGSO31sR9mUD77cCMCAT8KPQk8FSixa+xVVmY14fFNKiuE1MbU+cAE8gl10Oo63ctplG4KcUHnxt5PsXKblsTw4bazQ5ysDPaZlD4RaFuKvQvf40WgJkObBkPbcL+7c4qh6L7XQZ1+YMsaQPFCNYxqyD8XxQ0A2BxOe5JctDFQdAu7DdEY81jN/AD/UXNUrtg+SeFA8yV2OMBUnSwEeNS12PBPQYytD6CwsEQzV3D0TxxkiD+0QUB1jQxddq+rqK7sRLrqL7m5MBPUz2UowsIY0/xUz3+wnTwPzWcwwh+TTf+Lnzw99oi9Z/WeyjGXZ2PvHP31ToS2CAKtNb/darse+iVHhLZwnoSkxzMSGhk81Av81xjyKRaUFsbKRaM+p/k7BV9hTxCGqAwMvIT4eCX80ay94L0fMUaTLnrSsafj12HL33KL49HqUnEtt8ZG5s05+7OWciYYh1iPN8DIbGSa0wypLHiiVb+KIT1Y7szr+dCM8qJLWoohNoXXD6iFi4rMgJm10X97keeztlWcWIMJHaV1z/xek043Ar9Eanvwm3ChUyVDMR2StW5PqawcGC9E+6K1FHbdeFygPN8gsjWzgRcleLxFmZ7mywz/SswWiimyHCuK9E21lrogonEjU1TTB8anRUc2eXHhthbwbm76iA2lmPjG/Yug7Xm1d2lhOa9QODMxPUIpm+AudTgyK2c2jyANmOnuPNP5cSVuHYFVF1XQH+s85aEBLbmN7XlsBsRjHNItGohJr9N9qo9KscLma8A3Gnxt+/LfR7dw6FwlK0mVXABYQJxHQbTm/TBwGYvOGW9uD3jqFPAPcj79vUeoS/gDSSu7zQBzOgnbxVLtSv88mrA4OW8UU+hNgsS4YrZQEslqjseiGZ4oCcBmSXww9s4fSYcX5VbJPCNd13lkna4EvLv1VhcUT2N1Ktk28ePMdUTDUD9ZXQhVEfRvDbfQQi6P8+LQ3xJpHM3oDfa4uwhglLMVbruhgzfg76MXEQX4eTPh0v7EfhOgjQchb1lI4tgM1GFpdpf5IKSh+EgwgpcjCEVIUWrz9bHmZkBNRXU6VffYTvWrcWzaD79e5ZcL4ugN0Cbi4m57V0yHJ0soHSjyIxJDJLaFO6CUrYfeFUbEDh/quysGwnTBHS2rgwWCTN65VASIvSvtPkVq0nau+aD+hqz8PHyjaTbYTxA0l9eiuNJeCcw3entZvDymFRfJgNGwXmSDGz5+a4PjAgJmfwejtA6fLt1GGbDK2OLy/hqKQDmEU5qPzL86hoHSrScFDe0vaLGeNctIwKsif/Gl29t5fn/PGQsjL5SKcznUBgVhU1G31DvmCm7w0QDGvOGfTMq+LOtFa5VZJALRCzb2uJnOhxvnhSTWN57X0kHN6oPORsqQ5I6G38GQ/iAqoAbtOmanWXE9gVTPkz/lH2wUPwDAN/Ilm76gP3jvLguy11h4lUhfFt3/Pdw6CVVqTUtiIMHMzLfZEgFn0J3zuCN8pLOUrwsnBPfTNs8Gfgxz4y9p2NBDRWll8ZzEw/tXe4N11xtp7Zk+h06Nf0wGZ8ctFK5fsrbQsHbF0jUElwHYsTWCgecFlSdpWsGFewPmT83E34/3o8DDLNaOvd9ZH8iTzFpM74fhimCkyuOC5m/EyAbFa7/hxeMsXq5M1FXuq82zcyrSqFkU6Q6uNAR+bU2/0uaILxlJ8WP06T2SMocVUVSFqvn7LHBAW1ulvxXYSZi7Qeo/hhZs+F0HOfJJOMOP2ajBDmGrzZqYZEHyLlik9sIPPUNAc90AY/NOiTQ3lrRSM69nI/ghQm/r4Od22eWO2FweIGHJ2fXSf01k9LsnLdWVCtl3q7J0fHiI9NbsJUaArcuUswjYwOe+BL5zKCuiRvMMMg0XfAU5uhqffMXImiAeH6bvwqwL0cptyTphqKEZ051IxERg7x8iDFSwwXPyPhItgwuqu7MmeoC8sTkhVdal2kd6C6SgjJ31UQyLnDzBj1LxzCfYym2IbOEtIBNZzQ2pi6qTGhoJiK9Zv7FJdR1gGiDRQcKHpCTe+bnHKPfx2FQQzuBp7+mCcQtR+Gvm1rpzC0OqodjodE2KPuamRi3yNdsMztFR0Jgql16hVogkhMVv+ZAuLUWJGnBhUjk8R6JSHAAFUB/Y6vTktT6R2SzfiDMQJ48+32p3Gc8pzx603pZ0a5SKI1FIjuL7P9u+VBbeOef2CbiJhO24xbZp3RHOCxxarumzLTzTflRPcPGf7HeiLFnfnZNY3YlwtZFd2Xj817YyTQxb8Y++GAYAi90w3Lw8+dGLNd6uy4kWMSGdVK5t+esbKpfkggEpQLt9sn/D6/GJxXCmGvvuxFZXHBcakcUrygnccozCRshfcSe9Fsh/RuihwgwujObUQhiyky8MwPkQuuqmRKGDdnpyl98BbsF6UkmyCiLBjqqKmns4AjomAVcMno/keOrrsPVk1U1QjdTISkBkSZrJd2tZs7pG4d5HV+bEYjWNLuHGjHR2QImDPPTtBCJY5JzXMciPo1PgpF+jfk6EflUAQ1z7PrfQYQ7mpql4CIGJ4FZ5/FUOCUIm3k5TcJqfgupFZOBxmLwr6rVDN6d93yvytAySfVhio3jVINAwqrv7vIOLyEsvAynH9FXMqqj061g8FRqw/jl07X3+5URyips2iQsYqd5yLvys4mYA80PkI+DLC9BYs7wClkYWVJJm1LiDm89eoG097BzknASEY8afrZVDhuo8Yjqowe/TSNvzYeig7YIY3lT6rnBBWNVSIAp5z7kgUyiKLaSE/qepvIZo5h0lA9fRNZjhAlcGz9pqWpVNTKFQ2XzX9nJUQb9ReF4ksxuTiyCgalKdZg5bYOCgMHGHZ4Gpu0T0+rY8eKFGFskwzB32OP+cabnxbV9oKgpLyhRrnOcOgdgQyhscb5dqloY9TKwcvVls4I3mpNLSQ9oCn10qHAvGQLF1aIS2HJgP4Nxfv5JMgK2eJ45xxwd53xrLfkEqkgTRw8MeFyuvQehAhefYVw5d2UliD0Nr8drxr+nRGLmXC2chd0DdfzMEnDYtiYB20rgoeHOcV5sqOotlFe+AlX+OKs3/shR4dEsUp+vyXG9z5dy/u1aUw3F8wy8/tEY4uE3etbFGxrl+78IvA7kS3znBIjRXpqIGCE8LZ77dbtGc6nWnvu0Tw12cMxyumnBwrS6eFfqn3EyFY/bU1xhsvzx9Ohy/sWe/WDKn0MB5r3D1+X+rzqjuYSo5BZRkYakYtUO6qCgTG2dtNCntmAqr0EgOZG7ViMg2Is2yFlLwdOyT+q0Hn7P18JKH/iz7XIMIvw3hi6YYp2ZKjxPS1WOmOXHSLjJLv9GKJNTSXLygTvPgtPFEUCwYSE6E8D/AJpuxpPgxkwdW8Yj9a1E8/vOwA0d4rYbx29WXP7t8DXrjCy5cERJB+eZY1rmIbJLxsja5oN6n8AIl0mEZ1F0mMJ1qOdC31IFxEBJqbfy8eKlpfxGTGomfe3UFH122nXhrO9zkuLhv/DBD96fAIKzV7qSQuajtDYpXcVti7gGO6T+TfSgh38WWPjhwKBelPvxzflwx76dBYho79IOERnB6OMdbf4xaynlutaSf6R1G/Ixh/r7nss/S6Sn60pn2s8UeseYAxmVFgMGka6bS2nTTSvTphnCFp2W+106w/GWge3N0huSqzt6xhodW7ernW5meHren3YIiPNpO/QO5XZdjN4d3lWT08MgOB76EfT02HtAB6zQPXKzvzxHwx2sBHncrQGGShgjzZsTLOZPZ5wnaIusTYUa9SHRR6i3zWCx77Ip5gXeQwoRRaqdHSqc3dolluBGjMeQFGOobqUdL1z6kY7joVD8ytljSE7KEHDx7sPzTHISDEGP6MYiTR7z4FFNFFbLWuGa0Zuj3MpFD1V+j5ZX6rQk+Poel5IfdCWY6GB1+blHUZgBsfsF+iByIy5YLcVeWyvdQiG+EIe19ECUVDM4xC2/nbwEEIK27DfA5lXjZLwluiErwo2hObJ+h4fgWOWGRPtFa5lr+7Y0HeoO6WX26cOeQWUiCNWV2pXy0HApA/HSLEbLKz8NtyHB2Cs8rC5TZmutd6Ggfj7B2U1XzxNK9Yt/AaounvqRlgVMSh6iVzwzVlZ2J71+mV48fttJooPq7VkitCRRdfM3spU25/bTB8alxfdn//4sML9GvwrAutdVPHsi8R2ochABj2I++LNvBSdY846v26G5k9MOaryKSQdVNzMNlPuZHUs1wXV//Yrb23fyLpWaN4iprcqaNbCewS4S3c04Gs+3TEe52xoNWb6ebMrs7FsMEt2JnSYurVyA99ppDy/DHvV4kkQbeStjhjhZ/hvbnkDCu991NCL+LRI7t4RvhTGY5Itx1FFcHfM85cfh/Tn0hXYHqbDKksdT2Ly4RxTj85QEl/dXMFdot1AWKqtwUmjJ5ayTdH17RsiavoJViaNYxe1ehzDI7aqwXmLN8xgyNZgOQW5Jy9EzODZERkv8Phbnvmc/8TAl8EmmGCgn1fy5tt12CdefI7Xy64wJBtp7eNRHNs4Brn69LWxpO4NYp54+5xjGdxQQ37qkrB/vyO/HB46hDCNNuQklj0xZvWMy6GFBGX+wR2KRzmb+2PSe3mzcEyvUmunoWMGGvBXSu+Jf8gGgMWkQLrt5IAAU435G/0fTblkvFoG02kkx+d2QsIMmwMKGMEh7kyGC3NwhY24sdUx6OALxqrlX7u8Neq/hKp4IDE4yWnUd58HQeMJfOpPeKcxa4bnEgcpwUyz8uMC0hOCBhH7DW6p6o0OrpLCIfL+dJX3cZCUYQtpcc0zz/j0UudzK8KgedqU/jTHXWOpYFPG3HlaLzYBe3tW1xYHOJzQgwTbtyXzKhm6PZabZiEySG3kpVzCJ0U8+K9pf6+z8oSv/d2OGBInUOTF19XB2U43UyV+yEWpHnzeSIH66C4lByDuAIMcJaJn/4d2MBWQbUmvS/34n3xZq1lHsCQ3O+EGRhOo9v+DEpriFO5Z25vGc8qRY6mkipFXP+YdkU0kV04aJk5Do+RRDAL93kXlRE2FK9JD2t8uqDxIqNXj0OBQEr06nuM01ZkPOalaLQq/BmXDBQzyF3ZLy4NG9zxOGFU+AnENSZhtEQtm0R/ZIccmp8+HXDhuYPz0s0iDiL4LUI3kj+KCa8Q7fRPFzhFdEEGzALu6Lo5YGeTg541Kpf3VyH3CMyZSxlKorwD4+WLvc12+SzBcd6TVFKGooxVDEpmC4Cyw0C7HhWTtNXLPuXiuBUWKc/X5qtNBPkGBzfjspJ5zSNLyORu8o2mruNe8ceAdy4WRFPtidT+xLpKcrR9lqRhd4UsWLST2wQaXEyvHNxnyt9/ZlOb8YZlBNv0A+JHG0+SVLhAyxe9tf4lsWNOZEAfJtLFRfoab00wE3SYiFBaJb9DcUN+2L+appbJMYZQhNrVH+0c5CVqS3+wq0xoiX4XFYNhipXK6cpjk/biq4F2NlYFPxZz+7nC/BHhrCI1J6h9gtBIgG+Ix0r1nylMIQhmI65dyNSJ4X478OYQGj9P3UjgYLrF8yYH9qkhTlw/K2WGbgS6esJCtzSgzbC09bZhI5WGEDU2lVEQI2YCCWiQ6pC+DDm89REhJAJ69wRHYpeWUxkh3rcAazs3PtZ5BqwJKdBt1Te50CHPk56zZ8cjebX6ThEF/o8WCaruo9vEY1TaHGnuYW9oDglDEzGWaZzNfC+u8dxVhOsI3XZGhmHVz/msU8zidMLlqpsLcTcGpI/0EisjYrgZalaEEKT1UTGnBZKqLzKZoYjFbTgWFls9e76DwGAZMRi1pphbNqhTlBr7Az5LQKlbmDrgRzRXmdTdUkId6Ng2ddeb0vI9CaG1X2AQjvKYl9qv07c9Cl38tPR9MqsZA5zQwxRKuJpo9N7THtPIb1e5l2FzXnnG6w7A8yAjyrVsZHPS6dk6aNgKT9prRFSwWLrGUP94dnc/DQ1lC5AhcH4C/+EJ0amk0/MVxFpNBA8tGQsuyVV/gyjvn99s1wADlLiBNj0glNrJjnvx/A5Cu4tD4BNQ+DeuKwGrEXt9qNobeh9Lmyps+TEVyS2OBWrsLtsOYNGoR0h/EY83GX3dsL1LptPKMZSw6v0H5Hmyts/6nnIQRzAobPnEe9zdqmgR5cwmKa/1CcPNxBwEvE9EHRdnEHoFtnniHJ2a0ig+WmGqrUU3D5VIc0t1nlnTdk613PccL/0xA+Bb3qVt9AxadPFLVkc/+U8Kzh1g4BS3g+kEajsd64kzYEQ5QAo/isyJdopR6A3mfkN5OdfmuSaTBgolQwaVIf+U5UZDFDGazyxM+H8C5vFn4Zy7KoTt9wjLT/2QTWS3dMFnvMZBBZ4uO9n6akb8sja+ZxiDtrqoZ0zcxj5cjINgA6bwZ6OCXWN/81IRX7CG366opia3nVPSmH2yII7xj8gp/jzs2uB6IcCCLqSay1qeoP+QGXv8DFh18Q6tGOVx/sUyFJ31msq0lrHrQWXx6xG9iVbeXyBTHrofVX+9ZEqifDD6LiocFMr7m5F/0lXBc0SG8f1rcMwcSXVCfacra+SCA7JTBrHjFffZ3YDJUm2fkBGpEB3grW3BKGCvp8+hdRyBgCabMz3/uF+Qi8gIPB6T0YqYoWsTbppKfKBDOYQfdnSDvKTr7/SVfilAi7f1Ib+eFURGVQUIROGgRtSgeZZj4d5HERk95+k5qcpAZ+o2mikNMVkI7stTPERpvnGtP4/Bk1XqRD80gtqu7OoenAPHFhdgSF+fhHTyv2pLL5YTrKFWAiLv0l8wfkfACK3CbOgXUSt1xZpL4ehqd4OxyQD3M1QbcG2JxrfMaRnOT3yud5l2FJXiF7LY04OsGOFyy44/d3ltzC9RkRxlXEvjxkDeMox7RxjwBwcACg4TSljkYdDKp4h+Dw2fCVAwYa1zJ5d1iy9dKAETIDLviPEXYGvyvzTDJqH10EdoXov+d36Pg9sxr0e1XS5yPu/OmCR8ZQPy1Xwi3uFz84fT2DgYonlXQRM29r2D8GMXuvgfiH/cot+Kl5Gn3Dg+QnT01c4/P/4onaRQoyx1PNqaxKVGvZsxxiBWM+gPye2MBVnG1xDKo76oMzBQnKmYRaj+2ria5ZK87Mm3fL7wFfftGg8+PhYz6TMNLZ9/oMLKeL71OiV7oVWRWqc/ywv+lIAYEVu+suJotZ6SnC5Rbj4IQJ5MqkBKmjps8CuSkAX2Kj7O1xYt4ji5nfYZneJbxk2dqPJp7n15XbNn3gSxH5M9J4lGJ0bcIuKRaPSGzgqBF9SyBaaL1mD4y9IhV8G8xysPoWl/Pmn053pXQuMwb981NKh4uEC9aiSgdHW1RQaDhRs9GvyCeSZ3xmpZ1nnV4/ot3UyNhGPB12V98lpQ5+O9Js6dDAZ9i80wPkQtmUEBRdurLdO3efowj/FCL+X7mD9Sr5NMGIY22iTcH/8wdXuVd63WipgPV/vkRoXCHqF6H2WE6fjNtRLESjkE8xqU5OtVl8gkG9NvtaqeaKCb4IhFPG5Cjj4sHxDqB4aLXYJ4CeParLwIi7yXRY8A/bq5ovcXkCZJZaV6g7jtnRvGd+PkqcjuCOKC00yje+fXgehhISvqaRyA0ZQ2X2aOR0Fb7ITG95k3NWunstD4ZTulNhOibidg2BrcFGf8CfYcGRB39I31q7IIeyy+UGuMt5Rrnn4HOD+jmkHnUITP2tbxAfKj+xppFI+vofdjQtPITZe3Q+Ax/cb3B2PxRpEoc41Q00t9YSikXkKv79RTfe8fc8c8GQt5YPn4r+wAyM8R2WKbSMeUPlhPPCsbBG2OEBxBwvVPEKxEJ0lOOrgMjDH1lD9nXDL1WoV5s6/RatyAmp0pDnKge1U7sAvrBGRZGNVRQAqpOX+j0Ges3qRNZ/AHm6EnjyJHwYp9pM6V1WjOQemQjRQh9pea7U7dEokDYG2BsW+D4bxPyZUNhHzoSFrU1w1yPbzuVNKCWNexwLI73mwN8wDbqiRYweTcD/3jGcA7iYcazYhOWzg8ES+ZuKYpaQM2TC98E64vSLQXb5sG6gf5SAuX+UGRAs54bTfE/101tfa+iRloL+WUMClzb6LE4EJaI1TL9HnmvyDr02SVQKjxVQ4JmETRbwoyRDzT5m/csUpq/6Ofmye7e8l8XY6TjaLSwaYAO27S5vzJgF6LdaF3IRFIJqoAdcVClUrLL6rx6rVSHoe+dDW2TGsZu+PD1uriA/+Xj2iQtFj4CNdiVvvlPqX17a6+vsnpB3y55mRtOFzmfsYsBCN3iyJ1BseCZOPn1nv4xGsAAVRXG0h/iXqqvM9XXkTrDc/OAqVZHj693DQH4SCwoARh8NDL/BTjJPUGhpIN2CYIZJFvTH8sttCai0ChBEnRY5O4MElatwPYu69lBC1vqpQaMZZbN/jG4Wl4IizterWpNR8aJRAFpblIkdDwTdOniGl9c4etpWPYpQMQ5/HKo0FHSGrak+YcOrzxcrcLR4IQUUojmv+Tgl+OE/X5DrZQX3GW29ZYzbVXXj+uiKUyKrVXmzq0Xw10kHTxQmphRastAwOVzy6/wDjVvK3j+vzFuewJgVBb/HsEBA7VaGC8ihd9w0q0zg8apWJAs16IBL02/QNk0oTUUhGi6Ck9iauk+LFjdWV8rMRnJDVP58MRabAtjw7IcOCzXl1dusy3SNcLpRlT8QjuoR6AZ3THX0qlx1aMt/2EhyrE50B5JYpuKJNuN5ACzD1WcfRdU+siGcfQZ3s6YObUvH30iAYS1kYT/26qMV3q2Qiu2/LmwIOg9g5od5dtG8NiwwHn7rITs6a2e3UY0HVuD/wsCz1D0KRGVZEMVghTkJGlCTXnlA23kdubVKeaeOlEj/nJKYZjAtO3s5QulDoAFkZlCOKJMkqWEq2h/JOjLyL9+sED/8zstMix3Sq4Nn0ckRKO+XowB/fZ7ginjs/OEbujSo1ETklu3X2OdnYFaeSxrAd43Fc8PWNBy18nvQ3pxQ/lhitWPci4aLk2SoRW+XAI3MPH+q++98agKSj2SoA+7/8RX24gKN7UH8XRRLy/A2aPhy6SQNj9h5RcOqhduQRXq1gzTg3WPsF2wamysZWM4VmW74h362iE1gy0WdR0znB+omDwTJffDyXMwnIIgtAPbKYDgX4a3fqJ5bcIpPEyxzVhZAmiTVXzjVDlyjwpKaTU8wldGrqLqIUJW3ni0KcpNu5vYMcqzZFZ34E9S9zxxVT/XfCtNSQOr6u4rWsuAf42NfHpNBv9a7/Zb5jjKNECIU+IaoE4vowK64NFtgT9ifvP54a3GmRQ1cgQHiBX4n5eTLrQGdSj3Wa/I9nqtBKaZ3hXBiv4Sfyl7hQfwYU0flZeiuiI6GdCwoxuO3nr4SF2VOp+zMoDwmyPsyZxw/oOXe080lgvf5DKcgFA+pHJYU7SCz2ql3vO4I7f4jSHt5/35z6lH1s0GuKLiyStptmVWMos49qWUyrLtBd2D+0ENk2ZTq6CcgrFW45MpdP9uAOXs6tiTkJql6r2nO/9S9MlHCPLJOoOov4LdHoU39kYy+uYpJ8a2MdnCWLVwAktk5IjXftvQUL8Rfz1zjh9d3JReqXxRnKImj4CuPXajtv8MCMlLQBrWS4hr4Fkm92+sYHO7lzE3grvpbc5eoJMfzHwxfDzaWnmfwJaoaZ+DdkXqUYaqAWR/ElBE475WG9AT8pGIlpN/n8yvWAXpEZbirCncZVDzBzUos6nDNfiMHaQkYKp3FJA9kAcBL/LjJQ7RJTlZNVIRaiLXWm2f0z3wCECtU52torI7l0lE6IOflXL70AJLZKVinMMWwFxW1fAOt6usTN0/ajXkPyL0M6Tuahkc+g2CsBd+LV1hBluOcqdWjkbMsHCjR0j7qr40uYK45A/NErvVh9sKehWs7mq/rzNn+My2AGkAVvXj12rGLdgeC1D85mf8oPrqZvd66XcLegQgYN11xJXSMi7ae5s/OvdikfhpG0XfweBSdMoVeQG2G5omiOI+mC4t/IBqXkAdad2bN/SwqulujWq97gtX0yUBJINB5Q+xIYVPaQ/05winn6s85+688PRg7wcrsmBMkvIKtu6qgPomRYsy6N1Zwge6UmoHwxyHKPN0cWx1kKkdFJL/5O9wzfZoOwWZYtIBTJHJ2jjf3OggzisT1He5C5Zxu8wkF8qK21sW/jjK6RyX8HH5a0GlJ09tHluyeSs+f4EAVMGsORTMrxcEbqusm7QeMcj+d1IqYIPa+YzIL1HPoqXgVPw84an5nkxLMVVb3qOcUbIqznCbbJ8GaJrdKLgcEepCbEm1A2UqDP92kGjoqihsGXRKzY8l5Ft1OzkUGfMaMzHMO+zE4WDVvCo7Zarm8z5wZ70CrTlXuXUkPbmFwAN5sOpUHwTuHv+RA89x72BO/zXdULdy5cAkD1MP6piysOVjiOO/+VleO4iw4slXipbU4MQL7ig49NsPxGq6nSVEFvEMrczj2FyFIJIcYenPM6UWW6h3qgzaGM4wIRkFP7RbO/3fjcfjrAZ+oiebzfI+8y29qU4F9ht8U7Z5hg2SoYSvS2ECwXGjecxqAfl7tpHzrDaIWe4W8M9s6n4mPdfSf5/OoY9pIdEiLEMxDViukdEBFjY0IqNWQ55iti9b7US2LYiglAp2+yO4cSov2503JRNQ6+yh2lOBpJ4cV9JTnyS0h1pYr7tzQWOkFVq00ZD7s/nlqy03I169p1dNLcbnwzJYaHRz/kfwkLoVUiSGbycagsvu3R1+PylXYgGcbwJ4I9oP6sBbsT1vNvKfB8wVNbla36bFBoq0Dfo1hBZOKwtG8P3Lp6pRST466CJWFlGyaW7M3hx+MoSjqRiZqKzSFocppj44I5WPnpp9H64hey1iBTh1GD+8fIGKWGXa+Iu3ADU7gm18ZlY3eiwF39OYUEkLZAqF9w6xXfkHEGxfO6nYOamnueAwhbHw2Tmtb581G79PBgcbtybjAttnysHwrvkaqpEhqXxJ8JAHv0xATwvZExFKSTUeHwWiOUCndSmkCz4V6tbviOLLLM6S4CbmrBRZYA37f9Q0kInqxBIYjuWn18UrhzYTOUqbgnk6T8Kd1RpbtxkKAiZxQpIb13Dyke7l+NTFrdeoomhxVyDTQBCnIOV8Bp6jtmF0XIMXHqYUtcgald7fAbZgyPS/nAXdHUzn0iTVjteVqfGX4+FG3lA+DphFtTvYo6SrMy4NwGOhRxRV0g/ZXsDpfT6ccCjb1AZ5YzSQ0aJCq21Z/+CyuRtu2pF7kX4pjuhncgaEuQVfEw9s2VRMW6P96rdXDlbUYW/LW/Tz6ULfXShZZEK1dc1aSP6tOxs6WEdHYYf+Uv4FnWmtWsODIKlEBwjAuUvJyZlQziXiKvjPTtmB5WHNIrS7MJT3him5qSf8Y/5hXlkIf43ndBaffYzQzWBp/T9AFk2DK8CK4WbajIjiBV0h6/lyKYBk8ZbCsna2w+RyYb0gBFcTEZIzAmuZM7OVR5FryTmBgrdRFaE8FVgI1XammS/Lc6UCiQi1iYabZp5sw6mIuKpHY+QM3t7ffBOogWHY6duuzkUDWBYHnX/JW6pf3KOTp6vOm12cvY2cPpITOObb2roruXJ0y3zpyybL8gOj/eGqXn/0rXhMfnor/e3cdoVZCoQmCXhCts/i72borkMKSe6g7xhtCm9n8fUv+1SPX8Coti4a+q104wzTiOCkLe601cs56d/nsJgpvKT0TOh7wnm4knEgRqAQLxKOBv/yzxP3k4Rb0My+58BJ+c0B2bCP2JGBWMuTttadYZWXdyilssyEeev6R+2n0lixFuFw4ZZ8nSzzKE6ND879W3LWT0GTON1z/v/v2rB8DfOQbxJAjUG1RRlRDAiN9Vy82DSWhSit3ab59+CwA39Dg/ad6hG6y5P0ec6UCc6KJC0D+0bEGzRiGzJVhaCDyYOoLhR9xUdzuIfc5qKl8VUY8CO+ofMLiugBeuXBrQmSXtM7Vj6WzyWyX6CZE9+LzTktSzkJImU8yxMy/bkDLo5KMLWN9OOgVxRFleU6bsnCBP74oI8N+Wqt8HC7DkGBzf1FP/PFQ9LDO3PYjz3sjlB9mDkeUr8ZX426b+Wh8OUvnp6n/qehSXlk6xikH0cIQ6TXWa17vlmtoKh5l4lQuVrFfu4SP3iC4LEm+NFqFsgefUQQcrRKk6SaZ20WC+6tLt1+/9KZwo9R9C3mG66JMS6Gv46QwU/UbFzF05OrBNYUeEpjDAefFyN/XwSJmyWU6yeuPVwsvcJR38SO3n3J32w5M+ykbU2LJJ2aywCz7fiaHK2EASxCuM4/omG1LHUpYE8f7AkC7pi0YkX22vw36JteC6LbUjgOh/XlbzPCM2oGE03dKUhzD900Dm1JT0bFYXb4OfBTsuZhQz+KQ3bSde4GrbO7aUnKykL78IrCV9SXj+c7/GlKkCSP0ZYoBUizFBpfow2Z5v9A4fKDKX3+pR1u+deN+hTBE9JkPmvx0pB8M/an7AEeM6+xhQcBVgv7QtQMmb6ankuejuZQ1O2CTD0VQ/vahlJL+Nlv4k4BVLiwdojJm+k/cR8lvMQQI/qF8K5yShy+2NlRG65Ge71afB41ofDHsXyPBpXp66MeEDQP054KDXmXmuWpofD+0pc3ig+5I6+Hl7oRsGxff1aplpXEKnqL2OezxOSUqNudJoufU/cR55U4DOWtRhqLP6tf6ikUnVfQ33gr9+mklR4LzA1h2dHEIYeA6sEgDQichQ53ApHiXzjlm32VlyWOYP0GWzStHHPWK5w2A924M8PIvYmxd50nCm6CAMplTrhKb3IRAp1yCWCJ/GnjEPIlDMLpFIAgn687lzwHl6Gyo/OVVEZ7bfddnmyfjCIaKX356KSrahFEs/FO4bODfWbbiZz5HHfV3oRwKQ2Y6pB7hbPzx3ktPRmu91y9TdIUlxDoO7utXeuhjZ0+KpYYFxjoazhxsTxYvDQN2Caovwn1Ch7KnM0ppEGKUB5aYIqYbvZDuaKnF57mEkxO41pjujB0/iB2+7FAsL9oLSWG4GeOrhkvOpCPKcOp8L3MNgHiSX+WrvTVTrBxlETEtofYEDzei4kjrJyxQh3IVKMl2hclh7WHBgrN+xqUZwdaetH9mAhL/rO+Lvsx3E/Z0wnUUgo32EnasCK1qmCLvD63g+rjrrQ2sXjCwtCllJi6ej5uuZFus31j91XfNsGFBIBcgHIcCIiE2SX5hfSGgg6phQxDubFR3afQSqcL28COKNjCbNJC7PEX+/CcXDT3l0YQpTT5txhUXneiuPYWStSbgDyIy48VXvusCUgzjXsHhOujYhs/BLcURqkiXhI0aRiiPGWjtD5M2J872A1DuQ5UVKrFmB5yh+6OONluy1g36LD0OwAR7J7pXwDCDd5n1Xb7Kh+SQ5EbQGBSPjal+683g1/B77zMkLSQHiOcPVNIOAKeKwxRFkCcvd9qHZCAAcUqk4uH1wkmVl86v/qtyW8lXQz+ehJNaS5n+fiZChDH8wfaAWJhoa6VYU1Q0Pml1hLNdvHKG3BR2zV2OBN/AU1SxbUJsqQzmwOnRMZV6Glu5BEaKpAaGR/o/ZsDUebcmAXEDpEq2vGqOum+s9TYDyci89Hu6G6rq654hVyOVeDWeoVeKPGcFBtY8cHiHm7aBXIbeFNXqZxPE7FPXkge/h0dknSojKMmI2GRxT8n++8jDeL8d7Kho2pkjP7iN1Zu2wyLSq0uiu6YqSTsVaIIHg9E8snk5oCSZ6wxt7J+KW0uNZi8RrMG2B0IhED2IIhRIMvcXR/PRaAVtcQkzBPvvKeKWEv7Jah1PYpxnNAuaw4b/j1x4lUYdTI79e2kE8HGqv3USRXneJav31TX9iX2d4vADgcdG5o1hAo8hgHMwU/OIqjWC+/Q6JUFmZI9GeAhRWHznzTsRnigZqPty9+TwzC5kldrX7/6UNFhgsUWJhKVIZPRif4FWyFIm2TcNkHWU0u823RVCJy4P54x7go2n+BiqgC9xvFF0TLbGPbVIy/yNVy/k+IZCrbWD7VzxyxVkQyS7iDZY6cLnaC1UtAZ1JRdyBydZqarfajCR7nC7DWWu/djbmrsXrHy+Cdhzy17wDD1eBTxeOSgy7XvMKjUjPJEgzjDYDIfDtwq108w91br9g1artb0F449zr5Qbe+F0PV1PJ0BmhOVZq2/q7nmo2BLFF7jH8zHCw3oQKX3zYOVH9gf68G2LNSGcGDD8JIH38TqYAClTHokXaZVsbW7++YbPPkRmEKxOvwo8A0JnJR6Yu+bq96mqwRWyeLUWMiyhF1JsDqZqPWk7YACQAZmmvNI3SD6bhnScrgeu0a4wEtQdTk9VOOr6jZ3uO/H4a+cD6wU74ohhIpHLoZf5izuUyXtwa1o0bkyMvCUvcd+A7eURKbyxsU9lREihUMemtZzvxvxh7dSSOaq5tyN9/6l/y5vL0TMbPLLQVKUWTCpfikHUHa5yMmwRC/VM/87ESg9TcoG4GzunWZ1CgQWWvyDuERKEIo8Y1ERxN3a+pqSthQG+NR2VTtQ22PsOkQL8X2kdMrw2IYq6MvSmVFhwCy925bYkni2PGE6DiQUAhDLvc+jsf1yTNXIGNFtbcCQJtlFR1E2y5WKZVRaxGNrb2Izz776E0UxuXtchbqcHv134rvMHrC7sc4JZOZpwNTEiEYwcVWOKpm8fQZOJQJ7WPN7Fms0rJlORjPeDTzdipxynnxqHiJ0Op0MfKgsqIEwYYkAnEHvPHLc07WB7jo9EpHdPrm10nBa5mKKynwzRfy8dyPkNyUGmsVZcGfT2W715LZkm1mweRnD79Xu8mqO0WlISk5Cv6TwL+VOdLPz2wN9f8mkzen9At/NAU9UuqE9pn8mOWKAR3O342akXhr0wgtisDJbzb2ktvNPPrN+KNRB2mbRF8PBa7Ou0Z5XTY5eLPsBur+YQGO/55ZM/dGDDEe+rI4kc1LTrZgcZV5B8lan5gM9SHtou7YPO14ndjFmGxDulbcdpzRc+6e8uymW2Z5CsAFN/cVoVZxYBbuetbf2+SJprfjODmXQgDXeou3ig10oO4/RBv2e19hy3BMeC1257DaWMxb5imLxY0uGm5BbG4DuqQf32K7XcpVQFFPLF2huPiK3KFvFfMxgq38CcOqW0YawqB3PEfyLttZgas17eLZukE0FWfYxEah7ipERWb4lyIYg6ZD4S16uDSb8sdjAuLhdE5314RFqBtPkm0XnR8iuiEfIpjRHFDG4QqCGrrn0ORn2BJWjVudSLfWnXxfY/2EqGV6VSSby1BdnJQR1irqQ+9gU0CQlclE/6V8T5XuuAASBPbnqJpd98NhcO0VkHWoMpF75IkU9sekG8vviD65BfuDl9Onv5NsiWwOWjPvb75qacJi7SnT4m6Y7oonOyMXRxEIk57hOe64BfYHmNdLxmx6OswpW6Cs3Y5u+1CrsiH6C+hlpe5MHorFJTxX6QZdcW73nbmTOK0z0r14xnNkT4WLmIM8AUvfKaaG0VOvBhMZpRtHn65jaK0J97wCo/KYWouUt7yYPGyL50FS5gp1lrZCuxMOdFvQPw8lFEnc8pzc9s4RG5fbvqpG5aHnwzmdMt15ext4VXEX2U96hBGUQAHnzsd9ih3UottVeptUDw0Drjc0Cat+ycKz5aHPDKh8NL0NHe0w/xeQrrFiu1rLyefyl/sYFJ/mDA/7S9SXlh38MjF4qC5hF5h9EtjPywBA209pu1wOjB1Qc6w7X85YdQyz0M9VvMfhyEC1R+H+sLnpPgq9Lgg3pNM+bZeLo9HXhwwGbd2TtaLjeqUtwCrUpZEVzBB3CbeC/FIxXGg7RZ7Kfg25PZSSIRzDuPj+I6+YrV8HC9dw5tRXE0BghnKISB0eLY1Gk4IPTePSDlndwsqmhUPiw6jMollIYRA4JJMHw1WLfs1YCZZJaqC1MWYlcVd2zh6Hop198R5hezuiBhkN2cqOe4rRmACkCKL/S2DpaHblws1P6Snj7z0HhtWCihA5yCzCN2Lhe1asvqmskv4Uly1+WOWG/q23WIEVUDA+HTBRxAnGoNcVXv1dx6EUFyZKVDYblMHDlFwYLYs5wcgiF24jc1lNWq7QBLqWwSmKFfVoR8q9bdrdgwZuG3u88BN1KwI5hM3vVoa9nQnTLzA8bTg+4J9U2SEXesh0euSmYOkGf1Oc07omPlQiQ5p2/K2I2QhRY+Wp8lMzGUWoMtYgPvmeS8cEa6mkgreXdyEx834hfOQG0H+93XOC8fVcO8lUbA/mbcXU7aKoR2CA1aqMATCnk4jVgGsSPnjpTcYwO2nSOo8YsUPNEwalgDXFI7d1DYoRmP5WtNl/tcDgZpTvFBRMXEjDDvHPsd7I0z9Kpo3kjgccvbWmXOtW7OwKsjaBeuPBS0oYaqMG+8TCib178deh702Zjal3XCjlsvEWGMr4Olc4TRJlSGMgALW0wPyrGTdtsVDyXyewnCU/ksSJ7S4m2fOHT9ueRnsTl+MaiMH5iqdlT6LLBRC4vObVPwxg+7hEiLmBXuZWJPICKmD7NDu+K9h5JFBdRU8gILS7XhRct7TLzVyuUn/14imXNEM19fCk7VyOiFtwghXlMBW3K0HTmZeeBlQP9zCdliQ+FFxh8fcqhmXLN6Jv5zSrkBHmRSxzc+bXmy32goZ5QCbeQ8Mx/QNxh1Xe+Hln2HbZuDBBtnCRpaDggHpWYLZUqJtxashpEXMYuUOsLoRhm2uZOXxEyCEQEdyhu8NHjCKaipAw62MirlMxnIzFkbC+klU00twP3BePdeuV/qfacLI7kwbchZRZ4YNzduVw4F+udtrkJNwE1DTYovKhwObd7AfDLzTux+3I7XHHZi44S3fSdkl8yqun0HlSjj4o+rympEU0F0ADkOSWwxVggGP6nwT1WfFWeWneAfq4dg/95Gk9s+s61gI/2TnYNq8WFqdxz3ug0qvVi2DDGU258TMUXiH4QiwJyDPWA7J25vTXftvKy4OiedhCFHQQRXcMFmX7m4jem//fhhfEAxQbAn4o+LsLMSE/JMLn9zulS9bzckv4dPuE4Wkmz3R93ypkNpiGGjkgi4OoxgEoRoqFy+Jk+bGRHXGjfCGU+/aFcyVp+WZYsa4RP+Sx5ohhwIfhKqAjjhxgpV7NjiUhhxBX7Mz9K2pYlS0nBYgapO3VrpPOb8svWmQUKBWfrPiw+ARDCsD78mpchKDsbmqTpywaz0mG7zbRbbXmDUDNDN9/6aDGf/oEJ2Uw5OT43k91Om5/MEIeHASp5W+DLnMCSTtlA6t+XUmr9w/oOondZk7mpWexurcZPpG2+/GOncd/xLDcmNoS3XRA4iJwD37N7ErdPQfqaE+NKl2iTpI/lZBMLCfFiZsFdQGd70Aj9NvocrFtZWNAhjhmjQGUbHs6UXo+dq1yDi6DRz0MzpqomVOZhQB5AcmyKdbmVlf8D1MwuDUIOO/OoqmMH9H1p0HwIGzUxQXmfbIQ+MUFXes+a+wP4QXSEef+50MsMbP+IaB+re8CatOYp1HDfI6r5Xi+wxDTX8PJ8A9QNUSfdGr2y7GdrctyWxDIuv0irhwcamimkFvKnCq0SW+IPw6qeTc8qztXdUOwTD6sXnMqOXbAsgZLu9sXXpvofMJsJ+J4QBpTlEiOLsXM0JncnCNvnb9n+h3iXw47TXtowrBJjdO5U4MAPkc8uQPQwtV39oRYEXeS5Qf3GWYz6rIK0XLfUbNrDWSh8fcbymQe6XBRWuh4LiYYkNJxoDe9bRSgz//oPfg8h4XkSLXeMCf0aVEgbW17NbPHza7JtLrYNFAhq9Cetm+LgL0MqEKPzcUUPzbvi6bmJPUa2qF4iXnMkZ74aW3T2W+ib8p6xaErB64TZ8mxyynESTEejlg2ghQVyo3LLgbhXV8AwopAW8WAHXnMfh29oAHEaDyjFNn4HFCXaeXhBnR1lXs0cnn6vSFwLSKpABCoiDtFovnxKRQWfsNkgmsrtKoSBwUAKzCGvB3xSuAQCmmBSWrRHnjUSuzuJdxlnrnnTpzQ9+Kf7d6PAoXbJb31joPSQ4ncGbfNydFWeeEHARxddAEN3wTXk+9/H+/wzvF0TEm+qXbkSfXwbRlZwXcGyTQ/4FA2/VTS7oxHX67Mc4rFLdathVBt+cacABhJtnrLUi/9MFrePvKN4AGYXLV91pKivNXtf1BRAncgbIkWWMHxSrb2Jd8I/lFEcUZth7fESh7qsINSzKe33cJoP1ik3fNJnRBNJSuhAcrDstXnZoKN1VGH5R/80ZitxRAJIkkUHYZzxNCs/1EuddWFrL61qzrJEfqPaJknHyHZ8bgfal50PhyYOds1oW7ojSvulMFPsFyklYkLW9PR2e2oWG1jHTVlAxaYHCgurfP2T+P4qXNoWTFR5bJDw9tZb88KHFCv6yJfMjqhVCo11qgluTESZyGFT0eItVF4oPMS7/WmV/T+SIHVq336gvEakQqZsIt08MO7CJD0MYWGV7FjP6vZ2jgutUcur22A8b9WRDTyPz18qQlWRHibUrgE0IntixOJl9OaqpoDLt8eTKCT7t7/YHDvDBRNs/tl5S5obU3FgX67e4fuLq6P2+0s8p/YAZPxQKZbIJhKD5kd/R7hlXd0nzhx1wPwwDjkqDpwUKwfT05MWSNj6hdqFFbE2CWRGIgnTjsxuFB4AWuBgXfsUPxwMDdsokZlvcNauEf0tFnoa4td/Hs3JddJGu4Sk+PCL1DymHZ14bQjwtdIYfgqziXOMrg38tXx3wxziqtBXPUVpt7GDGTh0SwZ+A0eUtetmhP21RXBmxyGr5XhsfTxmoB8lZ1xkFJRP1+uhnfAzgLgjiXYwtsgEj4lvYxJoZ6VXsAVjAchaQdmXCmwyxSmHBQ5lZKluw5cD3/l10bfikRKH6Gi+qHIGuwJRcIs4o+VvcMDMhdjLlokz/75Gi+GXEkzcMnSfl8jdoZ3aeOcD6dlhx+wGA/lrLWdO32WUEsMU1Ci1q+0/GuOFTwdmGFxELLoOlo1PFcZwyfa+xch3CeAfg1LmM7/taRz/r23WSQq4GJbHrP7k4C1ZwAQyBtaWYHvjDzeCHmIgiXZA8ofT4OgTjTmzWEHVH5VChk4z0BNNTHcnFegjUWlGyxX8Q4WHn9M83Pw+Y6NFq347i0+EszmzuEP7aKS+ms0cI7gOv9wfJSDDs9FzC9KL4dSC/HuDMpBSRMv+fuFAbG4Hnihdlsodx8ugM8QwEOppQh7BzM+1Ah9DyHQqVUUdKZwI5bihZdfuFH6yoNK5Nj2UtPizU9PBYOz8zBlwET6wTvheguQZkmPTg76334Gi2UGs1taEMy1iPf8WQNjj5wH5A2txgZ60qXuilFSnFAGX7g33b+7Qctken1FJhsUkMAWY+GM74Ap2+mIeo2bpNUEsrpF0c4ZrNKVEnORBStalEk8FZSr2+xMNmnokvQEvXGFPVCplWfGKGx1uTcv6n+YBPN9f+4c2xyHYf0FS+lrEVoc0hRnAcioYBcXWDKuP+JhgKCAIrkhVNKyLgBuLnImgZwVYn+UEl6ueqbLtnwWbTrgPM5XkxB9T5P4c0o+rO92+5dWdFnpPrw8vu6SOmMNUWgdlDzxQo9z6sv3foysrwpVPesga1LDWkiggDGpVtRoRSEuLHMyq6bS/wFsZdzrJD4i21fixWlUrVWUQfQ8TOr7/aSQinGZ0WJ/JHTE/COmJ0joqc+giK9tuVSNzxdsuWSzXSAYeK2Smq/EMyIr5+7Ae8HnFKWZMP09RV47Q5A7d/ZZ4Xqg0qNLBM4lTdft2fUty5w9US9Ilin71WTkyzv0V1PKrO7xWgE/WFBDylksjXkFDp4zzTQuwn3OIq1Mu5WEKOxJXY0LfexceppO9iN38voxQN3f1KWRSuQYufIjbxWvXPjVKMYrRh1SlJ81r+1o1GWGc76rlCH70Sldb3G9ZovK+SqEMzrpOYOiaxPnEsJWp83ne0EaLynEyFdCYl/sMvNJs1koiOcBg0oIwVyjlqzXKeVfUA4W+C8wIixzj6r92aS5aLut5MWtb17VSTUKGr5Vn0Wt6qwzwyfNyLegJrYwg2ESp4BYvPzrw2vX5Qy4TrcjwiJ2CAQAZzECZAYhEV/0QYMzHN1+9f98wqLg4CLI+y88Yqq4H+Y5Ayn5biRNO9RW3F5d1qWt1p+uNw6MI8MrN9iyBkuVv19bS/ewoWk1cKKUSmv7uu0oyCm0CvQWisirAWW+UJj8YXmkexk3yLgO7uWx5fEq0pwYOOsQoQd1TF9NRHfRPJG8+Zp3yEVlF0TgOskConOV7GJqEgXWabTBEGzcyGR+ZCA+scPvBYXgHoWZmFTPexjEvUElCeoH26ZH/Xh3s/US6UPQ0LHCJdtvsMQR5UN8MdyJJ6aWNj3RjUgvDMz65zjLXi+//eX2W6Q/38euyTAg7EnIc3poU3VBLRjL7hECoCtGidstB7PER7nE3bXIPFyQZeG1kW65JxSLRHpobPb/ctSjojPs7rBKdrPh5R5rVsOmj+ogB+BWgdOE1XxgEfgpIqlhwK7A7NL2FtwZZA0kuEaJLYRyVW2vtY4MpO6TakuyOO3+u1/83j9UqhdoPPdVqkC3FQQ+Wgua+pbDKULhbt7e+Y1asaOU1j0UqM4R1oOj/hmjilpLwT3vuQM87jlv36g2gX+WstowFrxYWtzIPMDJttAZnM+ChCZ/3FApuTopDLpOP5NVGz/WN1jXx8WPGmCX1YgtgHt0VKzQdy1/TfFZAbbiinuOugFETYWIrBE2dutLu+azrvSXF6XPz0isJMrBkq5KBDggm9sZ47Zh5sP+en68oxgRpEXGUVDVL5LWVzbjuevNhDGXzsaQ7mE0r8kAFKV5zvKtnlsGyzR0GBaRTMJQwTQUGIL2Bs/fy0wLZAZ3iCUAyy59+RCYzCOhH6ZYrHN4EPBylAyYJF6Juf6qXQVtOIa3CSwDGNDCqme10F/i7GohQQc8EoQs+PHsEQtKjh4EwHoYjoGa+PJ44HBr1rts/zaaXReqrQ+9QhxgIRDB0HROg4lFiMDeXhv3PlFykuFf/e5K1UDV8Cepv3OiWC+rA5aZ+iXUNCOZMqzQDS0Uhaq2Ys5T9CdL70yrChkUiFjDBPgrohZ5ypy+6QQdjeEhWn31ZjIOvTfsPrjdxZdD+tHK2ajqfw4HRB9W2bHbahz/DziUn4X/up1jS5Z7hUgvFu/svFnmTiXkgNtHIhkxaYnJoRRH8z9PZq/2QXeVbbK4IIfZKJXW5NswZ3iVIt/WvXBIP+kvbwLkMoO0/gi/2hWQ18hD+1J5t+aVG+LQJfCOFWo4VLgCtgd9CqArMBWxAr+2xtmVmHMWfV9+Yuxo7xtCt/QoDBcUX486Q7wVpAnXh11WB1Jp6vR0evtezGLuriiQFzmiqS236VpHKSX8Tp3XFE+a9+l754r1LycNAqIU1NxH+RmURIcciEI+IeEYcRQJJp6KziPFU0KUzpm3IcJj4yi9NefWe2LOLdAl4CKj+KmHMUWlhtI4JjOjhC57r9W0dmR6o/TswnoKm2nSqu/BT+h9v7lVs8mHsd0w8pokfLL7IzWdHFsYh4Y/QDMHWbbsiAe1WUbQ8+fucYuzVxZoD8XPbJHguIcFB2dy28yB+KGBvkh8Qp6b4jcMomPCyGogSZiCFol9ftSOetLQPHD3BL+az4erzPvCFh8YLEAluk7Qbk4ZFXP4eQRUbff4URsYDV7NHaKRCKsBIi68ceOOiz5TLs8WzIKvf41hJfG7uOKCvhVDK4vOf9web90XX8Npkg4AY0E3tvAHyY0FIDJOGZ5GSUu7a/RweqVSI9uN6QgxpcRxgqSyE2HxXjAiWACKYquKBButK6ahz0fIczDhXaDeevMXQRD8KgdGIYfIeh4dKjUE3btuu0nH6ceb/elcrMYCxu39NJtnH7Kxyhk75XlryyliquraDhB9O+ZmZaKq/Rola2+vBCs50zznmLy8XFf1tQh4bMzkVMlgUifJhMNgNWBIW29pXkifj6nCjxVoEpvPCj1auSnsnefFzA+LnL70WgOY0MRbJ9LefUHx2Xubt2rjlnlz+0EEKbu5zqkAbccKKuNj54fOSUY/x8FSxswrvV4tFkb1MpwJ9MWsO63aqwIduFUYJqfTCAIligd7uvo+TKgLVuRX8mqSuAuwA2js/b3hLFsJwEISL5REx8nkffugpx37qCRtBwAqRQn0QW8v6TPbQxjRpfiJm0D9EbzXNV9yk3n0o1DYwnyWLqper/S6pTMpW9ZpyHrxkuLeSlaFL5djF6GzFkUX3/ihh5hLaPt1Q8ZMDDS0IIcriVBXxKuIqF8gi2xQJTpSH66cOHoS38fJDyOekg/NiH/2THqVJgNdKP/PEHIJUCU8vD6xjEnKjPfzj2xfNJ2K2/TknQMcuqc7bplLJOUkPFGdot72SXSaZFwu1HtNMOkDp7jrEU4M9eNFf8PSqj8wmFXehnPtGr2Q0oJLiyuvCkCvMtZPkFuN5e8NCS+WGcbzcVsY2NMpZO5Zc/UdJw/mpxpzcCZ+DkwUsDFQfjffIPNUIW1u2kkBHu17lxyrMp21kHZCnyQc43eUj/cAfeZnN6uNrB8JoBHLxjgakAXHTY6Gk6iTh5iWrQ07jy8fv4ZiOO7ArxklD6Rg9v+eao65O7mRV5zyDxLY54eu7ExxvyLQY9DciMVAcazNpoY5bxHXVJWY3XwF6gkvb03fMPkHWCNzii3jyo0q0NRi89BewHo0fNbNhmvoeVkGt1rBNcz8Gog7YE1N+W8WYvN/WERRSY5Xd6ilqSH7xYrfkYdisNDV0uK5ynjGs1Sfkghjgn51OtLu020NSimA6w5vV/q6g5rEdWFaO5BLad0u5hlHIyBua2UmRIkpD3gDgPgXYjoEvOAD/iVw8UldcvX661uO+1XQjBVpwjihvIcD6Z92Dd1FVxcrHRQTedbE9oYuom/ubdxyTINrWID9mDcFpEGU1DG8hhC8GDLm/L0gHCi7EyvZ3Tgrv4r/KyL9BnXCCxGr4jtZ3tkHYggtOaXgp+ljkrmIRTXI+wDz4GcuKQ61Pn8sAWKjlSCfy37hEv4fBbPI0R1E98xYiIBaTii4DaCGNGikOngAILyJvgVQcQ7UYrr8ekopMConKfube+O86jE5rwdmnxhD9223hoezJdY4QwgOS/0tv57lqP6aUJHuvjZZQSvOlP2/+3RERurooYSfBuipyVFauOzJoeunMIa95/x7RmkRIJVmL1FVWmehte/XOnmkKj1T/U+i7d/LAOnhmXUgL3pKTC3riD01kDZjw1+ZolggjyDY0TCif68BN3ssriZSdRDFO0rTxABXsn8LXvVsbvN0dwR108iv09NNmh14GKp0jif3bUE/Q+S0PaSOb5V4fWlZVsBMZv5bsSTezLZi147mcxsWIBVZWqomajpz0lQ0fwOJKszUbiiEDLmZKsqYf9+3MC5w1zTi/fRtl47dd7ixPO5+ZN/SokJqEE5GiIWoNv3CWnh14iaxK7etjZ378HSJKpIfgFmfYiGS3b/BddNZXL58YzxsRXbsADC6KB6V3z+ovN0IGjp83qJZSPzmeexLnGa1bNAL4pitTmVFQRPQCfxFFvfggNA+nQW728cnOLkQHlVMUKXgbGljUuSSAmwsm0bfY3XnYefoATo/EhZuc28DuOcWHkX71H0CF+iRml9gUwUQm3y76iZLsWRF41GYuLZE/KnavVU3BFwwzYcHPt4Z/0ChwJItm4ju39XYVMQuGaAmZ18IuxosSU9s3bIib4fmTE7TGemQ9gdfvmlgxd5yxjI/mqmKMr+9KatxVYIh/AzXqOrHksoz24ZhFf/quCS3NcNVUCdmsnhZcXTu4zObbyuc5l3VnIntx6srV1FUcBsFQK9M2N0E1UTuh33CNcbPvHGFyYIkVQiaX4vNPbCoJogYMw4Pinp/XnqfZn0jdEKMONjuy1ASE78inqT4jNXqLcIGBOxqI+0xw9bA6afK5x/R5R46MRoXRegsLeqlku/subtDDl3hexeuUyNB3iT+MEaj+RpKuWiTpP4+amzrJamVsR0cuHmJEwLly8NCWSfSAa0GSGL17XeT3W3jomFqiilzv9EgOXg4RObqj1esZ+XMFNdQ7nmyz67AwcEnB60Q09HocnBhnTXngIQLdRgeyb30P4/Zn9n2cTXG835exTVjgf+QVeYyOOxfE+mS5/f9VDFSs4lW3ew4/jZ75IhOQI6cyFfJ1QfIfY738GTZkYLWrfzCyABsVy9Fq3E/POLxRK10L/AF4tNVIfuyCTcIK2+Q6a/MjbR1Ko3yPNQq+U9w0NirdGmSnuIDmFrJXBcmjJG3eeYbJ9EMzp0Jyt7qbmAMWG2yMY9XUSIatv09UkXPamMCcAI/ZUSvLq9aoLuma3GK9GeK/zNmyfnYQhSoJMl5D4mB6nmuyuWdW9GM1yIhusr+sqB5DS26zOjQRfTpB9uoxF3VY43SGoxPY9yuH3xClyC+Yf/R3H11102jEYLPm70iwy2dszsd9VZZU4TWTp/yJ6OhZQ4okDhkqODp57a7M2HK/nCpKjPOAASid6Ey4EwRREK5cwfk87qJHzXk4RGcJFr94rP3xpyocrNOM5AilsPkNBnTNnnq4rz8tU0zN4EP0A2p8JoZ++axTA28W6UiqdiCUVRgUmaxul/7JJKMI1r5V/5NyGjvlDbgcLTB8xFlfluDZFl1WucTfqEHhLoHxCCZAOhlcQ2hTBO++n4mFoqYoc/F+SHB+wUOO3b6UZuEZ7/5hvFK+AKz0Qt6td9od1xvUC7W6WqNc7IJlq6GnpOL1ogvzGjbLZNYTrEDxTzbUlKF4jo3C8qdTYNhD67IKrnDFGDWjoaL4gJ97H9EPqd8CdwljhRSPrLj0wRQEBg5/d9Cvu4hu1kEQAkIC42CPSiAwFARooMSU+fP1Vvu+Jx7VC2roxkvdrdkNyrAbgthIok9jHG4cShdwudUBIggAgsCPv8gkYSTpJM415wV2gWOvP2cNfHp04PnNNUUxKC2iqimI4GSDA5wQXue9HhfaSd0uvCwd7tWFMOD+PqEwvNgKe2XRbLBfnx8b+HnPhU45NUp2s6NgDbTc8pyLdaqvFQa9efLn5NEkw8Ym9dI1n+Kd7RTQBMP0Zzx6xzVrY0oKfjVhe4UY1dOo7iZnse7ihBUXxRSYGC+VpXqCJrMmJscJ3qWWkk1lq0MDiu14v/ojDZ5tejkmjKOW4WgqzWfZIgWFIVGFNF0znoiF3OPAa+oUZjsPxUERaRpaQxMJzpsxNHueFBcTZg+bOpdH2R/OYztaAWeGKLK5YnzahSY6MqkRBF9tvWE3JghVVKby0oYVUgtVwBx+O8/V+SDf5L+qxpBW5yrIhrIhc3aVUKZip7O8jG/rgoaVRSzGszqMH/63tiF5JEa44KErImpx4pNuBkp5dWxcW3m8Em4EPXqMiTXXVACFr7smQ3lDYhNsKb6CzuHnLnC7SZptGoDX/7xEohKcClrzNl+qODJKfhKEC9OSjtD+w0uKWUbPEIfILryAuOclGcniiY2vps/El/yGPHKUQEBvvG9jtt3uR5px4IpPzqORTYLhWtIYst/1JyuojOL4et8O1SpoPcmwixqpZNK6WZ4zNyb631SkyU4HdHTr8MtW6jja4aFzOcBA0EVqpblmv1+vu+14FtsrPDDvXowiVfmeoWocAsbUyMbcVv/d6bDuwm6dcA3z/ElquOGWSLiJ2NaXAMCWjDLXVGJqghoJsWq+kRoEDX5nlkbLeSKNphTE1wM5m8+scLGn8j28v25ZkrBbRdg8jSrgk/43Fusw1PIE0mG/IMpQaDDTZetXDJISFl5jmGv1CQj2IZ6U07NPd9vNv3ktCLiuN0YEOEV0ynoNrqkpmFmU2RPXOKj/I1PuK9itm5+K/XJM/YKKC/iQzPRNW4BDxJ6BNQkOm/YoSPEhfKWXNaZAhYepi7t89n5S+gr674vnBqh4RSOhOKU8Sli1yk7HPP4arU01nceRrebT8nSa0T7dKrCgoBqueHooBpGzh08jgyZiZ8jjARJ6cd1Vz9ZCXrI5euKJFxrH3OQm/DlQafzNx07/BA+XyVJuH/PIotwDLQOjizBamqcUFMOM35mpDzwIzINhjMFd5xN1CU+b28RPvsVc5A3/9abesH01om+v0QnT64I7MXhk9cezXZzi4lRjgriBzkXR2qSTYCdHvi3tM812T3zDB8+IBjFGQQyYgRKhleWOUzj/N7NANkl22TUZlKqq5QMaUkR1yYSnyInaOK0sy0GMtqhaFRHSJOrViAgzNgS56vetSwdsMAGdZDJ1cx7/YSywSTyUEl3pd4RP5LYOHrU70upYhrVRin4PYQc9k9NyCejBWfy0nAANeVz2cNUmCHgyKlutjOLWY3nAlGfW9+qaKGgvR/bF6wwRLVdwC+4uA1CCheNvRULCyVwQWpm1Nf2r+kM1+JdIwv6QpsYn0MN7+wpZdG2JSauNRUKCZUNYx9Hw/euUZeZHncLtPy70QwA3bvwOBCsmFBOE1b221YFdVmhmJtPyrEgvoq9erTNCeS4ZNl6qcXPjN/01Rhj4wdsDuHI/cnGs4DxusIzk/odFjF7Eg8jOQ0lOcA+en8ArhDheXNm4e6j/fYvM44k7bVwoZ1SdQzG6GtY60k1sZknvcIjjTLFpad62ceVwVpZDCFj1q2tUb66LLZatrzl4VzA/FZMjelCiSjpUj3ILKet5cuBGdiREY2jLdnusfaH9G69wt5Iw3HZEWhyMPhneSbvc9T2d58BRbDhIbT60i2Ms4txfo06Wkib0DMSd1J8BHMW72GANjSAkPHrPfXwFhfMwwFHYO1kCgNYQvBgZFq9wFgFtivDca82SuV/UauVYwDSYlwq7yM2l+4z+RCQra3+Ui67IK2IGtcNrtE2NoIgNum9iPI/kfR+9PQZLBkm9p5/pSXa7eKY/+JCCU9K878A908kMx6DVrkAK4ESWXUW16G21nA3cujbiZVMQ07hXfeBtec7f6iXBnQjmZIOtXcYitUI7XXWeGDUQYkTPQ+pqQmtlpgIc2mkacmGt7lMqFZEzYDGyw7xaTOW9paZ/SorZ5j4D7su1MOWckBHAcdI0VObBUJa9e5OIZW8+t3lz5y1Cw2OKf5ULpugzwa6jLl1YOSW4oO7Rg13OeZK6fty2iYOMZw9Vpy+fmr0nmmztmWDOb3T2JLj4e15kR5HvtmCSn1nm4o+ktaR5juspB2O96Xfg/R+6tG2QSkiRcVLP8h7V6sWSqGONMPwqj+GSPTjt7NZ4Li24aq20NOn6Xip2JNTSmpiJsNEiewM8A3iYaDdu5DJPwCP1rOdgKsvvcfxqvS9KA8KURHz01Ltiuwht5jcDKB/YKVWEPh1CNxASkBcOqlQOBQKAsBbzH+oTY4MhTLrkgA9dZ2tgbKXkeKvVKqVkab8ox3dU2KfbUcTbZB+4NLV18WXgX7zZGqBBUlyzKZrxy65o3c2NbAR9C+GHVckdNZMMmCRayO9hilbbnX3v7oeRgAVwZWl6uwczfZDPdveGarO5BuapBoh0S0cx6meot74UZEcnBjYKn0Oj6wM+L13Qk4mpspT+Xe5Yk0+d5cWZRthXSLNx4dBLyTmIDncpNQXYIzlPJ6vSOyvI5OefZ58JXN3hbX/Lznl9+zJpkh30JVRWnHTHg4yLNKxBo3QccwsVrTPXl9P3Ru54ER+SAMQrrx6vIfwm3u9hQXWwquDUp9hM5fN9Pwis3TEnc0KvWWSJ6pl2OQ0svxx4nmYRUQ2n/bdGDKoB9othWaWeeIFiE3qk795mfkofoGO9/gyS/xo0Qii8/KLb4NchL/jtkBl9I+nQnmGAOQDvullKgog93kJV1npHWimuEfRxpzlLq7+Owx5WnQYKN0Fw4zd/5qMtNoAq0ZxpRhK+JE2rLHHcZ/XwLbLhuP5kdsqPNf8X7tNp3txSfkn0fgzsOt1pyrlxXnZHwa5EZei7MNFu241a1mcppfsekYBPnLAP5k/K0fzxMioy+3nYyP9zYYd0MWbANeBed0dWnL8oyzLJIRkfEDW1GpBXqdAP/DJzbmOR9QJyK6AZ9D31vCpFQJdiacP3w9NThA8ILbPNDSIme9S00sjQ9vCXlSI4BRLJkqnKGC3LgwrQv749dVmc8CO2iJ8fYHBBHt9V8kAO7kFRuRH6+MaHduOuOBb/D6iCbnlT4ETzdJHCUYWR3mF9VqZWm2np51R9kwhPsnAPOmF232h6JVTxXTCwYbXSb2jQxCPIDkWOeuzawp7tNucL1W76gOwzEhiSy7JfEgUdmfR0dG4X9EIPuFglsBE7BJ7q9Tz/0kvJTo1DunSumnc1ZqEGuI1AnuUQOhAtCTuiXmZQus1l6sWrE4rD3ZPlrJKWtyUMt6OGeAW50WynglIosqlj7ngOiCB7Ui7pu54BwsSwamWStFiqvm0vI5VneEKIk9ZLGhQso4oGZTum625bDJqVlXNHE/Z9+quR3oDEWkf7GNpuulH6YnwNoFm71/L3J8aHjnqN0Z2/l9xG2uGRQxjQ8BWZCfOxCq8GTY9Z91e5s4cwcx/4vHDIUG8musTM3PuEg23Ai/NWKn2+90vzcUFjJ5WQh/RHnLmkcVbHfuYoHu5cteXm4lIC2G0pKue6n973gXZglJ9i6huGCSaYHzyZ6+UQSGKNHlxmaKkvavVN6DhXIzRAZiwBiJhct4KVa+Jib9s2+6673bjMHn8pbe09oYxdvfs9yjHXiiY69qHrjV77bYIF2FhzPH41xqy/6i/KO03/zWhLbvQbk7iIyD50vI60/GHtCdeudnyrfikYVsjYk1C0faJbIXjJChMLinQ8QO9ds8N4cLCMafOrXnh89ynPonhcu2D+N4FC0CXRX1utahMkqlpCtIXiQnfb0R2N8DhITpS5tXguor5Jim/ACQYVqo7Uiq7vhBdSoSmnxOa1YMj4eAe/IWGJFJhyCLFiDCmp7GEdiRN257URINDOavzX2EgvbnqV+4ql78H0esksOegIZfonw6Q1nsCBjh3eS6s0qXiFP+zgehIeAt9+6PYWo10eZboOhQOeldkfkYGnX3BakY901ynEJRbUHmTaCxSAQIGw/yUG+Emi0GLwc0wWV42nY1GDn1R0LHhYPSLJbNMTSV3BvYR8GMgPs1s+IMq91YfBOKu08P7JXwxxthEtUd82rHPb4PFXXVg54rcTx2oDjCfr1f350YkraWJxTKmLk0hOVJGRnzGYmUovucHMopDTeOsggBcmKEWK5U+2G2aIvm2ZI8q75UtsCPsiJ3L4+9fGB/JYj/90jutmq4s/58OR7yUUEl/SIiUcekuUPNdlMFtjFaq5E2RDhDdAJgrhfLMG3CB5hBhqvq4kQcqR3q5n/d2aq0fTBcrQXqqwdIoEjCPbOVEcrhGexU7vV7DwwtEYtvsMiFfGPLlnFtwFnqTUFdc/BQ29FV/xj5VuL5bNZm7q72S4VO4UH4G3VA0I9ttbgyfih/rZwO/QvIhsyKKccPSNgCdTW4O8Z7qOPkrLWYcbZzjIQLUNTWF7eFd8uPUD6hZR26sRdeselKY2bas03dQwoN0MiLEszWzbXQgDq6zQAGN3oUnDNyoapgnmUihp8cIiVX7qiWZ80L7CJmvFvyONe74KbdtjXx8IRdUyrRAOh6uMzdSrDmzlGJg5CXW+j201qWQ9WoQlPHJXsQ8TDgAOOeg7w29CXaHQWZ9LRsWFJqQCrv/JFQY+te9mwxDU6SgL7kOoBJj5TulgFkqpec5ho2teXyQ5rB5wjkn/pXA5m0ey2qQbDjIrURMeX2EDTpCm6xkn2i2UAoQGra5ZqiUSwGLb9oc5+Cpxsgj9u+Dlv7D+CtgSYlrZAnXHNqDk6Xs39PjyDz984cD+ad762ayjDOs+GA8OZbmlNB51iXPNDeWJfulXf0dtmkujLBhxY7RxFqdJsg9fP95YqtIAhNi6ikZQJsU+a0lvwsroyHYL5WfGxw4Mc3XbnfvRO318ONd5Y00Ery46rey4siKmZh9flYuRBs9rT7rqTCbtxCCUy2AxK2F6c5TkTFsF7SW6VTutmQw8C9g5buEpbYh4vTxUuCx8X7UJ6VuBAUYsDJKMFKItz/T2jwIOuTOFkQ6Tux9/x2ryBTMzXQu2qUSroPyxvNY76f7nx00zFf1FSGL01v+474kB9VQDl45Urx8VP7lFWiRUTtzyGi2mDDdLVNiUgfWjbwhRrbl4cSajaBrFt1wbh+TJBC5wXb72DN+ELqkOyMXHhWoDFkjgOSHYOeyhVkTbucdh1Xl6agYD9nKmxc8aeXAOD2z8fC+GBuLiNIOvw6p8/I6asldkvc7TVNja0SeQ5N3CACMbZvWAeAjsqeUnTecc1z3gKLDwidySsnjIoyzw3hGAgdkEB2e/2wmMgn3sLDoqENndiQNBoi1ENOWgZKsdLGrBnVFT0w7T8865485gCoQN57DG4H8oZ8SKOhCUxSoE1bL77kp4xEENhTYnE6EQ4MJK6bWPkP0flWBo3rT/FAm5gyzW0Frfp3rlHh7HpPDnTSRxJH09N9Ujndn5HAL7Agv6mEHKKSYXsMAH0h4ZfceplzBRCw8krlmOabmrUlZ5N6JSXmz2M1z7gVDwmcGkNv+/TYZVzJlM7wF+ppXlm8RXoGYbPjxneHhL8dROpnwndorxHJLzbOM4HEHFe9ixAMSdTqZdFNWA33xx4WueQG5GX6xjApHDdWnu8qGqRZO+hy5P8nLXBypU9MOhH56a6jwitOmRKB8ozyRj7bnKWcwmGNMCKviCUxBO67omNwgjaZ2PzHLYPOYga+t5o+g+louAHCjsOhRwXEGQXXXDfZ2o6EXfe12g0+Q7K0LLLZ16T0KM3/UIypAcVYgUwZVBhNR4mP5/CYfn1a1wcN6gFwl0Ywcfn+oPsbJNe0cFxu/3skImujJ1gkFVqUKgRNHWUtt5Q32VIgKxKOdw7uasaoFou5mMdjSgHNLeMEcke64I6C92aC5Xghp5zTOfrmoDRnXLvsMkjL6kXVdBqh8SnsP4VjoCvI48pFXnB0MCv4GPdUgITJlFw7/CPCWG/9GECyMtA87Ib1vv6428PLfSBxS74Xmv/px6ddtC8CXmrKDfivyLuqm/CGRCmZV4GR8kGuNIftMs65Lqlv2bi0AqVwYylDayS2qrWZgvn5208k5zuDQLZgvYP3Y5BNExvrg9KsJGGMi4/osPakWh6wqOvp6bwQ1P+ytswDPwaFHJoaqUVxk61I9tZwoX69FBtiOiguNybyWYmm2sXa94PZSShYYb1lMC2boZxJCdArWhogVHaklRB92V5k2NHh3+/XQo3y+2GAtqbK3euBQxWQxoJgpHJz3YAcuTZzqASuvsUXoEfJpQbvV7AKbDGyL/sQ6OLMsImsvIIcW+V65s6r1rfUtKSUPA3h/YuOLLKLRfrm/RB0o9WiexgeL1+Napivb+LDL2dIgJouS6PC7wgD7KxyWn/97XjH1yL7aqrKpOZIiVfmoOJlVrOdcp2VeF1c+ZO9avxN2cZci1Q2HF1SVlmqH7bmRMlttowdQlSeXMe+qHcHD0ba54lIMswAt+k59DM9LEnxNju7hzOdPfKPHAJewjqNoak9io+O4itFYBGyMbStPK69djZJwRnkM0wkkKTFms3cmXtQD6J+geNnYcr3YSkwI0o2yb068Jg/y0Y0DTGmVal+i/X58zD2N+ddeYe5N1eQYVY3/7x/pDbyG+VTkgUO7PxGcPynU39Pt/QAHWWwaegaslQHoQnYztMNas11i9A/VIqz1qaPGzMcYcBqayjiO5L5vFZ6HoXnE5OwpWQ2fLiYge0/gL10rk71D7o/Co5Avz6CIZn+XnJPIKabPa38Q6wLgbeeF5U39Cn/R2VqgoGIPd5YOjMJPNU6e4oq59LPaggLqlMFYVyJ3iVycZeukYagHeYijSMqcAddH3TBjS5IMmFG8YMDmF5NHeY/7fKFEQKdfY/ALpLymkrEDy0r/0kliUM3p3DS2Yy5fRd8vodM/H+S5xZKNLWTSyPgzarfZL5fmJtUlLwmXPsP9S3ZDS/BpI5MycstM0bSqK3NDq3nlD888SX0gb+S5Md/Z7EDxqFIH1+bFVq54vuQ4sxUDksd67Q4ffVkFiYiNDf7wbFhQNUPokNYjUS8ZgVLMb5NMEw/DyltytBCiRxc9qTPZtrZUdWRs5Ll+4PbLFt/H7pAUlV8yn26son1F45QLLOHtznbEft4r421HsHHg5rzDq7QHfO7by7zS5BXLdGSbC8VCepSgCjDkxKs3Pkn285lQx3cToYTw9plgcoJiuVxmZN2b2bgoWjjgEZRuFVZiEqIlOYHJxY0t605jDr3cLp+kOsILQX/ciq+w1y7X+9cgz4pvv0uoKvZaG3vjl7IpLkNbf7/aZJEx5aelvE6ugTPjOJdHZ6PcmZhdfoue45cedbvMFtl2DkyRpShNmmDydO4JcmYh8yPHRj90HG2lwdjuGtH02175uGNgntjCc4kQk2XOwAiJLYaZxx2Rc8oP+gdeR7W5w0Ht7hbwNdDzOOKeRyWR2XdNTY0GwZpJDH56gyKm6PKfBCuiJC+kxZeBp7SETNGrRDmwlC8Cujems91nmlPXlFf7stXXNh/uct3nslN+fnZvRJsdgNkSfbGMyRJ8MYjT5yRbfezOiLtNh06DeoXxL2WM2CpVUKA0YTOJfql614pRFb+MJ6J5Ezak9xB111ztg7H8DPxPNU3LIDSAXjCIIZ5Gws/jfRWW1DTZCROp2ilFnHF2u43i2tfJqvFqdybZ6Ktym3MfElXeMdSLCzjZvsIw1BuitoKQCl2xqyHc+dQsVd5V3y+sGFgkZVGc1HR2EwHYTvBLjvDyRDu4/nC8nxD3EjXwsLXdoweXAJBiIovo64MEGKbBRGXqUXnKwfxplSNqp1e4X4eAKEjETfzKj+SOTrhtu1Y0eyqQmj8D+KqZdVU592L/eJWhaOfAxkmcp3z31P4c+EATDv9vZojbhYfnWpfnBcFAypzWuyFORu+p7460o4EWy1hjUXvgo/8WzmoSvlY0GWve87cuYWDHJ0k8A8l7WyYocndPpaMxqoAtAnGoV/6lZxRytnzXzDevn3/49dBQ9/ad+q7Z++kPTN8E94/hs9KIqFD8zYxzx5DkN5FpOUoGWbIb9K9NA6CXDGIGpght5CCWkVX7+QOmKvNWziDgwiZgOMl6BeinZ/SSzpWAVbXbze5jiWmjVfjxwtnb5pQwMDcBWRfysWrl3Z1RMI3AvXx0Oc6qtzlDihH29C59WBFiK8xufmSJH/cgONqOpJK+Ql6CvXRbPORGU9SM4jVXpXnCf6tLHgwoPwXj3kds7Tw1EKQ+0unGSqzJSA5psQ7oQpDZwXoEM494EeVGOEgYo2gtl0aIOei7sxMIaSyTVdf9y0InOJ3wfVuyyNbfNT81eJDXIAEKyU4Wg1AVdWeusGVIqFmr60nS3EfA3wuwbXz1Xs+F0TRa1dCXxO9IHQS5+dU+P6RVXKAeFq67Nvs2IjLZTQOy+4SoSngyvXXimCPRpLUnDUmGK5dVt1iccRy9Ura7nG45mT4B64fL3DjvAvGZmtHngJXVt9BrDpXNzMPsNkWaIyj19zVbv0JaEr2Og0fCBMm3RmzrlnkqYyIBJny9LGlVDBaT7bGsPQDnoPFvSoO72HRAhpnzwBbui5SvNaAehYjI492KKAgXtNb4yqUGfBifjgOFzndy6qrPeyYxHCelkWSH+kr+atO8pbvXomAPeI+GbIQ23YwsYRK+o2Jv5HYq/Kqne6WOokFH0cKrEfXokH7gZFnXgX6fllDZ7gNOXbiSZdqT6jNvLvcDJ9aBBX8nhKnUhBUjnJTo1kbknCsYZ9uDtpnp9Sr20/jY20NnK65p5sxWisV2ugFF8GjPprv+84OcaJLl81QQYKSmMfAGtAafPcZHN4wv5lA845xdieW/X0Q9ua1+ll44qbLhtgUY1mezXfTX1LFpgBgOO9iZzpudTav8xAsl0axFDB5UqTbSUWlfeIAYZTtC/Xr8nsTZ+SHqwQVNCEsR6E966GP1W850WX96vkr7ZP1CZANzY5VFjBYsHKIIH1Qb7wr3biipmhjyd+7xT/N9J2YL9R3rvrAHTbk4BGnX3cLTHAd84iJNhT66BWH5kZk9W0GM+U2ZnDjItnWC4jwZ5X52PnYgg+BShZ3/1jRr0pbRkXzL6YjHbeHk6UHVGKjMMxgznjGVQgh/rTdWRbB7hLQkz1w5OuzIwDCxTaZp57PZz1acyAat7fa4UcBJBkN7JGdePIuV3xXWbeRNRjlPLdv06+3V/76jWz2Bsw/2GtEvsoHIuVfn1l2rxDTxYFHtWniHgeVWh7SggRbTKEX5ObGjuHeFdkz4fe6zHyC3vn2jTAFmGRKADdNnFqJbdizwBuA3RZCUN+Kz77zSMVUuLvpkyfcwUWzXGeBpaib7KXx1SNgcvhmgCbQGVEvBDQegkdMUg+Vx/YPtVNIhNDOyhshunHVSkSf8leczxGR635cthMkqUIBLvbJ3rr1ioZAPyTOZgcRDP66hcL3EGQomrpiUGZ+vYtrGpL5WzUVlpjlws0QjA/ZQNKdOCW9diKysKQRsaDn8kdlKK7P3kp3yiJqKF+xpv8wD7cvNjQpz+MiX47bjudc6QaSSDEHBkWhh0kuhEhrOBqtv8GoeK+UDcJFr3pp8KeqbKKtxtjJ3rQFlfKE81TfNGmPgljDbD+2ns7ywC3tXai/ZHjgu301tTrUW/vXldzMGjzUqfnZ4djvpm8bnuHti+wgrD88U4hjxVr5DMnTu1ueQKrCmp2kVA7WgF691jSVPotgul+oJlhC0KGNfzVMVvD5Gk848zX2gCVAWiVdX7iYS1HWlwm76AQBuO0LpMXLg7LcjuqKi3aBG9FvNdphaFcW90mX1uu80HxK5b8aBeimoKPvLWxpCg+ao7Y+TUMdtWfpl0o+x2tnYGik1esIViB31ze8CBhbNhoK0cMzCl41sxmcq2R7PSE7kRgPQF98y6rrAv6qfpCHHAjSU0MHC/e30kVPor5wLDU8MaAadEIOmNsf0mciObtCN+ARNNOQQT1xU89wd6Nb7l3jrJJJ8I8iq+lXxVH9iSAf9N8W2Si+g44i91TBSAkFLtCSg1G5N7LN97CvS0BD2AIhYVMLgdt9ScxqIVY7cvQw8f7c6b9WFM+xZO/Y6amAKoK0XRCViG7Rbyg2kMb6+63ghvJ8eNcsKN6WGy7gxwUBRxJI3l+fWSVgo1f9HYezhLV57r59G5wUbko7DBCW+PC5GPXrgwOZNHwXAEKC9umCVcyK+1D6uDyp7r2RO2Yn0zVdjUNJCCadA54YQ3S+wwWEez3AafGcxDegQanI52zqa7umryagurPhLWRvDOBBmozScxe/atgJJLPD9143gV45eazc5ei5MXHGTw60qyt+73YPKyfxjd68Gr8tuD6gzmo/LiR8w0PDAFH4c8dFtTcf0sp/JDPyAacNNvc8DIKWUhGomo533zw+U+ETpF9QDDSuXq3iGWYbQykjvYxedxKW3bKpkT+qcqJ+X3fq6UU8a+hmpE1a2HVa4TyUBy3ApCQAfHXxKuSwofL0+S463teElzNaglqtDfgtFGV9FB/3zi2Ef+aqsYUw/rJ6WbWoMNBqZ3GEg++PTMWJddh1Y80ETdo2y5sAC0POWtg6Df6nPRJ6e/Ns+CAGgK5wiKHz3TXrC/SO+Disl6cDltmPwghn5y9L3OPZSkn/nTuM7a/r6epQrwcRHfc8s86IipmTJwCOvbWd24d9o3f8oh+oqabHNHFQer2G7PwLMr8frXbgwMPCZjoZ8U+Re2gctUGROoNgJ1cVhFDxjvoOoQOcyLnQMrwuTvZdu9Bxxo/jV/YzVIrw/jI28pcBGkNMYbEd57AcSwKjuZmlnij2LSPECHu0CJYtpPcHzHYSWm8ajZ24+31PRPMb+RkU7yqlqoC+HhDatWPO/y0A2ooItEi/2GQqv8SQHiol3ieeWpO7d+RNw/QBRWFIpU1UFhiqLe5iZI5cGGzHJ7AsfqnLNcuOPhYA7QwT76rSsfxbwWhHwdelk9LO0NVjH110wJsYPEA3dw22A8fesdJzhNfGG8D4zgWol0eIlzED8yuHp2L8ZoysEOQ7vgQ0KL8qfUlIuXC8LM30jdHEd5ZDplI0YE+HjmXSlq95Or0rBh8sMVEN+6bYLvK7kHdEMGKTHpX5jc3phH98/VAklZ+e0QQPwoAGFfu7cn2A+YOX7rBSDaaMGRcveHBWYHsFQD2PBOYkz2MUO9t7g9spo92XLC2kgORYFIktcv/zTQ0w0pgM9CE9+ereaDzhJyUrFWT1isbp1eLi8BPDtLO37SSR6M0QujL3A90RLf46aAjmp6wkOhgGcl92ACQ92KTqkc5DtDJJxH4nI0hVuEF+4dTlvbR3mDwiOyqzJ/TpRMTMi+8YJ2ZvkXuvZ/3I2a79KZVcO5nycL033qUfTn5lW1jPflBXjqYh0wJc40qHwJ8PGvxTUykDpBJjmNFSlu4E8NcoTXqM21cotJcguXfUrcefbyloW1+V+ERs9ndvyXxBkNg4GHKBVU2OruYauw41NSmjAGb1xtX7gQajlJXKjQV3CEh0ZmoYBAVIuaZIhYtJgYHHHW6r4INi3aHOPVVVXxgA1Mebj1xZf8auSBAWkAe4Ybgn9/XHbaVjXvMsTp8wP5RzyYniwN021wgt1uk21vC+7bu0IXQ2q/zysD6G0w77lCIXwGWZwpiQ0fZJ+ZA1V9T6pIjOtjFspJWWEBMXcSnN5IKJpB+BHZ0rOOQqQyhIlr/KX2+YtabllaKCbNxOX5JWRCpHFPPYS16+dP6qzZy+GOzsM3GoT+aL5V0ypS3q4TTgVq1zl5NkhF1/pUfFZqh6QDjGKuRMPsdDHyjsex/N7u5Qyir1s3EZVb8MGCkVZ0ffzYsgsa4E87BtQWBUIvtZ6WFp2sZtfjIWo/lidYAWmovcByUmE7McH7iP7nQczG+t5uXUObeguF3hp2Rd9VG6kOJcVBGgpYPpsnUKSj8oQdTNNsJeCOEh7/MH3AusGG0ge8FEBP+p5UxaYpA7JteWmFr5nGYy6/R9rYl0IxtAYipQZF99o4x+HHkkVuct3CxcaW8pHUpgKah8/I3kXDr5P+ua75NyN/nOIrt7QbvDLbAWnOleoQw+g235joyiHE+Wdl/hXdEeLY715jb0a1s5XJzf975+0Ax5EpQ9mV5O3MzmZFmAPlhQbQs2zDrPE0ROWeMmshJEnWWOwLETWxhS2+0y2mvk3fIatb0TMG70p2yAMDhbuUJ0yVLSU/jUauMfI08PL3SgW11WCTN7RSPzaKaS0QdeuwvXDTxkh2QHdjBwjM7+IF5AUkd18t2qM5cFSDnLMbN+YrKcOXMgheMJ20rhXVktBAxxbJhqqZ/hlePpicI20wqWklK6ZnI4T1r1Up6CThcYNZeqVz2Y+JK9H/k4t7VeTE6MjuHLUjdx4SrIg726o2py8IGi3P+u3gJ+6nAdstBR0akbuSFD1s9PejnWxfLwqR0Zf+NPDARyKf3PuAk+ZUr3xgU2LsMYBhiFLQq4GnEkB0BKWvv8uB47BjBu+gv7EQwxKlf6O6oOBDAu8/cIuNiqBFjqqD/5Dt8k9p+jR7Xww3q3txyyaw8YPJ6QKzOS3z4R3FkjufRTtOgQDIDh6tbKrT9jw/ma/WvE6DLvPw/xAKIyXbQnusnZD6iaIQQNa5ULpyCubJo65NLrbX/yCI/BzDlumquJ3Nm5ugZkHnTZjltg+6oOEJ5dYb1W2OJtThgtRWhuWiTqACLFiqRU9C2XikYLVvWw0sJ7YNnlEitJZGf0hDA4Cc5m6vV7Ck8OQC2tp1qWZK8GfosyxrUmtHnRKmGg9i4logxehRCdeUTwFkk4UCBHi80C/iR+BxtSEV5rc4ssHg2Jhg8hdO+Mv9v3OUdYQ8l3UWQHhQ2eEiL0WH+E94deCxB/7XXv5Du0GY1jIzBLi8vwAAIO7HTeOm7HmI7Qqu8m/iQf0EQF4ATaKxb6s8XIytHa/ICZVDk6jZMWQNfC6glp5mBlpgAhajclRngvttpKqY58L1004RCAByt2JMXTPrcolybQgqilob5Xxpo3s6nuiKKhoGLDo/3+/JffcleQb2Vz+UIa3BHAsQntjyHvmSzAbawcdg73BcE4ej69/ByNHv9g/uxG580M03yR8WjraAiHYpG2cCgmPGWRchRw2PvsCcA2z6HOGIOqSbTkLd1gkpdi4j+0QEoR3JMiCmX4MUxLDymD2u1QouYJk/zfrlx1qp2KTHe+ZWIk+6reM/+QlyLXsXAM5/S2UstLBHzY+mBATcEh8KCLZBQZnTV/GsHn7SUgCzedVI9mNjUWnvXpDL3rML1sARGtoKN/3OOhod7ojezhfPg5ICRSGoA0AbNcXkK6qbd7v8jpIEUZkE+Nx7gnNLfubDiaN2w6ERS9wAWWDa08kEIwIypWtQzb3rCwvPt3z3nshHVOIhma9lzoTMBiLEnoR7AqTHjE6zxGmUjgGF1Y9oiyiAB8WYgt4lCk6uoTz9suuI7fa65GF443knwKUb0y3qmuBmcjWK2LdnVdGXYLOesmK5nuT3q1/tW/gjz66xWCONtGssQAyxjKY1wAqyVuTLKLlPKG1+GwO5V9KyTq5em5LM0IY5UQDSIS8ol50U4skUCTXUXMm7C39oAP5HK+t7EujuVO6nnBrJiYlY75TH4Fb4op/xKdC4O/5cmr6jYhwxMWP/XKR5pxRyKVrmnA8PDtKje80YN/m22IbtEiknJwIYefdLLXci/kjKbrHOCa07kYmDjPWW0IvfjyiI/WQde1aq2KarFDI/LnsUuJrLT1nwk8mMDDVO9c1VSiOVtX7v6M/5ma/fI3Fa+ab38Bzemw/yT2MqLwMLOSzDfsjGg5D7AZCOoksKrLvsvWsIAN5AySAmC2lXs6ZADSmIUWAYcygh3Qg8hgLXdn0d0Sl1wqiif3jSUWDQXFtBj0lBG7W1w2m7XduGYrIzFdkSEflKEw/StjFgPGXuliHKMS8dZ77qJCMi/W1dLCvfg3bh/5juAjPsHWbDHTB2CA+T4lgfd+MOLZyk+s9x6jjwapPrGi10tWBeUmRVo4FHxWbcwVz6SYywpvMMrjRWfW+H+RPWcTLMr6vfE1NfZ5CdTT3xqVgfUNrYBjj87CE6SWgIrKDKgT/vOZgKv0ZlDTXayBdfxjLjCouXTk95AIVgHabpJnBCh++2umCwcUQJF5mRRtglYX9CupuLFkB7Mgm+saGR5wblfaS8QsFb/8daZA3fztF8VcdKxOuDlYQgbotiXLaa5bOFFN6Ir5BPwXDc3jGy2Ux3dce4GWWp3hC5OszUMz2SpGtrVegtSUdTH0tIms2FrC6z1HhgvmAC/zh4QQqLQBPX2uCZHFtlWGOAGTXjD06+c1mD1SWe7yLD/V5V0GzhMQyanq1k5DTG/QXJgqumPGYMGlfnSF5wQlNMjYlaQffI51U2ahlDzCbA/kYA9QQtYFcMg4gplTy1+SQNk4gQmx79k+5xaOnAM0PuvesskM897DfknRJ1jluaL2FiZQsWTEFKAHF5jPgo1SVLINYBKZeqNfJzls5Y6tL8m7xsjVClDIQQZ6qF/dFCGAXF8FhGF7xHe1F+wIWJlNc50sXvQhfkPEOzQhVC1zLmfPeP7i0D5cvFCgPB7KSPZSrXDsEU4F5dklcQW7ZdnngAG72ENjgbLvnpcsNJZVx7M2wocRtWw2eQeezL6UrwuSDuCAOVnMWUAKR/0xiL47sPU67lj1WKQ2mqIayiuKxn/tlhfz2OsXxG6Hi3uuUOx8dhaZqp7voeFy7KoMpo+/wdPXaBtDLDRDzOsIfMPqUZyQMT3bw880J4NyQVztE/hDCPkDvMbVaWNrSWK+1cI63q5IQqU/kCEMTi1M+fH6VhFoif1SB1t0dSBoFBM35ekliSFABRwTHKT8Y7wB7S7YR2no8B5qqJ0ZKBNVX2Wftnadp1EW3x+cAsZGaxn2r/4mY2f0e2BL0VDOi3ZzpvjfRjpxVVTOHBJVNekjoQ8DnV3krt081qhzPv+78jxAMlkw1UBHXdrPAWllkjGb3X6UijSRqMs9RbuMqIqtA+2HFBnFA43UYHzPTclq9DOmC7NgbyrxOnOl1D+KyHHNgw4mL9xZbMCx9od3uo1SvzUq6Pc5KhoZgtlIFuCAiyXIXDUVS3V4L419iw7ILXhhfVAkRhgWBVnKv6VQRuEDcIXhHIZJZqxhFLdIYCAOT5jkTU5pekVcXS2O+qIpyDd5JmSoayoXolucyZs1USB3RkJosDG1Rf/69ZbsKLOQeV/I4Hvrw66mF9RAobrrHZOyVuVTXYF5oR2dyxPskNwvriLxw1Dxnh2oxTMqeVYswmoiI//QAD6rv/COiwFmkNcppGuifhF7tpk53/jAxi+1ReKSEQFDUg6wpqw4MNIyGZE5Wi6q/dua1nV+8Iq1ZFEpI8mwgSSE9ORZ8u90keXgRaTedNhtHAL+8e+v7csNdxKxbo8pc4sUqQbN+w9eqV9KGgt8rct2OWsoIGvkTaqRn/dndRjdqQjKT+C3x6bhmzzC2bKu9b3UMlaYM3STwG0Vl2IkLPtYBQspu6bzsZS16jXwYc80YYDC+o8rCTILZyljPUdbPXVKgmxnXdU6uCOQrnfn7Vt64/j3JqLAiNanWfHHw3bIOt0MkGuwangcx+Zkm+HE0nBimBIMHt38h7ByA8o+nUtjLoVYNuH3i8ppWJnghWEM53iKfbBGBce9G078vybSYI5pLxzfxaD0/cHjmKSNtAWaxi1IRvBIJ3S519AwAsNeeXXm8b6UMFCdvjppCQrj+S40VRbhXUzYZ7hg+mOY1GG7ORtZl2nWRtASttMJEB58/IdXAQO0XVBkNIhvSb5wDOriSXDkmgfJTb3qj0cRLmyvfVPRBZs/612rPB4b5RIQWzzlWQQmwyf1dAX4V3my5Uvi4VMMncGpMWQbdwaLMu6ptAKpiTVPrIyQ1thjePoED+u7pG0nwXZCk1/20VVPquJSfFWLOQRXGGTyZoh2jWAQUacPJnIbkFWORRl59aFwEptADLFtXwGugbrYV9hrwFP+3dvw6XigKW1lY7on8YshmNteRIqAC7C+3DZO+ECjrtWqv6eRAKLk8sptHSMXTnR+YEYpskKvVbPbJpz7X1eEsuVBUkEYiAUo9D1fw3CUuPyxwsnbJnqAQ4NefxO9eYUgw6Eyu5J6BwlprRvUZbo3RsSIoLeV6TTZh5llk2OmsOypsda+Sf5omRyhlaLhuH5K9G7iNyTnG+wb4Bo91quBu6QK68IRGerdkuMUcWdfBK17OggntynUY+eKNFvyz29wTXcE2JN7pOENKOrOqwFMnQzJpeGaIuimVr2Ly5Ls2cOwrm+1wWtmnJzVkG1f0DXBRnTjq+eqv/I2kKHmwRShNBOnpsnJF0bZloLY13ObMC0klTg5DESYdbtkeqePU7JHjwR4GxUdcHRGAWFLJRMsy1eJi9RJHxfqUnx0jEDorAToNoj4Ank3ZL3uTIDx+v+1mSdXD8LpdOzvU7UQoDAA4epfC7DI2NpNiNG2vgqf74o8HF8kGuapqBtOKu2lcnOSnK2zc1FEmKJ9+rLQvKtMhObdSdojuYq3eFl/CeXFs026Z4Tr1LFYTCTXMnseO2c+24Tr6K+W+er+iJKhvWQizn5sN3ZS2cBMQ4PLqskcoPBExeiL2f9DQlqxIvCpohFzrZrHQ3u/FcykhIYnhbiQ2qE+KKEQTx9Lv/APK6hlLg9EeDr1yvZf/Yx73xoU6g/aHuUHB2jD6iydG43cyNY2STmkT8mEV2A5a5LejAQPuLtTH+oL/yRnj6jqFB4C5rz6tl2dXroYESEzaeh+mauICB0PygDSJD3zX+Cm9uCMYkbqfrP1ne3NDfTpkXEGSkcapYv/508Tx29wyRiwycFbCIoHCsAA2ATryRZ7YAwjtHV+I3E514ItCoGjtPm1PiR5yjZxQFU/x1+97Ulasy227GzM7QCRAHOcdMruireuJ0xCmfLZ904XSsgL9mfeUT9gnFeCfKj6VQM5WQp4C8h3qtfkVKN/qv6NMdcqAyDzyX5vvXRotljEQRwqBHo3B92W/5CFdSQJ4bTpFjZqfv/fj42gWmcL92wTWtX86lnbKvAgMSsmV+LgybpAQ09VeEtLujsxQFt2fOvauD72aGr1iJ7RZyOdr1qXYeCe9B2Isco7b7p5kpv1NVustOmzgFWxzCE77T99hCXENoiipEtg7o3sUhlZczRCW6M95gnEtLHAwiy9B6vhqi2R1gxtg/fa8YylTZ5a/gWQr6QVDD74OTbsxyFcKfgRNPQ1q3t/LEKlr4JQO/tzB9F9noYURzHv9igdgU7/1ZQKCxkB5a6O8sR17Smz1DNYc3w75g16Ys8SsFyfauNwoPZOrCL3LKwN6kChg9OMYqTbRBcALhwnOk0uoMRaR0JgFYidRjPoIsXyu2qFF52dyt8nEkAyR7aQzH/A4vVtB/tK27qLmlsPOu3xGUtQtZABjAxtOgn5lKjXVHqUFFd6anIFqYWjAWDkQlvqLSDOY1zO7VPPoFEiZ07ESXlmOML6UaGLAHj7tNnyWyJ3s8vJ0DCkTo8CbAWVDXiKDf8c+LGqIj2Mtx/y7YGRBBZeEiGJ3pzVLDn3j1nVghRQ3bfMmobatUgEAjZA+R6+585boPERibCvqeX5H+rX8CiHacy0lFPb+dsUVoObzeSlu7Cgt4CEAEVb2Wepty86uUjTWM8GmpSA952qcO0lrf992IWULEgLNqxwRknFkIVTbPzeI498CH+Xnd1xtvh5ZfVuZefgR2BoUCxjyS9Du6bxJROPGWgQuAD3z1Eb4vm0XZbnNKdNzTaS7aXzo6rJiqYJMcHs9Vz7/C0RPPvuiECHvGnovBaiE33ZXXVG0PGa7j5pyGze75RFapUzPKjPtRuJLcPhG9KHPjCexxV6DooaL2xmkyTluDubrkc2jmRC2ClIG50zv3hnlDSIt4HdKn+LPIkRipKIFMpZnDcNguhvCvUsHhDunL/1mffLPeuh7ugBRW/cDF16Wp3rFk3wxjEYXBNHIY5xnOE/Qb+MP8qRRMt80iZoqTYk5yLdpuNdkWn/6n4PWDyyfN2sWQXZW3Juf5nRIBFLPsPy7ujNprHooe+H4o2AqUAHCxNqR8adfOIIH8PSpQXDmSXq8mQfypLBJcn6di9iE7xTrL9hdJkii0ENBRSZHlXaJ0LND2ldWggHoUpmAPdpavRN/K31fQYk9MS3YR4U6Y2RZ5TeALC80mQhMXJhq+bQWtstzBfyi1ryUD8Neagjcd0oH9l5f30nt3QniZHjb8dl+0Qw2Z1YYQj90xChav5OM/FqmnTcYow/v5EBdoIpgKKRIp1+fig+T5+l/rZ55W5ny5CeiLVVNmJevILgI2WG+wcfE4bXplY2vMjqhOGQiutY7iZWJ6Igirx+2zYA+iVztf53XCLlo1TSc3FtQD2/pMg1oFGOH2KoIsxBjJWgTjOIkQmNYFCJpH9zEd1HrHn9JxFomWlnDU39EtSFfxoY/+d2rLm9IYD8RdBVWpzbwr2zGg6zliciVXX/CqsWcZXTuF44Zjh4AWTltLfl6a3dhKzQfmjI3gUH3/ZyKBzQ6f3PS7QMKstf6QKabwpvr8pKv8WKtgv0lsBiKpmw7Vq5zPM1idh7ZJWS34oz+kbfAj3SaxU7dyB5Vts0l0Q+DTgMqxYpYOm7BkeAF8Mdu31qYylrt3tXlz0PxAZ7jAAmRxTC+Ri51gWzj30494SP1rPpseknEZ/Xtcrx72TCbI5OJB5MoyogZMbGQDQ9jJkdYEvfSZeIrRPxcIqtyrLnzpbNi3NcXrAERQMWEirWxE3nnqmsWGeX639UOXFzi6HFYpuKWMvYbXcETni/NKtm3ZqePM5T3SbNf64WMkYv017a3pfHkRRksF8B7Njz0cP0WRS6cGOVXa30MmBsllSz6J54OQLgKZi+XKv5cKADbIfybCrXnB/KD2GsQv2TAaYmxpUiGR0GIszGZGH5jC44PCKwEc3l9CLciViVOplvKC2Ui8hYRk6cpx+9FNBesRCnivATMtP7G6YzhdLXMqQL+bjEXcwuuXmuu86syLWKynRSZFH9+OLJzBFrgq+/hXEXV9sprm4AYo5S87r2uDgNDH6g5jWsqAef4+kolk3kZbkwOiZC90oaTH9qBeNsGsMVkic25J5IXh3EugLBkxLYV2L78H89JMWyyXqvDz/dNK6pRjG3+nxsuzfhQ9MAP2yaU4hZ8+dvtpPrlpD9mBzsZ9O3W+z1PkfifPUJ3nqBbEuydLT1XxLJiPXnoqzfzoIz31JNcX2U/t4IPX8AXLdfOicS2OiRGx2E6W5yH0ywCsHPMIlWVrhT4znfU8Tb0piT+pJswMa6sJDXVscfaTEdhBH6PXLqdwhrs2v6dk+O7p2e4qf5fyog0iecWYgH7UvvtnEnAk0y89KUVvsWenHqV73OmMiC1Hr1lpzCMlwlU7kMwSx1d9WoH9YYaVKrSvM9S2nEYyReS6pgKo6QVoXPlybVbhZl7eJ+2cXnwKZd732gYxTlxqt4mZAgkRjFY1v7lvfeKiErp7Txp+lF15EtKuQ67m+d7dPl+va9gml0O4qd3uVNwXWw8gHdIUi8/YaLVPVJBUC87+4+wSrqiHj0FIOu7Zr0IP04PbqGZ5foxfHlRbqq8Bsj3Dhjf/wrdRgB4v/KYblVPI4DEDD6R+XO4grZ1iX5oR3j4ueqDwbu6bCrIYMitPJW4US6jzU/gbkNUhf521XzRUcmjFBEG6O3rXF30hBvgDM9zOrYFWyi1ydHqgubWDkC3UhMuP74tiiHx35DWdiGWN1vCD9uC594nHW1zOt+ePsyTzFjqLVnQYsA4RsvP6WmGQV2r5QNBsuUOMU2i/+xDUtyaqSH3WyZL2m1VMaVILGHmRZwk5nNh1LBGNi08PdIcyIignSfpa/NoTPg8kqg1s5Ri+/mfo5zv6E0EgKt3/HTJwUlkWDebhs9wfiJSRadxYSzx2obTNE8OlR7iKcwJHJBo504uW3ZRPMrHx2EMSXBDkOd14KlrABsVAHVVxMHyJYN7+RDAblNNS1lFN5kY19t/zZquMAkUU/0gWSqfKKRcC4qa74yQTBNi+s/159l1NOtIXetd6xZuBTkL6TZ3XjPgGp/AzvxUq+bgIqOOr3fi/6gKkCjdM2GjV2DEruhlRqa1/imG//NS5yxCuGW8hmhBcLo70VjK1er/S4CYKLnNYHHAoPYlXOy4n9aEcpnyEQN1frlFZdcxaMFVvw5TDYGL5h44vXeDNddUZlMlUtLUHVO+SW/Ig0XxUSCSdZj/tvP87Yo+Ap7L9vbGbROtyYoJtJa0BJ33W3EcKCgia7q1tra9v028UQgvAuzJNrxbfMnjVpxLLqu1KMMybJr2AlFU48uGkQ1lyi5JAQI0w7ujXsf22j4qDwlrcqVa/FvJkCjryFpQ61eYRonF2rS+/DlnH9G/wWOryKieOUE1HTh/kJsPPeE3KsbTBUoTxgiXT8cSnrbK/jeHuOkVSOFcJYSpfqBLCIOHbr+zbYG46g5+L+c+IxvVzd7sPBqbPfvYGkTBfYhBlZkmRW3RepcXQ6Q1/ZHb/6vlfiiwLOMYfp96JIS7oI/DVx4HuCR76TKO+szWjxvl6Kt6VNG898fYgq5lhzdyExniL8SU8noStrtQRcd68Yi1wbBN7MFMq9CU9DAsIgHQ/FkyrZCseZ41XyJzJXT12i0/R3nBOW87hbH/5lhcYzUlKOjbH/jgRVV4kkS9ARxd1I83qz5qjlkQtbHJ+2H7cbsGUon67tK2dLTCgH2TwMj4nUhPLOySgaAcBY1y8YYdMhs6mBwQ3zhvfhjdt4fIRV2QqWr9Wmyv7UP00zj0VBieGdOrXfcZr2bfDLrBgu+L6CenS7ToUjvT20bwQT93E9c15HgM+XkOGtZz1cmuskq6dLsvvoNWj+h0XPJgrLhwMAQTpgTnB8S2fTiv6z5FmO9K1hCkFYalc74vgHLDOsv52HPfHuIvmlfLHIBpcsXAyeS/gOrAaDPcw+BYJwZMXATlZ0WQrcWd81oCgLRQNSP2iy0yna4YG6BmMg2cSlRzZlWhdW5P/mgWI/JNvuiPgGBfG96/g7zWqN1R0rwCNi56Wi55kRFFC/GsAK7Fhjz3G4RKd10/S/XCNP/CfgQct3avCXCVPw0VgygCxLRhpDPLMo7W3c059eBfRSua2VDioZYv644pBecNklsK4nNDWMNIcP8+J42x4eSbmHWMJuE142MDEt/0cEoy28apeEBoDn8cdziu3XF0tLpcaVnm5p5oHU2s/1JMFWJTyzCExq5F982cpKY8Ed4GoKmfHFbw8wMhwuH2gIt6288XSlBNbwEv5WCwmP9lslU/AGhmvLLiN1SpM63MqaHGigdociFibMQWsyTEK738mpDLoG0KZ5H18xoZ45ZE4xhTsLrKkChvorQGbKx18kifFKmA14bFDsIUHAt1JZq48bzqdTaMnWBAJlO1M73JIs52SHkp9xEgW2Yzle2o94OOwGTaWV5Ie2Mh90DApL3mBOCGKLMJQ6jtr6HS5dxHFjmKzAGO3r7AMUx9bYW2l8tgCpKq0lswtm4LDp0s1pQYX5YN/RnTYueZmmIRWKSha4fW0WEtucMPXr0tyWRkWl1DQvYZkghB1aCvvO9g+eryQ5FtJch/7BZU1z5OEKXQ3Ggs2Hw5k+TQ8B7zFJwbF2BrLGHBPu7ly974LbBCAUf+U0RgDQk2EE+jXZ0YgV+X8oEfvk/q7k4kJtbaTLao5WBXHz4bRax5ceUzMxFQfASmGkcf5TIb+SEthUvB5+lGeoFasHY46+FU5mVtezgkWXLwHW05wO4TmWNGKkTMGpZNGkuQi7UEo6cYOkc1n8nNGowH3j1LQ5q2kHBgNRPy1HY+bg50NiwCm2QToLq4RFUaXbz2D6bK5jvbBVoGlSBvrm2UW5JcpHotErcX2FL4SQDPEAHR/SHD1rTBC4a/VTfBa02Il+8+Gmlc3h46VNOKhfH6/d7fYEmfhvD/gXrzH40nmBUvdTKml/Gw/vsB8RhyMVLbAlmoUFdG6LQcx/nBTO/qdWSavTUaY11QGMw6WPjdtUT0iPFbbduMHehiyyQkMgUs5p0LjAUSHjiHAo/aSPPMweZGpy1U/vWsAQfgviRDmycnqhlz/bxUaZbjRSa1TMaL/TqustZth8I0phvwgAaIlqv2aC+n/dXCs/If+kMxYjj3wi9rFdnNoytcPIxaiaU8Avg0XsCs9Uci+/0Z+ZIruO4VrSDfbvYk78hLSXzDiJK1tOmufEPlEFmw/fhYWXqID3wk7/5vXFlRd78RxxGtmwLDJZ3ct2SkAwXRX3eMumNcL47+cjtFJg7nVZh+o7VR7yTHgG2LH+FeLnGx1dSdPF4rlN5DBh+znxIBFB6NJMFgXu7swVWmB0vrOqxejCP/heL+BKn0kPb0fwByQGIjf46/DI0msqDaDjvt8QPJk0m3gkDEtz0Qc7bIoxhtIiOSKvs85avK5LpSIjjdx811A3NA6vWxihBsJkdaqjaJp5Gj2bLnP4g9bS4lab6grEsVcNJIT+y8LubGjx42u10borYpRqVFp7u56oaYZHr/Sk8xrDt3xthhlTHALoH0VcgrbG4+sr8avQLiMowVaupu+H1lgdcf4hZCajORAlNxod2Xv4ZhVJJ67QNGTT/nx/h2oK9bdxQilR5XanHG9y9/uSHUSJEdMo0Evk/qKgCwWw7acJfCTHzNsMVbT+ptnHBlgxGAHleN97CGmhHv2/XgFsjvvnF5XxWgcR2jv5oSQwN4DmpZoDfWMscNcLIRjtXXFG6XaVzBGJ8HN9jWyIX6D6h6tN9pZQxjfcpX6tan9Ev9I2Sg76+4Qir0RiYelmw18c/5II/oMNj6LgFvXzzq019hM0wLob6pjw3eYUVkX2HwWMlMzTjVVmqvF3/w6KBYYGxWWYjfnpfU/cmjfLQ9F1KslGTkvrjGpekl9ZwGHpw498ZvY6JVV8mr9malMmQ3D1LIAkGZ72qRzhFhiuCuvZ5iCReBufPmaXCa4kaOMci3czLqOT6f/MUX7UMM0vbTO5czwXYY3GWBCqInRqYZcH33fgPATWphaiHYXjbjd3S+fB0iuC1ZLpv2vNvbDmaZ8j2Y31KHgDBhJcT0G+WDFbyCF033eY/LI/dE05uw3yVQcKRfEsUajAGPub0UuKyva1vF/q/S9Hm2Gzon/Vb0g6lXpUcjt6dxX/9UBUdubYLBQ2XsMRC2X32rz4EsJ4xPJyD5VreVvXDzB7nK7ycnfWwy5hQW+86ABYuidA8HrYYVaCxXYfhEB3H2Z2B1nmXlku4BGOZ+RsaTisPgTQU5QKRosNItG/2UNZ/mi9jzIetT4R3im5OEtAdM0st+EAMn/LAH6stQOKS/yC/F9iqyXTYbXdKeO6QZLnibUPNU4MqCMY1leRmYXOJYzsEqGPimKTg/3qC6NdMT/vwiGRjKAakKXHlGppEolijPOCceNEmHXfmByClgEaKN0BChCQX1VoWpgQMk7oPl86ogHww6ADOGOPCmM1O3KaM7GDbQEzHbO9GrtRxEcIyuWfFepAwSzhNHJb0Xl3q4fKFJzOXIcdlINXdOPk/HBxGvysRMXR5kXw8mu1YoeLuPdCK9poJ/EwrVNMyYEuAI+LyF29DWogqpUbodOXLKWh6GBX3GdrryiMkzdpcoK/YGKo8XScrPZ2eBD/xufySsgvw1URVg2IalnXUfTru9OsSMsyDpKa0tZdBatmrI0ONXIvv+1UqrFE96vLOVq6ZkSUYhtpDZI87HQrL0c8oJ4+M7BrJoeEC5ESKt/OIP/NbR68nuRZWAYqLG7fjCC68b89aSlRqW2snKt9puCUsi1k7HvPFNzdixpQ0wkE9TWVnmhCpo7jmuqSPKWRypF1OxAK/YQ40ZJfgo4Zj/FaafObkfeiamALgKt30Ps0s+V7O28DIwzSvvHpyAHDrnvjHn4QLu9g0tFjc1htEdDPT1IHh2xjul+/gLWwWmEkQvVmWStc620wJ9eI76NlFRu6SuNf6LN2UaGvmQiwwZTMkP8bxB+748IanquW2ArcWQ4SArFEipUDiGhRvJ4Kso0dAKhWoevPmkZ0Njo+SVe36L9BzhTqAbdt/k8fqsrwMYiVtBX/v6ZpCdUTOfsh5ZEir+Gt62Mai5p62TimKxsavTD/c8hCIgfPUvLTze+yovVi05VFCbhsE5HT/qif57pUI8ae2Jq02wHbLV21jrFx78pkM6u1zKlsZit0PpPLWycu5+qfhuvzjt98a38woluE2Ok8M80ODyUMn6twgp3bj4LJXQ9VQtIMxMTb79EIi2NPuRNH20al/7kFhOMt1dSZ6Rqu0BL3aHid9FnaN5PS3MVYZEwieFRDtfXVcZ/dchGmM9ll/rFHpQzjOtMhkXBQX2ztkIGx8Z737ejlf7uIwMTE2Sw8wpHh6h23rSpnUZmFjPFE6iSDvyNeXljNg4ZqVlCWnjny/kdv4ykHsVh9+2QSemOSFRgcq50R8gxriejoJzQofo4W6BzCnzAmgCajSuFyb7fLhl7wNExxDJCQXeKxtgdFqS8h8fbOoO8EUdfII5jOHBmhWz/2YCfKUwsAOr76VEksr6HJYItXCCKnpAMfow+CWiJfsx6ej7p7o5uKZa1VMFI7GHVm4aT6mWS956zFAenWnyNkvjTMZrSh2+BJNCELkLxQTYIRHRiAS4unViUrfuU3DCKQUVJ2OTPsrKfmpP1MtVgvo1iTo9UPkzmonYHDMTLBEpoRgD/809Sf6yT34u5UOKLuYiMPgMZKBlqaabv2G2NwxNXeZaTQ+vCaq4IJfqWmqLqSGBa2marveWAk4JJFUMzUwwZgngSQ75A5OieJICQzEn3CmIfMv/RFhSPrYW647ZLFel58OCSWkmg5SXN/566/ImwXTCvBP82rTbTl+O1wwzzE645kQ4acb99pi9uU8crRTiErakMddHRhkBRb1Au8N68ZZf2ezSeyWiBroJ0muoyUOl8xJfuugrKECNglRwIxJ1jVk1xdp3IhcNhFUHo7tqvr4yNMiMtGbmJRkDX0rdnf/hI+/GYgjx4qzsnqwe5IxHQuRylgYwrSCTZTH2vcfSa0oxKW4015ONainTIL4KJA10GqQ9tDaySQCR2nZxFU0QUZorM8faT5U9USk1MKgapcTttEm4YdXaDtjPmuOBwKKWAH4B6uA0n9DdFoh9RdDRtDDLCU8IBBMAH5FaSq5m8IhY6i3SRHfNkccDhrz7zSDtfvVzFksAUOHwXr1tS3BrTvKfeWXx+0VtQUUEMiBCDht1QZpnu58zRkpul8BRkPbvpBcvw2Cuvd29GJ4YC9okIoNjGVsziOmy8MH0Q0pOtSbJ/klFRiMArfocug8o9kQgrY4TOdPd3Re2l6CkDvaBOJ4UEH9HtuKwT2hZLguU9tIkiphJQ2DvNXqtIhVnS5TuBvFm/KlQLuybehBr7Ehz8ncU/tH31nS5WQ5Pd38DjIgSilSKqfUUOTpOpZVHFWoY5cYGpn1GSn0gxaKnbX85EKD45iQL8oJpGh8FzxGvP3Gvug8jVLm+AHCliu31VpaxwTe/kddpg0oBNNrVDrF2+m1OXG5mzRBmXPspo+/cu8GaJPukhPHdsQ1b8HKy1OrQyR5OCo60rD9IDrA7dRSd0zj/sc4x8UmDK7dTdFJg6QFWTqoMV7mCsX/7hm2WGKgfpSSeSPyNKVWMgOTanAk3kV0oEWF0t7Rh+k8v07z/egwPdWbZyfhX1UbFkWGYIdACO7bre0msHFnLrYMi8FwdI43LdrlnmvOGHUdUZ1nbCtLZS4zabYgzpM2T18MX2pg76p+jpwFgmsh7j4sNaF/6RqyhCaZnyjZJvaoYj3OO5roPY1CSe6qFPoOG+YE4kCbo6h+9Yz0XFjkwLMlEJeys3mSbO6niKdfKANOz6yYx25WEvF2I5vu9eRc1ECLELoHgKurRE9sSE8mQdpPNw00I5WnpOsDL6BgOa9p93gLH97LyBcAEU1R6gmY2RD2IZreOZpU+6ynSfJqjH2OT7ZGYghajq+eIMe0di+J37Wg9WlksMG3UK3KViSq4i7CDIq0FqJ0rz4HIe1tHPqn8OAfetBZF/jBUHv5txgkbBwF4SPtuV1zi1pE0pWu3V8mUtMOLOweg7DH4y6HiDBJTs8ctHfBDgaRcdfqNrqimI8NFRWhXIpK1mKvH3hOUrjUIOikuYCSzbWAhB7SuZobZzrDA3rPF9lmjEj2JorN4acBAmoCijjqoAcPsYeXmPT8dtRn1EtTuTuNPypIAVPLn872TyxxI8RmW2NO0PITP/S38NQemfP2MonKjqTu776rIpEorLPDjLEANpLJeKmxDmKCzp6+Fjc7PGMuiel/NT1TMVBfzch26HCqSemg+EcnH/iTW2gQkUfHraCi3IMtfYwXKPVS61tAcEUMrSwvmyFf6QuCzzld7/JbW4wfeL/TJy7Snab/1mKzJ4QgjSoU9q+3AiJBhPcEfTFFRosQmOe406Toa3FzpfsDv0Lq7qHUq88ZsWIpi/oo6lbmyNTVqKtj/w5cfwHX6UE9N01NGP4u83zAIPgCSAp+vmK+65Z46qEGfmmV4VXvpH0yznD9F2RKgVWwgue6T9D2f0lSzoLx/iwzemWypiD4Ky2L3/aT3WfIUPd45S/0AweGJ65lrwjnCsUGvnqNM0+DluF2/XKmoHpIRJfGlauknJvG3JcDnqKwe3ElcRZftROatGXpGH4p9zzQDKHXaLkfs+oD50SrMtkSPuzaLNCglZjzyNAedzLnHy8kJkfWiCvEG7ojNJqLw8fHL3RpWc3WjN4ikFAOvjAF6VQNPWgb5BZ8l7X/xv92TdwLgfPGN0V9yCipOIMn5ANwYMJcfEA0Loy41BVHJOqP6gW0tJvoGHkQjrkklf2IJGhLy8R87uuAAaj4VmL1ruXvPIUi9EDIeV6OmC7bmWaFFvYyJaYucvnHGUclLYFdYeyItbOGrEs3CqkLrbIVcrFd4pOPxiBToqXoMnAH2fizTUwaF4aU4HFVkcG+G8RILZIgGcrsjoABYj2idfRmGJB9+uE+97+kzLytbubEHpI0Z9zUdx6fpA4dxJjFiQQrPEPykCqrLLNg2u0LMRQFZTgExtmBIarAxBxlx3weacx8OwW+TXB7+7jijeee0XGka3JDyp2anw/W3rgcNkuDssExYdFlHBYmAEpxZMOawY5Hi+71DYYRk+1ybuQ+qutpYojRkiwxXhrNIbvOFfYOPhzUJWh3+KcqfTawVtIWHR2ruVLVtgod12Y9vX2sxzhIGzGUaHvcziP4tbeOIhNFUAfMFVVi0ALtn4F0X4ZbrIhaBbkR5LYt7lvi7C75vENTrHW/25xLoIQqxgxOsX3OWNH38TtHDdldbMUxStAE4AcUOgSmJCbl4jMUrItLlgzM7OA4KOq666m3qAE9DCCask6YYWJ9pt46Q0rcJy8euvMziypnVhynFK4GVfwvAOW3m2SN9ul+i/w/KBz7RBumJ+cKejj1ygxOzjKN7gvrLm1QseLPS5DyaCs5geONsvgktxx3v+9ABVOSKg/xmrXIMY6UEChMqvXoFVeaXNvuGoWxWEYNZnpFl6li0t4vRb9cECO2sMfcQCPKMvZ0WOHXSB0PnzQ7kffTF7Bum2gmOwy0b8Piy+Nv1t2xw+imFYozTnZCulmFpIqIg+rs5QVqMdkiBFY3vSNzfxMpDuAZ90lDMhY1+NcEK2kv9s+RMXvQvNZNd3xrDyYpju7eWissJ8IJlw18zBaSIyp9Wi8eey4V9Lfp1IcG5FX6aLhw19SWAMpBJK2Cbt7SqItTxvoyNWaul/sdIxTwEoD9k6A02aqBewRl+L8BU2HxebC6ehC+c56qCxpIrACqb78kwv2t4LuhZ6esw8CMMXjqZZQgyfXCIZrPKI0PlONLPqUm95yg8vIN587XtKY4QhquaiJDgV18Jj/unFTPwV83jeuYxvb2LnWF3cFFnpM7flGhlUpmBNmx4YyLWHrklDpEQg5R44tExlPB8C45ZQl1tsC1JThOM7DSx7kh5nfKYvqpPEg5DXrhB+NHk2HOu0XiPaS36i1Xx/VzdAPXwBZhQKYF25IsyfVTc4JNHKexEDubWf0QR2TzmAy/EknTQeQEd8V4CDInIfHYo/7Qe16X+cvp8AvV0VQ0+dQJVVn/EYWBsCkRT2eJj1lDM70P80aHJ+ibnT+he8m+Osn34HvL3xHreJuGlaI+fCbzp0sRcgYRApX+MNipo+tWmn9bKUJpUBZEDa6u5WZy9w3hZ/xVbMe39d8TJKb3agGUJ/D1xRwziUT6/5pxvOPlkadz9wfj45ZxhjHIPVr7Bz0mngdwKZU82JPJc7rlgxf7vQ+6kdezMv+mwGSfEHis5QlYPZaeCerltQD69ReCF76/SKKrg8jvqYAFiPl+N5/ztv0CSV3PZnP671OpeT5iOr0cqCsQSnaNKFlRUigaZgRzrXlb1mZFJbd6UZOGmKAiM/hmfxrjT0gBu7KQajV7bjx8ZEDQvomCM3aPEUuQOLYtEPu2Y0YxK2MIzRdze+QtKurZkztik3p8FJr3njtl1r/9vGWGi5qwYpX9fNQbVjcqAiJThb7FieS02C11RPZNJz+w7ddUMGsWhJHp7fwPPslxMgHpgPrV/NaVPPeJgAwMkEkfq+Q4yjrM6RZ5dqsQOQfzXkHQRxc+beLRWilnmlsq1/0UFJJ4eNFlOu+Ko4kt9wmmhYsSzw4JJNFS3w3p12d+UWEtveBCEDIY5REpk0QM2BphEDpx0ubmiMt+LRi7vJSMF0deqHjXbqRLYJSL4OhGaxf6Q4Zkw5tiZIHaublW1iZYgVLggneQTgbBJk7M6ju+xB2tyO8PGVjzU6bFwN7Bmo5F1FlYc1L/uzNvRA5Ab2+wEz6FR+MuYKez1Lb/rTyMwG+7I85cL9mrilZoGrCcrwanNC81+m4hTw0UWmLf9QJBhPKZX/AojL2OAcVANcQ383tUjnYI8mO9cwoUtF2ZSRQM05Cq9j+JMA++jloJHDsFyeX24DzyyATQBqTkrw0+BldJEaZHmHrpONzf8bKys9CPSIjVVJaCRJeTYRBKg4K5YxF0E7oPjcYosrffoI6UdbRt/Dp+bPH6jS2VRDbriN7JdivhWgpU7apmux78TDRzYh7yZE0+6UE6vCityiIh1vmW0NtJpq4op/y+er14LjZpQHYwiWA4CwYkTRhZd19sTmbls3OGbYOHmg/NutJwaEAl1fuDbMlxBeZp+6pf+zANv9nO/1hKlIriqvUiuewWMJ8iLFQmA8dCk74kUtS8PKMaXNxopibo3m+AI9gAH97d1P10dXF2ydrPItSECuvFBtQtnzApzIvLCuAdrHQcqHz+nzXGjbMWUa4dF5UZMJburF5k2YBRcj+fTqeBp6sG7q3aIwp/iIlyJoUVBww+wFfUCRs/0BzeITbiDYZIJznblmYw4Iv2cWEZ8xaFtY6KFFgbzQP0M7WPWhJyd43bdtzAnL4nBKRD4k3DRcYVJPJy7eNkNFKndezzWTc48WnKHzYVDtJ+NKVIqFb5jQiR6WFqUjM0ocLQJFEl2xT9lpNN4wRhpn99USg6pga5tHyFZEizjD7Zdju7FUlo8GOJdSViEOAveEdR03fw3lSoH6SEehwhsaM8IH7EjN754AAn2gY4nNx8BuziVO3Rn4DV2J4lDJFYrvyP2JM+Wn3o0ckSN54z+Qthq8NhLN6cPwaz2NkDXRube+kLH9y56jV8ARps1Md+nyjcE0w5lRyzqLj6pxkI19VRZ2mbCxutSmghFtO2mzuOX3hmHn/lwIgsRKQ5chaPbZYsKoQ952+F1L6rxcnVpHY9C3oCbZMIyGwsSdTwHEhO1mf7hLzAlXEfgQ/16mak5FdAx4krS4/nK0ufqZCYqoZ3I82hRbdnYgQE7Gu8guB2spb+sIfeEyWlVpGN35TntgXuw2IIigLWR0zbPMuAJr0pGv5TBkykEqRxbUScJSi2XlTcn8K70InJuLwMCtTJ6i7iosrpqcl10i+kiQKTLj8HiPCds1Lub8FIgeWeBPsAJe2wNDBGwaUPmndDZc/uE4cwGpXxsNXR5TonVQwPmSHsHj5E+OVem4fQzMTrii787ZWXBUJuWCDkiDmqZrn76aA4WpzDXGwX+OsDVb1CaPnn/zbhcni0OawsqnjRcCAt61aTiPsVLQ2bkYYjoMdSWnwUdPQZsnmGAu0P4qpU6td9nAucJQ/vx9IVd5ojDtdOlmOcXleRqSnoOLuBl0e4zZYXMqaksTnaZSOMYCn7LmsQ/rexc54xpWJ9C/2RIVlqCmHVpiwtAkFpyd/bQmDTY1p+l3/Hx01Dq2qj+pg/FmVEhm8LpkeHWnGNn6O1ai/vdyB0Ce5/Ayi3j2njG4+d8vc6ojJdY6H7lMoO3SLM454I5ooyQNzeKr2Nd09imktqVpLQ9J6N3Ci0L8yVo5FTKJxFgiwln1IuuPmuLAoLuYh+tJX0TZ8tTAlqdHqPP0QJe9Pwo4n2c3erp3Co7PgeBnWVOiavFXLvOVppovP867qk55rDbkxM5znZCvZvFG4SP9i8abqWz2g9km89/Tinf4+LzC7JIMu6cdYOI/szrDaAnlx6zGJ20ZdrRh5nxuNqiTaH/81b2bmQ60vIqngmAgoAzvQ76rHn/SHR8oMvtGBZtXi05idcmxXyoV8GMpv8ClFiY17nFocarHPPiHfbmLXp/84aZs3XVylggpTVtCnME3+fwH7nUgSCEOv8UZkCoK8+lTPj0eSFLzlGeS9iWXjnDTUZ5DXDUnHQeW/l84VfP0dI4aiwGxaNat9hoIsVcLDPzsmXEowaLnXJJg1fzGhL/6fYz6BtuuUU/GxWYK/3KuyUhal48fp0w4yOU8vTYzLFj28cIq0mqGVeXJgWt8WBBEI/G8TwimsxGzGFkAFAgWMYLRrfkUc2Bu69ptGT/ZE7jPSZ7xcwOL6cznpCKzqDZWDvmVo+sQMK8uSlJyoNaJZA1Dnlwo6Wb4OqnHtBiZfkh/2AFxHUkI92Db3o8g4yWNGeaPoNFDQexsIlrqPVsTIF+97buddZlMk4sWi9nncY/fqdjrgIj9Y8HNDCGHWZpPm0OtrEhZccJk6kZ5oUVGUBgIb5YTNIJMe+XZg7+E/E+H4wd8KqRqXLdWYGlPnKut77OpwLryMP6uvvYa/NUSgf7wdCfJ4JTwyEmXTkCQA24S3msZCS6JSYFTG2ihye6xrecRlEI8Ev2R6o12ZOjeFyaKxplagiV4Px5DCiEMpqbweAH1hVCJA8jhDobqFxHYs/9gkFZv2um0zg81JRLE7sJqyCKBZVpK95hxhrr/cy1nuodSesrIzypjW8jmwLafKJLn7hVuFv47EDqub5GZt5BbRfP5puODBsNPr+kXjTfojWhYj0e2GAzwEiuJKiLM2/na3vF44VV8rXseOyZnZxqcLlYvzpN7U14Jc0lEyL++0ojvxupmfl1UkJkL3WPg1TCXkccebKvZAOmCkAMI6KZGHfVkzeZSRfr+ivm5aQyEo8pslnaG7NfQ0DQ/Cnls0wcD+C83KD5oh0zQX33+46CYeaeCo9eRfYqqFYk6LMgHEZgciyJpcDDKQlw6nrvbvwJ1UE7rvzVVMFDyQan/ctYgpwWYM4CcpqYGp/GNhq7qIhpM6LFEiHbGKQIQAWt4Wmla6xUqvQe+XVPxV0R3/ZiI+jTJXfgyc5oeWKo+NptpafOWjEehHp9spO2achuTDWlfVaYfmajwdszOLMqPF+Azk3G37WON4+ch+N1DsanwNegdI6mX3/HOWS2D+SYbyWUtl4L55EhvYx2p/a5DKKGkV9IsWLORjIJKnAACK22nfoID+gAPhZ8MAydOfAuetdb9ixENu6qUdTggwj1B4xcT6H+o5354MNF0HnCV1+QhAjG8U1E3XcfohPNsvlC1lLMYHtLX2NPunmWqoZbwFkk/DDzIyInsOgUdgSkjnZgqc+/mV9DaZrtXEok4fHz2Xmr0YYMACgfDA5Rj/cH7SGEWHN58UaM1X3ZvB+7a95Np37hAdWWJoWH/occX3319JYKMQprJJp9col6deUc2L2qODLQxEt7wyv9L0dBXIizv4/8lahVuDh2GTXXK0nJIBOVsgDZXlYMgagHt3JzciEHW7+uCYbADv6loX6fEqf0EiY+s9mqF8PZufHdONCV0ypgD1ANLHQ5Xf0CvD/jk1Dnkj61S3uQoCvJiOSXeVKSnYvyKzBBMpsvdfYmxe5yI+T8gKfl8JRY6pi5elRM3V7yYaMS8qMgP4mZ+c8Yum3LRm1rT7FyM9hyqsZ5f6d5NDcT62Jzv4VzBh265ws6PNdXdUzU6AMwkx9zwLus3N8tgLH3mpaNmqA2AF0j4UfgwdNllp4qoTaSE5Epz8VEKc1cSzIuoGX5TV1BNe1xslP5b2t0+70Jb3xVf7mCBDCROdxfFjWaDA6sULumlyYminPUXB6QMs0gGxMjLzH5nZIBz0fJ5y5DA9oUKap5eOCHABHtyAMBBgtlsPyjo/yBdmdzIWvFMlvk5uyog5qIsK6U/c9m4On3+9aLMtwrUyqF+u9s8g85Dw7kmj34B/kIJEisxZXnnCMkIMS3tzABzXD332ymCOj78sXdECB0D/X5vpr4fT6IiB6kS/3MX72AzV5aEllp8KlDur5C8QjFaMQPxC42EUqnpsgHEVfyNGevyrFw4XLWFA98djeXhc1PqxMSMZeObodt5M6eSCFg5in4tajBNi6OBXIrAeo/VtZfk61D/0Xlj7gFd251HIBgeby98shsOEHkDGRxgnMfKxRZio5o3IaFWAsCWo/z144oIexpA3p57ZbVnpbwNdx19yrkhYfyCXXQXNHrPG0IugZKDiv0lk01qvrCHZVSCZ+0fT3dGYbDIvO69Q5OgwPNEWQG5fJF8a7OrIwvXbQMLyO/UcydZxOz33QTFy69JZ269y0hteVvCcv5lAjJZUctWCrb9ffzACnweHKz9ikU5z/naiTTLC6G5IsIfou1KodYfD3vOZpQTtrALegDqOCvPe5aovGvrJ3XuMf3gBp8dOFFFFlq/NtXEdz+rGchE2A7vtLupfss9XmR2p+Lhey/NT/2YdPf5/cRnQOzEUnt6s+Dd2MSZ7+ZBZy37Sz7E8DOAxc/X3oOjElwc06E3RGFqsszg7zpMyEDK20JA6GUkIK9UnlZa96/RjA3nO1/FVLUFYJGW0UyvOSo9xGZY3ET+zm542ESr8ja1JAW+RHukvyx+JIV2EY4ds9gvbJGcrByRraPozOENn/7Fgew2se07cSD5SOUxFQfjHC1xIqVrrEfgfuJSomq62mSl0LJlbS++EsfAn3Lm6kmhaeWW7wuBLtYISkHDy7zd/+nMWqaWh9nZWqwytHp4YbhHMPLlHxk8D0oL+/H+gr5nF0i/nl+7TzgZdpERmtb/wPcgA+ou/aIpPDAzA7dQP3v9UE8d0PLl9luVcUc1JQWY6ApB3BpDQlui2aGhR+B1rh1HWN4eb9eBVI7uHKVLLacqHsLNhZUokEpNF4grRba4C/HrGyJPMKUgcbZJzWGPqcZz0HhkpWw0lTPc1rhGrvGK0Xr78obg046FKDy8YUWhz2jnXxcIOGtF9wO00//TzsGgONmtmsP3Zp/eDvg19jVQ+oOXj88mMKd6oOVWPldO3GQFYYjq+P5BaOPqJ6Od+oN/aejBFn8RIqC1/rvvhFoLzVYR4wKv6iiNxs3M/ujkH+ICySc0OiNhFc90j/4Qgi06ScO1sR5t8Y/KylCb5ey3b4ywcg6R4MUzvdQw0/s1FKbRr4iFdCYCBwHZ5Qi3/X3jgxSEOXqE+EPs4GJSK5eCExvz7iN1lnSNU+XfPHB1ntX6agfShAOG63kdHwABnjlEw6GPau5NCYwrdehnXillxBnHPxMaA1AliGgpEdBlHBuEaYkrvyJKOdy6Uuf6Ud9gYqfvFLWydU7ZDm/I4BXMfLsDmL+z6kn3ItKHAuW9zWIuYHKDgWbim/jvUrODgsfpPasWpWrzzAV5sBEfd0TwVfeMDKPx7QIj9boGg7Q1q1tlk+B9e8WbSl+MM2j6kDqPl/p4PkILQAoLTF3/f+QL5MQgb1f9c3NxK80YEN2ouA1FfKby5PevYzWiKjyXKEcl2ZlhJ4KcvhVdWiGuojoNHkllCH3JKbJFRu8z42TnwOZG4aN31FS/Y7yAR3fz6edJWmryq1RfendyayE9bwjZeEsLPD3/oTeapEBP0OcHjyui96nLTIbhkkNPx9kapdUiyNdNGadE/qnykik7ayjFpjHTXUIYxv5yjyHmKyhMNVdVMARDFhqGuO44Zykzww+AEmSi0/8EvN4qDSadDKA1+MBW3nkQzcSFvoSOQgTYcxLloskxcy/1yfZgB190FJpVgocbjgXYOA06VQ2v8J7nXlMCbQH2DoPmGdTc6GcbuhclOkwGX3Jo3XaC7C5M9m8KHIbo+wECECDq0MVLgxTlAvIqFqh0UA2UkWe8SoMSqBhHPe7Cii+QZG7r0+uxSEm04qtX6I6Mzr0R8Ea2pwfKnegA+nr2PXO5E5mjWOU5LxpLN6Wp+MBxcWPuivCfrB4Xz8cZ7c4KjYxWEJ0Gd7wu4lKKuMMY41oSvosb2K78OegJfaQ8cH5l17tbotA5aO9X0nt1v6gOYGIVEC+ixvGX6swQu76jS7zODMtpZE+Aq0uC7U91mdzAHJck4YinxV/+kFMkHZf+uVQl8TCiORrnGAbmZWRRXKF6dg8FnyGI2BaGwN0D1jMupzxf1qTKu8XO3dwWqW/tGtycugTi0oKrx6sW+5+WKmAWCva9n/XyQmu+BVC//YXY0vg1tfQ6+lJsJ79z5EC1UEnShZB3MSf0YsxsVGd+XSGrTVJAvhyi9tqQBmCMi7DOLaHTYcpqOki9AIu3li9WU8M3OteW4eJDK3BZtQPfiw4M6ybt/VqgE8m+pxo5LnnKG0ZRKk+OVQZ3wJX95JA7IgOGpxjb97N5YMazBFoPfm3K3BNahn8CCFxqEiZOowcncfqTNZrShRbwPJcrlGt+Gjg5XjLJ9aEvUwzDCFR9TCW5VqPzLV+GALid/k7w0Z6KwtwIzlTz3VkdMcPQtj8FgMaL2VMPaCFfifxAaj8+wEdSP9AFAPjfBQZVY0E8p3Lb7bOdyL70kYPjGCr2w21OjQYOdapUPYKR6JLNY0qCYAlw88q+eR1XZfQODFzBj2bAfj1EguURcw/kBg4kp3ryAyNvaGWaZ9ZcYXDbdhEBDrF3c39i9fq0RqNU/FUaq7XHlafDUoI4j22bsmU1tiKfEt+M1UHJDqV+c2gH6JCXhgHB3L6wpGZig/6u9YNY4yd2XSpfuLJn/r1YUt+kBaNnX+eXWFR3J7A1vxcmejOLxBhAY2P4ImSxItRFUyIHQkwHyaqPolnkq5efAe530WnjJImh7Hcrz9qL88mmt3KJXoRcipNg/Bs7OSk1/Y7uMBiFE5zxqbuMgtE+v97bMnaYcUx9RvTfGfXsCnXHkLd4WVwtaTz6a/qpisL/Xzpllw/8nY5OhWxS1lJj+inUWLrx9lpd95P72o9pYqgCs2OBMI+MjSkzuww6JAkFrdkg0R1lWOwVZbpN+rI1N4xwXDyBb4DTN2py2LzsPgmI9kDcFwdffXucvCZiuY7xyQdFx58xC6vBflZlK3jBTaAgnUD8cBNSpoX1VTmGo3fS0x/mE3Z6G3BooZL5T4fs4nqe8Ia4oQYnbKEoY59956Qe/XrZFwI/h6tpo8E0P+nWxkWA14XC5iTxJh2t6UTzvg4NqNrxqQYLnCP9vPCWGKAt8lbl6peTnui2bYKcfNqMdak5HAXjzt9SSwmxhrBaRc+juFpsHtFBVmVOtTxzz/LLrgMJiWTURkWEbI2OLWLIID1X9Is9fNNrPP5acVgRkOKgYaMHTrAUCabZcwfuOp11ll4m+OPh0Wbi4J2RNXu506xqel12ps6x2tZQtfNLKUh7I2soaEooYrSmW+4Nd6JxzZsMwhTOsLTPNnnG4xhLJdsrNFFM7RNIPnc6SaFhHeRGiFgsC97h+5NA0CiAJhwLjUYfgTj+GFNQ4Jw3RjSR7en0Ets3asJD6uy+WdETBPH0nQ2KJYts76YcSL8xuI+9537GdlOk237Fz+EE8HUUqD6TIwJoDDCQNWRN8T1fQ5UTKMF+C6B2uIJyz82oO9m9v0HQY/u4AiMvG0EpZZVCC5qenRVasaZLjm57VthtRYHOlHcW0kxCcJboDB2By4kJwq3dhu5OsX7yYSjns66IQE+U6ofHayH1NWT2mp1/kHbMEmUQLZcxGoXE3COaN1EXxe07gxAHzI7BpNX2h03k0h9N+JbZGL/N68xpR0Mpd30U+txsM3GJClqOtDAWrocycx9JQNhE7EE67tYEzBZhCXuZpML5oJyavhYIvovTGhMlE9BS83rvjKlBAmvNekoo/Ji38dNWiMd1SjaS2uuugID2llpuN5/7s8UtgFZFnYFiLdRT5m3kTr1YtX8n0/8Sm0GLtQ/4QNK9nbZG+FYXbGbZVqB3xbjFU67pVFTxM+70Y+QdKCShslaVpfct1Md7Os9QvJic388VQPO3VovfMK3hsmWcKXMzIq8UcxpjQMsknH830O2ovm1SERId7GuC9n54zMbRoQ9tEBIttbtX99KX1U0LAbVb84xwMFcqTHgbpXsvGph9vbDszZAvZN2INksQxyb46bN2XzV5nFykkpHY75vrvNwS2sPJK4SM4tpudKDGdY+Sd8YITg7HEKBAdbjLH0FcdAscSXd8sQ32dBE9hlbkCYzUIguumEQbVpqX6YtSXL5//rGh1Bgc0ta6xmHfsm9EbX6qs41BzB2LoRPsZCgOcNA1ftZ6UQ6xQOXJriIId7v+3GMxkEIvrtrULVgp1VfZ+ef7r0jdZXo8qBF/2hHweVkKgN8/bQm2Ot+t8veC2S9dlJjkONmFK8gmFqaKUrkVfK+sUUv0yBY0srHLLU6Fyv6X1CzMan1oqId7sCxs8Q6fcZmDwcxgaJFvxmsmgPWNQcex+4N4UaN6aHbpfFWstLDYA3OoZxTpEX+oD1LjUBntYYIcoXdIWCzQJ0nn48f97JRjcxWP1WZVc76gQbXz+lXvNOW0563zfIkHAIddvmbY+Zxpk7TRu+sXBMkQrVzqyt2+8Ffs6twiprhZ74kCTAC2PryKyedI+17v+65WIFIP08C1nI6vsG8rR0soqbusE0B6DP0PPKobALByzIN6hyznerAArZr5soCda3hXM1lcLibz1mH5LrbldIeugmWCoOfaQ8E4daWoL/u/umKrt22+uAVKrv0LWRj2RV0YSX2kUViehajxgmOE+voP4ROg79nZ6D7TJuQ9fIE2LYs3p2XjZjqec0kp4wOyDONhXR0jJIB76VcV/upXy4ArDKRGqEZIy1adL6eRjGeNqjis0Y59KoDRT0N9B7t8aihyfkSQhzkEUcy2ZjuuJ0s/6f2M7yicVItwGNe8hihmN45rwwd4II1fmMd19J8Yhb/YfnnDINnVtdni1b8Z8q/0HYWqM2v02r7yeZX6rx7p2DjPpe/nn5ZkJSedtWreKa7/puyRADsZ+sZ5G6uWNjsDSSsUctyMquZIbft3oSyeQOnvsmx6/3w3FdR/9NlQAPEL90lAgaYEhzvuRrkAW9xNfvOJwvMgMaIPWV2POVdnJ7Mr6Uwr6RLXQwKIFXvXDBhPzS0tOlp7/UaEiHhzkkgwpCZdlAt2rb670anTUW/btyzqDfW10KaCtgVH+7hGiqMEZ/K7UFFjKAFKTmb+oslAQJ0Mslvos9i8r85NnQc8SoJL6Ole6gBq/H+3dvxCY8+9secmr/yZxodSYyP4r/p4oltST2Q2bvbD3oElMrj0bOfUY+IiLXcrcgRvh0IyJEd0Fd12dxkdLJ6YoiCRYRQqVgSWa6aS2AXsxGNglxThvyjuyROHqmc8x0S0/hpRFSqLEENipoHgoAA8Ksb4TX7qIlvrk37+S1lOzu/nbpWOWalRR/tut5ODTbLGixr9Fl9PW9CT0l8dml7T2u/JVvnXnCvbFy+dtjjiMJRRRbO0wKv84RCudrLyrLxwVjdWRWX8vj26BqJRFqX5rQJVgaA1kPwCLkCeajvWE/5yqxJJEEWDg8MGy9hwYKGIYnlWMAR7SfwMIPeLdf3fYo1q3ba1ggQEj6PFu17LxaEyuixFPq8GpjGATVa9jGQU0KSit/JyiX83svtLW4//4JkjlIqNymkD+YzvXzo+lQmiepxdqU+rQEWwSJ1yNu+K9SpUkVavIq6I9oAzAlNNadXYKo+REkmPh8C/4SniOmmhd5HpQuwOQfOPyWrpEOTRKJzX1XtCpiR9Zx8DeWs2ANoXoEgoHgf7jCZ+Bc7ym7zy+4eYG9F1SPEEPzfvm9j3dnax7GJLWgWhRY5LS0kHDhNOnaL68KgQMdCCYB0e8pt4ylwmiG4vArMxPIueGZpnH9SafIoRCVVQoskeghZFHBujwFcu++l2A7PCJC4NXwRyI0SSt+J55UnlMYsxuO6EnbDnShK3RyXn3BltUBhUJaDO5CyUSbpcePJOCt2X+zqUgoPL59UDoiaNJe3IhumwxfZlqMrgUhO/UTk8gS5cxNq/vEuE8ZdQc12dz/5ujRU1+qVB9dfLv88H8714NMS7RG434bGlCbsldvi618P7yAa4FVgyZH2JP502f/F85kF6Mrgn32BWRiYeijcPlNu2Sfis/EmteRIu/ySeI3yXtQDwf0ux69KsUZxTmaCsKxHZRtgQUCC2XKyJZFz5wYsz/zg/Li8FUITFwEQw722tM4ExYZeezFcpGLoUsRIWwu6SNwzXwiZK82zRfQ+ZRbcbitxeiYwyQckbs4E8bTpwH416L2zdB6M5raOhw4Y66GFEG/lXQfu7jzsRJ5Pr/Cpzeeq7L1bl+o5yJdnthMsOx1oD1U/EUW4UpChFq+bGBYYxdAAB4SS/ubZ36P+wAjMNzv7UPJW7w4f2mc2Bd6WdyD+odSt6XVaihsTyj8ExlUz5vEXQfuS/OX8kVqE5NqYABrkVIFabAWbSePjznOK8EaP16fd/igGhgtGLdaczWH+ZWYaOYJh0WLGUDDugMf64cQ4FtW3be6Wl98vduLEXrQcyI63Egn9CZxySi/tO5M2tkZJXUncNtS3EiP9AGYDTJhrIUmFvDS34pMOne+OyCiNtnRyN5JZeE7zTxN7pChVCjrxpbaGhQw055kXcvllfV4M3SlJA6mbWeRjR88OgpBk7uxQKcLkk8ex5AbFhGPtpchGD1Aa7AUpO7dz5Ni6VNhpvPFU+VbPVhWiP/JnZ7m9tQa2RNat0LSDwpGrECLuISye9oJFEpnJd1PmzcZbqWDNUMcAw6hTiU7TGlkCC4gMZZ9NNPpKCMjmyAeE0lN8Jy0qf8AluUHhyqjTLgTZk9yBxRLnTiQITVkxiuVnpdCUm5t6/k0wcwWoPJpEqNeYwYpBcSJTnPMvAgtkfxD4FVJLM7IUSWmLS/eW1Hk/nLu8vXD9YAoGqP7JCDjBAJmn7POsKcAMO/DlDaAXY1Wzi0ZfoOAEXe8XhLqahV78t4XjdeSpzRTrfjuOkqfNx2sxMAvYrN0dhe8qN+h0ePN2ZD8F4tEC5gUYY708gimK4fAkVsjheY1rt1J5WriSo2Y8NLnMPX/WHxYVdWrzaAuyaoLsAoe/9YIQhF5Z7aTwR9JLVbF2j1ku85FOkEAPPXvxbT5+cdlGWaMNcSfRc02UAVUklkwXaB2GNj2FCwhT0eRqaUraK2JqM/+0riAO90FAmWfh3CqEKSxefd/N/uQ83rAIs6/uZkEMK3AuQykhAj/pNbH1kw5PdvHnmCSPnodQQNqgc5aO40dTnjsp/MeM7oJ3qcyKX53j8FBIAB90PAn1ViMmVFpU/jgCq1oB3bsniN7tVoMWKjXCAtVaTX+GJfDF57Zsbp3Sq80xbLUDxqS7mGRtJoTfsj62fhaIwcwP1ScUPNwnLPV87WG4ANpkepi1t4ZXg5VLVWz/RQ3X0LEX7cwDZ2Ee0Nl/CfosB5RncrPbTpKt1Qz41QrfU+dFkYAHduF7bV/njMHz0M6vYUh4Yiyxyl+Lpg98bkpLWCEAcp++TsW1UwAJCeB/aYOpqugnKjWg0azjfIiKi8eyMY9wgYwno9m8K2apfz6t9nMemstGHoZ9JcIWT61KEp4GXjCOzVTIpYr9s/m+1TwxD2xzDG0LJ1LcYyWdUbdJt163Ig1klD9gi0b/rUZlpKbWK201j2tAWH+MdgYE2Kec5T7aYrD/JpzAuFBlbH6znPlctbMyk7vzw3J77Y7byJoXwXfQImV5bs88HC0OgiJ+2V/Kfb08xo+Q13SsT9HOl59NbI4vkhKH7tNhvuZuvg8plgOVbvsCuCk9lXh7Ejx3HdZjeUtLIa53QhqRgtQd+mG7WzQ6PKCVV/CBXnWnIDbDIsurOdTXVT/W1WAUy327SjzWFRQatOxOR1KOncnlQxp/dwR/a1WpoyW8qQED5cglGsN65p+AwFMLt5UQVgYpinn+Qy/p+ECwWrBJUPdD6oMHywEphhuU+eNkvawDbrrRFBmHDOyJSN++PTFtRK+xY7eTKKhDkCx7lmuUG7N/+VK86BVWHDuBtGLY8SiUORGKxh+7FxfYvoHV+ZzogYWfsowLLf8Bi3ky4PsDunQund8/TBfzgYhPbN8SCnYCepmyeYCGV07sUmDvVEw1GlvuCw1MlxISjwhRZjBOT8s2P73tfcrYtek+6ptRTZlaQnDJ7JLOeeuX/cPJDuzhFoatdqzGUKIT5P9RRYhO3jJEtE4iKJrvM5e7Yo684SfVrSCcbk4A/esgLBCdVRN4n8URBfiK4jvDPl8d1NvG5/B7Ps5ZCny65OBiSdo4TEN+cAbqOY4myitUOB+waaBPZ9OvmXQNmU5irj+gLLPjWP2PhtYrYEm4rcOO10vz5joaOD4wuYpHesYDM0r4CjeQG2OEEInensFhmx4FJdqlS9z0mNdIvEfjtX41VfMiKm8ZKyXujnQEKTNSnT5I6o9NfL+xrsKeLKeThCQQpCjNGxhVyRvWmEKS2joPzUwQv3mwDikmThx/tZ2HwgpNVWZGTRKNa3aT5fRaFSthKC5n1N32AHaPvuS5c5zSvnu9Z2SUVN7BvQcj0Z7VLj1rlAhxecq5z6s2zItqzO7tfZNnmiv7E1bTo7y1ffRoKgfD6X3br4VyDuSlhwIlAsdXXj0CJqrHy/5lihslwoLVwMTT/kgdqSXVZOfq8BDpd5QBLFplp8ZiYmAA3Syk8p2iVNbUkAJG9+W0BeFmuZ6o0L7UmaIhkvCVSrYWQ3l8Ee0VZd6f/CwDVurX4ZPsVYMv7nLJ95aEggpSracRKzIva1aguY8NSIvTxsM4Y1E0Sds5ZlnTwqK7t2WUpR96H393wtFA68fWfc+MI5y9HYpWF/v31It1Ix1UK64mRXUMo9xKCFusFHehWmgw5d/0Xm1LJ5JtP3ACobqyLULa9no6z647+Hp8GJ4e/e92tpWEav5/JGnFO6UatV0GCowB6+KKruJgVpRmPiKE7mevUJyBSJbn3DPvIpMji97AFkMJSRk2BOrI5uDx6tYL3KEZ0bUHOt1NRlmRbkh1Wj82qD7zUJBiTrQBcIpxGG1HCyNn46J2JjptaAbcbmrm3Tgqne8O/r1KytHQsqvhvfCJ19uz/MfSCQm02y5TAJal7aOK01UpLwu+/m8j3cI9+HLk9AyLMghsmat5RsQctdfSo2OPa99TMfBUBK0iYxrrh5q9C4DbgEPdMu9yLU6QCqe1skgPOCMCSesztE0AAjHFPA7nzIVuRjFagU/5hKSsXnYPwRyX6IRExaayGcbUwE2agWlyx49CXuQPTWg0hlQMrDOseZhhAcD1T4vCQiRnnvkLv3py/V0bs4RbUIfXkA0YS+N6U8HY4Zcf8OuO9wgJfD/Y2zuDPp285KGlRFMSGNdLj2jxW3TXkR3DOwqa5JWqT6imBCRSV//gENlBtKqcdgN7RgHydjVO2lU5T4SaVob+L6uOVFnvWvPJt+xEcI36YVZe2qbX62j39wqM8pxmcAtFN86RhxCVwkM9Nj43bWfCbiKKkD4Prx/3jTJ4Cc4xGRX3mcY0cR6u40EMCTn/LDSbgF0Kcp0bZ70y3wVozgvZPJzYkFmXnwFa0oUpVImpuzfUrFF/QnWr4ya/SUDwF2bJ+trl6wlOlGuUKLomjgx4TSrgHsaBXI/dOp1cOlJsOD8YLnY1UCpNvpp0P9mV1ziXUaUeYJsu2zZpTeTmwlIJhy4dK3AkRkmrLwjR1+KoQ8KgIvoFEF5yCy19lLShQtZVpQ0lNiNO3cPF1LdXl3xn0OXQkYHx0nwbYV0+4njFseh4VbIaEcK0xEa/Hkd8mXjrO4CWwnwkiz2PbN+BhtVN5niGBoEgDcjEH/FK3jn2UEMXw+/SEgHbjNburZpiz8yma5UDWffHhsQ45OUJLlvYJQxTdmUw8dm0vpGux4G1RO3yMdxI87TKlKXFVVsp2oc2ESLPghLndCGSmmUOyrH3uYaPgh0sAcAe1ET81ebsbRxVpmIMHZuo3/VlzJ9cGRLKsK9A8cC8jfcb1xLRP4do+MJmdeWc19dKWVk1Pb4pfZvO/+K4GtMQQC1vcFaBO1YpLF1+YG5wzW7Z5B3GOhQ4TJpvxCQV/Xj9RQ62HTQG5FCyxSme2vjbUWSwt8aMx5R6UGMwE3NUFH5M/h0NRj9e3YC07CYemg/I3fvtefePE/fRI1ClKfTExWswBrFMvPuSF6qVD0tRL5UafeVVaXVc6SbySCTnFFDwuhtNAuM1KzO+CbRuXei9J3oNAODbOPvZFR6UX75sTBJHUpPA7v0GWmAW4jGS4fWbsXwJL9452n/NlUSwwiu+HdUbgfx6Rg6MsKzUh50fpsFFN7mDjraR97XwzeFUsHGV52El6wGLlEjXkHHwnidHMDnDV2qVI0qOed6V9oRl9NPMmp8z2z8/Ssr6zR6XKJu5jNSfKS5ehS20v4mbF29/qoIWm0c2mP40dvvpM7fcSascxnUmW76yzD6MPxYTwtyHj9uPHkthSlhEzxO4IIaR2s3RTydoqVeI4xACdXjjwLrq/0MlP79fJsIr3a0imYSn+/Qml/zWr9WM38xkvuqxEwg4cFPHqLUTTQD0Hp5vZszf3GfFjf0OD9BkqK1aAATQmBkexZcL3iwIg8K3EJaBYinWPeaGZJab+qj7blAxpp/wvoRyCFAVFdk03WhF4MGsuYts+5gIuvBC+I/hb7r1xiqK6vDrVCks/sXaSE/Xmi6mUZGt2QaFSQmyePiq3yQ21MLTRlXQBHEvmww+IcWc/CJjjXXzX1olIlsJsishFJWr9DwkV9EpTcJhFK8MwPynnMfbmpkltkHhW4C4PmsWbaanoh3TwzZam3FVkd9DiflM2vfvAMDh4C7az6hkS1zYuOn6QPrxxXxNkFh5NbI1HAjtVtHW83yN4T/9aYeFL/L0LeRfUMVNV8HYVkiWd0SkyYUMI+P3ihL5+61mQ55g/cT73ftNpu/0u7YCjZ8b8nF3oympGll3NTDmsZ1We3WTOaeAs/chp9dT2bJ71X4xAkfGWK/r1vWiJpwO/C0255b+s3t1oyG6wj6bVHsStj9GFoXhzJbfiFC/MD22M4WckpjnYny1010voCDHpUjtNghNAiVJdhKHi8b9xAKABwSvVMqsNXzrgxILyKNd7de6IwH90CKQz07/JGKGK/5cgsh6omXgMsTqCgi890GaUHeQcRbD4Ao8Zyjs6yE1tG1mHXb6Hks6hvdMCLTCh+RKc9gzQKeN4COMgbCWlUMEjSZN/wBacqk1mDPU9rF1p8upg1+aCJKRpj+5WPjeAJJZRy3pAaxc9i/XhE4ZdmxsT3Bqvex4V4hXykANgGh6xBS00feqkqdgp6ZByfjPc8w3O4LJxqjOoel9mzevfStNZUCCAiix/t5LbVmTjX0D/VMQIwlv2l5MfxpsgXuwLsU2JZq71w0rWGcYbZYm0JrmVNiB5rfd0tQRJUmEnUoNeOcX9XxYF1mDUhz5I0pjXr4BX+qL2STze38OtXGP8McxRRe9SvbeYe1iDLtPbOCKo7Iy+Mh+dVL649hM2nd5Ah0v8M+NZejZvEiHlpibbjEzEPbnrqCDgBaDUlS+jSmxvD/slyOSx+/bh7kxv6luX0Bi28oM4RvyBDhVNNvACcBM5OctCYnqDDaO5Vmwv/SjVDgjwTXzsKFovX9uaS1gCYbb5QZNXuForVFU1DPz1M0TJwpL2Q/2b3DSgLV/Ddo0UM17rez4lo+2HHvVVEKGGANlvLxW1qeu4zlZi8PIfKX7CIk/FPE/e+OFYT2gwvkA31Ssrusw5GBBEM/7bi9KTlUF+Ing5cz3bHLuNcyrqTrgmcrGvgFldhr0TDqJZf2qEv9GkZL88kuXIsHYmRLuDiGoaURjEA1uV40cdSPSSNAKxevQGb746ddQbxMTnpO8kKtV0EbB3IzOuE7msW87M0fAAK6ehy8HY8WFP17LjQHZF4XO9Ko5nF8D3leGsgvkvUrAmOhDIj+jVKZnSb92K0I4gjvAslO4tEZKhrr14MJDPyifJt6Bd5Hten8LMMvNRJ6i8cG28SkdhToO4XtBSVUkJKCqhLMYci08g4CdZwF371bCYxy31bcVjJaY16uvV/e5fY7M9JbBoIxFccaAYE5z7JDhclZ14OD8oOCvKSaB9ccbBS9rJoM/AKDVnVThEA6+P5Hrh2TsXV4Ya/1Qr5WUGVCGeyZB40xGVXvYZoOGM/KODl2ZrqQRMsmbXncOIkSGCq/ZYoVmSBz2JNs1qsNRpa9JOI++SX7IWrshvo7joCied77kvAyW32Mg+y9+afczb1WryuViFjmk24j6gtze/0wCRvTonDvJBXZJD1ZBm4FmOlmTbUfEWs+QsTI/H0nq+r+WHj6rEWw/bsxKJhYA5Lvzv9BJ+BMk4FuQI5UZHwRgiOHmYiAWHetfoELyzdSsvPwz0V1bYiWSsu2Scvc7vRBqzj/QnWIu5oo6UBAuwqUyQlXPL2fFRR92WsB4N5YzG4As4cc6QvYuWpJF9BVD+QdzCZFWSWd0XA9JXy5B7ZTo+bjWfjLSAGJqP4X22/iUO0pCofh3FxBmqo+XVuPFGwmcL9mGfL1gTXmy+QK+/lmPfbRx0aTH8oBo2mNeOqsTy5NpKucuRoM/ZCRqoua6e8XclQmWiaJ93ithrCPJwjPSFM7C2Ro5aHdewL6vMsX6HVo4vkYdk9pBruzEYQfIRxHhAf7jxQp1Q5ug5V80L6YwNlkPI/v6gk8AX2PzKOhbI82y8gXVkqQek1zk6vhsmeSzdZlFXxS371KfOTLbiYBbj9Q+ZOtmCnMw+V1FA7N+2K6DrO90VnUjlGkUKRer/UFIOWvf5sOA4riVdfpu9Daxs+iOmoRXLmZl2zxObNhyjBoli4Hs6+TD152JYzZ4yOVU78W7h3NWYLSFdzI4lMYCS6ALTMF3znhZQfGMA5kDAHqJlx+bmMwDkyoLabPjr5qjjvO5UxOA/BBL5f4rKnbOOa5BD5G4cHCIn0+ZQHO8QU2bnjNHA7j0T+28WQRoZ0AkD7QNFM/4ibT7zfI0/eHS1ZkdvoEqqTBZWK4ElZySKjjZX/TfBT5dbdlG17T9RiaIyZ/tTkKkI8xCdTwq6edJAmrf7j34G30wx7bxCn6joR1gwO3UNMFLo0ZZOxLHWorOopdW8zXitJ+RRDX0Ho9w7DB9Y6Mp65vIzCgj4kyU/k6229jODZxw9ZRkjGubMV1qU11E3pwnh1xvJS59LOI/54LMmvQopglzWChx2BpQTi+0v4zJ6awF2H3c/n+q6VvE2NFsa62G5C9HJz6xuVaKKlMeeja0JyBMxpRp2AhDy9xNvsIW9bNHdnmvGJpo1slzF5fd+/MMU+41/xFMCE88ppTweTP8DW3KX++UfXj0s9MNMFicaWLcYs78D3GvP7YxWhHRh939ai+GvR0RgJifKFo35MNw9kM3Ac/Iv5cBU/xE4Lph6/iKkqyYfUffFyYxc+38NBkKtENBI1NG5l/EJX0BNCfvHTjdnKF8HIZ/peHef5WuTTnIWt0F2HjyIiFbezY9w5PCA4amnQ0/KTU9OqUnTfAM06MyCngOaHhAte0FJTLUvTWqHFME5iEo/2V80MDuY+mLq36611HPRyKeY/Ybaxpc55Aoxux2AD9gqHvFbZe3Pfne8LxSSO/r3LwFDhsk+jIBdghqvbGa6V5npqpOZERpaj9xtK3maQniaWVuOYCUxoS80y1OsG9aEaAJvAligW7VLzAWA2HAepLo3oFwWXdvjL+7FsR5zmsa11SO3VFmu1z834XcKQAV5HzwbMVLjj9DGetr6fZKYZSBhvyg/kOZCTIsdAz7RaDcV90zXtJNsQODM5nJh3S/LobJLgzdg2vyogXDdE7GZ0jYavc505c2C5NxGSpbxf3esR3/YDPYERB7bicV3YLs330qD9K/cI6If2ND9P/yugQ83mZ/NUTypPf0G3eHWazMv8/cK8qPKzqw1ZDajmR7ZkEF4/TWnqnG5uYgoLvhjJXVQ6NiFKCWuhM9hSjRIdj2sLPTPIccdbcPbC1ZrFm5rdiu6yVdh6urjdM2AP/Cv4I9klt0WRA+RtYslgDuWpRRCi2TsZPQg2lpPHNBHeVf+w9vZTnz9uz4rOM+G07Fwy6Bo1oGjUyFFW7A2rv+M63CuAc3RHhPRbeTilxx84HkVFyF25hkMIFrHNIMWM/sN98FIE9jzWSEIkXYw51ls3xZ1dA/q/dTg3YmRO/W9c3cP9BXhHw74IEr4cwlnGPBcfXxWkV36K3HRYVQChnahwxHB8/KmMfWH8IkLzMXaD1Q0mQkfZlOV9U/yGLeDVk5+gEXO3/pNPVJF8K+Iq0r731x3aYManEx0a/tExFMMxRpeRE2MHLPWXA6WGW97e2D7qichKRDlr/dlA3tHgDtreH+K+YuLr0ABW2vATOz9TNpGG2eKV+JechRjxZR6NyYdLmTT+PoL84hloqKT3sYkmeIuiHLX0FtP1qjPKtk1FE3BlSNDVznDLvvCTt9iDYURL6eirLYsOO0MjfUQpWwrl4LcUN7Yy0aOZh+48+9bO5JY4oRfzQacNytNNtSyrs+iEHXGsIKh8tGew4y23icZgPMnwUB2GzJGthtj1oH5uvGWaO3dVTtZi6vM2VhsoTed4pi2laur6A82ueFkhpy4AiQrxxYSIhN2jg2ZZmzONjTu8eNK6okL3QgU0zaWgEY7fOIf5ScnhSmYid2gj3djGLUneNW9vgZbJWXfJTPlw37zAMV9SkxZDchrA7RuEpAMJtzKvKGWgHTnE03mHdUHuFx962PzsQ8cnst5KqbwW/QFUq4MsGlTPRAmfmI1zr9vQ5uU1VX6em3M23taZfQsRiaUPlWsaAQRvROQC0s7npTQXZFWtqU/RynKn+ernB6ZFkIs0aJvCydWBv+QlQoO59tUDnudxQWN0VEYE2KrCzlYkJkB8I76uYR0vef5wibMplay+YRLxUJrIyi3T0qPg8an3kT6Yzh5P1IKpesH5db63Fnj4YPnh5e1VQ1xi55OSUgNTTxUxR1p5vSJqZOv7jN1bUGv4nXxwY03VM2Bm2PKCCHpQV6wKoYVG6dMFbc39XbltPcFHD3v1fdBAouMkt/KOLBcP+BeXB5gq2LaEw5BMVaovHxvvYLS0pEducObgvkVvD1rR6+WLYqMRJkdXUNHJ7h2l+UN0raJJkj/4/rBKKzdRVEATKja95Po5fo/m1HQeCl0/jwxwp0urqmz0ieWuIikOaX9QEBgmPYzjfkwx+/3XkSZ8+btU8FSSaq4kAI9+TA8q4y5W7U37nuw/DycOdzdms2dAM1WY+8jtoxxVAxbGy1XWs0udsMQ22uGw1YD6hwCNSNWg0cV11bPevr5rH6jxdN+cufxyeCu7bOZ62hRm5pwnaCqWh7ePdjgWfeZI2G/GyK76IptqV6HsW2mR6agUGxmQJqWoy0IPHTpl/KZ/+vB/oMzrktT/i9OeukxCLy7dGLFWh3jYwt1OUTqEMxMpZgGXa8a4v6tZ1ptikyktOgSetS38VlNYm+QHKNEok0WyZ7Gde2TKjGhooobvcdZ6OaiQiSoHS9eYg7XoLAIfagZ3+Tzs9CvgcU0KXZcUr8mDHFWcsn6mgsU6AjtVDYie5gAXlfKpmyyFTwlSoOLqDC/qsRd2nhPIC7Y5qSb7SxczNgw+33xzCj9Lty1ov/AkKNnigMu8dlqzULPNQTt8MXtcKbi/A7mignfph0xQF/4o2qSuHe85edPkuzem6NfBqohQTn1LwroIYVpwvGBGTKxcR/sHOk379TxqzyF/xkaTCQMcE4+2/i8/Gsccu0kbGDBzN5R6lIRJ8SCHy3y9KDXuKdhc9nv7iHW0y/YpOhSJEYU9CjLvFWYXD37ZkgfICksBdqwPLUAyEQ19PCeGL47zhEuclRFfwsdg88hyyIGcGzgXs8Bwuueh3X30CrOwrXlR4kcvpeoQC/PnkpSIDWIoYxbFg/Y9qIH+WpUV+TMFvJwf1BEPKVG8aZP4H4o0JBaKZ0qNsgid4O5rL5AhLAlZHsFkD4KJnuQfW+GNeizeZGs5TKSlW5iUCST48LiBo98yf3BLZ+/DnHYWGj0BpEvbP0em+k9tj6j6iwCa9a0PXNtolKzGZbI/FY+t/3OUO7kxS0oyqEiMxEGtfJBkRRAFoYGi6jo0X2y7Sc5BSXUeqWdGgvmwEHgusXAwlzPnfFzLbJIk7dN6c/vrKmw1OyT4+1OykFG6IOqK4QOWGiRZTqwKyMXuiWacoRvMHhqVw2aAxfssxDSkoUdKggRtOxST9eQHqwbInLp8WXpnxum31/dQctfq2hg5hMMJCLzLUfyQl9r5VyadWDzpJFpljv6TT0Wt6AObyrfMpIWOksnLzi39G0AW09ICD+Ko2OEC8X/A51/SUYkFZELi5dSG8sDRZhGF7ZhmNrE+WawoKnv46SGaCGFxIjM/l1FMD6bBsMEUggnYECIMXlK2mrqJntOuZucJ8vMAdUXAve5EUONiZNNBWps1bkvNsVNUsvL1P+SrZE8C8LFlYjCMkwfwcJaakwHx5PE2Rz5NxvbEYRkvdny+u71EtsgbBTeokTp2fbHS/91Jl1wgScLAxVLVzihSRDPrWG+ShS5a7i47kkf26SDrB8OI/hsXCD7WzO9j02Fpw2gkFm2D6NvE51VbRf2fSFUpNYZfCX9QtuCUVr5ILQJGdvGVfxf3ieGc+Kfk6NrQHrqWwDMvFI7h5H6LrtG+LAxMOapkIP/RlL6AA48eyVwGV0A+XDarw04UOwD1xVTuFvIyalir5Eg3EZfrmU2sdHsDSYsUEBPldtbrgvfg1/9ijbtxRtGLLq4cq1rV3PJaEwwD1zkVqo91DjP60X8hCTsZchG/6Za5TopntnP1jJ9Z94ENyiVqtzEIcpiEzPuQOTjhuV/RYUGwXuzi0DWEEw2SaBmOFAfeI5m7pOj7mcLOpVbMBgAgvHIgRJsMkQUymf8F7V6wZ2au7kNQNF6BU2WRbp9unsKOFsKMiO5np29dVd/lnR3WgXb3mtHbxIoFwgcixkp2SxmIyor6C3n2U4e/ZWOdahtuc8tI+oHiKrGz7hQfuQipKYtcSsu7SHeeDzeh4oZekYFl/gk8Tb1e0CLrz0emQOO0z5fNQVkiNKrFO77CwIWeVnPpC/CkJDUxRKf9dkAaXGjhAjiL3/Xi9Y1xT/Wxjw00xe0iKbKJQr74/TQGOU4LBJNlt24q46Ktx5wcanEmaJNQ0/TvqU/LbmxbLhy0YOYREiYEG+Uq2X6hR+qgC6v61z6WzGsLsUi99HHGERwaWTO8aAFhheG0K+urBDA0ad43ulcVna51Gl3kbhxd6u4h5c7VoVB0p0P6JQzVM5FgDh2Lv1vj4xRGz+EUa2siSE6BK4xSrc7Ulp/zAEtqBETWwLnN9QX/Z6vUQq3J1HkeDwfmx3lmPkuZiJ2IWKgzY1F+i/uB3UxrjGn7XkWijlH8QvWJKJqJTBFdAiAAN0Hst3zugpm7JkSwKIVIgqASgZOZdj/2cEdY1y+JuEygz4uVnMVHPkBzV+jgfVQU8p1CUHzCcdGQvntdSuQy+qho+AQyJj7ppuFfzuS19sHEdz1i3g7JtDCbhe9yuQKQkcoWRVEYSBU0Y2JlTXzO1nBI4iKuThJ3bveFPzwqG4BiLBS5pE6f1IsQGBbfs9dZOO1XjncAn1xjXEH57QyphhU9mDjxow8+1e+6EgjWcYfaUe7567XYBQEOmFhfxs9JPlaaUDz/vgqxyVSiZ8Na/iSUZTzdADxBLwBxhIPulRiIZvDeiLeGipy8c0iiuL0kxu3VPkAl29aBUM+UNJgZb/SvgpXxmtmCj5JtZNmvkkOcXWjwO0bsjbfyNEr1JiPip/LMXcaqYzNEoM7R8vPp0o5V2W5KsX9dT5V+thW00WRPRVMmAKpRyjfosSbHS4CiwVz2s/V9kHVzLTdCdUQU23etvRV8Y5zhAPeno82syTDrcfdV6l/E/wjLpHxRxEv+r82FpKjBj/IX8XxgGVpADtw+rLb5hNYJ59UXw01sLKHpEpZwr078Ipiw+kjB4SJT1eVR+pYyOQEf6FRQwGSijmkGqtbnPdigIxrLshl286VU39gVUWfHZf0cEFk6loA63/m1lEK9fOYuX3VJDooZS+2fAAB6LcFVxjTZUcv5hHii4WjuCjMf7JqrMmN95FKm4s9uutBkFNAuerdRQG2mpQy/lLVIqNXptTfuA4sV4L8I5P+tlqro1MTqS57kgg9phfZkov9wbFesmNc0S4y1gJMOuThS+RrS94YhORAZXLHiwQX/now2LTyMjO6ILoahc5ZNSDUwFMPf8J9ADorQE+pVuN2XkC0Xihe5bJos7Iz+dDY/L8RcvbE7a5jeHPbjEkM8LOaGzvxgSNzVrak7JB3ajYFVChUTYegaUsijUS0U+JKDFi/HubbP2BbfpeoBhdhwluFx/fg8YtbvHY34fJV9ruijq29OdW/tGHNUIqKnKoHYkDx4XNzuzwmFO6QseTr1Q0yB4VssPKg+INs4IzEkn3NRUmjnP9Tq5fBH4iTecnZe2DaqeKXPZs0m/BSteYWfx4t/GGzoh1M1k88AGlaNXAUlmvrFqJOlTMmYwCglxfIFl/3N7N90nq0hux3OuYNyfLsOm/owY7VPLtgiItABRW8HfhdwG8g+fK0INMRK1emK4YA02jQhQ0a1CKPk21WdTy0AQEu2xoMOSUpEnCYGqd0BfuBv5N/s4MlcZWysngvczztSE0PNddKcuKJErgjghChfN2MhmVEmG2U8zHTHQtD5/ZzSDLCCT5YmzlIfyvncsYAhZJU3IIY0NTTCip4bl+92HUuCIB7ou8lbDe6YQuVGi5nJSNyg2P+ycZVMH4TgKJqw/pvsMDXcsTw+fZLRm62kvTdW5kdTGI79yPL4Lwh5vQXyqqM9FSmJnXw4EWb7gfedkJrlp43wiID7MGVWh3WIRf4s6g69cG2zOKrLd6i23nWATzkH80VYQNIpHSSGDkI6LHXWkNWiTmuJDGeCe4KFafJmg27VNElYwh8DugBcIpKIWv2tXjzw6Wy9zyZOiEXXpOf4vRYgciqUzdiih/sKDO5MGAaX4HtOhN/PHS2ET3bLEzxrY260bkJn5/YdpAlr/i010SDNfF9x/UibsUPr7IuIAopJKhtrHog8k5jfE5MqkQjVv6g5AUP9RdG8gY4sHP6Dxg2PJU/xDwfI3bhShss0I5pvlpV+Ld7x5lvOTwozNUKb0W2eWpXsURkc+3IdAWRy7Uj0FD3UStb9y8H2Qj54o1cTYXtgUMmcPRtfT3KR6XXgtH2YAjnXyWgd269DsCCg+oTYYdDGpGvMe1G+hT91ssDJvU5wweNaIYjKdcI6O3V7NP8j+8K68INKA55XcPZ1/QjIP2qh6NNNV04yG1NlaZDE0ZxfgIZZexmofwvrCIKJdWZfsxfOsu6DZM0ap0tKV16Ss1fnvg6rH++mY2gmgbmGazUHf7Y6WqtAOCg3qH4QBIQAyRhtKb0Ngz+6hf9WymceKfkZPAqcx35z9C1v/saGpqoecPbvA1W9QrWIJ106Lad+M49YajCy7xNbkTsgS2CmD6yKDZ+Baimqe3kO+qIUfE7hUsU8O9lweQOJV0vH7cJcWzN5QWMia2F/Q/8CbJqf5hT3gxyCMNj624nURPzMLguhqfJdl0enrzvghfGfbnNAfVkWuYp2JfhbFCYOcuNTivSHPh0jUNOvzCUBozNioyXUveW6r0pn/yWZSqKGmhQcTvy26wRzwimYIlq6uo8TDNsaIQ4Y3eSrNOJ9FK4xNTSkejG9zvWfRAuXrxsiHSzzpfy29AI75H5c5fvOvBFhinMr3Odrb6T8qjiij3pohbiAERGjk0RLh5pJI23m08dOQaW41/hA2E0knCJt3zhX49klVlY8DtFdQXLSJajD/mRtLd4N8S55xQ6CiANKpnXo4Sap0fW+m0UQ3ouSKdozawXJtaoID/5qmmF5Few8osxuiJoeyULWi99w53ifBqiFWMdFjUe7md2mkPdZq/JfDoceWPEp6Tvv5Vt6iPdzeqaiEHH/qDfclxUN1WMaNPqgLT3FkoI7zZNRG2I90Cv/YYakX/NfZ2FCrvpUB+JoBwuxhwPGzknGD/3oxZ27ZjlGzQNi8fYiJcwb0umsC3/fhml6xCDnbaHlCT8h6RUTTz23isWFXz1XL5p++/dVbqH2TtlwDFfGFE6XJqQGB/n48dZwD1Fu0BFlGlqobU9z6VNdF2+r/xsWO6QR+uObT1TUq9+GdynLt6guEamfmc7PAx6QSuwbMQPk2/sZkQf1se3KxRM3F4Y0uwu2GfmytxQJqovUsS7Hh7uWCdZTXsTKdHUPaEFX5Y2FDuzabNpKve+cBQebjc+0dWMJgh/y3HZa2sXkLu4cgvxvrTq1tpfZzRq2kR0n4bfKMaRG/XB2CfKUHGzGm5uRF1G0hNLNxbPLMWB/F2olqxB6ar+kktMKF214FiooZy1iFDoc5ydKjBIUsfowy39pUJ8IV2/R3To1hH2c+bRz7zvu90j7f9nwiQmw9zGp7u7fYTzZniwNz4MlaPwHlTGt254eHgVlmtwENyHMEZpqlO3jkHBzIBVuiHCCJ0s/A8jFUQ/PqG0t5mj/YAlkwM1V1VKA2nigquSKh/RWBE1KDGGSO3m6/dPaILoDB3pvHTwPAEBp9hXBBiA1ParwSW8PZ3tVaKYklIiZz9pBCR7/MgYeaK8VsJmGz3GhmvfN3wPT8wFoQirsEEZUxnu+yTG+5UCHXXpoY0t12O9/+RGniQP2PjqO1hNFIvukjtdZpNi9NROEQpNpl4IHbT438nyt9U3ps5iwg5ZVYPWrwyh3BvRQKpwUfYSE7Jl3rJ+7GUuD97vtuSMhq/MZNgfpBG5otI/VEx+iN5S3TCBBvpQCX1yzDxZ37q4CXZjtkNMqdTbr+0JbFL3s3dpdOf5Ep5g6LB8RpU0OMQMEuQ4qLXFYAoq6D6VWgSaxQLCWunV1h4P/NVCYd7NnPpQUaVwdYVREpspt4XDemVAFgqxtu8PNC/kg69anLc8Dyd0kjZ/FFLqIaumhqUS8/A3eIdzLsNZAU7U8tf1bw/O42tZPwdqMRo/3oErbLaHmoM8sSncnAlXRW+8637e01yXhZKh8gPkxVXSPNxV9c2nmX1z3NVEayXFxKRlv4QDf7Dg7WgK7iUWni5dVw9VNgxgHSh3dATjbP6HGsYmG7eL6Xu2LcRkODUnJfKi8dnB095SSgIxq2g9X2IuZ8f2MEv7dmUHEpmHTTKsYmVC2HACITYtJpgk5DelfL1WqvXfQ1Qt8S5hSWPa6GSTQNC1ktsmxoGcAvpu5vjQKxcT+AUOA4pQCtxDVtCO5/3jp5V1GMj1SX4t1lJU4ZjeoNKFfTofBx+BB9TNinm9f5WAyYorTHDruVk5AuMTsDYqu/T1sbkVdrTiH2jb2JraJhCSDUA5wkdkmEZ1CtEtGXJ5ceLGvg/aZ58da7NtryNXkT30jjtYPeoSIkJwLn3QbarSC5hKFPq4XCwAOCg3OREB97G+8vegtA9pGXWK1GKExc7srh/4tyMY0RFQ7cj46lFg1a31NdcXyyIGFaO+L1pPraC9p8Z/I/miEkWzWPBtxOA67koPo18mUccVG+y78HCqXX+y15EscC86cfbV0w9iTdooxI6ces+XJK38GyUNsc02GQ97hUxngT0LdhHTGJEt7r/dVvtD5LOjVn5R0SFUvHaQuTUH5p7htdKpe0OkSZJZGaY5H7bHhGminAeGjqZpol/3WRMxAsDNjEQz9TLZ4Wfo9zHaXUklK/anm95tLMsCjM/9U8AG23MyCxLcjhq8v+KC5SKyqnb4SkQ9av8NMBNzHz8RZPc1qxc77venyJCPUtbVQ7GCYUFfc/GQB6KeUFqgz5W83KMz90yXF/WYsteXrCy/eotGPyXLwAVAK5WrmCQaioDDC8kc3ISfSc/P7MJMUQAWtUK3On80d0/DAJCHZPoGN2mRCk4YhdRda9lg3T53iwiH51ksBE2MVeKP8W/lb+HMixk03rQ1eIvWWYFI/Au8HM6A1MGtZ6UjezvmPRCX0+5TSMBIbZ/ygeuPlySfwuYnvOYT0mU37X/1RxHrC1d2kLAWiFn0qVH6Mray/cd9O6StBliptbOs20AIBfw29MEftVK0uwDEUw+Am+O7QM5qSLnBEMI0KQLduNu/S5eNxnZGIVkC0iImiYfkdwanBoe89vSugW3H/d/5qvUQ3E7dZnBdboBLaw4bh4pzAzVET8RB9dicG2qEgBwjJM0YeOaP9Bmu7ZBHJVKRr7+qV+GsPHLwRpj/bSn2LOO5TSoMx4FQCmyw6htHO2L1qFGl5w/UjAqD5GwN64fnQEK5tM55mwChCXV0ZOApWmJIWdqWw8LUNcuVfByPhGEVupWgI+l2HTvkkeTkCAeZt3Uo815ggX50UXrcVJcc+dZBRIm6KsMjJ/2sTZMxBHW/BEYb6hWkusHQoQpw764FNWT1UAs1UqZTkQmQQ1HDB4xKAq6trVN0c7nCoajdFHw2WLiINmxwzdi3YtSMg9tfzHhSUnySsZSsXdWmtcAoCQ/kGnSZP8zc4rp3sdpPa4xyzk/SlxU1EWKApim6eLk5CFSDmHVPd2EoXzUztZVjEjlIge7lz8RN7+Po+hqRGSmA3d8TJspY3i9bmE5pf3BuOfh0r30BpI7AOSx/1RKIc1+z+Ve3ULOuyi6uTFzE0oPmdOiDJSs+Hi7rqg82IaA4GaSgUARAIbYZGAAHLdSP8GwUJG7Mr08ybjmtwEI8SLSk5nlzKv776itOsC/2/4KLuxthmmsE4shKi5xbLPRPdGCkgJ+9h2ORwzryybc1TDLMeYHzIT22pRhJjDTj+U2xMpPGVOBt7HLL6yYfYh92yBBvqWqC+W8OjViET3RpOb85KLaDr4lgSw5C1iz6oZ7REzSTH5MhZLkWCeNOug9UM6MhxqSEWHZnPWDHmwlYWvpDKB1s+X6zizcN5yKFAlT4e/iwov1kJaMg9YYhDqUoNqYJDOXQT0/GTRDUmyugUxH1O3ubT+qdYcqr0La+kVYTkEWAB2SdE5Xa6HhfDMAUY9y3qQ6xYYCf+yHQD7E4XoNzJ5Gk1kUbhGHN8qcylqzBADZmrvaR3jRgtsRJMv5qMe7ZfcamOBHRX3EYojACs6wx2lGF1HFBISJKv/PxOcQjGfXkiT2wodQrVnD10qCrNn4kRg+YoI2jXt+Wti0Ad9Accpnd0Cgp3PBqUC1vBbnXz21yIaQvlgtavlzpc7VrXpihw/Mmc2ZgKenSkRfrpVQgiKz9YsZZtwsImNTgp+VzVZa5DBsMsDNsp5uAQOlb2YRblpJsfZVBC+ARQf9ENpibMjKpIyKq0IpzfXoAbCU4jvXiUa/13couXrJ1Hkph8RkM0gnMPMn97ZNpHxjH6lFhhpVkptBczWIec4ky+aH/PSNqmN4BDIR6E5JwhNV4cnwF8RCeOUbcgbJagQ0ydUlPnUGHlqGbAs30PA5rMETvknrC7QilzjfHYyJDHRkP929TD2xxmHiYNpOCeR6qhjeZ7kBZPeYZf4onZgXDI5RPadksyn0CwlajCBRhhGxmsFh/LC2JBUtFP4rjx0gELPJ3jZFsHkkI6SjdrUJ1bRToFuqL3lj4W5yRGFhdMw9idUPahYoAL5kbUEHL90vBc1H+qWLXAr/XJ6phWmdraZRQ6W1VPxwy924MBFS09zP439tHUISHONvMRsSMVD6Y2Ppu7LCoB1T8FOJvxavMshPulC3yU12XsT9AM4yYPvCbowwfcDJaKst3TJY9FH0fpHghsN8T0tsl309j2V7KYjEyPHBzEgC1YxZmJjJmP/W1WGc/QvXsf+fGd2s8KFThItN1xAorcrI7OedNPd4QRDaEKYsYNoDIyEmn7KlvHtPENe8X6Sn0+gUMnvi0JQUw+tcssLP/FZsoxQQQU/3m65u5+eDHGk1OIJGAvDzszUqGEwQdMvndJQFuCeAf8rQg2YYAYwQfqRL0adrJpBWkrZcH0GP3MVs46BfyfOapkPT4k38gPStVzQeM4Xcq5oE59xLwFWOaDYCtAxskjaxzKVrB+M4wpMyde4Kh0EdMAjfNi3P0gwzkWhi+mwHwXHCNTyVwp6N8UhusXwS7BJ4noeu173ZzBkSiMzN+N66iTOPgbZBqlsjGDlwwAKaQTT6nxbfuNbMVlNZ15vk8H6C8qBT3ra4nyLvccSpT+cBSO89ty2Vew5lHmEGlyrIeQYz+jkFFA61vyNRnKADtT4tTU+3akvEsQM6ggcy5yT+tz+8T2rgc1erZuyITWi3aPYkzu2a7EWSqBJc86BRdylJvX3a8iobC5FlIQydI6ruIp0BNjL/+wT9Xyj2HU+W0xq15RIOwaSqCz/VV2z/9CEcwvEWgonku0KlfHgWBz0hlELBdqO4qPgl180viQ2twZCI/3qd7xhU+i14Jf+vw30D/itht4lM39jXspM8Td5GI0JPDopDoBFWQbEW9YWPQ9IPgh8UsiKxWFFTUBLDPd36/5dKo/Dc5jU6rsLJajBPJFeoRIG1ewmQraHPYgxVOtpsIS7fSs5b0gApz1w7Z5zMdPUSVPFf9pvpeJofnyYfCn8IFk5ud8P9IUJgRU5iv0/NbX6t02181rPC+OmnruPCOZqr997vUVwzIAHENPfQdqwwFqnGUNrRAN+Qj4UPPIOcKO5OTeyA+ZGnFxsBXywW4aaeunSyf3nux4C7xp7Kgc9WLGbx6hu6CG6pV42OBt8AAxE3xCa7ASgYLAumV92gU3IzR5H9IfZiyszEHKxOZOTJ9zhUHolZRCITIwY8ktaDXaDNDTpLakGqzopERqCNaoPRsn7qQiub49v3Jjy3/eW6MbGX0VqFwZFH69FP8SUahHUQee4JHNN/1sXt/cqiAF0j+KTX9zDGhKM2vzC9w0f/SJzzzGbU37YkIP6ytqPfAs8b6z1DtAGJO/xAhCBInp0aTLPVqqFo2Q8z+A2gXUonJOEcikTz3DkcmJaPILX2HfGECPJVReGVFktJmiJSDPjDUgDCWEwITiI/y+B9aDPI10Cq+pAOejDQSdZZ/tQOIPHA2/2TqmXLAoHI6fJCfuuurryvtFp/KU4XoJnRZr/a2H3IzVVFb2rgQ08mQjSuKttbNob9u4c/PklegIcCLwsYXZ85XvA18w/rgsR7juSOGsEJu7vjEMz9WmaCHVrEMhpodYVSgHn2QDsGvBDMcGql+zqPQ87dMq15CZtehQ92pwECIkifVofMda9mo1RzyIsmD3ZhkMowCIsJwRi6thLC2ygL7Np2do5FvZAxY7axUcPg/d8dWOokDr39krbxZrGXdcZbFizUjY/f3yA+Cw/sBGnzeQCnNjiZkBNxTV7UhM8bw8Y0hRbI32QDUpkoaQbSDvCbm1zuAOgMMglGFJqhpwkO5B7NPrF8DrElc3eTfkJ4ArumsipZqW2F1U7a6QZuKbOtQJSwteNYrM/1vKaMIt6XX9VW8fS0jaVmkxC7rc3uRI6DgjaHDUVAgOzgIWWblaYetbEqNJT9HO9+npz1WiBjucLF7XXtGy+VakSOxtAKEKtOEhF1/7BcgGipF0WkfVzo9wYCzPxBlsuXmvAICiDDXp6qDiSJDVhx2mv3vUSe4lGY3BwPQtNhwAl0sZjuBpoXqVXruXadepbT6hyIZba2VJTt6NRNv4BxtsLcUs1PBzggKQ7gXLCEKE7Q0SyjNkE2hlUQOkI9TviPsI0TJTbqPE4FMXojgppejX5pKNBLOF/fMFleFoKhNh6B4QSoyY2VS6BbdckUunjYJpuKNDERQSQrLuHTc+ZslIJuAXgvTq8BYhXJwzFKDkEUD4f6gEOq1yMeLVSoIbvfMyYq4+qmZF8sE3yaVcXL2eWWcBeWFqox8/ZGgxotVJAx5r534S7sfMPhmBcHlAWSLF+KiCjbeXwJPyK6b01dn+BFAw/K86cY7bvvM63J8KQFo8aiEh6At8gFe6z0lJ74/rmDhj+IA3nGGiM3ED3JGgJPU7aYeTTt1safGsMiz8kkJ8aw3g9FbkR6kAg8u33LQR0XpsiJ7LJcNZy4Qg3osY8vXeV68huUeQPEiTT1G5IXauZ2nhGgssLk7pFACjXh8iKR/kGA0uTuaAjIhYYBLIBmFbXPykxL3M7VbeK0KK1XM9kDd3FZMHbfDGNDJzDFuicOJ8Qlj5/M17bL6ie0VRFlw2pcpVHwEvK/EZc0kgFTQkkzdOUvnKTXdkAhEQrafruPOy4jGx4KStvQcufln/z5kcpM2ky9qlOmY488awXpTPcGfsENKaZaEVLs868sUeInIOMcCaNvpYzPh5f7oc9VmrEI6RzKq90v52Kk52kqKdji+hxyYjrGAXA/yTRCIjE0QudLwu175VT7LqRclcdGDXJP5hLduzsRIi9w9mYNH9t5qSk+QWZNOb3iJgJ1hrCHyhEer0JBlH1Alzgr+Jgr6GqYgrlYXsuFCIwvJLC/DNW5dtKtZpYmw5ZHpsSDUSoeyvYF7UVvDfF+yMAwtdMtb8zIRWsmAyfnaKCqv5nyRCy/s5AoieNn5au/tgMCOVJ/l3GlwgZCY1of5rTT+ohmQ4LUPGi/cuwvOri4k0oLYo/fJyGL1XlZPoO36TXumBUxq4QoLV7NDQjO7jA2NAhbl1Db8xdTHjtBWKs4tsC5+n8Ku6j7GxpZ8qahr9FJrkP5ZjpLSvm/RGdtbPMcDQ/KLzyR+UkwF0j9DPmXiA8tk02V7lp+8wKFLIm4psF6qtJeSKqiH1H/7/kZYuY372FhERCX058qm/EJyGcyzK6Bt/CZdkU5qE4KoYTSCme/qVnyffE9pSsgkNPc1NXAytfQfhPYcnNr4ALSCq5DIiSD6GA+mgj7NjMkgnR1JyBr+bpMCVJYF9kFVdzQ/CO5QGdp4h8m5RBVTUZE50+bkrWwie8Qn3nNCqPUko3uS4Wo6GUSNsMMosxgSoEUYuX1adHl45I2EVXVhYfeQ6B1prMBMfmUqex4wcac6uWa03AgpLSUHUQ3uJNzNBVCFHayJlOjhXOneQKstcKDhkhyrfHqro4mFD1ZYvjLJl/QUUq1VjDhIMVOOhLinPFAD7awDWgEJCcHsyJKcJRObZM9DJSVD7xh31VnDPmG4/Pd+jAwKqcEiB8GJu8snEjaF8GUw8wBpWWuuyfS2qjattRfnmH5XrpuV6AWkL9ympxlGDrg1L3fOD/G+NEOReJZYU2LfgHHBzTs1EsxWAW8LvfCck1m0nGYIgwBjjCQVA3jMIY3O5BObUR67m62YkIXaBsHad9fiX+bmsslwPxNhvRCaCCVQqHw038IZDYU1iX1wb0ftz0tf+UOd6IK15XeY5BOMVFpJcr03i7n99PpB2wPzJBEnXTDR//qI1DOVX38RKUqtrNZVpwo9nNWxBiGVht3zRkhEDuYDqLtnr8kX4kCQkPd5kcG6hrrUWHt7FRhqSo9QvoDjnCKX+mEFbWjxV0dd2Vt8Wv7T93Y1otZN4T5soeHIdaV5TMjC/a8p3UDY/6afn6uRD/HlIpFpLCQOqL8mg8reQy7LM6c8QD/xp7RqI4PZvRZjE2qARSV6X3XnUZ9k2BzM1fYaw0nhMNR53mmumoqW0LqJC4MrcZjZ82qrD9lN4sla4htwuuDg79I29if9tlNTwRq0zXnkKulAu4/uIXNYECrN6TW8ZjUWvmnk6qd3BaBcf/dg0Fx7NCfLssY9BIBMEgGLGe8G+C6hBVlckIR0/VYgHCTrXkMQRA3s3lDB6Fkz8Wm7MJUpGLk/4EnM3WqTCEPb3Tu36m2Yep3iaRHOFMndEiLLy9XkczpbSD7GwFdIRjtNNoFq8WMfAlGRptPoc86RgVLoFKKKxIjbvPbWaSc6v6xS1pkVyPwJXRazD9/oiV0ShAePmyOW0Wuki9lyQU54NhdHvHMX7lZtsqXswpOOSCJad32p91bV7v54ho10NqzCUOcBArqA0JD++4i9Ws8YRv1/ywyc7O1luQTEfHJAxqD423IXMlhKyjiwaMktQOjq6zfIHdcv6JeT0lXiG/EJ0gutVHJcR/crHJWZ98jr6JDo8CktWZlY4S/FDnJpf2vgLvb4i7+OjwUfn3ftiCCSNtV7gIvlIEKz26Ppo7BBbfq7T5QTfscptJANQFeRY1/zlZ9rd6dQibCSR5FiM14g+Ek3vq8zd0qFQLq/URGak7FIicBFhj4ySnIDUyIYFQIaSKP6Be4Hfa1FOcaiMTyEF0gIwrS0aK9Y1zJY4/lb1HhGe0MVIrUbv+tETSW8krPZrbEEkBptz8SDEWOvTBUI3sHRaplfpOxe9zFkbV1Gtv6A2FMKdJhAA5E8jiQiv0Nfq5/OyPAGAaSmTp1KZxl6ur1r7y+Rwz/Smh+/abf7Wsq0GD6LelrOKCBuzb6unMnwe6XAg1AuvtdYly3MuorGtGyzNjZ2kJ14P+DtfbwrnOQ+jQ4rwsEP5w73w8RikFLyEpKYVonbBI1KA7SELY6xI8cfN7D+AmxkRxUhx30AvMZ7SihF/YKia19uIWBPrPtdyMi2awhoY3BxJZgZLiAX1Frc6+u0uAvcNHmBgX1tamf19gjvacBTncHdGTv1sb5GHDdvzwV3OK8hhPxss+qEPJzWsrIy/nophiFhxUS90mmqqftOI1eftSq+JiSfNViR/rOihyesfR+0PCjuXrWP0fgD4FvlrhqsZmMGCoQytTEbrqeqIqmGtSHYkKbEPMxnMz7pH0dqfEKG+QRL0ock4k49ZH74WGemt5xM2qPvz/aRUYhMzx0tfMws2GAzsiK0FtbsF08YBC2OkugSVte3NQDh26Lk8pUAbW32uCZrMe+jq0lCOxQkC5b3pd4W1MfX7zg2Zb6gVl02VmWsawGD8QzA/uNPpWEqR2yNSLh8LsJJYDDpxPiHntoqkBBkXK3CPuMu8ddwWEzqD0oNIF+iYZhPaUms6LV8xUHOanDQ1Yo2mluKeMP/eSwxpKHgv2Xw2KiziCmT6ahfcDmiFTZ73Nin/721iRd8PU92PGD5ryaWKtbik71cp36BOwPu7CPxDIOwiawvJm/a4sEvgykTIDlw/0Lhb4rbdXqW2hKhIRjnT+Yc6Go2T9vSuJvtRk+2hW1zSU6oSyI6vTF9J/76THrSvx/x9Q9rHxVvo5gg9MHcr1aFkPTUaDorc0ZIpaC9OP9nkTz3Uul0XkFaGj/WHuAet7OJkyQHezKqKtWYIV1gk0ikKIB96yNhGcBtPbSu0M6p5vdIKkLvPUxn7U2i/DHiK+kz6OEtLNxV7Fdym9XDREQ2i2RFdi9pb7Xyru0VDEIwBlJCdfwexeUQy9oJKWwg2gLxPmJ+XIx8Dp2UiyoNbGvn4I0QeyLShEw385uNtzTGLsCTGLmn14x4O8pcbfFHB/7I7xGlQ467myM0kx9hl0uR9Y2eRFAw73+4W009LPDuJXcYmfn80XIlmMzN94C94mVwk5WOIQAS8KjYBDZhjXRtdCj/0RR7R27r9ZRZ82+OISIwBdDpH9nnD1HI+Bh2f5S1vOharPZy6WFoKaKHuDgl38oWQhOGDTRZEvCeE0x5L8nxVbHehfBZTp+uDNAB+jNZ855mHyrI0LCKCitfis7HJozthn8xJmYxTsnjAlgecFzO4x4U+TMu1hLapQe7aUCgIywkUrUToND1Wk5KUAgledPOxENUVbATzsEg45zYbnkpvQPSCqFwNOequWGhfthWeONFFL33KDTGi9Drl15/2wj5Uke9gp6yO8nslsOe+SsDfMk+dY0YMzlQjKhylobnqAoxY8uGFUrs5EF12XN5cyaZF5X4aGEMIOhFadX0htBatPCjWBvaQgFwsX6J2ajCmS/TCHaLfdcyuFCZDiyc19rffYjlH5W3n7L6VkONPGgBjd1vNw1Dsu3LstmKET5ShYrTLKQCgA7cryqpPnvFIVnSjb0r1vMeMkpH4+fTBcmy58koiy1GQAzZJtEpIfIr1118MwC1lT+zG5TnoRWp8uPrM2V4h0ZzI3YjaUAVNJnj+riGWK+7uHoNO2o572I7Ucz6bhNBHEE5FDHNpSIol+Itr5C9CT6QqmYnsy+JeWg+hDWvvQLQV4SFpwpxN4Wgzy1emMNKh3d8EKr5Lvt3lQKBS8peCnbORlChRmI11Z+OEecGKOGURMzlznv8zYNza1R73hINK3OyS4yAJE9bQ3SBviNvxpDuZzl9pGZT3ON9ikJM8u/Qj1uVI5+TSSor5IY7MV6xqObiEOV/d6afQdEzJYabLSFUw1KnDtYEGTozGmatr/uNlaRL5FiW0r4DUS9zSSViYVFdqXSzbMwP0t2+t2I90ghRTYGVYHbu5tnimbg3RE7iUpec2aNq2lUrgidMCZOcVQSKu4BYjA+WRMRHoZeuPgH1tTfGMCeki3RGp06+9YtmTVjRWloFQLOKeRsDI3pD+FhlO0XJ+sWW+crk8KrjcmzfcQkF2yYnZgpgxmL22MaHfmFsDM7G21AHR5PdC5noURnjbNafiqU0DeMlWnIzYfL5qxgqNypTSkfmsPAOQZzvVWTKjSFyxwrURdog6WwuGEPamKrSqw4e36SzpY+ElKy2wT5delJPg4CFrzbFgFnxL8m13fJarXsU83FMl3IYK70wXDLkO/knMkBMkKLI9IKpOYhP4/hObzG/hN5xzrYCgzORxKLJXa7KZ/PwCJ70z5wepJ3VrmlDCCSDblOzj7fafS7CQSaA1C0JERtqlbguUw5xKm+0X1wcdPoJOOuBMcOOXv1TMiYE8Fa3XD6J7xoN4Yo7bib6bX50wb+ZUmMC35AIc6LmQkaEzFciEA76hIc1ovilTe38paJDMJPSTQw+1wQRiBSnhHjY1TbEqsnVfrvXGolVoPbPYI60PNz+OGg0E4YF9+aaYOJBlMST5HMre1ZmC2WtE72wC6tk9BwlXR/dS4tsoV4eotxKt1aoa301RhGtToRQ1gH+arfOOSR0exLr9IhTTg75PBGB26sMG5a8xxjfRLRAr5KDr1VgHys9vIq37bVj4HWifustRCHdCSZUSMr0iNXxdMkOuOmIq3xa316LA6ISLnQGrfYXSfnqS1/Di/92561t0IVOfGScbBqTNBmoX2uiXKPEQs7xQJ0Y+W7qm4qQeukUvirr4ugu7sM1Dl4AjIeT8RUAlOlLvfY4UApvuhmF1+JAczVHoHJoLJ+MKSUsXPBGaUNOl5dbGG6UchZJPNA60DzGarKdBMCBfwI1laMm9QDPn7jREFU/IViivhMp5hb8Na345Lab7mCT6QBPC6Hafs8mPWs1XXBmGihE3+RHHjQ+YUGvXEuclfh8pRGqNanuSo3zonZHJEMotscmuoHF2ooZAtE3CslSDjQiGVOkeQ0kKrsrdwW9KTcaQPC/THe1kg86p9dlVDra0lu2ZW6KN3trbEIHosjXXQJv8BTCvY3WCpCP9J899cKO5xkDzxRnFZBX2Dga2KOHAAKSPsXDfMWGUi7u4HS4WazI7Q+kTcopeJN6ENLCcUaGmMuVZZX8CACfPFeAMl6kY2t8vA61IHwWLBJwfyKDArrEPAlM/rKphhXd6sUzAn505HhR34guCt3xi+1CWAMWaEsJIfVJSxLsJ2RuoZk0H6on6PW0JrekL2uxc9nY7kvyH0STTdGEIIXwBG6OTBRSpiYGk0M6zcnY5yXb6IEb79P7TmaQUTZbzW46H3WatGxo2KkV73E62QrUdXvb5Vx6H8K+U2r/qB85Oqac4NhDnG/IHxyzmS9nGP41q2/5Am14kKszV6GrJNQjl+oBuuv9q87GgXCz+EiKBr4xAO4+ZBUGIArUYDaw+2ZUHh+IekOfE7pcZpPB/syZouKx1/u3c7R1O/IAbO4nBK0xjC8Hbz/TEeIKUozTjd9eG029R0OeYCbhhcqafboRcsEVjsqNgWyLjMVhKIQylBzrOoWT4CAZm1lXwke3XDHDp4VHCezmIpsDKjzKuB1v3vmWp5c5mIGo2UoNJVFbOkUNfnpXOqTUwaORWeUUhrfxQmPYN1PH7rysBEdx0gf+d1Z6yahv1OUvKg9rux8gObaE8gPApK1YWQaQXT9h9kWb7l9qgPHYgbOWczEiDBxvac1kgP6n8wJXb5BDaIWetTB9v6/1B+yMV6bQ1t5CTbLvtQY3j6/KT0mo3k0yX++lrc/3T2WRZA/l20ZNYm2dqWDmr/zXdfNeP6nqGtlQuI94Gxqg/lLKUlI19iKwfp6gWEJhWX3jPdiyqoYJnRTpJ3Gj2/joTaH0am5bSwDQXWAO5QSqrQEXiJe3z5tpmVmHbOe5opgEn/xf33p4wTQjrbVRCQg3O7fX6AGmpm59TKWV/xhe83S+uYgT/6TETV2Lv4G8Gacigl3xeN2FJ7v4Z+jxw9sj3bUWu5jqGIO4v08wKIj/LBSCDfHtIhsybI7vOkNkxisWnToh+E4dEQoIiICh1bIYPPveW/iESIbYJ2hT3tjnpVHm1nFb3xAQ2p6a1MOfUMt6YFRzZTfFzU0gO7E46DgnO/Ugvn16foNctkROOk+dEMqf3QMKZDTjDSu2BnUEpuzZqakF30OZZqydij+1t8caR0EF26rAwKBT9EVjPVQWs6AL+sDG8pTo1gYzTaZhpIAbX2SzAzRH6hDUKBKfnwfG4CodNImuTTC2z1S3I2tO/d6JT9QcNnr9moNCxWXx5PoA9x/tD0Rca+GyDL5yAJzybYIzQWz+qpa7ywFsZIvNPdBPhJ9VfwBNG2IOpTIho9ZxR4BmvpGIVL3E9wDcJQKh5NaS6iSBhx3fajqkc/e3NdPiKncIvjOqSr9/o9wSYNi0SKr7ORFZSVsfC+raRjtPwAHoUk2W68hjRUHZRvuq1PKc2z0YkfKVQIdr4N5aLJ3gRE4aVHS7VEwAEC/BfdC/hfND65hEd78Sx5fcsgsqUIiPvV35HAM/k9+6aG7Py83mhZ0wwug4cnTlhaHysNNEgq6CMrbt1hMu/qqZQZ5x+174HJVFAGvB/08PffSBqIRMMVKZocSBE1SzoFPgBVLQQTTZP1ePedJiBCjXulI4dtKrtTHVlZPEW1KTxw8j6PXHqXuyvaEthEcpAfCf0jtvAmdjTV5mz8h7k9chdhUiIMVGm4q/sh6vvOZa1XHHHcdYHEEOPB/F8z3nGTua+RKo5cei5ebawQx/z46YuBAFkqjywbpr4eBUmC58eopcIWMKt7OI0rNmB1CrF0EVJBFIUkxvn9KJ21yjRcXeYKS7gTDldEbMcCiW5cHkhKQjJ8g9/Qbp8VxaSdeFPDftmOuFuOR2Mx5OaFRWtzt5z+HRvzql9tDukSj2LUpcfkLFD0GBUI4SXdOEHZrSiUMfnJn0kAenAHM8hKeIACThmmPu9pIGJZihPmVc5ILycT7vrpt34UnOukugho2P6cyP4Zrhg2MhNw3FcQTtnQkyKJxlmT2E0SrW2Xn1jv1Y2+hD8fKzTbAQdz87vABJ0X6Z9H9SAUlYwoknGDOg2VeRW7zMZgiIIKykJaWSEiltTZEMl+3hLdTp7B6VsOx3dI7RCANOS83AFIt/dOj7GSDiU71z6OmA65339Vsh4pvF8u1B8REmeps1st1FbteLNGvKSDwEXQrfIdOJxeNQ2UAZFjohzZuQ6YPE/eprUYghGJpiS7iSDhcK38T9q5t3zRq051LEtPH8w1wTAfvnnzgjre533hmvibj21cwUy2XI+MSvzsaCL2vzgbrERKik4lWV9hbqTu82zC6Z3F7buT+BfprruLUizlUkV3QLVJZ+Mg4UaD9zdw1P1wJyTbrJMtjBGVSA366hWkRWwlrTI4hFjfeZ0ANwJr6ImXpgblmr8P62upS1Z525fp9Nh8zJu43KugMweQCcWUPGoHo3fNyN+jfcPQo8Itl3t+Eo8ynr65Gv28xdmjs6aiqH8VTROci7X54Yo4A+0KdshF5yOKWFfrxn2lf6i/7gCQ1oJi8RsFuwxTPzGXL2QG73n7/pdJGwQkKC3aavvkial6HXcfgPNG9wSy1CTVqnmxo661im2PgbJkaxWcIRFEK7TY6rQPRNsvmrhbx+P5igKQdT01LO4R9PXbmtPHUZxyYyQPhZGggZ1HB6FZGW1B/yYMCIO6Dx1jTZWBO7FwcQXP9RDnZ2gwo6+I+B4eJXgQzWMgDYPiVZJfReVMT5eaNlbbYaNMP91hvoom+SLs/rxiWLaiGmAxJ9pbD8GZTI9Wg2gWFotUlmPO1yk0lYdaUT5LhX5tSBJbWFrvREeRQ9sXBP3SsDsLudp5rAekKoJQW81aZ9x8XDeZdu/CTPjd/7gakUD1MbSXv/HP3qx7f3291BsFdOw54troqnerMYy15wRhgKnrpSxtFJf6+QMyW+ld7iguWgi4/X+6oaK8gexwI62LM4RE7sriL1H5vjxjGqT/jk+CF7E6SbPRkZZbhy1+pl/Y+Zb8r9y5iZDDyC6pDFo46MbPnYh4oGpV3dZricqDr25rWaBwq6PzOynRIx1mjkLmDuGLlqUFI9ar6HdUf+pUgs5qDaQf4sVx4WqMnBtyvFzOod/zQT4d9P1gXCiQBnluG6ohVLm/CyZ5tOMu7abBpPB/2QYJmIFNVM81nXjExoCM9ZBZeRbjjnGdpwdrQOiGSBjNnRQdn8+WQ24FLVM23HBI8p9qlXnuIgYrBuy+9YfwaQEPflkDbC76wmFd0MmIfbuYrwfBi2n2X4hSksYyCnGjtoxbEo4MMsMqtE2cSAowMuHzkUZU5N+59nVm/vo9cYo9bCSIOgFI3IaRVvssckjelQCLSWd/Dfa7z9g2X0wu9LnF4xXZpZ9cr7Rv5ZfbSrMi0LWKe9pXdR/ExmJDAOOEw5wp2cfWt2DW5zc8/N7Omfx6QxSBsBRMNtbaahqjB2wLFynu7FrSZMo0z4kxYQu39gFyuBRTk1NkDdxn1+Ohav3MCv06Fd1ub+OiVdfB2RjrxADXmi/XXv8mqWY8MTqk4ay7gf/ZO6O5BbMDFuGtX6nPCHGOTrCp5qwqzomIjQOjPio+JXUJb85VitEd9ZfaNABxqxW9OgmPTNhdb4naH+j67npEn+65FY/ubM1PhPspGebjrFHQKY338NuKoUD4y2cYTNNGGMKXZNvKSrIeMN+UD144BQxsGJDDDX+cZ7C8DbTsWW8bKRiQlYcoE3Cju+lYhlgAW07T8GybmsxPPXfdiIN9lfi+G9Qe0lSHFMuyUSKcTHTAlGtAkJ51GQeWbyoKSbW4ENdDrkLEB9vqvfzKU7C0WiyDgUDF2hEq2SJtH+nKlYWJksdiwutfuGivyFVlXmDaYl03Sa2iMQxWFHHNimbJeNaSqUdLMFYyuN8far7CTnzCPpgS4qKivYrNSk0Cm8eD+tJgSloGoQ/wkmF6L5VHHKRrxPjVVhCrdAYDw6xR0s76+8gUFGN43Mr7H8lj5rSuCjDNiUQNLgxZwRLaHR+G2WQUHqX6E0ln1fQijXl4fJcmPUsdt9DHKxERlRVlCn6ZeG4ihLsZlvMu5cisVBCnzaW1KxASroAEJg1vb3PhvUTJtK4hPdn4qkQ3aEC3rFnW2/XHuekY2Wrp6UzyT5t4KGsUSeizy012/nbeokig+qEt/VEVYrDaLG7ktSbfKuEd5PoXmYY+ovrIoQ1ngTVVbyhZrYYcy1duWp45vADP40laCSVVzRhWxY7PLXDqrS7xGtBFY1Afmb/zGcI/nUVaS8nHrQgGw+fvvz0dht2rVCgZFOfwoOUaA4JO2uPPIDx90/QS+27rHF8psRlGzGuQDH4J3CD5IG+UL6n8WcZ4GOYcqyuKYh8ddcRxt4m0AmcVUpvcbZ6Yu0tQ9rPOmjJEQswzcpZNG7Q0GzXcePtrF/aLMpn9fW6f5sbb5Ap2hRm8cPqNft1tKsTOJTVaF0jis7k5Xbqj0hWtKajSEFM+TxNdqcUcOdMYvmoNNcMqa5hyG3brIS8DH68ZCmUrF4ZDjjodL3J6k9Tx4dxBPKKZjQNXMJITJ2pSB3SkD+fs5Vc+a0vOeuX4miSDbVD2sICb71Aq8SLDMIobHjUsccjI0rkJErWBO9ghs+/Sof8XSsrmxsxW5DlSwCDlA+hhmb0nGTe4pP4ITjoabzlVZxQNFcXHsPv4s4y29d5T9fCZmMTUMJkO8D9pUUXxOhu1gSdTX2c1dK0QVNvFgrmJfX+QUZt65owjLluqIkKSyKWAs+ikkC+Bl7eEMG2G9lHEawLZFKltdPrBA7gsn+0nZGdVkYKQLpmgOYSTFxY7OLpGlM6BncjETTEOulEtagh+vTq1JG4/tgYXH/J2lULHWdjQmlrCe+KmYZwqS+/OI/DHfHvx0z0pPf/TRasI87/oBegs+M1Ige6UyQN+wmEuw4zIpsasc+74eXpPGlq3SAwEOVk4EMujH0jh8seTlvON/DIS+f6LFu/b+pZKzb9Orl3HQo+pYRYSP3eaO3/U+wedhbGsPMQoZ/93bBtLSKi7V/l7GRXF9s/dVSr3335VJjUNEYlv+hIi+/pmClzqVEW4Qq3+O2F+VsqqiTfKryM0Ave7rw+Q/XN5rnwIhRWqJK/elll07/EwM4pqpIUlkcsH5XoXGo2Jr56IWPXuwKkvRwp8rq7u4wl6Hc1Ncwpew8+OQBZkkAMW8fGtLPaUkt740zgGKZToWXJbUiCBw5BY9kgFBUxNfQBsyZEau9yYVZ7D4AhqH5vCSvhWAzlwXt0k6ctBV/pO0+FE8my63kZg8X68vJPG71E7+s6vABGlXCSLl1cJyKXN/2HjrDWTfDwqO/WUde2FWkQF19C/hoQqA41VTUoj1519zsTrvbk2gkw9AMieElWeXXzMRieNrcoJaHTEcP9wUqxAGmFcvOQNaQmK8qtlOEh1li8KUkakkeWranYgojX57wlPOmuswGFVykg/57+IMvGORlbA0IQ1Esoh6SbG25C9s+wlShx0zgq1nI9C8MrpvhGl42Zgdz4qJQb6W+itDAu/B8TRln9sP29meu+ytB0SvYwCJctoNwWet0hWwYF8jJ4b41if+BnFMHvD+2mCYk8gC1povwu5JHzNi5rFclmly01Cdek12pPvnpzAyLCjBZT8Uq+yYfDlinNb99rk/e9mwMTJDXpDMgeWdz/NdrV7mGZGJs8acv+fgtylFfBPplz29iMZePk0MCpTy08j9weAIbK1o179k0w6msp0H0QHrK2/1ZDH+GFz0uuDrGAcB84nAgJKWKmVzSkZPQZR9rp9ltFZ62cojwKEEq/qaWUyJ8HjlL9y8SIV2vcj8rsRvwGSTyoCFvN1sYIiuf2DPVIbtGdD8SvVXa+XFtwVaUyE+oxnmGQuFHMUEI+yThixz/+OnJgUEknOusLQPRwTF973XRLWKPE4Wu5EjyxdRUHE8b61QBC+2F5McFtnU4cDNauf5K8LDI8DbrReaLOJa6uklkbNTE+fTvo7cWIp+SHId6kjwqV+enkoZ0d1lW/SMutlbjlVJjx/pRmG1dHLkJHgvHcJiemom9ebf2cOfOC+XbmLLOPfPzKDJLDL/TUDS2M2Hdce+T5EZqlZOcJfOthwN9w7naL+9uVGp8YooViexvwwp3V4c9MFAHm2TaVtfPy0RzDdBrHeSYkzN2jDpDVNkkIULHr1IynqJw5kKBFVY/1mUlvEEGziIjyQaO1l51HaZmgpF3kVS0Ak9YqfIlLlf6gWbPH3BHqFfqc/KYR5Su4AbGKVXPkUaUZ+fYCqQsgfAWOdrwaX///dsZEb6Da4K9Jy4ufK7zztcXKdTOzsdpHDiFOZ0O7NWBdOE2CJdJywGXetrjGQ64v+3ZVn2c+2e+r01pS7QRu/89Z82Fi1+f32Ypxbhekfm18FJ7tSNqO7LjDEepwWTCDWW6Skm/PBsFEbr2ojVPOXe0HVIlSUjhIS5NNgZf7YjqSJZ2pTg1+Rk/L2LWUcj7aF+X2wf5c3Yo7tYrOBZYmcUKiVZ5JjYyy++QuW6ZrUoA/dZqi459166O9zmJO893wWqG+EmcQN2/UzpwFMNVlKc2ZHANfQjuuB5ulbaV1hYvWb7LOnnbNFQbv1aAMW8LL58Iq1oJKL5kNO+OLAq+rEs8eYvqJ62ApTNakPqQO3909Y35qATd+ivVcniLkkhwhUkbZWEB2Oyv+tvWPUHjPKZnDvVLVPP7t1h5fXZQqrWVNpbyPRVLuurbiLj3LaQhhZIa+7m4DHsB+LjGSNZ2Rb3Sr1xel1QtuPb0F6oWBdKcip72N4g6PNIi1HjHYeWxgUEM9f61J1hP+9ncmLCCfZaZLh9I5JmMGR8zLSwLxsewNzOJVgnhwW3C6DI/Gsq+GHC/MKICcto1QtNr0DMez17kRgesaA4pMiEKGHBo7rVBKDKnEDH/aWrBDnCaP8YLDgUbjl+YDBPRQQEs8bqNvgayHEG2j95vW2nMG91VfXCokyGw23EkuWjRuS68EGWK5U0s9nOG/oi5dcD4+Bx8jSApJAf961ETMoRj05tUVeUUdK1ozGhShX7ncLfF9/2zQnqIXFdq9wldViDUuDuV4cVe9d4ZOwYkf3DhTeD0atEbhXvsObWjJjF9KI0C6KdkSyHtBLUxOShXM9tj6oEMMzlgXCsJAcQ8cinGGx562iZufCFgxXdYkqcoVVlYUR/MJb/Hf3WrzxY4ZZKCqynXFz6kfFhGdj8/ZxBNu5GztFiRsilubrtOjAoQpi3i9YGCFpAwhw10Q1rTuZV17sxo+9ZeqMDcxf91rHm95MoKMufIpPxpMPFMJ5ijvsNqrMMNKZ+ehPYOz3dN8IqhNX8e4R9799YTwnH6kyhxkdq/nPdNnaC6Dc35qrD5Om/vklUG/AzsguObCRPGF6tSWh+JE5m38uq2D3qiT/yrYhtgUvRQ+aGKKPn2RRvfszqeEybDSAyJUYWb6bfMF47fqJ+11FUMwghovkieLiBuBRJce03fKFOPS1BZupVdY9NCKOt2HaGw5BKOoMYZIMcbAMz3hB6hfzliVxopK93RlUxk1pwGojUkkkf+C6MIG9X6zcjJ01bXLEkdq0HOdDio9a+7fkvwbnFKn3hG9oXPOJHTNHFlxN9sWq8xfylO/hDlfP/XSJWJb+mKJsXsN8WX3MkEmIC2axZzVcXwDcykzs38TjcYYjal1OBy3opNHsebVUBRe5PazuTvnt7bQClS8XcRCezESGx3mfe8Y0g8uVaQVOkeCLNu5WlYgawXNYEamj8WwMl2tIK8YkKx0qxmYOnTW51EjKSnkObEKiDOfGlz5qma0TPC5SrGqEfAjokRZSgRIoruaGUFKnU7xjrxPdFLKnryov3u/4iBF1jPeb3hFH0KRpoLzHe7752mdEra11NXHTk0R7W5Q5U1co169ZQSfE+1yZE6fzide8ww1KicalVqubVyN0xLWKroCCW9+6X/iZlD81LR1JS4LZEHlclpLbmRzX1GSvdoIA7gvlrgfZb+bJ9x00l5A2+3gkxzBYiDwwX7lFgb1aiC0U/A08lGuJNmgmmKOFYfjLeOMM53Dv7YWjLIZBuGF+onyvy9aTEcLf6Tj00tS6VID/x0M9BFGsfNCHXFqUfrRZQL1qc1I3nBC9zjmWnQ8gmpVcCjJiLdCLqgAHoqg+hp4KwEvjLWO9f40MsixRZT7HMhTGodOOFsEICMH8UTumROuo9N0P/6fLYVYJgq8KKj6TqQMpGFYgboJMxXF1yRPqcsBX4hO8kxaNHLJSByzqC+dXKz86oxMNFLZBeVZFoJ6na+xV4SvG17ydiTMb1t+BqsL8fAcz2LWZ8Q2RK7GJbGxlu5vDOmyfvwhdsYhe0lGtPbpi5JpRGfEEE95lJakd4K+sFupnYseZpEDWYVnoQHIFa8ClZnIpN3VN9iuZZ8BCLL4zs272xbwGYfLVDiy6cPbNBnBnYxgQ1AAi9TLmD1tZ+u8PH8BXDjU06tMkA1CcBZBD0/DlvGhuyh8E419+9GbZhuC6SReSVgHc9okk2MtfO3kQlW6PnYRoH9VXZLArsf7w0X434LMM4xBMm0il/XaMwCpPyPh8xQXQphcrriq3O3fUPuuzhLD/q6uzIpGH2e+3aMo3NoPu9TleYXACF1uortPjbdVSmXwnzSA/PUJjsQ9i9Gw3CIN2d/szNQ/0K/DeKBHsv7TDHk/N6QeGLOzzP6DeM6zRLBdbhXucskOL5/AARZVowIgxx6BdgTbY7iIg7P68T8iPGRDJBj9AMzNTFsguO154L2PCdNPNJyTiodmsQf6qO7KzPFU+ySHrMBo6Zwviqgrg36tuI3yPRSUSyTjyyHWzlHcuRmmNYBha8xYXAUyoXZ8TPcKJH84Ow+Cp/fSeETMU+cRE3GgU8rDJiLtBkmqknxf6WhL+3sjwKfrKKtxksmX2RIQo1rlwW2DY5OOqcaXCLErtc4f6bswE+totvtANN8ujtvQ3OWKVwzXQ2HjrTqLPQC9F3aIYspwhDDw/Gsz+ubY/JYs9wbaUoiTbEIbgnUO+UYdxunUGBojueuHIWpzN4r02ZlL8KfmjumzL/gLZO/n8iYyShGffIGhbsQYLrCY87ARJ8vcy0KRO9u7GbUV+WxG76cwj65pu5p5NLrRYVcvzRw6rf4Ybln1bt9xcRSNGyXMuD5cbFal++ZUCAQHcBWZSE17uN7/4ibLillGP44lBDHMSw9FVnKHsqfvfcsuT8TaG0ASxd/gqjM7pVes0ULzPZ1bpT84BmiUfp6BueI0oyhaNgeYFFWUgOeINYbwUsyHS7Qdo3CTJQGbr2WiWsug5FxKegsAEqWAi5o7H/0xAAE5eXeCcHUcuHwXkMjw+qlNkx6Va8i/11N3sJQH/hX0j83Y/2WYS7fszEv++rHDhn4LW45OnKi83Sv1e/cJ/Iuxd0wBKR24tlwJmPngXp6AxWqvU/7m6zkxYfKbPmK2d5uyQ4cggJEHxmVetX1geEDlJ1dluoyxYWE6+LkydJnDC7baNgAvBC05coBJj53EXeCT1RZcfWhtef8g/b//3R+Nm9/PPTIIl8WNa/mn3rCggeXatQoiTFgXHa8FftMh66q7vMoVFQl4h/O8d0sytjam5Kp6iz/FxMSielxmogh86N+wJixkjkuzoIR+s4TcThVB5W/MrJaiNimoZ97tDtn55QkDNYubkVd06N4KsEharqGMGN6XKAIgutNOMCsiezrVy3i6LsqdWlPFDta+nWXZmXULDsu176Z4N/yeODJ/Y+A72wid8AyUkDHg5Qy/bsbmp9IEItVMiw8y3wc/U3rK8zlDTqVErZmVebYaDZZh+HtD1b9rdLokD8WDzCsRTwG9LLkw9pRk363UdJpdqCYd3CpIfiowd52N2F9o16pfo1Xbbt1Z1B55vU3nv39YzqPP4gbSVQQ5UYV2wQL1eiyOPunsGCOfZkIToa13tAWO4kI7Y1z6Hbglj9eQWakJMo5CWwY5uklbVYbvsHmwSRqt3Ad0RHmhhIM1rALebCFNn+6RtulsR5vL7ksVG0Smr3h1xP2Hc3v2KhsvQePIeJy0SdQLZIbDMOFjSxJP3tXXaaRZ7SMS2lfSa5bSPErGkgYDxco55zeYZ8yL77Vdmgrbx+2PNsVef5uq5Js8vgf7CpvZasrd5ccouGgQ8ciBFks9DTWZ5vuOBr89yKBGU9hWOkI4nG0CNkfI7gygpC4nVsZQoh4Ry7OFniAtN5XDjPTRuFtntCT0TXPaynGfUPmG4K2AgMS/S1WnrI/27O44vpqAiz3MSt6CoGHTRDybcnkNDBobRqRcJ+aXcdrZGWYwI6XmxdS4uGdGTKshWIBTScWVtBg4Q71NixDiu/6Si/SDp50JQ8idkGvGfn5jpeRXbO+BAt1mjU2io6Ocf6c+bpH2cJsB/KZXG6dW9vck8HFtXNUBbmbZ1PSXXaFUTiAXLJy83RSu/qCz8jj6YIFBsftlGiYJEA9j5/CHCbjVm0goXZ4PYrxSuMyPWS4IyMPFcARs5cHUhBnaAD6DGy8wYDDBlsSHZozW1Gfv+d4MbABBggD4eAdRdSIasrVSonPRsQJ+5uq6IOHVWIGVWR9ruUludnGmAQtxHym0WOvPqJYZJVPaARwf11vK84lqymYJ2MwY/9kB9ghqGkts0kdcOSokoGDIJ9iswX1HCbrmj6VjZXeRUE8uDynmHuKVEf9yZSRpxndqTX7z6yKrdN3XOB3Rp4p/PqjFnPThROfCuid+QCltdVA3bvfN26M2OFNIoieSHDS8QFI2+SUBId3HjhvU+Y1x0noMadi5ar120OlhlYt1U7RYnuDuq+gBYZOSxZ7kS+KHEMFHrvD9hCMV/91jdDLxoAsFeVr4n7GVtgIy5F+DtU2g86AnuiUydOJAW0dEiPB3OrBS8uX8oMvNZYkPqHcsA+Q4aR85Y+KUCt4Hy1lw9LPwT7B1TSd2ej4bDKh5hJ9HCJgswNl+Iya4FUeyTqp8o4lj5TjepCqtiNaXFlE+bAzNcLah6ZoRdsUEqX6khAuY93uF1SRZZESpUPafbqpGeJUoZaN2CWt/kwCBgJ7WNwTOS4CLD9ae7aOuODrIelFIPxheEhdF5Dwl4jDejA4wJ/N5Wi1pgrZvb6x9xXVe0+VcBODZ27nQkP28dqxscyL0D5fTD87dQP9ExrS1ULnVFkmhjrdTgnFmp21yuEC5szolNzvwZ7QkN/RWNXDv4jmUOf5SS43zfF0flGFMb+lfUoI8WpCFtj69J17JznNMIHuurvs7HbrGsjOI9CMeZ8+WdDSEO4OJKPZsdev/lRIgmJ8Xj1TiTn3VmzsOiLmtlNwLQ2XxCangM1o7+T5tvpjR96GzlFhrp+FX9osTmeSIPJrxW/8mRFz8X+pCrpCPdFLpRgk9BzEVPbH5rRLUX9yRJathYKdAukG9M1WrV8k40zwgklcowLibeuYJevbH0LLJg/AC4DMPaR7bGFfkFYftoX90AXkgoGRnvrzwMct+QYHJ/Pg5gtNyqrJO+z2iOca8QV72z75vSwE/5/nGAptxL4aiunB2TXUJj3GjU4e23Y1aYllwNFe/FIhet9BoKc9h3zWrdrIMOypjEqCz8au6AJ5dqHPCpvZGR+uKBP0tVo9F49de26T6/OJyGem+qF3vf8hoi7aHx9qe2QENJZz3mJ03fmVOo34xIfWB92X52HpylC3xMgRE8BHIds60d5Tbcg65wTmG8BqlXOybM/fENJ+nccvbQO334JrjxbFX2vr8g+0KyJN0ZKoNYiXwv93BK8AbNHINKnwuKHC0ZGsyS38LuA83KlwxpPu33mceMDw2hBoFrgbvyPeb6YxITd24nTmlNe2GihLwqLgdXrsjo1hGwTQ5xu4y00gOx1Zs25J3ZmrRRYrq882QbC9XeG4kkNwqnHEK3z3Coa/F0NilySuaAytCk6g9sR3RxAQFvmdKcQyaLpfGD05NC2Uf37jrEb2ebdoztCStPpFaEtYCbZ0XIKgrkaYIdzuyEWCeSHZZitPJYB9qtrwCM7NsNh0kmsUDU6n/sMpRi50MiENl/+g8zW8d/mSGHoDMMbETbEr9RYqKwTLj8OFY1zmT8Aun6bSZnM+HOFjEL9gKjjnAwZZOyzfFF5To8c3h5xLjKrXgUmQ+DZaErlU1qqndJr7hKRndoUjxl+NagL1P/77H82lUTkpdKVJfcSwny3CQZcFSYW9rkPP1mGqRNmMEvQJy8QoNkEFRfz648ONV8FUSCxax8RQJtjbElTW8PqbpIQhXRz8nhDc5eUeLXSuqg3LweEfET1T1UUnej7pudBaZWScmC4pgj+IlFL0KapIrfmxrf78d3eWLYuexNBG7kNbpOGHrMj3sdBHMHhMzuZNtMw29eKZjyV6omUXIHPu6V/J/s9Cb4RRDK9qo5ng9nEEUZRo9+ySy8Azr4g9BVTs0HGZvMnWyWNvCpN1tTeKKW3iwiU5F2O2PGkq5RbMM7Vz9drKFzNawhfKQbUftSiIRAzkkIEjZ6Cx/d47X+moNwiqRRuUkSmGvnmJYRQgZhcM0B7hMTJWj3Z+cj/go+vulEIjiq8kQZfDG4FcQ+H3m5GiioZNQf5yG4BC1rXB9xjfiVGqshGMPRUzAEFjzVXNnEb5I207yTlfHiDNTgm9E0tJs5V2QGs8906JPzAaxQ9zqMdAvfeHMrPEynC1oFVhx+NViHV1PxTCdCUgGyJSjB/1uJOgxpymVAt/b/H6KOpXhbXeFHevGbqcD8lou5VaJbRkkCJPfyvSS4xasUTSx1c9OOZVdWoP2yq0SkXW1M20OG/MH83KxhfyodgietIOqei4n92hlERNqgpAlm4Da0RGdXUja72eqk5VYMTq9bufNW4rD63DWEyEvRb58a8FgMH3267l+O+GJEIXnA8ES0gg8XLaLdymPCpreCJKZ4zcgaVKj5ZpRtQrKqn9y7Zoi/asp9/v/WJhLooRwRF1NbsJTOZ32MuuJ3IUILOsLya/dcW6i/TWeohpzF9w3Bu3FuvDzeO3Sq1cxDR+jT2hh+ugsAqqDxLz2Rzstn+/6zMk6yiDTk4nnESVdZq9qWKwIytaCiX584KSfdVIhKb7X/9zXMf0JzW+Sf5kJvVa7I6LBOiCu1ksRpdT9MTNVt6l//rpxgBo1xZpC3RFzbEcrepb+kzYYXLZ9JdnUWFmZmgxVTR4VkVgIiF7E2caf5kBU2f+jdup4MQUI35eCkm7kAwpa2Ou0g/TExtg5Q4hEviGgAl3AxWP8DqofmKftdJxuQGe30MGKlRdvIlXFBzE/BZYBgWfAPG7RgV1HRQbwEDfwpHKYNzf4iq3MR/T/v+whb9RLVo9p6wLBh4LRN1LJHzpGMQjP4rmeZT6iGYmVNDqY12VkJrrxSfn0/VOTkqFcrtFalcCtE+HakMvJT8y5iz5iO2fc4Fa0sh/+CExzUpzxk7kUAHQC/o/1rnXmRrBqmve/EHrASb5tcFtRxYwFkHK7wPOzbLCXYdKUu3iiK69HnW0FfkUhJru69gI+MYRnRjiGkTSMMfj0Fq035eu9F5AEDzEXH0JbqGZOZxIn/Xv9gI7QevzECh1xpZ71nD++iqzEAqAVnIKaiaysCFk251VsZcRoJcMIU99kJeQqjH86xU1ewyYp3OBs47TQTv72BWFfHQa+Yt+dPxxJmjN3ZBtLnZD5Lx4qfoQ3vFd1lot+UlrwX28VVQOaily+igG8kKX3y9a1S7e3E0hizYs7XAOQu4xjpUtGuta5ccaNOGD4d6n6sCib5kIPTjjnfZRY8dIJzJiU6lo5LQsBFAe+qn4GqCYqLnWLqSdQ3BPu1jNyc1IO4rm0W1Iwk9kRwCokrT99YCVj6Lkzqa2UEUNrX6hK85ThHxLEN35+fEdMTUEbVVG5FJbYdHXDdz3zHDnVbOLC/Gdpo/b7C1slCmFCd3hTH6ProOiBKI7LYQj8lXUoYjOwutFh9Q14h8+0AYfhMveeK3n9TPVhoNk4WNWB8yNWVrFV8UYVy0qRDk18ecOPloq6l5nhi2yCuy+uueRYZN7HblvfzhxPxWEbI5daBMY8JofLK/ij32ZLZr/KNenp5qchwGfEuOWwlHTDME7bMz66TTWMUub0wV0sjjFDkOLoZxKt+xVcEDiMfyZN7ty5ar6VTNBiLn1CFl9WjdsaPLAWhtaUcJS3iofYVK0HN1L6l0NkYzMprc53TVW1256DJo71ZxicL0/iNzMAu6BOPMO72lylywHQ4U0QnH+WwZsG/a6nPz/SruwwRAAGLShcFqDbZq30yGhW0hzJpoyrdhIYtmQ+C8W/NUROgWbhx/Mf9fiLTUJ1gs7bQW/97YbEgSOnA61MVpDYoSFBly7MbJs05PJtZPprY3XT0Ov7Me6wW2Vobt59cnfnUmIGpTBJY2IcCYjcYc6gMgZGzLqOB91Wj3gGWPmeffWXBL1t88oQHAC+/bvo4J0ZcJv6N89H0R8llNRDB7EWryN/6j1i+/DObPCTLwci73Xfi81/qEYnMovg8QWP4dv4pmGliQzGLax4FvE1/6V1nYSBEw/Z/P7p6ALYziyiLqMW9asoXwnlSYZxyshZKserpduScPAl5UsFDZg756Hq3NM6edG4jHs0kz9eHDdy3G40+wKqigm8ukRIJM4/voq2kAYE3XE+NkN9y+oh4Fwu9hStvi1JTbq8My+wzSGOS4m5c2Zbl6B3ElJetImSlbrX0dxL3z0gV/JHnVTL+vhzVhkcVVO7+/HHK5PV3CG1FLQhbGMubRrDgUFid3hbv/Ajghib+KU9nEh87heBbqYJt3RuJD8QSLQGF78LA0uCfMdDIrlCgUOz9AkSyJ4Nrlf+znusb1Bx3yPbDJTknjDlllZ7hca3lQOHfiPnGRD9W2AEm9r2AcdLhy3x3afbg0OEMx5ejXpBRsAYxg1fuzVfcU8MGo4RAt3/0MshHtSs7fyN5PcaxYfTMJVN/w/tJnscArGcJkO5bi5b6HNtBTLv5I4+zDqraDcaE2IY7uYMlawDRB5VAaNFU48wC19b9+HcgGRQ4/uLPBjX0pvtTkBfMUM+wZc8xACotP0WtivX7RWeLFRx7I4DqJ9IFEEc8cPwLJtpEQsg5rMnSrrHc9RzXlvziBd8yzGYsNrlHR5SrtGWZWQMRc4GvGuUdjatGxWLu2hRu3+2YnpkDFScltwt2EtIgszUtaNeU9zrP/1CWerz4MZjbNrfqrVcf50X04SMW9tiIG2FCp/TwjCQbC74HNt7BERIruTlgbTYX1eJDMa0FYiyMNhd/kAXdK0O4RUHxedPZPWeHlvhHA8/mJ+eyafc6tPmz451Mfq5hHsZE4qA4XH3WMlCqYMP2zT48zUGufDuhOJFFQB8o/cadAnCiZso40dBHCQ0O3gVLZlxKwoH8VIarvielIA1YExt6oHwvNCDXKtJhNfOdRRT9U2pivNpmSbHLUHOgPvZ6liPSNAN63VcV7PjW9NDxEUKAa8kAKoI1MF4g173gyVVFl5f+rnPWN7Phq7gNPC0Ivv/2OT7B4zHBfMIoBCF26cluXrkwLUNfJJ3lQ1RVQQFdfk88OYc48KxyhReobDx2wFmOO5Ur/KOukmnP3bEiB2FbO8/Ei873HWreoaozy+aljTX4TH8wWPeqF0n5v+Da6bFZdho4+KS8f4pVLEhYUn6ERInE6/yzB4EkNhUS5BD0J2hsUqOcMg+kiJjMCkwWu3vhyIon6GdUvlo7KFneTb/zWFngyUs3kfF2rvNXtoK7cOA2/Gt2nu3or3Ou47gPOOWl+OgbDF40HcVnXYu6Bmd6atI6J6RRP3L9esWH4WWXZp5ExTE9UZGN+8N/Gf7mo6Lrh9MUiWSxfG4Te+01RjRYscrs3ZPcXcGgYTS6x5zhSP+9RN/d2stOgGvwbAahBWca0gUUvpeiu66zzINhtyk6xkP5siy4KJfAVLopL5TqoaBEtPeOTXDJhqJUgkSOI3We1N/4w2yp9u5WgEH63JHRDBtqv9R501yo4uP3vDKee0PGC5+Um0+2fjqPOIXM/awf92HL7DUVZo/qztuvgYPPiWUoq398FP+l4weI3HdEDg958Mb7rvoJ+DCpweutjBRjrAW/qQIQx+DvUDV3YV+barwAb0tMMxnip1Wm9j4U8j8loQC0mkjrbeNW/Xs6QXUNWDw8urBQdz/tJ7vAE7dl/RvbL0N7eQIwVyfMBa8qGG4jEgvKQRfmf4pOmAXqcbCVscYKB9zwFQi0Sss5K8awcQluVeXMSIxcetrahnMq+qLLwZRSbbzPP3eIhRC7JB8I9eyufVkhOIyfB1GdVZFbmBIalhrYuvgLu/FkipNVu0vEyLm57CJFPbCgXCEkTHFREeEhTcxYP4LKLwXQIns45D8YkEBf5K6MNnS8HR2TXN2+QIsb4QiqBumNszo+CbJQFglx1xiyGyWGeAxEejX8yNB7ioiFGft7WqxT2H8Os1+lf9pTKf5Hs1sRvnlP39T/4wzuxoJ40k0jOJaNhddj8WTwwwDm782G5RkjSyRne6pH/9fLzlhqWYVQjnI39ywaO4Z9U6DWf9BlNr+LI1tpGaQoKhJl9/TtAOIK2tSGfWoCJ39MgxIQyA8TF6Z9VVx5+8JN/PeqObH9CYZfU1PT3ABk83TqHQxLFlQSdeO0qh50p71SfEH+SewvIX2r8s01pwy5ObU2ul1IJs932ellHsjp58XAcCi/C1FmkIdOwV5BWOpNEJWhEZRn8sAPzE/diN9/gckcvcby/gE3EcdMOH2zHcto2ijy8dqy4/WNXbJa/5LbGms3AmU1jDsFdtwAyaDsY7A4aexpj4aAdVZdjR6cvP69Fxind1Pcl4ASR+CuZRm1difLZf8rv57vRmZRFxFhW6L3yqr4fsMnObfHdhEku67A3AwmzEIITZLnQgJiEXRhKszPwZLPu1yjJ+zHg+LoKAGQVcG1w1X1fjPia/k14Q2EW1h794T1zBu90ZGoUeAUbjFi93ayFsH5hgtmpG5gVDw7F7iaePDSIUU0COtuCoGaQCB2g1YQQmWhWtmvzZrmG0SYaCRw98gcmyjIgi0O9o0WNSeAMnbxA/wPDtm/Bl4o4V4wGxe6c03Vo4ix8AGPP5UITERcSjbxGDnVAUxCeog0DvCqb0+dodxxp1h8nCFmWWLllScqMtnPDqgPfCI4sbyaujT6xvo2cPfFgq9qVB4jzGJwitubWGrlUOnbIZ+MFHJ/PznJHeKmI+K/772/kfuJDGtd+7Yc10W5Lp9hU5dELhbmpBKzgmb/JNU3OuPMBeYjdIZ3BL4Jb0vrvGVNW3YBY9tTy2EKq6as75m66hhvX2BSfu3fyRqJfrMThOeiZAR3DuUAXAvXfsUOy4mJx9g6glierUMw3os93K2LyJhZnAaQrELoF8Zla4ZLheJ0pijL2buo3xFP1iPMPRHPGq5vhDtYBn8NiAZqPAdtwbkD1IymYZsVA8OthvM8JBIdqYuaT6CGtlpjreREVD+FCdSG+iFDW0aXhJ31iqNxpG8oSx9MzTX3gV2kf3aegJzzFMAKImV5UKGOFaW/pJ7uF3EvCG4Yq0ipgfnB35DjctYu4ghfg7lJBkVH5MVqM8LA+8A4z/SgYVrvCeMa4iXP01ywl9cHMIhcgFOOpJP7kPpPAFpZFZBC7RjkzhXK1urkRx1y2mEcS2RK9b4Pj/uPniGk9dkLmDL+ozZRCwR2b+yk4E8J3Rn37QFjbvhv8x29BPrPxARfBRrAJVw9WTky6SHX2ATzgMNm1XzYNTm91rHq8INybZGvFpUey5lL5Eaf8enz+HqAglTbf1DIWkbGTkz/agdrnwQgW48VU2UUG54j3HYDaBwRprgUOXf4W6yZ8AEW12k/Ipg8VGYXZLXkCwmxSgV1V4U6KzcxpgYdjroijAFXLB4Xf0/SL3mIlOKicrJHZGkcJaQYksct3Oh4VdCh8mrzgmrT3vnhh6iKIYWr5ms6OuZiAIbcE/0aHjdstP9oPTKo+GeECZayQFi+7yIZft508W0WaAxvkB54qz//lmhc3oxgn72k2YMPslKlVjXwavDHHYl5cwm25q/OBU/MnoTWarOiQq1XDNw5Xv5NN4nub7RX5s/IzlpjLxjA3lzFGQfhxiakG5Th9hy7gFlX2AJetTu/2ShYK7d5WffGt1OaWWPHDUyH9nUUA5B/qF3al2+MyG+UFceEFbsIBN5j4K7yLMnoJ1uTQQ+MQdEN5KmdGmOERgHqsYurdGmSdwl2yQxKf56spYFGphNaxDd8nNIe5LhZ36dIIKzDNXcxRiTPK2MvdX1FQfuUeiQVsM78oQMzWaPNf6dquoTc3+gpkLSlz+y5sQeXgrR3XpRXC3sDLefwHwp+R+g7/EXlAcDIZ9gXDUAs4XpOhHhUDCHa/ArtfA1hJpQ3taNQAAtasix0bx4GenWVWIuaObErh64RQXGs1YS3jle6etwGiGsSOKWUtGbz4dkA0/t1PxOgGD5nvu161IlEijoS7ArDBZ89eCDOXA89Z850Aa2cnZOAApOqepQBevOwOY60WN4njhbXBeOc7RgUucDvgSuGCD6FNi+gX/0bXlp7dNqdlHFYCZhyUkSTh1jKWAFKiSi1HM0U1Awdcutp5PsxJanfGdYX7wXvrtG998bsiWM3NrHGJjyaKj+XZ+pXc4pgqugis1bVk0F/8HKUCOj/VwCGbxoXuhavqhoQfhd86ubrAhihu0dCSS47+1zcawUM/p4DxfW3J1Dul87+QEjlmhvfhWY0fVqM/7RD49POw+JxYb4vb52TL1tqUyrsEjH6MtEEaXeChwbD6ZDcgy66GNlCajXGdDVnXQq/vCTjk47iyCyV7jaSVrGx6GHdY+Y9uCyW5z6K4nkNKAQi1fk3vKyRudie32XCoKWqhRXl/8v7gZMfTg7Sp+S0+XSLXtYMs2EjZbnKJGbLJbWuNl9d0HR9oCVJ2ms7dn/xOLtj2QwzXOvVuLkumV9bTScA7/mY4O7Tfseh2LKUs0K/MA2RWFagAdh6jRyj4MgdA7fhSYFaDopGZNwLRqKTZYJwiFFQpXHeP4B1e4JzveIkwJ30M59m7/ikmeqAwLuQbXQVWZdAi35wzC/QBpQJb1eGki/a5SxUkSPu5R88hj2CMAvg3KhcLJbg6iqMgQc9Ag8Jd4MznlJZz1Wep86r2veIUVeUNh6XGLu1yQM7+8+3OAw77jAh84gCF0nnPIAbTtRQVN3e/mR3zzy7yvLnbZ1W81P3bF2qrCnTV4w+3u5s+bjJFpgbUZP+k5z6qGRi8yyaipKrsP5rGvmYg6o4QnzJBYhuC6OCBME+dhylNIJ7xcJ6l1stLdNMwC1tIP07m49UynAew9yuoOLUdDLiqfe57pWsQvWl7uvAKOJGjSbOIbAIazp611lP7LDTR0cwc3zPFPW2uVBAOmINtWci2Ol6KszHKdYGreIumKaD60u1F1PCnO1WV+IGTnIkQX+uHrk3FuOfOowHM+HAJbv0HiUfUjZr6eeSPqRDGuaqy1UZINv5Sujlw7AxnQlBLnIuVWejcvhVJNFL6577Z6FaxaRe+X4F6AwQ1fbUoA8qkmVJtkX7NFR+T5h4wM3W2Smqp2Nsjoz40tRepaTDgraL9pdJPihZlnoCKl+Yz7OZokt+fwAlRXBwVWnWc/2c4g+e2FHGG3qLZdpyZFwX/bAxg6AogIfZSoGWiOtxnoApxqLNkPSoITBzvdR8d0ahiGhCZ83OOumORtCxM5EGOM5zGNacgXdxVk/Yit9gBK3ocvtG90a3dJH0Y2chicosa8wHN3T05Cw7rce1OTjGY932ON3h5rgA1FZBpPQYiH1u9tsAQyiJnmbjeXlgDJgc0PYZhkJqzVoR/bjNxKTJPm5CkW6RmEqxsU4fzyoZTW44YQM78/X3GbcFQTs7MCfRcSc+TpGf9325FMSgxVpLknK6iak9wsJqqFyH0ZDA21qPDw9u/61DCD4NExvIYdl6MTq0d2Fw6nzp1tpNncW/bPacMZWjs1zZX7+6R65XcqHfXDfMVZHC+A2QIc0knYug38O7h+JESIMlNuwdWknV+jHJfBBeoFjQWqzfzB21XbO5W3v0YhxPqe1anwqnSgYvLJtf/W9HSQFlnCuLOagOOz0NKCRWXQZEjUei6zDCQnHuMKW26XN1jFuB4uCe9ZofQGz97TAya4GmVggzIEKUnP/Jx+9G0nKOfL0+kabarBItmWMWEac0PLRatJZM3ewOxUvh5Nw8e9jK/nUFhKkortis6dQympxKe4wzOPXJdFdMDs98vFS/PjlhBxw73i1apeAUMaVmzsWop5eZTrVOXGGJAJXaK+E20sAoPbM6XtMDR7kXspbZ7DMHI2i5JhFy2Y2kIMtJnVCR5LsyOXS4McXSFtsbyle2a7TO8Mh+jxsL+2ZgIuHOG+IzKFdHDwg25UUeVCTWGmmOKi1GTrY0B5NUmeXjZesMkkv9+lKrOMdo9VjtXAjAKJtD9WiVHKc97mVaW9NNSfZi634DRY7t+3LnmiV61vYD9RIe0uHitRKkKt/tj/3wivghyGwHf+VEpRNoP2w6wu42/FB3masCTcXVuaXz/LeAzr4g6jExSO7dihStLeG/4bo9Wi0iIgjsxIVw41QcR+m79UEBwXx9ueXhXKsduWq5sy2YXjV9oCxpsAL/OTmvd/bleK4XaqiwwjWabWLN3Gbxsp2z5WUHCbU7LDwNlM7kaT8OVM4gKRa6XvMR4hZyCEmkMhzsm3IXuvbDmhy3bttzQHpA4hAh12r9bOXUAlmpO2pRPR6W3TLe5Mo6Eoi4/QFpWrbqYFvsyNs8SdXYgfqqjWQwfhcTcZT/138cTjfGh/uibTgxuStOsfkDje3UN96qMRsenk4vJu+P7ALigOlVFmrhaYdzwbE/WysfAT/2RPDewvTCEDotaiOUt7yjmiCr9QBBad4SjPfor1Wx7ZQCGBa45l98f/mqE6Xo5bs6fo4BWMJ1BPdoLlwchuVt2vLuyUzTj3YbyQx60JkPnOMHbiJHCmyg7Ufj2t7aVDe9ucE7QaOy12uzYK+vGcyBRdXGj88CReOTVUgsEs5DoDnsvGBG4zru1psDD8asHvUVSn68SkCUV88UjDanmQZ0OgFPEG5vGaf2fIjDXApjVNLjhQV6kdu1mOb7g73UYnlaAak+SHOxsm+OPzTCh+bvjY/DnsDZIOKo9HpU+GCSbQd8oPO0qBMvEWGWvYMCbHcp6b5GVs+z/W1ZTibKg++oNrlhnHBP0BhB0muEyHo657+zC9E9oj9bhbgpNYacazNQHsSYDzxAi/GjzHuO2E7aoMpG/FsOkEapt/rRrgiH1rvb6nglO5RPisnUI9ss+hS71ztW/vqk9ElaoxDBM+d2X2jIDmsceJtGDbRaUxM4oaWM332itNIBeWRZvVDDrRB/HaXf6ksZuvIew9JhMx5H2xd44mEKPfBFjafCuI+d3Uyxdtx6rnP9slz8v8Et3kiXfm+dLXku18iGgQwfE113RtFMTxMP0LSIrNkrKpvUuWnE2jeMX4XoXGZBoIXbsZwhyTMbBqbSOwTtUmxQGtNe3JPfthNpMuXQCQ4/dd1h1YPhkIr3CYRY7OD2Oyir1pWG16R138Av7Te4tgcc6Vzzdg7eZst7NfrrMrk5wZHMG4MnyXu1U6mjYMr/Tu3EsYkLJSU9960uLt3EaAuJfOCTu3Jf9JBJsm9qx8pVggOAiuui2oEn2GB23w15kqZUkxRkdjvaKXjAoikh8tv4hzKFmxuKMmUDqLBgegCi+o6ZYJTsrtGBTSAHGFyWFGcf9+GxgOw2Qs6tBubbdMay0KuTThzGpQVBiw4sKogO4KwehzON3GG2vdxhqT9p9mZkgCw79pUL2w/jTQqu/xT1BT3WWGZmgKvaU3y0sYCcSnWBvQTFYt/BpShv6mu6NAM9JxlzDO/iBVmkdK27b+ppQEdj5ZuLxu+xN5NoZ64skPg6bdDGwSRq8+mY2FLw2Cse9VmFBJFfMnmouthLCec7B5TRklhxUA5QJEqQuUxUv9tn1ZuoG5XDBlDJrrdZnj/ja9a4SrVwR7Wh29Mpv9/y5IHYEVbXl3LT0SCz5Fw4w8ZGRBceGVwEvdZ0nKjnEExCmfaROYs+MRWM0sAJwaf7J+GG6GhXTtan0qUYvtOgspxc6JUtKRMsIqzob+fzXKZHNyEWSnZmqyJdcntgr0VGxKQgZG+xH67e4lX+hptp4FNV0HHfvrkW4fprjUl42+qgPnO/wQ6rxPGwyJ6sNk5OP+SjRIEOMukFpuJw2mDND6DKXSwp6EvBkfv2/Y61wviv1UDRVeckyT46Y17K3U108sHjSsiK29ha+NgPdlLBwyVDkF60a6ywdBLlpKmCv99XSqip/+Q7n8lWkclZ8qheXM6xXBZmDH+6sipnj1kE/rMKNAgSTJaZKppg7qlOrG9FCBUIOw0I0joPoMGm1gq8oCeBeGGHM3Rc4e2tJLlDXv6FwPVdqftXiabhHriXhiQCC/rfhsvmqfzAcdlTagiGPGzPeqb0ZSn5uPsyOXWVVklykqCt5GwulCI1QEWbJi3e8VttUkIfC9Ir8TtSuIfE2fwkMA0SjiIEVJfTI8kQCYqkZmXnIE0srmRC8xspS6VY6OzKuwrcBF7r6pt6jxkJ8YsjNKcd88nKvDrjAQI4yqM40OrSqyom+2V82RWfTB3D3GrZOHtn43+2WcNJybHN6dpyL3uQjb842qFUahpbGaBAETLGYON32AhHnAAZ5UgicQVlLPnyc1c0CQIDOYTISW/NhywVYs+VqnqFUwV3v7MYQ04IsVF5fiHapcGRkqspu63bhLFuBPrw7BsdHlnUMhTAUuKaa42kBt26jMuhXVuxHTcj3K75t/co2RpwpNOIVcNCwcUZlC69LA1OYEHeiUsYZolncMgrOPhx1cVwcuyZPg0tJ/cq8fEX2gQmwCUl+KIIFkXY4bsShjfQA73jVq2WjlCwtJ3pL3gt8QNdPJXOF0m5EZlCPbTZw4FFKyarRRqpUm5wtwYkCZYtoM4s4smJo8ehNmAaSPhz3lB1+Xme5C/3kz5kicmDyhvST5RRsU/9mKi/uG6n6/7fAgVBOpEfKprUAPxgKb2RaExsUS6oMZl90M6BuAY9+OPm7qNULY4jwZNXJYT6w1ZijE0/D6TI2H9GK4l4X070rzG3j2OnRNnFyahT/7v8MK8G1VzBX9nguEKKhlkF+H1xzes91RuecSQz7URLv4uEZbddWi94ykBgfBF1cgUdF8nVF22CuUd0wHYsfwqauZne8+qeGCACjABdfdLXYhD7EVb3ByuECaPHjIQYhSo1Xtx9ZJwGESGcTwCSRKViFG5Sw8o0WdnKIfoyiTXAeEvj1ohmsMv+V/QZAUi4eEUFJpNjpYgzO3BzZM51IYbNeJ/9viBkXXty28OMYRxIW2SbCUy5nCX7NT1nx88NzM1INPUGZ9ul4kX9A1fBLSwSwg16a5P4dStlvnVOY/uASjrTRv5mXd3ESc61kbvvyqZ2fn4b1BxqKTqx6KD/HJoYyF+Zk5I/Iv4Mhck6sHjwrj5KniLLaRFCz8Rj8r19WjvcxwmMXfyYrkQfWHdnkAo/tD4iAOwSZtKshK9Iaegh6AzLtNrvbWORofW4FPtWBaxG3noMvKq6+Vxgl0jUNKCfbDqEKFqwsUEesJ5mZm4vwg3uoowWc/CRtUDww7q2LfhbyxgRLK2HSFmhE/lQI8K/mFDqINBc45HJY9rvjl852qzhRk/+E+Tf79sc4QIWZahAnPJfYtMpuGt/DzkBzNXJWxMH71C0xF4QAFsz3TOW/vCGlC9jKyEyOUCavwHKrYxdgvb7jhN+mb13L7IVWebja8w6m2CaaCRthZDh0lBeUZjt15s6Rh3YyzPAJIFoQJ10eOc6dqLCIGjw7NtHTa4YNY10iT+A9g3BoG8x3TZw6pc509vQKaS9E5C7EIyunobw+bZ6hmwAHCqQOFChZlZAUSC1XPxKU3cW266fnbWMNhFxFJQ1Q6hvLHEYd/Su4jOQysmO+otgB/u4IK6tt8qdtPn0Ru5gf8CnqxfuWbP5Yqytaj2bqnwTl+ufgAECbTWARVFNr3wZJJ3g6uKwXFZgktZrD1LERtHPsq76lJvLYAM8JYM/ZedyZYXnnEGMSBcYq8t7mqic20pG0MSxpFlH9FHSxo6sGHLZ1+2Le8Ly0tdWrs9ocFSqUwqyHvwIuezTs8Uvku3XnBbDoYJLGsnLUlq1es0CvqP/T2lfdd2s4eiFvqk2MsT2izMN+ZMICOt4CizxcF8WxbOaTlg6ZtIuZpgzf01utgDXUbhGbSgwwa3O3RpPvDO9kk5/Lw0QjKWt/8DUi4CmB8wl2KprV5qh6wUtJB0t+WV660pq2sb6HQCGk99lBsCk0Fp2C9IVhBnxL/0/CBYZYvjewveVzLISJz7xY9fzLUZGkeP+PS1ZpfR44/+QklxkWtqwaKBbgCbRqo4Oo7HBwbWktox4/a79oo+o2dg/WziQCoMgA7m1gEexWSrJKb9tR1ogHwsQJ2Kz93eGLxzEXx7oh08eG5E5DjnqnAf0brBCqH1i1zbyduDA6OSrRUMVxUNuQhUG8nrU0aV/TwKBXk6zNcDx3fuQD59KE1CqJ1pvBpE82FHE89LH8Jk1TyfqzCgv3tyIkus6/+Assuh3/RpgS51hAy0RdO+Smpk52HjAsCtcKlk8he8l9K814rkkPdnw1Oa7Ng53nltVLdHfG/bG+ut0G3oDPxN3/tL9bt8YBq71P5gHWZpYJvItEh+HfcbUOzWOjQ0Cpt5Jy1uDj8JurFGuxZUvLca49A6rsHmOrKoasuiF2iYbRN2bvjiezJngaEAKKyUrOmQAVzS69ST/yKLa+tW05T3aqSn7IaVh2Ek9PEavJNFGMrehQPIzL+ILXo71Ct9r/DAvc4T6y08uzSuuQ7S6hutY8o/TkyDYy940f+XpZNjNWaYnrsJ4ZSBOXr4xHEjQbJeIXjXsElUXg/+2bohWgJcOM5OuuZAsp3jFUjh1QRQpVbYWeCedeI9bnpp2aYcOtW+V5DyL51L5vAAERo6h3FsO+CDYAOupsDPpkSbUokaerO2bYLixlNIIAdbnRlPVWk7AB3P9QJ7vor4mLBDcXTF7N4Tc5dJahgR5G/pOoxhV+eXZkRh1QZCWQ21l1fmLnjuYG5adF2uPlrheSFttr5vb4+EwvR+gHs6Q/fkCcTZX5kpmnlSkCgUKX06zUUfWq/bjIM0qXZehcCyQKT5b0abze1WYXPmYJZvZFC5vUDK5jB2vxmwHZSLsB1+klxMogZRNg1Y380DdOeObOr2CAK2Al4eVMcg8HbUmIpGL5kGXIpzvXsjLYxMUL7cvItg5d5IRGhBW/R9kyG5cbCLsGfOEtgKnHPgdk0hdwY6ZqbKZXg3dlVMdPUw1eTZAfgObvNYu/ewaDTK2i0WRyoLmLSEKmRI5ZNTZ9yH6j9MraluJ5aRlQ+iKV2soBw58+6OWrNrNyQmwsvj2+kT3Ahc+hFbwItxfTIb83P+NvZZnjdC9TYF1oaDh0dFpgTA32LTDyrh3kd0lEGT+0jQtE6Yr/OAhD0/+XddQg9lU8KGuy7Tjzrojq3Fha1oIs8m/baX1YdR6mQKRc8FL/6Lih54LLBGKN8bXcktKrkQoAi7V/5k/ziHf9zgMp4gpPavAyKmBVOUvMgMMEdoXOBPtqUbfkdtVSXX1+m6oyyCwhllsctGJH51XZ1VXPNaZ0Vf0VlPwi+4mc3fI9pYCeSARGsC4oeLbkhMuXHDZDlYOYV9AINWEWj+XQ8F397DOJkxZt+tbIkm4npLaXzD5STSMYkZFm68TG88I/D6fZfVY23a8Nn4WcLUelRiB3AS/QyoCQ23tjHbPKj4CVda/1ayLg2S7daJpTiBDVYWHQL19OvxS5jK7mMhBXBX1NbEcBkABrjE6PdX25Fk/p4uBvZPKp5FmVVJI1SPOykVFDM3bTpe4mP1dBw+TTRvLFEwufm2oyNGQKQL9O1dni73+BgBtSs9hZI/SODA6arPyIW4flKG/CVr+8gfww8HmhKH6qjOqsSV42YGc+MWTbmpgMHtRrYx8rlBRVScpL9LkbS+ArgGOnYwce/O2FW//N0L705iw8A1Gca1hQ8BldI70DCZOcWKZYM4O/yEvASHg9ID7p/7OXED4MbaG/3NzJq6P3TOdZr5UTHYSYNV5+IhtYd2FvQgk9W0CbpjBvLXzzp/wh+g09e2qOp9XMWDYSG5nZIXV+7ZQuhpic/5VNZYBS4BM6dmYCv/pyo4vdlTIpM8ozgJEmDAvg1qG87AVxFd6cmoRD8P6dJD2hczRG79GOlnvpe84V6RC0w+88oG6+ePzlnzYm8wO4o8in1zuk77aURR5WtwDfY3hlAm+N8/wnDO0v2QE/Wif+8YLs7+rWvLp9W/qYZ25zPLX/LezPVBvlETIT+x4QuVFZCTx7DGozrqGQQXEuAFDk0LhmuzExdh44X5SbcvDXZ+gLngcG1LRQE86sPJ0mmLt02nujLJCb8ehdotR2RsGhlP8CpTyzzgPGsMZLuQgGkIBCpW6bjr+8jqhVmwvN7VEFrSrDoCBYGlHkkXAsgceSAEQhZcENccZJMmEK9MwI93BFC6s+Xi82C++l4sePr+lKCigBQatKxGDuCfyye6ZV3hoyIvMV8u/2NaIo6G1U8pN2qHb+xP477aPxXRh5Pgt8I2HybkrUybS9Ynt+rXEeMIaCT9DljsL3cv6pvOR5QPOrBf+dHeD3M/iJLN+P1G1feYQRb/Y7ZXOHPfcPBFCqCQbakCUqtybx03jl0mv3ZG4pTMQTxdrudIfaPVQiJYgK3dqYiG4mytzUVPU00KDJHg2mBtPh+lv+ea9DyG9BRDl4cdcs4bA/mqIxVj80hQkBwUT/o/ymWgMiPm/bL+pYGX/VXqWqz4NQRV2ZIugcQxxT5JMoL+HlhPNhoKoXH4vP/Sdk9Kv4jqssGkMIC0Ujvef6sv1lwfaxUilepRABJI986YQQ0KTDKE2YvPu5VLpRk4SfUJ00peGIwGctvDUAzc7G17JqL3rpRCFnXzfYFz/Uh43NOPoJTTz/igdCyaJ731fzsux2hAKmHsIvjDz35XpOuzyjj9NfFGdeY5ijQWZEjTUE6JRJP/mgRUSxdkqkQBi6qC/jxNOYJM80y3T7T2FJpNEjM9354b23I5jNqsFAF0dCOO357QlpnGGoG/1sw8Bv80VqklHk2Id9WPVI/M7yuw1UcSsxK/FWRQptxpHDMSl/fN07bx97th/SlVDsmvkkTznkB4kjVqQKzWapB2GaMIaiyCCtRZ/mgxNCrCOVW8fdMtjmAYt3BdSx1w8jh9nAvZRX6myDXe3UR4ltLsaRmM1dSxhWSUoFlPcuHHkEwvSqtUjmztev+Jmqvr+JKNCUKJetq0E6aBUPO5JEKX4TH39p9tQBVvWgv2gHE+wpWTCC2GGIXBdkIkyDGhgU+9GfEvzXGgnVepyxxKypkoUcEH/5HPI9kXwWcG2Lq8nDLtfQmZnZtbdz7oKeyJBEGJZ3HEUWE1GCvX3Bq2KISPhh/yZomRrOg806YgXPyZ2U/XyzA/hm8As4a5FYiSNJbu/troSSmt/xupQjwNeOvyJP2AnA/R2/pbq9i5gOOK+jpKQNonfiKkPbGRWEV9wbWkODL6h20SMXoGik/7XoZOwGdbXvweSwyACYWNJvRhnFtoPQp3hGXfjKAW+eurB/K7/BPKCtffBtRQR4+eq9gCpPZmliySRMfD4YSVM29uLawO8AHcc99Uex3da4nSVHiMchAwTSPqxOANVuGAnTQFy/j14JDmOdFqqgHsMjy7+fYr7k5O49aBAIcjEAtwEsqIsMV3EVD0VG846LtytzipTyOQQ17htMfDr6UdhA1Dtw9kXipqv+B1Ac/4e8XgEH6UlIiAAYVaQwxdvlzk7LdKnesfE/hIWaH69IwrK3qqEhiLlhrgT8z/h/1uAYocUSeECi7MWm7OIJDsBQw2Zmq4w7MhiPXahyZdUYAJfB4pM/hOPnJTMfkln+QH+FxTDvEY3REH0MBgS9UdAfORKR0vk1u7KmVf/aUAeMhjA9c2wr+Twv9HuMoAABl2MFjZsH7SJK2S28WmlJOKPHkWza7+Wh8Fm/tTy6L+lygADOwWxezdX9Xw1j3c3IJ2GysNtSaUucYidbA+Yf5XXEIjRDFveAy2PBdP/PhnJCMH1vT/LZwXhfFu1ELMbRwhoMNRG9KM35XHUSWaWdVBrAQOiw5YTwG9Q5FaYswnsQNuMHL8ER+sMePKMZSuQxcAtq3SVeLpH+jkpJTaP3q2Ad0XCzYduJ/XHB1xkkqopIiKBw0O+JoBviGS500KnKhlQ9LPxHgsxjEw3ha1qjiXgw3bh0Vto5I6TjA4jHXmcKkO740VJ4V79pB6bAfYVumQx8aHufiF4aEWaM+UHU3XMw3HH33beTHUxidh5jTH9I70qGwMMvNCY+Mvfl0NbJ12SSfoEWDL/nLPthGTzrmocp3yIN2xqKxVaOc0/+DMbinkizY+jKaz0AmS7bICDRc1zySkD4ZDZmazsjNodEjNo2b452DS/2wW9etSi9U+DCa0QxiI4Oc8Jhp355cy74LSAQ4YaA/mUU1VosU2cLFjJeKHy2PpII6m24XyyUvaacv8bLjCyZyGtk3cNqZzZtXBhkjYTPufzS0I5Ln/SZg+vtMU5k0qbcmWExncyTpRvOzIxtD18nkopMDouRJPd3CupolXcI7A5oVefRdwA4EGqRmcqaOWODQBIXrgqbGXR9mUXJyrK2mw917iLejatnfSkBXafhfuhpCPHkSVIx1KgZADTg/wg8OjvNy3ZKlYWyauUfeqVS4EnYLaBEvDmpr9vuawf1dwPp/Lajb/4zk0R1nu4eYt0nBuue2QGS9so57LIM8O0usM0wM+7Io25W8IEE3kMU/qWjSDEVKpTQj7/0uEJq6pENI0C9PJNjACzWCDI6jsBzqiBVTNN3qgEpYCevz43wsTW1kiVZOXFrWcC6FJIbfgIrzPT5CJVeYt3BCwIJgoaPFmkwCtRQN3ZrCAfETBJ8Oa3TFFcT7ldSVTuwJ4RCl7Yr+NLuEWduBXjgIpfNXxvKfaHyxqQ9QEUsk8OozWPPXc/Lf69fmiFl2opocPtJ7FJ7TB0Igp67KQzyQX/A8hPIawap9cpk78q8sF8v+6XwiQ6I3S6m+PDsn6+IP6PBD2VtV/ZIsIHxTJL8/n9YjED8BXWWqxlLTmVrwqJV8iFFFjm+TLr56aiMt4slsZ5TIHuOAUEWsNS8qPVLdSUkhnL3+0k0rwx/CQn2+keW0sAwyfKPx+ZLMx/OU+YDypsaANoAm70ctwxSUcXY6359JAAKAZwo0qJndouevDxYH6KU8XsxpfM5gtovxLmP3Ej8puAzXpWZfntLU9VsUQWYB/3IOl5NagAoTPffFaeqCo/+B8+W2K2D4weQBV6Z19OsbYA3s9zlf6Rdt6AJaoQFNQPTCNx0Nhbi56RXElvVyPE6HKYlGh99xFC0J4xoIY6VfjbQw0RfH2QNm0fW1PqmksNzR7OcxPO47jLXFZbhF5TLQF7HFYFEq2xII/4tHGM5GaflRV6ZVk3CbgE5i8Bisq1NGAac4DW3EnSAO2UPVHIXReyDn07qv6xlkp3fF52JhEykymBjDYJwoh6cqRE8OFJBNHDCrrlnXJuNAnu6I6+15N6uQxuN4KPqGy38lcwbHgAW44w9V0xYmA04o5zw7AewR4K8RZZOjiTqow/VBR/bsaTYB+cLJ8Iqw43b+jmSRsESc8omS24dpsXGAyHsT09NhJTL6VRIFN1j/sGrfK4JzkPeSXpr2gJ3b4+IUIvlTgGSccAYhEazngqDYNpxbWWoB7n3lZRWckUoWpmkAHIPmg36vSt+YH63Aq8H4O/cmtpAjxs1l1L4m3h2iNBKn6FKo1II/WgXF0pKH+suacRRpM67JHNV3u2dDh13zXpLXpKOt95uDwXR+5v37FNz443Ame6ynmOm4tjjh7S2m6rlZokluvGBvDVs/G7WghS6RIw+WXw/Kh9GYMmtiHfrocQoDay2h1EXI+SRqxeuOp1vPG1WlAFM0Lc9bbjzQR8x0tv5X0bQNP6bjbHaxeWnORY/LpzH4ePX8+Yk457cq69ik4BHqPfjiPDlYvg+iyy/MppkFabWZPN/ylCHyvJyTctOMUatYayj/zsLCv7FGoqYI63pdu4NQAXi2H8mx9fhduot/DtRlIFrxvxnzXYSp/VU1rI0SyTxrn5uoTFSq5l000o/JhyEnN7Bu6QJqGpf+oZjXL25pJK0DvubiCvGHRbs8T0k3Et2kmtiHRoufsHsAiumY/F67RrK2FZ4Ne2odYPbnMUbQYeb7GrIwSRdk4v9+EEb2RcCJYqKPPrxj29M9rzxfFv2YxhgKPMkRIkMTGeBShIRKPKUkE9eRT+c1IXojLEPqD+TxZ8vZy/MbzTX2c9L68tS45UsxuPkK1JD1tMQZLFwOlZwxAd53KE14hs5+QNyI7ju1FAzHfccQzPJHhF0jQmtoSQbKGd3nLAE8npcsSklL1KsaDQYkO+v5zegor9iQPoKK+rOAMJ9g8u7ftAYsaqzfxvJgetipqRaACYN96PW7A8he06YI+/orX1EZcFPw0fD4nK/cy/DHMy759+YAR5ZZckkEyAJ2uSOe0psbhSgd70Vwwvzp/zucLN8rpqg6FaGxxYG0Y7E+CfqeW6QP/2SN7IH9hBP54gij2ObCTg8GclcS9NWNq5VPlqNXvVqRmUJvLRNy3tQYITEVvaQFAdmgPJzajujGnT4B1FMn8fliwk8nW/w+h0TwIfgW3FBq+Ji1vL4sNf5t+Jpwt4L+TYhUCeEyfnxnW1rLMrXwaXgoEktS1axgjb7TKDVO9fM/uUazcE7widvkx1pKGN7m800mePwQjsGgoWhTbJG9sLY6BBLlwCJwmyO+LN0QhM/vZlVloZxwvCJ8pC/5hC7TiQ3HybYuQhF5U1lRV3D6WjkT/v1PQ9oOHNCc59Kdzrc7KqEFw0uD7ggzqwzsGVDFig0LLwYTJwQRmah92WhwHqt54FYDzEXdiz0AxZpCSBfmtXw+kj0zLlXId4ZOm4AG1l7v7sjjBizmA+0rmfDp+TwoNu3sfSX6Q0YMtsSwO1ezSOOMHH2oqNe6bfBZIhfxiDxgERClBHiI+Ad71bXmcfFTy+ruwOS646+Ppo8hRuby5gQwz/6eW4ygNbhiUBrdrALy31L/nxSdQGa1yEtkhu05K16OlzHlGLDpdjJJGtLnC6yj8ysASlfmBNTFkRAcde3Dn6UACXGUg/sP0H2++rMgEiuNE4pw0zWcZb2FYLXZQIplbSwXx7f7NUsSPysXBheZRf2aFszR6BzzfNNNhjerDC79NpuaTxXWEtJs7mpRKXuJsEuF7JEUl82V6aCV5gnWA8+i0bvCIn8Ujskn/v4kGetKZRONgIn9xddIdV0VjjTTu9zm+PFr/4RXf5K+PVZcPr07L/D1pycHKZjasIu94HdM/1WkwvaTkMqAZSCBMMe4y6dNvYLvt9emp3iHo8sK965P9HSzPC5eMBuO/WkE5p6OJ9QIrdUM6SYvZmahWi75kR7McqmkyB/oetsq7yDU3VVo8rUKQDJgTAaPohAfLiHbI3ERcZnM3zH2FReHhFu17PiNWMM9Floi7S9E7YBiEs4Ad2IEz2KsKFO+Ba4L0uy5U//MwWrm7TCa8Ud2lPuWxYYI69TOUDLhV3/+vr/UK3hzSyDdd4gHboVX/puFfZJlXqVyrls2NNvNJgh3zx5aEplUOt7UIwNQMfw1NbGLN0OQNSjASTL0fAM+9faLeZE9ge44+oJQjdrLHZ6IPZmgV4gmT/aAW5h1ySsxPQGljkpIDTQnfblp1LpHgXvsw6MgPxfwT2cHFqEGuonDL4KAOUE36w1O1yLhrPAF4MyC4VxRedfXQ/jEx/3/IIw1XqZ7suGAfB+iIPGOs1OPPFfqAutBUTGv1p+Jj93mQwf3ZXufX7XelqlbZ8xvS3QKzcp6Whk5cAp29kpvNQTtBuPjaZ6B6Pd8jYrETUxbJKPD8dHR7fDjfWC5/b/l1RngxdSu/WdyR9LbPwZQbtgphl2QSd5TUvyTzcMMrpsECvd1MtLgeVVjxaVFYD9Ti6x6DR4lizUv6tR6d3nJWPE7TC/2KIjQlP/Qnj3SQNoWMIFgCVJBu4GKPylxgQA7CcdvefwzlzzXKtqzbzyytyiHZEh8cJNJFwpp92FSDWo7Rw3u0hT0ZK4xf/jadQgBoubY4sS4xmcYIf55m07gYjIku9DxzeVX7XOmohqMt6NfQhrKivQAfykVvBfxxELSXQcjWHDe9ATtXaO5/o2lK1KdCSHulkrNLsNN0m2l7Y+d8nl3W3B1PEl7Yi08YnrrMFiumKSvaCf16TuSgtTOTnSiqMQq2+EvG7WJa9rYY48BE+0Lyg4yvn/QqK9SCjgPd0wU9NP/grd4SIwEr27m+DEhbHUnMx6Nzg9IKBSSHdmAfLL7qnrUJ6Lco/SRABl/w+qTxH50ukS8U5Y3ddFX4wBWS9yJezURnjcAiDM2hB1taavem/ApKr4J+ZNfNDqGn6BzCU6+PNHPiX8OUq2bsI/yWToDs+lljwXalbFD1cgZemr/aOiXCWPmxjxUbli90JQnBxHphPO98KNnTC7q3UrMHRNaGpd0QPdmtls+J76HoYauHJYCxKi8OhLtW7+uYIoJnyeGat5C9uykosCyGAVJ1W90+dIH8qWjs8nkxfOsx3PxF+2G8U1h/UORysQQdPzMbgyAshSt7R0z3oEwNOVNXYK2Eezdnwqu95OBcn5ZOOcoxkKdiYaQTq6xY/9ZQbdo951oj1tIei18dy/c/Uw3HvwAyJy5rAT3okDWOvD1fU2SlTMBbCMhMifJohMJjUxeerIVOdjAVEUDJSR8Kpe4mhogQWKaFi35SooefJcg+j9llBdHQrIscLdK6Nkl3n/Q16AXf5z1FJS5veaa0N26QX3Y0AFtCS2mNfyiWNeGAic3S1NqlCkxubbJ6ZdnebXLFbTlh18FnS6UkURpBLGkrXSaiSctM9+AuOCGvWRED2pXYi+ivZff1HBXNsH2Mc/PA88hNDaiBhk4oqoxL2qhaVrv5vpLufxvmhlv5LKRULTO3FpgGS1N5VxirVYs+g9UTtzT1k5je7WGDlB3Cl/L2Lk0+ZPJ/QGGmFjIA/2sFjdh5aWyJoGnFnu1qrNXfAOqeZOxT0ylHyE4ID6YJsbXL/yKZ0cdTpW02q3mpBFVs3WM0ydvEgd7Un8tieZWbTCvXKaBLQFB3Cgt8UmnF8mYEV6EbVg9w7uX3HGofODG2fGLdAbOw4m3PPTqoC9hjUpc2ggnLEqDz0Em9pEN/zlm8LBcUmo0kSr0ZweKAOhimn8OzxQU8DjmH9yYQihbgGrUUziw7CEQypRYHuNxUcxzqG7oqMf8lWoyXSeyV519lEeX6uYdeyZMBw+fKsjbYF3DUweqTmK/Dz8zhE4MFNeflv2EvZMieZFYro7eyFCUWpchxkVYOi7pJRHFFm2qP4h/FXB2s42494TZ3Ld5hQV1mRilgVETJAE9xq3GfrMOkc4CttAjGhvcXLnzAix/vSmoXo6qHT6HrTbuVLuSQ7HUY/xAXQ8iFfcIcc2wnz5I2fnSt5PtiplYo7tcv4JdTNeMAhL0yRnsRCAox4UTtFUmXaTneddDBa/0PCotrl/yXGHl1lnqjGFomAGHyNbcXY+PJ9o9NTZyTfnYLTvNAtGa/pnA9WEOkg0lwmDFmT5yc3tDAXs7cyK877LUzU1YYrP1oRYtqq7n7Kg45MwvCGZrg2Z4unJcw9p1CtwpzsVtJgIyXnzS94JSljw/txy0QEL/1uhg81kvONAhDTQxUiHl3N/HqZAtrDZXvhadVFoNRGO89R+iWHWTrs+XkUwk1T5FV+quR147NQocCgfosFQxKsPPeKjLQXFc3if2xozgdckj4U/GSwvj31xuLSPW4MvjffLNhhT9aPeZzXmlXHNhEyCxyz8Bab2LPv2PEQzh+6RKof/ofA0bSnRsLGaCgl5mfRVGEDcUR662BMFk02ULPRR8YWd5qzbvn77myLhID1NHRzWn58rr4fjN+pjfqKRTBXewW7G/9os05wcVtGmuacyhgAKQDY3PbBbNlWd9hlqL6TzyoMyuhpPhWkcpwd7wj/b4Om+hk3B0ooLkPCkUTw3AeJh44xpz1wXQ6xjASeh2Q/OMotDRSnnV5m7Iyjss4DJFKF7P3H5FFbN25ZoBtVlm4TrRa1Ho4pQBQdJEP06CYELERx2zx0pQH7lwMFT8GBcwkGL62krhGQLh8XGCFoYxySLtzbkZA0XcEwLjRTq1CT7bkK/JnJ/Gxkn26P6kxe0unkdCg85R22H+b6zxF/tWsLjPP9O5iR08xigF0MSUj2z8e0nbYVFpHMhLruaGnvoNbxT14DhBbZ4wppCzgf9xsJaahtsnf5D6okndGA0zgg7XnqoF2rVbTsg79vMd2UAo8lnEZdNoca9mkfvnXPHmk+MjckfK+/IBklDInX4WV+dfGqx8OUK6KSj9yWq4CbpxN0Lg5O5WEDsg8T2bD27HVSJq2n2dRr/7o/+NFwvuepmaT73TFihgCyKM65s9CuT7dTOMaqCFqcVWcHuvWD4jZ5FA40G63YZ0ZUrMLguun++HN/RiqZSusCJe9osNkOaaB2mA9xoIfShULfVjmAyb2llnsKDlJVwjFfIRBcQsMYb1oUKvEcHf3sGNpOunrhSvXkK4oBPWqN+njTjwYql3Ur4QlaKu1dcUxOdwqHStstYmT717gwWuWktvUp4EG5S4xJhU29feTw2geStS4DchN0IOEFG+dTaWhTONh9Yzl32YcENY9hVCPetyNRoaY8l9oWNVLC7JtGlYgZ4sDQxqV+tmF5maQK/OvFNQ8N7QQbREHSske4IqPCmk954/PtESyJjPTVNy+2ZVxh9FADomTCNjXZgttQSh4ZeXSw9q6WVptW3vt8S25aZ7hf4m+d/fLYlI2Rz5BuLd3yotEojym3ZXDszNbDiN/wdkbryQL4xQL8ZuLLEwIvj19uAnokpYhCaw7NJ+3i5kLuRi1xEkn5MzFKZUPNIdqUpMQOEGmstJoQu582bViLvrfRhJiM7O/dhMIiEpeWCLRcZsRPaJ5W7tJlc0WNp25ljOLgeXFPodevKfbjrmRoIhs/YmytUX2e8r8NGahd8X/1EzwRp5iohprGyktjwE/c+SeukAsWJ413eeHSeMJRyAHktRtAhfwakF6akHZpfqinuPsacY/vr8B3+c2mnq/zQEPCFX8hg50qMYCwtj65F0+iIw6jAJNeIWGsuFYgUZ9SHV5f8SwW5odArcKLo2j9fmRGpyTLppfkfDLD1AjE0WwIIWJNdzxWUUUJnpP0kAErmS8DSy5Ww7y3PPKL8QlHlADWsl8RxLQISbB0AZcqFyjuz0dEGKppuLAhF7FOJFsJxnDvTwoLUNrKxDnzVE5oSYDVrjEP1FrJfriFsX0pSYlgggahbmVYuyPHbu3Fi8F0VhPmU6eimZoVAmgf5RI/JngVSS8IfHWGron9aShj8CxNVQHmUKUqb15IJDB0xRNZCUi0fcJArBwowu26mMMfmk/AbqzFzP8no++Se9n5b6asxj89nakWRV1QDqtc793Be9pz+iLwS3TIBiaqdHcAZApiHe8yW0unIVXYV0Rncf4CPes7+1v/WsTND3+H6DUQ/0mhIpZJ1n0m9fhsx18fukQ6Q3hhMgUnhq555y36RGrt7pYJRhqorrQp8xljhvAaIJSf/Yf+pBDWFqlhJOo4nUYdozB2hyTeY1OlQgX2Q8DlvAtYH/eCZ6EokGofoFPfkM52rlaDHmHfthdOZYAWKjwQS9FkFSATZ7qUP2pw3iO2WQkrqIjyjWC+n0NKdpbJyfnpTLdgy/zHjU2d7EYr/HFwq9wstgQgy2C2msdTMEsWUegQxM4roS+84btoY3thmyJnEbbWVnHFWBPh3LuAkAE8vbSAMvx9ub1efoHAYFCe0sHRhRx2KjRIMA0vLouRBX9YvD57oTi0coXtMBJSqJac2XcuwtPZQ0xOKJIdsMPb1QR1FRYaBmjfbcQePG2FZaHiY/Cr0bpb8pO5KxLhYHm0hwZ/o0htWebhXlIPMEK7v/EcQIgPpIVhYPKSh+0Zb+EJBeY0EMDE2iNee3KfBuDvABannu8ohkMcI/2hOvobgHYWdjacg7fCILtN80VriRksfKpzMfLKzdzjNfe6Pqdvv2WeTgh0SKYWko/lgh7Cu2A0TDF93+Ye9Iewqk4rHExnnn7VQkrLIqKvxl6CKKfk48wEnhSDl4zXlYxkOB/WcDz+ZccqW3yl0+op2zxdD4bmG19vNEZvFZ/ybd14SqKxoMABxz9a8JHMQ3PGV0XP5d1OpEQxxduQouP+JvYlMSXWJM51GUJ76UBrdlqTm0ONodJqe845steCiE56HCD+pv65JQMTW2Mddv/OzwYaDVWCJJiO8nwzFk/n16VSfSiqd6bKYxVr5NW6Ww/072abPMqdCxxFmd7IDUPExaxEDcam3J2zy0UEQHe+ytcrNUUYLxdbU9mO/j0knbEFJhOhL7EH6yckyUbn+rR0irMLPc8zqZP6p+eJXascqwle/dt4DNYP2K37YLiyNtYYQgCtR0oIqASCY9ZESKrERaN9eqo0Yx308tg0ohuxAvrhZpniqClOmwKc/20BcXLiDHzukAWhAppbA/mAPevD8to9WNVRP9Rk65m0Yx5vvu3MAtDhKIQaxsTqre8U44ruVvycLBxJaM7A2QipaQ/J7kTH2aFCxlN3oRy0epZP+NGoBHlEP2bh80HDJfPkfzY7UIZuuZy6xwvx0Gc8O5NEF+P3xgIkO4TwPXCH29j0oh/wXepJIIJB164v0U02LYAHI4UHs0qF53+iz9d8MWdaCtXpxWd/XWBnJ3LH4W1SSPWr9f4NPizy50P1XOW7BfFvOtwbj3j+pPPWOyKHnhN7tLFZ2ns/UEh6y07giBW2onUGA6Dpw5Xeb0dR0cqZDzKGx5/sRM919ORr9Oo/PVhJQA8jbbH6/sC3ooihSHwSDAOOUxbNWAVosJbNq+Jeh68Y18OdQc7IcB9F8FlH+E0WJfHR6KyUAF37y0p6PgJ+E7Yxj0izkLVKbY39/2n9Y6e9CSYiLMyvXn0/QMkAzWMABMCkXCCVrvZDOsXznO+au7OTqa/pZau//sT6gxXXc8yParWXmQ+xC2ShErkMn+NHn+aIu2Ca3UdeK3sbdHlk6GpOreGd+wDaNTV+Gc8rPTh74lCwTAfYCfZ1M6TsDrPdAf3xvC7k+GXEPD23X6kYQ6nMXdete4+/rw1pjE32Dr9OrSXk4gr/nw7t8S++2RraB4ApE82vQJSJHHUriy/IfXlcReKIEWyuM2JXMltAjre4XeQCZ0YUdmMH7CcuNOrUpLrdK3eT+jYMrYmV2HbLObvibYLPSZo/Ujj8JfUxTlZ/bURnaVWSs53ln6LRlYWQSV94ESU98s2HgL+hIjNdhpqneIEKXkrMYkKlz/BVUMAfyWWkz7tO9CXXue3629a9xvTjv4+3OIxm/sozO83qNZROr/sDU+5OV+OLx+a3r0pjeROYe/kOHf4LzHXUtxuZSKGLo9dR2vex3hb4c8m08BeC1EbtAED+Yp3fjNrvWWJlNOc+BpWC6Y3SmcUn9H2WrvrggIw6/HAJlORQq7TqTVt8QKc1nZPP7BAIn0ozvMb2RXE5bTeoT570tkwlVjPbqa+fG/mj6uKRnVRvzB17kSzLL6DqE5VhgB5Ql9L39t2XACQp3OITR7lEfX58LQFCTc4ELtNlE30aRIWh/575QYD5KLESGhCASVvIH5WgbDunDemPA6RUU+Uaqqqadg3751IJkW+rVc/4V3erF4fNChCyIueMx712HchYui2Mt0tUc2kel+bWW8RKPvFt1oItuLPZu/KlFPMKTwLmyMYoXH3rWmQ6Rl00lcRG1WdP0SZl/8c4XFAgTCCoKX6y4NyKfCATZc3goTiiEOzvQvwZ6ILuAYOlpQU5KW9wD4SQuUGvxOtQOUNNWNrc2EAK07NWNgj1/OO+NIJZVCwrDRAFNdA7tHSwWutE9vIvXc4l6YWh2FM7x5zXoGU2mIxEWyQ3mVtQ85Za4I1BFXuQmc9pd2VQpph7FYBwjC3mKI1gWW6I/LY7kBjnB+YxFDxLabyM2AxNA2apsJ9syfx+gEkTPgMoSMyay5KZ62giEmRfCbcG1GDjHwY3wFZskbR4+b9rThiSUXD6efi9GLwHYj78c1JAjcV2M+oRHxfDmNwgHanC/zUSxoNWEO1yl8w0frnBiXdKqe5UqfSie4wIUC+EQN2YTyU3f64lEDzVOcBgg0lXY3SXn9kK6cynZFKQQ1JrRdYtQqJ+bmvdeDyeeBr/nwkzHeixzlTPDELFk9e/aNfrFZQuAVRURiDQ3d8OkV8EpAL4f8GXSF/xKvnp/iyWYuZYltQNoSZ+09Lm3BJ/fJsfsJF3escCGFhTd2ka3uadWqXGqHVS217BN+cPVAUAb9MxSFkwkFbXNkVy2va+GsQf5dpOtup8dygmFQKUbIbI6gAE1A0gRzf30y5P01hECACHhjH3tD/46cETtBVUkJsH+Cidp0QpRbM7Xa5HMKHbInURDkx1ilnCG0SmqIu6x1FQCUts0R15P5fgGRh0e7iP7zYU0Gor7wfZUNBzV/7ULGBlLEGzOeG69usuXGq/Wfx9SiQOUszEtlMz0XDYut9wXfG6GW0mF6EN2zvnx5NLT7hK1ACrspytMIpte0dITDcpEV+Z37q6xATKIYuF60ZAtMlnUyoAz1uUUFw2/TZ/Br7fCkPdtlxoahoQxndSn0f8695cwTHrg1vC08XcmPuqKgA6bONIu9g7xWQB2SJvbMuzQ57C2mFM82NMbiLxgqldK1KYwTARHwU1fGxebzskrIS2zkInF8gLPLClSP74BI/fNwJ9rjOPGXFQuT88lPbEMCbRplQ0+GO8i5wPkCQuKWUtErNMxWVGJhTdzvta+dte/2pNHnjqTK+M+eTIW1MvLxUptOTJIZcLH8vztCtRFNv4Ac9ZnxJhMyCTlv9vDoKQQWd44IfflpoimumylNC41aRA34Eg8KITr6+21xIKI4lu05MeapH9ewGLOU0RqU5mb1AvnF/gHFVCMCPPCFPhneTEfAbFaO6250PasrZsHFwn7yC2HYIsUn6le9maTELMeRZAAuX/LSBgb7Ops8dNnjjQWRe1jKaKmpsfw3YUuKPxvqM4l7bxGSvSd3nCWEFy2ZDljoiBY/lEzBKT25BJXklzr1ppPviCYWXnod3KsTgzNyDQnfmReQDzavcGY/s7DNRjTcvqPqVN21MZp51hLMOjY4dqKD4Sv+fwHSO9hQ3Trh897jsxzfxegxCnSpDXFz9+XWNXF85MCINRyJd2cnMWn3+Lyws68FtGfIcYC123Aj5Y2eW/dRHHcCYVVarrwM8Y3ZA8lzTF4zAGPJXB3mc2X4fkzS8c/ropZ6X5b2qcM5m+afafGR/tZlBogXMTOGqBKMIhlMdKd2xw8gRQerQN0xmV72kqpXTWWuIzM2NHuzhvP35u4jMJOvYrWSaakstZ66ZIvbrfyk6e3mKoTmWPSPiP7G4jts37tP4JxKVXfpO/Jkg6QRcJCEg7RKAFFPusAxFzdUkEiKjD+AV1ZkvWBsyFxgvY7yxMGTWZt3BemPHkpekuDFIwyQPtmSnbj28jAnBvEAE2SIxNQ8dpx0sabwpEclxAR1r7Vs0RuytwUDnOdoSUtzfUdTEf9aUx2PfukW7DgNfe/VmeMOffXUFo9L0KhZjeJs/C7TQj7o5EkUy8ZWa/WzVJWfCNFfJFtNlQ5S9gcvHkVxP6x0ukQF9UIhBrJNvJfG8gtvvaqIxzrLJpBkEBs5oMwQNtWLztlpq+Z8/OqE7ErLOXYLz0kxSNnHuA7I2EWfhM14a/xRwRH+Ui/0oSBvNYT0Ji1LWWyqQ6etQwbTA3VmGG0D+BEkbwqRwUECgx2FeLOw7/hWknl2FjV5ebEGPg5xlW5SFZGI3Fst/sJZn4zAsOOn/JdBE2XdpmFnVbiNklKo9AYNfEfmYjqBzcZx3VxibFB8B9xPmpxAFXlm0iYEMKKd66DFfZ4daJJoG3JQPw5OrRLX2gtw18pUni+cTCnLJrkRyBqIF6jjYTRA8v7JEP1ouJwqcwnbAmrYFaHPEs0Pgy9nbPqJqq1roIbu/gQqAT3WNR1KLkiFMt2Aro/wlSEaaXdpudVsATxddC09467GOBU7B+5CfgHb5KpFs2o/VBSrZpPhh6pXL8v/S2el9jfE7JTY/kxg7OPBavhVImcp60n8aYls+ST3UoYAxo1QMWVnvefA66YPzmNp/Tl5Fv66IgbepH/3T5XKPqaET9GVCfqVmD13d0mnSTkKRohzZrf2V4KeT5hxkM6W1JAFfrqrlIfuza6/G6DDskNRwPlJ4yebr0sY8KQwdOMqeNYp+pOPgUwpSe1PLsZh4JnH/nuHtxYATcYfXJmMVJInaogV8P4uZjMEOCYNhBQZ0zw9L7vQ65toBp0pBH/X+FajiTlFmrA2/MLQ3rEI10Iyul9LQonOTYZgGFrBrCVL+QbfW/TsaXdRs+G5moCVJ5q0Tx9exfHf+F50a1VA5yuazqYzyWHAJSNx0+9LrUwF29gh9PL3Kb4Rdy/ZXec+CLp3ZMWNgND65cAK470vgIlMWvyrVgpk3h8xa+js+N0NVbLHBuDAj6uHZoRMIcOg23JPCMmPtH2mE1loNkiDSl9gBP441mPfiLj0fly8THW82NlJH45uRYdbDytXO2t+DsSHNKbZH3qlBqDg2XOg11y3vTW8FbQ524xxC5cyD6FY/w9iTRF3MqSLv5Wr0RXqhJCm2nrma7b/uNMeNZsBnQaQ4ZWTs2cd2+MQN9ywptY2woqqy6YL3TcqnVk25MoEZGVuHPOZ5xwoO/LbTsLsEvppM8vnbmZT6W/U+VBCseOhZGA0PoyHcwHWkIGoAPKd/Kblg+M46h2i5mnSSuexjZhN7Me/3ROhISwkkB7OySNJI3BKfqkZGJg25g7xKMzDLPO0DtvSYMqAK2Lz8uHZ6+4kRyc9YGcpRxJnZspABvD0zufm7hiUuflOOdSb9173XU+f243Etg36Kj2QQ+Jy+XlptjFiBkclIw6/5yDTruupRhBwCDJSNwvN5B4NG+cp+ELYHAReQzXmE8IixxeMrnHUAxw+tgWr9gre/mpdml/Tq1r7dN0If2Qs+w8SCvVzEPpdDYyzHi1zUw46YVIxRdEWfj/lbVSZjXeJqRxuNNhpK82r/eAulyadtxV5+YkQ7QMrtALeKuByKhRgSqjXEd74kqM6VILyArq/t1dgpHuDZU5WFdqnqWQfej3A/BGdcMpsAXj9HQ1rsmg1JGm7NnNmfxAhHLfpGsV0MVz2/RNH6svK3xggvpIQ/V/AMXu63a3LGODjwxiyzEwf9/qu6RgTTZWFuLywqRedT+Iperi0Ok9vMau/+3kN235QLb0bqI7xL1QVDT6Tm4JwnWjj4sGezf+FuHyF3KDUkHNfbvxWHPSnSWni54VTd/w7Ol1BienTmlGfVjL4b7wtR42UjL1K3S15vzPpUTQhlfiawtjP25FRTejXqNH8DTkQzNNbcdiri39Mc75KhQ+9jujLadJOuR8D/fYK5yC98PSTHElDyd54J38W0Q0UEewg3yW3p4VqUzhQd0H9+Xv6BRrFsS7lLTUiQpeFsZ652P/LWGo0Ad+BVaLsJySeVGB7QL/P7+T9ZFoR/UdMjQGMnCK+85yFUH84ghyScQfOS1J3Rkk5oa2ybTYACXMceapWucGHeYn006WZ985VpPn3fuX9ekF1lINzsOzk9iO7InfYx1OQm479DSghGIjIhwc+SWv+/9bYgxkGcJ+T3syB3jELHrTFOU9fEJ1XmqtLS5hFHiB8Wh7QdM+qOUqX54ro8RoDp7+AQ13xhBo4wADbQhTg65fZWGmrOJLCrMNiWTlBKuBiKlPpmgmfBG1jhRxxiQELjWFKWwulwqjyo8T77vsk9WiRi6dTJuvILCuYC46xnbd5CB2zBE3rbWUV1SIClvU2lQlNFDrH3A1efzXNH5S79qJKvegngTZNYPVnfKXIxL7ViCdG3lPNcPPpIie6/y7Qio7axphs+v0buqUhHCN9Wy88WLwq8TxWBz7MSsB+CfoHJ8NNWnn2WRTOd2ffNO8F6HkL+bywMlR0E4KGyh04T2eaaBVP5qYH528HNFbQaE83oSKOlox8yV9RnbjcUV1wG1G/yt/LIEIt9du8YzXJ8U1C7QvagwSJiaAP698FFKfenrxsTYwaCjnMzAxfN1K3xNzD79xZuqk6jn3zaeiZDL4pibpU5t0FZKSsUoNxHtsz9tWnLtGAPjjUhhBL3lsIGY2r20x+RM4Mha0spnXR+m/eCpW0LUwmmrM+PO+hrKIWv+alht92ADaYDcnRTR/fNlt0Ru4t+WpQFbyY4NNQvT8n1HtVgIjme59bhYHUpYEWOgQ1VkYGLynw20cruYDovD0qjjggP5NrZSRgSUN1k+OpfFtLddrBGaPtiv/xQy8secll9SJRkbZ8i1kXxOkAypIi7RKirLFbCpsaWaNAEIpmzCtz0DZCNewQtc57ncVzOGx/LFSqYqC+B8pqtB1E9hsPW3qwsfN66VZoqEuqh80iOVDIrK7MbRt20oHGhkCy2D4K/sEv+7h40uNBoVDiEDyGz36tVfTWqowmjBcBHJe5e/L7rIY6FXamL3prOOvyjupNUBmcrapbsZ/YMpoU8dwNJHZU8kDOYGxqUUsIiepz86EluGbthUYrPXYr2Po43icWxfzjK4HQeNJ6RtLR4kelPVPpl6DDpGiH0xgR1XMdwl/kE5cmn62yu9sXXgtfyCqNL+iklYt24OI9+ZyS+X3YnAaalZiuOu2cwMDWVVmuCnO6PplYFN02jSN3Jkxw0s7oigSzH6a2xVO7TDLjlL5hCV7KF9hzoRHqtPEjlpofiPNJySL4xO3UP6qsGb502UU0SgGTh1mtts2aioDXx121JSaNZ+avcwmfwmrNsXssZllKdlRVwSw+crYax7ZlpbMSDQqD/ZYpq2glC5ZJgJBow/FDxSALRodlH8OSaqFn95u8NE1EzXQJhatVnv9aVDKPlwbHuXOVk5rptNaI03zcDAuDBRWehE3/s5xUVao+6FrB2/8sXeI+AFr6CvcqzgvZ89edzwXdbTqve8bkIwVS0g4/9YkU6pxibJ4wcWH8M/tD2lGAihCzhTZ+xvMK96wg3L1EzQgn9Yn30f31eIRqan/HyrOib0+pi4kHj/d74BR/x/NrgabF7LaMOlbjHK8Snai6/GY6AKOvlST6M7e+EsE6ZXLfP7c3up+WIQHECnE4NHcDByHhjRMDJn5+9iqZViHGs6T/dv7318QXOMStvZxFiZrsikEBobGjesvDWLuUofpYUZw78ZmKfqf227Uaa5kGBsBzCzA6oYUFrf76puii+xWFKVUNj6wwILM0aIaW98XeUPEjJdrMyWbAElr2CU3MfVYrLbuOlnn5F4cEN4zEA+A+Fi3nRAM4SIgkJcdvOuArfT2nUCVjZoa8BPpKY3p5R4d/Tx8byXjTn9S9xuREoJ+P8DsUYTc8SJKLF4fNTK1E9nsAFrzvhC33Y2oTtdpxeyehme9xZ3mzKsZYuNxmq9bqcanv9l+Lq4BSWjQ1lgG1gZdBKh7WfJtaZoj7p8oSbJw/hVZQx4Q4zvyMaBuHZ2ZndQWUH7ZlVg+NpbsbizhWHejkl5/mCuVi3iqRhknfBdMvxO8alTfGnzgGpeNzBiye+/9dZ1qFykGznD+SKgUmLNtXRE7ikJhbcQpb/3RWhy6W7C2eEOyRirxIPXid9Krt77m923YW00NNX4GRCP8DcuYeUTKikI0aBGiGApoB38FwFZ+TE8zgVTmHmY8MjIPpJy84NHNxVZhGug3HawPfqNuNSUq+DmHlBcLzaaFQU8y7aBRWCxfyFw909hYcxYSyO/5J7DxJvKRYuzUQAiuUsSBDBrKjdgtyKEcUwona/TI7fyytk5MIo+rLD4FiHM4wLkK2oYS7kJY72kwdyXkd/EzPndn5+1ocKCnkIP666//xOQRU0gEDnhu/cZ9m+qiJThCH6LJk/bbNPcm2k+3PCZa5ndDfP3AhEttjy1nzitTZsXgCigekAo8v7+gBQ5FYpP5QDGrbB2QDe6Rd5B2vh5l8wVvqp21xOWPIpcyr11Kqa08n7lpvz8lnCcO2vChlNvU3/q+YJG2fok3CeaPWV2Mn/l/noe4BSxw7f41Fzcj0CzBoiS64LEmgS141q0mxa97X1cLJ6snfsmrQnRbKampwpizorHS7xdeYr2U6fapQw0+78HyaWjC8BECt3riEqZTpnX7fYD2RBcXi08F3cOdi2clLuomEM0VkJZt3WSeNk9PSW5ggcDKWbL6H8VN9a24P/94riuv6wJei+bSowm4UrwlkVBIqwj84M0j/XFTvrJD9S4vFPYG1v/mVnACf5zdc+0aTZ4MwRN/qMQXALd5Jelqa6VKpEtpqKLV0YaH61vh3+p0nNVixvFFu7UCu1osVjkAfjHz1BW5dGoQtJ81957EEhHxxvYmafN27hfjSqH1e+oFUhoO1EoBnPPKj0AAQTsxXkQ+hotIYKFWEuqwuKimq8Vj6pw8Trz1hcJNnspN+7eM86n0PRrS53UEoldvjlOKmdn5U301Ge47AIq2ISTb3TUy+GTyF1BPS0SxFVokxY9RME79uxquQkkpx+R1X5Qpx0i1KOMV3oM6/IcvvCHEUOZE3vPe+T6UL0cqpZGEScbHf9pEl5GG+FP0kRRaNsiwg97pt4brqgXiRnRAxvwhsS4WjJS8QcDDdp6MntEOqOV/bVxoVjliqlDaO20EJjgaiUywdXEnKDsvgrQhsE75DsESDOREgoM5QQXCOa/PHqwuKdXVVGopTi5yn4JNm3d2A/pe5QxcMcbijYogo8r56gdkVkfJgDU8SVVqBhGzhdeCWKZMPyI5b7TxNm0LRyHWEUNtrFwPTGn09DIoCgTAnIz1JfQIBQtA80GGlQDmEkFwnDymw/VC0E/EgxF/T7Z6oCb6VRJGRKMxmaj2Fp8dVTqVId5xbfhxiWAkdyP0PwJIEi0oS2Li/y2fsndEDAriXoGgTjAmP13pU3cmz23fLlx4vWT5N1wjCNavVm/EHJZCXsV52XQyv5v9JNxgQpLTInAOFuklgudAVSFO9tVauCsRlZNStMO+u+rzhiuKcrwNPi8ZazUd6WmLy/b0XueDMiqsKCr2nE7aQrM2n2lcvOAXi44ck+zFbZdXRKPEqjh9MQ7SLXYLRHmvXFAG8XRxbD+Nrt1AniP/2tBSNrS0RXS2jvT2IbEy057lF7hXc4hAddWTr4nKr9RJsg5GPEraMelsL5nv7Ls9vrwjsJjuypfT0qJIPKwm/mJ1zfxY3CaFbVsvG3q5keZIsJsBhm5fGcKVHSB6J9zDiV1J1YJt1SzRQg2UPUtcLuyS3svx/nhU0dTTy+ETvhA8H5Ji7YO48GZno+oZ6ZMyQ8Kxe4b/uR//DKhFup4nb8oDJNp1ZGdXhEXxkaWCwSu223QpSjo5ocDq5Lp0cVRO9aUslAt5CJhbf3g3smgMfY+VTxPh6HQP/8lwt7VTefC7orQymRxxNIsrbZ+nn0GjJbQrmUHhIBxXRnGK3mIfpSp39PUlpCvciv5unP6jIpicT9qg3YlFS4cKXgRopX2U1erD1GpO7G7H2FO2Pit1Dt7ylGAsQmyhUIcT6ObWHLuQECVH/cptPjHplbdxA2VOPTIt++RHw/tInZaGK4znG9EUNToOH2a6wNGFZcV77CcnAuV/ukwuVDB4ZqNnXmYOLCY/xPS/+S4cgOwS9ePI+FwpLnOPFyJ3AelMtPNi18kiSz2t+TqshXtocP4KcgTjDGpeDHC32VDG380EI2dCELP9y8sCZDGxfUf0ne9Z1GZ1yYjynTUkLOsSEuwQhwOgABSzwXfmhBQtOMEvEHrC/QILIEw3BSHkdiIHZO4PjA7aKQbPpNPnwnkwM/SYaBUuICn5WdktkNwgt6ynRB+JGRguqMrsITEKOgZBUPICv15DYds5OeEyNTO+5GOf6lTlHAI7ggjbGFgbjyrcORpJUghsQq7Gm8Fta1D24SiwRc/3NUzNaSI9sl4YCJVlL7nLEw/LIY2B7IYt7YAISMKsPviWLzIhk+vwh72rVs7G+EhLCudntcW3taiFWrc8hkrxAAOGWppk7Vhi16KA/eRVlvxdyP5IXoTHTFHYHBG+NSf3oyR0Y2u+DlWLp1J/rWbHxfF7oDZNPdrAsHqeaVZ+v5vbL/N2xFTHa+tJJ2sIu04O2tj476Y7BR0NAtq7y5Ei56YAqpUj0wWU4DaB4JQ0xESXMmOkOoNYD4ndCJMgIkjPUqXM2Ogs7FJ8iW/0G4CtETDEwjptHbiw5cEYnEGVF+dGuvX+mHktr0uh/9DznxcPeXidCDeGSOh9mvVNvR5kBzrXMqcbhGF0wSE4l8d8CTh7HOsnU7Rs7ayLGIYSj5rRqGHl8Cfc06WIRAAwW87+KFMzZPJJgQUJn5+B66PdG9XdeaR8LpDRfDu0215+QYzAPPpHbi3oLu8odTZgViF4YmBLYz1KjLEX9R2rhyHByCXD92RBmEt2NplxmlKxeKwtMohhX++aHgr34xQiyhrw0ZkUvqf4Fo+chv/WaZMNV0hl/MKLRPAgRg3fQpbp/mhyTyocXywIaD98Kfn4juYOiSXAzglAsmnOHKD6JzCDS0bs4RtKMMJaaIimVpKmCjXGU5Ihje+bLR1j8HrR5TsxuYS8lwydK5tRo6av6QPCn4sQ24vw4209HFhsaqfkSVmfUWwDbWLFkx19KW/PLucJF52VU/sohjCOWLCWtp8TGVI+neBFRjKbEz2gjpgCXWwKVkSvpjbLtMCjT6QBd5+J3RznlQJwi0Pmtb+yMPUpicTl/t6KPs4sJBxV4/FbvvEyfpeRaFlICo4JGCkv4N8ht9+2fwnf4+R7xIt9R1jFTN/bDaYztzGBHKJSLN85I6ggPQZjra87EHYh24iALg4da9o5FMP19UyVK92P2cq1wtmCtkGG7+rWy7c42ZULBGWBi29lQVHlkOqLeqfXiZLeqdZ/jwuo0rgjmj2y3hElt9hhU9rOYXoOeIDOhpfoz9eP9VhuOnMlgfIUwTZz+S2MndJWbkJ9ZzLNGfRm3kmr2meg6MWlqe79ErNndmOeQ+348gb+y79Laxe4VvvlYsyxi79G19BmRuFEUSyoP7jqsfx42j3DhWxBH9DUq+6HlSEDKzMZml5ukvVM0LN3N/GAJVJlqr6e/wN91ocv7JFtCyckC33CgazY6OAdnduED+RXzK05O0aznoxihrKaRdk9LAoqtvbhZCEmeafaXFHjA9ZDaJu+m5BIgVfZrb7MQbZiF/cGi6SQjDOTYzfzyXGxbfHw86cPe8H0dMp9w47k+y9Rd4IUyZIHYzvk0TtiRhG8JtxMBVoLzxqYFGGryiFO5Pqpa1qmZ+ts7BvcYs5KKvVU+bVV6I40jb/gqIGVQ67CspVH4sMrEYqClRnDQG6AcjeAe3VgnmNAZV7p57h1Cqv5THl3UGk+2BBHoOSN9oPUKNBx5vZqb76Dd346P2scKPWzdic8wj1GTvyEgrs+oeVazslFHpN60gtTsaljFDHjbsGDEyHb0358Wj1uAk4vrccccMK/YXxWSRBGMAdKIwmJO3OBktmd89TjeW8gpYSzgUgoGimc2ztMTmaiq0qTjF15+OP3RNpwe6MTXojba2RkCCqhBgFT6ptA6U0ntABcAacf9HrqccRuCF++S7T0Hd6WE2Nof0QtA+n9zWk+37ogK56ZSPlrr/zNuu30Wf67ZWorB7ZEezG4en3aPmCXiBeCckEfG0hurGRA9GzeaNhYil+VdK7daVoeMrBLEqfcL68l8aMY0Rjzxt8BJkBvt6me6xFK2DMmn7YqGVZMnKh292Ucf0z/WYbxhfxDw61/nY1SnzWua1eoN/x2vVGBemlpQsN3iaKhWKvj8nVQGR8J5xBvxe2KHvaQ+Zz+EuBGGC6oEcgu4B+n5Hj/VzTo7ARhyxW/ImvfUXdg1j0B10RWl7yfvJayfhHerDePokG1MlpZ/GQ3xeOlj6ZbnOmDQTivvPI9MiB6YsDV2zY+yFRA1ArKKdnPJ0FC7Gx+/KQP/NGepB4FsToH49ab1OGRKgvjDh+EZxZa5u48Sf9LuOgHiD/uulU40o4Lq5uIk71F9YdYIq+JA3XqqB4bQflEVPAae7Gl9nL8b34+v+VR2c8lYcOqXAW2e0DDURxB+Zyxpp6ElZZxcdmsgkksm1H+zBfiY6uvIS8RDAtUCUMkMH4l1yautlv5DoTz467adAEXu1e61jjkn0EKo+1qH8GBuFPTCKW+E+iBRDeM1e4WfxNL1pDU5JnqwhnhI3fCqgmoc/L4+qx/Hd9OX5q8dSJ9SqGn0yM9jvr9R9JwxqvemF7ZBG6uEM+a7FuF58v9Y82xlblyDQyH6QFJxSUgLT5UyRlbPPjTgpaoEn7B1DQ8FW3PhR43l5pUeOd5Kw79QIqMcJSN5iLc2xgVFa/w2coFNqD7pTxhFoTZ2tWGuo9AkzoNcGzC1/3PP3IhbRMVNX4MDKEhaSLMAHxG16jy+ve08IbuiPt7d+au16dGAXBX+8CD7PkuUsLO9Pf2V1KOIqdx7VcsLZK7pD8rIQEDRhM6B8LdGfY2Yp0lkRVd9QpznjZi4NvUHWbWvBPzCah+K43SUwR8/1NKcentiII1u9W4yZ3ayd3ducniaUUSGhEaJdrQtIzW3cqKY8yLyY2KDuJf98pfITaOOtJ45MXSlLvQTj1aJ/MWVc67FKrAFT1D/EGGabyFOEpW0FwZv3GuKxI0JuYi0AWk7qI45/1DBfg8GxR7wQ8xxYqAGJQ7ICyDveP+wbx0G0A1imGnthMR8jmiuiXARqX35BOn67N2U1gA/cLPTNDAYBXWku89Z0MecUHSKC5vmwkxQvWAxQGWDGxE7rSfAFV2fEK3kXTN3G361kSQMjXYh2J3VLYQiLxK1xImz3MC5R+oz0CjsUNzrs4uYUDm72xRfpG88QQzq9EfafrreCdSUxGQXxgOANzuH3qMG5Y+B4rht3LQvn9YzDPDQtUQzWCYWxBNNyXwjfVQhY0OeebGhpG8EwbyS1cjGFXohzgZ/Er7z2FTTo4nIp+4DBbtO59dLJEnAKm1cxukorHSJdgXjm3GGRaDN/Fw2P3Isq7t/hG+kv29qXrHwpSt4XPV8nrYiBW+dPFwsbSwgf/bg8kaihLUsl/lAhoP4i2ufBtXKusr4epzKjdMARgcEQWGt6lvYPhSnx/Bgoc22+l6XRTLQsceXK0duTRoM1nR5s6dAbBJW92lHmQVXh063l836JbSqMAmi1a/wIjGyPLpKCZwDz5CPMDXe2CalXLXssVfeEX0TEfVeHvMH1iCtJ42gBI6n9B/SlRZaRApv/q6JOmwBx9z4659zZhbST1FDN4AmN4xxRT1cKzOi+MWOywAtAhzMsCwfwfUoHHVgsZud4ob+KmHVjXFtEBlSTZucYqivJHB15/gVoCE9VZa2CuscSHdgNFAhzNn7cLY+CjWo52mFnmpke/kuuN0S0u9sh13APS9k5h5SRC6Q/hlPWQNasTck3MOgk21BkjnA8ntuQ/OaHZIj9b5z609awCTLZxrs9QeNo84Tv6Q8aWG46E6Lhcl9tyVM2QA+1fBBQ7WCm94LOJ0pKVk2c+uEgnyIw7vNWXOIrImo61PlLjxGCo+BkXX864QZ79uAW8AMWwB6FDog93Wma7DZZDHi46x/u0y4bfZ2Mzm9vKD6uNfU2qut20shpVMVNdik9mCxqLWZSoWzF0flsC0kzFWU9gzWCEM77bppXrKGXQqs1r3//+KBcFhQXlj8kmfhRpWwtVcVZsi4fjX6+YSsLjdcQpXVvSwFnD6cTsVjRRIlk7Zd085jJhT6cmOxiyAE9wHd28SMaJTdXHHtI5XGerMT3H1wTP5qQxzgsYPZnMshivYgcotR+dJl+79cuG21LmWu5e3lFkk8t8N8zClIuMjhay+blUrKN4IoUS7OZ+z/aSF/+ahng/ItSOsA1yeSA/G7fgjTyWkaptByvRs21Yis7zj0nvZjAAJy00Q/a1Th/6Ur2FQH9hfidy52gkXv5eTk/uTxEvQOkJU3rCMnGCvgqGNpv5xG4MTT54cRYbsZGwq7WHRdSa8J8uMPtIlPsUc6lif/Y4bKUQ0lRRtnsi+CHkjOWMi110hAQBVQIUWlZQbUJeYMLIkOGkcLuzMuKJfX/fHCj44t06xDxSXxXkCwXHX38W+0PsJFbWuQlZI/XkBjWoghNyTxM5trjWR5/CTnw6/ZI78VTX6jNfpjOT7ILFj7TpXQxVCeHmQGA3DNRM/ZCimN+kPNM0HJZlWK8NH+HCh+BNnO2ApAWYA6OFIBPkV2e9VOe1s482FpINXuWytCBkw3H7jj117VksuiNApGDvjUvH1+9qUeLQzmD12bU1WFwi/okNyVAYUNUIC1UB/HLqEgvL5SXuIlOR3J3d4O/zIExbIURc4Ipzy58sFytbvQV046V+WUTbt+aT8SW5yCRaK4bpoFgA90JAiXk4z6ErSmt2ZizBi+23AA2GWp9I0Yc3ACoXW8tCYR8Zs30kVKgHLR/0PbGt/xcGJspAiX8xtPEUPz5ulI3ckTtkjYjjYcthpclEWKH7EUJL0t2jI71HGse34ZUMk/lWl+ahTAJ7fqpW2aqqQugZwcmhepyXn7Ax9AdwFGIKx9Xn+AE2P3IR1T20UEqaQsBJGKsUqh1HO4lMgYeAcqntXsqT9IuVYmYmSYqqOe6Msrh4tI3/ynESPh2FXfadwwcDWr/v3KbV9DmLkUbk9MIrpf43s8yFUShtAvmEkp+9UjIiS8caDeRmVpMe2MCUglRbt4iPuCJt8CHGVKAm61Y2g9/pysxoKb/ojOA2vEppg78+Jko6chw2d+rJvP/PjlQFSP++MzOv9MbpVmRT3iYdXLoj+mV0vm56ZeK7/29lgCXB84UOl+QecypEirVYB0LvddzU9VUoOKfljCrLr2C1MNgUfzqWAHj/be53QFu90rmAAOltVXknvLBZ5flHvsBKAfmAtqXrgfLppAge+N43rYg4sYfkp3riHZRH4A1aj5+CjBDQ4P5Y1ygxVpdmZPEvd9heQ8W1KYhySP0VFAwCxoe2wNm8TAWjefTDmaQGq+DytNxC91ZV6ntF2dr88w5D6pJnXI7kqS+za6L6q09NSYfwvSjx6QhOo0hCVCIyQZG8rzY+BmD76fDI/uDlR+J80rKolLibJNzw+rW6CxwSvBnbakk13F8ml1d3fRso7ujgyaCIxnRBHO8vED5jsDPGMRrqJu6jhOX2FsVlVJf/tS4dxZ5Sp4qTDf40JUkP8TFUys3/5c51ge+G+kO+Cc0RO/Uw73d2RgP7x16+3xQU6FPwmN1kx1vnxt4igR5VNPq1RkQWkQNIhJDT/CEPg+ZUBGxLM3FhlR4FX1lU3sqP9kTtjkfxdRh4sLo9sFxJtN++q71BSONFLRQ+CoahJu74qpc/wzDGbxsQlGMpL6Id1kstbdtVL8iyeBHO8CD6pCTeJ0Yvsf+9WpXHZmJaimcCBEw0Id/B2ZgFd+E53+gBzuMoh7yNQnYPgOdLY5jQtaKde9MGzVPyBE0Lm+PFXsFB3nEkDEvv/KC8a4MuZfJSg+g+/uAWeTpcJOga90PrtzFudk+TQ975j7ryECfkF66rISiznY2B3aVR0Xbf5+xIY2w3auRqBErMKl0uaRs5DNamRloVfQupFTwfMKbG3aHFaJ68m4no7Md8wTqM8Iv/nvdthAhYHlvKtpj9MXery6ya/+xW6kPQQUbcIGM1CukTYsEaPrVlZtCByJcFIqf6y9avzGu+SCp/b+EDQKhNrv0flMEXRe1zjoBxwk9ixTnT7Z/ns7nHeg7hvPEzEQut/bXZjLHVSIqsf3Q6jPB8w6FDlf/OdM/AmsuT090q9KpZr8QlJsuDrJtepn5nRIQ65k1WdkmCThywtlMsVO9OUfuH/DBOer35kgEMD0Kh4CjXR/JTnmstKC/SH3NqlVAdobwQbQyseFAyfpU0DyRexyL1eO2d7sECWVKuuu0PZ80M5cd6ZWGZ1NXpupmS3yjDfXBggIqzC79+hBjq5bNNnj+obYeHzRaVL4IOgcRngCcNxds0pcRLu++a/G3vP/6svcp10TiWMNUKFtPW+qMNXsPG5i/kWXJiEuFWHWAPbsFE6gWyApRB/F/nR2V4jpxR84l9khHJ7QDzMfwetIRlGMMQ+1+24E0jfgEDJy4plw2AWd8yW+2Ey3stk4uYqCPz87JfkEWZKwfdLq9BJOu0GvHodnn/p0TaLHNnPu3MvASSO9yQs5fItFdFu6YvJfR5KhN+QEqvkNvbDRVaWAQLd6tHEO70QeWb/GdlSfUb505LBBrtcPjhGmX3SPLpsDEDjp/OOZa4PF5LACXy8hgcV/u5ZtAvUVTfI3kXnMw/eG6WMKK2ifWPUy/FW+CCbjJo5kuWWO8+OSvWCoQUHBH0j4U8QvjQgtjbUIc0LZrTgKk7OleQGf9JIlRRHlvjXo8t0i/RxW3yfmTaaT16y9SIjs6bRd3tzY/lBf4bq/rs8PiRe+MxW6X0iRopNQ/ZzNwtdQ75Dc10tLXTo+MjbF7vKSMODDStQICYHp/D2TYG4k8YGEkEYyx/fJxr90e3Ue505IR32Z1bNL/TTYPBaMbFoRQPfDt94zX91Bs/EJNzVBoZoP+nqGPrEj1QBHO6xQoe3/+0pyR+J6dccRPxAckDePc769Mu3S3yB7UaZ/JNiNfmGpDYnex/cAT0E3mFQIQSxsmY+x39Q/o+lXasVFFy8Y+fReXwbUanPHLwav5hJM/gPSd8y64bBAG6HiEXOFhuJnHBpilnLA6/BtlX9BLntINtXUCXjDPAWdKv5qBJGaMNx2SJwRQSFcqdneOgEL7bnkZ8jTObGsbyK+JGcdHCzoQcdx6u5nCcBBKFqfaM4Qhs40lSLuwqYKeNShqN0BaLVfrUIQpOzCd337/mz6rr3lp66DyIpIBt4PDS1se3Gm4lU/ZZWRyWoPSfMLRm9a7cuJHxuVO2LhiZXi+Iqokd+J+jfwJRSipl+EK8TeVDePXv1sMxk24RKlBFUlal21473oFpm3DKfczLiwOH5RbTUXKKG+o2/U+pTTWI4gqpgJ6CVFaPv//C3M7/IqHxlR2zdg0/565JBmMc0O+FZQhBUx8Hi03yGQ57NbMKEqBQvnUhviy76OMjr45KlsqKIRousWPtGqCKPr9Pnh0rOhoi72NunFYiFXCoyYdFbLAfvvaSAbglpljgOJy1WFL3bYRmd2gHELsqbaFquPoONYBH1GTIgRrC+r6dLVt43NnDtoEW4J5I/jBV5RgRehx10+Y4V+M/PbfINVJyWoDY2M3w8iISzOuDKx06mtUhD4r+heEZb2ANzB+yVuSoaL7HZMsD6ipjTudqUAv1KBk3qLB1a2lebKmYw0xY7cI8zraU1QlpZqEwMp93iBYehRARojBR9n8ktH9rZjwYFVc7jMU/CVDkip5fKbZmSEThmZNp/WHra1t6jsTGG33+Ergx/vaPrUs8qB9Mn1Zkk7j2vF7HHjKMOrkgNRr+V9qoonQ4qmIryL+mYK4+AaTf9vP5NYqrTVzZgtShoWVCeTKVlk0c+/Odhs+KbVVlK19IVmXHLbGc3tcIsAeoQ8ByHPUeUIii+7Kn5IfCidTqVXyrZlIezsKE93CK4hxsUVkaUDDwCL/d6lDuaFb6Fl8m7t4Z9S8hoBvqhSt9GsE59ThmiOVn/ceQNRxp9eKztjWds3hkNkJC5C9fu5iZ6IQot9CnKfMi4E+yErPiFYWYOWVzjORBjBSrWY2GA/Cku7HpcVlExOrsEEA8OzYB3I32Bq9LHAuIQHleMUvGw1OmVGabLdxthpkRyjcvzNBg2j93xWlv068skf4lYZ23TkXtlm+fGmYRkGzB05FzsL7ElbY4XS+JAe520S2o4r1BzTY7kV36/X9LjWYRTqQyxIRpvamoO7RIX7Ax6nFDu1pEq7F7NGaZWofW1RnaM5hhaAbokBkPa0JSBno1I+XZdPEA5xp2/6ahrVgNeuBI8HwMUvCG9V6/UYzsYzhLJ23fScnlHcMnAy/wv6elf0JRBFHvN2j02NCl61mMYHotiBp92XbGIlF0CXrlKBC0BT/D8xAy0exgfOIHJUnp3h28vW1YaVN/TgWWjxcLrQp+TcfaMGJyuPqeqYBLYDFsqtFJOtEU1RUmpX8LqGynaBu6vpcWly7VRZvm8UVBv3dIg0M3nL/f8udvUFiq7rU/QmWpSmqyFRa4LrAD5REzAUbtYmUoP//DDonOmIr7VfTGhIn5SbJoJFLRlkXlhXr3gdI3zSzL0M7MOR+D/4vJcktVNcxBYrm0IutbBiE+5rYxH7cjwHcoWDKMZpshRLa6lFYWGQ5BGIq8ZkEr8nAkq1dSSPPYZcsMQ9tlcr0/i349wI8AEP9/CVqo0QmRaYiWDGehD9eeIiWRmRBDLGzXyH7lL2fagiiG/xVDm6H6swfqB+BOL2Q56MXDBRB3Ns3dcHm/3blJo1KRzeF2WJMaKqV5hsduLlov8YJa0mv70YQMR2N0/u6Tw/tOSTtjPQhY4I1Kn2bEnCGianIpc2g6l9oOcm0CKr48T6q5rytU6RGkqnJgL5wJyy6gmc+DfQZYsLcoHXGih7+rrErp+J6z4VPauKrpvk0VvpQKrfYrET/wkS6crOM+ABqh0prYv8FgRw9fLDYYpm62/te2hpdSMFPil57IxMqGapV3gbSInYA0OgZDjcKd1Z4HYVYdpnwxah9SrVa7cGvG0L2r2rMbSSpa8Sk2OyYlSAL2WyDBZpWFYDGJFpQUtrXzdAiO8Jlj1ok/AdMpA4qAVqneS4Ee2iZebQhaw0EHfqq6K2w5n2nEmXnR6UmEc3++fuwK+7yf4hqTLu9UbZAASmToAxgSiHKyPJpHq7EBLN/fT/LPrUh2TS1L81j7wxZKN0BjPjRmUPnmwt0wgOc2o+pL3E3/FkKBTMRs9lGWfCnWPNy/sVp4lfFXsV/fDIAAMn7fQgBxuVZyr2npKPPn7YHwc805wP809HBq6tG7c1PazRco99nculHWfCS6/PB8IVZ6kpiWBWPuH1pJYQhpIzOD2z4zhaGvraTcEm3WQ+OSan/z9xHSxCw+8u8BXbb5ufBH3AKhHKWncz8uiFB8C0RB6MGnbMspB17oofNGRXttoBTuNZq1cCIIcZbNCEjC0UVxsjOuDvgBxX9hDFHRVr0YdVQkJ1J5h2/iEXXq1stDsZGpFBVMOHWXTWRBMsPQ1yZ8fQ6yW8XHDckkHQPkIntUdQYuE0ivmTKVh8mGMglj3uE2LAFIqNK3Y94GM6Pxh+rkAg5Sq8s5qStlXlvNNK7Cl+fDLh6zbVR+mcaiC1VhQYBuTkLYw0sETIdI9et87XrmHrzXA/nzqwwtK82JvU6/P9xU3gUvgc+oTkNugWABkGy9oZDN+63NpqHw6MrUKzcm/CD4KT/O/k8URi+DfSi5sio8UPSeUI37Wp5SQZINoNzMkR6w5BbrMUdJJVhQmOJqSJC8jLY0a1EkIzeDOxBk5zl03dAN1/4QVV8VnXlOdjovj7rZeVb58otP4MGkD49IaTVxKfN3GRWzvrcIfIDVMfQnZt2PdN9hTv2I5aUdiPKXoP4y2H9TJ4UjSmFm0g91SW9YKZbCNAV0GF9eJN5czzQCqqPzEbowf4d7WOYek8a78LpmXLRU2m+8I0beYBoZFJluYA97HQwkYBDc857BS/yo1HsA5NdwUzW8Gt1t4iNQDaFfyKa1keP4ueKLSAo38jf/34UTjxKdhqc9gpLc2EYR/8bewn1q2TEHtPyLbPP64oaYNXzmda1W8D9v8/QD/D7N0cQBqT8+uh2Q4ZQKJwK992lGzsdELI1F7hgNBYw0zlnpEFu7caplLvf3uJhPswiZtvBdPfICNK/0oq9xwP6q+woTmgaActK4HU5yY6F2kmTboeW7ABE+/qTadVMcaewgzsAOGoM9GlxA9CzGjoTVW1mk2ZH9K/PMwpXicqcctD/dptZG3prjh1Fkj91ftGVSshnA/xPhRe7In7FLMKX8uGntEk44/l09WucQa6ItRWoCAyYcQTbDeK2TTxW2YduCQqO2ogbrzMsYHwZtyBVvx5srGjR3CN5DyXaKb7ZeX+S+g7YL4jOvxCYoddqbQ+SaGKQklkWFREC7Q92SujO1nBocaohwaL50iQuZYo4FAm9Y+TgMiuhapDbBgiUlHUEqISo795LcU30rr8kRVIf6DfpUMmxNM0+fzW7wffNbITXWKYNjGhk9hAOa7Eeniw+n5YoMpRqPXcDwaeeB555sTDbQJcUO2OkffEe7AqSJhJo9vTHiBjLVp45P+8vkl+v4e9kTZUbJ+x/7ewSZ6Ul/a7UGrdeiNODosO9Mpg1XaUM+73IB7TyzMZ0xyJO0KN/obhnsbCXxvfcl8wtp9j5O+EfkP3MFs15UqekElKoFNuGL2ZqAXGkRsP5JxXc/Zvy4YOtWXigK6fLZU2ll0t8gCB6bbVR/HUOWj9e4J3GRQB1rfOc+ejW3UxJOYulayKHga7lbWYWKZK+RhV+lCXKxO+r/muerL28Emv2yrgpPuW3/N1X2Dt1Miw/Dkr4/sYDvm8buMKDPhrxMaupRNieQVpwax3UiTjh+ySpq6DDuG+x8LlktFzl0RC19SmUPNj/ld622k35+V1ziv6xAQv3UVTxI+lMGOGb7HSzKUXBNV3B+6ZlvC7bdM8BtHfkwr7BJEtqiQ4o5vEabuDM9HDfBXeRdNxm3Sp5xMX7FYGu5I4XykUWdAsi1isFX8ygy2+Gu2j7RXM2kVEjCQfdbacv4P2YLlEDH2yNOW8aLHNgQXbHMZqIDI3BEbsuksakx0TLQul7I+VOqs8kS/LlrKogDaPdOTinUJ4dKXFsgj7FRGyeycZKfYp694LjUrSlIAqcNNx/TK8iahQ1ZrCgOeCP5vfFVsAHW8kqtjtofQeQ9E/2TpXFfk0QUpX4ghhwBT8txNFvGReX6IMBHVeUc2vAkeyZtsa4HNM81G2FXrUBXJDJJSbP7isdf+RkQDIHj0XFAb7drLy3aUu6rnUhW90QS5TwyqqNbBkqQNim8Vqi1jtiCggNMnUXWe07kZOUUy6pL0zwlsD1gE+TSFa1Re3R0mDj1JpfXexyOep5UB6q7oV9F8Lo8VqiTHizEiloyldgfZin6sKq3I8GrFemXpJvC4iFUG6j4x1+CXa3j+YqzpDQCrQmQZ9xERDO86+Rb/ckg0Ip8dGADO7W5NauICBpKXvRzsqZBu4VIZN7PA8m0YE9Wi2uCNaBZZXOlpUXQw05vwHiwm1gXJIbm0oRgSkWu8OZOOu6jI0BKgy49UOWXg4LFG7kJj6b+ZzzstM9Cnp1P/VwrAvqwfYs1PVfOPZw971+kotujwCkVz9T7mWd/GAhvBF8pgFIc1+iCxR3oT+2WdSFi3RuFycysWMRo/dVYHen0cM5awx9lDM/7U2/zusiVx7gDpKVMNThZdLNQiO7/w52dK7f1eVnHixpYwM9F+XZFkZNvuom9alWh83tLsPhnB09iuKVoXeWdS7h6QLDYcmZ1TfjVNA8AG3MfYTRBbgIzznVHEJXQu4uaDUnIHIkYcfplCQ20DwBdBoKLm0k7di7Xup+83dg54t+jI3uIHklJh7ZmnHDXNPnsDnu7RG0taN8FZiiFxFC7faXH7Sej1eSFSbWmOzNeRMuNDmEq9uD7MnPPFmYB1wi32K6sxBKvcoMWZC2EWeQ+d30ZOdNfDfEVVCnc/ykdmOY0j2EOJwt+j/VvbXo6Bj8Sf60lMprmr+VT/9TXII4y8775bgsPpQM07nH8xQIJF/okcxOo5htP5awisUUQQGBFCB4awgBqva3oEMOwRylufV+2BTpUrm9rkf0G6+4niwqJuRPbnika1lqk2qbjloOKt7gN/TJpViHbpgQktDmLjUmd0ExIhTFaiu7412SlrA5gt6/dK2ZdB/pAIQBkZZ75VIi7IvKd0m093sAcQ7AJW1UP3e9bj/Pgo4YTKvUxxGD3X7UtM6/lL/S05H9Rhr8PKYx7a5DFil4llj+8x0lLxshTOKs5bGiS9twfyxP/P0RIa0RUm85QDjJOaWA8bfGv+LhcuZgc9i1ZU1LfziHKyp2W8D0jpqVDS30ix7ZOh+tvo4bkTB1WLFlUeWZr99xfwalgwoioHTGYvaVFI/HgtUaTygWxRgJKKCfM4ZH90+4V46sVZdqjihpqSFZOLPkUywP0vEXK/iYmV+4qSB7yi5IQ3/lXr8115mn58mO4zcXASXGuwmn/BV8cpefkyrEk9yKb6TqGbkrLJhbjAEbRqStNHALzRdlqWpWz6a/THaOkEc7QoBA7QjFMbaVFoUHz3oZt6pPj0oL2I80Z1WfFVKeAaCk++huVxAO9/H1OMom/JMfUw/kZTLrSOCskX5ckEdzHyluCSkjLwSCeLNbbBkjb8xEzy6JR3zje2cXJ29N2r2+SZPYB3sc8FDMYXKPcTTcPTkadit2Yo1K7eOhPKHdN1AAXppklIXY4J/lioJOmIwxjJvphRZ9On5aY7BgnyOdDMSUNBkSTOoNq2j+7lkEt291wJd55ZUd3PRinK9E5t+O8mHDY0M3vLsll+cqLYITAXco1FFbJG9vihZN5KxRrm4M+BzpsH/dfQmWQJ529s8ykoREpPl0CBegnhv9xoDQ+Kpq8cyQ9NHh6eV+xR5TPBUHJN2yTTcSEIfSa1/SSKlGfI2/jwEiezz1zsi3C5nDAmfgN7YwMZUfebc+y40egBOzJB5xwlBRzGuQ0BzFZKxSZRrpzFaHZQ414w4ahMZYgwKQPwRAcmdiIqfuD01YA9zTlMy2AK32KZOQtG2TCwPVmfxiQrsXKxjuDZ1ENhF5Z91/YGvSeO756WjJIobn7qYX++3o6BN0PyNRna/miOU+mQmjV92pNkMdMlEkz5I4VroFYrLY9TgttAIEWuAxSMpCoFwPBaipj/9aZ4x4yCtdRKkw62UgeMS6cGsTQ5zHuDEuzxQRVO5UFyhSsEpYZpQJWXTWk8g4vDJpzGiCEkQdbl6wH0PAqupHjAS0ghoI1hUIYf/xp8n9FNtHRKmfUvT7ULbUm4UimOXC9M3kJnodnfM8ImGe+JU3IQqJJfojvFNBd/6GJstjk1cD1V5+ZVGKGWd7PWZXnWutNDHfmEzePd4B6k3CCoPWRuHuS2NghJMKJfmF9tKoEpX5+BxnwAdjopq/upU5nE1ACx1zGeZi1yBeNepza903JzO5yykQYDSdz+n34DuLXmQw/c1/b+vPh51aXR2CLIyN9wR557znv6cRASeQr4RYB2Z00DxW4iYjnl1ukFpNTaX39C2y+ev5fCUKWKaC61zF0G1vnsx2X0lAZUxwFhbgKG/Kl2EVD7n8+FEvG8oSZPST/LdA+W8Loq5e0zpb82BtJcJaIWAX9KDIpH8QsoEM+OJmF6OBcn3mQAdVjCjkDK070v8g+Ra1nc1FiTLhtMcgtOQvdIut71E89He7Gti++n77BOwVr6B7YTT0ous3VS1V4BiRsBeK4RTWEHvRsqCFokBwdJcq0ooO7hgnIEnd/S7CA1OKL28H7PvyIC0Ci0xAZEnWKEc9vg0B1OiQTkMJR3sAkyXMqYHeJwxMVxYsPDlWcyn+90T37XB4Trbzt3Ljt7Xs4ezxA7Aqm7f7YHzaR+8UPURlCFVmrz3SS/gexzIrmir5eJ2aV1bjlV7mV9rFT4ENEBK27z8ux1sGvctExlnkNs+yqZ0dWWx/OaOx/7cVVKd7ZVIHsK5suIHbWcko+3adf07HswOb/4l4wFIaWo8vJzys5W2kqmzAXHOK9Udjf2lBYH8e5qWRk31Xw/kr+2exWS8/fQ5glrlyGUz/bYsu8Fq1J+lrT80FdQfCi5Hk0CtL8Uiz1eKMOrcSrKI0gd79c4sxkNnWvzeIRk1CfYVw0WWBwZUe9OvPcCnOlSiWfwaOIUSUdgujnHnq9dr/KQbG56CZPbBwkEQ6Va4hXpt667EqDLUKDx8cEUBVvf6cBvIiRNYip1ZWGF4MDSDPC3XUIfV3NFWXVx/3+qTQ1G3X0mW7qVawWFmV0n/tKqZMDKWtiV82dyHNzjfzoIVHAn4tP5L+XlLK9GfufrG2wjwG5J6Efvndsa1zfvn7o8o1bstvH+6EA1WBYC6aI2Bm2/iRuKebu341Nn1aqsqxep6enaPo1uQlsbQwMM3sCMX2Q8hsbCxgu5yEbaZsDhamlO+OFoIGv+fWNwS6nZwxpR5u8fVNlkQANEW7hnZcX0VY5gtdoka79bCCZiiw6Nzsm+PN/p4WW80wm8Lg1sgB61BrNRn1yQRO4JV12qFkez0eueZpcWUvf70Efsl4o/ZGXgi6NXUnZijov301/1M1H6zBL+H1UOWYYi8TdBnlJKi/adI7x6IYMNlS95vl3k22c5dwuiLgk5UIh65B4DI89hHAqQMEqtyxdFn8lYu+tOXxubZitwfkl0MFdyBUjcEfGOD37kHKFvHAw4t5WIUhsWbwhdt+4rLk3X2LbwUmB9mFfSxvoA7VobFdp/gsezrANtrG57kykxOKM7sniBgxQLfB1oONXrh51s6fuF5FexyCqAcIrz9BqGFy10lKzcP4Le0T30tfJIhcr7O/tRzMzJ0Qtu3MGQ74aPf7dFswx/HjcZsw+UETne+SgBztJKTLj3OqyXWp0M+g4RTz1+blmNEg6bO3QcQ137DcyvWTSruZejwNGM9idJ9sh8nfiBThevzBhXQKYgNYaO+pFIojWFynhY4bO0Ab5oK92hWEUxU7SQqFyFFzFyXPc+ZhEXd4h/Rd16eQoDGX7wTa3Mu2KJtwIFXbPuZOyQqdOhVMAmBOsIZlzQNoZoIm0vFl7IA08BuD0h72zgDjFIHZidCP9FbajoS48EeDUDvObuhk9R4njvnI2eeybiUHWDAhKmr4hzzck+xzcZqaHCaHySkNywL0M4KjukouUHnY5Q46REttRPYUJSsvwXEel13GMO0Cfh9IT4wn5Os1m1y4pjWHHR+lR/5Gn65cKg4S+psSKdChGOeK9CfxJz0+eQ4Wl70oF2q1AkdjXgCwzKo0Pu7D2XJ2nGzAZtArEXV/bKIW2HIZNZe8z9nnim9RKQqZGyTNEPUq5o+lMKslJto0CRzcEp9QBd8F1msePvVNjRTUhEchs3UDK6tp4uwcMqJE4DbVCqx81mnOoEELO3FezCykZxNusx4+2cn840AelaWByBQnvMV+5KDO6hW9p/K6E1biMqkb11EghQTE8TbTne8TMEXwNyCkcLR688r5cHWfeRIHJklYQ2FHMCvgSClCaZfriLcE0QrRbjETDS27irKrmrnI32FMXvnEza/TMlfRAvwdJ0LUuZIvBkLM6rOS08ECSSoQbTNuMh/X38AotLwhkazpefZchAxHckIZvB4cLsrGh+PPrh3KAs09wTcHzbjRGAoH0sfwUEgEGPqQaVO7L3kHH1VpXB97MUwFpAsX1B3q9y/cvrj6C53xVuNnj5OFkER2rm+qgHdvID9wqax+IULOVPRveFmES+xEsZ4NHhnx7JgbvhoGdhvt7PVwbhG6fIkY88+peTSYDGCTxGeBlI3xs1qFwmgtWrl3Pd953BMQB2m4P15JCvTGi+Q5VWkRuoR5w57WAVqYRH/zcqxCp5AEpbCkFSXCY3y9YK3fHKkzieKWpXW497EVlMvg+Wpanqjbb2RHU+xhH4aUynMV0Xgr0W50sHDWUf4YdpTex930CKH0E7lCIovaIlMkn0PgwmJR1dwJWqmaoADp2X7pfWcqqzOPKHeHPdRzoHnBvlqd8zhcbqsxMpM+7fdoHTcGfd6S4+k26/wZ61c/L2mb6wUixIMryAy3AOJpjd17aykrioVZelxmQ2kYxn36D5CVqVMvpnfdoiZI9gzjC+43WfAEkbd0IiLbMcuI9ZilUEQs8YjbPw+31yPyyNGG05jLOa+N4A121cjphV3nv0nw6/85fNuPkFjEWRSTuh16sgs5I2vLaXpIvSmTj7nB0dJqY19FQ21Kd98zJhfQjC29Y8ABE544IYUmqDifAqI77NMeH9goFRAzkPY3qc8MSSh98+JZ8Q+k+WNZG/lKXbm1Pcwp6ndqjfVOeGWuVqRyfN6pUFGYGiZiHO64aATDENShGSVSafjSjhTjAPvxxmujGNw9j/AWhWNsdRO11gCUmnyIOF6biyZ9ZGOin1mmTlzcpOSCdAwu4Cxvd9sFiaoVi1GriXiused/OjKeY+8C6I98bC+a1WDw7Gy2GEILO6iHndypvl8RpOk8pE7zKBFo7Xc3BbVpmLjxeYPKWi9K/0O4T0Yt5m/8qfi92k+lDUG2GmoY99OhbDsSOc3GpnKuhPqaBq/PPbJDpCbqp6B0MEchJAFzu9lb4gzHl3WDOnRsGJVoGzQRujPfzJShzUvYdKhVRRTUrLJm3BiP+T4yC0OgmzJ4pv4VL4+YfSHS8xoEsU7hryDujy1CQfpM7c/RixSRAmQxhfpE4dqC4DwPuw0ImHLe+b6s6/SGQgdVea6RnTc5kzTBNnVP3OqSZ6n/QFWZnMKv7rtQbDEPf8AZr82Cul8yht1xo4xuZ1oerkfO4P/I6jHLO0r6c26Toa91qO2qZlwx5ctiDXAlZXjpNgkVvd98kOixwIahw9TMGypDQNdEM329DCFNTStJ+HH5h0oQq2qSOlUCo+k3yCjjs58Drh9dphIFkrEIyBQCaLbTIm/7MA3iNKlnR0vrxWrHtiKhn/KNOvHkS8cywMkn/Nq+DTdfKgq27iVIstB5dfH0IdWVeKzks/wR56MqxiW3KwAcT2TUqxObvLnuh1GhQ+t1dBa7SvJVFi2ezaHIMzPxWhVAQnV94N2FJi6+SuLKgm4go0kJXN1mhOFBXi/jporaguLIg41xjsZgiwwsH9xAOeDY0Q8HSY+7JDmbNOpFm0vIBCwdlrgWXBVcC7NxmQkFB33MyavQkMWv05YhHZv/VGSaAniTQ+TWpvhG8yN6PNt2HAdahNVM1rFLeBEAaEaj3Ro5TvVIzULkgR6Ke7xxWuTzJ17hZmZTSlip1kNzRFwgqlOjyGOVZ4McESZqKRMnjgh2RoncARj317i/plFKxFjn2dxe1Pi26Iu1JUNkGQM3BKKAOizd4YOc+qCe+x7ORTCqcAPowfCuZ2PV0LwLpii3uTkxoo7/r2QTLXbwLL7qJHeraJbe6GxhUdFX/5TnEOVjQCTSOoUMhsFpTtVi5Sa/WSDH+RTKmsdxm+j8YCvnteG5DZfjgx0z8ZWeyv79ytECBqamcnzv3FRyaFPDR4E9W0DHmUSm43sCQKmUMV7YicyDJKOx+3wJ+8obybzvgAJs7PheVprizHeWRy+UAur5NQQeQRyfFAWX1/G0nwk2GWpe71fEZ8qzOZB6TqYT9n2Ggx/VVJqvloy6dQuxkcopfSVTKdIsrRMMcApbeO0ga9ATeemmm0YsNUGRJOgFDCGttAJCJqCqcJNFPJqofnW08jUiKpQh+963vi4XbnSJesteQ5rhaz4e0B+dxmCEyaOT9SYOEkrzR9XRQkzCi4jp2gRsEEjG2rRb0ZKcxM7uPRps2JL1tkKg6XMInZEO6CKRnl7dnGKgEsbrJQfMATIamvVuFTjFf6YjES8cA0XQ6V4mxq/t5J3o5c7hz/fAHX/sd6VxK2Sf6YdlnOXUadKxGXyoMzZvTK1kIsGEmXgCexSo5ebO9OzSYkQkpnLGFMyu202XFUS3yaMmQuwQS/lJroZRWMkgtR+lcFVleSsJaxx8G/wVPYfxHmY+chJ8Ys+cZIzmE94ab0MA2+KfmnJLPS6FkqulTJC/Lte62zl8/c2MwO0evwLL1wfnV1NVvc2fCGDJabOlKtRiQUyWbMi4XO6sB9CAPjBsRInyIN/UsEtCkD0doOzQrQc+e1li0ekL20AFd6asY/h1SEVG5C9Nj0s0VjMta+0SCy2hA/QKl1sKmK0sY4/gfELdb0bAm5X8kgeepmzgZQuJ5F97F75WG4kIXgxuGt9uukUKEMm8+7yf24B7EzQGkZimKCbE8wbOVKuPbcvxhcqkEZDOJlPepQ9922Tp5CsmAZ6XCs6sUFIkh9vSZ76nkyMQRl6B0aatwL9pElGrMUgwQvMC+Gb8YFoA1KYL6s/4pv5tSw73xkDmFHvzrTGmSkA5OuPUtIOryDq1HGMVigarsHCQNAHG43FM7ttZJV4OJuPA1RqPcj5QjhbamhaPXLlN/C75qKA1R/cok3sEv8cRnuaVa/d+NfwMsV/NOzTnKS3xrm6WcdKuVUqH0WEnzc5A5Lvo1gxALl22NxvN4R8oGu8P7aTCjPdCQ+K9p4w3IV6vR/70FrzwO3tEyYmQgvfHAgwp3oFK0/6V+sCcOXwGGEJB5+Axs2tiw3u5dkEcP2daSIZNkw2RGFz53tqLSDnzoYoSwfKHROX8hSqQ4B5Mmba3G6T5uPZ6xWfkc3rmuexFRSe4A2nsGUKQ8ArC+2XP0YXvBTNlLeWDR8jthSJbd8f0RrzYUZQ8ZX+iVRp/ZSWr4r3JmMlQDk1wBzHIzQGqMD2K75RSDFT/Zq+gHVZOHwLr0bspzMbPYnPOKdgraOzoxq1NR5XR2A+DpMComyGNclFVqP7CY3kLUXZ0HrFpR2hMJMnsC/4zkkz+aR0eWNs/TA9H6lTeTDq0vywAZy1nMjMKq0IY0XMP315i1hPq5flacvcrPDghyXMJCPciLkxF84qw00JMYp8ZTtzPccQFkrMjaVyDukRHUWnhT/T8ioTKRNLs75LDFSpEHQU48L5VYvKJ7jGFriuZ+eOFFHv6ct+NGdk40O6kiaN7HOoIR9NZI2YLqKbEK13xX8DWvyor9jnBOw8XVoarLJtwDI1j2h7krk44gtR91ooimpyOWoZpukl2kbgTUK3uBahgev7GmLqs2B1MriT/BxKEJSTG4AxCM7mrmmNdtpvrgMcy9lLQXvcOyuuR+wdP3xp66X7dNXiHLBA6AklZ7HdGNctKpD5xHLbyi85jrvudwqpYsCGOM+o9vqdFg3b95YIiVjegBumQDQZ2OBq2wc8NJTT0of9PiG+zbxwFyhs4s79uZkV6xL71uqwN3LNndQ3lau2PnHJO+U1U8Y5OZbANu+FJvq2M3szxlTKsGfdddUO92iu0KfGi4fTQsgGsCKgZSxWvRt/pISXTt9xq1oxrUV0B6QXmRgbNgc6Vdme7EjDi5DBWObkB7T660KEP+Wx3YTQndy3BAE6mZg1AjoFOVFiqLWOF8F6R66O+kHZSQzSYjv2hGPGULHchEsySGHQEZK4XTipWsCz7CWn3ZNQ4hyczATiFSBqSnuACVA91S9TVNSkCJBZm1v/V5i3WXmsxiOlYzZTS/bbJ7pFOB76W9PpkKZWnGGINvQCKi+cCR/6ktYVUjlShce1ZK2Pqikj3Si+fTDP47VvqlxQnhfYrH5EuKXA3dGAfb3uCFNGWTJIJwU1rkRiwJw80+fQssvJemnC7/Qsu3laTiI+prJaCfbgPDK3o3jITnx+BlldQR1uZFjKuMYJQIrFOvAfMdkYimbw1I3lqp1ocikw9Jgbt1yOEQ1y6ZlNw3TvGAGMCmWIbonr/wZZ8B3fBTpZZOVe5Q1ud/87ZRhP6ihLP9pE9pa2maHEIMzZIHdiTUgg0Js2pXr1nZiSt2YASM2M7ZKdcPBUNa7JyPpYZOuC+CchXv/0ZHqd2wiweigItGQmZTlB5ZGTJsfYp0s4VAXTnH+xCv+KV9t9L6KId5iYqChOBb4hOsDNWO6Hz9pCitXb/ZmUexxp0R6AQISgxGspdHsSUtA+IcF1zZPAwjyHg4I9LeAsvtcodd0SKGazWefViamkMTljbGowiZKmAffxQaw6XVYpO0fuRNakZBI80Uxk/ar7ndsnhFYuHtSx9Q4gArMYf+qbb565PrXVQIMt7zcS8GfRu/AP8SXI16YKZUJAP+IStAZ/dtAYN20SLF2/r4FvpDsJspW52WVtnXvU9w8HcbTrhw3SxKqQZyeiHKI7Y0XPOr1Bb3JcD/6uhF9mt6CKwMtiwTNDvRfGJULKL4C58Z2ZSHCsmNplzilYnfaCcLnwDGtihrPjUkmeHSjEO5kSWoSUQE4jziFGB5H5w6LxalGL4x9fdPfh1V2RFo+/zbtDwDaFkZ50U4EMLhRou2GJiQx0qwWyW2V9Vu2b4Qc8iOveOk5dfSt1A35DaHvvTr7rAIhAvVNJYhWMaqY1ZxLIcrvSgixPA8ateaJKTVjfFy46B+nBggq44W/x/VWl7DeR+C2Gsl3tPp78QJy94N8lYjoC/LZg04PehLnIlFhrC0CAxBq00zOuBHSQX/DnM+LzxE49hYdLgjj6zFDO7ZH1SwMBot1/l+z1h/0LDVFU4IwpZgg1u+fflJcUKulnX8bbLXN/nssm5xtildDPWzgkHor6J16qBb9kCZLrJV6m5/v/muijgoT4r4CjPYKJzrHEgETbYy06E4s04t7ecEGCyxuV4XtGTHF1yZr93K5mOoPAjcL2GFCyV/dFE42j5ElN6CqJaFYcKfjOcWWhbyq2NiMCMOJLh9pgvNCVYuCBRwal+Y2w9hg+kavwvG/jA2wJ/O4P35kELcr4Mvn6AfevKNd9pfmXYF63BKoSn5hGKFdjxzS1kIRHL4qpJ3WUMvTpWSq9ISu4XQWNUstM9KB6H3CpTcQUerPhoEDVTN04AjBXPqWpp0aM7/EEc8qZO1zOOh4oCEbnt6XhLhqs20ersas8WbP1YJZV36BuZxVGJk44NLJww6I1HtcZ3/O0ldCEyguOsFcYTq2+9oQh7lvBmJDs78FBrTtZ3Amr6mE0ks/zQOh/jaMe7BjMeSbn26L7LKy24GROWGYscQzAK37cwPak9sl5XeAZELkNLuxoWjq++2UKYTo2tWEPipIeed5zu5UC5qoK9y1mqsyOr1ZTzPN5XXd/xJiKsYXKJhA7kNqNY1tJHxeYtB/1F9mVI+oGNY3da4U2pxCHhkvFMGv3GUBBXdRxe9ZE0hM8BZNUfax6vOtDl/+uVoGbROEva0G508Lcl5qWFdemBmnBB9KyuuiOTBIPmyA07d9/B4mtgg6PyxIrns/KUxOJ+8uljIh/ohCapsVegBzdKWMsTpviFUcAMpeVDi8nwEUdNxX8BdyCmkY9AVB8BTTwA5nPMGcum/nnaC+AmUogtn5B96QCD00FwIlSoPqnv9/Tt0IpvtcIS4yrFGxAlUG4vxVvBi9uzgbzmQtvDxd0vm3MOigV6b5NuedReo+h5zss4za0j6H5P7wwTFQzKMzKmi6lVJtUA4Km1zbhT7EPFCRk5ZtRAD3zQt+FDltmyfv5amhv57jo8pi24TvNpGFh1oDoPtHUt90GPqvCDXWxipAB8NcMhsa/AQXZrqMoYLMplPz0petPyHq3OxLkYRnMaliVboiOdDsXWYciOYRgHhpz0+RI6vUJoA1qAgiPlBIcjVcQI0hfLFAqNyF2oz8E7Mkk1dmvqPzuhy1jha2bG9URT6PXBm9nmnRiZ2aoaLjrnbyO4V5bi6eaxV57u+Rhiu9eT253gIxYisjl6YMLRoVWYYUd4LAyX2WdTm9dhexlp520zCwSkZ8Hg9HWjY/WZKVjAOtd8e4XFVXEHvz2EclJDMVC3dl9a+ifyHoPUcwkWM9qVCGX/q4dUi+/xtKu2TXjXsUiRWGq7hknV+mLTb9Iyqqm65KDaG1MAFzwVbvZ58b3ai0GxsD8FuvEel01xKbZe8TS84RMF16uPgdTieQZEvcPDoXbe8sI9pITrBFwU5Eltp7pIwyzP51csuGVqeFhJQP17UELLNudTMBBwnOFKzoL2uE3J/N55NFCEuwANbLIWyf6LQ55wT9Gs8666b4FxSDyiH7YIgz3eGikRvnn1EEE1B1XKqOC84j1L9UEwvNkIJBX1lrTrADX/tpWWZ5r70z8qdhriJ8vY9cSCGxQR9XfWFI7yL/27LgDhFm9TMBnQHLw8zZA4xMK75UB7YKlaGbIPXbGMzP3wQN6ozBF2k41TA3LT8z7cihyh5wuhkwfhwhwFM3J3zLOmyDfm1dDb/nAFS5T6NrJlOIZj7vum4pT7X5nhmFf+qM0dUbSj2vf+4MmqXXnsEoJnjNzJj0IIl80etIHtgULzAUOgPu7tO3sz7l87mRIYrj57a0d8kv4NzUb9B0o/gSrEOPyjX87E5eKDm4Zbv4oK1p2uPwBjkcG8UvS1ZKrFtu3u1QYYU7rEqi8dijUw1Kt4Cxgr8Q5NguOyUbderG9f/fu9f7jV8B4P9eauJJoHiQEWQOjVuKHEOJqrZcwPD1hGz1ics7iv/V8/2aTufTQ1uCABE+Hg5tblXHC4i+Dlrntm5z8aW9AzzDqzqw5t/9BCDPgPmsdYWTwdn7m/4TVMLfmMP2wBLCQKScDx/yHAUaaLpViLt4fdd0S8BM5r3KkZLBi9VqtsfWBTuiOqZkxJXNhh9EcVUexjPp1JHHA2OoG8qMuich4TA6Wf/FV6sLNyc9SOUu9q4Ak7pjQTvjXBshwrdl3u8T6RYwRCfHqsoebdPj7Cuugonr+IT5LN1Wyy36KKCthV4Ms9pAj6ngaqBOrQZoDWRlSIQudvVqSC86tpARo8OB869js6tzrdY9iN1PRE4HV1ouPoexp+58kS3vc93SBKL3O/fOtfNG1uQGJTpWTy7/rA+P2sY0xy34c5bIXzLbaohTthODKQZAL0Rj3koWPVK7jb52CklC3adAqGqxb0mQKBpZfc5pJzY4O9n9z47JYotunr4mdZL+qhpK80IeqZnYJhljvfZX2W4JSb0Z6kxgoh1+NDm6RfhEBTZ2OjxalKA3tbEM2qDfWaNZS3JEwy1EDXGVZ5zicisZ/WabH2ALENAIKWV8En3wg52+m9o6Mi5iflj+B4cOoIPjz/X/z1HflJP34Jio1AXI9f69TEGFRv5O0Pt20c0RhzGZgh2EcOc5Y/7Fmr2yF9XB1SvWSSMm/d7e14tXFdVKtIDrj165SvK1k2EGTeNgM1c19bF1gt2XhOwZWsk1V3fAkbt7dUmHRMvD4W9yAYiA+7wKPAxck6SUTZ6tgVna8/UG9ZtBf254KoaI49Bb1fC3nzuS287p/g3jyrMyS0dh9XVhaL0li5fU8XsFZDedoQX9zpeoAdynjFgvBzyIOiLiPSAQV3uSn1vVeaMUBL1F1qLuirTd6Vno2Ws2LDLTVO1I/1GbO917M5pl1bjTmXJgBzsTRt409OF/NkhOV9pInd/ORiXqKVrB48KusbdAOeeTGjQHMxaZOFpg44xgvXyNwgmA3DZNF7Da1upiZCY0GpA5QDYFdgo/anNmbihIgmtAz9ctWkMHR4U7DCBVp4irArjREAciRTvhTFeGSgA/VOy6SuSY3bUIisiWCtfUX9NlfFuTEB7NBrRRyqEtfiL87r0tbUyMYXzNaygFj8o3etrYU76tBIn05DsB1AGclKZcoG7LQzQkd7B/9ezTUoN339MrTayE5q7XOecmBWlOgvD/cTWx9GOb8bcr35Wfy4bXOVK6m4FVBn1NiVMCJO5oub/+aJsNPsRK6Xa6COrDdgZHmBNB4LWC+LIK7oqT7YCByKPdmLBMY4KlDPotMp7QvsxQpoScCEm/MlIoklsFPrTYw0p8/wsA0PuSuJPQk0QFjO8MYlezL6i0i8DMYqu0pU6NjuV3tbGaOzbybiYbkX40smhOo9/UE0p6rjJ1pcxH5IyfKA866hrKRyxLh2ywmKkb5lw+JoUyIL29xIkuOxViU375dmaoUmLXFkcNiza0zp/klL6oWw1iVtSMgxYU/As9eVqbXo6vH3qSAGTVqQ9K5sPugdWu4dKhGFXtV/T9TxeEvlSnBd9EfNHPX2PolXgG9BHRFsCRB218XNfD5f49ZLEetgVZFhzwMddBuxe0SwwczHpsP7uKeN1on9BMvc7qczBH/Gawn3UsOqhSG1OCO0lpDs3vr7AiNa+FN7ahDbSgn0DjBSpdJZy2qHM6yrrcCiz0MhBMreOzVySlBbRpDfr7NE+XbVmk9UM4e0524CN3nZrbpQDA47RRRoN8MbhW0B5q/WJzk/GauHp0IscV3NrGLkzUU9km3wmHx8gBabQ+xgF3CPkjh5TxuUw+voe2n91cejXET70utXNf+MGp2XXSrtVb+FvWftHvZN4resPzdtOfIfABbgqkIBkxQTn1+2NerYQbVNxrS16SWa/NQEO6QsxrFFagEvhFXpBYpt5xPYICkbx8zpGQxN0uFCQVCABq+PC4oRmmHe47H10ITPYryhym3YAOp9//NDnkUEDbjJZImBiqpZxk7XRp78tS9l2cpgKKuLLcYqlErB8NM3arR2PwLIoc2JDnUvuLvDmUzPk7ff1JKxCe/WjxLnldRtolEB0dm3Z+JEJX8G/omUH2Dt805KWuc8D+RWbIqwgjPRVz0Zf6GpSmApddCJJE893hK3KCkrBb4wwleQ2VaRlkLcJfcMzIH/rDxTuJBJD6T9/6mMgRL+ncbvLwayXrXiPmhydevhIZVPe+dOXuC23JYHCGG0IwCFpY9IJvZmZl3qGvZ0FvXlkPo1FcbEEJ12OieYY3LyBpUR9LVvEx+I8q7eCYmVS9Qgt5knOQeM5YzmJh0pm3sM/R2Ha8/pKKdW6VV/q42wkhCUPaVOUIhH1tB5GlAtO4BPSGiKkkWO5rZM6NY5aHobHPnDfjvEDBiTV7QBCWdzRJnaLRFnUBzImMZ8FNs6gkvBq2gnxgAOVULRLT5etEbZlj1z/kngxnq3bHTc0BtnwpjkpPeH1rTUI1IB3GDd7PqUod0DYAFUDQntMJO2XKtodlBdZhvz+ucgMNoaiKgLlmPFicD+6XKq4MWv5T/n+AfsekJ1/Xe7dZbRldIcUEqrerOvwA3g4wEg43qVuOxtXChqfL8F+Hx+uOoNz8JckbokxpUgsKosRM2igpXEhdtoR0yonInTlBm/IbtVKWMOt39vbQF67e9+G5Pq11bIECKjywO0oqTzscYADYI4oCUWF0tkxmC0LYQzjMrmKXgVVfFdhVzJ0sGiAwRNeKuFUt+AF9DlDvjlFyAvXkS+iR/iIns7bHwABN8So+gSD9XlRI7loXbkLO7JJHpDwtb+IGXS3ReA95TC5ZnWwGCShQTlHdvqTljc6NO12fYWOt9kepTMhPkXIJeto8iG6yos9Ba/KeyQpxlK+uVIhUtTuqDZ3yhH5dR44bPlEefmRkJMuMmbNu5vbgQGYDfkVuCOEpHoZgf+1SaWsnPN7xeksylSIFkoPBC1TBdX2roJfOC4ci+B9W5VDtpCJTXBHiprlOAeRoIziCRXV7S3n9D0YLggKya9TamqfVGVs4PJK448D86Pf2o0tvUms+Ewx0nCUiSX/0Zk8tZxsO09/QViCvxImf/C33W85v7igpCwcZ0UWw13e9AHt3dZ1Bj71R/0dR8e7RQTdGeZpysgBQGO9iLT9sCitZ/NCgF35/jQBWGhAG6BJ0EoPAL/TV0YJtizxp9l8LYV8+USjz5fDeH19iEKMBm856Ykk7Q5YpTzpmMhTh0yHNLQ2A1nmctx786YXbIHxRACnNT/ZSniWioCP+WKvGucUTCcUkj/813+Bwl64zYq3pwLtoZBy62OJiqFWhremlwEh8OehSiJ3oiums2dbpYS+XGopuQ1bPOeYZM573atYrvvf6VKCVQLAx9OHVHci9BzCf+Mmb9hwqgGWzp3MDhEiU1I9ZjzhBjBJ/U31lW0WWddcVvzv8MwOY4kEZlspAJRJMXEXojB8NbSxzsat0d7t5UwCXR5J0miQCXWrPqtTNm5jH6Jtr6yz8gptmNLp+Y5XucRMYuU5eWI1A+YGBveJ5HunG9ql1Dp/bo/QuHCHR64OrGPvg3pzUFZwzBg0uz1sgLyMNexY3rHUiK4Xwm1j8J1m1Rb1saXQwv4GYNlckHWnlsxlx3tZZQY8XCoV+2cxk5MgkAA8CVy4HAgCIGfTmxrQZU/0TLxZWHG0XvaGX3UzTXWnajhPAOyKlccXDqnYVU6P/JEiil436JMS+v5iT+dcX+rcqUIj7vJ8nw4hq+IIrcqTOM02a9nP3tfzjOCfcEeqSSpq6l/NawRIGT0DBXb4bPYCjMq0k33bqWWf8fQ09FgYTes8Sgqgx4UIrTcKW1aiY/zreiiFlKB3Im8gzEjPdsbKblCS0BdeWHrCH62iAro9lK1xVisiu4MKgvcgVvIgrnFyQcTxX3dU8pLLDpJQ2l/e0Oa9ZzkSJRBNnndTsFCcd9rs9nhmw4cTp6jXNJSJFXkqB77ooUIwE19DEuy04QlJ9MYgqKmi3RAlT2ZQfZiewUW1RgQM2PLxiYnzXZ7hg2sRCeWzR+GMDFt1BbCHWUAn14gbRntqDY0JUIWcjzAZ0x/NnfE6NaJVSq6OUYOecEcDDEJ5MMF25ZNmOyAN+s85airX4/g0p4dmzdLqA8o/BK6bTQaPS2augJ/aayTNNYhmYBI5fTVRtkfOUne/HxC6cCWmfQGwl/ZXqsp0MVT1ef+sLJrWppR88NhTrIx/7Tup6M5uk4NSxtGzW0FaAHfJV4VxKsd8Es+ujopTYCmYneCDI+8BnclSYKgpsw8Mp5Alrw7dwOSyU7of6tPk8epMBycfrEfrSpz9Q7j5/ek2AdZzheongFgcx++MBagD9x2TRq/fY+H/PyMlW/D2hPDH9MaRJ03yTk/ANJduiu3RIVO4xoeJpFRPHJPGwApS2F58DGyRZQkLE2MpiuBIj2fch1SrXDAfc1Wqryede3W2WYKDXk2A4SRe40qRlWJeRqAGBXgiZbtdsjtdCvEk8tuavhy/D6X7aKk8EvQqf1jIcgLMd5BVvykfPPv6PklcB6uLD9ZVB3zi95CakRk2VdIzJBxH0oV7di4N7+RTeJ1H10yDw+I+lnHnHRvzVKeDCDslbePNQ1jLDuyEV2thX+1yj4KdFnqWMK4ZMapdPWvI5E0/V5hxiiKEM8h1Tv/+ybbJXJrC+ULaAsqwqyZsMo+rc/sWnJrUzZ5My2efadD0IEG+oePIuIjRPqBSXv3tWef/218j5TP/YzqRzc3ALgkZpzSePv/B7UnYK2cq2qw4W8/JVDWBDKw2Co193qZVtAOYl3eO7CQrZOOfXcEyueUB2L71VfmWjj1k5dgyUCb946KIHmhE38+/GBoItqcAwg53dmh7v5fhAXUgxSkwUajQAre8T8I1UwTghgSAK08mrbX7vQGIBzIMiJlEMpOwLvbA/yAst4k1Y3DEZoRTiP7IS8fmGq6lbFKpHl3EeL68V8mc1fHI9eyC3cbD2ucUiBkck7BX9+X8eUHfehWH2Hgv87WIkO9usdYDaWc05YOu2v+zNuezvD0Nhr+7/P/VvGSIwAp8JbRCC/P9q2E+TR3l0PXE9yEg2YrVbla8IZMWF8Cw3RzbAuzkzBGUEKCEGf/a3Z5mMrJeMjrQdasF6VtW9hiQbyOobqsHJuEEr6c2PbeIN1RNXyyrTNUpX+ReFxQLMXNTeV9IjrHu9j6G+SXCNJuUCCi+fnFcz4F0aL4D8V5wnpJ8Jj9EOIJzwRFYpbO/pELMcllOfBeYPC69gXWI/oneRAplXzZg6A9AYGry+g+/AY9UlMyeVTARGowPb7mooarOgG6nLjDRVTgKD+5Y328UbbdO20UNzDkRFHC4+yTHxa8+XVifWIvp7NwpyjL6bL6O2YeUdlzRLWz7wYlCPXYTyIA9/09n/qrO8cKlIUGKl/PcE9uY+WmzEkWvxAwxcRKMTCbmS+wSEmZpgTDt+YisXjgNeNbyUQPX3ElfWmiEd4SXE6Aa1CrrzRUE6sgOKsjzF28Cnh089LvIcwDD5dL8CA27oZ72irZQMKcLbYTyLLgOGUZW+oMXA+9rRD/WCbBQ7f2sDUBTG4KbT9LoesdkRSg8p9ybaQTpgKrD/LpjlkzOnTaflB+FSlPIVDZITOHd4+dnqamMmiO3bdGBssfFcIZ9wtm7zOP91+B6wzX9grjGbi512MX9SaAbUpN/Eff2WaL8o5UsfZ1RcfwjDXquLmREIFKsrjOWeQj/uxbKY9h5NhG7QWICyhXSGHmrg2FCfAVrL85HDqcpCDTcI4+BIWzsGOIINPqantHhVL5/YTcGmFWIMicQBLpbnEy8ilMiRTZLPy4mvjYxM7u685ViwaI3sXinnJBX8Cyo8xHHnk8MlLcFcWGnbupZeqD5zN76bhloy9JiVXPmGrE0LkeWjDonJlBbfEGJt8z6kL+4tJ744bQ2hoIGIdm3R7oOh2NlaWylwzLF3+be/EWtJt28dvTre4epEoOX/F3TD05dY5+gA41YYgndb5yKwLa/rg3BG0JTXAI6Kt+BVNoG2lLRsA/YJjJhJVwS1ecBkb0dVGLou+FxoEPhRWPA7/zW0c3fdxrHkG7/1UtwEfLu++kv0FTupiw6S3e0TVaTkSl9t36YzRa7n5jCIrmywK46GXfpjhj5uqgAiWxu4zGFUJX9wI8AfmaBqex0eHk0PMkyoLFkAgQzKtTrbHEL9ayTH+p65Y/CRzL12A+ZPj6R5ze2h4aOw4iwWehb3MqWxAgce5kADUsbZKJux+rQl1+QDygcSlyar1Ox/QwToilBu4eJb3S479xBY9Js53CBxUAvOvyJ3rVSm8ghCpgRNGYYm8erfSPD6106LsS7PKTSInNcDJkw45bzGFIOE1Wyuho7f1x1xm6GmT7HAm2XNZGEv9eNv9C91rHqz3D2IZYYm8Qupdsyeyec7vw7yRJJEH/7U41tC+h3AuHrAYC9DQ2/xFclDUUsHj8FeDPtCewrn4SgSr5tA8HNvqXGeYCMMGILiCKKSkaFOGoVz7kSUFHsspkOd3jSTwmeg1W9BeWzHKMLjSgbCBTynCjqYg6nJIyjTxNQfU9ofUKBzw0NRwgUJGjGes39xkL/MSP+0q/7i2McfhoDM7gAfwvc2M8CygPuu0bTW1crucoQnOACpM+XbdSiuvW8vX19/yefiyPenqQ+n7mHBLRFxVJjKhm8O3JqZvW8xyw7vzs2VnQRMIOsxW7vPLw8q3BIwr1w9dgqQGYXx4h4XYjW0Ylu13mB92o+qLoVej2sVY7OPLDhgi2sCRxBtn08W3KuLEbYceYT8Z2YRERqA2HFAtK8g3cv2TrNNG4/zeZHjFt+A08rsX2ZY1Fd2/Loc873BouD2vaZtm4jwIY/uBIJRduRaxJbkJ6cOlWL61TkQ5L7chQEztRrqnztDZh6iZKjBqF4qh2AhhjxG6/dn/JdC0Fta9gf5El66pkzmNphbJpjXzsmBh8N/TZ71fvY6OoYfgCKX5ZyPDv6xcc+Z0cO9rIFV++w78eD8vGH45RpacoduOukqaEPZdx5NtVkacmY4VhSJJGVtZIEn0OyYaCKbfwyjy/Y73O+hwoUnxxF3R6XtKVw0ZSox0MKObOH+/wiLo1hhrzUyfgX9JcD1M5Mz5MgGlzOKNHmC0snLyg/7Na9j8LR83h/6u5NNOh8lEwMMZ+TnSc7Sgm3Y6NHa804BjE+O1Oa+8VUztvOBNrAQZ+YlUlBoHR63O9yrmFJnYyZ1NHKpsxAJQ9oKtpu4kgrHE5+dYV4w0FnjRfgOL8xE5epgdQiUwbfPQlKtTvkfrTCbBG+K96z9G7QPDT69yZ3xKiuCovTpvwFxrCzGwYLrM4WD0kiRD107lc4qk4DhSfBeA/nR59jEvOm6OLZBfgPEOb6PstEGyQOkZq/SZ5uOMQR9FusaJBiNpftfx9/zCinH/b1ewogCSXfkSOrJ2NQiIPuIfGfYxVU5OFV2jM8JW4Jh8vR3a/qK1DGHG2uN99gNXmX+xNTcuMj72BaCyV/2D4g7IQsFfAuCUvF0g7vcgkQKiePc5BoDljSMlsDb4hiNbReQ45YxcSBfjFM8cIxRN+NMv8DRDZrobdepeyy1oADSJoVRjn/b8gSzMx9gy0oMfKwMJV5qZIFi9cK/sQOPL2Yd5LVFxSTo/621obA0wOC527AQ2Rb0JCziHdNYvwcpj/+skRkFdyX/uy8KzSY+sU0rfTE5kC094XTO9CIrBY+7GncvEHtRTeDfGkz7rRLeWrAdmk/Qtdmdlo2YSO7A5MCHrw3+rfFKOD9PkDBGbNdD9VMs6gR/cMaHln4bOEVSMqPammDpUQ9KacusbVXZecyYnKC9o4OgxgIpC9fNaU22qSJFNradWbFAa3QUdgUbbkd/4lkBvZ6wFuMdxkHECMeb3M/PEJKIQ9wVAhEBCyKvnAk7zOBEBBRQHoXsruOnoZtqIag/YUujdJiTGOUi3DsBS7aNmXpl9yNaecVD853GTp2EqTJlTVC0frIi9zV4b/E0uZN8S/kbBijggFumOg6gF6OQIW/MRSm5Ik8abvzbmiLsgZQ1fNBtfoj2mxJjTFBQNMkFdivIVodxtmNLa0TmX4zUvzMH5eXigvKQkAiT4DfwS+uI1F8Nbhz297otbm4VaXJLNIT4/epBUTNeRClqkAwU/ny6NaAr+O7yBB5jMILF499doRrR1O2kEWmscF65RQnpyslg1xXHiO657S6M2fd7gIl7sRgrJlbqpTor7KF2icWqDGeb29OwhP2CpDppDAqC/8WkQ1l4Pw3bfRm/3vlsOxBuvlF9sgjduGlbegmoht5dtYwuCX4C/753W0UMwJKvd6/S0EyGw6dC6KgsNsoBYr1ETesWYv4la2JKC/sgo3DZ68LYIhpjmx/uR88bIk6+7eesNaHZv6RI/GOdarru/Y+J7d1Nmla6S4HZQO2w0Zbmz3A+GAaZ9mcpA1Iwl3ZriyW7zTu3WlXiELyNRfFq/kFN0n6bsp+P5YGBAIif8uVn0egnRFLqd5xTlsdJpmYxE1b0wVCnKapE1NXy1BhZjVL7ceSF/X/+7tOppfMJdisVIHLXTMCRAJvkV+lx7Nu5QYlZTmcT7GBUkZusG4pURwXZkHVQ8a48mIm43yax0X7YWkJ4fE5+zYB200OJMULLGv3Y6OUdPlaTrAyiVWk2wfFI5Eaa56rBDtXABobz+xtdsUtgbcl35ncRcNq7wvtociAI9ZW5lsi0yc3XByF/tCM4lHQ9wmuNY45YiVPVja84rPCCwR91itRUpreR48JfrsDjAuYMEzGEe0PVMfUprdQN/ZPxqiJ878tDP/YpOpTS7s5XZj6mVtS0j2e3JkBHY+DUUlBGkc5Cm22d7GPwLiswqs7JZEQyn5gc5jB3tBhWCuP4PWHan0/C3eqnS0z5xKOeub6F5ZkDGO1jDq+/SoBHJRFD9YHDYD+OMXoSNUn+xcr4nGlbEPRsH79ysJH+sguBkUKkI8hiIwKwMaAWg6iaRLyyuVlXJfzQHiAzM5jWhG12j3Ru2ZyIURPeImEHkKOjgoBbfBujF2tttGCMcKICrfiU5VoW/kmWj+XWkLOJhL9I5X3ZMq9GCtPuLpyRjPHm2QF7xspyiklDs++5iTs3Gfxr75qIMKcsoRGrvECyigG/sEeH8v/wIxLD/qD8eKMjXVok8Ix0jFmOKndHktwj4hQI5R5mVjIzoSuGOEFcZTSb4ElcuVbtcWbbyt7/prT3HZBFKUaxC0sZSTy6/GPTkrvWGctFr530EM0YbBlUBa6sUx0/d7A8j2LuEdmBEd51YDGXhbVPpLqCzNBL1mwLRrrJm02k9eh0NQmP3a1Al+Y2HgrZF9KJ2UNh/Dli/uMLyuyhdcwkf2h4gAERD3l2f6NTtZjIWfTX4VMKXiUFzf/jzCrpgpzhx1VpKzpdxvPiHg7ZWP6sgPi13ElcEtIqPIYpp4qGOiGvphQvd0+9SmpJpJxy/gpowzUqqVMDznqpWvCce/gzXxuDO1ioUEmv2dUZrTwgxdpVtXumncNVFMO2RN16sBIUuq51oqQhWJERCwf/ikaJcxMxv7Qb+HmRlOXdv9IryiI19DD6TsYQ7Qs/TN1IpgNfkvXXUy1ZP1JMHrReh7iIKn0dVDvzWIWYttrjjFOqOBbZ/SVp9L6kbXvt/Y8PEVvwA2sbumP0jII28OPr56NSPlG2JS+e6pKwTFJ6VjcVKkgkabU2TpUNwL467NGNulUlKF0SZ9OgjkfWelUZCcjgw7ePSO7jZ3haf6Uio59jiRaRbIWaJ2w8K7A0l51EmKHXKx2KM23euDHayt9c36TYV/aPSqqbwvK40Gc2Ly2d1uFkgGoL9FDH4oINYLyXWJ3GEI4/KNqqhgmczkeDBOPfhAPJtnAuEdhgxoCYAGTVzi8CJHRyL0ydM+WeExn/iuUgBD+Qhxqd5O54ThvmO4R1WprPYyd9Sf8MjsH06CQIIGyd8vJwvIYVrooGu/ep6B0seKKEy39gBLewcHUz6xOcKp4VF5ko7J3EgxhGnNrTK79+CaCuC58DF0bQ3UL7Px5uFvS3uHfNd9LQ6gu0ecEg6tO4TyYtLQe9zmhDjhpAk3Yr25VUDqmpzDcQNi8kNFw5CdzFgY3wwZzdOI2VUigCGZg85PUrxPeESBABGb/6ftqVbkyqDb5shU5wR94NZmKMSgfWHUAU727rzSvddRaY+K+bq5+g6gH0epfxJMvwLNFWarT7iGgcdD4X6TmPOvrdw9ZTRNLE7x4NT62k/qJwkmgbMRoQ8JitLQP11rjj84OQauvwlZ3fhj99J2ADw4PAkNR6J5CFWoIFUednQBaK6HURkWj3BHI64hqZWSZLQ8KxW9yRDYc4KJ+OyxMaIznltZ4+AiLNbCyoxyeC4W22IogUS4pJV6eTUyNkAi9Mcf2z/SdW4Lpgi/zUdfOcMlKqngcxJwCNkmKjAalaDOAiQWes0Fioxd4IwBBrhRNA9A/BjiD2Mb1hCak2l1vqT6w++V12eCTOoRixT8F9VYvupqe0m/OY8/4UWzczLse645gPb6OcDyUi5Kd2ReZ7gOSQ2o+14+xAlasNMDnu8MiZiWcHmM7LxVxP8iRQVJOttFDF31asXnGDLMTp4xvPzoyuVYH0MVDMFvXOlEjbwx1Yf0uEPDytwzPLAht3zbTsO95xEWOkzNe4L7arlKJQOC2NolpTAMqwALqCriPibb6oLWaUfADIK587DVUzAXiEAQbAdZGQ30736qwZLG/XTwcBjAqmQyG/a1UQuyde6r+DG/EN2vQRfQ8Kg+4SgJgAMMxUqjU2gAYAJwzOVIQrnL6ZXV0eqT9PLtLbcVn7AEgTE1D5pZ7IlHcL7dV2NolYCzZaHyOvhF74DRPacYK3/JMZWKnKDTLENsuz4Jq8wocSI4hcntYbfYPLp7T0tGwFvRqafrGolF+FBP0WZWQ8MqjC8nmtaxofMM7W6bIm0PmOhHM9py6LFnSpw8Ne9uTipzftxz6NZFFiY72GRtVVU52Fwgxv7JGwCELpZQKfDbSIV5ApKTXAeNPdoSzwQvUqN0yP/6ZhUyIoivRXEQZ66lt4+JULjwgspJzxEv33SXzoVNtvt+zIEZg1GDhnuRh3NaNfWpBI5QID9ARQ4AOIIjlOKEB4NzXim1WEqJsYsMptG90FA5QWWGCs+zgOc3zZ8s1jyFC9nBNL/wTm4XxJvO3j3kV7JKQD7nAIjxETlpN3Av/i0pjwt5jE2A25F5rRhbLHmvtqrTz6mC7AtDnvJx7/UVl1FXuSBJ4HdB1KbIbb06/w3KWdFps6ZOdhZWqtlVfah1LqjqiNByAeVAz1BFTIQbHU8RgUkttmDFdNLqXM9yyrRPbWAE5o7pqmPYOmOXgdjC9+eNUfDAtlq5lh7JAOTjMjiRrRt+jnrGf333wstgo5S3nP/Ylsz6p+FAhtYGuA8n5u+mV4ta2oDY+Rwc6qOzh9ADxN05cZIZbZWcXoPJTA3g/Cfn4xBnjWapIqwLFIzxNu/GLS3+MMKFAczN9vJ4TY0COJrWoqh9YUXwJKblcaxOV5O0kJWVCVQym8F6EuoIt/peLK3igdQEMrX68V04McsV5EjKbD44iSTKE6sVffr04FB+WJE5Blu9f4Mrqn7FsmMVv/wjE4sllekflXM+guA0ODSOTFZx4BfzNq2/iyn4rEtPzghSAbb/6/JymK8ssYpkSN1geSl1R7U7kifaQ8YGQL7g8kYWij3AMzfhDgThA72F8cuiYw/DdO9w/Uz0f8HCiOfJQoJ04Ke6FKVSI01aWY/PUa+C+eJvaJO/YQjPQscUYw3sgDK3N+itK9OJ+RHR0VWnl7AsMYJx58VU5uBra+AZN8He/NrZg4OwHAplyuIs7vdBCz+4OeLcBs5aLX2xPf73+Z97TCvlFtV/8y+gzaWPUm1VbenoYkbs74/OL0dkblNak1OZj0JN3fTHXiJwFxE9MFVRAf+ZVLscaQNohenAj99Fk4AdXgUYcCAxx8axo6IlM64aRC7vYkKHl2goevf08F6I0sepnQGVAj1t6bZEwxgTWPo7LEeG8CkSmE9ldKsuA8P6Chl8Qm4oNCOoBU2DeblUq008PxxeFhoVhNsAYAWD/JvRv/RRH29sxa5J5Km66wRfGP5Pec46ds0IchpGKVdKxpP8oR1pIgIuGpN2kp3lYIGoXz/FhIbyRjteQVtQmEFCZ84CZvRKyLX/ahw0msJzFghnFcRxMvbmAwqwnr9f04mB5byyJxmtzgQIwC0Do75PCVOn3smiXtrfwR78374Nbh60BYIL0T60QswUb8mlFf9dVTzVwmwiY82/xMVH8IWzczt7d/6DZCrZgifp+G9PgziMvFMwuAbT6gwGQW8/rdHYKFh9tMt5lTOsrPv5fs2kSbhq33aR0kN6cxt0/QXQM2x4qx6Szn76USMdU16Ck+i2eSYqbunnYDMB5Q2OOU6rJI5Cmj25ICW25AzzWB40LlA9xzXvhw4p1+QW+EFOoN8hVI0az6LurWZMTPW/NTwMbPagch+b7CnppBrZlD6CUothZQkxT29qcnQ+pakKft64zKnTiEnE6Ipa+XK3TccWA3hm6ABsvQXJSFD3l55QlFdgiqoqhlkm+A3Xob6TaEvC6MlmVxUmhHJG+QZBEnnTaXvJULDVkqwrbOQOn5bPFNNrLXo9DvjysmPj0MbFUYu2fwICvVg4BiHce//8A4/dbq+QfjWOQNZ5NFaUxdvDPSvaRd2QnmPEV0/6zPFKzAUwP2goXHgo+lgRVQENJ71G4zcjWGpb/zy7ejock7v7iUsnqXKQSFmdt1u8qJN4+oC1QIBqGQUEOXJ0U2oRkk+Lzxqt4iP1BrozlQOo5SQngveH2p7u7yZjvgowDjTjHN+XLnXotTb67bxfLiTJbDF5JHRh3ZXEYAJyHWfyEQPcHKxuigZKyCDDZSQUKusL5WkIt2LmOnSrsFcvvPkC7sqinGhRQeQTSK+tv8IWvNBQjWyVkocG1pYYYXuM5OP4FM0+PEJFPa7QkhIL4xA2IFSeEKFd91lTqaQfKZRQfgS1JP9h5cLTWaldZj0QnPmFoRloxDAu+aluIQBVG2Q0ck05YWrWhw5X95z91SbcN5Txxr6su6+WfWbh04TMZNNFl98Ml1WNzqw92sAF6L+RE1F5VroyJ876Ja+dzcvrV0rtVrrhnz8+vaJS/ZHK0TdWLmucDf2eaXC6XLsTYh37n3kDs+7CTLuSw1LHIyUqKONH1zjNT29h8bQMAa0nJztKw+OxZ0Ija57G3s77ENS9ekGGYOLO6OJgfWUb5GPPtD4X8aidRdd1iRBnoWro8g/79gU5dlPD8gwYTkwgdIdXvhDRQE1Vouw0FwlMMn4myiG39ftlzGrnZSFEptHE2ERESisKqksLsF2cVW9yfV8nHUcov5eKygexJYHwEAyD/15J8sMf5U2UU0CbRhZRL8eb3AehEyF6xCIm+0fodfTpDZifn6Nn3NIZlYV7+IlMwcUHBrxWT+ut9forq1zh7qzXgzks4irH9qB/yukzeBf6O5gKYjM7SdyWbuTvL1j9o8bbvKWUbNPi2CUEN7jU2t6mgHaHyubqVIuYwQq6XDIxFlXrXzmLsDIJYuUNJjS3M3R11pUXt0KxQ7+8GLKL0h56Ql6076bp/+XTnZgGU9BEa2Qtr4fFXSXgFOkSHRLyU98X9N64+TdbrCSN4ceDUZ4dGFoGyFvVIbm9q6Omo0wQ5iCeieTE2lDSWWaRoSdGPY1lLBejlA6V0RAwvkwbb+P+Z44Ucyb9VXb5Ccy5SYO5ZVtoVUhKxT9KwpZDnri+rBOK7XlF4bi4mXVRqurDfkfXjB9ICvUsqH80gWRwg+MX3G4lxG16k+8E3ILmfZRjArwLCb1C3qjPYbboT4EwofCReEpq9YM1duBuJAXFXkIFUcFc2J5vGzyttMCznuZNFRAxeCh7CY+3ddMhLRxX9AycwNyhTM30cBjm4ioRmAJ6bEvyyiUgNBvwzb6ToB8Zq0JAgZ8MRd93LdY+PBh/TN35YM2I1jisAJNalveebGBjUl/pb8gj/Pr4WXGbbgCbzjYeVcLKoMYwuuYPlIYKHq4LsMhai5dJTWMMUo1cOe1ukB9uoVFVjKULR9/gCthL/EsABlanTzQyuI4jcjpsH+o4DDvjvb8HYs2ht+W7NGfFtSl1z3DhGlHHZ3E3m3UhUUVQ+htTsTYjfaBw08tBZ8IjxQYIuxVo43/hfn1fa0xub4sBDjSqj5YQ7qXedlolhNOnhxTBeExLveJEAsyuRAGxGNJ7zU6joZZ7sdEXb8GLGJzJIJShTVevzT5f14LxgJ8M4Uon8hnPEsLGXC5IE6TXhMOxbujodjbkNjNIO43b3l3dwJYxyT6MtAU+g48Rygz/5MfwL/30tcy1oWXijW5Kmpl8bFXY31C+72i7PoN9anaFZut6ToL2zT3EDxNT+DdJntu+hUF+7cu9YoWa/KQvbPbJzOGutQEbYjwt9C1QXcaTxjeMYQaMQQmmLIm/4z/1+fZcItOuJ8EIxof8N97skdQmBHcWDwVMa7TlEm9nfXfcR/9AqJiGZGcVCtxMLP8dfeBZagXlQ39I2WIA+zklqQXNQAP/XUb6HRLpTXsRAA1wRb7bmTl4N1ZrnioqBZBvtR1NJpKTRQgAuAD2YusGd/SxQxPjdU8wbe+LAj3E2g50QX1SJPTUP+lktX6QAM0eBhbb6PuDn0Py4ThR2/9dzhfS0zxRaDA3RFIjLOg11b4aqHOD0D4tEZGFHZVghbf3U4w8Yy6UKu0dJABR0VJgEaS9x12EBAIWjT12Snn8SqKS+FnYatOh3djhMIMkLNPDexXmqZilaNIMbRzF+Xck2YnfkLUQ1/I44hR2KUYI/bAHORN2WTLBBKzAHbOPM3bqSN0n0WeFfB0xZgMuFXOvU9IG4AlFsAcQejnGVdi0+wlJeLStAp5iIUxbR/owVgPJSQVr+jaKQGoAY1nJ/Fl0CuN71r2O+zMVkcME3KQAGp/nu77Wlh825mN0+EnrXCqEdnX5oKyIVQh0WnvUg0USWxFAJ4Wjp7Lmqf/OR1YsxySoH1rEOxMdHsgY6By0HUBVDJKZt1QlgE6IZ2Qa/J4eTi9eMP4GjBbKKj0DEhWPcMLv0Z1PLmCmWwXNuH7FY3oKUo3T92PzVejPXs0dhY2koP2tSAG4OtLsmhjAIc2CD/Lt2n4qrNPAkieX/vYsFGepI1uEudJN6pVHCQ4vb6OJsLs0JGHNyN7wOWQ1o8pfotAEV4xPPgTJxxon32B1iWkvhv0w+7sA3p/55gUyeH/zyI9hFK7yEdm2t19x2Sqxz9+s03HGKhYg2zwH1dDgsRVfgCiGJNOM3ArlF3OZcWTBeZjPXOHjml2F0GqwOQSGfPUW6k/2Thi9xdnPT98T3zM7Izcc66egbsMss5cOMmikO/jdi74H6JUQZFgk5oeoGWNg/0MjfJx6HuhRnsrdKcUk7aQEYKkkVrTGvj4dRmyjZJnrhK5prGZPR3C5440NGx9r0uqy0I47ewgLT3CbeX1P/btxJ/4VME6RqXilXy6zQmRj0K8uv39ZqsEepytns0kenPzVAF/qItKS/9HimTMt3d+dAGJNinbqZlT44wgVAQHq/mzBiYHDIps3Vhb+HfrCHPzisVz4oD6aMbEHlHjjv2t8jj0qJNZ4phcdo52u2+Tfpc95sS4z6RxY02/ZE8NgFo5/u8Al4bLgtEoXar8hdZDWs15zqdi4+VJMu8eP57XT1gDEqmODTm6YwQw4waY8lYU5xKNaxRUxMo6IYnbafVI7I098H8tvUJLqbRP4JDTlkvudcce0SoiHKEfIbO9KTdLd3ladG+KfJTgtZc1U46MFXGgrcSmY/e+opU+QJ64slD7M7jL2deSxDnsuO6bYifhHFY/A/4sKVCX3u9pw8CvPTzDn2haoO/NcpHeLR3uqRQ9CoEuM6W+nUIVU1YqAUU5VUvMaWWwYdsrTa3+cGU28ZLZH6GIM6yfTm5skEF39FdLJYcELvZeoa97fyGnmGr3egFTKvYpyrPjwF36G1khOi2t+LsZoGrJYIHivJ7wdfeO5ZDJ42fRjhhPu5ROOAMkDb8FQscOlFKUzGAnlfbYw4g0oRa9J1RzxW7j6znIlFwFEj3x2ztRbhcDLKxYvBSsfMKDJ3ZfW1t1Qtfww16VAFb5GS0PQRX9WzopZYzye2k21MdT6mlQBTEzWTv6JAvw0txhvUgWF491NfchNIR8n54UZxsvkmmkhaYVwgEHFvWUk2fw41CSraYFrPruWcV3kZZWpEcQwJ5t4uWR/9hOsLw1C10YdaVxBDyNJac3WZT5c+NP6CKjbqPpL5Vhfazk0ZFpqZ4MJlCGKNqKxgfW57I1pRcmhUJE6K8/bWjK+Rg0JB0bnjaZDQR+10WtPpL82yQGoCw5ckyzh5QydH85CNaGWRWYqAghqbbDmtJXotpQ+SiTefdm83BrW8CMjzii2usLNHtgrm+2l/6FC7nVGIKYSdeYfa0SQ3MgTBIRu9ljaeS3c4VDmeNc9ABBCvzbijuc07vGGwkWdwlpxEBvOQsdxF72YaMRupmytKxu7ROZL2R4EajbVIrgeuJzjpxMRAsLp7R+/5zzvX5LybJ9GhQfGPfDMUgMd4en4PKrr2atqpO9ZS88BmcV+CRWNLwa90wlikHleJLJqEaEOHw03+8FN8EdVzY6BeYjARzr0KkB4tv1ru/JwY+5tfrZBJYNsjNbnsnksNjirg+93VgVk+tRlghvBUdBZgtM2IJMUgnFf620Xmp7wpgU8GWAznC5jW+v8JY2uRmh+4u/v1IOvkP7CgYs+jHtNbLAflTPHip66eCcqvIdjsXeUFlcwizWLvYmOh4bfSpEuktnO5bZIPCFh9FWqV70VvbL8br+EjVN6B5AsXvEdIsoEYTdKy0keTnYaJqGtfjIkGz85v4VTupny9bqzpDHpJo9l3+Q8LET0vLb2qBZzAwK6s/dKYd6mjWzAmTFo3w/y10+mUwqG+GOtEsTAvbo9wMeHb8x7hbq5zEodZpXcqddnLsMDoPRRRV2LrvOSbVF1yQeN0kHHib1uQTjr6GHn6mZhDh2mXsBcl3/eqjv8V8mA3SdqLswPxy5l/7dOb7flhD3LZd+AMzlptDNHsbQFC+3t3pJKJ+PcH5y+H58UoRgeNh3jKQTVzBmrchejuuzDpV+Osqa3vIs0kIellWgF7AK4oz4b1bJI4tYdUO0hrpHLtdoP/x0CufJN7YX4g0tHgahly8q8GM47jYx+ao/5s8BEJnpl6W3dpVVoPmuwNKQEYV3HeuQqpaW4HCBPWYTYS5uqmfG0c3YCwFcYMIhVzBeZqiFOrF3nfc/6Tt6oy3MXJSTP+uCuDALkcki3iVWEcGn4zk4A/Vql0BGxg/7z/a4Q97/THnpGkU3UcLrGUTWbMSmIuWA1JP5/JaWwtP8cyeXYbBJP8OZk1nhL8YTnk7Z8EZwWNeseAKHaB49WhAJvE0atOOhphVSWnTZRSq3Rfil/kpCF/IOMc738gXLy1vw1gzDoEJpRlOh6dtKcRQi3emxI6xzZ7SgzSsxHyf4ggVvv0lyGVlO2CoPghPyeuTEEN3gPWlYvwbeN32zkf04Hqya9yGP3fAPtAiUrzzGaQtEj67K8IDPSOI95VnuvYLLOgMSTF/ycGGCbZaV59SSY3dKf4PgKrcdLpi6aKJOe4E6+wffB/WCvN09PD5TDHkJ7/8+m/uhUWZYYGij8QJ40Qacknud71lWXobfoKqgnXlUtOXVJgkbiIYJTqSy2hcFQkFCqxmaJJomKddFT+H02VMwmbbaQCEEdTIsBUWGL+8gnUfRmNdMUdSDrq2U589SRz0QM6NYXnADJQ2gcgmH21WokC7X1xEZKB+gQ0JWHyrPlIAt5eaVX5Q8sErTt4uxzsj6Of0tStzsSKNcYPEWnDj+QErPKnl0SjcUf/YXjX0b2Z5gkNj3MBxwft2vI45Ltm4Og9my1tEIIwsQ9m8LZ91q4II0JLnC52QwwPdZ79ynjQHUo9mO1MJ9zhV1pWyxLPZHk0gCU4SY25cWBk5UoCllcUe4PhsNbetOFjLKV2k++FJWP3lT8JkyZnAOghJDtdoNQ9d2+dpwJeh76yC7UjnJQxBENkh3D1M474UkntfI2frtG7JpsB16NG/yGGpq5/0tuNUB6BIf0HJ2vFCwf1LZIL2zp3ruhIXF2cUyf6SUFdvBTtGaX5ZODt1/2Q9H+lZhicTp/5b3z+mc6UC4NgPuJlBREuVOnJy1b0Im6LTjOXkgIr3Wz1Ics4/NkO+lbX2sQmxadnP4iipaBAAIxV5VpyJZjyF63Qkrmnkw8CDVYXxIDq0rmekaMNZKqoJXm6Pyr0Mthn+dN1NeIAoMX7Hb1yvLYcCIQTOGN5bIGZQAk2wpk0vd4RWz42bu8kLRdi4vl7pwlq1VHz+AQSpyJsQgGbQU8ZBGRkLioQJTemDX0VZ4ORZIUl5x7r0BLSwhtTfovOEhPzXKsIkxykoB93vEqXITzg27NywIB3ev2RrJaKaLAdIlpQkTrgBG9N/DToXbWswGWgaUSxcn9MhqAgYpWAT5KBk49IPsrzh0nZascH6ywS7quCgmSHTu52vsOKewYaJiFQ2rz8Arrv7Wc0znApkBWbUi45uqhSiPhTHkN9DNR0/X0DOi5nw/NELLW3oIDs4Sf1d3VX8tXbovRWhSg4r+XvWfdUNRrC5aiR/UHPcgm1uosXh0G+J5mMc5PVnKNU2XJJ7QAnSJViEb9z54p9vChagD+/4xBUXeSimpzIeVfQd7A3pl9I7UdoD/sxHAz9hivkEijdIoOAeRM1zT1xIfAwiO3gFpC4yitrmNO3q5hLiMzUInHhTTtv+4lk+TcsnPTRhRf6z2AY8ZqAL5AVrM7xW24Krpz2Z6kOzNkJrZXXkRBfvBnrbgMIpJ7ZH7cy/8+Pzhq2TFG0G2cKDB846rjOzj4kTrQQR4CiA4Xqne5FUKwpwhV9EEibH301zzzV7BK0GWZseT630AyN/DvtqWM+uRKGs6LHvmLNbaPOWN5JLViKKUxkSj6SNPemrMtzMvJWO3oLtVHatsH8Xei1ctYVJyqKdnR4tfiD6Ka46S8EcWfgDrvrNpWgWBwR8e4G+EXq3HdAjbsouiDLdoA4GQtdNSSGcBnESWQ6FZ/ovGXhsqkk+/SPwg5wf+jFi0TriuY1N4OnEyYIY91KcT1ZQpMW8zbnKGXDmTwsnDDgns9sRrDMQ7o/Ig7FbchgfcpAhX6NBOyjudVpkbh/DbNEtG9TYlQUqRKDj980GdG532c5RFWKwvmI+h4kUTBXvNqWeh+ntCT7ZktApGzl55YEA8WMhhYPxUIICn2nAsbf74pXIb2akuO7BfAf7/JOa2WC3Ne6WDCOIiQ9/BVhjJQO0FSzjs0MeVOg3XUXglbz39rGFauOay+IpOq/bHF0Bqitp3VCEjrAuH3zms/KcnSbyLD2nMQZd7EzpFEA16fGsrSRMfP1j8wSSwq7gg4BE/q81suK60USUUOeUK/bWXiZ+EGltoS0sM+Blj6CiHnJ99lEeFGFWbBaJv+h4PuzSRCy1shMqgX7FEfaxLW5JnZJsJFWFG7tnlTRD9D/U2l1Rso7oRZ9xbiC8951at9/VdfGtKGOuhc41ms65AN+hpQphaA+qGI/oQZZ/Mf2HDExj8urx8JAe9Aj+bdaMbBh5shrPmGplTFriS2t4yTVBjuNEO4knJdkl+Ge3EE/47VG1Jw+EL9lTG4VkmcfzsdZAoUSNZqWS95AHwbsfTXRW8MYjpFHTQ05sXe06xAb7Wqt0uAQFbYwQ1RFVX34jP3cprrKguuGlmhyPrF6t2JauJXQpqkHr3MBIX/fkv74LU7+TORWjKDsO5XVq2R+Z2HqKD95uJejAiOe4S7/fBDXoCB5ueQN+I//dh8TfEBG669InEusYYuH+ei+/P28PTY33VhP/wvlrdibODTiLlPnrvpQO2CJyTHTWJWoU3r9JJh1fOLnIZkCkaoAEeVtQ34SI6oescMr3mnd0ko5ICQm2gaPXrsKvb1aWra8Sxk8cbBhS5I90GWeuX7RgZXKEFtAETLU/xw+TOmUP0NA5xuOtH6irFLHA5kbpErmyyUh6JDCicqKpVRUXv490I/+drrJdL4NQhmZtej+0RyrJ6JccZP6Xf9JHUZIL12tHbt3jZ3hfdl3yeiUcDBXVBxYDLv1PIdX6CawHBlzPhMRBnrC5Gk1dPK6fTlJtPG+xAVhHeL5EMeIBKTnLVHJascplojvBLbMIf+09ItFONxG49jH+xWIAwUkocJ2plc12rlqUgkirXbxar0NPVKgVFn9cTjdIOiq6pPKZhjyESQ6MNSkGGSHQjHhMPj5uw70bCX8RezCTixZBqI/d5Fk+lc40B92gzRC3udkEgUofru8RReNvc6o37qfqWCTL85HJOlUmZ+AszBE/YpCkQROQK0YqN/TF3as0wGbUk8/59HODgLtzGKRHRfVsyQTGZqc58KN3BOtF4leUJVS3JaJb7ov4KXsn49WgUanTUcikQfK5INqInWy/Nk5wmPVVD618GUzBv5N/rOFRTdaNHSGBlXNXrn1k3SC69qigBXWPmN9b1nT2zbydyz5XdPqwwjLRftjyT1rGGa8ZNH4WlsPzfu9Z1QVx/YbikKZVSs3QGOKf3RBAh2O6VIWw/HLQzBFhS/8AOGwc84SVWpkuNn2OV5ietMVSVfP8MTn0HztnGIBqRk33HYrASk4AUw6nMR2XCcU58cAm6iuuFzQT9BpkyxEg0efWuchvS1WenNVIf8FmUCz72Q4PmZ3dlxvZfOGmyvTlBLIqbl/onJufEtT7Anh56VL8WvTwEh+k7x6rlDu13R/XXk8OjcUVlZXEYHenKs79Nfd5LUBRIzT65j413tYpVGHX7Shs9OVBfuRWMUHKdhggyNtYOnghccvH4LTBMkG4epNWt1v/fSnZ3dZFjj/G5ulbdtbbCByLNRiKSlxexjlW8V7kM1bSklrgRrse8AEJOPqPgz17d4Hyvd54b66MewOmfSdlQ3piuBz5Xe20aXAYSW6xLaCpj03rImylBpqvBgkTyiMUPSsuH4p2truLG53bQYhJ36jF9VG/xkHDfP4kbz94fbO/+ZJ1hw8ZN1/qFjtQFbxSkCMdxrbt62xQemDyHm7R9T8B7zLQEuomtxAy2NlIRZmqoCLka47jtoR6LxDPQ6x7J7aJGqYMX2bnZFHI/xY7doAx2+9TfK1sqrWPGu/K29ndRCrRyoGRxH/Jlln0S0xAeN3YhwGJT+D7y+6co40lTGHYbBi+/BAFKvzzGbCd2KolB5KRYfL8qU93cVHcGmesErnqMsmF3rWOdoIg5o0bDekt/isvkjsJqD9HHsWbxFxFPH4OqTrtAieYXN35JqvMLpJB4sIv+68oBRBn9LCd1TqZAkqah7d7Uv7r77+mg/O9wiOT9MfiTpzxbdjn8ijbX/XUBxa1RdgjVCf2+/vTB81Fxcjn5fAACxnT1ZdwSTyv+f6zH2A5VO9wrumoXApnMn7+/ltKLSgbqtdRlByMwv8LGZcdXeHnDunjQivK2ZdPkgMoLjeAbxDAm6ZFTra5ehq/V4hUWxVb/7nqFfTactI7bMpJAKr1vjig4KqFCRUTJoGKaTM3KOLPpjgoWaj9DBd33XiBRTuTCYh91K9FywoF1FJA1BTyHTOBmxNN1wZhbOlP45/h7Mv6uFMX4eTAD2zEo6zglPIUdtBw+B6+73sDLYYswgmMXtFU375wlj3BV3a+dwWUKNew5v8N/hkr7cOdq9en6TT4hvDCUQAHDG1rr2HHGQPkIqzRthq3d0vOQNdtKmaHRQkW8rRv8abhrshREuRxyj79QjWF6a4oQoa8vFItvqCOa8Rb5Nos58Kb9SehaAk1Qlv+1mgOteNUYRtrDHf8DlJ94tkDoPHcIpUkoQU+wP2464nNPhcAqm0HQQX+myjMrFzYfwZZqSi4zfFWRA+1fmV8S5Q38JdKa7C79844oDqPB+XUDIHYtEoo7Fi+6F/iE3whl8wM49NYSokVgQCs4A6zZ7C6iRa3bOA1Uod656UgsYC3KyoQM6jBNp6VQYsXBYsraea30jnCVjwMTf1rPurp5Jnx4W+eZ787CVa2hiLO7LLlFF6a3j8NpDlIAWmFqPNvOXKa/rhXzGYbzVcPIZLmJAjFp6hxSAZTsajB16AYgC7uZr/dzuJubv/nKuw/pRUuAGwHGJr5J76lWFUW1WmeX3aKCA+MaFjTzrG9s1DQHJLcJl673pCCobF3tdLQpoW619J3gqv7evr+TRBhj7hDcAVJwR3rMyJW/uZ8sThDWqcQheZCSZXrTbGCFkN1oPl/7DXHoKDERhx2rUBXUFK2Mb57+B/IcX8WntDzAWKgMzJvEmsTZv8fj6kpevqY/I/D7QGyR470xTZTj1XViAWPY7saaQ1WF7RQByDpoC3D24gHYPdPCCWNwPpJz1V9J+LCMQVi2RrlAfOtaOlc2jZXO808wwrR8+vms36XsiMpw/+91fF+Z+BsOxoQDkkWE7fTvP7jitfLbpNYgz3ZgTZFAH/NmDKepvJY6rkCKLJP9Y1Vry0yXSa7p5QYfFfzNUrH2Qm6Ku/QQgW+OufcybaKC3VBozEoEZYbYK0QPaicOWhEkr6nM2A4r7cyNeH1DvJUNacOlCNhSVh9QPXqd1kWegSekN1FQ4kReUxOF9EyP+vaSO2KzCb7HEW8wbpEBo5ZlUEBlCMVD25zc0z3jdHHQqsnXIR61jXmrc0J/d8oeP3XWOfdTy574ySSIS48nL+Nr5qjKdjCYZHJG/ITplfqk7ZLIyoZ7/s6knlVyPS29xwTe4xdaG0wUsl3mQGeNd2OB7fj56RDY5bQjpSJjhCxTIoPKncdGEkj5XrcdNlHUjyPTMnlWjWWdxMxmXy4HIfJwQbT2Sw+h2UiAjIaHdcFGhIer/9yLpIPNSA0W5lMzmnPLfOQkGmTCYFpijAAap6m1L/tR6NSL3tR4dRvhzSrEbIVdn5EOR0AnLh07Di5z/IbbnnkWAw6+1OS508EbaLr4qh3Vso+ZN4dDeA75PeXJdebntO8zl2LmV4w/jZF8cWKmWnCGj+srw/MAFRFBp+62w8MG6P1eQGh4DkrJkQrBV1WcTXHnowmqhVoRmzyUQ/bh2lWkyECjOkp5v+2yAFOW9AjjemDDx4H9O1jPqw2IvRbHifsSE82VLBUyKNkmTZYBy0YYyrBJvKLyNuTkKODwt8yXsM4dBUgcAN4GilMd0UToZHCa31WRI4vCGSjDjeHHlzhhmpbHLIS8p/ua7FxdV2SN8eLN7ht8ws2wdxHenoeLorvALByynf+KryH+LC+F/3oInm9cHVuGJX9v5sJK4szbYvtCtsrv3tcm9tj5uf+qyjH8mLD3XCq1Olgvelhx+3IVGkljiLZ0tlDaBrnW/BK8cZALZsuna7KSrMfjWCjVUf20DhoJ+Llnm+1SQCDLGjsHiLlew+QuUTGObM0flXnnHKomyZqkh32AmCJelC4lmsHrmb5Mc//Qj78f5AkD43t8pcSXTrVE/MPWrx/BvbN9Rc0gOb+WNPU9ssZ4qs1ogtTVGxv5irwnVTYY+thzbftkVkVTQ6O79+iOf10eGFlONN1lI4Ba2ZozlTT3+sH4sZQDBrLjzhZpG7hJe5hN5n4hnyzA97wwd3IAJ/agb+cAwq6aQlLA+C5gtk3Cn3G7EcALLmygKjXX6m/NaSlBb4cqiMJQr26ZW0dlCWlIDQ5rhZUU0UMIyvZx3iKXuEpwQ83dukaEBlZZkvEF5xHEEFJAZRb6xex7wlCef7uu9oTDnGqE4BztqDKE4bUFZc++yWGdpM5dj5vSMHRM35x49/mXrMAXvkSXjxlVt+LG1d29p+vSBx38nYgsa4QjQKwJgVnBctJbsDKF/+Ez/Zse2fa0oSrECNITOSis6C7aToqLYFzWeHtfXNfg8H3wM5bnUgkUeV3FJn5K504wwYP2ZZElyCiNn2wn7r31TfB2e23mkmhtTBvQy+GEEi43R+7DVvtBeeteQlAWoAcoogy59opP46q2J5fYSM/JVAt0sbLWeGFpXibOa8nC2cIx8Zm5hdFGM3qqA21qFJHEQmeldyOTq/lEEfKwKFgSEDYI+E6U3ouGJURLWtE7CffH61jDWjb7VMYiHU4Q1MEzNizqESNGEkKqTsfN1nwaua1osQMLEQBooUKzEAiy9v4897LLgmLcW6U0HrMPc1jomt4cvU5ZD7wVBxLP3F5+O7fj/SSdwtI1KwDNQQExZzxlx8bs8NRhvftXqiJCiWcKrmsvq7jfIQmCrDxiUGswCjS5MHS1gNc945T+i+JpF02lbwCYy/3NLYY4fBn1kZREaDvlYl3WJK/22+DHllVt6mlHaXRd03uGuGNZwQSNyJt52Y7g5xqoW3aFZIHldq6s3iFsIo3xzdor+RG7DuZYgiTrzQTjpfr+k+Wb31mHgc1UhZwv/U6af9O7++thKyKY1NNIRp2JDxvsddtf490/aa6hgTaEIzTfN2OkTv3RkdlXxGqqVBze7lC2z1AFGRrSQbvciQdaxuwFxWPSO0vE7IOBxE08NLAPb1Fg57VWreTUAIOpx5mudEBj3wfPzsUmT32xLDoN4B1WxREhPFLCeSASINc+E9zPNZbCkmHjQV9y41hBGe5gqlmh2RdVmUGziBD174e4XzjcxL6TDGKVNCEh2WFYffB+gl92nzbiIKd0aUsh/VmrG/l3Dz8ozeoE0mBPMMHON069LTMqhxDEF7Vc+t0pBQP/x8AJTlvGPONnJufMBUixxlL9adqvH75aXIMRuD3XiwipEeWu+P6mMuPpzPwvnrDag9OP9wySXxVJypuw+hhPRRnVwxVIA0m9TayyqVY5WA2tiRZbyPJgiXvl9DKBPTpDgehRRXLo89gED0aDfo+j6aJbpyT14ygdG/kO4ZNXUmMkHDpuMvEwzjF31VucpydjcFVpepyVuE1qL6ul70SmUeCkjfVPKQRj0E43lFo62qxeypr6oPmVw/B9cJeLSd8Bk7wC7iJhh2fOIX5cfXWzpMfZTgE012QLY2Mgv0uNUZu95TdshV5qtVzCatz7n/ckY+1HGtvMNdkQK9PcBMWNN++QuUGRdpJ8Hi/p6ZALVvzYLQAhDbc9ZHkbkhQesvrVkIJwG3PJYHTp4XXgkivSPCXeDTdn9Lng63G+YxxHw9M05gYHqPsCy3JjY/Un5hviPyBqUGYK7V8LX7jcMzCXfOJsbjaVwKQGidWtaymSpr0pAOkS4bQIvtnAWe42t2PuKxDoW2UT/1zMxE3lltZlnBvMMeix0MnUXFs1FrdWhOJv74fmONh6NBDTvgqrph4XAsJKbJauAbDLA7VI0MZkr1ax5xJXXxqk1nUi1ZtaGhSHxjMDb4AJ/wM8LYZe4Yp5JWg3P6lQsWbs2Bkit1y0D6Rr20QSkyrGt+d8AIJ+lq7EUrDpvdsEZsmf2LKDF+brQSdlqbG6/XacoDQhuOzX9haXTaaAT0wTo2B85wmygcEsfeMahNhUmVuLAIzOsovkaIU2LvKBIufAQFFUhDcD1HgbJeWMM/fgT3AnwYbPEk4Wcdyue41XggWg7pWHLzpEC636irbIcCbD3b+Uu2ZNO8ONo8pxUSZmGKZ/Yxi8296V52AKJcoAvbvyMbjMGPxiPz1yCjAOBEDL8kHkNk8ih3YvLE3VeWSFtx9GRLsaSGttaznDjcX0vij2X98SoC8dlIFm2NloK223Vb0C8rUigxFBAlObC9JmEt9UngMPig63D6OuLy86uymTbDuWUz/98arimCzXyD3iRsxd4P6raISWLOS+GF/ypHbbWgtjWVEZ1Rmuy28xLTDcKw7vw8KlYjlaE3DM1si8r76uVFNoQxOHAqJriOAkZP+8huZjbkkTDz7HDPAZWgIDqB5q7ZrA2MEbfPiFRmnAqQHa2p2JIxqHlcnVDARWOrYvzJMLO9iFIekjbTt9OfJ20ae1F3eLSRFfSEAAX2L7rCOUAa/XBSltwxdx2SIVA4ocxRjb1iS2YgMXll9jdn2T5QZgNEBkopqNVdvDTnxUb+UU7BRdHmrN4zrqCoqMaDtHkZone3G3uAyXYK11bN/q+YzYzjuF7K1DT06upoQen1Vof8MYnAzO4jL9xgsXRqADaQeKFACe5VCGK3q6sursib9ko6XMOcJCQZebs+GhgvGnUefWkrh1tRJvCdlqcsgBTXs01UBX+hrxYF0YvZTeOqcdZESHxvwLOnCqUWRKHZWIamca+9xMxrb7YllAuIU5DWnEWr0wjFjvNH6/y82wCxFGlKEXnTclBX3ZnemXLE/OcEY4VpZTHVJu27MyhC/3Ul0JV+NI3gcwaJkmHbIDGkQ8j94HEfHbRI3Q5XZB0fi+IYUllarlDH33YiAekLN8J0/m+yq0Z4P5ltTWgengu8s6g4mr0xzLKdCm42RM4hDKHofrrC2y8dOnu1n/44rD3We1IKrzZ6menRx3NHeJkZZZq69tfr0E3rbL8qWKbamYxGviU1SpW6QTfDNXIzrpxLvzfJ/zjR0JaSc4vM0mU7jVyk4HmRuSPLvh4SmvQ6EtBxBrD6VuQym2U0ZhowECUEwQ1wqyYB7nWx6IGfkVtmiGv+sZZWp59LrGjylQx1qcI/I4pIjig6B7kiBZdkXe/dDG5lQYKa0BayFzta7lGnasKY2GIVaCNE4G+pvcDIBCmhaFDaSt1VrPmKi9mjFtzpe2G3gddMx910uZdnwg1QEciWgG4C4nkNpLfHdT30Z1UEgX96CkIvevNTI+JLChVDLb2qHYZ15kBLicU8c3fcDBneqHEmV4PGVOQGIsIAmgJJLxbsX8oO9F8zQHr9Ck6QsMjoBsA1wIQW6M1AvUYku0LKbSnyQQMOYZvKVx96P6XQS5+Ynu5L6CzNAipiaI71Egfi/IvosUxxyFxWUmZM7FjwpwyKF2Nwk8ueCLnfWa++grILHh/9ax2hKlFE4MaWXyE8AdUwAsETzb0UNEkPoGml6+0/z/uEqNvGx8V3ed4pQeAcphbc6w30qsHSgkEUu+f9NDGmvIwH1DCb0Bf/7CXqceQfM6rKW5eOzuqaQKqcTcwzuEEPnHH7OHL7qpSlmRKgv2A0vGICpTi20E2XPsqd38Y/+VuToas+FLme/jSv4q7YHTG3XuUtCoknM4E7RNUmbSZe/Tm3DFlNjin1KKaN5UFqNm66/fpZdLdSTiIYrzs0SuRhyg415IpOLi3+uxnKphVjShOH7vAuyJFc3tYvSR8FSIboenMOg9yM/yfQfHGUW0IyjzigqEpuNu6qDSKrDWmm0rJkiV8SvsBeSCUajJnhKep82YaPwM+pxWOdq3sDEVLhbtTx0VhXkkCpawkWw4TRZlO7yJMwwEJLJVmEHvYUn42qLcAlcfTEXpxeAmadI/BwSb9lQaT8LLPBYbbyYZ/lKrrCz9p1Xg+hR6wcCWaBoZ6kZlwyDxdKOZLf42zlabA3ld5e4E4u/jBwXecp/7ve30TlcodsknjpWHFJ/m0EcLeWoWm+6exa6fFSdOAqJ1EfYINbL30ptLnw20f9pAs1hPTwYuiDBtwHTyb+JYdp5wAtySXxD1btZVnJbfzlqkJDMtu4P6sc81ash7u+JQRnVl1ffmH/nLhzzbfnXXQ7DIu+RQmrfJojKpzZS8wLPWSW1dFpZPKx/UiiUn8HAl5uMXzL31ESpu2Gxm49aJlV40aB7LsO4Dq860WlzXbQ8yjYF8XDn6fPovv7BZFDvkxKA9x+v/fA3mZ9H+s/UhsRj2xIdx0L5fqLH/G5FAiqxLilhYGMfMdMFg1siqZ0/OtYIemYSBIaaAYlw+n9ARk4ThDdiYLgvhhUtMWM1vLdTMtKDa8z6YnGQe7j60UBc/DjQT8of8mUSLMq6Z/70rx+ii3h+t/BcaLEhpJA7/u5pskLliUuljUpCxFQ0G4uBTNB1uxI8lCE5VXi1SGcH+Bqr7UfatJY2WKDyNoLFVE2mqKEMMxLNy+3OQ/tEh3nkx17Sq009mMJqP4LZrQ9z/EbItdK18jZ3LWgC6Tg5rRzfpzzt1uDRCUIy2uLjpYFqRPUO5NukJ5FNCFqWg205M5nq893giptPAawG06UW4n4La2InXEJTAZVDKdsTsi9OxGlrxOz7kWHyfZcojpD0WDu3uZC+uzF33pvL6SeT/iFcU6tCpCwtDsjl2HlvEB/HLKEIbyRqyUT9fqbzdVDj+mfJBsUsSgig/NMeDbpg2ql/g+Rqonwm8ajcIOYrrsSqNCdcLZBDobTQYYTHqML51hEeGRxtqlMTl9QAl6yxxQf8PZWAelfhKYVuiC5aOTY/txDyVT5bwJRo++yl5w0jdaIrqUpIkA/7jEaH5RhzY6i/HIhCMsUOgRvRHvmxlyOp55Pq+sTT6Sr1hg0C7anOhtpFNZmK2+5g7m9TFD13Z0MkQTpXK2D3664WLsK8c+9zppalWDoRQ3mxDZCLIdXuzavSGXJjUPEOAmIEao6SJ7q24bbRC2uQTwpVXs5uTTfoad7zM1KAirJMBg9x0ulfrefolPXKcpAayS4vHOOjI1+a8NytxOzuICrLV1yvcOaH5vb4VYI/LgADINM//NAHVObTIktxcnPqmTdpPs9t43gYUCbzhwYdfHW2+zAeFbeVe4CKF7inRdAszohwlQGTj3imnqOaNLeK/nUT6xBP/MF4oiIJDr8EQ/juJTz0xOvsxVsmYkjrFrT6M91Wrz3U/q28a0Yvw+M48ZsvkiYNxLowTA+UfTQeWyl4Zq5Ar1N1gozNROahvDx0tdYnZrqUmuBu2yyxMSpQ+1Uu59Suqw/I1DxyZg2JtjPQ+z5LJLvE1fFr3y2IZkc9g+yBoc7bdp9c+fXX2/3n96Sj5hAqiXGnqRGtUH1XK6FdcCr1nuI5mQ6H/QG+tlIR4eaHxiQDaqrbaQevPb7etzQwp6ZmfMOlk/HhvivCRYvzyIddgQtUkMu/oOBJeg+xqeAybvZxrWsqj2SJu6VnVtg/HhqqXwXjJeeoNvmcXhWbEgZ2epsTSzrYqKmjnx0/6Ga5JKMFN+YmH6eitGAR0/eUFxoKlsvNhC4ACB36Ab/VkRvC33llO4NyKHfwsQ//J6Fy40XPX1NckhNPgIV4/Ule6y9NNsQPJ/HPUjuVEqWCwpYncVgrhg2jABfvlvPnspbe7hesuqvlI2InkADabIRWRfeF45iHwwO3Ul+pwVSR5I/rf4wW2rrHsOh6LcAb98vXyEe8FRGPuJnkOdL+pWV6JL3mxYJu1QEE2rz0Fz8hj8k1mGOlGOujriUK6RRgH8sRRlJCAKYEAJNto/ot5+o8FE+5k59sfBXE2SnolM0HfrYi1zvksECtvDxhXJNGRxSzn2lhxkD38KWN81/sSxhtGAN4lvF7spfpNAkOx1nihN6n1AvZhAp6tMeB2juyqLKs9zEKKUkVwZ0gFz+k9gMrAdColIOOwsSFIr8WA6bd9C62OcT9mkYrVxPfwCb1j/EXjB1DgzMGfF58Nq68l2fDsZnGEqR7IxY2s7Shpt6/b0CV4HQyExQgGMRwRvorKsQgz55LDZouwIZSaAJXybGR8Oh8POIRKw3rnJOxx29fMwmoDG7b0Ivc/4NXOCZmDTJ+OFuzgAiPGZ40FedSnzKpjNWs740McTkXaN/eo9E1PZhsQShDdAYny7aHVn400mRbKfT8m8Fl/tlM06G8kEOjI/hxt7VvVMrMSPlnujslsorUHX6hZ8y8U8CS6eCz+pxL+K60gf7j9ggWkfkrOVEmcRMO4lnsUjrXA1AgWQnuhdb6h4mK4xqL92+LW6T8quqWDsdeqQTJZEOKRRKMgOEPCW5pTPd5JW2AwTa2IZa9OxnJ4tFV+rB4rrmvGS52lHPPB5SzIbfl9KaQHsdcto/mX4raB8e6kL+28E69yr4ikIq8k9O45Bktq89a6OjHA8YSlrA+Lm/dfd2eOj0Kn5/NPbKGmv3CNFb/wWaJqdIoEUva2ABiWiDyZKt/5ccSnfbahhkIaZOBXaLp7XnINLKm13eALKysDH3NGd/ZukdkjTGoLO2t6AWueawtblr5ccgbj2LYLBBhdH4f4jY3jNIUNDgaak5MEdpWbZOdWPCJVZKwPh6CJMSn7mUuUCK3ZgLn9veMtaE84o9LbjiPCtsQoyDbk1KRpcNKCgran1aCs3Zh0cBlMUrMg2STKvMcvlWpiby+TD8V7HJLxsIj0DCrC+mOKc11HJWMNbYHX4HomYkuBJ0jjKFgV2xt6Trfz0yMLb1GRrTdxrqqx0xMEcyHvDLx2iWJSxPlZ+zD5lHTPyElK02i904P8CtJ4WxJSHQpKED3GCHEmhUpdVl8jCVYtnKS9bparBX2xa8gu4mxKbJ1Lsgc+xWzbcNudyPIjlH4lRgX5fF/C3RI6ftwsOpWfpiIKtpdFs/0YQAV2kcFR0lNr6y/S7g+EiFUeOljhtOCw4tyRbRfNtKnVjDahzpEs8VxzzJciR1QyQcxW1unWzmLFD5QmV7cd02NZssQypJcO0arm4zX8oI3Noln6yOwAxAso1dt8AKM/YEeUWTPO5D+og2H05G+U3YStw/ZSD5M738VEwYoMgXc7G2jjAvExcipvvO7QiJhuhrLZtFgmya0b5CUa7AviNFkvadDdAnwHC7fpaHpYFugoris91Vv5DmtKhfNBcIr8Nn+bUI9O7MOAKnEljqh8CKu5NKH6c9BlNdOqIWyNJft3qKcFnjpC/8H+6T1Mp1ay08ETb+Nd2bi/rUwmv57xSbVauZaJ6Kj5JdIENMxX4MDxyB2CcXCk7dJ5anGbHI/f20C6OItjR6KT54eli/5I7StwoD6r72djh7eRxBiXsgMExxeylRihzSFFCvSHhFvgWN8+Mib+SWV0Zzhsvy/nKp6zBKrAKB6RmbEomLBGcJtbL2L0B12QI3Ry0Mt+8VqRTE8+by9fE8foLbRt1gmEOLk7v2jpq2R+IsLoYqGfjPS4r+SsRIXtn9dUufuGdqqjLKxvXR6Mdu9giDi7U2x/bzmy9x+lZUwS34vIiRLbpc8ojLSR4ti4Xqq8ADDiRXZVN2rRWQAcU6mOfd74rLvxyyBpaH3P568KC+w4Y4GjnnoLvB3/HOXcItPGJNFqcnZwjpgMW1peiBpxd+WkfuGgBxuovd/fw4R/5R+7nldsygZGz4j21kVxGUyDIpez/BB+lUL9UgdZ1yeXD1wjZLEUjNVU3ajbj9MNkvrxk6AU4axYNpHV5fEPwkJ3rnA1VZGUl+v4xw1FKgYmv+43vjND/Z5rU+6Mp7uavGwQ5a9UguNQXs0O5Tc+wpa0cuPDv2t5ix0dvult5ZuXwg7rVYCtuBOvSbADoa+lV4K/EszbDL2qgMZ4h6gzVvn2/kvu768s5MZ5UZIMGs1eMLhK/ppgGEE+tSkslNmi3UjxGu7bJaLpeG9yg469iAUZ88pfs36MfmEIrftqWDPDcLHvdE6FDZoZyeoc0IwntWQXaJq+15raFVOak9Ai7mHIpjCrPwHUiw83e0xxxHpN3IOM/jLlSWl3wuxZpHTGIg4k0C4gWCW5FYUrIBLTIb/C2Vg+TWiXSmPHlctIHL5zr3afS/xQSyqQAvS5XC+32aMP5zJTyLRXNfwBzie9gQipHgdkso5j5WuyBrKcVdZPNy78aQZSo0r8wxVu8mOrMgS2SOs897W7gTaoN1S9BLo+saoeEURinFgFnQv5JHvdqU5T+VPxB8EXttoh0deZcE5gniqK/7wkx8ytj8cJi+4FASzMHoWmkiaQspI3ZNi8DxqnIUUWZRauvT9A8BjHZuyb1oeneNRRe1OWKerxw7DxSekB+DQxesdjox3YjJoXVNjR3Eux/c6ERQRbWutpkSwcdqthA0NCsSqfh0jAhVs2tWgru0SgBi5mKH/bW2yCgp2G19N/dvbLAEROmsv0xNmlZykIXLQRzGwdKTqFsP1pVp3HeqIYRC77fYVV1Vi21+ORyjuL6onv03MbQLYEItqAr/k9GPQsqHKMjpBDKgMBc60sLLG+8HiuvoZA7sQ8St5DkKcBHzcNo2ORQM7PsVkf5dxx3BoLHuHQ5jb4P/d3fePzoXSsBa96zEPSJx3sBhHtZIM4wpOgQbOTTRUxLgMdWOABpK+XL383dcccCU9/L6FpB7+rsvEzUxKOOHzOQ67Pb5/noEIRXJ1X1vUAiuqSAncMGKFSIoTvQRGJ4/x6M+NsDhK2W9Omt+Awo2l/tmgYOlyS2SM3VXPNrxRzfWfSmOj7kQ7vbj/ek9ow7pIWJUasdUfSq5cyWwny8ewqPQQ1JIzrv6xSzncHIgFNo+5HLW2GGTPfWaHBzcuTx2WCK8IlBuGk3TUlgUz19jiMhcmciW9Yi/BNQgnNBxJtaMUCZ3vifzabzNsIqmgPgLQUkKf4gUgJe7vunvwMJVOAetHbuDCFmTZo6Yk6BqzubVqDFVoTlVHbuIEqYUOKThYPbXHc92Uhq0GgKD0ajxHA3dQnv2BvD7ubBbb+BeE7AK4cj6a+KNlTS3Lxj82/NdqiVRt5YqvcmCDUADnwF6NdwHFSGxu/Jso+COZ3UGlrWfjqo2E/I2L+iAzrR0jCKgif78yungpEOQrHrciCuSeIWtFX/LlhaLDKYeW6CZdH48R0ZL4ZZ7xUqQSv1jkwFgIG39xrTR12aivRZzD3ZlZLuCI7c+D0EnZW6qOzuasj8npAXbWpRD2Of79wclYEmeQnfJQZ0zCb5NxKE5Zf57VR+VZzSlw574HoZvbObRabaZL+Yz41UUVLZIeHdCDFqAqgACdUc2pBzuzO6yhiciWb4xWFky2BX+BK2unuMzvJ+YEuUPzXOVLJfOyM40U7xDl4ospC8E2DxDiYOHatxaBvUxeSFepAb/iRAomY60FdHKOSeO8B+4nA8stA737OxTKp74dLXOFd0upSO5rLIg9xG3MyVSVfhDxUZQckAJWokL+lMAmG70ZaTG/cp+O7ktTMFUwY8rR7rG2D78i3rM724IgdBk6cDTkd8j7qUJSNzTMtcSHnD0LxvvsTJI6FDqnw7kKFcVOx55W7p+nfouT/Tc/lIuCpXHCxsHinxBszEnxL4w5EZiNL4uWzRfVk8g+I2PAus2lU50KIgIimyxIAO4ZvUNB9QCUk47Du5nmedDX7/OPlSbE5HvBM+6uc4r+B2krF9t1WWwqPNKVgAXmrCOgYaRxeNekerjurXynBIsneNsVHSrFM7WF9FkStmihniA9g7jD0sQithUHUhG0TYYTbNyMCmnGPGKLxQPwOrf/h6LW4K7W0/WOBigRHrP8mr/yqrReWxrrVpmFrtDx3JOk3LRYRyoh6/pzWf6JHmYF8YLPLlqaYyvIVeu2jBl59eJ0P5jeUBE9ShpB5LIBF5S0HSPek51+5/pi0VWV1f42X3QU0hsL6Va2Q4ePf9FGywqUXBG3JX5xiTPCqq00B2DoOQ3T0/l+2Vq/Vapiu1KRJYcJFQSFrd7x6maJDFE8j+lSqnQonMPQXql/KB552UZltxVAMkhWaa8CRhMovTNKJ10QMpTGverSxxPdA0p5y6IELyk7Gj0q00YxFbeCE6p5Qoa+aoa0T96QaM/w9Z+3URb3CuNwg6HmGvVlSbGSc0GG65wMIf81WdizRBmj6x4RHRMFON+6dZ03gfkrZy82c99dZZ7+9zH5VLxD36omf1nzWc1296ryz0SN9RpPuKfvvfVhz268U8IkUofF/eK8YjjYXRUiE6qzMjpXOyJYcq/WoGu/THnQX50X12ODy5dNebzIJdvX9kjPZvCWuI76hNGPkQn3buIzsj2GLJEq3XinBebdClDDgUxDXcwqqXy4+bG9BoWCudwNBXtZIuldgRL3drrQGgqBz5+cYBuM85Jc+H6RMSpOxatmoBCi4b5mU0DKie2rJROAqLetUu/QuoofCx1ZnHu547pg/eIByAkHO1RCwRW5qF5aqvH9tmGuw337Kqv3fia/NLHNf1uiDpYqSs9rHRegftgHr0ng+2bk0ute5AgIu3L7ZNjym/MevP65aquMSzdgCME6QrPtEWEEdyvYQlbG8qk/yWaMUuXhP8EdxETLyzkzY/SI+yCiHe1Kd7iOREwHazKPFLBcIO4Iji7y6W6xAUa6HXjO0dGSFAj/pr7XxqKgaaREr6Fj4Erx7xGRdy0cMZ8jKhb/cHaGhsVF/TQ83DFLRaN4uLkhRE9ZhBxkZuyZbnjiX/+yI/nsOg/wKfb2XQQmVY2BU/hwksJetAdBqlzHvGDuXs1jJRV4dksAdPIWo20cURjSTGjDZBk8JwHV1jd7Ne+1qYEp/+qHrHyXxK3BXFGxdua3wlhFKOWcRmCiVP9Hgq3qXzU6DFtjgVnmnSTJcmXRARMTJEyjm0fW7CRlJ9cl7cS5Y0LONeOGP5ZCuQtsTPsZCkdqqPqtBThu+Y3dJ/9N3nlyr/0bH/pOGhXU6k0UHxLSkkO1CcfywD9bCKRKbE6P+lzY2XdeXs2MbS7aPTPKg4L7EzRO51Gn5BdzgnOoyeM6hsUP5ylQGqAGdmbnOhvXdW5RJLwvHoNu8SdfVF/SFTn02VcxbVNTzH+YXzpoi+JAWy/GAZLQZxjd2Hw0v8Dah81ObGyIGPyqj6jH98FpeyRVEz8IhWAPCKWzJoOGnYf4WjpUQCdIEGUM16PBBbSff3n8YU+hJ1xRGe07WF+Pi7NKR58fu+60c6ilW4FlqogJYNZi7ZfxkGjuH9H563NTYKzbt61ippvlZjPYjIRkBDOyRUfnC+bqyVljqiAPS774Sx/OSyafvwo4vNbLZaOh2KX9YiS31EsnEgsGFeFUYVQUMbE++pKeRZT4VeXfRYsik8sKgxU5YkeNNL/HqluitJ7f6ZoKVuJWbcwXJLYRHlbvR0AZlbtLYrJq9rEHU1ONbez3TEvcvYpHggiRpnESqv4eeaO7rwpTN/+FtdceXHqOq4nWFKAyz9Oo2+ErQ2b0hYTcoj5O1ntQEIyYzyW8B+BoUk+6RKssKBbMPVjPuCkl1M+qo0OeaA2HngtOLp7aeVdpNoDEtCzBD+4+2UHrSANWzEayYsOUxo27fiFbFudh+MQkHV0Q5y2PhqMTBqK5AM9oWxaNUDZ0BeJLnhQNB62EidN4kwWZmpUmWH8DeHPuGxuwsvDu+MPWOXF44/n+hp0KMyg6lWEQqCHdbmG4f3zWTRMaoQXuCeZX5eSn2o08IRpVLY2LxyTysEOl45HOc3rXfCSFKDVGvArkjoDK6VL9V1+9G6utDyo6/ThsRCwDRdVXuj6mskdFNgwqkXRscF0G2hU8oNDbiWtET9vjvOC5EVfGa/YNVd9jIfNDke5ouPWoAcDz6nnDGdVFrwV695a6VuteU2LctfxcOG/ikZGTTud3o6nUyA/AOG5EsELefrb6caBO6CZyJ3+fsPTKfV9hAXIEmVX+VvwzAcTbcGg7UXf9jHWmoLWO92GoBTZGQ3nQwPH3P8r+C4uMuC06Y/N0VT/87nxUOzHcdqxjlOEHPOrSVBpqq2m98THz2Ip8dnCqYDWEePh+CBWyAf4X8I1HSOzpQC7vYMerygvKmgsxt4opuRsK2SZUsDv0ZwMUgunfrb4t0iNr9s2SLWHAugxwLYBmh7pvMcT4XyqmVex7rxBgJ5ly8s0J7J1x6nofE/0kS56oq2UK489dJPkW1woE2x11nSw0VnGrm33ceChhbVPUwuHE/UaFIcWvQOc81K+rR1QKx48icqBxAgeiUo0ZeXiDM6QEo4j5PxKcevC5lH0JsbDYmCtan2dhQjYQd/ofAC4rvCnPnoP0vP1O88VrLqOkYDPAuaw4Ao+hMkEvAYALB3hcczy21NyjxeAS4ka7bwsFhmg2WNswBOL3h4Gl6Z/TA41YXBk9ckzpGMHc1vWjAh53FbDGpuJ8x0XRI8VQysJJDoCXGZgZBHbjp0qvePUPOHhAT504lchnt85ky9xh+yhoqRKlzljB1xR65MxbYf3CYiVpHFPSAlty5OR024fPZ+TFoSs0KkgtVNGuZnE5Igob+bPKB8Yo/ddeEryxL1i5yNZK+D+QnMspFNHEQlAMaVshbhupdRTdAt1GLRzhQJ2U+7K0KzySZOClJT5ZJDRA/yVf7WCyTbPb/n4siy0atMwLVnCyK2z4+aF8j1sg+RDWHItkddLoikhT8l0Q8V69gFKqJ7SyxAESJQWlTS9I0/ndV71M9byzWvIqROzkhQ5pTj+S+79nUenst/wFHBBzj6mHEaL2uh4EJzPij1JPzAk0ngOVytu7Te/IFc4jcXuUwtlbkf1Wk6BWNRMt6oQOAnaiuIaxQV/BTnbkvVXu6YbSgFu3k/GNWnRaVVirtCGRyNfYd/iS3/MpLwQy1S/MDw1PHk84bPof5yv94F0PQCQYWMz9w+7i5XM47HYd3UVbVRAAAtnHZBONyt0c8P+j/+2vFc741cMwXeZZPXP1V+96FowaKRUuVYq5R1PJlJdW37HBRkRyxK9mmGY9dmhNllzTNlY8O0VLGoDbkeSkSwVEfnpE1S4jBJcxC4LDVsKCxwcYHWqaL0DGZTtCx43A6FnOJSmA/p42fxdKQQuYz8Adv9Ye3Hn8tiLtgdJKuc97SEDlgJJRsAaF9Lr6UdBv+diWGTRm5/NN+7GB48lX0VshGBCiHHsiL4BGOQ+6G1UvSOJ4Ifrsk10AjM1d7BrcHpRnMRfK2o+zDBuCd6mZS/WEghtpg2t5ISbni2vcaLxd7dfdPI2K5dx7h3ff/Yk1mIa9z06/UpRp9pg07j4+jaqedhhKRWGUOKhU3V3QXxLFiVSw2HtkkUoDMe9V+L0cB7eZQd89b76Bd5vu0Hn65UCiQgI8BiteIj5hyt5/WP8hHxBqYOc6Y/tPyCWcz6ucRIEnVwRUdINXeBnB36+H+6R62iiy8NVRj6KfiL2lgSeGR9TBsz9hQU+zbb3kCcp1Mkrrsh9Xddj8U/merYEgcN7WqR+IanPh8/Rq4Pv7h72HBwN/MvExfrJw5OUbLeCorYv157CsqIUw57nDcze4XHc1/QqEFtF+TNMm1WuFBIZEBouuioA4InlWgqe3XFy2QGLyeTphi2Qt3GOuT9nMYeoNy6qvvhic28XIMNShs2ffWsnV9XZ32Si8ecD/VpUR0m34uEknJitT1iv78ePMSaWAUNdBWd4Au4Q1wIVC9Y9p5rCu3aKn9nGa/BT+O0GjVntHvYnwNcYMVj09FBLzaOmIp30aJRNAC7Y68eE5UTRXFQMcCeYTyiA/1yL790EPPV5D7TzHB+f82u3c6frMWLIXzAWebyeaiY1aAA7/ndNDa37m+J3y5umyXoUscgXqAVxuLE431rQ9yeI8qlEoTW8FQJRHrcGkc4TN13sYlmfXSr2wnmeDlVGa68HtmLsVvPUkO5Je0Bqx0TEJD2VPLqTS4XzLFA7rUx5vibSrLd1grUI3jtAmIwVR9z+L7Nl7DDoW/AzoLoX/tCdRhIJd1rcErffCveLBFiXCtrFQ9kK1Et3TsBOQZQBiroEC0Rr4Khkm8bj8BleYIcG94JouB97GNry45mlT6SPuYi8TDRiPU/hjJNLTqLnjaMdgMCRxNBpDMGLCtj77jdrIuE2hQdpI3RVAEGwIfzNhGsCdFHfWZCrHoFDdH4ZyZoqqhXG2nyPvTaIVi3yXnoQk0bxqubQnc1aU0NdOLgKwlnGl23FsqDDPubt88Uucajvaio/aFgIxgNsLQRrXgSl0YD5nW7vUIMt1FpkaioK4s8yxxQ1xRq0Kk9M5XyrUKtO3308MW+PeJCXYh0/JrCy0LKSfMKsVoSM51WeDnNMtOemdA+M6vH4QwOVc9Jp+XopaVhZzlah2z0AwoflgZs5mSYBKkWMnS5psuxJJRgAw6vubAyDAkW7Qjq2O9RRsqzjRX1RBuy5N4ljfmKY97LrRROYwpleUSixqk4nMEYpNCE4zNCIcxKWwI9thV1obzAREq+LZz+Xyx7BVvPeoguol6aej/NJNKTxMAxWyQizpswF9EeGCvWaAlyEYDag30iGbSCV8CV/Pb2VrH/vmvLD+czcgbJfpID1So5D3ybz472OL6M/QEBeEpMVusJXVnY1HqUexa0rSFF7ocfMp45NHJ3IJ0tucpcrpNh3fNFUOQTBckrjeXKhJtsHPG877JOfFFH4iLV20NzEa1m1FNw9YVsILoLHoyp47aEWjhSCFz0Nrx/4pJnu+YUrnw4a3Cz/USCg6lllQN5rtC0cJXiRusn+VkPEv0YMSFHHUo9RT5TMRqOHRT8sRyOX/vmeVKCe9QHNT0Kwto/I8SBCz07XZpozXl0zz10E9jRN26VtVih5CXYuTcuw5r3784sgTL7R7IQOsBmogpOsuZB22qCDuVyX/I669+OelL3nxmEBS2NILdaozNfMezkNHRbLX9GFSiiIqt7l+elAisohh+l9Vif1IPxJ3fUhjl3mp7b2+vbMJb8yjyXf8CsJXiz3W6Jj1QZEs+zyRcdY5IpIqbEoo7mDo2gRNlILIWCXVgxxuCCFx8KGqw3zA4Vonoi9dSj7NEuO4SV6BGCO/s3T3yrL+BIkSBpmVS02cF+hi4FzkZaeRFPKoKNdKw3hZ9q3amGx1SSe2tByxQdRGYs/leQ/4tnjRmVHCaSE5OSPQJiXc6TbiF9A8Fa9k6EYcnP2kQ3w0eHQ5mGCY85WSp5ffVKtim5eJeii8HxKTLtXMmLl7BY19vQwxZB4P1eIQh9nT4cOgM/9djmYL1wObvZX2t6bfHdZB2s6skt7ZxMtJdTpV50LreiFErtWn28r1TM3Vcp53YYcydU2tIFGlWOpArupVC8/WHG/J5aClUNH7MbNVgSB8IpEqSFCXVaSsnxMfRHw33WyOC+DEGbteAZ0j4w4YDx3tbvDiMTXOD+jkzr6ySxSMsd3Hxtxnv5Bvx7YWnIP69aHaQQRgXP630VE6EkJbXhjsEw+PC3V//lmlp0wY/5fOUHDCeZheEHAX8Kcs6r9StwJEUcsDwuBBGMKFdHfW9zDuQxYYyLMCAmEmHYCN+hEm3Z6U/wzyDbrRJKhl9/ewb3UaswmmgcSAabaL4SMZiR6JFVf6yW3vu0wwMs1qpqbfI8nMUuMA6Mwjz6tJPT1NJNANmTAyRDUxVYELYdtVBa8SaE5SQLKGzXLt6NTZn28hosY0zx87fj1bIRCWc/j5M5jiDhU7IlEOtvfLvBq2lYrPnWdu2muzZyAniSxwHK06p9kKCXK8/OpFzjt6CC8JQBz5AGr9TcFTweuxIcK+7ED/Io+Jx/E3pCy4gRfAOHye99yDyi3pWly+/uIeFqK/9RII+wb4oSRUdSAP6h4FNLHyAwAci7//4Ap+hJuUY75/N0lSFf6dmqtx8Xu3Wo7LzOFysHoMIkgDm+MaWJRZDmPSaFrA1Zl27z9IU33tWOnsAMyBeuK02tlusBzCszTAPusFfEcAoNP3hzxUPvPdjZThh01VWBI1NOb6jyD1UKIH3FiUOIs1rIvDeHupa3WNcHZqCIuom4qb0r7gaDN5TzcXa3g+8yCQ4+BrcxnaarShIudUGkq9CbHjfzf/vOoSEQeNpETQNq2zKQcs4QKINVwn5ZHKOu2btDuFwzSFHyTFsLW0JhjPo5esI8sh5Fth2Ylo4S2tdpLQn6H19clH8iELLt54Mjyp3yw3BAQ1y8RicqSqiJqC8G4tCNYNEkpa35GCL9enon8smKhyVl/9ad6vXylCo3faT2rqyrspUg6XwLF37UXt6G6bG6Dua4JeK6FPkstKKjaJWVboqwxEo1Op+yLB0EYq+1dMllsy+yvaTV/OC+LH89vsA6MRes1tk0gpYa0vADo2ycLORvZLOqk01aJt9q410TNnJWl1xeEqarySS5qNMVea4X7M6yKX4fEwfH/M5A+rvDmJworqLwFMA5L72UNquxHFTck1OGW22IO0KWqFnrBuyBA+ghcUGG41fOWiGF64xtPCoaBnmMjh7ah7CFFoRTV2wwifJVK5Jqqaz5vuKoqCNrjJHipRg8fJFqPP0StrP3WoemR9h1+HJxOVcdI1F+yiYqGhiVeeD6SSPSzsy8+cRs7+QlMR3QLqp/g0l5U3B1QhtyfawsPxg6V4tJzxd8ks1j3bDgYQrZNv0T+amZsm9i7LZ7x6Q8wWolxdxKCXo8XmYqT67I+E8n/MXR+MyURBHywTdQSo7CPvrFAHLncnbgiBYc7Vg/SytCJI3AfLyKgdHroBVyXDYe/hX5THt55u/0S7bTStszSKjLCIPSRaqI6QC9ECMGdN075paFd7Rci+Y9KiHRn/4ZMwyrtUlmWCiIYN89X1TXYHvx+DtC7wRaLjRlWKSF6fVHjmnXjm+/uX081PyH0YpubvyVblaRzHmU3hDgRdRvPjypAssNOB9O/E8LgE4bZpA6icIPyH+i+PzpylgR9RsmNFvlmaNvvt33LyU6IPq//yfz8KsVVxzS0G32poFGErywW+wyFP61y7bcAm91rkiz+FUOgNVj5VPAh/X4/KSYeMTryknUmqmZKE6JkzUe0cTJ14ksWnTJ2lXHf6gVzdT6ujCZFdXW2fleB7+sCRUceo0Ncu5ds2GitM5INmaRn+tb66YugfCPNVXRk9WGMZePtv8t0IJ3FJZ8vsDn065y/nz41BcXfbO03Fh+xGztTDYML3YKbv94qE/bdsahVeCEfeCICh20v09LXX1IkiEt2E47m9GgG6YkNtKPQXIXEhNKwUTXGo7AdbB2UXs/cEJNNOFsBWtoRQEJHybsRWd78dCXDfrL2U2hTdO3b6AqI36jQ3EbGFUiLxK8/WFaitmjql0fX6IjUYhOf3iYavl5IasYbVXioueHzKzOq83tbpJCFHDDkK85jhcBtIsP0/gCCizQ2YtUCyBFM5/dovwlVGOSNuj9H3Lczy9Q63B9xrJr1sQI0r14oiBHgDlCb6pNwKoAKrkEdijaqF1HynSNSz6OoOEH+V6WLvt74VehzTUSPNcblQWumckXKGU0vMSjnwKUyohCI40TkXwiwAK46nWqjtlvxNhXV/xTG3fePNZOaCo7pG9iutt4Hk7g5oac3qgjJSo9zJg2XRCgzYuqTHLgM46D2ZpMgDhVc6QWGseHBIh936svWutFPwehkDaiCFaXZ88lvbWc4/bpGFFqkj/1SUfkDFNJxs1ZNAg8rpuYQnZUgFgOZNki+SjV+5HU1spd9bTwl4RhZUqaKnP0KgzbLYPIuinzm12QKcG044OHFKRGFvNEbcC65u8Zcc9zB05OlQ+cbmjqpEmYsgLzvWMdX1+crmR+j4YxnCEMlZnuabOIZdnN3b96tjPODO2rk9D+KR8g/hIX2b52G0YwJEtI2WV/hKKrguRT9R0Ooe7GGUbYt0zyKLcHCrfByEbzfSQy9Kl/+uI2pBIAAc5Wr4nyffcswJzStDP0fZv9WWRA5RmpekOZfr0AUhYcX1y+g0DE2ej/R77QVCKlY9FzhJpjND8nlpQ8jq66Y9kYwfMCNkrzL55lr4lHkFa9H2jNYBnjnBvI/T0bOZklhgs9o0FkojwzioocZgM4eOWRxnllqERz0yB+bWobot7TXEAdvSlzO+YmaoC/drrPjr5crLTc96Z87KLaFiaQKEd4417gUxVAq21GSD9vruWOlwduyGF27iRQZhygbaHlL20S5GczMKIOeuAq9M073/hBrYGAwNUwln+s5OECllmwSY0i07eShiQ54YXvzQnkuHwYj1LY6/WGCcTASUGKkzZwFifgZEocVhII/iAlFhJdspboSzjMqrnCALdtrHxuc7KxalK2qGXlLLCrq8qXNRv0/0QYAE6jGa8Abq3aTyCuk2hnF59GNkctV5aT3R20L4fVYVAMUZjYJeev25gbAUGQxYdudV9XTYg9SX8KMDtw6Dn+k8Db1TGyEE5rGbCBqqF9kvMQiHUXcq05uMcISGkVIhHy/wlnNCWVeymHN7Q4lh4M4e5VJXh1rI7GTaKu9mfSBAJf6nfv/BsG64Ep7ei6TwT2edzycwqjedo9/LVqbvhi+S4o3uygt+d2qtjEepqY7yMPgY3ooyxBdt3cirqRYhCxfLI3028FsSEV0bpVIxfr+ufnh5ZZzgAiIjLWwWKHBbs5LpN2u0OmqBGpP35VtWPXEqg/MCeVzEur1JFUzOwCLr+m8DXW+2NcI73cYS9C5dJL+LMEvkSMD+qwc9G5TNTPLJ79XafHFFAtU60YpFa+HqrlK9CHQ/5A7YMH/JdnPO7tPHvOMS9V4yVyk9W01geHGaforKbqGhWG8fwaeWA4/FEz2VfcsmM4MzY1gYq80wXkhYjhMUg/clRO0fZB5yXXcxfdXctgkea3P+wiFu/z6w0FHa0ScIlrdii3t5HhZWBe+z/uQNBXEhKukmqjW7Qqbd4er/MsZJh+ey9jYWxAOwd5QVG/SCPffD2l+iq/SlWs4iO8Or0gz9XpbQ9NzDPB6OLQEG1LYgCliqkDM5dZ5K1sIWimnGU5YHsOh77/5ZjeMJucNp8aSYvGuKjLyq4cpTnhsGqFcsp5bUx3rU/gnJ62sVUPnxR4Kmo5pbGec5LMNX+j84HP+Ia4dE5TkqaArXL4AR2okCOkDUI+PCIUX5QXIuYOs7cqBLpjW65KLqg4vLIQETLOkg1V7OVVkOXM6XB/q+KUYcdjaH0Aq9wgZWtOduLKRb6j/7Yo+iEHFxVIXMNjrvQGbM4p73AEMLfvmVj8XXi7nyWQrKpaEqFZ3Gwc6s7ky+ZIQdFgp6BDMlGQOrjxYG523L297FM05A8ROqUuSq9u9U0EncPBP4EtAj9+By4WNtWF2ZqedtpexyZJIrQZLqB7tAa2aP9nEnxEJZWBliE78PmFsK2vDkAuFRIMgzkL33w9+1pWZAOUVS5JVe8uW5b9xz+7RCzwCf0rY05ewwvgQ9tsO9xrKUMzvyaSuMJDmd2RF/+pvcfUEJ8jl9sHbJO3I5CFhCywDCeI8lm4l/RBgOTpgERxrsDYC/lsSzBw9gInGOaJZ7CwoDO77A44DGLeWP3Rr1vA6+MAnFBON1FSPaptKPkRujoegYKdd9UBByxpWXXwVyZW/BcGMaB8XBmOBSEFy1oBCIg+u6W9UN9U/jadhfIwfmWvDR+o2dEcv1aroHSBes4sBsAgpZhWeane0HuZVna3LGqeLfJIY0Mt3ppxtmaxsjshgg+8eChUNvpz1WE25QPwASs7UeetthMmNixW+uROP26hd4QdDDhvumqXt7SEyLj4xJGNJTzLrW18r4X5P1twCVSGYGCSJkcK0s8cN2gCxocKNun1l/6RI/QhAs9SduaVuR4WlpfjokA63oKI0M9ss5X2weZcO3qCEJ55AHFpkPe9lcKRZ2lgl8CHZse+g0b8hL21QlnwMnL2ASvBevR7MTPgL/uVr1lB9KBdmA9wGEgziH36ojRVTY1smI4toLY55hF9oAl1pfMuixFiRL/Nr7pGmwbp6l0PemtwEVs5MjT/E9dcD2aDuF6Wc56+rc3s1yuwNGXpkpj2cvyJswSakOuu79aeoE5U9vrTDsa5Z4QCfzsSaZFP8vOXJ6eKRCZPrnPfNjeO6iBIRXL5f8X0lg/H3uvWY+osJj3HVDxXPKaKP/n2gHKoWeVCZcrA0sfcbiy7WHT2NgvyBzXTK34sja5K+nwEVWZXvM83YCUsW4SPlSH6dRYZd7QgqnopWPPY2ThjoP9CN+JY7iSCSWsKnKfU68oaAFkBhzwdxPmztoK1B915rMFfXjdtcLiEYwF4vzExvMC9L8XqFl3FpZ+GHuXjeEWwvCzsLzz6FM1Gkr63Qt4JRpXYVJI9umIW8Hlt2xrQXOqP3CO+Rzapgug6JHtKJMXd5AYjOL2x/UloZ3YdoM+4xuGEsVBF2l33yqccZsZCarIF8lxEKD3MUCKRJQ5w9Upjp5J5T8RWB49vXNVMP7msqOVIUKFKJlC/UvAevE9OTPyyosm1iwooS3mk/XkcSbR87IxHUBNgkhjIRiWTU62okVD+VQAr7WuOHb9/uJDZw79Qxc6TB1LEK/+8ttr4ZosnV8K56XBFCrU34mK8SmzPnz2PgpRZS/9dtOwAyrX5xiWU/UOAspmQLlpqB8UiAKZATBTqRDUOruZmZ3cckLffWxFrdW8iSbB+fvBYjIXVZlu17L/zRqf9om+wr/kbXxb0gBwlSKJ6Cy+XkW6iJQ88JgMEGgEy0tPW39twAQmRGORzv5Gx30iNirv++Kiy3+NGinE8fCV+9O25KEHUu0ER5LINWv13VjsOD2lCYCtIeDJFHnWIwLiUIA8tNa7WVJU38zmNIVzzFcfuM0N9RlGzmUcdiPi3Z1spY1FIqj4YR/f/y8IAu/morOgMqV5/mav7vK9UISDwwj6Jn2IOVLyOwBGBlb7qeaYvLmgOJFzwIcxb+j7bNr77IY6/fj9Jbr4S5RgDstS+HwwflWq58YLwmekD6PtRMj8nF3i5VfAH+jqhIwgzD/CAM2DolnsQi1zSerorZVcmnLSMSZCwL7OwUT6rTgGMTyPWQI6YqmIMCiNyYPk5nrz8sGavTwFEl4A2e8Sv57x9FKael6MSjabj8o+0BFO/nW+lnE5cz5nscpYU4jK2cykcY81OKZkp7OYkqHAXiknPSCnJaC5g1O6FY2V351FUSuaNdAvpln/HdppOmU8B4N8zC11S5t0YDaIV47XdeMh9O5Oj5ZqJLsNtqsLZ1/GXjsRqhIr4RnwLzDUCylWZGOgOfp/j3wDjUa49GiAHwKbAnslJJE/esmvfckqLUT9zO/zi09aLHe3VoqTrzg8Ka5nkUB6n3KTvNbYCxu7xUxtg13Ox3FwguGkox6TicoBXQaMpYIR5jjkCfYnTHQdPkSBNON2JPezVwzcEKj5PPMjKtgXpDd6rTSS1DUv4lyWpa2Tq9XCnXx1o+kFafk/EwiXrJKpBzi/MNjcQ0bOiUkM+qSnriT/WE2oGxFcpnlj3eZ+i0ppw5nEgnMIrHUEVfps8cQ2b7LsdXzTW8uhklDb/tSFvnFP4K05kwTTaycKl6Zc1x1+sEoxjQlB47o17oaJf/8K5dwgHD6JdfDve6JgwCrBWBO1TfdCViV5VG3pbWZTenRqRJ1Z/7UA4uWVqfvAPg7amEhLg8BEidVzGgnuMx/6mRzQ7/mJLg3nreYA8mKV3u5Dq7nAUydVu974F1Mg9J13nVaSfLRvS+D5+7jfxh1et3Dur82+Xjg0YXosBeJRWn3Eg15KGWxKldY89Y20jUhgiV4Scuo4XQMiotmGCuoOuaaAPqwwLne3/GJWrVbKZ76I/eUg4t8O+Fe9P29hkg0MC6/WzmGCcxQ9GizOPKmdTQQXKoELYAoP7SYAPBzWehXFvzlbKItPkL1mI92FLsixWhtv7KLDK3G/nHD2ufvBQ+QVe+jXOR49UTvdTtPGUB24f0BNuvdQS//S3U4HksNkjwtR7TyB2Q6/pXQmjZy8icwyEO5wbW4EpZDVTZBQgIAVOsSmH4kEiKqEYP/p85gQRPZ82LbMkYoV8jcOG/ngjjxMEKxgJ/o9OLQRg2lgjV+nsesCMlsFNTqsUXdjYLrTG4bu+NK1TsNHezNvkUUeqBv+EpibFKK32aggkFK5ao098FO/jsd6OKA8FfCKxTjWRkfTuadcJiFMiMcbbPV3vOkwQ30VM/DFm5VPSLXsmqGDD4i8F4+X+XrdSDAhY3rlNe9HgvVRr59jIYjRmWherJL0u7cwinMlCA5DvQk+wVwiv/2KTFxXu1CGn9CzeYjKK9D9jCMVcETTfATJ+XyKMMOFE1FKKFGPESae1ubWkMgduafUqF2A5/+fhgqtNBF3T/CXnbHnKAiQ+y6CAvDthWr0J4mJWya4YFf57pnNwOEcPbAUluxJEPaWgT8/tWMvadLfDmjpLZLomomBdDuHMq5IrD9rnNkoi5mYu70i2k3OCkpw1riUa/nwedvzTDRGjDrKEzaBAKIxRnAErrSz/Yh5wAY9qErDEc+UayVDLb8uu2rt6PbEdESSiE1AT0kJmMZysP+Oz9tECWuWI0S+EO+ACqe4Ig3nFttUxQxjhO4h0OzGPybCfoVdsi6gLCNLQgoeTzaT1ar3fyh/rlEUrYOTLV7Xu7pTBuMmzZJKVuS4KBmzbuxly0Le/MKxWVVJIwqioyEwXQ5HwZNMhblrgum5qIVzuISO38SSWpgExzekzwv22N9RhIDAwEYNvNUUFqi2go4ByT7AJ81AaaKUPCSb5Y36KLDs4OHErsVn4uHU4LAnlDWUkXMhq9Ilqxco37ZmHvkO7eGZU3XJCXK84suwf46XA1OCEdsieyc5R4sGqcqEnmdgwwpf0UE3uR4+crskEFGxE3bMvzFwtAyKnsOp2u412tsYnnecT3IseuBT/GAaklz0niCVHeTyfGIioli/eQUQj+xJafnptFCK0Rdjdn2XnZJ6EkEtBC6LubRZxMoNN4zKIcQFEKyDIOIsArXi58tmcuD9Wcd42+ousuYJNAkLp5KIXpHTSHnyvQnzJIjqB2LJoPa/yG47ty7miEnzippmWDqJCW6qDCvIxsvszI0ZuopBI1GVddYyjch5GUCzUhkpi3owqvK73+8t56gJZFQN6rjMwzs43Z+TSp5t2RXSLSk9Ll80pVzFvbUxgedwQOBzgx0SBywG2dyyjfIs3humIcsOCl8EPb+GrQZzWQpXRsovp5TQecupmtT4nTM7Ta9qr8IIOEPkzbo9BtnCHkL76wk/KpOnvV6LJ9nGJTKbLw7q5Yq2bsLCwUwHfW7i2Bdp8kzo4MrBSyn5zuUlQUXPAb9GBuj8HikhDopHBMBrHovEvSVFyLyKfNWAe2rfBLURzsQ21nYfsb7aNgDqhJ/LLVG0C5i/1ghTq5jLwTwNBG91nNEzW1NNcjxQNXVJ1BnH7qOM7dtzHg5SGSGrUAtpK7BTDDn6XyzpK+5Jvdrre7mAoyG/eWmTLLvpLSBpqu5P2gGYe5up69H65opFntoM/KMZM9oDgb4pgFiwfytYVQFnzyN7Or9UAhfoomNSs9bUwGQD5UsI8K8C9+5w4briRb/dPi5lkx8+mlWEybIrUvj1TFhxN6aq2vSJLtaO+LlVwbSWDakxHV7Kd9nTx2aZJNjmq3NJ4MAdA3WkDFM+JBIx+X5Y2bnd6v78MXhVnD96iJowPNm441KHtqc/7U+ToqxdC2s+gmYBYoRV25ArrIrJa0AVjwKTiNk754FpstIokDVBTUHlpSuOwZkKm9aG3Z9uLOMAOXjzgY/nZFKJ3qWv3yqSrRzsrnWqr5AdzPfGH9coYgb9DT9BI8pQC5sS5+SiQuQ9kHl3Q/fEPRvX3KAlbLZbVx+WUA17brpMsjnsv89UIjSTCUOvgLNkB5zIkaiggJ+zMnK+QbpHQ4NYZFUj/V8N1TzL/LcgZt3gw1cE7k6gVPkQVyhFSa3Q2lo7BBUheZT3+tCxo/PpShTWxNMGHMEDMAy0mCcYT3oboP15qjlj1Nrf2HLe2dK+C2gH3WvqKxp+0yZqsiVZOByyNPifNzm4Saom496QTFbtGC+JPqP1ypBUjzW28JVHq4OgDXWWLG3+dkRhmgH62AlA09/Z6ccV58g6CIV0zCH2dXW4e1hRRJ7gxRzPZZqt/V5S7Tp+gIozYqDlS407/G/+1IaAQlVnM7l8h3nbxV1FHc8CLXaMl3MKKkNi8vI/gCLh3eBmjMQyv3PJU97vRKY7guy1rjuRYaxl/v55reR2ZYW9X69JxQ7C7zqNEhouU7tcNq5AbbUNcUI/oGxrc0IfTbMvdd9biMAnHJEIK760Uc524Rf26EkISfWPSW+aEUAsOruiANqtrYPOh1hpwU/jlzc3jMyqnqLcT4KBSke9pCuAyphurFNiudXrMxZPY8cIbFmM602jtENBh2Y3Qtb/2xKlw2Efc158boKGW8HuDu7yA+Tu7O9X88ym4ZIDD/F8k9IDh+ANCw8XWCmMVfsoV9MtbZ2Vp1M2Gmz/X50WJKWvU3p/CAl2wKR1AAkjGpaI04hZEL808NqtMQBShMM/OvkN1BbX/iU0kKEMTnbJTih3d8Pgud6xq+Z+RKg0CQbJdp0P6V+dehU3kbSn042TvC41PZpQemNo2MqKLk3w6IquaEx2S0D71FeQFpKEsThYTnY3L6jIQFVt4dk5M2lxcbq18vrdcE08DNy2U/Y5h7J9JIJBgd1R/RoxCuKEIKSqtYnG22aFv9cTc5wT/t3lyyK4wh0xZat67tmPAhtfTbol+8QGey7/vrstjX189VP/ky5mdu6P4D5poJVETKU1a60x00acvkULteWELsP5u0/WlRc857A1hgKVHWv9KARlg/fRv9vbxp3lF6gXeg0dZ2UEiASJOKnCPw6HRMerrUD+S+SAgzQVUOgZ6b0BerRvzjz797kZsfk6Ww6bC9Lfd3SLDjI3Y+RtCZFbNSXZfBYe1D60EkH5zt30lzYjLdrPk/btH9Lvy74PzNi4o6B+TEnOH0VHENdFDbsXiMbkAcTIzWkPYMiXndVQZf6JhjtQLwHgoTAr0T88SvAYKcLcpdXzzL2qk0sxf8BCgt+wAgvzz+trv11Ode475IuEtp1/8awsOMOzaXED13qqZUOzzqtJ/6YiwXCg28kODzUAp0MEOZNm6NMZieE0NPxmwkXg5/wYV+N3CTvP16ze9R4HV2R7cLHm/IDtc5uiMTr2kzoES+0gkvTZ4yWCTsvcYyHDjFLDUt5+jifC5yU/2+n9/7AZGx/1d2WFwvX7heVsSgFV6SrIvcMNmbGh3zR9e8PbNTJRmGXZNN5CspJXamCsNqh64el3lZENQ7dKymKXaQZqkMt1LrAYlqhrWeSzsm0WJKafopXJfkO4AvEx1E6Al09JmtnROoUA5gw8py2TLGCRYO6yZ0MgdnA8KXD+iPojpsyWe7NXsdXypstLeCkfZGdediEzN3+p1OI6FnsQ4elD0DV1ubltibHc+QSZU6jqH2a0O/UoJcHtToo76DEE0hf+Oi8bu4b/RxX8mixmW6ozyz73aZ60315U5Lam38cOIBHlib/QhsW4wT6W55f5Cd9JqXnM/5A1Le+Oq8O6CItYBSZo5vcRWXre9V/RLKsATTI/bMUVqyueuOugAIABjAFWMUJUcZgWH5rs/hkUu7iw5pTymTFW//Q/u8/3APlYhk5gAaUEOYkhauerzq2OXshJwgqnX7It2Kc1PfVXacR8tGB9IYMiGPeLMCY9HeeG7JQ1lIyg4Si7FncI6N1p8u7KnboUTs0hGTtK57CTapNbm//lha/tdDMbvrpVDtkZNqLhg6qMe5w3HBzV+7Hc0/2vWG5+MLVuYQc2aG6l05lpRnbUKCMm/MgGNGlc6Ctnn4P1sInUIXW7XLyOWR5s/IgagNiQa4fHLa6IUOiY6u4yQkrDaIXJhESuqVSgRAUxpneCq73p7i5Xat8dfUU+s3y77ZCzjCJESrHZrFHDsAkftKzDvNX/JoQUCdxhJhnqbB+Ymsgz6dG4pTcGNVsYa/e7hYE27R8ELzoSOOD9mFfJHQt66XgFtX1ajOVELs6O8QLHHFbVxEZnGNrCOXorl5p+Z7XE8mRVFCab9rIh//yJdwR4hdUJ9+0BqYCzJggfoZSYIxkAvKJt3JZCHBXbk6orgZI8ZeihKjlCoakc2E4ITfJP2Q8UvNFr0uthT8cW2L1UO6b6BcNo1NqjW0MYfI3c2kPcA3vc8Wg2VDtobjzECxfdYBGqQgsaIzKx/hEW9ZWR/jkb9hzhqx8pnDnVPsRXOhPGogITzojw8krD/cHa/iIi8VgsPXmdik2hwSde+GWEp2yj1i0DhvCS02Jc/57xCgLrUTs3PE9cMY6GfTu3NwHZu4lkWmBv4pEyrtaXQEtMErATTh7VboT2EiligrYExjJ+Y/verne5fet9oAAA5Ky5SC+4yXnrq4Xgo9JT3+oWqaLDP6ah8HPkXl+QD6aaElE9DxF4QWd3m7nPdMQDlg9mcg76V5s8lnDDk0YnhEqvR+LX36xAUovThWsXCBT3Q/1l3qvJPHILUIJs/rHi7871qOyJU7qiwRZg/Mr7oJOQ5M+aLTwWqExB7uUwOoo6s3gfV2fhknx9KgFZc4MdqTcYhL3eMVYCb7wdUEdAIqT9zXTSjDwIseAeVRZ//zGbvp6HzWwFNH7qAfcBDkvBtdwG1SK0qSs7xm7l7lgt/RmM+MkYfqf32BIomFUGp/8gU0JcmmRHOOtcHLt6kqUImz5DtGplRLQ1oSAqZIQHJyhtubqpMnTFcbDfRR2SBvfGSXbK83qWsAYQvMZC+LHZ8jNeGFYZAq/A7EfF48+9/O6hK2/RitAAmVDvDSdrUDVG8lFPk5XfxDnqvd8EaNRcejIvmFqczfhbi244T2pQ1MUerEbKQQ5RBcS13UQIZEhEh2rUnAILBzVsIjLZm9YAuxcBSxF9j0CGyLVdkPGpIz1+7qvewgxKHc2gAXD4uFsk/BmFqvuv0QZY5G+Jfh1E6XMOovdB8hUU6G59UZr2CWT2joBB7qvvsI6kKyNyJbcxCs6k/cQLLVgrX3JX44PV+TPksyrA/hMhk6zWQEYHw29fxxHD4k5YfR57W43UGe6KajgIspK7QBznUOH5mfJagPiULXeoFPvm9D+3LSlKGyPWyiO0x42JtNqX9gBzoiPxHjhay3Xl6+28nwWfVrtrnt7xNCedDNL3dKydcAL5QGMSV00+SpN5w3nZtKjMDqqeg61mYDyXVa07+lYgexVC0vdshzpONhI/g3gnx9Fe9SRpDCIxfrDFtsoHtSd/3/qZRHcTNkYBBu+errrYFItNMGCzikYzwt9icdZDybUn7pP3e7g5oMuuDYzgbgCOrI5g68tlqWwdWszd8h6bcPdZZJHw48ltT6siiIqszUiXEA729chHRweeMfcNue94ztcRRXXyvwSmCMJ5CSvb5rBaeSN/kz3KUWrZkPo5KUktgIHeo/lVgc2jEhkpQKZ+P7DxbzoyWwaeCaT8UBI4ID1w7MRAjkf3m5QR7b8TfCy1n1n0Skc3vfn++4bqY4Ys86qN+V446hH2Uut3+OugiaJWOSPPQjzmu8OoM4kCP7UmaP3Z95f3X8anoXv9vCnspEoYQYsWcB1Ub/T+Ikk7kaOESPT+NOILBjEDIrG6MT01POqzApkJ/h3jsRavYGvNCIWQnhPRa0poxxOcLcDemsanM9/ua5+Lb/Ugm8fwryhS9DB8vZifiZCCqFk4NJLtIcSs5x9gjettuh204sUekUTfGfLQhOxibatWCprsmah5T81j2zLRbJfq8ZUjWm7iyP22DFQMGrMx8cJtJzMfjJzilCafZ/kwmG/wDmC4D3Ls1GzUpPg3oFAJ7gMuCajRrklBWnC0FbhJwUASc5n2ztgHxBjn64rZsv9qOgAknwSZRIW4Y2xSWIz86MZZsAYO9Yi400TDwG/x7+Iz2/PG8Nu4J/OqfIqwbtGD7v0EDgj1FDBuxg6bXn3mdD8FEalJrL7aABQpp6pc79jGujwj/du2cXYuhXOc3dKsuIGVk+faAet5Lto/86bCQU/88POiJYjsldRrodz/L9NPBxiDzh5eXcHuyJl5OhMQmQx47/6Fk9YK0E1hpOCMq+MNxdmM5bR2kU/IMcC06wIZkO7+60biEXXs02prkQb5bYjhnLHpPHpfp88nIQcsaxgX9Hip6wA0My4QNI/r5rP9cA1+4uS3agJ2OFq4w6bVPgHI7Q2sJxML57a9ZFkNaml7CU3FkSKz6Eqp+cNwf3Vn9TZ6QNEqxJC0swpeTTpkTHaB1TqpPR96yDJtaK68Nd750L7Hr3Q1Qp/Tm788LkNF4kyV95QA2gv5iyiDvz2qLAURFvOFcx0gL+LJafVdvVx9aM59gqWyzOybjG2Nnp3E0mffVsMWnmEIZ7dQaEOWI/HsqpB3H1HUdymDbTlnY5tuxUueqjEVspMhv3a/ckPHctWkuaYEZrLsneljivbHyye/lDMAzEJcLN9da5l0kgTXTGDnufrQT/4Ty0cgM4pTrukmBtaJqlKLwr6+Iy3xAmcb1CnBrlvUMWnJizTkCtWM5kZ6Xm9SEdC6R+Dl4+i6cMMG1sPK/XJUvMDao/sIKyKD9CspTH1EdoWLoMT9gRkiqt7No2Y5Zr8ANr8AxxuczSJgZILurm51Pj/ae00SPI9v6U54KlBbBcZHVye3oAZRNr/YqDH08Tyce2T6/iL0C5N4Ug8jA37LbnJZls2ICtE9YJ9V0YLTI9T8boLXNaUCgInfNRGSPp8u1UZW55aAfOqSzbm9WYGBkIxgqQ19l5McYyujzHhCygvymuvokLC+80K4kbj7Fg6IcGgxDjBBYYJm0nQIUOBB8okijPTsdM3s4dJRcZn4cHxXdRSmeB3vy+vB28fGuWwjk9j0G5nPrzyzoJR3uP0QsTOWA11R5yowY0jHPoJ6XL4X1/gVsdMK2PDKNsIvstLdObijpiUMuTv7cx9Pmm85+Q0KeaiKFaG5gNjo8j79vAA8CdNXpskR0E55q6M/ll6dX/C5TIdRkViekcQoti2YUup4CHwiQ9Q6sx+zv262XygKdFy8E2aihpHghWZh37Ec9X8PLWxIVTUIBQ3Nf1/XZ0B9nS8Gs0n8iH6SXH47V/67hxO67HKmX+WTj2HYFD57yiJ7OZWEQKYzcL/KshX3hq0IlmsZYH06hcb97NY7PKZUX0S7Q7G3iWzwO8XTYTcMqO31Fw7Ozl/5uppkg0ypC9HvgOObYLzbHiROJBeR87DSyXwtir6wZkg30hAuFJJt5TgxDlpuGcvVQAMcR6eA7B2Ebx7PT1gEHII7YF/kJQ/xEuthN4QK/UYQLhneQ9pxMamqf4zAKbTye+6zS7EwQCKEtYng4VMUfPcSKLskMxE3my0lO5xpxxwhB123rIyAn8kN66zceGVMlrCstBCABUJOJqZ2YQWRRpVcl9WjbXUOFFEo8BdrsL8kDMhBQPi7NNPEVj5ZyJb+hd1Grl+jOw3wrSFUjB0G5rLp+1H50iZgFPK7sA+UkLAMZYDoN7Sknun/W4rNxllHfSTmZ3EVFrCUsAbQcWbFFL9SncweP0DW+gUhOrhvv5IQ0gJXGtfBp2Z/fmXcR6b4GKYKxwbHVGkGEz4aaSOCz7kGp/AeNXUKo8QW5Te5eXKMVX7dbA9Ukvu0Noan6e/bimlugaFmDwCxjsU9cHpjNNc2pAD26WZ23NbhyGDHkyq9bwyxM0BwFTNROfH84sXR2iIvki9O3wARUCq+q5r26v6AzONWec7NVEeBu5CrLaIlJ76PLaqdv/xqGrFT7NVHWdo5dnM26N5Ar5kPFO62tvNQ6V85luju2ay0iN6I992oJGZVo9p8SEMH4n9cm0cyeNTUmZ36bVdc3d19uuJNZWnqWA+8hISeZ2cVM3f15sIm6KBQuY45qvf3IUW5/OGTRG9gq38ZziknVDpGGY7oK/XxmJQgu0yRhisPL/S5hRQj10kF7FyzDj73WblYjJQpj9rt895rCSp/5PRLbRlM8NeLvcETW+WFZan+o6lofkuvYuVtrksNTeybeLi6J2Hc9IP2oEEsVu6SHYFclgwwdtFngOlOB/vWpKMhgsgH6tU5AY43FwstCYrlGI+rH+a2qA7oDcLkl1e0R0hbOF1sxOpDqjMv+JGnR2CzEu2XGc4HZvlYO3cVrdvvKt2t0HHMtO+21G7N9T9BTdvVrMU4AzEIBVPLVk0VIBxKMH9f/FszD2tcbbA4YCeD/JL/Cto12oVLjL4anOGFNyn0nBnF3X3HzmC3yYw08ozq3eEdb60LOkocWId2TdK3kKbGGmsjcAm21sp0uABVrC5SwhXxnaQIZWY/P6t15T3p2/VXn3aDrXzE9X2+PQvOY7tvbNDDAzvXrnvSCO4KgP7/okkfjmCWHdPHh1oYk3DuV8yi3wgJtpX+8dsuBJO7gUbccRSfQRu8oGccngrYEDFl348kK6KK9MgwGLjeOQYyHUu4OxiTxb2MeWjc4vw4jyv2VTV+zZK/HEG9PFYfQqzWXrYUIatyiCZMbLllBCO41LdyBPr20BOwSg872+ER3rNAjQkydwEOHpjZVwJuOba9PlnxYkCd6YmRH9VLwfN+UWyudNgFeLLnOShJJz8laSl8CdXKyCw2lTR4+ZFdZbY8OFXWJx8lLWXEmqK8zfDjDGcb6ZRm5b4KMC58kwds4p4RP6SR16YGe1yxhfeOisqmQPRj3vKtLC+OhrgTMVGFC/WI84vcxWbfDGTXF8TgcJP6H+kvwDtzThJEtRfTkfHuyr7bJMOzbr/hKUaoOmULVxm+pw9tLkK+7jxyKceZ8LLSTo9esI1vP5os2ArGTaU1WFpxMidNlwKKQzPOQkHyaaITDj235cgiQ/skQokFkseME7lSt4sI4s8LMNt7K2lSE70Frn8t5CN7qomOVSavE0N16qdqtscbTLjbqxVGixs86s/YBcv4G2mW5G1WKBnbX8RUElOHAFISEIlnVOlqu9GMvIep7SiIVpbxaDtSP+HC/rSlt93dCeL/weEb+JA4BXkr37GSKjkrbKmIr6OlobjIWUGy5Hr1Q1/6Cfnnk/n09EIxL7HKsQLCyeT5TagiM8n6pNASi5TFms721YZNVH0NRPzUL71PlcmWI5zI7QZhmKs6HhbaINffNOGdsSSiTEAcxEfSG7PX8jVC6aYYVCR6MAfcJMI+JQWOOmBCtVAhz4nwVXTwdZpT7XeQDcBZmWSd0bXGWRzc3OiHCaRTVy2UGQZ+0G9b/FMyC/PdfNjMruXv5SR6L8cXec4xpGL/JKhKvenkSeIlutI70fJm0FtWPSm7wbG+dczLEHErVr5Ps/mPeM7tdNJsqr1WBhzV0ZHVpXHwoSKsuOHfj12jMDemIk8Yym8zTT1X2tHQWlA+j7n4aSG9YcfNwofW8g3ZEyDNsSy1e6N1oW6FLxj2zxskuM7GlPny4sLJZU9iiHHQd8JYvDrIiA683aMItm0VbqekQjbrMh7V8xt55r8Z02+mFweTwJ9bBekzCTvGH3Ebc9GeOHICSUT1db9eXFg4s3GuGVpIiPPoSyj1pfvDK39lqNC6p3j/OP6kJJBg7fgHF3JzP/AbBnONhH1iYl5z2RUMuL4e4YvrSncbmZc9iR2YKo4qbWKfm6Zna3Ur1e4fb8/Z2tvyAiltMkvV/KCEqQVqJ5bXUAytQDecbOQfj8281NQtHp6xx4RaE6bU6DJ7SRMHXXV8cZhPE9KbeogjzrEKlTXYrewDb1IQXC+OyVAucPt4oLmgFKuuPsdhoBiTBvbpKaVB7DBFvSmIEpfDNd4bIjjDV2Jd+kQbG/BcoHa7WReshpDG3Xe82yCwUtMVVrGb9+x9Ap55k1yStNe+oTlZGQQt5WsauVdlSp3TuRCPw15ip2Uvm/Wn96COadQ993fCAPZJcg/EdB4aVenM5smU+pqvEBabMkX0FUpUj4PEnq8aIrs0BNgvh8XrQs5zXPPGlm/gtMuy0O87Sph6lt/EMgYuK0fAdR4PNUsdJcNoA6BR7/QCSTOoelUp+y4g6S2d3x6rBPJEZZ17WMN3RsmrnbO0Ouk9AU6xUv3uSpxiosY+vLa2UThtE7Mv3AGF0h6p+pMhbYBDepRlouJwNEYL2lLBw9jt4DTYC86FSYkImPzn2Q4PlD1x88i9M6N9kwVku5Yf5/xBpl3BbPjIUaKgRa27iavA9pgzIslyz+nijF3dOXDB5wmkaYa/5S+d3+obQuYU3/AWDFlUvTdKtR3ZBcWYog7VOVfGs57cPEfYVtxT2sbFV+Xijdu6Sswki199/+qGBbMiFQGjgVAy0jQEvjD7BDT5wQr2EUqvFunxVfsUS1u2xNcnWR1DrhqnD0kgX7HXBAAzyfvTlWq8sudVDRgUW37tfC0Y+7US1pr77E1/MWo60gx9Av2xO0yyeUJhMhnH28rmqKluphEmZ48cUWGcsukzDjcsbhln5UlVFyo5T1l3EIXpHiizXplsKPyVKAA7yAHUJ6CmLcTxgvebyy2uvkbCso0K9jN/+OV6c7TTDSuR9/mmOQQuHZKgDnbIaRXhzDtcUt36zmienryRsQ5jH5o3OIveczwujdk3zvE9EoEibFPoclGWLBdH9pACAhQO7v252rmbpgW6jHab7wDtXNHpCOuOdJg62oTYDHfCynQvoQtKAuiWDYTUGR0QM7agMsuEszouC6GMf1Jtu18wOJMTusuqvC0OOiCAq2CovXEQWl+4rXJW6kUyoXzCur81jGGcJK7gNOnR7oeNsYwAX5uSuw3maGK6tPyX4I8EMWpM0vkBQva/I9c85H8RxG4fmKegzV+WG58PwK0a1fCJ9XildkGDhI6FTDW2ZzM+f3QqfZfMZypnuNTBnaO7rgKsMZ9K6fugIZdC0RcbwBhiFBpVflUcwu/rfUUWVvJQlSX2S2nUeeQl4hTssxzqvCC3HA1UGzfDasQ9MQMRAVBaoxyfQ5xUUMc0dtV6QJ/iVqxmETMssZwux0y989cpn8I5ohScz6xhW202IhoIIGTN/vu3MbBPQp9+XgevGLFCVs5G94MCrVnhrnTtupqNrlgwjVrcl6a1yjEdqWP0jAJCywYdLBnEOeQrxBPADxsvArr8dHH/QjITRwIs9v8akkO83000Kej6dCmGBS9uFrfIZ03/cLxJxBhIDGdBOH2dSHBuAL0uR37BWbKbvmcAHwy3u5dn3ZF4c5EXqsC7gb3N64mKYzOSgJEGToo4UCthusHInQZx+8Cm0SJHSdzbsSJqCh/rEsRBD+C3BqqIRrD+ORQtBQnDhMmlYbbYwqtaNHEARQ2PfY/ORZLIBvqnOOyDsyrVnqbK4umMnA42otRpKYBw+jgkLC5A5V5DuanZkc5KkfIJUiritJ6NrHqOH7I6zlUdIAC3jQnt4yELFPPJwY4R4so87GLVCsAbsjBwgP5QqSykEFh4aimMIW1I8pYsZMf6DdbteC+28Ad+j6ojLzWev6lhImtLb82acQjZ8EMu6z2s4OavAugJ3KKQdaFh1j1KGsONsIZjZJyGu9qxH7DI+ekr5S5J/vTLKpdOS4g9r5LG/OowWfpuoereDvzO9UTyEScJP/sAjcvn26BacSanlpgv6QnKTAJ4mxgyQ5DCe2tovZ4e2QQAKWE0nbB/W8YcOKC8Sv3uahJ9zdaP+vSqEXWZun8eDr6kVTHOVBptSNnqLrdaJY9w4p2q/beOq07hWwnWiKEl6/WIArU5XOwIPXK9/sBrjaxJKcQt5Az5L+NOPh9l90fZob0o2UkBphGhpsTdItamEcvHL8Z6z7gtb1lwjpu1zJJ/yYXoiKsyHmly6DQSLjv8jj7NFJ+stkBIdzSo7TbNJxnN2hLuCynZATBS0g0qQUFu56OZQLc3FbQNS+NCE3Cx8tYFMH1UmH9zJuz5UuZ3UyJFOQY30AXSFcte5DwPLLB7ub3LFcXlmcVUjIYsvPlZNfRbPYRwV751sPAdOyUi679sH/5HJ2ZupcVc5RmUQf+pFXs+uWuKATAlKEL/NkJBLmWvUxfwJWh6Vvfl3He16keKxCOsaBkkwCxLkQ8V/7pTZESoMrKMBpV7y9ZvS/vXo1JCzfbrZlAckBCS41bd9M761mPjz8BYiqfBDOQqYQvi0d6sXVSCPTPt/6bN/jnpKRpN8AsOp44iPC8WEjbWQ4Ow5+JKl2DZn04S6I9X6RDe7rR/YlxR3xBiOJU0LMkwd2N1QVAQ9OXTPPF4uggpc/G8pTrpxCVxM6jnNFDWxln/XfIyuLGORREMKOfKGFtq/DLjCdu+oENac1JNxC0ziQhqL6KmMaeZ/KTSuBAvIhpFD7nloJVc29jrpm8me3qkdGud8thy74SrYmG1mwn0WBKe1mdHYYXl0OBk2TmH92GpmA9FJGhI89Skb1QQY3l78xF+/xW/MITbftFRL07fto+dxJyt+228F3Gf2+6zEnsXAxqheyEov3V3sJX3WXg/M/ZGEd2yYiBPqUI+lIcuvP1E7v2IdutSAhDuCLZtXApIZ5UMPbzqStIOTgzrX/WlrU6Ju1JDzWp8xxPL5+0Eoojz7SneMSjpa6iHkK8iLJDhf4I4wZbE1Spsuh6q226sgeZO3gQPdzi0ff3BqeTVzsMKaHmtV/opld0fczKEJuiDfDIjIFSQN0F2oIAbQFz+WHQT8xuB7eLAg2VMg6tEtl4sF76AQMAkDfs4fuatDB+xVH6vZ//vR1ZXM0NIdyJBR3+o9Ynaep3BPwaLrV5gpb61VEcIKhGkT8LiSxVD4ShU5Bivua5JvlicY9HfRKb61BgjSYVHlaW6xruvjtayPUwrjlh6UsQ4YxoP3x0+3miX+5F91XYRWVkjYky/KqQnBtQRbb5EHG2GN983iYWuwRbg1KhjWQ5HfHlo3RZDwzYqsCYMYyxCJ28+mFwfPdtKjiIIxkhIucUpIAM7E394D591XS4FVNvboVhG6g2iMvgDFfH/j0MNPq3rNsJ7ftLCasI9wOy2Q4co4guGKkOihff2ndS/8HkgHfmH2HW431N9eEXA1FXsaacZ77xEIpNvgfb0VQliVIk7Gb/TZqLoXdG6//SSyuuMa371ie468pKMqBc5pSvXqN1CGW3WYWiqZmgyhhUU1Fu88fl/dAb9sf5obdzmswqyGPpfZa5DDCDsAcQUm9N8+26OmFZMxjBfHMgaVCprCSBEbiGfX17YNt4RZO4MBd3NygBJxiRVrY8yyOrmx0qGducgPNmZ5Y4B8T0440BPUNm/vAvetqvN4Vg0hFV27DeRAy7wQy/p2PRW65rvYkOFnY3QmcUZq8AR5cHcCP6ubWOxcMluEwm2P2WxtC0coz2O7rtCi437t8dWBuB71kEq+UcFwQ38Lt31AWpxmc4visutcsu+jXo5ElA1uNwMM/zus5QeqS2N8xHaUYrBlT0QRLurWqizOQ2rfY+ohp/3TTD936bvJ7SXRgri0oS6PtV9pmOCe3gpGekhbozfRq85Alsy18KGxu4z2gQtFqLgp/VRRocrytoqpxF0vPoey9+WlgPrkyoBoapi31FL3ARy1Lu83Y3HmntqBAEKuJAh8FCQdi9K83cYlHSg0+4ZnNCbXjgkhGxJBvIY6t1yMZzdI7qVPI+4bXcKo4798DjdBBbEQq7rgbmrzFWwNzwnTYRsE7MTq7X1vET4Kfi+VkLTvu3VbcMgaUfpRfv+8QoJIVKGmp84CAjJqI1tRF/CIm/83rsabSzXfbx3FWYj0oOKwfd+YJJGUUQbC4uOb4grczRB7Z4QwVaZ96AmX+ISwWW7sVT3AmzILkvbvNoqLnu6vdGk/rSdJGzz3DGWdpP2QaAdQ4IP3qCgD5jZrSxCepS0CXfrbobOCFlmUsZWybD9zCQ2ICH6by1g7qdydRzCWcTfnIoEPv2GLC1SrJhavV1vUs0MyIU7cFGmdm9Flwm5viO7fRsE2z0rexhigV1zDN8grbNeGfxNixHH5PGcuSrnEjDZZKjArvXFVKioPDARfj58VOvVfaw3eAqEcIuK8Uwc8QcwFZRPcpCwJ+G4xIy6+PYdM3fbcSWA6AjM+ne9eg4CzDI0bJykL7U1RRBBtU1XiTB3RNXuS/rW728QRYOW+7WvHSLFXCycf/h/yTuo+K6Jfukc7Erv/+O6C4evPGImwYPLH3GvZZQ7w+yWrtv+1wdtWHhHwzMMpQxmUDSzdX5jmCHxdOvCwasR4xeq+rXRCVL9NcL6V7TzoLdG7rvgk0qg0YdxFigCN6ksngv/jD7BrNeHUp1X36wjYnSVeG+HaLf6ka3swiEHWLEZiSJ+Ec94eQdcwkPF1Ils4HYJhQl/o0VYs/xlwMOyQIuO47LqzPXH8o7ltkN5XkP9aong6U5sndaJua3Jsuy5YMtZirqzJUk57XciPe6L2INwj7nqw2tozkkWaiWLlcCtEtw7K7u8bHEAcPXAH9YEOMbrLPakDwTy5DanVvBg1s8L3jczdeY9XwCvbAScU9YX1zpqHrEa82Mll4vnnp9nvvUO+kdJfM+b9Lat1ELK4cZhFa8GqyBjVNAteFJv2llOh8TizoYpfpMSIBzYj/glU2iZ8IzPBeJjDNoZOlGditLEVYaXuB3LY9xN2o9vLZpaTBEj65h9aUnytPSl+K0LhOApTpeP2fwwtz1qDLZaPU6UbrLTOFTQcCe9vtd9u6zRb5TB3IqHChpPcuI9IgmAsBLFkPvRxcF8D2xLuqhudRiPXNAkOyAffqk9XhNXqXpM9oZJ1jN/05zb2RWf686XloU/xQMpeUd6eboY/hbXv/cabAUb4YUoa7PWKJvnNv1wmrP02nvm9me4RxIHxMiDHIaCU8S423DIxWHxSyUh1OIzfJ7Bq0oy2mrDm7TQG20z20UNqqNvwqZ8aPLwvPejqUs168cY5NBviatl9KNHNS4IoKwVO3GtGb4SqzhZQyW5JXGF/+RTpANPJgO2UMYsX2uYPruezNE9YYzfQoLjyFiUA8bq4jlxNnRew6Li50PRLx0Rm9IYAzPhoOQxV+mlNMp18whw7fx5Q6TSV+mUlOFrxM5YUxvV+ae56rkhgUEyHlnm39LOqmmDYxJc8l44yoS+p2hucafPAyTQnWzFrI7DHlzThLvGqBBuEnV5x2YK4hxp/xvW/oL6WcTn+j+uVbflYHs6rUExXqFIi+L+h0cpTIasmSwtwZ2v9xkm4cRTYUt06ap+Td01+6yL4ZOv/CDlP45qOwBqe0WIDP0mNYeJpjuiMNEHdrw0Y582MJdRwPf1jEkjxzHMYs2B27XxD6GLEyRiPq8FAk9HAmrI94s7ioIKZ3bbolLdC9JtAk0mmVTVzq9+FruNkN0D4tP/Zrj/vexDrlph/6u9/efzCqujp2JDIUbeX204BVE6n8GUGrhmrj7YVvhBH79xfmqWkDaTRl8D1FHAKOEaToQx+hpTrr4aLWQI1yaHQEiphrGZPGP/F1ZPVVZsyd1u+0OYbUg/4jOZmciQ6vbQNt2YwXcUOz+GtBolwwKlbnPfjnzVh/k5k9+GB+Ijtuy0zZ2PiGtqiFkAh6OltvZ0ME0bIhfod3qNnxFb9O5a8Rh8rOt9P5JK6iwk8H3kwbn5M6/MWYP1blLBghrknMiXJQZMfAtOo7lc/t9Hv0IvTEDE04P+3WpW19DiEPBVFmEmSSa/bnsUv3GBLmRD1nPt3e+E/WmN+Fz9Oc4J/nf95Q8hoWoZWrEVW3d0SoE3pz23gAkVmMh9Bl5McXcEUc0CkTeZxKp4OJ3PcJU5ErBwsmaFS7UKhNNfSpRk3tuMprGQ3ql3xfBJQddvUpMgm4X++hdo1Okv2Ik0wPqvWWFoajc3D94oI/pOi2pXWKuYEDnPlmHYRE8pICaU6qCYuDwCB82M5QN9YH/OtVhmIBf7okv8s/R2VsjVtlR8cY/YyLAXxPPJrkfGEc2A113J+djpNqSSpQvjlva0G23ZkpDGuvLbOTH8m3mwGw6qkxVYJBOO1VReh/cBZjgVauHbaqzaASQHvlWHG1wbqoFY3UtsyOv+Tn5BjQxyBghIt5W+Yxt/Eh3TA42et+vbnFpsMxy0p5Yw+tPOxwJd4ihI61TH7DxMSeIu9TM1XoRh0Vhj1T1jSe48t9x83pZMwEWHzndSKnI3BndM/0u/xo6jeIfD+zLx1Cd+Z8l5/f+ExIXvBZBC+uR8M6hQuX9HYOEqp6R4ZYfxfrWPaKpRvmzkXxYyA6a9cgEjHsMKjzijlL9G/XX2mS/OKKNr5JEqSzuRoqkwds52ZGxPY13/moYU6LjevNrGymbaamUiWsr4FszvCZlJqI9VVh55W+7UoqPEZnoq/g+aukxCBJAU6XZ+W87kU4skqKu2D5h4G0Jv4CDbYVmw9pWZvPssKrVg5gD/g48msoSLUDktD1vAYjxHneh5ahR3nGskQga+S795fhIlkSqMoI3NpmqCq60SUcHZGt4pNAsAsZ5IblgnVwZ17Zu5Bu7Kmj3t78TBYRpCZGXJYPijsY8AhsTdSpnBhANGgakR7CKFMwjF648aszcIxrXE7Jbh5EUzFZSBsVez7rQdddiaeIS2NAPXbYKbgpdinn8DPSbl0VE/TErPoYgyH+xeKYcKfItjFozGLMJiqTc8v4XujtKWAWUzpACxrMRuSqT1WCOrwTT/6MQ6OLPKH5AzZGYYVNQoSqJQbyE6zAXV0G2LHRNGOmydqOpA2SSuxYcLeL5lj/Th7L7pJuglb5LXvhh4fFBchIHT3CRWWHz5/zvzrHJZJa4WblN+fMIGmPZ9eBw7KZhJ5GrZlvqNuwHd8yVkSSK7cASYhHed+geX5cZbWjFqaL6wpZuIxX/vpYlv9WcvaZxxaGgg2bN8jie4uU2eNOCfhx+fx6nyfz5nUMj56bbrAXHa+vu599sG/6NkPthM9S+7o2GOlfC0Qk5Qi0V7OFl65dr2JjheJIV1z50vArV3Rw0liRc47ZOvlpMpvp41XTXM1aUgFKh0B0ztGa+wOP7/7JD88dAlPSpDWVoTf8SraMZMcITYOHAregwkIe6DjxGfE7FGE4pXjk+TbizgMMkcIAWCkLB5ejsktNlSlbx7H8G4jb/8cVnnAQoHr1D9z/scC5L2juC/6JaVGjk1l0hpUOm1+6gv7FFI+hFFgulaKT13GFelspPdXcMQLfrZ+jrC77x2TaUFAA4HK9iww256hgeQbi3+7s62TvmyiRhcRM+sqlSaqnMSAKd/eN/eAVAbGgJUH+AkBeptUUFFR9IHQ7yqfe/e+DHX+DqDL4fSbtzY0a84TuEAkM0s5gFJJNZLltkd/bN/cSygXg1JS2vadfD8kRL6RYoHfwA+hgUaUrFOU+TWo/1XHbfgy3S4+PRprjUb0ScKHaL4qhvvx4uZw/Z9Ecw+BTA4fPTC8UYae13kWzg261PauZaLlEekMFdJiaDAtvVQ5hiWiLEY9rYupXoKQs6wSZWsc7e7rMs8MrF6gU62BnZasD0nT3FJH/GR41o3ZrSAQpyqGznNPCV/eJIYHPlirm1JI25+Mrxxyln94RZkc51QGpotcfQLofPY6L9TLtJi3mJgY6yAYB0srp6sXvcXxFdmaYfb3inf3YOyCQYc/1VGk+0b7A3vyLmQDYIeLqcXsRSQ3+p0Lq1P9FvTTmuJbJV53tLWgcYEqrjBE7PAgblCsBZj48wmqOBd0vDfiQWbbMb0ytCiELpanczg8DEFDrx3Ge+1Pqjkih8l+KnbIp26voTq7712gx3a1lNH5/ZelEPsjbjKVcLuZ6UclN0sBA4MnOHzYgQGPvyvrw1Z05Y/kV4RfJqVLdBMjLjHA+lSlucrSqA029YYwAVc0UlCBrJVKS4jbtgofzyCCJylpyCDcUThoq34Fjv6GeELW3YHNRXHTTGgLEbqppLoJK0oDOeu0BZOVwHD4/oPT3ROzR1ZlL+gk7scj7hsbuG8+4IQ5AIsSGCEaPsoP7zTcw8XP4Bt5+3qq4CKF5J/yqR26D2dydMxlG0gqd6OeVce9yzI6JM6MDc+SpdPjKZcV1U8IEite88rxYzUI71wkJmyvcUHQ+gyBiJnmjmMr0J3cO/b6q5WOmCLXCQs+8b+N4Wd9/NXDaHvZND6q81qljiKy9vKZsvrYMMurho6MPRhTScRyFlPhgxs7oxhHfEZP4PVfZ4qmanWnbTt/yiNQW+44ZmU6STHiumqR0wfiyE1O5O9GuOnopyAssLOxwvmRrHCtEUuyzrK6Xry0NQKnwWPRJmVG7EE8tewcZXV+NUMSOv0ng30DGuNl6jGWrU7IJ5Tpego13CO0+fo4+V2BIt0ysRDdQfDe+tRgefTlPMncurokJOk3I6B/MhVV+21MRF1MzsthNuNZfObx7vnqaj4j9m+L8MQ78Uj7wS9C2w+8Yl3aOcRPYrh533HEqDsr/WcnjrYblMYfPRqhmxQmRwZ+piw8ovSlQJ1g+7F4K8OqgjL+xtd1blOsqJdbefZXjXbEiqVabMWKEH44FqqCD/ZyGgqy1/VJP134q5z3E5Yy+Wh4w2CAU7XSr/EYZuYC3RT9Upm0T1CTbbEIrKTwIQQZOeLZ5LLT44Vof0baxfB37i12TKIhNycNVlO2hNwasxM4GijZpkkAqG5oyZLykSjVtS+79EkmAR2TLgMJBZ5cAHl5qqvTyJI0tZmqsWCbhZhbGLtzWZ3XBf+YEdAElyRn0HP8/Y4B/kDF70dQuNTEvBjbWp9htrYnwX+5C03RZiIEq3m3IcVgmLFZtWKANMB1/kbXN2wVAKNHiKlf+nlogB0le+Izo9U8tt7AMvDavJVWDhTQ+D8IZ0wC5Z8yrb90X5NEDMjnT/UGj7I04T7cRsOTQNTfsUOgAdCXIUOjJumqVTbSNV7txEzkXgIMuHvYcSw83PFeqbnHcwhdQrUWbARvFu8FfJOEWJKlbdK5b//tO8t4nSeOKRtVdl3WJUA/hV/HEijBeJGV9eatSmvwQab4Lky0JXq1O8H2pvfpOIrYEc3tjBDfUUFIjB9dQuoqLnGFmVPqyEZ0Fq5NWWbz4JxJcpRpP2wj2s7NmChPRIQjAKJSxdZfJiX803Vyy0fKh6lrHLCjHyv1ii+8s1AIR0ykllAIykZ/1JTYtqQSvA77JtX6KTeA9KvRmei5zDWWI4Q1UzdjQ2GOS/fwTSGkTybF6/OYmmQQJpOwuwtz60dzrmsXXsnuZvVIEmcR3qigoSdW34lCfvhPQNArGOBHD5PbFBpscOSDCyyqzWmyy2zk6/Gk5aqUk3u8L3++7YtuHx/FzvHijDozqgv4yWvzQJ5ujcfuFUKNGJuJ1zQhwKXKj6j2XP75aFkcGn3FImmkYvWebVwS0seKSEH0pgQjvhXqaXf9tbpvFSSxSGUyqgBqAc9iEJjTJvhlcMdeXaODxffjVsj0m6/weU6IpRnwATOPcvTTDpkJTgUaKlchBuVP6FpE8F8yuk/aMJJ99zrJ/QkMZpx0pZjYCv6iX6ILhCxva9Di6SUqPkd54GVpPOd2qNXlPyi6w/3zPWEyxixCJrfp1xGWDSwe6IsmUHVXMwJJvUQr24LsLB7n6ZIySc0VoGDj7qwDfKZfbb54KsUsCBtG4SIYirGbu8ZRo4M8ojj+gbUj4gvTP6pjj9QRPxV9pPZ+ZcRYZK1vwpLoldzkOSdF5SwtkyhyBkBg2Hn6d9Lu5bKvwHVLJE4wNq12CelPbA8m8i609UOTdqOdlb3GoXVOqghGJ7Na1KMzTZJ1IRp+EQypJsDrGjPgDnfWZh7TJIx/ZgFR6udnQfeZjKqpKl6UpV6g+MCuskS7sPcbMPcjvcIY4zkX1XKqigfBW0sEwTWk/uTMgQfZZX2maWSJ6ChEANpseCBH7rc92XxSU7Y4odli+fVhP1ihaBkMdPstEzfikqGE6zZmfHYBTsnBLvPAFXgP8gMVu4ssSe2sAfDpBdTGM2KqIqLxz0TaE4NKQVDbYFzw68LcjUpmKYz/3y+++yWOzAb1HnQuWvfUHDdvF7uTB4xvCe3YR3Rhjty0YsNbq8W3CxgnDNpbkv1uZlki9RrcqtMvVGHS8IIa0TqTWXQbhVzm9RAOE7xXEae+RivHWzaZgVTHL0FjWgGLSbS1QB8fOitzdvGv+p7YJ8vQZEOK1APqffCoXA8UY1iD+185/pWFA/Zxh6HAFtAEE6qAcKr4iqBU5vRCavHYLKjhn2Tz5uIcTBVhRliwq86v2wRIwQRkkppR8lL9DkMyutffy6S8Xs3ustkW/QvpPtn+MFZ0ZIEmQxr00j1VFSzvZiCWim99qqZ5TuZhYLBM1+k5JdxUbd+Y7zvPv5aig+8YKt/xhrLlItCrSPqel2stsct41GQJ1qb9y8ccOSKcoHRLIlfyG2bjjf9IOGMJpLtLmsIm6Z/69QwM21w5CsYLXQ1nEZTP1DqtADBpmKRQIdEYBTE0HGZnh8s5vQBAQvj7ewHPyh3G+oOls2iSyJBv76Qcmta3G8Zx5aKuxsq41PpDEEi3Fl1Sp6wO05VMrI6fowd19pgAGYPAPcHGEUZK6X9vkOM2GNUogLQfhRQmTcBnLw9sNNf0gI0gsbPrsNOuujvpyoDtV4pOIzY1Ojrw/OpxfPJoeNbeNGf8JoDrBZ5o8p/4NvEwOq/KTUN0z1lGRBgzrUNxLEvqBpYvX2p+VBc785b52cH9zqosFp1MC5UkGbJYsyL9vgRzQHpSGBcS25ZPUiYQffmC50IRRl5VfQO6t4EmJrx4rWMc7z2rYeMwQRTdikv2ITsNiOFJg1Qi7mel/t06IwhQ+RwINecvZ+u+I91EfXuRqygxLAwJZUzlIztNhxsCngYMYt3nIrdaRaA2s/DZBweUTQuctc63yqZPmDTguxRgwaaDdS5CLoisaiOSKTG2GT79A8dx9+fTlj0Kb7e9zf5RKqe4AuE+NVcp+h7FsjmetNhuvdghHvJ7iB6Paom8/O/uKxlmgWqUHLoO40Gw7/Cnbpp2jaVRn1fdRxIzafSDr8OV5b+pvQje7LRZEbzpC3D814rq2mWmUeRQfOIDHbxXNf/tk6Fo/eVACWlp5+iDEcgUWQ0NJQ/iy0J0sjU/W64BSLYhKJNx8Nat08Nri8aJ2j07+WUy4FIpiHyZd8V/Ld5+EKOaJS9ETPh0hk+/nNEqOrCjCoFy8k3kxZN1Qo/DwlRqqTpBnGFKorgH8BDpAGuts7OuI1bJN61QBMjVkyFtz07T8JfScfWHCZVEkvCEPgX2kIOjDx1MZwF3oW6JqUHq4gtEfK//B2XzGP2s97kJKl15fmJ22MgjmPVbIr+GaeihWzkpP25nJgLsj1c35g4wjmq7miUFpw3hmgn/U2vo+gdyhM1sOCgQuPTAQwA9cY+Vb2fzzkoasQp3la47ZfcVwKe9lvZnKPeOdntd9rC8xaLSxY7X/k9c/AYmzpCsJBi7kCHFFxp3zCD0YCWkfcV39ijAIV1sou4CepylWfyk/p4rZ74GTj9tCGhkyDfdaqGlTsLIMYoUjr7XiT7d0eIyYQRu9DDpQBNtLGDHXDGfA5GcHLJ2DwA38R6M2d9t5zPb7H928kIqXtZTAILlDwTva4YYEZp1gSAD4Hm8NFJZVoaV0DlDw1M1Lb71Q6qlx51DfVUm7M9xTnfm8ZoGc4IsDyUs/B5JOW4GaTyxGAL/L+Xp3BSM/lBP9KDgp87ipe+T3PK2GmyA2c1f++LF7I7LunaHJgDtBsb9ECPZUrKjsr+tdkkGOxUh1BcI7u+0Hc020pjjwdykketzCqhfJFIhCrFtZMMrDjpbWyIwJmsaev3h5bpmJVM570pHyliihIEHsxn+tPT3JN4kshLssV/IW0zOGLl80GcJbIicfy0YUqejc/lacxxO4AYRhar/XlcH2YS+vJKyc1tOrvf4NRTWYV5fIKk6qpYbwxdabemRkvLzNSB4gt4yz549DOxgjaPqYC7v+Fvflakm3EiRyYDFhyyb4AvxLJIHMitNQmdiXXsAvVky8vVDkzhTK1WrmUg3vqWOevkqFUI1oN/MMgmly3B/oG1xtEpm2IZofFtggyVXqBuxEjqZxEZwxXlp7IRnhfblnPK2/uex7kooWj/UtaeIsGg32PmMDbFlkP0b5RLDyI4Gkt2FDG13eQihzU4AbSk7oPyLK6xD4shwk7BiGSkgwnf/7s+DPhFvOBmqyjuwRTh4G11/63KAnOq0lbm7B+QMEleLqOR0lRXKUnRsrHAiXv8/01AQ2ZLzHNSsY2j4/momihFT8a8HSp9pzXb3pSdCzY3RKNbOp3cV4fkhyTzbB1IdKZkyeAOnXFnnbWG9HRfI5aySBszFXO+9WBRzlE2mVkMyO7mst1VoEsKDS1QrjccDt7/3Gr5nKl94n5CQDLps2IM2qbe0rY2MwZlWfSY0u47jK99cVB1z3wXmgwb+NVm12vm1PcgU+634fDsnxldL+qPY6miRVScV9zKrVnW336ELu1Eg5FuTyzLHczONtq8lOXsi3AePz6b67PZWsrS/xMzdM42BSs1mne7pvkTxmkG2Y/FxCDR+bYAotjgRdgvRNgO88lueynIfIlmMmgmggcv5uGfGS63R7TJXVEF02QAtL8Rny3nX4NwC5DFkLEimwHGHpS/FkbZ8V4t/uz1PttI5hTQHR3MLk93RYKkeTsSdBJ3g6K+rlUarLd7YqJVopF8ovUdLSEe6yTfdsSn21aG+dEw+EYWH/IToeT9SnAM6O6zwulptYxVO37xM3p6pWLpP1bkD1thYfeZOxs3I3hbDAhaVjvakv554nPpNiuNYuU2WGIShFnbZ7Rz5vXsMYO79yC22Yevvb7n+Q6b+M6yd6Q01rjPE2Ry+1UKh83fE+QNrlEHLl27siJmdpUX0f+XumVsUmL2Sit5cdKUKE0Ihb2r5jyBDfmZJ/5z4e3glNvmWMJWbKmnixzlRBhFELxHEJfG1gPH+XRhX9tzhWj23K+sMMa3uCtPJ7yS3wtfy940oER0Jb9slbP5whzoraqO13/27xer/SZNWVJ48c3d926lo+5ft5faHZhO4WerT8/5G3X0y4LzTOWpiPSG/12BHTG9CreRgqdZHTGeTTNjyaiOL3qLDpKnJoUE+J8xX13N1zWOc3Vd8nV4YQZmn7HN6dLsD61bfTen3ATImnIC0JLrREA48xaUHmEOEvViF81kGxleJgVTPEmALu7Pjd9R87MoMlO0rWXKwpvcmnrYgaYKQ2cfNrIeBv1SKLUnVX2aGSiUPs7SiRvD7NCxtkcSd+Il2ch8o9EaDxbwWUUTywItvGDnV03W/t0/kNeBKCcuEBXd3EinibJYSytuOTQFFOhc753LPB57nhtqxFpEsvsY/dWp+ZDdXAMdcDu3U0UPwKe7MYzuim3eXUfu8cY1KBDtiElxY4tMPuxUK2szBnIzT8RqkwlCw3D2ktoTwHeWHlmTg+b3HH0flQJpILlNTS0mEthOa1BmIYxnKQ2Sm5Q0Y3mzNLj3PGrF7SSugIn3RhGCN9aDCkf0XboalkulY2vnaRVlWqHzvSuwPu2GeqSKqhAy5F2tcf0JtHhR1M71sjPcwr1KkLLuDt4Q7NoB7ogyvD/1gXoBz/WmMOiudYf4UAdUxzURPYgVtyjNUBbhSihMLjKXXA2mpg908L109A6qolldaa1pBuXg7WSMSTran3l1sjvoRbplPOo7S4EF4QINjP9pyxo4SXsrJRrSOlFemUeEs6a2aDNAX2M6dChwijmUFPMtRa9+7UYBojzWC1+JvzpTsZaMTNDQOkvyMyYK+gh1AfZk+b6QQZKxgEeqsutNGkAioZfhFfgQ1oTz49NSmBB6atq9TArhXS7em6VylWu9CjPBm2U/0u835lZFaQ7NohXAifPXmSlDfNa7hXWdHGJGpa+gnOVineQepYQekDnIB4QFfYdJiVmSBrylO4wsMKp42iXLzLSj8KTlnZWNKY/Cqeb2qp03lxqKAC4YSGa+MyBfOKJEEf9btq30iI1NcwHciXLpQUx2oFvT4Njup9SESIwn5gV3tEHuACmzJqtyM/8SPe2VByWcKMjMlPpivvMiohlkXYSG9ke2XxxlBYePGQm8SA5qSDifkDF9HgWOT7BW5jIQZl+YEg0b+lScADXbvHk2tTNl1h4xoeJ/i4tdM1xGy0IEFv1KNMBW5A9EJO5TDr04fBmGxbJMNstu/b8Ou2JqKsldU3cZkChQ7Oo4znU0ppc4dCNq9on4tuUEDPWxkVjJWwDQCJE5Z2c6jUaM6EhHnA99Um9Tc5kfRfuCo+8am5kvhmxhrAxbeBjTcVuIaVmah1mHh7yzcPRGA2s/BBYHSf/FNM2msTWW+N6P92txUxFNYP0thubHq/4bL/0A5p/bLdLaN97SiwuA/G8bhqeZZ0mJ10PgPL84QarNuxdRVOuttXuIUgOEv5vSv7naVMhpGl3KhJsMUiVrHecyfx6+enIKaS5D/y35RqhxO/cKkxTJipXAYFXgBMrx8n3ZFuS/e1MFM+6teSPIXii9Zh5KQvJ7Yg9+TjLJ8OWOhaqcR/is7+A2oKKRboCnKBVdTcL79+NrOLckUjgVPUrCK4vkUt3RRhDP4Kw77qSnqkpoP1t7Vlt/uHFBEC2Xj1vr2XqO0TijH+MtcPBUuWOygsFh+uWP/NBu3GyxyMq/01M70CXeW/hb6a614iM+3a/b7POnS0473n5IKRghVuM8mXi4GeCoTPqvDrPzos1P3l+dOi6nmfZcLxMPNLrAMcoc2bzxgOmEl76sN6ujhVSUSk2SZD0DGM4nbKxtNAYduBEdQcbncO8KgVYY7hyPFb4nXQBMLj0dzZjenBVn3rpluw+nSZ7SsIo2+4gj9MqyNIVQYbuBlaklS7AOoVFkhemeB53MWQbBCpjjJbduaHjBNMG2TT/0Hjwt232BplLEZSrIjzB209wnDiQQTJ/uFkfHP5km5o3uFN3SueGy0hQrhmQHV/U+UOCm7mZ1eEv1A6gYwnmfnQudJkDDax0uti5bLfk/bp2QMsVQuYuSL3bcMzh1ZR6eUxnNE+PTH6Oz72cg/CByXneeFrgbJMyL+BmXHaafJT79HFILBxzSO7LN5UoO3MOqURdVNafDlnTqs/0a4/f6mjax7c/ovmv+l+58Pl2fa3fSTxekPjL8xWVeiOL5puUwdJIdeNoNwP2xRbBQVueF55pY63nFhOydTf33EzHfFszXxDM75qUVsqJ0WJakSWyvYZEddEKMlvBBe0O9/oYnGrnJXsDTEdYL75ZCn1qa8U5Iipu0pXpqc1MnjWKKOWVyBTP9hgg0k3gXEdEdcIF0mIUiwgkst599V/ncPktXhgfR7TqMbrC9ONSlxhFD+KrLhmZpgbtTXBDb0ayH9Szea7OVDbbHc9a1T3e0lU7cwp2AQRQcWVFgsGjYALp+Gv6rhw0WrxWgHLoMy+24jTVGkYZjLwWAwIH7Hth6VvzEGEaT82G5zRAjMfcR9f7zdPFWiKYGJ0du+kCh7BzyTLL+kd1/WbtLh1NtAD6vYc14Ioz6QKOjBBB3ifLnn0Qn/RG2sNSjm1Lv9GPjTFQPR5AM2VEXIktStmREyJ/juJTj67jJ1Be/9gnvuDMLXUA1U2eyznDGaaUDN5PHWblzT7bvyRQy11SjWsSdYGxnB/euK1089dlL8QYVfJ39cK9E5AxsDrGx+32XJ+Bvjyd1I8l2RUBEzFgDhekM519r61juNw0nHINI2cwUSCiy8fdinfgi0PE0p3x+ATGrppzgFy/LMLXbV/w9NcaPuRzQyFmyRqvMEsYzKDRuLjakRs4eKJ/dOPDx/uM0ep8pNm6ayTecvGhYxlMCjsJxSE3YdPgucBA0hTj22PePGQiVy+XshmCKinFs0q4M89CSnh9/3TjCEBfhNzscD0maNugnRtlBUO1Tj2ad0gE8WxQM+zDYSnwrB25qdauHM5i8U0SLLt3z+Y6HuNjlEKs/OHVLTBrslFCdZE0ec3BDW85EbjjL1ua1knnv0zsTfZlByUT0lh+zup9FUeQ2hQHW4mhd7q28s6IHw4AOssLaVOia2hCWWBJhi4VLrvg1Zl8UTKGNsjjQ0SOw1ybN3JuPXqZKU+BmXBguS5+dj2/ddIx+18mQCsvCH9iwXcrBabbOG31tQQqMzKQaGLtqYtVRmdXbPdBzBNT4cnAqx3ES2YltEztjfUkdO27rUsIVQWAhRcfcLpMb2HGPYpwRKjQxMXnEFa4z/WBBHajOg0qZ9dTgAkPdPgWkZG6IhJmYSCbC9+FbwwzKDw9xLYR6ncJ393cYGtETs3qM51O+IzoV8hL7O+UQjitt6kstFyN48CAF1PXIoRAWzn0HpA/errBXqabGP3KifX/LwnI18fRfb9sBuo7FfFslGwvFebnmn7tQ32JyK9SK987MLeVzoQnVYk+Wbfu6iC4ZiqhswOJnYovi98QH10iAaina0CJCHvoI3qor9Pl0eVPmatvrJ2VaZN8aGFWg5VDVZp1FCx1kd8vjblGNTt7u886lxFABy5Mb9/kbAjsPmIS9lJIaKw+w1eERhdmoeZHd/aMrFTgRWLfQATfcFmvoxwZPa1iSJajp92jPTEb6CaSWgXaEyNihlsxf2hsFvqpJsUBiStmeUVreFh/ESONGpQp/SJQ6Px4gi4NML1lF1WvfCINSBf8wbZrsYXTK8LurrecEOYaJieFBuW+ow5DY97qAGvsdo6l/v3kt10hTFirzOMt6KKZ/px1h7UJZOcYFegGM+EiGVip8LfEJ7iwqZID6C9Y/GS+DaKcpLv1RmxdBLc7f6k5NUbKbruRki8XQW+quUGWTSrDlADSiM9v/RdkhtSxZS2qjl6EOZILaAp2txhdFznKaTi13xB3OPzvrdl26zjW0vtyrivm0gUs59V37wdJ3sXctHYV/4mMCFD5FaoyO3a9Xzlhm2h519uVUif4Uk9YGBLBTOK8X3mU8/0nrxA+lRD+dD43W64bZYXJzfILCQhpTJLee6BKaqwIbB0Rw4Fu5bVCyI/eI0hwNRcr+2MLe4oSQBjKzVAvNuuZOy+rvoNnmTxPubj4nG7pskcDlj41cwIKu175O4LTfxyp7JgGmy+W0ZNaMmgI4sHoDVGkHel6BIzrR/ZrIsvJ2azObwgkeVIVm4C9MPJXDQnKkOeH3xWPMbHgptWe/EU2fH8JSfCU9Ymf+Q0KoRIlPi7t7DqQzYecsyYd/brt8UU+kb7nHCaAZG2EdAU5WIK+yrg6RVGFjD5kOyblbQdfYq/SdouotAQrFKvBRMN5Cx9bV2XbHHU5wIcfbOwY2RkiaIAnF73MM0z9ocxIiZ0ldyjjokElDVpuNQzORkB9jDrFyx87ySwraaegT1KQ5Kau1HAyqrCj0sMQLyfMAhb04+Vq2TKMKACYrDSkZ6e3E4hhTVpwaGdadxWnFgcPEIDmJV6mh8Mi2umcwC7Y+e8gcDlZ3tx9F4B4dO1gDXD0xZ3/Qr/MzbPJf5Eu+960GrjSW7TRkBbwBOLqDNP6xZoDoqX3g6IDUoT/Ev7hQIysDgY4e32b2BkJ7vCPRqj/pqLPEWRDpHXuYoG/YNZXKVEUDv4cyq5Nh4IqfWoa+3V5DrYv2eGIGTHwxaPQZYhV4TDNhm5wwvMaUQ/7bXF2l6um7AUFvZcsLbZYf2rfKMNy/haulkuAniAMvlb7Agt4Iyxfum7lOjsuCZQPXfIVDGA7OTVgK8bPQma4pYDvKT9q3eGpJ0yTVo/IzF3GpRfQs+K7vU93u8x7G4BQ7cG1ipuU0CpZOart/C3egTliXBvdcG7rQ3hh93iqumUUU+Nqwq3xnr5oTuprI6KIuia5AIZtg2ekrKVUgHWAYk70ewLl6Bdob63BRdtQlE6C/afP4pj3lnN4YRAXLtvqzLjoCRwW49upPdIUUbavaqLDEsGSpXG8NwzkeqvzVXeaC8nRVwws16XYDRlnwP/KYSRdbcMBDU2qO1THDseaYaipiIbU8GThcWYMnOjp7xlcYPUTQRTTWmiIFFeqv4PXiEv8I2vpxxBeMzD+QPM0Q+3s0M4/fAbUnP0Fl2mpPZK/nxWoDQBF0qkytMVgWQhxoN+y0qwmovvTVlPTS1WX9S75zEE4OYSydL4wkPrIzz0hWkcrninI9T5aeSgRBOvigvI3yRlwLu0yB5uQIsK/uAOWl9qSNi3A/7J7isSogmi9mqebvbgnqwKo8NQDsycxflN0SXSRZIpnuHmhI3iBU2sy6NqB7aom189CUA3I6A78dA+U52JdNzd09TxVe/1XPO70JK1qYHO8/0xNGziPcft1k3Mr3B+LYk+xq6ttnMwTnFgzO7eDety5FpWc+MHiXHMINP5KOgmSCHvO748DwRhIKoz3YITwyLF6gQunENXrz7EfJZIOd8X8areimQyq+0BwiANcQrgkO5R1LJ+ett7Fd8ZJgtxrdlbCb63PbaXDe2ZamFcCzaSHgGaB0bBQQNDnTl3pkOCegEdTsyQIxsCXEu6Wl2bsp5YLaab8ZgedQtX/E7g0ug/D1Ks/bdPbQtJgHTI6Z6KDeP/3jjgemFhKsZcwqFGdY2B5qqnPZoIKh8jTVnxXSuH7fD7UMfsKp7cFO6/XvbewLv/nk2oJ8vwG28DU3xfKXnF9ApEUSLYL7nOmBUzynpIcEAOVMgRNrt7yutddu+z9WSaLsk8P5ExpMbSNsxPFbEezEQ259iYCU93Y1dC8OfzknC1Ml8G8UH/FmSCOc9UZkiVJImSoygicG7CzQRynjfn8nm6KVLyYgyrdLkEhh9NiVa9hs8HoPcBBr6saycf8y6zHULhHjGthYjAa7g0gxKjwssVr8uckYpJtbLnRDWzV368X7bCiPDu0JbjaitfN4r87PQvs7kX8z7o4Zry0+SnCUOZzZAHjnAEujVK9LpjUGoj+TizanmtxNOo92rj0uGt4XC5cE6dUqNk8usM7sIx03kl0l23SjQIY0er9xedin/jC5y8lhwkRgXmEVjMqWdPv7LnHTrEaU07VbJKmhhINMuHtGb51ynaVB7pc3fjVfNKi7dhA+PwJ8St2iCRvR0RvaT1IXPmbJBbTJpNjvdE22/JPByNyh/WqZPTZeHOfaXjSm3gAlHjrEZvoQtBNPQgmWXaD8kDSRiIQrV3b1gMWPMq92LCtG8YRmSJ0pFozstUSyMe1R/e3KBpxjRRaLS5+TbiD6FWH6hyR6wADQIOhvNQ0pmFjEVuF8Qq9YtV5XlEQDbD2LYi0s8obco14z4ihK5sVWfYX8haUUNEwJh6KbHLDOyPHQ3jD/AhMDkwi4JSLp8d5bD5m4H+IO96BtO0IF5BycmuzJGHoveq+zQcZX+sDojFhKCEptZIgZz7UoK4bLHFs5SwxPDrX/drKnvv4Ek8m2gOJVpMIrv5JG41bE8BemKCN68wQAKCGZLIw+8s0teSK2wCPU4eRKVZ+XGedDj3/oV8625LtI1RZ4gxEalCzxvYUo88dDofQskjhI2XNSMvmJQVGqjxmcBlbO/5WdWd2jYQlgzZpDKX+au60ASruh4NEm82gPcNBXBiVE2cZmVF9M1UtqcR7src0AXhX45vQPsuRkY5724rV7q4PlkwHQNFrbryTw0Xgq7RgyPs11/ad1+Gg/4cxkyrqi0UE9y1AjzMKkZZaJOH0Nf0CVR61eKWKRgeEnMQ9/oAJA+/rMKTbvGyVYVrZppuBhdJ4/RPFQZZ8QVkGd+NLH61WiozUP2AULrHWJxFYLnuPFdB7ZCrWX9cNJ2wNz8RQmjLT59jfYc29tQwbBGHcKSAhKyCOPnbCN1nRiLf9wueiA7AViSqRCwt2gG+coxOeUY9WWyhoR9i1YGSiSrFuWvRmBn2G+TfBRnBrKR8g+hhm+deTOvI3QUxBOZoPLI6qp9DpvgnhhnAiAtjkd3lVKSEE4LGKza6K6302WjrnLi8JaedzkzPhw4KLG5DHt2B8RoxocXAPD0b+a/AhSH7NsmcovD3U/EJ1nUlYxX5WSljuBxitHv70odQ5RL3G4HTmT4jy+4IfIQ4WcwIQmcb+yacV0dV70CZGC/99aABTqxvEZ7L4k+XhGh4aIoIPT3Krr59opuovS2TmognvoF2NuZQoIuPoT+ice0pwyvxEMn7QMZZVMtdvEBqS0MMCf1fzpARpmA1ggsXCLy+tM0DlRL7hiEO+46PwMm6nJovMu3QYBjMsseDsDfrIHV4Uip2bR7rRFcmVzI0foJi0n3oJz6ETc/Tiezxx4BRnpa2SZeiGP9/JwkkPoMn3vnMxJFpKjq/s+I+QIKdUnNvuBPp99tXizNBgQA3IBG9p2rb9VIn0L87xrvcs13S4iExNxfjOcRrku4hSQ+VDGVToS5jHB7EIpP/vCSHopbrrdMtShH8Vv4UiTSx6YAloiYC9Ta263kZ0vtLp7xye5mYq9Y4GjHzZ1pGTiHcyRV8aoRu1yWfMMuHSn+RRZVUUFsb+djvyVFYA5vDIaG/Cp4OmmgzYvmzUoaOPD04UxmJjCo796gHUL3uy/eG7E67tuFtXDxujn2utWxrzB5m4k+DkxzBLVFcvBXoR13QFsNThPkAJ9QpiFjPfIXytKW2EMHUFsyae7atQQ+BiZYH7WsO+4RU9mPlu8TSmj9A032NyIOO5hYrayMrjsfSIr6V3I/8GVG4EEsBnmx3CtLNHEv/KF7MU2MUCFhOGuQI+OLUkH6uYch3Yam9mUNAt6b2YXLl5EegHqkhfF2yVWIWPoKQoMa2r2mEXMdCeDqjz98C2ESzGXrB8t3oD/WOGMasLcJ5jKslhsn8oK2qNs7J0WJzUtt/BTHB6q0tckL6NsgNtXZvBy3Ee4ee61Gt3/EgQOLp/5JtiVcy0+raRzLUJLj+5OYI6+CusZwXqawwu3Y6ENqX7CYoCtY9rg0rW4unxnz41Yj/dopKiuLWeGnSj3ZEKsi7Ljhd2dy2iCfrpwYbb6IzLlz4hsr0RZJXGS+OCZbqMtuqIWFim2uhNAtmyZ1rFrHu/IiqqzV2wRJuA3mw4N+f+0mkJIyVNes6H17ygMvsxmIHiK5abtcPUwJX3+F7BtNfTgWUai+xFAmnwLjKY6wPmKN5oGReWB7FehiNp5xErzzgrvl7RYOUPPc4uuxP77+koUimKK1yY89bO0NW1jKH8gqEadOsYhVl7PGyYVThIzikFprC6D0Uxtl+uh/fjiO2NV0uaY+uFNRtIHkmTatzDQr46PoB+5CaS616j7ZWui6p4yvzrBxrmuxBbzzQDTF+8bwfWSbcGwSCkHIQvBL7APIba1/HKu7MoRFHxfAyZ4Pg8W9BF1GVJJjqFLlcdB4ZfKrHkNkF6L8r+zO0oflVNm+eD/wRMdLUfNIJ74ATxYsip7MyM1ITifg5N6V3HxLD1oTF2pxSFGQ49KaAl9s9QMST6KPYTPXCTzaQRKjyDSd9NwTSMskziKASOKpZyxVsq3a14gk3MA6pHR1JUytv38twUVoAhHMDgaGSs394N3WIV4nW4NmafEnChMvV0SgPnSwuAxn0YGdqIrE9ylv4EcWwjuiNwp+8DHgvsYRoONOe2eQPTlv5w7aWn36mK5IXYex0G+xSlKzyneig4zLxSg/OlrUr+/WrYUA6VCOuFTcTUL8wsd8i6WRmU+eod9SJf8csUD7NDzIP2/2rP3fgHbFR0qFXt0ALeaKIr6AS+OnAuYjspRkJPyo8m3h8TbvcA8WkoXoaQCVVKnDj1+2oaSRNIvRTigr6Gq/WMMNMbNgz1z+jICKOX9kAOj4ZjeOKa12YuAyeEyzeQ+lhIpxbHOKasdi70P8WXvIBPhnkk7JqgTj/KYJE5AOvK/jdjJwcITk8KKNF2TxIRrEwZ7yhpghxfabga5VNGQkK1vp3Qwzk5Xv+b0I+kdtK/kOtLAa1asZ8fIl7W6wDRXiqoHAHWlADtYSs5M3JofptAO8T3AKRNBrEuujxq5cvulqhRLPnt43uP2z6w8Pqi7F2xW0cbnX7OynB2n7Cds+6RvP6hg382KxX6958tC1Vk/4dt2BbDUj7C1LzNWaEoJrPjeI5oERP0zHqrZfN9BBORfAEaPiKc3c7gVIUrs8O5sNLj5YXC7n9hzcd0HTyqgfAzi3ZLpo+ksUfpzXk9fVt+Pwijslawcdom76YHCjYaKd8lQGOv2Cyeg/6W0cWJAls4PlxRtfDSK1BhQO5vLBFOedyh6uSfSjhkNRCuRdepHZHryYAmtKEY2UyP1zM98RiIxDWZK2SuMNUU1tJW4495wY5DknP3ZdGtLDXkZIYy6hDFl+vSDEySBkIViB1ZeEyVMdjR3KHBguNDNO85OkKHh2UuA0iLrvB8LbQnn1gaLQg5pSenVXNqlG8nLIXUwLFyiT5n1mfUKEItG4qOlUXB26+Rc8IX61M1qASgvajUgWk+aJvoehGZvie9YcDX+sGtkLNuqSY+SEk/ZHVShmn7iCK2SnHDbjf8l1kOMB3PdLZH7AZZN8Tnd4er2NUW1VQ8LVG6Gz2ef/OugPYWfHXe4JJAd2cthqgODp/aiAAdzB78PH21HrF/xh7voOiFct1Z6rUbI7yruMrA5SSsgEIF3YAm8lcQ26BYCMCK6NRhSxnPpxUb8YGc4MzA51lEpYgesfNZo+5RPAkZiN6poT/NXfexGt2zKpinP8Mk8rLl3kc4A8bmcbfWAGaxt6JXIgmpFKd9OgpeyAmreeLVEjkcbK2EPtUVW2Z4SFE2hDw3UJ55Q5J+2OtvyNYu6BAcPowfnsD8Ioh4HhWj2adwI30vnhzXlFwy6lXS3wT83AWOP8X+zlZts+TW4vm754mwleWEEmD/R1iepdW+4WO59E9GDL6LrYsvjZ5qulycLleJsQPt33ISykXCr5uO2EiQq7M4THlSLylkg+0+ik9Y0BIWKkRseOb5yhY6vLG2fUT+aDYfUbY7myegmJXuRYMHCUh6AD6AnBBuXG6h44KefNvPD1Bt8+meFSlUZ97QzTwX51P1G/hWtRgIOFHajIw2DE8QS8L8DfcXUEy/ahrHnF0XHG8mdocVSOIvNXfCQs2tUvrvM7lOW8CPj4gfb9Yod4qbX+yqGnZ2sL6AXB2orMGCQ6XMTUr7dYRYMDmwWYPYWp3uotFf60YTmlPNscL+780Hw4S8dj1cXZLOChj12myOmuMF8VCjkEZwNcXKgkkLFsE9oZLUvjnthADvk0HkVar91uVEBnAsaNRWT1eN8v0G4LUuKP7kbZkahVQinaSDIZx8b1bmACyNk7eek7iZ/YonLYynLPc2qZb7MH+BRbBqWAYyP6k3ig2lvXeBq2OJtzUbvmvv80ozoKPp5BIzxKX1YzOxJdEP4YE0x8tbysYokh9syOV+BskzqsmG6K7zpWxPGXw9MN03zK/NFrOouCDfQNRjY0z6m/7onqFog7lDD26WjmB5AldPbSnKjgn/lz66wpd4Y0WrX+NZlZkB7tXAGLoHopmf/pT6ChvONuYjEJpT+XGNDj4js0BcAL/PNnGv40LVQalosxmt0YJt3USCehMIFlXOISTHVa1wIWJ4XdwM53KENAGc10BRHaeQNcrQmACS7qsOR0+s3oOKIXPDiY0s6SVoFz8Sk/Xp8wtkmKFrfe50bEiSs6eFi4EMSGJlOd0w40Qv3YjRRyZeJGv012rF6753OptzW6ZVVJ9lD1v/5nrmWcK0kQvbwDoEPUlJgppEE/nxXUaMlaivIlvG2dEC8AXjScCL/oseNesmNFFNExEZYqq+H5OQq9eVg+YULg+mNTgzWs1o9FbcHywnB64Yw59xH7Azszv2ewPnVckA5KKfN1S8nwm6niTVuD3ACqKU2E1VwS1mZLFdqB1R5dXFVzDTWl9fNEs1oJDOy17Y+tl3ny6B6+aWdIjDE0/PArrevhoz/eJTqQV7WQFQYEvuAQHNEDmD2hAbpWxQy2dSEkYW7mm/qyPaIrSNUYP3w+uncfFHcU7O9Vk36aRhGFgGZZ1adAxkBMgQSjsv4A2E/XmcPL0jwbvyH72YA+/DzY39WBgvZqXq+hDfqkNCw6JkFUIQR9MyaxL59hPXJvRYFPAU5WACgfjUbJVdSEAxQCJ/CilGREIxlizkAOa3QtPQz58USLSOldRTStp01kWC8Yhdg2t4q0dTAuBDP3txbjgdsDkWQGtF0zQt1GP7i7VCoVwoK98xs0ZqcOzgAvD/i7LJ9quyuOLwK3JcBKeJVHeBpfjlHhcahaebuLt0eTdeTdAT6QEQxyIlCG9Ao6xfaT0LgnjdcMId4OrXGpnh8OkArjec4V3kdr3R5TzH4s2+rnhYBky8eCv2Z2VQMkW80jbk/Yo9jqkVV4+haD0tVuk9bSkc2CtocMxBe5PdzjgqE3xLa7/1/eI6rz89Evs9z8lHgfoDzEppbUict0Tak5EYhkOB44P3B/aNtyaSybFwlyjejKLxrpQ0VQNmGUxF9lKtAivISyZWjWX8Krhbch0jqtcXyaH5E0MZjJ38t1hYvWY3GiASpt2/U7x6I2Ev1x83TC9oy+2bY0lO7w4RRsfShbPol7Ea84T88FLo2VpIwELUTmSydatvqWIe/U2RiElg1OlDvFr1lVobfemEfHlR1oFWt0b+RRg39SU6viy1qXcJ3v5YwxIrwglbCSHCMbswkGhMkLEOFKQPor5qlMKki3e9OY8OGF4bnnAzxdbhpzHN1TVrxZmPy+DV99QSkuwkcUBVYixGZrXE5mI0ti+YIvckNjIroy9soT23ah85I83HtiK35SfuZkxw22k1QU7fyoE65jSslsTlgYhzQwOnsPaYGO/0gFNu+IlLKxv2aPBIbZDpfb+iMmZD4mOqMDfzyCk52oQ/UxatvyDLxwNGlcK0P2JP1VPXDjIBy7vUUh75gvrO9LYWstGi59pIfe67vIo3WfFTX13b9Xonog/i6WazzZuU5R3WVEdvYIibIb9XZB4LYEhoDNemVZCtQD+N5DKgORBkg2PuSpMKV2Vm1G/k356w5L9cMYcbCcs7gp8NbagSffAHQkgEkMXOVcK/2ILysX7flpgazeHKPAxUP6yfRUZP4mUTYFRQnBUNQg8ney3ICAhW8krQ9iZAsT390pGF1q36JQNuUl7MT8kGXPd4sch2xENwPAFthUkYAKjO+8Rmq/Vd6yrloXEVS44a4fZ5yjZ1WausGDWiOxMwbQdAlWQvecGVQC3M7VCKnAKazN4TbZEG2TRz0Kz55kFg6/2V8nuDECf/dinBEgPQbJxtOOwNeX+e5FFsty5+J9+jU0C4suEaXwfEv9RBRxEY+3WPlwu8f8bKDAQ3ANEskaMNaMZSQ9gZuXFmvp+zvEOryRB2opIbKbAJziX4F296QEJAI5/NaLd1Lo6bK9dMgzbycr9wDOLU8aqWKqxymSQR1ZHdA2Dg5boCHArfXTYa/0xba/LpHlha5BHbQKYX/T4daKu8PSVsdICXyy266MYTtYcXkdyfYBA8Kupxqd1HWYHky/wtJTKjQItAaVbnnvaT60YzeRfuELswyIxWQ3J4pGFApwBa05Hwu/0CzB2PdNpUrQIpDwX+ygBZ+P2DhIE/Lfx1Sqq+B4ap7peZG+LAC4FmyNNCfy5oTKrs6lulp2hXwZbF5hqj+HD/80S5MvTdCZFEZcwSRi5GhwYvmI5Pzv3nmzrZOf6LU92vy7+xSbvYAgYzfwmcm0Pl9OlMllVV74KF/fDTtgd/COf/1DiipfrqEYy6aPn7exaJtoM5VKUFybhBxYmFTCWNxY4vBps88Zj3rb2qxkjZBP/VSWYM/Jit0RT3gDOFQquXuM+yD6AskvvLIkcayYQIXtp7D4KNc7qQtC4+yVekn8EMkHRtV0r6lb0tPxxPFKoYC7JtCnTaZq/i7T05Ymp5D35yxQP5Qku74TbQzR7amNKd+Z+sBzO/XHyGxbOFADyxJxapOi6c/w7lHTUwLDJA2Zu1uUiHs3pfU/3U81A0e9s3TVn86FZLYIgrneAftuYW3FmBNkeE8Xkuaj4M3mHS6NGiVTSXLkL3RXgN7XMkXV5VTqKtORFBlU4kuFcQ/XUsL9j3GmzfsOdQ+wi7CIfa6OXUxqsk7mG3zeJPEpaeYLQiBMgsxdULGy7kbs49I0S/wuDDzlXIYpG0vh6GBNJ6I+hXCNzbXgowIAIdiTkN/89XHDgVQ65owdaKM5RZyDIOGj/Tuj5F1ktWpE0jtzc5HgUchwBvZPOdH4X27IJGUSLTCbSFfIQ5wnDyfoEQ5zae573txdMYUcyjWK7JZGEWR0Kt14nEoTvaTaA7bWdw9h5Zjgyr/dWr+iB0Si6ivlr7vSmo9C1rBzb9sw4LiNz0x8KMj6erTgNhVac39/7aR7NqONylvdSZCZurwYSCMucBnbhNfVgbx8kLzDPwFXhEAvYFPeB5IcCoOm38MmZIN/jnwYGaJrA2A2Xd71hByfqZ4S9IWVclUAknNGju8UcObiNQkjDr/kMcmwemLiCyQflevIk0C/tsEJM+zrxA781B9fg59iBSC7E4yZxrZMRKkEZeL5eCHAlICAo8usxjffuwb/SVaqurT6c15XxcGGWMNDBN4eaET4Vsj2TKzp1zcSkDcm+G5nFxeLMyZE/n6KM/rUbUlextRtdMRqfcVtmi+ICNF1CRVz4xwq414OEQtjAj+gX8G4grutMg/X4UadRJr1ec31TGeNSZ8dx06oCt5VHiwH3KzqAEa9sJLRbqCzRkfoNyfrRCuwvnhZAuf8tbiBoPNa5H47UfWqqiV+i7hm6n2hM9WluSr2eWqx4wB6FsSJHA4yDFcPO3tyuQ8mVbWVGkD9HB6rLdo5jUzdHCjMA4YEWTItlTxL/aKxQ+txR+K2y/VqvvCusEYDQKrmQVUmkzuYHS5USDc9IbkKixvo1zwsSMvTE/S7etflLh5MNtTRngrNpJCfupP01MGjNtSh4RCvsmBR/Q80nKcTaj1ysdM0y7b+a50lKXepzNHEVd+q1EhP3S/FmxWcxLm31WloV8TzG/7Qg0pWRfFqSUTI37RusA5aEmT2p5KHrg7uo5VfQcMLlAKyMdACVoMQ0ocDH452SWcLdlL9M+w3HfO5TLnKmkT77fI42v51Dy/tBBzRdwpQZgWnBjtdcckoY9HB82fjJaSg7Q1t2Qm1GCgWgCvWV+d1bB8v6e/P1xP5H/BO1SyRV696XMuUmZHQIYu4sNagin4pPI11tA4StmvhfG9KLQXf6YP66alKpdlzBpmoaHFv9UwWlzM+y501zuBtXa5L24vFpKrmfW7k4tUKfsUa1rVYgIS/qzcsWbDM0zTy+iziYzw/evHJZl6xP7YICPf8TBRuwl+HFTYNo9eg7kWP10t7xyW2INNuJCohxwKA9y64XpEdOpH89IyxBZPHgku+OVeUbPYmCiQmHFNnlrZbBt2yMMMpiJN+o0mAid+6XhjkZqOM3ZU0dSHuQc2wsaaI2FZBVrKazdcLewJqOcKGK4BtYmKhY9qgqpVcwxQ2u91+DJ2wRPrC3wqhjmAVrYD7AAy8S2pUqDQ76VoBTpuqpom7dajWq1N897teKqF6Gb/NKxHfsoVDt6vtWDPvQa8pOrlj+ZT9jZ13vfUNVmCK/XiuPyjFS1rXENwtojg3ZBDEWiluWqTsu6kEifm/eI8wf+5VNsgD54nmzZS7jHC1k5OeJvsro1ujGBjf4HeD7Rib+yhVfgWpdSFVhw+Rlx3nnmbA4ZvunP/YlqLn2EUHSNL+HIZkuMqsjsc44wRIwJOQd1hCbIxI1EWSeYlocIxYEpW5KI3VripfHoGZ2tOUmVPnDcgREjuMEWfYTvJShGeTttyHX7IjQ2EbFyZFrAOt19NaAUFYhLIDujA78aGBFpbb2Ufi14B27t6uN1LjjlNQyn9EWbVDH3cS27Y/pokQ3pa+tPVL9CzL/42T4ZMID2En9ndbQxguY3lRQylcvsWxoWhaA28HbyoviZ7owJlTwax2ZMtlXV37SKV28LtOq5XpAzrsxN+usjlQHpDV7SSLoTMgeKVEyc4FaosyIBqdwdXQI8ugSOtC7qBSyHy9/efuUI+h1BIDeDtCK/sg2VWzoexTkMPCg9MQchdxmOtGDEGpmW5yTlN4ieLQBOaUswLnrhY03aKCQ2HSu5ozKB7dV+WyP+RwJ1hB9MDCgMK+FQ5wtIOKEgzfHWN9OOfWXhnBhLJYd1NgwRAWUh6xH/VVB/cJ5+baOXa+Oiz7N/maLamxvR4MITEBGwhDa5KqDGa9fCHWN2dV0WXK+F4K2XUYjE3Z1qx+LsqCg+5oRqFqHw2B0sh2CpP/sedKx3RaGE4NFwB+J42OFBeGZsikn0YKE/pQ361jCcN241ozqDPiz0QQn90CK6E1nJlCsDNVfSFkmhfP0pf5Q5faQG+RQJ9D+dcL4Fobg8/0ouS7Lz3VeSfokgePKwEM+QJROEODcjENmwlkmTDDb0kGIkTg4fKPDl/yHzBmo7MtSpmwZ96vU5tZkAqW+OMMASDEx5mj9Qc7ABeFf4CB3gO+Me1JQv4nPZHTddMhSLwYkJVOKRS4WLqtBonO0BnvV1EyFa/eky6XBA+JNBLwRUTIMzzv6amqQKXbMfz9s8Fi0mY0cnz+hkf/ovkOWbnpHgcvu0BgNq2IGJH8oV3pBK4X5NIv+i23Ld5MqA/+eWSUIEzwCK0FKgUORSP7qGypQ9s0bMsf+/YLawezwDM5fKuTnmddO81dJOfnSGaILpVNnAYzsTN28NGJM+07Xt+eAzsxNoBP1ErmG5Jbsl7lR8GBTSVYsGijZR4OR6VSm1Te9qLX7vkj59oX/s9dRdi05Jx/zfvu4s8RZ/73DZ8e2GrCs7oFSjsDv4Pzs4lQOVDIW9gx+rm0Wu09lhIjyAZj82bXLf3igE/lxHyB18D21K9LuJDokOMSK9rG92Qim4fVYW+JSM1LF7fmXnf//RQje78G5zJTNO9ksZB8Kika6Kd2pHpw4wMRfx4tS8yvfFVDokvxaJAYwBHB2F+BOebdwlMkrxQKoVYZy3A6csoqF/z33ckzU7dTcuKs5/RVgmaOK6ZFejoJecLeBYen8SKgZui9Nhi4AGs4FuXrs3jhznA8ZOUOyxWi0+AN5JcjnPG+g0LSLIGvPjkNhMF3mhUWdXYz6IschbAYNPbKGfvfSgYJFjhFWTEDEUHelOLhDpFSO2eNR/UueW/X1cr7DW88MWX8PRVV+kYxkT5FDMxV7PmvRv5hRUhHSRA25EsFgAtlIe54Vokb8z0ZLiP6FtYeAta2lW290gRHXs/2l5VKlwMvjIRRhdButNH3M8cISbr1+5dZesypm6GGosX4C2EGw1Zx36bWPRxEttSHbFjNlGFW3U2SDjvG2FRposzlAyjcLGBYy4hNP0V74y32bqdSAhFhqTQ8zr5tgq7F71d4EkBVs0nL7Rbr5qvN8j2wgGCqi9v391jXjlEhcN8BphOgHKQUZmDjQLnqDgBvGhL9R+IFe36ncemKnpGuywXmtSOILtG7gFvtHPi7Qzixo6wJfKwv0o7MQTpZKNALF7MtftfvRQQgGxDlg+qOrs47fVNOQLdHYNT/Qk9SS8Mgmcwd/Cf72T5LxaWIIcn6/+cR9huhhuaLFvxkspw+l0l7KboUpm9KbSW2NWBLXJEETP4iFqNMU8DEcMAJnq/yAWRBc/mbb59NTJsX5k+X3U/PAHarpsXdp6RNjro8iLvtwYhpiKQMng2jdpk2w+1vf6viZ7rVZNZLx/jngW0KEWr04RxKwIendLDorLCp/+P17yboqB7DtumGoL/VggSlot9cISPFs1GwVXtvICYlBWqQGdXSjFrUKYH8MuxSFj3eLSXVaQamOX9urXOT/Jng4i7VrZie4yHngQUGi+jFzbAm3aKCKy8wHtzo22Ich62YLs6PEWGzEFU6PcHU46Gg4dh1kZ7WFsUAsv/NTj/oXw2QpWpErDeT1w7I1DEpJ0oAvgsDEAhivwudpmu+qYrzIDgMqaSXSRE84uOKf/QwtJgmOgNR3BNyCYTPc5VDiDUWlSlV9DT1d/4j3o0miG1Tq0VdLA8P3Wwz7nnXUCPmb7I/rPsfkBNvf8yKPPP7EvT8W3ClM5p7B1OWnrBVsOyi4WjLp5Q9HFwvlPB9HUEIwoVBPv7lBwvbdZNfUwoq3JHdjBjuMCoUL9YrTnqBuQKsyGTlb+sXgx+jSTbXMhikdtzQeqz8bCN7V6VSs2sqscmJsEe7SppE9tVeR2tHVy0m4QLYXJ6UVYTIe64KW0LzMWCiZmisUeaGX01VRCm0PrJmlu82vazCVzS/A/RVtYoGpcM/Q6ZHZUlDa2rD/CfzLajpFZGdK25jcwKJo1sInERqGczgp2k3lT1FZNcJ8Fvd02/Fu21LK+ZXcjj6bg9J0dbAw7ufUcOn9nSOtV/ky5tMhYZGvJjZsOpYywKLeo+NKerH1GxwokjCRXJWzJSEZAu8aFY3+90RTVikMxTSMYEnd58MThPmeZPRaYtkEjh8meWUmNv2WHlZ+7QWJJLZP+bSFjvgzZSsO3cp39YUNwPcsNUXTB1a8WoZSM/bFV+WqYf1KbhwS+DBlrjL20g2RT0VgMEBBS88uu6jku2qLEsa0Epea3x+4Gc0KEKEdUvNEOZP/gu0Ds8IxLeZE74MlA9cCvXhW9Mpq1kI54M2HqiUYErlyc520AMdotvzn0tgnqQN/ykR4kRS8+DWvPw3aNi1i8+NMI3G+8phQUqri90fpixxPor7n9m4errDK++ZYdr7oHK0eySVYwhgaOEwsB4neduUjBU6I23M+DH/bNiAuAt6+OENfUwKRdrl9FCGnw+MShRpC39AtQws4PFxawcjy9gKSOK6XAqO9xvMIh75VkNFBopZDBjoAUeEGNCES9VsPsPKL1xpjQfYB3kwbdvr+I+BxnZtTnmIIVrolsOa2JTR0JMmnlso/oHAitNNMmQl7xV/G67FJ8G4EdXvpTnfCdUFwraRmAC9T+y1JSh+fuxmIMnnoBYU2tSxsP6sPI6zFJ8u7TWNQdSTCAisHjBlVdeutBYAhBYo2e8dUZ938G9cF2/ZntmkHtThGboMs6NVIhYxzvDTzobukyMuqOdSpLaVLz7YQyMcQ8j/HsNrJyJbSC01CR/hhV1EmeqHrpQSEhL93fAvf7NDkAcpNrhzPzdS/lRVlpRI2AA9GMGkkluOBnLucqVSklGptW4i58fJo5SdK8WYF5knryNhhiGlj9wOJMUbyOReX7XNy4TKR20WSl4mXgW58gDq/R0sGV5drrFRhV1tYnYyEYAav7iAXXqpSevZWMA37gXhaoYkbnpK23Aw+C05gdoDq6KQaRvJ+1YmquwRCFew5miixfkKgCEPFPPtYuiFsB0pGmK87zYqLvhhVsZpbTrH8sLvvyGEh0WeDqfJjswA+TI5nG2QtHHfCj5ptSMHBkhJoSFl85VjDWGyjnqMjOJVPnzhQmQtIjKNKwkiDQuT7kagTFMXKsVOq3PNXJj7lr/YRihcGhAIxM2V26/YIJVPvA0S0bWfZqQvBIJH6GtcDO7kfKTO22EwWLLirWvVmjS0siCjugzlDf/vd2kdrlLL8ak59iukWmctu9BvNEgEcLJVa83nXIA7J37TWy4GLMisMSPJi9OtvjDjDMHwFuexGCOXn3FgNx5oV8LGIaBmP6f/tF1pvmVic+uvIlyYapXYRYXJ1866aG6WUAmzoO3y0zQA6r2Mnzs90sVzNF2L+7PWEGwNW7MJSoMA2aeV8ZskGqVerxExksq0TBQNda6In/0ZAvZkoctgRAVfjwXOBdBcHZ6jyhzzWzs1HcNaitOI0F3kETHs0SMsXLQhd8zxOto5HZBzO1wufXO5RwTL1g8kOc3DNsp8xXv6x6kJAaHcOA3m+vxzh/fVU0yZo/PkvYiJwdB2mHx6a2PG/wGG26EvnxVtDBtQJ7BrX1TFlB280aWKeK+SuEhMqvMn7+jxMACyZMrzdXhDtr6yIAJ4qMGUyMTZXD76JE3m7kIvnqgH058OpReaTZE06yZPgtbGp9XFvgWGcdnNiIutZflCIzEcOFSgo1HTYlBa3nQJoQkxlUJXL+XhQL5IZaSTKNpkErnw218ctXQdIH143D6KsxFDDR7N2GsTboHufWRgTGxZnmz74EtGjpNEI49Ie03pPNbFyRYOd3iMzLDQ3w5NbkKnX5Nji10sgQhzCfekVryy575XNac2EwUO0QWhfFArlbDXfM+K6TqXd1wyCA1gTfmsZArnau5pMkT9VSD9u119rKn0MkQWwzcmrRwMBptDNpVzUEsBdCr9eQhgD8i2cyAnMaRhk8H9QFj5QdBh0zoW7bTjgpKLXe21FXu/iTG7SaZcXHDnEh31apuhsnVel+XxjM47ZkDl92VPRkj2fn+7N+ivxO6SvjngKjjyrpC2YnrOmIBxzaq2MsVg0fO5lBMhGLFi6K90jwqqsUtvUEi6Qw/uxL1EJewgq/IbZj2Znw2AX8mE0mniVBEGlLf/aVV1Ip4spIjuLycpaAra8qjrpoMNcFfqydEcqJRTkokHNDM+yIF/aqZhBpt5n3YJcl5qfqXQYGNoeTIGHOSEJJhpphWVuJ5IozU3Fy5/qrUAN6vmlkTSsUwxKOmhqYiGJvC2rwIROQGFmFJBNjBLmpJK4bRqdr1ZoHtkPC0Hk8hlY1DBn9LHN5jYFLZ/5n57+jWo1koofQzJYF6W7kfqumAleNhM4oIM0dFcMrMHHH20VuabWAw0jqcOymPNcOMBFUt/9cQ+AMBNfflZLvYuGPKS+TdPQ4Dk7aTQXTQ78JPGK20UhON+LMhnoMvUnIaKS6muBXWRc/eA4rMGRvaBoVQRrNfeh3BuFt3yXcB//pY8OgPCjPmDjWfIe9AEHUO/vVRlIcgtxVBgYnmRhusCDpA5z3aJF/f0RfMi56bnsWGLKomPqydXs+Njah1bGxjKt2PsTYSUU6QivKdr9KJi8esvWeth2v9GT59VES85Zli49vyZ72GZHVQFLst1z6mYdU5o52DEiIMuRhjMZeN9TV5i0BnOL1rc/n9IJtNVE97SvfwxS8aHwc6ENmjpcXCXZypu3qsxFU3FabFXFqHm9IYWixlJY4KqfcBLQEgBUZ8WF7Mh5vEmY8CjwZeW1QvURkHL1YVunz/KmLQDMaAG/IMigKrUr6jm9x1ADGp0X/0leniQSTZtKCxlVmA9PxlFuqJK4Ar65EWb+ZDTrSZwx0abfVn6gb5SI/QwPx4JaN6jpefkpDy3dNxYq8R8o9ECEEeNPnkc/zeOLoy6VjwuwRRNmjxn3pY3CC3lbIVR+8XdLD2UxfXLzyDgwi6CPWSTFz70S0aPvrzzcAMfeQkvTL+7bSwiUw1nc6tjXcam2KKYZ99JgqLnRmQL5lJTg5cATjG1u2jCOSEGRleVkKkqXwg9Q1iTqhz4uIjSADUjNamrZuvhsVabouGW0HF0wyPX77UIiorpjB2J1xj2CekwlOpbXiXpYpRx4YeL39s/ldOnvcr1JQH5DdT9ZkRdlT5ChRwn1i/fhRDMHbXFRGg0cog4QmFZDrSvQuap9YGRVh74rhfBNffuwY0CgSfKtPy4lPmtXcGFaYpu6LVCu+ziMD57XE1S1slBOo1zO9pHTyBXbUrJ9iGRJ285pQsyUQSLpl5K3wP+kKOtN1ArlU2OZVd/pTnFlxuMDnE7vbS9RaEOFywN8JD9ouxtbJ5xmIYZvXOi151gLli7347PppVBkDBtEfBWeSdp77kmqtgldrahdNloIJ12S2v7a92MDpqCHtn7Pu9ubQlzYvae540z87rFEAfWUYamKlGBicfZQbHfB7hyqE9VSg0OW3MFgXm9A/ozpDsLc8BxnzAO3GWCwdvAcHwUsk8jvaqW2Ze2NUPvXpfnfmWDKikws+jYRCm3N67ewCmvPKqO+QIBZvof/EK0ZEUU+uWh+517Y0qo9abwoRcRL3gAdbgywud/wsVkmgJJfGzxYCNTXypXvoEOQgsQ8Td66Mvk+uz1RPxYm6YWtzZf5E0tsf8hMO/WyI2JeFYuaknVPDgNP2b8E224/EqnWZGfuTNqy6ElyKx1pfpgDmI56wxswxA0n+AupVCsuxddmdpQ1v3tCRL3OUOE1aJmZ1iU5d0LTN3Snuk1yKkj3Hl0ij0msveNOIxvAOlH+29fy4aQoY5WOgzNcawfXuiKrlNsyZ7qWwbkrS8Q1IpNluhSLn19v9qZCd4sk5a1nXS8LEQg8h1qlHYkoSEaz4KUjqIK4fQZzrm3Si5RSjKGLFcGdq4Vo5G6ijLLSUGyepAR1aVDBBn/PG4WvU1Hjl95qFHTpaeczZaBqmjbgVmWdaMc7fuT/bOKKwZGFgjALWkpaRFaIiVde/bGAjkZ7rvS0AED+19Grd3thchUjs/i0PcA5w8VylQ+kt/T5RPFt6z1D6gMyo9IUdwRep0MdPM3VJlIj4VwlqIebeJ+o5PIa+dAHaZ7DoHwGvYO/f1iIkjoEVEjbp+4Vtdol1pgUnpnf45yf6d2b+t0Vk2RXuX3/D+sKyeG0LFCKzDUP5VmTY/HfnWUyfK925vOsF8yeMR0xx1Wy8ZI1WsoOUtX1L/IO4dHsrlpIdJTQwHtoVMMoabrSoQzf9/jVpW1pzjFnwJtLmbC32SBhk5jOxK0oUqm8tEFjfpQGw7IOIggRhLcmKOxX7Yly+m9VBkHgdFO8Won1xAInvGM8DwLfFUAOK4xR/p9wKnfuRtw8bkmokTXM0J4YCNwb1sQBAeWHyqsFGuLay/nJUbL+nF1y/wMPNavsfwqzrQ684mQhEwcgRde5ZUcPyJ6WbxhSuiBOh1KsCWxs8LRYmuBA8cDk7LoT4Md6PClDpMXV+QL+rYNzkzyNAEPyFbmGdg+YRQSFqnEkFeKqFxs1lKog4xhg71JrFKUYBYrc30icp56j2pGCQ7xJR+toDsHJsXVITRHshgWAmFQanFFcmWgGtvzc1gruwUskIOhou1JU8xeoYB+neMU1TWbuiWWCouCabrE+CHeBhzlu6vNuCZMMrWUnkcvcimH6LV4xYCh2y/KH8rZa6joMoEV5Zt2ADC1IUFFZ6Kv0FbEgE7tzRhdLHEZsNmzU9/zJZRmbM93hrXo0+LLDPQu0vVhPD9P7ESJ/1nI+l3/S0WKuzAdD5R/cDkKeKtA26qr4u5MbtVVVU3edsys6SA9wPYk6wPlKSoYQ/fKltJzd7jRvx/cR8jg1qh6dLyN2b4+bOt5IDHQj8QLwYS2RN/3axZNCrPs2RC5fU+dJVdlXHhTt8lP9Pr3ItjUVGKWAar4dAEUana+sjGyGzGGFOP13YgBPY4gH0IzoQykFW9IpSDvhKI76G6Gxfy19mRXyhJ0wfRcXrCRr7ReRs38fZdFo8FASzL2Z0kDEQl1uGdYRHWOI/wPXJDRYr+VyE689bZxLWY4/8C6ZBXfoZGBB30hITjtkMSgPqvmRGZ8yYes4NYGy601mPMSFeJe8AP77iVpfWsiv9AtUPCZsG219W0KF790Em/S3FgTqtcTcpYkebX3M2+0+zjUFGpahQaEiey+I67uXDKMv5slntc4VFkGBXN4Q22E0rtQ/2Nx/Gjsl3a1Hkbg16l6NfCf97FvJ9aHWjbci4n8BX85NTZ16rA7cMSd4/7NC7JH//UK0sOdEgQWKOoLopxLPFY5sq6gpg0Bff0Fr7xmnHMC4aSHic9tfrkAWIgmvX3Hj5jEG0l5O2S7WH3c75LGSAovCA5xn0AFOBZr1kpa5u0M0zczvtJ4ofFhaySfv3BRi8hlTZW3/kFlp74nPCPDgiyk2RCuT08QTjkcAOmYQKViKUQaVImupyFpMJTI0lR6B43AYtLJtjOTUJ1IQMYRJf1qv17Lng+CVWUFH8DpjCNQQNV79QU0Tmmcb35jR7BYs+dT6jcT83X1bYTz73Tnc/z5oo46ec+MuINmN+JdGxah+vUCCELiUNiZxDDw/9J6XaV0EyTUBe9APGTWh4qyrNO1uObtertIYbKfvVVirL3+hPlqEW2rwBleusC8L6QZNUdcGU9uK0nsu3cC/jLYrZ4x4kU5VuGBtWJJiEx9d4S1hsUmRkfbFy0uAdhI9hetYrLNfq+PQsSxTeOeMrFG2GPNpI+dbG6LAKVolifafJpsKZgaB8wWr60INcRfD43VVvbSez4sjUy2LrZawVBnQbrsr69ZbgOEevLulxXSrm7nkQaDZFgka8XzenyiO6w+D2FE2I+xl9uqozbEDgcWzVUb0/Ffvdu0QzbVDbchlDxAMX2jyUIDk8OyZACIb0EpKaLML7kYRiIgdEqKnwtOHSO8oiqvSUGNz6ZV50xJhOD0GAO8cD1YiFz+Y6NqZbG0AkopuxzkfiE5xKu7LpX8jqVgcLOyu4NAXS2NcoEyocTPHfTr1aNEmy6fGvdJobBXwfUF1Q9k86QLwGvQJTf2VZwwlZQNVc/mBQdwR4IMUP4WKgJLXk7K78a48oejbxKyH51D6IBzTiInd8FBR/psXuvBVjBWUdjxq9WUp/BjmhxenXrhfII71F7IZZcBR5TGlTNVI5QOGI4jO4Yb8VWYsShKl7vyiBwP6KkiAJRYe9BKerDcVjWk4JOBA4IA5llclygN15/lYGFBpb5kPbLe2fHlHVrB/AKB1CedPy09JXEfw2fJzeGuSMcpsRWPSjKE94YYAY93/WrNJ61j0BFCU1JR3J8IJ+s2ADJ5xi9V204gMcqz50aTo2AWfK7cCe+aY8G8Vq3vaz089+FTifz+nCmqx5SUmSx0EibXmGcPn+e1E9EcjwXYYMnhMA7qYdds5PS3BnU8BezFUAxa7tobsEc6ydOYCr8o6zCTn4t0/ptBPJD+6u3jUmDeS2lIvni87H/K2IDrKzmlenOhLQOmxxWgduSyOhTmITeGoaUSIWYzSYveYy/G1hU0WUV8gyX0SiX5a+MJ1Y1JoWGYp9y2Icc395Lu5nERQyu0TMWc/LJnYgiBYhFSpvnm2QQEI6mpR/WeONI26P9kFqydrXCje9EJ284pIPf3xXs6Wb/aYtLBVida5tYbSh79CgK1e0tzqQf1/hliaIP+aMCQj8v/ZSNFYni9/UUvTcqTV4N/4JvdCWmv/bedWdHqgrkgj2F3yqIBwHl6iH7k3mhpBeHlchRtMJOaPvrZ/gN9jN+N2e+Lw4YR4UAfFOVAwZvixQoT+Ch3wM+i0LzQSCX3acLbyb3xsqni26cTfGuCprKb+7ul08Czr8bwQ1fhxF3zuwtuLfGVuNv25jU1wZyKo9Zf5q9aw5oVTo0agJMWHE+moE55OCi5wudp/ZxzPjPk7gsKhs2A8LZjGmT7+sRO8KQ5y3PYCechltP8a1xCmExCMuT38qWyutlfXtq2Z2iTYGMPZ4O/GiguC4OVsRLsuGEWTO3OG0dgb2Z2p7YmZXB3WACukshvwMkpH0mHKDPYC6EabgYDaDlaXiGcrf8EhbfddkYSjtqExV4YIDzAj+e930B4UldzmsBgn5TIQdhKRuLhl1vOAkyoAq5F7o9TpTD7ORozQCo3qvk0FBU6CSlDPyDhChQz6NQp6r+6sZDC3p39K0LJYgdpSEujYIY3zlY/BBY6KKl+zXC+jIohqXmi9/gD39McayaiRUfx8USNFCnm2A81Q+ynRHD6vEOjEB9H57J6Bf7v0YdzwmFNOvq2IqCSfaTdJWclw7CEAGwJomZBWBpLSJy2UOf7rVqiVX6AIhO2agRTOakEzNDXsMwp/FwDJz8Bqk7yscaUfHX6idqo8W5tqSnPFuMIChzSrU5/RafznQhLpiUai3qhnsXuvcd0k6OC3lZsXlKCeYlLgjH/j5Qzj7vmPCIYvzy67EH9YvOh6DQUgQEQPLKUrx3NN13z8yvk+kMq+CmY4B1wP4+BLczKRP1ltGBUW50weee8C5jMd/M5haMfnQlABRl0YJJGFRVHBTYty11/RURWFTZ/3uAyTShnZ4nGJtwCORFjZ0/kqfzmDWy6LO1jhpSdkzhYI/9uhHK60JYBDS6DY9ibKf8Kl16cmRRyWqbT2BxaMefabAMa6Jm4sjnmRGDcY6geMA5TeCT+aipb7rsUofLT8Ram7RxCQchoF+mP620m5c1c/uBVDpJF1T8xzXinV3G880qYnlkr8e0T9kcodhPKXVSXMp4gQn013tEvLPiWcSrfHYItksXA6hUxMuNfwab9uF/DK+Q+NV8+/0TWXM7IeXOpagZfJOnT5QrmUJeN79/dEsX36ldMpU2hXQWLe6yh86t8Xyii9B7hLXEHR1qIkUw0TWOh8bcnv7Y+2OtoqjzffNHT+m8KQV2wEAWP1HWzf2cf2QR36w77R6vpWxwzj23T9PEIeg4eq12AavHEVyGPN/kHg/x7Ws2OCw4EaFT/PtzWl3rksoP2Dlp8/26u5c//Vu7R7WJcpaRBaYa5nHMo2tt5CBTLDb8Ucr84tchC2PTVmZnRjoiJyesd00eNXJc0aAe/oS9LnzKEfrG22/MkHtqod2l5QwTpXMVmU9rYrzB1Sm3AvmYDbPl2s1GNS46SlI+TJLbuPydqTV070OODpq+FHSXlYw5GuWNv7/NqspROMMWG1qwkhhvvn57n/fIo5e76fzRdDs8xfwfbrCYrxckbBB6gooXCHfvRh6uo0z7H4GfTWxUdCJYEB7rhKPlYXQomKBz6JjHIMtMRR+Nl3AtZsAtimooSET/wBgxdvGkCdzb97PomQdqXPGg4qVYm1em/BV7m4MmA/cgAlaM3XcjHG0Z+T8r3N/cgCOuCsB/ZWrirdMEdEFmChIcXQWY7YBiznMLgdXvunfEg6S0PPbwo1PiXyTvpbzocTKNR76XN00FpOzlPsBHVid5AQCMNTF3JHzqjVbucpOvZZPV/ezHlJTzCEtoUmYkAJNlc00LvTS91m0ZWsgLViGFOClk3GL8ynM+KvTYoSQauNS+jpiVw70WmGHGfkk0Ogtqnv26ky1qyZsQugFotprFJrHx8rmFOr2I1MU3LCJvxmkFjzCzIGuHsTFUtkywOJDaqvgF/QRn6K8uhQ6iso0ambTQ+VmCYHaMd7q+3qKNfDZzS4/pU9mceD/J8fBz7h1Tq9FPnwLpMp0NGM67OpnBMo1dPnyo8yUxzF+6x1a+QJIZcyMqLh4hKWMNL2iMce5OssCV25c0dKxIBgZPMB7LYZIyoe8U49T6MKcVRQMBxTkZ9yhyo4krqiRtWTJtLJI1+kOlVpr8mptR1/A4YPgOB86oFLupkkSXQ8Wtv5ikv53YKERcXG2sr8f3vkKq31DTpEAe9jnNH2cxyb3Z9eMYmRXpHz6vSD/evldE4lkyIJqyeyQLinqZER1WXPjq7+UHIImwQFmuQEpnDrwx8UT8wgXxNYqYiixR2MKUp+JxoJaoom8Z8AlfckZzFdDMHnkZvbj36DkA9IECNexSSl+GMB9r3OeLyEJcIl7/x2ni983KAxpjxf00ULNz3Dkioz7+3fiE6fGwGtc/7AjQUmHd7aikCpODW3X7LaoN1m4PGJCmo2d6SAVb7gO4yMOeVlieexWYXnOGFMGIJYiuh0o3mxsb809oRw2X9JIPIX0MMqHSUgzMUEwTGRnu4NGBNAae9RlQ3MK5iOzFx7P0KWpwBHlhNmiZz0mOhliOUaWIUFGA/azTCEEbX7YuwvolN8XW2ziWaRwxyiIl/pvGcSsnyW5AQvAdy5lVQUmM35KG6Dfx1H5bDVr0VWdQVZf9onXpDHhq8ODP/cmaqBU7o8I2NP1yxkx2B+Qftd67CkI0XrD+nOuubq1uZqXcIqoDPrCExH00jcxST6oLVI2tQHFe0mCQIk6HeOloEPXPVFfSwGq+ZAA86JhDbwk+xCiP2zKRNaOYTyhxPG1VsI4nlU2h+3idhe/DbDi/EK64CM/cEYCCzHYxlGCwqaJ9tOb+/QUuzyAqP0TefhiSejYqh1OwyPQl3cSMQJxQkqPaFXXnfGaOUodFygBgNOF9X18rYerCTbjWbsB0VqrtAQpOittr3LF5ecO8ucwCTELngdVw42pqH7fXTzao0T+R71yDEODOz62uqmhKIJxMs7DmJxNuDiT6W1+4h1yitRp7wbnWj6IDPdx8TQO3J4NXfifEquj7U/y3peV2I2VxygpODaLn6+4B6b4SsxMIWiwmu6Lh6Wz/itLr08kHSnNZFMTS53C9R5cEPxW9RvaIkVTe4yU0KXNdJ463RYuZ+xbJ0ml0O1ROX+SggXfv15AA4BzKRNtusIMdQxd8AM0vmlQ5tfFx12lA8hqoTPtlZ1B1yzRPYqBmHw/0NdM1x9pkDklKW/HD2QuWDmRyZKrv/K0EicgKqMDPc4jTJv+VPq4CMnCTDzax2aCpsBZ3O+/EUFR0Kt5V3KWg+AXddTMOWI+aIUVVmknNM4lYfQukoDPCHiU8uunLrRYd9oFJTejFEqIWuVbK2Djy7Pi2tGbP2KoOTrLJZzGIXokQyiGtAFHZaCAVXBTY+nC8JSn5uDpqz0wIxsWMlW+wSqLxtW1mey2Nfkc16fvtVU8kjujeg1aVjyas0qIoWpAd1HbeBdzgDyQnw+xFXo1Kg+qrWntHfYvBNKzJOdoxt8YLvp65WwVIoFxGFJaVFKgccyKCwe+BY5Vy29yhESNeR+d56LX27XerM9egZzNxRaQmnswRlxs4Lp+GKMqfutmyBwji6i/ulNyEjjcdWukxF4SkLZeqOENDAWTj5lNB5JnnH145qa1yeTZdeHnfVrOQCqL2/u1tOxyHU1eKHlOlTFkdjFa/f+PdAweETiFoRiOHmOIlJ1uLEHBdqlVXcMYoVY3hFOJsppa4lSHNl66ONYUSCYbHP4qRap5x+ha886I7n3CnaBcEYdLTB0Lb9JeorVrGw4dvwiskd3Aa08d8jSQqL4zKwOqdr48uFe3+Z1ZRz8Rp1RTzmPi21iX2R+e0Upp1dhPnZJ5a4AcBKPjcMK1D3AvnSdwX24Jtb0LcfiiFlf3NBuWFh4Nvn3g6CdZuCp1mHb1K3rC/jb853p/JkK9ONeeEBjuclvOsexsdMK1HcAC9yvoDLXdspdR/m9r6xoCp2QIpazIcrgp77gC0pcfxuIjfNE8vfvnHBeKYZEFGKCaZyfC+aAl7BZpq56GIQ6m4DOgtBhbYwK6n9fbvjz4Cbt9e7DGTzw4QOVOBW2dinVndscAs6rXfExsounoeIz1nY2qm+8AGWZ8laGs44nYVjFmXEsun3LD57ZdBlS4C3nZ8kCo4mn51VLfk7p7OYIs/AovKn/qSnLfKC71zDZ4dk+mGb5hSIceE6RMkZOrjP2JANL5nV4qb4aEQ7RRGzMPoHUjDTcZZpFHyeajGEPDhJ756ezeKV6THmqEhSGdjoGaOSGIu/d8bnuO91hdpTCIY9iugKfKCQnwZUi4ppwJv5VRMMCnAVxfTMnXl/0Fy0sVviQJHQifJC88GCMnMmUiLldQh7EPYosWND6ns4v1OvPO11KV/VydwDn6iomfhXTAseFj/W0ge0ptrh/Q3+98W+2tcpAC7iA+kwcUNSPEiotrRhdMmvuRUg9t3GuWQ5fqpvolbPfpqxEer1AwFMqRd0qNW+CthAUyYjBNyrDAn6ParqsM5kGugIMAiaAeRY6p6vG9NSStYkM6rTCRBDmSXkWJWup1xsFgmp6vyNZXtEJ618sq8A4s59r4Cp3INqP9zokxiHKl8SVdGlpm6v8mjCDME5T+8ftPBzc32q4GBfLQFuDPm8tDzzUgvxUkbvuGeQxFADmw2nqN/e+s4UlP20b1WK5mCIN5I9w0V7s81amvkZ0s5quynMlOB+mCvtPbMEtf3n+xSopHrqFUxzxEhf0L5eLODJ2Dal2X+Wt3/ZuSB0seBQfHA41L/33A58frQd6r+6kHIqI9Cr3UOA1RCZW/Zc/ra5k39HzORIZPVeRRRgHLPuHECASTnVB5DnoIDKacVFXn9Lsmp7EVmJFKdVVTZXAlae+FZz0gFsAvGxdO5crEsGBw8feNmlt35fQThw5Hzunq3t6gRTRm9hmrliDIfrq8r7Hf1oAaFiolLVVz7bSl6ivavBzHxRI3GIZ1euTe/x3psoGjP3VKgw5FwE4P1cZnpcMCkgkKrMhC0fPRmwn4ivQacVcw2ESoTch45elraDM0wcqNbnBxEzJwnIaP+ixVqNbo9FqeRjCo7BEYlNONpB53Jd/DJiU+lXpTBgE4aEnHu6zpW0beIeSuCs5ao3ibMLFXOrOgMo5kTM48Wh9F6BVtX+u8e4mCeL11HIjgvTWnM/zBPw5wUtfqZqY1SFyQmu70rg+oKRz+WqZNVJgQsNUJc31noXucQf3936ayJR6c/xELaGp+FtGi/aDnNtvios8RP8Dqch8ZFBHZY1qnbaQ0LeEBCB4ndM1nfVqW+CefcKWkxJvNcNyNMOZrVbvkYjNZ+XeAZB0WOmtc9pObzfJ5gYnuDeJsZGNtlQCpf4OyjkmKauBognOLy2i7YBWVm8RVYNOacaBPG28T5V9eLZT/41LrTPRbX/sSWprfAU8xYQ2nJLmJCcZNjnTnkbtUq5PQvLwUyhV0Ypg8N4C5qaaZ1TkzstfZfTP9fs0gVH5PoUNnqDbSUWmoQZV9Aj8eUQW34rjrHfjn3a9xwm9ADSa+3N0iJBEwkS5q79Qv0gXxlOwSsDUZqcrSK+dO0y9a3SGiCIfDh0yta4TWBfYmtsH8EUv/twbBzzK5jRb9JG5n/+tgw9s9KYZMXB/pQ1YrNahspQBHEdccrFyYygPzFA+/fZI3OuL2kPaI2PH+b7d0irW+5yD4ZUex7MdsrZ19/ROOhtf3kmK8b5mAVFBQW37iRwSzwGSnevSkVUWjYIe8EQd57102OQFGp76457EGz6RwyK7FFSSKZabvU/gXazasdzhiEJjPVRLa1YNzNLEWNVH1i8zOAb/5+HDSuvtMpJ99zdMfULkbLF2M/uL2RHyggWT4LUvQLxDMDseYRGGTfC1EnJKEBUjstgcVWbG8haHYpdPFGvdVwoRc8WULMER53mZ4Om9cO3zyZOtZ1Cy6R2UVdiG6y70qQHQeoVLGAT5Tl1j2TSpOlDidFot1LGboeUa7K8yjV1u+tQBHnUsZYHJnsz4v/11CjVEaYwP0yn7j0wvpV2orU3U3Wu7mSbao1aWBvhRiQCwXiMG5sDJDZK6jdraXkN0ygiNM3sF5XinOmO4h8c+diNcxH/ovqp8OGjWwkGTz0ojZNu+xy98PhJ99ociOhdJMQaO7bOLWie52dvpenKmhXsf5nF5HPdruFj0A29byFGaFz7NTryct3BltCTMEVdw1X/qTceh1sJPfUI6cf+BJGGspVgGr3ZT9WNl1yiELhIdZFarNiGr8Q6EUISQciQkdtGNOTZrk4hmJPdDEj3ooDfn6n1tNnNt7Q05SnS39kytjsWVAuoBupgH1lwJHrmCJ/A6MaqXYoe4k6FiCug6A8NgmikK2peBZUb63EjJo8q2mgS25iyVXj+/OC0Ur2QIre8M1gTUXgLHkvfHG8qjczCQdsfYaUqp118dF73/WPsk4e8Ak+mlkj/10CgcFBGg5eJCT2HPiKsJczXW2NyDoSCCQfE51pRCLCtl5bFt1Yd7HZTLj1NdUY2zD6F4v0WHll9IR/n81mTBLSKUtus2o9BR8/nXbvDg41TXz2uMcULj7iVm+1W+DVO2sx2Fnskgk4QG4nzI/7Tdn0DvBsjpUJvJI4L3ICLRXMKrQz5J9Ty82ED9a80I/3NPGQSYUxCsFfSTgaFt/XusQsopFg6ktH/ebZr0HQF9spNnmY7tHGtZSJPe8wZTPJNpiPGhmV6Yl5DDGa/tq2c+w+ta6JF4K5k62TMMy8PkrBU18GOEJT25TBnPwKh0wHz99JRUHjKQVfojWxYk4zafVKHRFtaL7kfJmBF8FRLeSxo1C/6KVtoj7y3w7MeQLtwb+XthL6wLlaY8IGbO8nLF37t96YUweAg4pe6VyQnYIUV9fqUgDDQtDLpbj3OCnBP5GaLD5yY1Yc5RjpjXZzel0Wxs2nxnQpA5bor1pNvILmcUxfq9TOEOStG6ZBsle/2Ruy5gcrJLDi2PuPYD3PEwSh6XWIvMplU17abL5EdzV09c/N0pQiM+ZB3WiV7c33p/L7/qJJRgFjGn8AprmoVy/i7NYK2Zr4wyfhC0XPBiclhx2ooAaqRn9+1/VP+YlTMaxlqPTNj6qWJLJZjv5Z1FbcLSOSZoaZpgST9DRVITc6oeqW22Za8pP/DyylsnbSsLT0Kyha+1Z0XJBdPQE0mH59sOitVf5EaiDcaApJE1ifvrk0wq+az+boHKywgjuSYLhYuWgkvejidBUM4pXGAaqdgWi5bnwHhA2UTW0D565iJUhhWU3hiHij1dA7EBOMszO2l6P+/RT4d5FR8p2WD3etUWGEFPJPT4DS+p/pdzA8qvYt959mNE13uruiudcvQu3F0JhceMChmLzHyy1cRIxIh0EgvUQzkyBU3jpOfc2RnIkcsrdYBBQobRVm2+51uGXVYYHTZnK8FSdznqtWeo7Hu0WPh/NOIi6gdT8OBfk6OaytcWX1rreRiCjfEvndkV08WbaE6CMNSFHqBvz+wWdOyo7uGjJoKqn2iwr6MIiZyNFrWyOXMU8Q9ItxrXJ+7igd3N9+jV0eK2dpeS8PC70sHLtcRRhjOuGxglvflAjeddsfSYOnK08KRUjzesm50xdS70Rz40wQgHs0+TKHrma/To5fDIfJG90leHKoqzlxmrhSCA+8QTai8VLoqRyOylkHNgutaRvCZXI1qwVM1HPFKY2FQSW2cBEjaT7NIQni4Ic35YzNTTmo0NQjsOcf4GaeEGnjSDPTyzUKWE7jX01oLOPSeyZvv5+ppzBC/dPoKtxk/+gskwCJ8Hk8xc5DTki/VnoYgGTrAqdMcEFCX1KwH9vKC+DCi7mZ6evnEWiZ07utoGoYvfNlk5d7ELGOrjUR3wz1yLE/KInLdDUxD6RpvQ2el7CNgDq9sO9II/5NRoR5/VKyz7TIvlNtbW1FhGGHFAW8vs0JONX5WyTBnNNvaDFyf9rSzwGXUyFOurIT0UZshOj0vcUL1DQiJsEYbCFsdx+FVUdJSWUShABHf/ac3cg226dsHo63cj/NShqFAJKEsX96mPM8o5nZGFZXPYdgZyejIMUn1smlLNBfpGP+YkaVMqVfzpPZIoSR1eQ8juRtKEc8AydZ5FXLg3QakDF28tR6Qf0dnPaegHZPjPZsghoKp/5EXM3OQLC0gVEIFsEVWzgfhy+wj3lompVdYgmlxF9AWegO2pwSMiElOOgne2E0Kqs0lxphjMrfCLthrNxMAOCPd2FAaSNQgJ9lACNlw3K/q8SxTJizbw0a5nU6gZTYCGrM1ofDlzVeV/vbTXiW6mOOfd4X3uJ4yztK4OABqy9puqayBLG6K65gqff7MVCfR50xGubGn0EjrD2NFkdvmj/+Kthhq/Q1aCm2860bmT9kVZldUaAR7yHACmVmyDp0e2i/1I6Q6NYx8+9QkyHi2z30J6n6BqkZHTLRfCJUiFfS3bUKG5O1tl7/l98g6FakKk7sBIs2WyAHCprL+dQE1QUMg481kznYrHMn5QyNtanysgIDDRoVTwyyJlWojZC1J1ZNRX4nFDIcYWe1K6gGiVspWCgEHqoGj2hifaV4UfPbw6XMta6EiAJn/2M4HxtVs4Kd9EyJW32yJ1QcJ7NP6cjNTs0EETTyrGO2tuVY/fL6g/an1eosUwF0hqc6vNsz/TBVmenuvdatE+uDWr4JKJVbWeT+O4V1DulMuvKIdluFndxe5onu5rpA2vvv/rfbwthGf3ALd7R2cOOz+jlgC77Y8Bzi2mIAGQpNCk2Q+ritdmEsbczmuHMFN6R/R+7AEqcFA05sLH+qspsOlGQxjMXc1tqcdpEIYADykhaO6w9v/ZSsLFu3YRc6b/DYXPfCw5nwbHvVL7nhgf0ikjg8gdt+8m2kD5nyVTCG1R06elowQYh2RcLyksgxq95VloTVXoz7nJQmC1LikZ2WVX+vIdfKmnFxkts6H1Yxl49YWxX6cc/cR6jO1LyAoW0eGj67t3S8/79S+qZi1psfbTtppeC9T3JS6C7iOJhDqmF/NuYM1fhFsDZa6I2kq5Oz+MPSubmamr72hK2gXWdyOdCiY1CDpgkQ88hhE4hioBKIdHKrI9ZMBeGSH/yjYhZrAjUy+Y1nDgTR1vtZDlmivnQ58Of5L3jrwo4/7vPJZqC5LTYx4yzU43CR0MPxCmRwC00cDs4lCY7I76P+Pe3juI4NcmmArNj3XPTBRCJ+uUwqas83wVqMgDLDm0seTZ1gR82jXcQX4M3Srn0eXhieNxByycZaRs/jf9APSPMojGq/lZtd2hIewmMCAMovIl4JtpYTUz6n7OYw+4Z+PpYGn5kQecaiSbea54Evv21XB1yOk9S+betnQi++oN9hH9pceDcrauI6LO7KOWu2xL8Nmjp+nzB7V0QFjRVhJJm//1xvDFi7DQsDRLZjdHIBoPmZSA+xwO8x4heD89iB8TYBcNo+Nh0Gtb1HOZQnRtTzBGyHHWicLPFo/Hc2aeL+Q3Hth3ZqddzcGuhXzMbDNfne9chs0I6UPXwXmOAFIzVL3F47jiZVhu4rDHCzWM3GZSHvJj7LIGAY9Nj27BxvRy2rF1UsBsqTLjWHsgYZcHxFfwUT4kTmDxb1xmVcaj+HC1Z0rU49CLKjWlsmpLj2VZ3Sm3LpJdFIlBWUbq48Ct/8adO37KhqaH2qOiqB0nnMG5rm7fAYeh4zgC86CPgcm/Aoy5AhgvMiu3Mf9DtIF+qZjr3lcErsy+Z2lmBckjpoELeQoZMFyg7t9pzNlLv/4H+mnO69D9yPHzf/KcR5G3h9Cx23l6zyvAC+RIbL21IxmOhJSy40IKKrraHAvqOxFbye6s1KKCwdBAssxwcazUV28VfemPLp/FFwN2ducVtMcu9FjQfo6VhXNWUhqveKxTpm/TIZSdAGF2SHaYgIZLWKpcNe3np0Dkne+GuNfV54GFoEgas2mc5y0Dmck+OHMRc5kGywnsQJZNU23DkOOLAkrkzswDzJV3mqlrGnKWITsAHC9bMtKkI3RFHHtQURUUuagRzrzdEO5fGAxcRiEWiqdhUqEVMiSqod/vClY60trglFNbufWJxKGcvZod/nBx36sJcRguNcnHW8keYNOyBA6nENPS5LfUFOgGl3tWNc9CThMGdU4WlbKUQUhBFsUlofFUaTYgCbsZjIDq7hpnd+pA0aDRjStgx8CkmsICDW/EI5IYlGNxTXy57TSKt++V/1ahpAfBsig8Qc7sG87n7SzlTN42mAbkzpuunMVGjuW6CiDdJsr2ZSvY8ABGA82akkURB0gnkYD/Dg+IuV9I+vpplYVSuOQT2UsnErfFmKeRM8yjgfubcc6n6ZrRfX4Tk/Axw/PRiwpn2EldCKdKkZk43HnLTlUJw6jkQSINKF+cCXqX9lZ9Ha2+gzl0Fk386MgEhnfjdxc5cwrMlQQGEf5+/CofaAfDxMycKAsCFgVsK2UCdM8soP4z2p94LOAABBcPPTH0yp6LLCqYMkbwaeUgEG2qnN2+Es4rGXMIxIQHn1LyO1Ipi/hL8R4zPC4F1aCm4dDyjJd/b5v4PVpXxsdLdfS4Nc6uoAb6Yrr6/FdoRU5ujC9fxa9u5cJ6GeZWwpzM/swqUo2U+B3QnRvSD2r9Xfa4HbDIukyXgUuvF/zRefirUfCLOgYWZVoZs2GNhodKXI7iKxPwbM+CryHNE7d6R04ejib+ql6r//JfUi1CoFYNZpFyx6ZwUymn/G3eGjiXMVyLMH/QLDRm6ougzx4rrgzG0yLXbPFDryTBir2B7/jCHqyDy7c94qrvJqcF6U2V4M6sNcB9VBFJsIkDQqqNZJmTxuq5o4EPWi9nVX31KOJfYXWAm51n89iWZm9sEFC2lA0NazEIrVNcRG1lnn84VzRJQUCCszz3VublYHco+ubpest54t+l3xGVk1hfIrHYgSVJ1CnrzTy+DZbIb0yBZTSrrdkyGB20l8QQ4BkLzVlgdILPAIOcP4sW2zpsDg6C8hPzcb8dqcdpcz8NUB51YaNX1ZrCvwmlYKdX7gp/SOsB2BdHU1LViGh4Zxzv4fgJUymj3Ofe3X7AQ9D/NufzEXdGZh5fyRkeIMXzF8HKe6McTpQpFw+aHqzjQs2RI+yYF6vt7vqJOCGjNRCLHpOj+5YidvSNGd8EVxTWtOuFr95BvsvYNDoHEo/RTh8JABPkQ0P3HGaMr8Ul/zNDwc58am/xgDg2DIR3W/aI03rTzC9+ZxAGSJYchiuiwwUTpkPzigaRP8Tf5KbKc7GyKPQN4hUcRxQ/lLYeJgu1GL+wC1zvQVp5LoTysEAElGEtkql7VHzsRs9i5xb40j/OZQYIAlhyw7s5xmoyiDpXEUXrD3V7m2d9XEayk9Qs7wMCU6vfBbHUxXNSMneVmUHmXExrX9+nQDj4nlxX4sUCDNa3CKIouG4wJU6Q2tIOjxK4DK6rcN+E02Ge87lbKcxYKfJOaiB7nmqiQB+nJBBI8cjpZcJu6WjgpCj8tnXLcMKC8CHMpuY0ED85RpNyXDQbEHmjZRcN9KsvoENxUrcN+CpB1YItXpDOczM6hsPAYXDIndRPvTLUSq4JnAM678vPSEn27+d0iv538kLozs9DBZV75EhPsS+Hlo16WgllErjPBu7CHg3ifteNgoQRGXbWivYiMsOQVsFWeDpqlpBy0BgI44nZ6Qe5DlAzt7Eao++8obsAAzYpZIUs6ERqpR4Xj/1ZTFK9KE15ZK9MGV1nh74kXGd6IpbmPg8an2KLmmrRzwoKrzzIpKpRbkH6ieoxMbYRkunyypjAYOHT6ya1KCXmGT/s4XNvgkvlducfGQ0/4SJYvymmBzvQ2CD5EgGJi1r/7YloF5FmcbBHQ+oJvfOJ9ZQCFVdixsUVuWTt0pNkgpKyyFZwGGvRkYpDwDxKMw41lvUx6+ULfOofuowJr9tiYi02uzHUAM9dTVBjxjKUfQUgXtf4oA3gadz4TNmv+BiS1mDFlS3QoeWUpnSXjPDax3ndIISYXtSWVf9etBfTQSdlCFQW80dlIFKrEaiZwoaCkX2fY4ebPJ1Nk1vn0c9GvRo+ypw5jCo20gZ4+Nsj3GKkt/5E24O833RR9Ysrzt4U2OTF5duBodMR4QcX/qhhY7K1Uxpr/F4gAHfFRm8/Av9op9cYOUcVY2Uhhs/0e4vh+wykbtywTHgdLFp+ljwoLr+deHGXX+se+ekkpZbiYAJVg5DoOy6p3r9LVmqzRD1Rjtwda8FVxZbNsb9OMDbT7e9ehhw2fLku6GSJhBp0NiEq5UrtX/ba02tY8qHBXbwFRHJVdEgZAdXo/NneEKrIjQyLHl9ILqr9ftwnZnftaQUw9TxeNpa1Z980vuVlW086JEvlhucyoM0PDUvlkSZk+zixDpIpOQ0x9dE4Efs5sPpyAnma9ozBPCdG33/kA+5hHHfOdTgdrNwUdt4IxfP19Vv+VNJk1bZqNSxmDzhQg8pcYLVKDvO5/GpscYJyraDJ4lxMroOs32f7GHGBIX551aTj1jpzM+V66XyFcxucFVQ7M7KmqlkONpAhTeWeF26hc7HPSe0W/NlPjrNsplRwUgD2wvjHj+HCg48hMf4a46WtE4Fe3Ne38yX4aD5fEdJonJGQeoumi95Xi+N9ojSFxBuuS0Y6GEAmVMNEIoVuAf14yKxbudoYMWBJKYsqtbOUiwelhqwe2ppP4bMxkjjqd/VaEsSGsCNHzbSf13K69hGWokmjTA5MslX47wSuHQjWTV85TnLkPkfL0aqpoQ71wtz/rz6TyIGRo4hBvzbiez8CuOSqv+lwsJyVRZz0JuOGLFF/TcjR9BMPoe3HZ29WlNZj4KhBwpT2Yb/pUmoDBglrJDm8LpeUMuWVvsLCxvBJDiH7KIB+XCGCQLCtzG+o6loL+BZI06Q+oeSPPXtkY5qEzNaER5tnDvXKAOa39/acWZtNrOJeeZRqaXJrbT70sNe6EmeBpsWQKhI5+mtVpKjifdbc2o4L30mIlgIDsqOOIH6m7Y0pkMu/Yd2iZvvXoFHUoaBd4BGmNRQJFgvrJNuDqTT+1TQbrxXYS+iVlw5qMjEibDcHK3RknuYZvDuUbf9NEGw8c7dnTnOolpTrFddNqjUdgic8ls8BLkPrv+3NsEsg1yjjBE6k/tbSwsiv/IEpYENVrZYaGR0XJTUifVls5HtaiCFbn9o3g0V4P2OI6JrqjmVqUF9t+1hH8ERb8t9rpAsvh9dMEbDnk18pU/uoZAkfUIY9T6cc8e5usG5fujTybh2P0rXHzhx967+IRf8AEKJqcVwSHQ6rt6FNtyvcFQgGdyF5JnlSYzTOjrylndeXeXX02+6c0nZGEtJDQsX0qM/7I62od+eGga8Hd6zzVT6lMGGeE38dv8cJK2Umu6BIOz+zM4BdPynfCEyU4wfsblAPYgrkNVuwO/b+3cD8O+4Zkd362qRdhUcI5qN4hdOOONSeGKlrk7ia2xo3z3mp5O9rtwYDAWbvClIyw45qg+sGdZvxENC502y0qR0cRleBPxDABJH1h8dMHpBfBoW1ol0uWN7Lf3lUvibri6k2PJ1JEnDiYoPYrtYMbG8tZSeabr4uwy7uAx1IKz88dK3pw+sAB/2yWYWoIjlNwpSzK11Th27mfEQQ5wIXoz9mRNsysouWOOzDkXGQuw2dyVmC1mMZQoILLK1IJQO6boeQzIGZYleiv82q0PAj4qktnDGEVENzv/2qXSMUbkPrMQXtLxnTA7yr4Ve8WfGaD5wekSCdOeqDKuuAXyvZltSHMvlgJZjANJpjVvpG1l4nhMEA4RbR5PlDHsfyLrm1bj9nNIS/lHw0tvSunfeZfKJMc1DeTndBWvEddoCQNMdpshM3PIdcrgnhVoc7ny35NitOpbEP0h7SUC5BrO34pikFmKEZcVyfgTuI49XvFr2WaE3AEIjqSLGeBYPgL9m6/4Qac9lhWcXr4zA0VQ0NNY0OZnqC8H8C90haNvuqgBcYmWmjcoBw64zXUNbSQ/IVCBmWkaZWyz7aYhN0s/pSrbsXGLzTAQ/A+1Lp/Wjp9+i5zub9bdOmYWBM93zHF8voN3ha0eHzwhY6zFm4QKsrASIc4LkNH4rV3/4LA0SeZ5Z+QMkqQ6CQ82jfKiHRpd9CP/Ep/TUQHoj49gNPu4AfBockQruWZJvRA+oKeXD/t8nv4jcSZCqsp/et6f38phx7WJrmUqkVzlms84KiZ3/5jMsE6K48npoRoQKD1Dfwty8mFZpp7W1JaRD4EhVX6lLQ0gLgDXcYJRVmxVTWRDA/MEwJ09lrDhAZLvVeOKsgQ37DARnnCTRLVclQgAVYpp0sIabF5KZ4rAT0nK6YO5FsWjj/yyBMEZMFkNGjTum/3nivHjWtBQiGyYbpN6UDCTO+HPmnsG+9/983/JL+fdbbwBhbAKlpu085ZEAVrlVabgxNbC6RQXaKo4xEpXrC86xNlJc12h3w61r3QtCzZeGakay/DkyG+/1ONqOGfTyTDCbBjC6WvKHXyZycgDmwDlMUohFd3mpxrfQQddmcAdC8os0IbmCewhnRpvwtX/ICWS+RrJ7n3dukMCrvXjEmjx3eC8TwodvrB0Kcan29qcMlBnj13WN5sRNDwK3ZRlHW6gdUvF4h+Qz9jhaHT/ujM/UmICPc9Z+QPoUqB/UTxQXbZuujf5UwVroJtqaCFnF6bljyK/OTdOAy+xhc5lq0EoWFSRtLJGV/F64H3pSHQyeCTS6jmiOEeZ1cro4ntYBIsCING/SR4ft1BLgxrrw1UOMJKC5akmupo7f6gV5ArcMZbxHLxXYmsMsi0xlZWLjU/l9Feb0y0w3yMYdV3VMFhSBfSxA6Gr0RiFa+fImPBipn35aU9vVHlolA9APRZPtLygND//dA9sHU2YCXBCgYymGrdHGEcBVkPNoXxTNv9Wr8rRaYZd9VKSiRcRQdEk3vLopREHYSVYRxkgpzU2suS3+PIh/zuO+OiUuGH90wI5rGycDMCbLUCCH5nnXe22Q0pWIQrpvONHLH1TktoZjEz1tNo1TKWYU/fEq/I5vjomMbsRKW0gwgAv//aUinixQiZ1FQe6tk8LodnDM70/zFbPA/TvDXHukaoGtTkjL6Bjz/xMXf30nHUbe087OQxNT3qQVysbEtc+G7gMdZ4bin0OgcuqrY4dVTP5zevJ6vAevl+5q+Qwxgbg0kgPKXmxh2Z07oreqnNGyfcATu6H4Hb2q2DzAKwybao6qD0XFTvpmlnOZRjmij0gX4wbMKiulDzeULtbVdFg0AhZD+ZFpbw2lSRs5sCZNKcsBH2JPyN6rQHw62vQUN1gWTb5EErrD4IobErBeMuaKv9s46fjE9NDweizqXFT/1v8MQ1qX6PEhI9bpTIlWyMU1htYaxQ+5D6FXKWNZcsTYyzV+ncecBQpV+uty+UApLKbSHuf0h71raJ8S3xjn+vi9YBTSmVHIn9PP6oA1QMKJgaVSEQjG4vKxYB2BhNmKO7nVIGu7E9YM0Zrjzvaa227XMvGXT+8McjLoq/SNYgFs5gAzdYGrU/XbvM0BaiysRmyGF7XairstCQfEy/mD82vdG7I3oiAU3Z9pLuy7dtCXMw/557hOkDe4Fn56qB0iDGgQB/NX4J0HlARmKjqvP9Wr0+Wx3mG2j+r06zoBJHPMGWTaORpGQJvEliGbdOVO5NeLhjgTKdWRBypsMbUQ4ZQqy1K9yoCNtWgWw38NH+lwSIgd5Zr+JhcJBws6PMvoAoGH0cQIoSgoW9lzw/usmMyLzZYfcEedjGMl5rTYu0539o5Amzeti4y+6IU08VJAbZ9lvbowtw5aUZOFrEwJVh2KxnkYXf3asjda6qOfh74GTeqws76918QY1DqYDnqpKJ4krOTDZo2PtMmEPcYoVlvtTnxKkOyxiKrhaZ9I/O2x3JPSlLqhDviCuWktxYIicWuYfN5k402hnt8qymPIk9agArDyMcH98RhGCG8PSLLN4djHaR1gNZwXaNB2abz9cJOSL954OvWB9ETqU20EZItzgwrBKPlh1cemoKy+hDFauBsGqCuAXQxmgfhbspcvOfrHcKKP6OGWMScAT3l1Eu9aIwB71dLD1sCQtK0k3f0+aWJtMokgPocTlAZoxAxdwEdoCIku8nANcUsysoGAAGEXKaXk9QNv+2uRFfAVn0AUkUETxW4lc+rURLjkHazirWq+HKQtFWM34sb8BB014TSAJKMhQISd1WlIUQUVhCgwC2kejVeSu6zbtVruxnyjcyMCvfW3t8w3wp+aJy2KPJ2dJck6afmkYniVYQFemgo6n8uSZSLfk4G0oOF6m/K5+Jjzw8TG3Wh1AvLaWj8OACHZIfnx+I8B4rmnH96kkrOGJynBu0rHQsCOne/EDTnoRH5ddTJrm6LBIWsEDOzPT4kglrreqKdAXOcevQcr+bx9dzyTM8vONI0TpH42xkT32LMt9sJ+9Fc+qAb7KF1NuRmaEl1PZIriSO94X7B4dUhb0GmBaHjSbrJQTO4THnnpGaGwVSmvDFkXvyHiHPFKBJH0inbsNfItIKv19RuhTF8ey/+UNK2KcXdt4NeBoO1Q1pRDtsu2wyU+8BKXR6tpDQmi989pI7NsItDU3Aa6JKL9V1Y2ilWvaxHjS7nhFIXvRjkANy3dY85yzSV/pfSfyn+T8b5BXXNdaGtlhGHij8JNw93xbM4avbHBxmi/30eGJdiFrBnt4Fl0x7HwqKmeGXIgXWbVwHxLhWQj1TKUI3QHktipGR/xC0cvCerJV6L8jfME6vibHztZN0JM1GlFM8qJ5mAk7v5UrhN6jZ7qjpCCaySGBrk92ccCZRHOqQF+SOyaJedF9zuWfGDrFfFYc3Vx+4vY9pja8lUg0CKOBpVxLwPIE4NaH3qDI9jxUIIKIJMsMRcEQQJcRQy7iXVf8XzgLDPcpIIDPWqFOLslQQySJiPIwfvnRRGwGlXi7ftGmeQlz5YwvfiZqPj0jJdGWGp+VnqJvmrc4cRwrjlbXrU0C/9Vv+xQgn97HGcyBxrlyn9vHZmLI/Jw0YTAYOmqTfEhSmtW1repzIdBnyTXLOU7qFchRz0wsrM0A0eLPaEf0Ssm0V1UIzUlGiq67lUYM963LcIG4+o8vhjn8FDJmRXQzlmLP9dtLwhqWDkgKDvvF39VtgwmXxHEPjnLCowAE3Gvn2CGBT6Iz5fGgBQe6HpT4nigPSj7lryiw0m1XArga53eNqF0pYp7pdosK678/lZBwFSwWIvVPJCIjKCnknqxMnu0AEcayS7kXI6Mb8s5wyuglktHr2q7TAIVIXbqNJNzJWdRBt7KQhOARM8qdVSXravBQ8NCD6KfyTb0C9m8+3ZyY0Mry1wDl5+aRCILzHX9/B301jQ82F+Awr13TDTlD+M6xS4ybk7xOBXUpoGFNso/ASw84NRZVzBEz06Lpjk2ecPJkcgVaDKQWFY/1Nd4w3MbqQmCVNbWKLo2Ydrj9SDUXMT/4bZMIjm8rFBF9Fua0E9IBTxCdkTSTqZnUzUDA4CnF2bdxJfuCfRLCjZtDBfgjhajjMpbqmiYg8rBShC85HIvs43bQGew+LsFCtZ7SXp3Y1HrtisZ0pm2OQxXvsKv6BtjXLE3UbtZJquYfX15ItWDchBRI3nJGIBIuCB6IjKen0KPehkMx76P1Sjgcp7yr5e2jCfyX7EoJFyePyysYZ0rmPFN8Oq6NCKGwahnaezi6Qsccc6KJAGSS0CyqLet5/FIgYkO6C5yIdob1WzTPvlWCXzF+mpa33Mpi93FG7Yc2/U5Xf8S5ew2/+w8FV1Ou5Oy3x+xTW0Haw6O5mlNgjNGbvNTPIILZzSiFCWwe0Ur8zwYPxhK1s9yvNP8r2J6qatmwE0eZwRls/R88nPnldkfVFwBt0Pt99nc4uxboQj7a9VNlYHn3cxAwhkbLLPYFCWoQI+1qNgNhfmeghKtpAPP69gT+IfjNuMjVp2o2sw57KyoYsJXpq6K9f9ys3DtDZyx+7gvCtME742mSbcbaltBJCmHvwFQQZMpGES5G7j4moqVIs5WMyr3J/Zwft0Hb3ADUYX77b7w3z1XuPXTJulp+zdQeqZMA5taaoVAG43nQpK6ZfivjxPN093k35tNgYCcw+aiDoM4WcQ23mwRXYHy9jybb/MPx4JW7qd/hZ2mIYT21ffJ89CuJAujy/HGbSyZKqRPq9sUEAnB1ugs30WXE0CkoWRHDqL5iyir9q/EeeFFcE7JtZknVFChSLo4CfEJiQM+yIF1Gz0wLlAVd19myJ9ghOG5CMX+xzXJVPA4BhI+180XHCGAbYgsM/gEz0scSUD56JsQ4NEGk7D9xG+rxS5otQ/npSeybfyFz/Kh5tWI3st8tynzWPLF0xDD0GR+kJnoJZplVH8JyCRW/bm8N95HMc8XB/wsFeIdSgbaYf1mU7vtuQq8T576GAxxe3XZuAXZhKZsXXcFnZnchFvlJQAoGcPg+uTHfF4kO3pWWpOMVF+0JE8h92BKh0umVdXF0b7s+K63F18/R/Yd2ei8c8IlOqfAptNMh7/90rA5NF9Wp6pgypFwXuh+IT6onqDVqh/MMvs+ze8B26j0X9ZBPK2NGoVJ2gn8pQqQN3ArlXItBe8JOnCfQhiK9ZoNnhpvncuMTJ0Js7VAMzf6yqlDeKy9nvjR4SuoPJbghEdwmNXeFCFQMXb5gV0HQd8sBpb7FUMEtSsjWCj/L0PuESpMUCWLeEEKCtxk47DVftFm1VGezmOKkpLXtZFZe7aLMUjwTWGjKf04Gi6FooX5d/AvsIFUBNmd9K7r32FNtTghGTZbcN0jdfo2oBnglmKcrLh1ZTkeNC/yJNCWClQKOdgF2/W9IRcnawYJkQqBKOzKa+kNVEq4IkSMSNBdN075BJ+6H3L/S+y0WjrYnn85EQJpjJAX/cwwcfvF0KuHJvMRoowU0UwDkBuQHgJcUHFLsU4UVfM8xoc1a9iTzh4on+yvL0bgx95tYS9nLPIkNG11z65+y+ln1QbDzFfpJ2RF1285Ud+MwwSodDvf5XDaq5ZBV3/+LdFNbw1CWeUzul1HvK2U92W4zqIJUZlQULiqVbH+TLBVX1T02Q9CZSnaklvoTxpzVZIAGGCV3sIOAZy/LHRkhUrfDBvMxclp0/ODA545wN0MivtqdQsb4gXi2Oo4UjpHq2FrTSsQNbsUYPomuHASgpLTRnAeF2/i0tWnHmFEAB+k7jpNZKnCW7q4rodNO+HpYFpM4lE4pNDBcajCpyGy4EszIAGWxkie4+wuFecBpg78J52WHJWTbks9gAUjvpDV9LERN5H52pC849epKZCSGZGlckK8CYLl0Dk0/9fk+q8tfetju0+uqGH5s4CUAZqGWvj6q30axCs2dNFNgDVmhEqE6XTEsko3o3FPgfRZTsxWcszoEI1H0XQIAYXimOoa25yOpKAy+lTH/91PkPy/aX4nuvDOTbysfSaZzkamZzLQrPOgzQw3R7Rb5IBuhgHoRfy8uzoTDMRR6Eo8mboTqYnI0aM5b7l7tgMYHgEbsOOOxwD1a2g3l+nKiFsDEkilloJuXjcBPIrcKQ0KysQMbBJeVpzkPnm2fKCV7UpF9p3mSiqrU5R1nzhxHWHgIqTMqFaQLs397fcO4FremCqOBOl32VmldnpF5NzkwbVOiG7sHhFv42H5zs3/L0WKKrqT1LpPNr5oH5uoccFOLn5WP3Rx+JMoA/Z1NXJJcBO/jXCvntg8N1YLTNzc0i2oJyJFVaOxDh9IhZShS1IG2IQVbZBZgLMrD9nKJLoQ7gjSzI4DaB3E391w7XSEn7ua4skmriA6pRK7n+i6SciEclEF3aZjNmLPVfcJN3piAGIXiCXLGsbStuYIJNNfq4fN6sLnTJPvDS98ydtUNs0eglFO7C5WtQnOg9PVRn4Wp+hm4CAg39zu/9CwjYOKlQbvxYLizbQT98wimcJIsTO4SSRI+2IQjuUXt/raeFygH4MhH1DTkgHgCGFboKaqIm/4GrRBs1eF912XgoAccQHbYEE5aeLZ38ihPd9WE+DI6xO89o+h7/S73s8mZKucdm4Atjp45bOGeMdxqWAb3qq/jllW1oGsCZkRLKKSrNTFFsBxGpQrIMg1nRAGnnyPT+pZdmqQiJBPEgJJYfrY3Jn7i0D9ML/jP6z+HC+VX8gYAuTi9GtqaBM+mg6RPBlZrqcIOIMkoXxh3LeWSNeDgfywluWPn6dZwLtZl6CpWRnzljb+ybm1cZEBepeHHxbrx9ZQNbLILERhdm7bdDsWoCqw4PybK/K3O/alCXpdqWKtOjZa/tifS0zdrjU9c8cJZHLeWCmuOgq94k3ohcNLApr4dNVTdcxC74H9hWofxwAsgL/EJi2BIph1NgwtEXVR0DfrhDUEtY+V+lKTRNOBODLD+c7o4KE9mSZdyP5eeQF4zLlQq7Ogp7YTvL7FVNOVffVN2Xw0KIft+TOhkrQBzJ+qDzdcpGqclR9Mm/LoUDQzMPf13RzImhMq6F0u0jc9nU8Auqvshz5MRHaE6x/qA5hUFWoYOe10XCL70DnHrKP8wk1B64FP8WiRI5Y3XYytCP1V8xrbGFPG3IxzHvBcvUu3+T3RlbCH//Ly166CCvaCSmI6KD2ZNX6IdV++BhHHtLfdDHeuHA/I/QgSC4kn54wAtLPBWCpxWRoQYpjieZSIqPjfXJyl+AiLFiKIlQ1qp4p7C01T/Smq24mA4zokYA4kMWWAT4RLGG1JIUthweDi3NxvNJn6tIAh4Y27eApD4gnACLb9z688eEjuo+aECuQul/PSMGs9ciqRD7tNm6T6roiPOLQsqZNIDv06wzuvOcrexhvB2DsggmPtNLlyMf+V52C6K933mQRFjRnKocekVFo7HtFhSH+Mfr/U3yf1cSpnbzG61V5I/QrzuJDOqrmVPxNH4QbwnaMjefU82f1DTBa31VLyInZ+UURNceyrVz9ehUFMra8HTU5NeDf0wP193p9hSNrhKn78EC5P0I7sGAegbPTd+RvuVSrCGkQPC9sFmRQEbEtxvVwDNdJivsgZvzRePVXqyY3QVFPOCH8TB+SzMINA/oiD0+fVoR7ayXII5exZtwKdtygpnnUV10q0gXWwdw+iB/B0FlopFMsu1JIlKwj1F1Z11OWbIlArBr34g4MdSwJ9glzK++Gnj2lPq0BDFCPokzuYNbz6QzvxDzZHwQloE6uivdcVmuziu6ymPwQJPSRX+qIh6pPTsboT5b506fZ0aqYuf1c3D7of3CAU+5indMItS89Ts4tncvTQUsXtVDKQxXLFm9rTcN+Tk2rMoXXNn6Z9o7ykXhqFFdJDFXpgq9PiyR8RxVJuWZ/fnnJbl37QtJXAEe8ESTGPpLk7F0apJxRHjrW5M4+V1D5DwsUDP2vSBFfu+1B6lscEeW4cJ5e0DBV87hBbwdmbh1YGRiJnH9xszx8DgR+BQl8YIpuqfJIH+YMw0+HUot0Wx9wYP9EmWTj1/q0xvh451H0iULHWbPZtjqEV63Sa6mFEXBMwJwfzbuxsGBfQl+fHptoVpxwdSwHoeH729hMBImQjW/7CKFHfesUGjO/pbd97ehmd9Eg4JTASUskz8nAIa/BuCKnSTX2BVd1GsIEvF78/xKDjWTT/BmEwqlbwv8BgRdBvbsFVzEsHdunWyLxbuqEPlciyTwXtcrOn94qspdlNlMPcrrE4MzuDXG/+9eHmd7iRjbQTyZFexJ8Cz6reJrZPm81S+eugQwGgR6UPvTeeWVzN6i3G+VG5Ubgdp9xeCFDYG7IfyZlVHiuK0RJYEJcllZNBbA0eorDXSwuQXyjv8Mw40X5ArYTQyQQbt6/AQNh5D953ywi40Bs9zKNX9z1UcLf5VKdpVQKPvFYKocl9X9coVFICXXtYtsD0LK2yh23OHBHCxn6z/kcHwkt1RSzrA7wHTenzYQzvz/elv7jyOTq3VN30YSdv6R7jJA96RyasjWdZRXvPpkFvix8BkB+gE8i8Dbiqh4VuWqcQ1ZxIbkOqLOgKjtfjo3wWslcbFcKLFWdQdPJBDOC7ot3M2BNrEmjWNCcdX6SD/b59HMA5wSHBqjQ9636XNzHjkKoCSw9dqeGEiFtfI5OXq/FCpFNVzbtrDczsVulbEu6bvucvk+ER72sMJTlbyS4qWz/lSYLHd/6jzUn/jLblqA4vSqqMqsWVtu4yx8qsVsCHrjHNyERNFAyvaKHsdd+jogIukMjedWi4yCpYkAvxIG5sh5rqtt3lyLxVFcfWPctb73fei2YB+5EG38+Zy5N06mnC9nHz3EGFAlmLkURwEPv317wOqteybWh8kN3i86v+H8u+tXE6mcW+rm5ZgQBFpKB7GMH5+s/l0vJgYmJbZpoBKaQ0921rV8XMV4yv89SOa4S3EpJG/WdevGCRsCTR9PrQzC98cxxYg+xdVs/iWdHwbZlvLI1D7cUAC+zva5pJAb3cupQ2WmTjzyYJbrVqV7L6GrCzpe3AGDOPIi7yjOGue0Rf+MpOz6a2rUVQcYhLMVy+0yNqSjIwCal6/GlcmRcbYAbdz6YXLUoBPWgOagSGEDI1XXwBNyt1MpwX87fr1kcGPVq/78OE+9FMiEKOer1TyTGMIa35bywcg1wrtNeRiWOKxpo8y3H4ix5msk1c6JosFLCReIL5bOr4WFyqlWK7MaJfwHXQXfF5qFMyGemCGhGzghUyf/4xt9DBNsY1YI5R3RnkyKhAwCBkTCFdTFEMKhV0E8PKKXAvXo0ETcIJeeaGAIqCU4JXitqWbM1+ZhXn+cZNxyxn+EUvjNGmS/8Xh8/H0ysBtDQyYyVyGJo+7AI2CzV9FTnr7SBKyjS2TjIdc1+5vj7MHX4mQ0YEIB1E6xr0Xx+sYksl2nHzZRakyDwmygPpP6h6p5G/6ly5Kzkzh/X6iK7ud42izQx93QtTKF59qdpAiyMBUVU/dXJgYMutmo/HO+/vUrjnxp55/XjlkFCK3QEZm2VZuLnA0DuPrG2D/MTjtqJRwOTVcwCW+iiGLGBNGzgAg9IHqiiNY5Ic1t4WP7Atoho/URDnqVTF1xnC7v3z1EWz3NcC1WzHP+Af+jM5I0AS5FkuqHuAw+XK5bngqml3RWpPPT1+t3b9INlGyc3p+IUTRN1u6KV8tL0RJC3TpIMX7yX1CJaFQpucVgCKbXNJMyqusMRB/OoEjskck0kpRmfbKVcAKVMFYg9nxS7O0JiI2W01OAdljH4zDGBYmPrqmbOZLywZApuai3J40rEQ2T3d+5W93gZzMNOheih8Xns9+C07K2DZxOlmc5+3t9sRyq01d7GOTcGO4Eiv4cxLs07lw9+CiHeJdOvb1U9u4srTQykk+eU9sgZ7uqjdvp3yd3DNG8ZfxbcDFoA0ofjTVAsRcRyB92iSBNE9E3TVrJ4vgnkUKPeXHrloyr34QWQy1IfZnJYAZEuFaRq27n6rh7pRX+QmRyeclKk2qUv25cwIAMPxYe/LbjzBxJqpC0ctRhNT9DDsX9A0cKsmWFspTdOjYvvs4nuXbsvuPLZPfDsqtSHiCQjFNC0/bO6EmhgANhF1HyT9opUjyMIg84QPSccd5fixW5s27D4/+/py3wdHFuorT6d8NYwD6hRQ1oE7mRVLZJJFWzn+9UVePXw8SsRU9zMaysy7GyhRyS60MoqexB/A8olay+8He8BPTzutmiQpcSK3hKc77BfbiwfewwvZ4klcUJ4sMK2yGAwhI6uEA0ghSf0dOxR6mKzT3UCu4q6U8xwE8uBuQGg0uWsE3OvZf5sLnz/GnKGvutfhQEaT/poY56byCGTZs+KFbzJgHwHipZ+LZ24dLN4gBpeKBPnyHnj25WopbF2xWkSe3AbbHKbypFPIUSSO73jMA+HrYSDhM+Ax1ofd/FovqiZDJJC1zcgp9AOi8AZKG2MoZQx9rMF/uNbRTsUPDdQp3JVZ6XWHDc2Dy/XRz33jbj8GbYcxVwq1uFQB3mTCtzLMsUt5Vsn0xo/DKwdiyDdya3jLcRiN0WLHO1mibPFR+EaoV75edE9zxmzRvNXg4xDtahZHhy/ht5MNnP60Yn5Ijt3D4qTnbixt9ECp+8lhnF5/lnpZBdoKviA2AlF/GjrWmeVKEz6DDOYV6o1hKThskTnGyXHZVxB+5Yw0WQMAyX1MnRM5qxRmk/XZ8rlrvzkppMuHk+TcopNiC4UigcZohCyCoSBtPUQDJ1Xq9THl0yX5E0JWYHweLH2rsZWucpQAQWIqhoeZPwXfF39lhmb4pJSnNCZUWEyecRXtMhvpWLhMfG32FYi4ixy58FBxVjgphEcSRtmvW3VO4YFqzbOgYc+IGNT+2OIOp3RrTfRMgAIYYa06mbhX8ikvjfKJzAcroccUrKJ7Y1zPzX54zsKAuEhCS5n48d2i29jfTKfyTq2rkRWo2fixq7qgLO68G+3VeEu65YlvRSFphpA4BmU/b8zucfu8amWVHRLhCEJQmOT2xjCUs4VFcFu5kDQ7xwJCkufjuugaW7HTY6fVQBQCtKQn9fKyh4/xAx+H5sgWz+jogMgchc585ZFvwWmaVzVDa+1GovubKZ7+kpEOLnRkIGC2lSupyG2bAyDQIXFY3ExC/3AVjkbUlXvlB2LyJK5T85jEhvejg+jPs/dlpV9KtHToIBB/3HcGdHd8rAD9mK1PGzwVjJvc7DN+BRii86CsWkqpUTL3E7KwozDG/CT0s/pCxSlqfsTNPWZ8HWS+ShSYR5NIweOQHjjgG+LqgoCT8d+5ArhNPWx51VETFY2jDpI6owBREqsqU75avQZpSPTI+2ouHjRqM357Zs2inAtu7SdQYBA95839i/QEXhNnP/ol5FB6NU+azNdiCTgFYbFwsjgI52gLAQcpVzEzqoIuBVuK6aVggy8IcSujkFHnfgCt0/xFvCG5GVmUFdPXmGf9ubNmTA/HRhLa031gkz2y4cU1OI0cc3yJyLOJu/rFbugyZlw1GhI+x8UlgJTDuQO8i9fep0sGG/7XNUIBSH6/iVsC1uwe5JXm/HKuJrPmhIHfrd7xBYqk5eKnUsE/K44dj8OJVHX5bDblB6iIOoLY+V3O03m17AHAqQr/+IORRyWxnzunHnVh/Mf+Q/t7D20euMacDv6x7bziuxt4Y+LsKOd2IjebBDiW9hK8Nnc/tEE7YUlcLIkGQuQZ3eznXpo3LZUeIjz+8r1XBNLgQSav7CQE1u5Jg0TueM7AmKcgh8jN+kAllJFYsf00saWWG8gWCh7ryU8s8eyt74nAL7Lmq9MDyU0n91uz+bqSEjgonYcHZt9/+874bIt/kp7m1ZCBxLfW66ycoLudYwdLR6DEZ1n8EpoZ4t2OzfNcqX5OpV7/o7iGt/56paIMIyxJphjYXzWdnDHBy3hquwv7Nwtz/miq/B/brzEfMuxdwLxO3iHtgplETrN3kXrH7vjpXBK7cP79Ezlo+BRWxnWUr9UCx/zCxtlI4DcjV/MJGRyXrH7CWdXcFQp99bo3j3dd8VRmHu9Rtkw01An+mudZfa12rYFoa11AFO9+ajZ+0EPWQZwnlB4ibK9PVtUINKe5AI2Yu8Bn8awKaqT/IEQNiuKEmpylF63D5ZI4uHkzCAgQ8FYrZJ+fv8/hHqAYhURJXrVDDEYz2gKAZWGdVLZIXw6su9INhqU+tsuR49Cs/R6PVGhEv/FyoDxEwQng1tX9YXUPQ0hlGpqOWNYuexNduv+E4aQvJ3MyzQ87w2WaSfNSRJ/61TfdBm1rDKvb5Lwni9cOs7jMbk+IwbnItxbl4spM6z1I9btWx3xEJEFcfjsvgFe4hcbr1s+xV2r4T0nCtSfsxTYbgW0FEbz/onkepyVT5bW3sYvwxzJ1anPd0BIF0cT6hufoWosaQvcMGDbb+hGhW8jeW2swCM+jbl4ONR1SjXPUgfGz5WmJcAPnjGCvoiJg/TYu8RBYHJmY5xQB98UgoDmBWX6lDHJRs1HuKcK+GLnuJoXGWcC9eKq1CE+aCLhJ4N29pa1v5uPlmSw+kSg0yCEnxmzMmEdLhY0ednzVqyCO8MUDLwtFZ2T3vpcF+B8lBaPCfXUMl8OkbQt75Jyai99Y4uVQKsWPEUsnGFeRZo9nXP6kutpC6NQObEi8tJf1aYkCkVdVZAHQ2cXtPtG5yqbHP7LH7PBN7b3Lag/Ov5ScQgobg3r4ieXbEMoqm5Ak+OL6EbdktmsQM/O26iWlJhR3/kFNU4qBjI5HYd4x/Ce/568l+FVhis8c9Cbop0uUZt/SiLH/VW7T14h0srDaqBcoxM/3NDr4CsVgeZBy8gFAlQjpX/FXv29ETDnzFXbGW/WUR6pQo2O8fFTcFyxbThwmKoefR7FllELRn5rh9KA92g4InsSt+kMG2jcfkqYoZQSNgkN7V5+JeBXNl7y3pLU+Rn0w0Fx+YDAzZDZi7dfTMmDYNHnb2JEUY//O7zt/gpFFe6KJ5Jf8A+kokOayjylGmneG+a4XSmVn/xIGKdp/FNhCQotsZMBC1x+TLtZPof7j64e8L2TTIJ6FuYLnz/nuRdi2rH0SiOG93Z4KEzdgXa0nKRCsCOHeKQqv5Ep5MMqdQgOEH1KxG0l3zfn98dbrQ6Xx7H8Z5Kwc/tooraAwCL9KgsUU2sKM2iVzem9udK7d44d0Z0kQCXSUO/cLrdexSEAHNVk5fRmAbHRYsY/cD/dJrbwKiNUD41XcDi9ODizjRKKSSagwxcMrPxKEA2MwQQUm8LboTTNfrDGPlK4hR53RLR1Ij6ZT0ZZL5J7HHQ7aUC7r94T02/L0s5Mh+PJas/PBOnrFA4NAk73ypoksvc3cEkDcV0SZIXJpL8Q03HTqiV58xfo/3uBDAqAdc9zvTjfxn0oqbo3gvBy7o9F3C4mJLJRf/pu3ls44j1fGZEq/oLBiLKJT1U7zcHvBs/T8KouRiuCYnf0hiBfNlOTcxYlK0fLLi7VXWCscGdOutAMt3UPdW3F7aUR+mRw+stxKOlUuHs5/6kEfD++BO7MzZRhHyD0FB0c2S4YLdwZ6gkmWHcADv4RThZmYQLJV83SVOJ74F0Muuz4UkShUB1hs/AfrwDmTA1TSe2xHZVUzeK29ktnANC+J0YSTZLGi2/x369WfxkXv63h5aFsvm9FkrkuU5kQRTQUug8k+EsLh2qNuLhiT8FOtwcRQTZ15ow8uapk7XXwDRqdjHbQRT6/2DWxItX7XS9kTUqbfCF1CQ9s02/TlX4AtgBqI7NkHVr3eRuJC97pOQr7fqc0g6rye5mGPJXDoENIKcpVUrhAU5JeQJZif290Q/qt7h19lIOHbFTlAENyAjFnZRW3nKC7k+meWy5v1Wlea7kF+evB85u2d15CTs4Kn/pvOsqtUc+pAnB+wtNouqyoS0yUawRes0oVG9so65T+gRMn3xDTu4Fl80BvbMKyd6Dp0Z3qrJ5Vxx/n7LuA6SLgSXDZlrGK6KkdcJ6OGdaWys7q8sfzyAnAx+uc/UiwFt7y1Cn6AbwpVFIb0UtT4XCHdLkvXdfmZOjp02+fasH5TjlED0HqwyI+TiuiXLxazahZ9kW9Nl2/vqsYVYuwr6G00+oypE0h4R8k/mFzGgQNUBFaZOhqx0CavN56oQL+T15nfHuYbIJYszx4fWMGNEZzs4ogB3kfQWqU1UMwpppDrMUfDoz7dQi7IXLKXymjYxHEA4iND7fjdfIT/2CaPM1jGGQr40/4+yVnIsknmUheUNCm2WwHJ7227pJipB3cUpYfns8CxB9/nGvAQxPmCiAaKDT+SPXdjRHbCNeQGyIuaLls15jXPpJ1PFI1dp3KymQEucZmGRaKPuHl6o4MY0Q2p+I4B9px8iBqqsQJ1ccydDrXBZ3EjX0OuvfZdGzbSJjrQ6voZETU+6S8P10RCUbDhvVzMuoQ3VDu7LCnREh9PCcDplFGFi+Nyw4Pijx6PsYg3W/VNpql0p72OksAF0iqtQHkZ7zmuiUYMP9FJE5D6we7OIAjcWfbkkerBXXB50SBakgE8W6G6Wo0g7Zt5LOypJSaSKagtO/FeCK7SxDOFdWdPpidT9hwxWBSLh0AjIVARRdcd3x0pWa6WwVOIbLQEW5y+5B9nCNK1CbBVoHX0BAsgQG1DMdKcRtiAJZKgfQRGuv0lkBHWuR27mO84a0dHWqxl4Ht7/I5D4tCevKfm1TYmDtMPxa4japA++0G+L/O/DscuiGi5tpZhTvRRVc2h6h2rMYAXE9ZrOZavwTAaht0FvAvPNj3qeLxZAWCEj6dslMyrh01b+wPGc0Lf1tr5ytJbv9vKIxzDrsM4+GnUF5tsWjkbVRcrKITKfnzDZMfBVNxhh7mwaDIfuchguSpWLPG/5WK98IInlxdTTNJKq1lbe3AcXE7L1E34kUfkJC5CGlOBd+K+09jzsGZFIirfs8xNUq3RCQn5dkfBGjjepuVwO7JgKmezQdURmY6TAaNEXOfdAZeCR3jy9hq30HRycbz7yh3u6gCQneS2kTkYohCZnRykOca3zJJxIy+cWLSuNsVLLTdNp3xQaI3gH5QZgcNH3dsUGMrIEDly+L9q5UrQipd/hxEJlwi/0wir9Aor/GnHwUeIr8+dbdVyzjshnKPRJ94zQW8VvEnC8aPnUJyMkFXb+oRUnyRfkuFhHTxDs9IXMgNr5meR4nNu1iStF499MSUQhHXJ5mAhlw2opRXdOyGxZbjuWbyiv0QCW4iqdHVMwCfUdTxGQRgk9js5Ss9M3VNTNpejS1fxcFy3+n3dRU0mvg8YrpR8dTwxTIzNeYYeJ5QjQ0Yyaq2qytcYLbNTGAlG/26a3oJZhyroysinPT8JlEDEoIJNujfbkJrJdOd6av3wCgszu1l1cXKxvTcD0890+jUwh1JKIaWiSoIMocbSY9BDlhJ0y+fl3g412EgTFCwTVPBIdBpSpQwOpNocc9DLn7Qdihtb954K6sSkLNmozDVuZew7zhVe/KmH+H3SszTWZohNl3Grtk/OqvzexTw3IpqHv2ZboUfebdQsqpvVwJLTqkWCB2LralaPujz6XThAgfoVvqc80rb5gdV3W5G6lEFKxWo90SoajjbgUzlrajG9JdTIOdfD151K1h37bJH4jjKCzZBJp26JpoBP6SSmVaq8WHaLj/TWkDvCWq/AfUaUpW+qbTFwbFk/jtjzgvJB+L3zNC0ymI3J8R+eukkgF71wQ+Mxq/21+LTtz0U5joB9PCoL4zJsTaC45RvE7HYHgNOCChNlx3zvvORNxkAblLFDuZ4Yo3+8b8oavrRFhqDJ3K/R1/7CTsoT3EA1m/KRI4/PnjDAJx7N9ZNAf6TTRqPow5H3hM+nSwVutWp+xXlKZzUbKZ1fSvbhZKieT54o+TU0zo1XbhhJjjUuXsJz0y5xzOnDUl5j/ZNgZQY0ubX9V7k33Fv2EdrcP+PJAT67FrF4/FjLIByzMUQtFCQpWQBfpnLn2OjaR/w6cVNWHo/ZV2ZNyXF3eO6GvrfIBK0cAP/cIriEE4xto12DOiQRL4pIfINJNEK68PYW3tkcRw6GF7pIEgW+KDPxXSMXEKh3sIQSXoKk54JATMaeFJMDCNWkzXUcedHbCPMn7M1rEM/qiOXADT6zQ78fEQOMaAmykDuW1Mw9RpsnjXgEryyAJuQ3g3A3AvU5jrXYlM0SeqYM7ru/9YNXrgRaLQEFjp+XEU1aFkGobTWmg263yAXZeTcJXfrGxCNvaZhzYOAQ/FIFHAIF873qrXvTkvd//uPsvsIXe5rcf3hwsxTOXHdfzdkzwQgjFQyv0EYjs6z4AyjLKUTugC7Jcu6jmBYf+Jk/siFIx3pjBVGrSn5ShOx2oN8K6wa1DPMLVMjaDpKZMZvbe/KTZ7p03POCjL6syKgn3XGJqJhKv4jg/hsH8ompHGIdxEwzGfXgiR/NsKg4FwyAlEPZfQPz2Or8NOIZu083pmfnfnFTsUn1jeOQuNbFRTYRZoqlIyaz1AYX8nrwXMyIG3CXvH0apTkMFq14OOuPfPow9uwPvL9ASJoj2GfOIbrrFGpk/rTyfGtrjGfjz6Jtwa3S/a662ILgDOU0U/kwGE1XhVxKY4IoA7kRX2ll6cySQ8MhLTuH5m42AaP78u1fqRgOQTwJ1ND0GQnaA5rvhdDLYW097xBxC+igVjkSGv+F7HKK9wWwi9zzDoG9jhvxrYo/FOW4olG01loM2GASbERAYDggjBYOPq9bfifc5JQZKsICOfviOCR4mhiOE8NAfxibAIoRnRUPKNIjghGPISzrGTvOmNlOo+72kqD53IcrdPoouIaD499yiutvHUFylkd1TFILzbgIsHBWGTi975rLwVegEqPiaIaUBbmwjVrkQapvXyxA/OypS6vLPsaMzC7Dd1Qr29va9IcavhSbWU0f/CIj+TlDmhWsZGEom2czzBJd835njLBKCWmok5UQrclUeJVKztdeXnuDmfiZiv+3tDdCJkOE2/1TAy0DSH8TzB19Z2gfuzgzEHCVIuzq1Whjlc+6xTIdY7VaZ1nDFoUrWK/l80eIsIB/42fyCtN+7kuh/5vOepPJtQfYWus8UMHcytJUgKGsk18x2Wl7zq7RdQ1ErJhk6AgWfGX8f7/JuJVBpHlntmHMvzLrt0utoTsVu41cZd2HVXzBY4ph4l+znJTynXklz81SoKrM0J6LbQG5s1J6Ux84RO2u6EZWw4EYor2ba3ay3Klc1/phOTL1DjY9tZ3PeUKzIxaKEjF00AKjW06H/ogkAjluoik0p8DYasaT/dbkdSjspbAInSHhA21HET3CIqWV7qIQ0nYNOLQihIJfLWrfeackyNzTAWfPt4Z5plYqc+DkwZ79PLQSygeuet/eeowhohqCLdSU2EMlq55Q8pxcziQKM58sUWi4KVue7Cvwjq27+yioZrChjI/Ws6St51JI3osmXzA/nZqOOozpJlgD6bHpQA+3Qhjmo3vQtZNZJh5NQatLuwGb4w8kmB/kqVGhQTwEs2dCrcDJnYgMnvd84mYSkLGJqDM9u5zNM5X5huwufrOH5MQT+9hCmF+Onh4QjD1+IXheQtZRcg3GUOcck7QagOLzVHC6VwY5HtKhyFeaNYq8hL1U5eCDyKYhR4l+lCZ7y8TRSLBlAZnc7uQe5GqZDmopqdPPNaXip2nPROksFtiteMN2Pf4OqHqOYFlesYJomZMlCUqigcAN0WWdQr5Q88b7KRNBQOeeu3Tct/XzPogiotCFqf9cuFb7knZtWKY05Rp9KC5iLcmsZHoNSEM5UNsz+5/vUA/cc7s7uw320EEwCdZ3tknOgNDMXOO57K8vn1kYoc49BxFWf0HvQKrLkdI48dBaCKBmdA+IEFjCevMjoPlabspqzRtvpb3AWB4ffd+YdgIxK5sEMLOfYyRuc/z1RnrsrlYpJgrFDWWw9StHzTJX7FzTiB3deK6uE6E7yk8fNLxVDLpJlDrmG9ndQdmtvKI23u9poFY4G9WHALrcSkWHACRSuzYbuaa0xmGCnuP2K5WJkRRczxW9YNI9WoVJr3SspFBWqaIk9qINvtx2G+sSvypNYs/J6xb4Py1Py2/qblv64rwJqC0sXUoh6tZzczytGfpPCXi7JsOfyk2naZtbn4whNWEoTS7ZKukPzhTIJZ8JSbD+2vN0OShUf4M4bOfFkYJ77YV5y+iO4EXmt236h6O3jrCx8DpN/2OjgOWp1pkhE8oMo5mkKUGWrI9mFPFeM6S4CvrSh34q16cjrLHa4W3oh5lzTHANslVv/1SXWbKpyrg8te5fN/MFVXU2wek5no3CtyWzlsxtuFweP+Y9aKrYfa4zB98hYYe36qobr2dl/y7epecsynxrNdqCm2c0lAH4evPOMDWwNwdDx1k5bGtTq6r7fvAK8Gc9tSz3qCqeTmbYYeiMed9X2DW1vKRmnIUATyh+yr8EWkUGE9lTgYotqrvzMB0kz95hl40BinUjaeqgzX3zMaxIycc3oLR4eAHTustd6XDze0K8cnJqV1V9e9fEw15lvUIgXl2nbItqo4BA6joxCTsd6qQwELQZDqbV1gGP8ZjOSjbUt5d/Tn4oWA5fnqcKjKu3xIV36NNhnwcb/Uz3u41QrHkmx0/virhvbYQ/0DGEVcPNSMiSFvPo/xbKfSbZ6HOga6i9q4ie8poFlGP1ObknZyjqA2w/lh5Ndg2Zxk+1+1y1blSY1eDZpr8PNPT0kDY7a4Bz19yQufUwc3OZgcB2jw5popJ5GHwP8EOqStetcrMmomEJN4+Ie5DtWzXN/zNSU3n5nLLVbCad0YcFSjpEMrDnQrYU1a3Gl3Ze4oGEDU+iHPf9U0cqQhjOCPdAR1jlXKhWVMptYXb47rKi3zvcxwCgIKlFAs0hurfexxE440Ia2b2iWpsmalC0lxMIn34rWih1FWO8fATX3am9yYhCHz6dhYdMp2QiX4LEd7GeNWZ5Ao9vki8MzbRS3n1D7Y9gBOu2KxGWt4EHN8v+PXZQg4suI26+z2BHB+APTezwNzClAIYPcoVu6jrBSbDVUVMG+6r+n1D5/iW7CDYUzj5yK3KFZy5bGgSsjEv3de4n7DZ5XQffOYn0hSmIYyxOMafyH09+LadLlwkS7HEheEbna4q1NGZzB2aT2VGpymknq15sjlehgXOUW8GJ7wmrcYGnXpwrMmV+E7otokyqfhCM4BOxX3huSs+ME4/rSkLTjRHhN7vuX2oNj9Hyx9lLrsmMAinbIo44RRIZYWAe2JcOvmwI5ObG1FWY7Yf8FzZTUbt9XBrdsZet472gBpUAAF2JU+3WiFGwbF3tViwqnORFrwdb6XyMJRMYGBVDHSRscOQDj09IP8qVledeGKlopaN5jiBqH4Dz6WZdbRjZLs2ytuxvJwXM67+/xloFJMXn5h9bn9NJ5IMyop1Zg7jApA/VqqolfyA4GBhxklqW+Z8bpwIp95LWrxgEtcg6Mxnc40OG489MXlpNTI3MZ3SAav35+NYiMCiVzISiQrqwF2qHbzc58CrcxZ+6h8nbHfgunPCIRSU4LR/o7OBXvrxscVrmnUKxM5QID77EABoAd9cn5vtukS2EfdAUf8w34NMOVKYBwQNYc3T9i5jjG02K3pxZPuylJUX9qC96ajI75RNmb2vpbkg5VWN/rn56rGVfkLC0CSZxsSsgBjepAxAOd7vj5j+5f4d1KlP8AvQLSejY/FMo95ELX1LBj3tseE7iHmLcy9Xe0pJ8ZczzdBgS9y0M5Ci42DOE6URNUpjByn93DQVpqOMNGW0/1SOr5AhCAmj2FwmQmf/YtRpS9FhipJdx9Wy+biHE0hJ2jXrJMW8hkxLs82EkXWHkq3ylRc6qVPBjRzNnsxj0pGN2bh0kS47kNklSSoRvJSoP1TQs+Tt5nocuyN2+bYKJDXdKHWGMAgKRvZ26wifhgr6xSJbg4aa6dAbcBMV86lZHOgqh//Y4CZUJ3sLe/3AzFkQ/WBVVuDMR3h35UgdgIh3pIjDhCAhV60vUqIhpZapWu6ephWK27eSkJ7IzSWV54H76dnMILUs2NQRl4QDRnQFT+RDjCcSgegU62AgZB8yq7NpUbgoXqCZMvbBWZKLckrQ9AlIkXMwN95wrETNAgkRS03APxhjFKwsbnxFwuAorIZCSwKcPFNIBAwfrKtCFUBi+PiQu1am+e6SxwKrw85k9P/zcFOCE3sh4Fm7At5MAyzThq1cr4CvV4e4HTuNzwmfWvo5i/JORCMtaX7XOIcp1qjAnDMeTyo8OedWw2Kiy+jl3DWPvGFNPCWrIh641e6AlLZDXWZtSJK/zQF3t3hDWukF7RWKv5e9Vr3x/pkCUunC9hLKyP3iVrs8Od4jdTB1Q7b4W0xIM/LPDAYZmUhr01V6m5rZvMT0dd8Di4pssQf/gCMObjNJm7SiVPp6m6w/VK4K4q2x/56wTIrU3z8K+R2xHy/n3OyuFWQHOTffLtumU4Jmx0zthYiukBkUKKOaRuaFQv3TIDLSJrvsJ4F8aK9cK07D4JuL8Odgz9LNfby3dT8MFtBRhgrwzUycu6u/NLUprcyGe0/NIVaCPVFgIyC6f43gzea+r0XN8irBvsWhaJ/N3CXDZcxUXPbu5ozDqrznGWHG7fmZ94Eh/iKFRZpjk3IuA4M4BXtAa6dRhZ+v8XP7hjmljabXWhQ+jX2xlEBFZmKCinGTo1FhjN1ekWHKzFvD6PIwR8r7YehkxWHBmjXFnS2/7gy8ZrK2BKB2Df1Tb2SSt9HH1NlD3H6dzm4Oia6VS5asKZKCiNZeVWXCyYLdD2Slgf3p2Mj/LJ81i9rbk2eKnFhjU0979m6utjWNTmdRc3i8sGaqgnbNmWvA8C5wDqR3h6Nc2LDGJ+2x2C3dfC/n2/OEheJNxX02Lci9S/VqNklLRTgSZPJvKPJyKE7Dwsu5jZlqTnruYJwAy7Es76SZyCrnzh+a8g4LuJur61in9/doNYYsZLAVYFAozNeNdvxum0tkzQlZn6aAWFnF0Eq6y5kt7RYFqWMJ+6rSpk/6JKgKsdRN3baifB9140ndv6W0uFp79PWWg3y0F+KuoJiS7hHczG59+Id9fHY/yWgSEslbM2JF1gQsW9XmhSxp+1ekBJwFXJPj9DOZZh6wIsNL7DYmNBiz/jqyoQV7/MRSvZKQ5R3DzT1IVS2lxEOeyZAWumdJLyMUT6P/Eqq90ZrZ46OMuXBk46CwHByrZjPMvFEEHMSbCyahXewZg/5EIh1M/124VPpiWsOT1QO69B/O+F24u94vWEtwgeAmRPapFodiIbmloKchf0CbvwA2x/fHV2gNx8w3AFJjUcW9i7MOuN5Uk1G5n+CS1eN+tswwtp2sTMyzVSFCZC6utePzl0ls0lPfgIALJRYhFR0ZZ24FS+bVF8u2A0yE5N6Up8jyMSSCrYMjZkeiRObNIRlXyjkU4txKyb3/ZQeG4Myo/YRrTm7VwoeTVuvrlRR1F5L/DE29FhwwBicLzYQbdVWau4FGDldncwHJSbg23hBXj+7796SKSqyz1OTZxRiWf1jJjkvE3wt8uM8XGDo/c2dQ5kGaSKn3m7Q5Tc9qE5ApQUTY62EjsCYX1HSV/1MfQMtBYDBOKX5MXXWueEy9RM7mk+APiTjwiudSFyXPYDH8vRHzN2sYKeZBwgTYC3rVUepf1vHshgVv6bXOtyLeT58VhviixqQy1ZoAaERXnehRftsa67D9mkAykmaZai7aNMYaN0tu8NMXvAkIe55Ds7e3rI8fq48jkwChLWvU/RFzgYdVzJuggKE7PEHI2TWeeRMOluLon9PCANB9rHO7z/gB3OQzUBZmDkh9ujLnYcPUZrTjL+L8584X8mJ/gVRpiYHvWPpUBHTZPIXWvGfarvFEaAmw7VtXmlUQp/KXnboZe/QkaueCCGzCyxGVykaRJjbaXqb+NqqaBrjDSa0m/a0v0zJt6gKphT0wajKOdcHQtvuBJ9+cPw3wgf9VI5fSrxC1ioNl8U/ZID+c0kUIhEaZh1ZJlAbtFFVGJoo3NzrI2ZTzfVXZRoWbkDwFeeXoWGVqbqMO/IIulQAKn8JzY5cSlgNtanTtiSIkPm1L0s0LrqPNRh4cVjEvBgSZnRYn0+spo8fIueTvdSdZQ+WwdAEjuMCwfzcl8adA3G//fficZ32FnizIyEqDANrrfG2o7tJuuUNSOgU1rcIk5cyDjh1z9glu4BneXMvQG/O3ftBvkzM+YiQO9dysHZD1YddbIwOTVJ7vq9LwlfJfsYKMXmgavfcoQbGiy+QEmOPb8wBVmjCBZIpTWQVJ67S3UU5cOIrHGz6z8Zg8xexoP/v8F/RuDANa9hU61eu/lPBeNXMB2ArGEp2FAbNBQgmyYtxVbKc7/p/QBEYmjJOp7enoJLGItu6xPFJ5g36lrlJ1O7KgTbBCqAOyzgJlvGUeNlP6mrjEh/v2HbZJCq59Ix/yT8AHOuIJEP12vvT2CuwlZWeaFYpdIGYti6xw+QR0kQOpcl2XVrebPKizXpjtsyEhMgCCw4nAwKmDhZ/Tx7CK5ZQADdN/2/rw5quR18ov69BKCk8lS+z/hfMY5b8QgUH44FDJm61+muMYvOuIOA64ye44CLTOwSug7CxopqfxRh4TgcgL0wLYxs5mL9SQLvQseu0B1nB3ecxxEiCiV+y+jai+jYyGe2BBois4LKTMxvdwgFFlRmlQdToI4dy6Ho8ymqTjQwZfGVc+pf2JBZYdyq+EuYx6SkQ2+A13fMzyoDGcXDlXlrwYzDguf1UhB+Kkr/mbVL4pHomSom3rW97CKVgshT/v42yvvybB3WQhLY6cMkeqONUDaFl8DLr5C/40+Cm178+8Asiz9/2d6WeWwtHln+ip0IUBVckU3sBbieUWfOtgEQvyGnjsctACYEyPpDcIFQZcODqwkomImQTrbIakIV34cYea7UY/7M6vOsU0B0kOCCFox2Fo1y+Z37c+9YUQ8fPmIdaVXeIljdbSQdYB3MNBA2onanBii7t8Y7bi1XCiRwCtOCxtnbJTCxDR0YuLdZaOW+jO7+eEfv7Ndm027+SLTs+HZGjUV/B0D3Eq/y7TkNsZEVK7WJyk4QlqCDObGjlBLTQs99abYzoiAANZFOOkxGj6vlbhtTI5aYeiijszhqXwsj5tKzpoXVIGUGfPU7y5VscKllrisyK/JjDiBy2bFutHQ7xH+v5e6/xIYpkzlNgp/n9jukEWmv+4t8dkrDi516JLG7ePfmIpiUvIqxgH3HiZdnYviix/7sD1gUcDNAp6GiNAbdu8FY5vWXNyO8Xgq/0QNNV1x4IkgCltqsGnOwsDYbnCXRdhfWBYALhV1XP7cSXSY3Wm/jeflcB8sSCFSSFCM4kxdcXEGX04JnZJ0j9+PCJylfR6MBAUfgjqVr3M2lfR1kTUAeRp/ufPF2YRAkxxT5hycAmZ4pFpVMwJKJB0nj5K2wII8lZgUFLC0dHYZnbMxcP/KHkNJhzYGCHsmv3qWcCAGJvaPj7wSOkf30u2IXH/w3eadSt4rA9mQexpJOlyhRjNfo1IwtFZatLQgPaPT+4px7k7Fmy3ld2NrsgZbA220ShbO5ckM6aOjdLMSNlLfyYjXguvDg2qGcGkZ1szee4LaC6+R0KCFR1Kvt+Kgx6BfoyfBpfK9tIY0Jalel+08chfDPu6AwKmeWn92KTzu+Q0vLEJHheVijK9qrzApvE2C11pQD+2T2I4PYmtj4xoTC0NRRM/aWXnX/dcrdbJ0jqChZLZt+9IgCKThTqFNEZYHwYWWGFqR9KUjy/D8DWuWRPo/VYeg/CrJvhu8XAMRPrpCw75n47ntLMOUtjNgnSS8Swx8R/whJzyTtp/5IYScBsQcakU4axBlJeZd6YzHEHs1plibUOz6tDKznElrBM97fdXPf3yIf+2vcFvke2ky3efsYNX++X7YibakAtwOMRdrWb1C0vF4/sbvtgA6KYBcfL5fVgnh7qa0Z6B3Nc2Juubs73NBr1fasoh9LwlWfiGOkKZJrfLfpdaIf81fqnC/KD6OoC0P51wmZZOhXgRwhgfQJLUPSUwEV7JemsKzwv3emu6/m5o6gOqjwnnohZtbMuO3jHmKsx4DKrfi8gG/8hfyfr3TcLjSM2XEPoaRGFyF0rde0PVqNVTK+lkvsMDSjq9G0M0HWsCompxYuaNY3zou33D/Li5ypanBnCnxgcmm+nUN6adbdTYKeWPuasfzypPjsSXCnMaCofsrupvr5LxF1qXGfYlc2ukVkmHBoBdIOc8XA+mQ21qdfYTdCwcWPlk9LJD4ecYE9O2zrWH+ZP2R/OQqYlTolAjpUGQLH6UtycGeqlkd4NAS3PtiWJXhaN5Zp/SOUSGBZ2e+ldgCuy76shtfbI+VdCVwooUWXgiDTgvklhpkzeFnmOA2uCXq8ERNrqUnuvoDcSpG8xqeD0OPHrO2cnhVSHhXlgPwPdhv+4hKov6poab7+uiuEr3xmSGhCSpDHxW90XXkgXxkq1vZrcgBwGaiWibj+wu0lSI0G7iiH9yT6PvLR9VxCEIhGXAc2UxUybnhe7FDCD3oieSGl72MSWlR3U+58YJMmfSnALrYnVg1LmP+9Op9Pfy7ee44MresJtOswcAjeVxXgJ1TdO2oOtPh7ayCAONNpFQTeMJMBxp/xI46jgtZLT2jQqpMeXelwG3NM+ZvnT3ne9E4sWcRxWx2RosyP+c+y5X2zEPnAjaIC2070a4JZ3xegtwoxhVwY5khTXX11d5Qt6G7MfT+omhGScnHY5ZbhLisqAviUwkTug5APRfQJkTFRFU7xpBDCyLz6uJF2o3PaLsekQAK9JYfOnPsuRtdFwzneABpdWq4/4D1IdqfmLdmjpDmHgG5q4Vfy5FWIkIUbY/w9OwZ4nDgyVQGEyPwRZmoBMyH8/A4rMhviBrwpo0a2ZmioXxCnlG2S6Lo6cCrEoY9ndmRK1QYcyqyvxe4DDywz3xkrZo9RvFyY33zV+qf2lRWwR1KKLS+kyC9k33SWfb6XP7wSV9KWasHnBeQa5pF52j67XcCHXl/yRLti9XlvWtzG0FPEa561zOv8+VCIpcM/Mpw1jqCBTSxT8gf6SIHe/Yv74um2ImdOq22K+aSS4rfb+W3SRyOq+I8LvL6iuf8ZOJ7B6vjj9yvRoh3xfnA7mbbVYWdCXwMZBRlxGiLO3mwi7IeRjbKcx/W6PbHHfY2y89a7259qxX77qYxY1d+R03zljQtOBqvNFy7tw1sJsYUyM3CubjDli/YI/tl4KCm3OfONRhz5uQztupi1zLVshv87LL+lrPR+lHh9IVQgu8H47WJwRX3tLOs7sreMnskmzz7OsOmSDSRCtQRgxtCfumQrOV7k2KDUkwVW9g4ho4hETqrmZmgqB/Ris44ocSGqWpBj8BszMwbHUuyxnIrluP+kQtS8DwD9r0KawA7KG0DSoR2HWOmAY0OkS6bISkyuaNndL6WT8+ci74TM5xap0NUwZBBX6ROMaca7SOxUbLUu1+P0R6/u1KdcoqN7S7ihhTOckWo/4MpHzVuEbSxJt73vJWyBxxB4bSD4NwnyS/WTlPna7YWaUkEhd6clj2i0XNYNtC5ec+qFkpub+m2qqdegPBQ2/cBl/PHr9HZYkpeqdMp5/z5/pIBM0CQUgU/Vpn54x1OvPADW0Clcx5TzIcxHLJudJW2tM1Owk3cuKA9vwzd6j+Nr6PnoV/L+HytTYOTh1AUel2BCx0CopjzJ+79QGV1raUVa8JhRZYWMjm7q9tmsAwv3FDk22tZ99PfhZ7e6Rr/LOvTlxpdnSnzu6QrBCtKZ4jE1S/7BfykjMFWLvM9RkS88dSKrCIysUOt7wlwzQ7fMHRtUKicQXgId1Pr9QqJKAlKWkELJWUkMi3UC3nYopr2HwQTos4pjIY1zVIuPBQ/uGjP1j7wmUaKBXmubi2X4ogapYUJqQgVFu1prnhLLiFBw394xdDOSiRGM6mMIembr1Fbwfn051MI29Fansbg7x1qJcMwoUq/G27LhamCysXa7prr91xz0jKALuqfjnBG37nnsVQ/oxZCOTCJIoQinIEd9JuGIbwb5WBWlz1o3eE8309VTKq/wc2QlmoeyN/0tBCvHaLiITQ/LXyUU8AzrlkQMG7W2sA02Df18KgZwy4jNLnUjMKau18Qn1HxEtUXvOUxMP2KykdTBdN9Zby9VrfXCchIIofbs8oFhnCmCP39+kuYewYx7xTmiffKbE4RaGKh9bxyLd1H9StHCd7DU/cAHWzileEZ0FoDY+AGorqatCkAs1pA7WIiUJQVsV1roWpVhSXkBonFCzfGwfP6XORbekkhs3eLRbOvzqYo+EYlrxXLb85V5hC24Rov1/R+wz6fXQl8Ajo7yt2bBIJ8yfqW7vUBDXJdNu5igcugXd27uZIByw+NNabXR75u2G4jHPfGUcv3UKoLA1g5nvV/Hgwox1JHTkQXQwC3mA6qqYNmtRK8KRcvduzD9h33xFbA46e50Y1OPpyhuEJwQKXVa2SoEZsEXa7YTwV9z3PLTaAD6fGj9IQz+JDYPtoCZztAduTW7z8KK12umF6m+HNVGLYtcBBZ4eshfFnmUMhdcdeY2W7f6oAIp44NR8NhjhAu9uYVWVVNHb+MJg9WiLzqWRMAr2S/i7Id+ExcByu9wYwgpcesN2IvOaZM+IyO12EJd09Jeqb42Zb1lYDtMJoe8CJym3oitp4j2zz9j7bGag8MlZPwD3SV4ht9Fd5r61aPLwQ5VFG/SXsBFHIlOyBRBrd8OehRMO9J1jzcsh22jcJcQ6M3YdD9FqAU1Cn3PN/+L/SCQ6yfPeP6d6+nrVt73R8OBY+PGET6vC7Lj08YGeMNp43ejH8W51GmoipzeVmg3a45Vwkbv0JU58AI80dI+x1AiXW5VJSkJwKKCR4JbppaHtZ/aDIf9LVGHuP+BI9N6gGhnakEumEh477z9oQqZi3gYhFs6vQ5IQ/H37sCoPHIOHXjYhDnUXGRdcyjB2BKitUN3JQrxcd0eXB/MBDp2JYPFFniPjJhq6Dj4n9VWx36AMDfYFTAo0yS/KOFsQt8tXQDFkspovil+bH7qsBqdVCnlHRcuwaeQeUS9VDlVuvwCFII2/X3jZ/h499agxIAKTcslbS4aV2fzvKTklItBqrB5pbKjtqhjKrKsVNSsmJilFT7hiQjq+iNxatJk8mOnOCqYviwRyN/yCRtR3DJlkOX0NZLGLQEeQJwCvrQO5Zq+jgnAaHJwuDaqCdQyXIG+b1M/Rntyf78f0WDXWGNnc+abiRQJ0Oz4LrR8VKo1kphhYfMrJX7v7hz69zVi3ekyILfEGMaOq0PnuEt9wiggkq9pp2fI7ANiqgfc1LEw6eLo0B2EJ3seimXQOQbgpr8bAUv48PgFk15LRAMcdbZE356G/Rt90qj+oBYwyzS683RtA3/exIbmjzIWa83LtspvWvBrcVLI1IjUU3XVe4vuIGZ62ZNzjsAs12BvOoCISz+pj3BNd8AfW7xvDujTsVXJNt3mPbEP+2m7uzG0XgLxXDZevL9zjytFsMFrmlnE8RFS9bLO/6Q/uqh8k0fIp3GDg+xBdO8KEqLlbs33EowxmRn0So8Fw17BNhKhpLfMT1xoUOzIN8nmdIBY+nK96joIKCxtCJENrbOf2Xup8YMgCcZUckeR0+PGSEoiCkJ2Gd2X9nns5IoO9jWyapimBwjsaU9Ncc0aFUTS5CXnmz3omc74g1dmzEN72SjRBptMzUvjubWjh+SUv85gX+bkAi+hfZcqia//JmTKH2u8l/hTkWOVVhfMlV6KPnZESkCfy9OtnYM2GaDVNedlT90CeywYsusaAB/Zs9+emrAid9W8vHFO4sMjnec3tH2VKhcntXPgnpbXIeU7t7Pvansdhk8OrhscT7Nq8HM8KEoT9DvnGBTcosxsvg4M9vMXNoABASjjQBalga+mpoY3JQrashS6KtzyMbzeX27YC40xiYRLy3pwaXHp1+8fmJZLJKNL+1SsM/gFn+hy6QV3YsNmdcRo8DosO64+qHVaHUW0EeX4PF2IHWjjk0jHTCpznrepFl8uzWEwZsJHZJ0rhvpb65pl9TdGHN44e2afOYcUX6oJv6qypvPsfcZKDjFUqS+HEPCVzDpIxXn4kpVxXUBGn2TYq2Dn4bbdgMm1YEh4oHE9c8OKkN1Qo7ghiZuKe9rNw9cWjx3Dpk/zjrdjQsiBSgB8ojlMctpWJhFbGSFMH0vrXJzVMObD4fXK4hT+JAJIv6KJwK2/Qs/pazjgu5VAJq1qf2Fqb8tzSma3t6TGAJhq+gYAJkvHPSoNKDj9WVqLcGu0U993eWer9/AlQ3hB8vrfoGzgC2vYWAfLoxFCWMLhx495aDOOv7FVyGukR54HfWE+mTiKyyi1Ik+zQ359Q4PfIEVtHQWB9KuckYrz6zmRv0FsDxNlbqrEMFIrk3Le0JMcFSk0TNL0xxqxbye0mjx/bJAhZzUkATNL9i+91STCOI0rYtAR9h3TLpGRG1iAl7ERltKNVG8DpZYOc92tUx6ZEoe9djaUj7UvPVYvVFL7nkC5+xVEnC+mlYGzi/0mSQPZNNSStaSkmvkHrsQOFjdE2cK6EKS4u1hhmfFCRIqIzkTFyFf0lN3QE5wC2/3GeoYDYjf2lunq9IG+Oww147bEIvcDJx91XWY8bRAmnEjy6Z7twl7ByCWEme7PZst5yePzX5asUUA1uZw39QjOtkz2CfQnjuydIJaK6/1fA6iHSa3sQ2XevgdczAK2L7aUfGZZDxGERUNhWP1XN7vGIxYEO5SHdWLOmiKBzeCrrBLAOWkyKjxvaxWayZ0GgjEE9gBglp7Jgr8gMor+groMnyBfp9oMB+1NjzKxCPrgAp9eOCGX9UeFzoib5DR1pTn8EY/1yyVwpIDZN7l5cZvUkNb2aurTPhXD2Cr0Vf63nVbC4KtLfye6OrCPJFSnQP/p8+q6pIAjisOxyn0x8ELUkU/EvczYPGWj0eQbFrLtblL5AaBXZJoMdrgPyLm3jbC01nQ0BfEsT8CFonAtc6hQFIHI+RCsZrx+d1axBypAlJ/988yJ/gcV3Fk5N/bb2aFolB2fYdkkb9b6z2Xac63cWPgpUW8BjCUo0FFFufSRmvdlrOKnPHFwEavaJLE688rWK8tJmZ/lWE9MqFmdr675pVnPieB1/8ImnBxUyUnbHHv7M948IUp8BPyUK9quu/LTAGjl88BPc8SmW1ieIYG0JuCcQsUb5mX5cLypxktHblPfMGBV/ik4lO13xHcUBp7v8+CXR0UihhLq+6lv66IdIr3WnUMLwvyW6dIj3SDLkB2xLuq8mI+oXMUQiHkbolTaiCWLOgJ8xqGpIOE3Nf8gf4oay2xkwjMppCKS+LlfX8PlC5x1B/184iGVNBLXMpv917BZ0dwDyPG2cYqLxR+IYMs7zQSpuCVx/hGXb8LZ+K9s3hZRtStaqDjHy188uW5IKMM2jt+3VztFWJ06ewn8dZqcScHPtMqDsp8pS51vsLk5lIDKXKl7MlN8TefewKhXoMl41CNCvxUmB0QpqZ1KhO7gMkAEx1IkxNSF5lbW+imBaj0kyAMqk7mPPdyeVLKmlHxKOmsgcO6JWSaxyggxh0ACyx370mUywDFQXlELNTt4xmKnvThFk/VOVHZ6m6TgnH2NWOxCHBxvmNQU61MgoiSi20oLPfwh4GFGf6CDgX1P5/6Yc6fIkribZrceW9KBBpwS2z+wTMTbHZ6DiHcnBPzJ26GDm5QBUdHHWSccnQvoxfV/LZXIVVpm0eXh6i2jplk9fenYrg7rGJooIWhzw6skZ//quW8y1nWBzZ+ormywpbukX0GWYMw92h8W0BDoVq+sy8rNYcU7t/3dKCsLCD2kPyI22awqwwtwEVh9q49Bl5dvDNY1gTCRP5OtpITGVjeHA9FspiI/hOEtSlifZC47nPCZP9APY7GC71TCedgjLlFY07fVFn0HwH7DQYiz4uQI2pu5KaLj9hJpzpFAd21MfeA2xKV6ag1Jgqp/uI7KdKbRQxBSj5C3wj33CRTW2Koq52cgV1sRZ+TTU3GREiVY8bR7N74PQY/Yd+yhapnasEGz6i1abfm6Rybuaj3sFw6brQffAsOGsEaYFg9AEgxLYx2Y9k5VrXM5GN4GGpY/sNKbZH06vOmYnPAHSJ81p4yoSTtHjoggpmeL+LM5A+nO314M2sIE5WjSuKiob7Y8h8A0k/FnINGlT7ZkIUcIvuR02329WOgzySCYkYl0IXRQSCSVsjeL1GJtLZMygoN96e8fXza6S4BlNiVsmB0QvDZ5dkXKxTi6oHZYz40WjM2hodPrOp2VYUasWcBY/2csmNHoL9GXd0DNzFizilAMOgNUQXhy9vsRgO+CdCdsoSVAt6y+K+TNklxnJb2fIY3u1dpr6nBXlLsxPRJ8nDgK7IV+DRm7bX3hNtxPkgkiV0VPJA5YkTIoCTDUS1GgxfxLan+hzPaf2tz86Qy7odvd1ydkG++8ekTul1Wltf48HaaPhcf8FhT7H5fFV3736qMujnX9pLdl1hq2RBlErnIbTmg6qnsF/XFGbgFcnQdiNbhvZpmX0WssVDBwbnyCwHcnjdnAdyDE08LNYSAWKgR92Lvqrama87MJ2ZiZ6oJWSxRCS1okI0YYiAr0lhRSa5PudrRjKBlt6m3UKIIz3iYg+b4m8syfw43tPu1biyAv1UMzumlwX0WaIhczGjebgXtTPoKUxN4bnOMwK4vmpXbzDPwB22goy4Frx7ZdFEGNXe9WheVX2RmQlWyAeZYWzlktgJ8U0dZEd5nMecMBpw81IBnwV3jc1rcpU9C+YSmcqGNaeRoAPXUKWnH4op/m+wTBz72Osb34u9aukBGFi8ezZKrZ7hga2MneGVr8OakUXb05ej4uUpF3ojPTdYjbSuQqXb+InTuqX228dS/BjT8Abk6+OK4qOxVxhpinbigag1MlSa1W6gfzRO7Q54lcl4Vm6mIUq/7eQxRDBjBx/G8xZt8di8D3HZlz8mwlGSbQ6jIJ7r1IEQqfoqlNnZuKTUObjCmby8ofxSM5nOMB891i0q6h6jF0EEeptnM9QnSd66gj3MNoBOY0F8NGuK4gckxBd2ETp8Uy2kS62Ys9xWOKWVo3/cDYG6jvyu+LKdr7RusrYpPgyDOG79MJ3od2YWAX53O42vLI5EThYb6otd8vxylHVszqXcAM/l8MxiQg9KGpQAR8Curz68acSoMLmNFoTOLitbgJWq1gG2S1oKuIznXRrqZaa0Oq52K2shRukY4aIFwWYmMAEuGTnHYJre2uS8cgyh+FhwlY+35JDpOFMhnv/HnKcC2uv5VykIipo0mrUflr5NbJBn8B5q7qZmv55DMIE7dD1Pvae78FweeS5mrCIr2Q3taSRoD5b3mKd5lBhPJtret8tLpUU/3G2zmEtgHI9mzyryg9Nff/ypXZdPUEKtw3bVk5zjOHIi3gV0c3M5crDB7kqdLBelAGfz9+oPFzJH3Zslz2YGNyPI8Mwimm9WgVr0MwkRRF4/Xih/1WaRrb+w9F4NAmre0Ls1gqyNprt9SxQPNjwaceY/YNWKbQrYENWHieK9st3HHR7Mb6J+vVspyurxk0Lc3DciiaX2cLwzuSz1aNZhIEOzUERLWdK37Zmly95xISeUBGZykk9hhBXPOPPNIcN74VxT2wJ6YPYPSpud/aEpVJhLwkRAH9OqPXeZyDo2/W9NwgB3LI8lCm9pymcRtNZ0mllFy9IflCN4kJWzP4hHF0dSQm4QKtbpDCoaZC16XhMMDbp9cM0ENp+wA8JIR8LoF1E4maXVP41/mUBMKHVAR1ZLivVQe7YzChbvOlkfscTVS85DXgDa1pjDp7d3gppOUKjOt3An2yw1iGOrP/FW98a/dJqgo5vHuFtlpKD8qrpglbD5sMaif1UyqTIppzZI5L87bN9MMg4+OLbBB/OStYmrmpfuVsus7N7RlzkbWH7Bw2sdDglPnJEim17Hn3P132jYw3pUYzZL6AV1ro5QwQWU6srmbHiz6PnZ14FdWeNHv1uDHxzoTXAUkkyGDcX1DjCQLkZRu1OtOpCR3Yoho8eI6Y2R48liDXTYv5iS+VAIAyYBvdh8w7x7sEr0qqv1YrE/582e5fWiKll85fg6oV6g4fALLU9l0VtJ/FTVvDTLNQD3Yik0z7VOecLXzHKCpnXbx1MNTs/tVwKEj7XSlXHCiRz7VE7QBH3PklCt0iWx+LQhEJAUnPy0SYeAyDrti2kNOz3VqCcTDbOv5r8HMz0XTTQcdUraOldSNxZtfyqIVNmI2Q7IUdkYE7kX0xKFjaeAH9ce7Yk5jA/QfgYleEtDhTr0/NyBNE6fC9jpObtnPigl2P8niZirazhVvMHFM+pbBcpljIU+/HtJS5yNal/AUHR9HEml4i2wumRFwjie3gxls3DO+dLpK5dKjRd/jJKlaPZpBQ9nhGPr6XCX2Xd3eV6Gu31qZ5j9tnLsKL8sfzIht1nLs/cwBcJDqiOfeLfhwubsm0QDozf7TdpV3FLmz+cZFhDtS07LLwQ8Z6f2isZLS2/y8sK/K/Dd/ct51Y/7/PF0q8Frc6n3ajzcTyoJeltZ7ugdn3R2Eemj2iRK1inHH8JpwzgHwb52vZE3acJXu8O3gOl84Wv0ws0RonVSeiD29XHX5gwRNTe7P/1V7aErKbxZl3IIv+R+0E1pjUUI4esoPWmooEfC297+CDzI/PKC15iEgxkoOXQerYy7yBlwZ1XTOw4z87kfWSbB5KnThXzI5T44LPuKlvg4L0o6AYxOWqr9P8kz7YdRVXi6KPCdcD/eH4AHhLJOwnMJr4HCCbdK2swwRC+i6Na5bFCq5zxdY7czgP9vKgCRMxmNX6qhFIj8JbeVJXT16eRkgFg426FcBwxvLoMsu2SAV/8icnYppkcWFIMEq0q7QWdeGXXyk7XxOAyBU2WI5lxJmoAS0KWN6MwceiQQhhXQCA9yXKlr4EwDiMa3ijr9frEO47WyEWTUiXlvZIm9lwZcegMJNW1VRin/dRCpP8MNq/E9Tam/UsPYsOFrS0orjORpk+Ku5JAUZm+Qe0FmNDFnlud0JddAVxSl0zM/I9cSk3/dxZic4fkHIgN+x3zgQNwOLIA+zlIPHdFHBlKhxJGhtEz0FgPfUAFIlseYGsZ3MAoQtbb6Bjf5ULylCryQQ4lwuw8uWqoRwJAt44doVeLILUYgKUwfJagNUPJ3JpjMskvaTYZCEgt1v/3YRDvbBteFTf6raZcerDZc3XDyeLQxBogdlrOCAgCXNvZUjtbtFloxNDlNx5FqEbeacIkM5SSqRd8b1sDf8n8Y0pCR8kfrDeA4PzRYF5eMpo7FVQ6AaLTsxUT4XhWnsI5dKk1uRFpXml9PMA8lXS1yXrDpXmtgdtqgPdVw7ahi+XJtT1K+FYj0rOo8Le3zAbHRmeUvFXt1qQ5lPOcfYUv+dgpKbUcOJbeSDqRx5GY5AymmiKgTVlMIBSTYlPuT93p7qg4E5wCOWd0D7UIpNJBQu4HAJK3dXjXAGE3O1oB1U1pMhMepxw9O4BI/rBtSaYOkO+gRtu5CKGi+zZ6WUN6mfRWDcQD9scZp4O1rN2BgIU9KOG6LXEYhz8SoxxhIUJkhPjF9nSNYYGlF4YCE/itX3YL3MgQEvYyBfi3V/jkQ2PsuRaHe/5UxDdqckphrW4TGfSILPhPwOFVHp/PUDP/a9I+MqI1vOcR06hmOHbZyThsDhR/EleEptDte9+ijfN5Ppcyfpt10tt0NORQzc2XKycBaoNBSOw5owhInghrp57grj0JEEx9bcs/8xu7Q10sUO88HBrBvWmBZRTKKsnNI3F2Usb8tnezj+m3eqx6bWVbDy+PlNUuxGfOw8rqlIK4lg0y+OtcRQ0BdL5vEtzdGyagX8YYHwT34jchhDkJt+JvxcGj1hNv16ZTpWrez6xnyeeobyV6GP/7S3LQrV2lnqk5S3E6GBhSro42nwdIiQVjBmPXBNF43f/naWuQ4q9fttah3+yWWhbq7SslMxZRgkDlRD+RZiY8PkQ36cZyUM/L2Zxcnto3p5LZ57oPKCWVnNpuaSsk5KbkXYfIOahu/H5CWjS5iIhsOIinkjBjwFlXLGUhFjIQQJ1zgD35BVm5nNqXOhuy0frvKsHJsUNeapkPA/+NbTC3sCV85AwmnbXT5CxNkjnrcZjDDVBQyoPe+3rb01SXeUAZdTiHApFUka2bBVuYwSmovkwVs1hXtlUUhhTvoL6woZj99priqkuBos3T1evQ0SL9ywUQYob2WVirmXzE5Kl7r3NhTXZ6rQHdKygoiFCIy/41DO/gpip04+GWGJcyDdHd2HoE6y7C4HJgopQY3FWfwSsvBszN7G3MgaInNs/hgd7rC+STzYNXtdhsnwnVPe9A8oQwRymHR/eG/vEuwNiG6m25oQl4CEMNzXWTLyYewdKwO525KMNhz5AlMyN946vPeDba4w9q/zGfttOVOtUxW3sMsPYyvIRgzMSSAwyyNCkYvC5l0tt2bR21h5vC908QhmqhMPkT+4HmwnGTB20zuP3nekPiaFSHky+NzqP/DW4TBBY3pOOfdI83myfTdpWZntyuJ6kU+jkTzCaE/FDORKToztnWhDII1FdMbn9ID4koafmxENQ86hQAEEuH2L4WrntY625+sDUD/qMw+BrF3ay5rqu6nI7D+aaq5iERmrY2eyLMWy4WMvzocQQdYDJHdOsa5VC3ASitrWSHIj2uzRG74gcl7GhKYCL+rhtF1MqJUOdBSY/HMYHVrh78G1JvoClnEYGB1bw/nA3TeSTLjjOC2GSRUg8nQnFm2R5hmUHii5TMvxWuVLSusyGsljh1enFcM2XyGwrADIOuca76oWtvAiOZR19rmUOu6WcGuILr50DMiBew400DaEBMpOkdKSvqAAw6UAmTgmzlJu8ZUtzazIEGs/GdOIro3uoJKQ9jfvss0SsSvQke8YlZ8wT9MgicaM5Y6fMQqliX9vevLK2ezkaMbUDYLDgI973lPh927hfmRkaXaoJsI/eYtSF1LvjDK3Ma9KxJRHVgJC3lZrEssA2vGAuk2Y+WgjbU5AZugnIkf+1JBjjyIEFgvHW6lGBP5pqVeOjX26p+p3h/V2XBdefwRYcdi/4tsy8psRnmues4WsSKwEW/jH0psOPkF86/EOE9fqMBg8OBVPIybTyPE8SBd0IvuNXfYCM8Z4CkiWqs9kid78OynN3HV6nw8CybJD0+NqCpwD9GsfT+seBCxtNjhpr4tJRzWERGFfyGF60iDmvsfLirFtyo8DXbra1VvB5n8Ny/arq4/XCNvpZNuW/Jj3+Xy+KKTt082jg8M8BY0mWq6V5rFAEtSLEc4RM+LqA/0X9ycwkrCYyV5BFMyuKmi3joTUYUQhwcC9NBXf2qrZpZjtzHGT7aXv0FFPOX4kmiko+JsInox8Ph14pLbTce3S7vE+zdi8jHB4SauQl6H6l+qWg/M9KrKl4EPC2PTEuN7ab7GelO7jhMjHgUIME/TYcqVY25fS80mrwSFE/9sKTRI2GIFD+3dY1V9w1L4AQE4xF3lK4234W0h9Jj4b8ioJJDtZy1yH+HBabnd823zOe52DheS717Kg8v7UuSsm+IACOaQLj6Lqp+OdYDkdF+AYSgtpT1e3bgkaLVZw3EmYxFhAQ/9JvVJWpbrLTZ34pVLzFhXSNJf6lc+4ieEY8QJr8PBn/nTsUqS16Q3AD4r62QuLbDeOPFNI52DHZdXQHLOjr0XLjuqyXzkhi9HU/9dFJbW3C3lSCUofNT9ps4NyKFmDQRzNRCxhXT6BnSj45v+bEG6eb9h0IBA9F8CxXB/3GkWxnTMsTydmqV3PmYmNen5XzCtl0SorkmkP94SRfy3mRt2hJcJDPt5FZRdcXYdpfJ8rcuHfVTZTWi2ftC2MJixB/wx2L7Br+JKip1Ar6TW7ShLSGXu6tYKHOddwdAOvNgIw7XrBnoQIAamZWRu2/xhhWoIZ4Cu2XnLGKzjkURGz73LG2/11v1dP4wjlfvOTIpgp4GyiSIFXgkNmnfb7f+bRyAF//XDYVZKBph+Q3I6ixSvwWIZo3Uwp2H/oNEZeBeTSf+Q7Mu5QhYMMW3IoT+zVClyBXX6DoUHH+0NZqUdaUxVADWNoqa0ZdA58sClLfh/aKxqeaw50DNb33ltzRsJiH42ejv33awsUP4yn0vjo5kRSZK2wp29ab921gy2iEEWv+BZMP9vSgotisJuYkzSC9Q6qiv+TVDqrpY4JH4e8Dvl1E5CvgszDepyb65ug2E3yhljpsDVSnrt6L9NhY5inaZsrmDNcw4lxezy+850LZUBkT/2lJ9lYjBXHfNKUtAP1ezMzGY6CgvF/R8cIGP4xQi/xRiBdbpx1w0+eBwWyhARsMpww5zSkvyJUG5lFgnOONbsdDRZdOhqDCoPcDqDgXS3WzILbVQdsZasCGKRZzBXy4nP+5dBkegp5lV3MEGeto0puJ8kY5QGB1G2K1eN50zltMJIXf/sTTMwpB6XQwikKrG9oFn9ZFffOH1V4AThMQZKp/P6bCwMXGilqC0RZvWTQER7Ud9XAOvYQ5YtyFzI0IItp0ENlmiwjFH6mGQhjsHsl1OyBlA2uIfpdm06lp2rkNXeH9f8j8qITuLFu0b4rIFiQ+Q4Tuk/+y9J0InSwSSaeM0sReWfQ8KXxbOBM8Ke9/PgbJvc9EfrErfAbTcqIP5s2O/vLnXr/QAglxIz+gM/buEZtolCSyJDuLGiMyix55sXsvUZK+2fNSnvUOd6q/OIPp7zmqIPBt3D5fcnydR2rWKl31EaEUDGk1hFtneK+7jVT9dvNTXe5DsVPUFK9GDRjuw0udiJmuIvvUnGUWhL6MSAdK7Rtwhidk5dsBlkWxO1Mr3IJHHnbokseTIzZibxTy1iD3ZWa79DXjh1aZvySOKY17Tvo3nUhwV04ZKPwDw3USZAlkX+SNRl6A9uQDmgWgfHLe4r5sPPfLAlY7945fLkqIoOFmMjSKThhghV/uF2XV6u40y1cAyAtIIejmEhAT0NY2pxGJWM43VBz/HuVLnMYYO22LdIhTUK6azO71QnPTV/Jn0Vzw2yjSNFwPvYfRET63/YYRfTvv6qB6W4IXu20fdheKJFm78Mlz2YCrbkgnFuoj1QwiBjyq4eh5ejZXdW/idSJXu0c+VBP1dGsUAXpzhUd+8Ul5tVmljmG5291fCPx+T3nvEtv3Pnfala0H4UgFp1HhPBLPPHp1BD0FiakE/MfBBwg7YCyEHl2zClRRctY3gPR1F+NR9cG4ySQMcLnYvtUlyJoBJMv41YNFW27h1JQQ3gQASe1SKxqm2dUBenqCd12XmnwR49IIPM550yhjM9SC2kiI70sigaq/mYTmnzRQ8JW1yPVwv3wvVhNM6C2djps9WxgNIkYF+9F81o9eZQg4myYGQCPmaUMAAQglMPG9aHtf+jMviEDEVZnvRgodpqPk46YwXLsW09c8EQJVYfvYFc2qZHaienaqLqjvOwvsdXX8BFARJcV1+XctJhx9BfXS2XyyVQq3rEBjMWH8z8ptBAWw9fBCDdaGK5Gd51kerrjsKpVNYZ+ysb89h47BPA63l0EcyAzTl2NH/TSin0lpW04/h9s1zwla2eu/hdIWEuxLxatR3NTrEclUcdFFHSog8VHTmbeg5J1bYyDThp+sjLaAPh/g5+70bv9Xf3nPcHuPQOuiApKvoI8/68z2NYai4e3OT4J4KSk4Fln7JopRiLwuhXz2wFh6Rf0ml3m4mmmUd5eDCsbp5TCHn5VJ251SybEXtbmeUXlW80PEZhpYXHA/3OAYRfWPSD8yjBuLtfC5wMVSEJSmsSLWUVQNRCiaxq1KbWg3p7RU6l668SMsunkujVHeCPRZ0QcRHDK9/loSXVFvlx/bv5wLofYVfTmjtrhWRAliQfiJ1VEKLLh//rQWTy7TmjJLCViFFhVvm2VS1Op6PsJxiRMel4aK4zFR2rKnMY6Lhlok0cJc8E6IYFJ/L/cNaxev2DVOen+1tRmzD/6GpgRV+vRBAs6I6insuRQzJ38x3Dm50c+x8YNCzC60TjZdyaIMynI/7NuokOn8P5J6idT0aCu30lS2cHaguczyNhTQWKujOgqMy9BIUwzR8GEvcMjFPDSRrMZlHKyiD0HyMiwsFtgI3f4v98SOXgCSP1kZnrF//ePvV8sDFVrBHtgQ2iCqrNhMBFyyDACDMv2n0/nmLbXwPCUK7hlgxJ2csZInCMwAutmcEPlecUMIT0/WhNqjgaOGwBbD57eUfCH0MH/GjLFcKUV8IYPMLz0h/EQXyN93kALmMNbhCezoo9dWmb+G3ADI5hHVRD8kqCCGhDHUdFoxYOKcSXvgWaHYomp82EL9pDk97qrJXWm2r3LkmpBR2Ko7rX89GL+4swvKNUOPp9k9eVEUuf3hLH+bu6wfE7arRLLhoiM9w7QOJHV5gdgzXLiholZEUyJ5bMsbdruJsangNpnEQTFLRYGWL6UPv/QSErzDEsqs/+h6OdS9D0VQGYXbODJBHt0hnNrYcBi/dJeJvn6Be3vC9VWaI+EFR8Pj573zfNNNV09Mr8brW9EnpaqSDsvcToSncmDSiL5yIIEDj4XWRShEt/VcF/Yk9upnaSZh4MKFDgKmdHUMCQkXPtgq7qYSvwhuoST9Cr0WvNxzEGInHuaSwCQcTcS+6a52uoxA+/fefTtWyqC4J/w686TtMGansizmc9nEq1U82kD5qDJS/LlVbCqgZgzo5Fwb9iDqfqamZ9EKhatbqwheB9H+QTGQpPwL3mEONjhtku+HvfDPhqAK7SdpFP1gEyWweIkHxWVlgYV4F5KFgSX5+Y5Wapvpl64rRSCTdGmGMH6fmGtqbEaWzyNcLvZ/5uD3ExTBMEOqdVesfMzMgekcgzk5wMwMGaJR4W3BuRn/oH+y0F3qQPvk0/GNMqzux44PUjiJeIn3MPYtw3lqtWKVi7Y5hzq3pFegVhowI45idZKzsnreDEbOTJtX/HDdwEXVFwkKU2mgj9KrylW3sw0D+DctKFpee8nRYChC6eT/6ZDHpLgqWa+z2vIryaD1WPBjMZaiD7BUolCcz7AafDoXstsm1yL+wSSbAnEQUWaikMQcOb/ODnl7NJI30dLuRftjEKHxh944p4acgLczOU4TqwVig5Ni0mx1gmPoRPiYQsPoRwu0ciQZOeZskQhKx7yuS2kBYQPHGiwoE4H+kon1+59qzhss57gc9Z2z83FKHPBQOIzM6MjcZZJgeO683qlrsugoSc40lgvVQ3boeFQi8v4Wdypmy4rqn7mX9I+PCWwkmTJE8yxRHhh0KMsBKH8fFul/nkRF8n3DQEKzQDaS41MTFFd/kMZu/uIzFpSkfE40djzJ7xPaEY3gFYgMCUqDN2pWFiFKa4cB4egPWM2q2L3dI3uJKvAuepI044CEdY4F91vsUMy1lEV8W6oNwjNMJonry3PPZTvIzdbe2WBdboAueRCkMAzVxOp7xOd6o7FKLCU5P5tnoRaZaKZWc1IA8rJrQWJrVJ6LQ2LNnCJeaUy5wZmfLTXo7uErvfCN8MR4NCKGMSl0VgsyxEpEjGr3ysPQ2pwo9mbNUDjHDpcBsdPCHPKGWYZLjg821N9AmaZAMKD6jPvUnuteJ/fSWwQxi0Bgcu66k4jQ2fQlqoZRej/4+U3bvW7ZEVpyQkVpEb6GX6WuTfhk2me6+2fTd0IYXRxt6j9IgQQQjVMvyYLEwwydCqk0xi9JJxs+NNix1cgeAUiPba85W5yN0KHmM/WV3ghdNl0hDqZZaYMQwixS1PtRZ2i9uWCU0E6NWOxGc+3HmY0Rq2l95VP8CBQIlxZ8Tj+LWX3du1ugu5MSEYtLdtgnr+MWQz22J8EB7XJ8pxAfrle1VPAkGmjea/EE1mjmLtdLYGurQvfWPAQxE5LWk2kDR+IVlDGRtAvjvPB165ujJaZ6zpxbR36Z+5G2nm7dz1eMzhAWQhKL9ri82jp8ukTvU99ITrqITWt5giTMTHiuFzDNhsoSlK28iKrKjLQ25mepizAHWCvjGWEtRGZg88ASQfBAjt7e9d8R6GHkzkDQg6dF4GD2yX0bAuI4y2FGunhE+dPsTsQckCH1cRUmjSva5JU2iXlhoPNrhdAFKfmQL0M3YqvD8nWiVD3sXxLZFL8fF4khdEwEvIbZBzKOYJsxkk8BospRilbMPVOgKkXTf9QyOCZoSA6qXGQvxqAoUrb+CVIvEVTHdLJmSVh9VDbzKcb8ASzHHcmmNspeldxwgamZB7IcSGBJeceHwssStfQfMDmgteeK3zY8sisSRJI2QXirvNg9I372RJaCtK/Ct8dzkIBzs4jLTMu0jiFYoHEcgM83f3fPX05BQuddj6wFINmRPizSMYlY0qwmIG/wcEpa2Jt/aTy5odWn/ps7FH0oBVNhQ3P5lDzfkvEOG200dJ7AFQuJBvo8/RZ1uuz7akzfbabFXdeURd+oZjnAx22NSFDuFfQbwtsdP+Vtz5VDp+oZetMEaZckky9JPWIge3ZR2RyeTK2WamCOHtSjFGn7lk21u7g3MKO0KjWu5Qu+oZ2LSGOvI7tOHCFMlRaXpozFXl3ESuJbDasIyz3UuH7+PeG3lAI7KR0+AAj/320k8gtz7085obcCyldi3LhMzIjBcWxZdb4TqxBMyagn2780Aieq9Zd46zGkrht60B5OxH5Dmh5MuEJkcKtcqSdvp+4e0r5boSimZv6Xnyq6cMDi+EzwoQ7ZjE/AKHzOjMVzOkWa4omQR9AgUl1ruvaOqpRmI1AQQpTB5OV7vbg3ZW8lVOMmuKvE9comiNGHMcFYnt0pa4xe3tYVSSsCdcAUO/Nxly8EMS+r35m8Z8ItOeZ9QI5hgAhhK+U7RCnlUsTSeFF+KLOb3VCQNJ8sXr2ZT6FjlzvpLnpDNP7hcm/r38R9cw6wxGWfl3pYvA9lFbUhbHu/TBhDrgArI4d+hDWZU9OGTs8VSfCOaEPO28p9O+bNNdYgukea5MtoKZizj76PIhWhsaShJi2e6TN+bVIlJIpqFTmN50M65wqxj7nREA3qrR2eRYGvn1NN6PWlvZWxc6ZAl5FpJoObkyZnkJyhcB67ETT5EK47t8Jc/Y+0ZfBIWonvnN/x80GQmKU0BbFAah4Q8qLhX+yqrcJzSDjLFVBRW8+lGkvCPSEU8UmSmpRt6TJfpcJgWBJ3H7xfqGEjEXBo4gQje1CTploUILK/ahuizTGlqYDhhxPSWcm0chjHkbKj1Of4wjN7YBESpOOwJpxmAWd0i3opdB2gwsaWBNh7jShrtAGY3CPsVGiD7778BL1u24mWfpql1BJZ8RlMz/2MSNrKQAqosAwV1l5Hljk8ZixJ6+ze9q6gVvQg8MH1Z7MP52SyZlMltSJ7SgR0KVP4hn3Ldqjt7WVVA00/0zDNqJ+cYZOkEtXJP4cCBt2z+mbcgNUWuExN28C64nE7+OMUL2TRhzkgzJJ//3u6gleUZwxhh3gPjosHIlCJVrZnmS7bUwrLaeaVUjSi7vDnbVAzS0ORd+ykFtAD+fMT/CKpCHI1oeTEDSzZjD/B5qnL7KoRiJIN0quAP7vcHee1m46t23nJLZ1EcVrym+P0z117rjV6YFVks+/GmixRWk2mMmhx2WT1QEmWYV19rZ6dyVDvM1BH0fRfNQK2UaWfiJzriKpOjjSrpY//tyiw8IErIgnrLzef8SiI9jxR1ndPbnRRNsgTqJSTy79Lxse4AcjfdYpmJuSA0DdznvsfvM0HHlwLmxt6bk7xf2m3TDxllpxXufsl4+dCUPH1qIcw3vycn2SEAjreK3RU+k7IlUogZ1krmWpPpQMlCv8+3OR95QEnu+K7Hg5B/6OMW6pGi6NcscpRsIdFtPCkU9AZ2A82X5VKuOGEjOcY1e+JBoCr3vN/hueD39ApyS5xrGkXdaLSn/u2bSaC/V83rrXOITWrpm9B+TCu97TSxGvK7pLyfmFErlRcENLtIm49Qy59JsfIt1wGG2eUX//mO9etaAQgdck7dNVh0l9zg0+pzbHR4kTehERuCoX7fNkDGSvzsEDRtfS4gx/AaWazzrInWDPQVPcMUWHiO/DLLpL9NziGnxTbqbxN9un1DbJnIan5+QI7X2g/x0hWDQW/X0DYf9SUGcvM8KDNsh+sZSQBbUsOOfWpFrXMHR/XrLG4G6bb4TWWvgKicE4fdHjAnLsmAEn32A4kplRSzNyRIRi254MqwR2QVQRfMy/IAY5xTA3xC3nTaaNT4QxjHDtd+gf3T9LfVu3vpr6v1+HGaGj4OnbVp+kswnFuJwLV1wBbaZMGlqkNJhPgWru9CLh32jABZIWzH6wsADi+SdfJUaNC2NsuOYT8Ax3nu0hy/beJNwk87qWJGX5y264lxjzR1vgMOGuDQguF3eidDAaQomHVEiBJ3RgckkkTCtR+vkufAlrT8XWGwFMPAVg0W5Eqk1Ak43En1zrQOyS2EB4NcZQ9taQeSlXwIMDMwuEsgdnfjhmCEcficA9jY5URhCrWMDxQCnVIrWXdeRCAiH3CgMeL+OleO+b91ANmXp4M3LiU1d/iOZu70Z+BHbqt2jEpfgPK5vW2OKwlmOgS0JvmUjPm97yw+qKoz5D7M0/KFzP0Kt0HC3W4d6Lo0erz3I8nsCy1d75/H8rI3aHFgSr9OPi9XXKLOzdlYMYbdqwU1e5c9ZYji0AM82Ub4Y59czD1xCGV1J6tdBlOxYpAAoSL8Liz0hOt/ip1iPcgwJVFPRxn1OQCOG3xBeosb/gvvXt0XRTBlEVUeCk5qoS25/XvLaVswn5+gPgd5VWBkb/FfkbkgGu4VAQAEMjNuLKMyqweUq7cVmu11qhzynrTEUN8SpR52eZoH+JsVbLQe0KrNJQTTIjLqM+wmGbCNkNOxwhW271jQjP8wab5Xe6vbZ4IIhwu2NJuZnneMKp+jMk9pGvKxIBg5dgntKB84QngTT/sAXpj/NlR+4QQynxb+gRQIBxXCle+TCps0LHO4aNPl7Pus3jMy4I+oUvQO1quq+4ltV49BJJN8AwxQuaRZ4ySCbDRTIPCrc+9yCTXcFlkDFMIFvgXWLsMHBBIJu0IDbZAKbSeEFeWtpu5p1QniTKUMtPUwN4S/iGs6J+Vi9H96ynFzyUsXFLl6lfCtFMPwHKhJo532C6+xAzin2lQlH7VmVeHVlam9zmil22LwvZShz9DQNM+KdmtkhhOykVfpw/icr2XUKB4+6Q7ZHooDfbkcuHaaBBJwLyvQAVzQRdf2UkBoerkCdARwPBXyFfiQjJcvYBMU+7G0S+zh3kDKIcrMHVWvyyY3+Hr957wMxPlWu55N4mPHp+/bnB52nAhOyKI4rSMWG0m+97jLunVz+9RcxmG3jERzuUiMtrDNTkj8KhM5wTw5BoOuWbSbSVcEBPQipyS20iHITCglCw69x1RO7M/rKe6AW6Sz66Np8PuqXYyVEG5j+RPIkXYzQYc+Sr3Tynhax5NTOBF1lYbK9Q9/9gRVZMwlaAHOAYKrr24sUu51yxMQGGZc29tu/z8jszne2nBrfjKOcSJT1nxzbLfxIn9ta56uP4PSsiebxrfjkDGpf0mueG8FiIfD0rYQC2BxKHsLkLJ+UKfGVpQ9c19G1rT4PwYmDBAm+EBREWu9eOcOBn+DIJBBdcIoj8WLTLCRVOBUBzip2OddkRqKV7UA9SsQGRpVKnoj1EnlyebYApPwLpYtBg+p5087qAvaSJPtQxcXKjGs+TCqFnWhEd1YUhtmBM8JAlj8MatBTeVYrXcT+/4n5NX9ULgOREq+DtdpBR1lGEulWXCpv81bPhDNcjHv6hu5N8kfjnd+ii/wzgXNm96+W/lc+8q1Um0ztOxb04gD45wqaf+r8dRoG5JKM1bBMngachhPwfXamcH+hvkS296UnQgumQF9UAS/0N//XKzzHOYWu4ieTh2k+NXr3Ml1WTp0yaMSQ4xsixYybfN4cfHV57GN1oFpjBNB+gnfDqbcpJus5/BQhKgk2nHcZ+RVh0OYBYZJvCUANXKa3KU5ry7X4h1j6WiDV0CQ00RKmRmsQqo7eSTliWjNAXWr5zMp9vg6Ky+TSwiv0FSifc2hhbU9ifKXHVz/wocbf7hcMyOSVzs/Gg/D5h12kWjXDesG3oPf4PuQqWq7ZGoTmg3DC5nFzxSYEzTCHAnplfeQYziLybZ8k9luR1YIM+XgUzaKQuIphiHBKAUE9Gq3Rk/r/L9i+L2wJZROaM47fpUhB1ZD2Y69zWrBYMP1OZtYDdIaFVx40qahzAgGp4johvHsgakQ0IkOHu7dRqYmah58FU8OR4mhCoiZOYjysjWQ/BbGfKWrXhxNxXOopzT2CO/4vgrkOGjDGWrhiStD57UEdJ0hTvWh2/ds+2BMsXF0B7RRJ6/qybyEUmZq4edAAdg/fowegR0Se03H3tsL2JsYv7RwJ5xld5AfQpQ7o/o1gnz5BM9cl3kKxr11wEvbBHiee6P8d6X3y6QPDc9uzZzgHMmOU8wq2cM1ULfQ21ux4tJt2kVDVaQFrFV5z7uMAMXoQTqL5McEdClIUql52d51p583mKHTTDtcK29Y/gPqtIME9Q/3Gdo7vi3FW6J6AsBCA54EVIwMuNdrMsWD4ti3xHPQwsGC6MuoXVxUJ+baoumOWFPjy0vlUw0oXYJUQWgm7NyLZsdF0nPHpsbN8m3QU0PrDiWxizv6Vw9fSvM0mDFXUVYvNqN4jh/wzLC3pYodXcJpVryolOx7Cxc9j48m+CMS8hisaz/2igMCOgDbALeG1pTZG+t4VcKjzEJLjsZVI3y4CjdoXNOb13HZ7teipfd6Q0MqI1ckzwfuiF+gPC48d2GGhC42aiqE9o8Haq2SMtidHlhOCUIPM9kIBFl8eGHP61BK1mnYRhlqk4xWkCEZJU4IkGMQgyxOmfxmXkpZMsDMVauQX4SYWAMxksODIeUDOaEfAPRkKhX7c1FWInqv55qIeGsgeqIKmxYPMRhhIjsy+eL06IPxq3fge//FiLKnU2PjauNumQwH6PypSSRBpQ4eEu7SywguR4L2OOVnrF/EiNWKckGr4czG4eFmks3wrg6uqAQKVIOHpJ2b//9/C1Nms6iD12hU5Eyhhh4ffPaIwH8ts/85GdIO53Ujo6lAZxWLO51EWUUXE83nV/+4opCBBYBj0qf6bRlDi9bnQ5sKDoS4LA7xdDVI5NHrSkxh0uoQyAcO+dwOIaDUlQRlFw7roc+tuFw3WFt5p+CACwvx87vMtdoV86sM1dxcrlCs6xvRdRSeTKxxKWAv+I1ZKibBtRXhxhOQrSF3d7oAoJuNgCNX/4KU/e+WMXDRKaXab58buc+RErPkhybw+m8zWobHqtLG8cmKX3d+XfKtvq8OmmGqDDn6mau0ZcNW9prvCe6fdya08OubXh+BJ92UuUlTc5RmZd57b0WVAttJTjEE54mHzcYrdtq3uLJ7q6cAkCwwSkq9OLTJbGYHyc//CWvb3nf96hI/XQcKTYWnKeukMhK1v1ElIiA9LTYMO62mFx5pLZMr9e9zq/ffGNVnt5Um2cGAH0Z3icfr+hipocPLGayWJaa2HyhNqR5IUEWgplbo5RhbxhkZvhL92wYRVYvbNxYhIg1aD27M06dFiEo2rM/QLHBOSw1HGt3iI1V3os5j7fqQZfTSGzLrGXGWoH+zCJDWZrV46+5aPY7IVlM6fHKQaLUa9+QkE2PenDhmOfAd6PGDLVCJVQAO99gFR+jfH6XQQKeh/MaCmsM5sIZMdJzRkAt9w0IJgNuFmBCNnHrBngE0Ur6/iHtdZh1unn07LO5VAF/6iqAnx9zKLVDtWdNbnVPUrlQVFnTnM+yBUdvb4DhFQKAbEJr04zUCOmnAKnheJFRphaOJ/wLRVq0SN+TfPqB/ZiCF46cps3dXKh9PmOBsxMdKZ1LV097XY+uiFl9GS5easgwBMxU8TPuNOCQzK1/Wl23E7WfbzwtPBrGUIO7wO5zPweTKrySbxzuU0r9PWshJKvFYuMKTV0f5B/El+6sYp5wxTddfM8ArjpvbYsnkHrzwDPis0BuP3ROzM5VR0rLRdnKFHLzlwq0HXVj2SlxbpgJlLbf0F8HQUz2tkSaJrViLLEKZ+nwZ1AGatO9PAFL+LihFij3vMXzJQjKytnUbuDINdebjruocc3ADey8lesqAuwou9cMR/89f01oWPTXia8a6xqVvr7dZfwIuCeMe6W9LUkwXYpsDzFETihO/ZbC2BrfUG+a1/of3duF3NLMBJGNYJJ+Pe/X6bzfdPfMroSqLskFdOHapm0PO96knp88jL6Cw59eBTdLIfBEKp0q5eOnF9S1B9iEtYwzVLHps2kGbCSjBUXMIgksSiu4WHEgokh2VaxCR5nbtIo5MiQ9X8dVmQ6n1wpu7kWSIeaFpEwwN03OuHQKgLn5+YD9O/eCA5x2IPDv9hABJOzxil2tsPBFELR/+I0SFtutzWjBDVqVdz6+NIhe3gRahBape3cE7OQ/Tt/bkDtsQGDqeUdY/WNYQ+VuUZyraaxJZGnz1892LwticQ2Y1alyt/8Qm/VQr3Nx9AyG6dmSoBG9cInoH3KgZDAvISMVO0b4NsmVxoOcn48SKdAS3O3ZFvVb/yrrgigw1eVzdHjPptzvFrjIzkC8+x9LnVzJxhpbKG689oi1KeAMsvE/E0GhNE0YTfUaL7M+MkeI0vMy99A4rT1TUV06FYXmqe2kurU8OynHzH8BDICGEdmTNzUQncTmb0/kzl15Nw7gOYZtbXlm+cF31l/BbIPD5cKItpKvs2V4TBvB9lgaAG3Aj1R7bSHnbxKjEmWKidz5Jodys5NP9g4xmeeXBWdEAtwNm7c/PgAI4uoyC/661a9rPBUJmXDLHHhJpVfhFawko5uQWApE9clNS2OPBgcMeWbGtsssdcTidkZCRbML8sX/3Zw1eLFz+3mHlmu0eSALBQtHhIGQmc069JllbcIC9MLaUlIlbcufRhUgul5u3GPID5+/5ZuyA3VeL52zN9xfXOZwyq3AobDRLX7s0OzAAoyq7yABoJzsSb6BH0tu18NcMbUNinZxh4Sz5m9fWvXkUaS7bSH9vD7j3fCm8TZccAdUY0qtR3BMdl/JkUCTgSP5PmGcNhjODenrh6MTE0G/XvzXaDu0hTNzOgcjC0DfB6jAZl+hc+2sZA7JW7AnSJrjYzaISU2HT+oY4VbVE/7NQ/JGLB2FCL1p4BOJ1HS0yLHbalIwLRfL7AlBcZd55gS0r6qdMArUudaNUw+YhPiZwJiKdbimItPO1eh8fU0NiwbYfu3qfhkmF1Oh1kZ2kauuCk5SCSY+V6GK2Xzr9v007FT2eCWKxHoJw9BQd6SZg7Zf8PU/qf7OZS1qjrqjYz7EaA8vJ1ohGDFAmg/de6nGwJnLRuNQEI4iwIJqu1MTAiSAuJdA6cGAd7dCYfNW4saSvn0cAhKxxdoYYtuEmd4WbemFF0BbBrSnYpz2EU9RKMCgB+1AzS9ybXyT1m+NSqcOBr++k8I3ZX/0+zmH392Z5KdQKGb3WeKZdBPOPloPiBGWIfj1okPwZVpZR7Fxc95ZJ+rezFJjtYi12w83+9tbWQaLG5F/l6X5tpzgxMErh0hq8YbSiehEGa9dXw5T01QOwBoojsyRVKtjpZCFBVkuNdcLyVgVItyCPwfcNJQwi9frzoSu/MdNRWrYaPpU8L3KZYiRpNK5YxjZvav3t3K/9ggoV2tJAdjkoNGRus1Qo4PerO53uia7JFmDlilMQQODiAJTdbRVuQkbW+Kv6hyEt+KGXp80PgtNObGzZCGGoVcuK/rSb3ESYD8V9ZcrMpyMbDT+3+UX4qjhbDnfApDNoLcRruL0X4D6JGyX3AoPsy04g1PplfCUFD9pVOR4rVGfd7veXIr0uVoyNndF8oZ69EJszoGmGzuYVqoZfReo7IMpU2Le/00I+cJkFji/dnW7iaxDFMiyg+qtYfj7FEafXufIb8fb0QTDsGovPC7FmUMP4mC23Xq4hg26MiZbvcKoBouV+n+ABviZZkxdOhTwXj1+QBuahkAdiO9ozB3z5O8GhEUKk4ZGCJJlL0EWjFgSCwcUJo7lz+erzSczwXGn/IjyWVsG/13bw0kNgVfyR91/09swko0i7dNw1eeQPN/5pvBuXnPD/VR2bumt283VSi3WdrEK8eAoJBtKJfILkqrFC8Xns77UBdIliKc1BBKu5peFKZJtsR7MQNP1wEfTxwmodyKum7r6AnwxdgnZ81FrnljIw4pwg7Omiw27a5wgXH1DsWcNh1Ica0TTqgoMbn9Xu8bfKLpnl+srayK5vVo7WqyFI+Kor2/X4eadHoJwYlk4WsPjn0ypvFhupgvaWyGZxSTeQ24rKOv8CURGu6hYw1pW7u0rjgjXkPlDiPCHKceoKZAs9ShC92VEqVkWkZsoWrX2EWUtF+nTrbnOKZiLRimuAPI1tMFqFIO6Ekiob03+Bkh1FGM5kzyYgOk3GVD6qKRlq9ii6lDngHASto0U2JnidVnjJM4zmsHLhbEif2EYGEDahaRXEW4czI1lznknzHAG8L0QNmEFdo0bsIez39VcPmL5C480X0Wd6GqxacFbu+oj40ZAOVk7qNc5MH3tGxnHKzvm1X9tZ1hgPXX7kSgM2jkVhk+UKLVOd55Mtq27qDeO6ulaFRnScQP+ehvbRUACZRThuQQ+tX3j2qB1Vsd9vLStzqLBy8nUkqDUw7pHVtUyz1MYL1xHknkYoz0JQQJ+4Y3Kipell/n+UY1hppmj4hOvdH4s59ZNz91nTrBI0iB0ksCN8hPOMwx88ozEpX11yY711CxjIeE4kdKNpMNBp3HsneIpoM9oUKex0BnzdPJe3gqZ2odqlTJ/R6IYp0YMZ9QQHyPYY+sTErmoRoioFqjQyASGhuLCcUjktJFM1J/5116shBBc/8zb5gVqZDGPisGjt5CifPnwItJpgdIDTy/kPf13lL4apEZLrZl3Om8UhOaRdJVBPMR0+tSUj+sU8u9vhxQ/ZAsE2D+RicduNB11D35AHSQwr4+K+osFp2+Kmm1FQFjDPq9RAW4O1I9M/26HF8uWU9Fb8zSfPeZtxVihaYTi/EIipqLr+ElwK4AuNuXOo4PKJ3k5ciJzEZ6ZFHM2L5EPiwXwbvtNe31FLDxl2SyrLHcEEuyhbLBUVTJi/EOJfr7unhiex08TdDSjv+nF6j55mSJsKIX5N+naDArVmv0Me95KSIjnup+6g4ewbpz0oP0m8XFvzFUesyi047O1UGUTxVyNtjoDuPgW4rMVmRC4Kp+x8NkVMuPi211YzaUSUS2/Xe9jTAVeuYefK8j/k5+v33Ala3K0x5UuwdI7DUUenvAQ8Rel5ntqLBVKH30/6IVDCwutpZjPa8I5AsKIatwsGOlz5K9lXwGODpXeJHZT8UfffA61SrvL35Ww/nxEI9m7KWFdEjiqXwYM96OQ0ccdj3+jDBIlyvhMD9tN6oWIvh9BC21R2xZ0bsH/ZmuTicLMU0rVIRmsmE/0v798T2CKKxlU/NjmPqvm9TsuJuBjtGBsnJCMiXV6Xh/lKSfFWOQmecS1Lg2MaEqpbjAnuaJKKi5GsOHL8c0l53vssC6XuXSqJla5T5JJgkJnjYnWBhX6fICbd78gysCReErkoDBlCm639x6HBF0ZwdwOxi603+4qi8gsYs2SfWLWTRvHJRpu78mDXiOO8DKNIXYtFte1/A8a1ssESaxoQc3RLqDq2iKKNPfDCnX7Y7mLPxxDU2+PbiLofN3QgkB2aDlappie3XkB/TXKl754zKrg0R8Xt2vdUyLzWvn5IaicIb5he9TI+g9VNwXiB3qypepbiBKvG826h5ve2SN3qnRxUXWVe644EGF8XTMw/wjPTbp8ceXrDICqPkbFlG2nea8KcxYhjXghE4QdrMGKUU51AOYdlDkfoe2lOuh0KatTeVZra4IEgeGv0tKmOIRC60o/ffwa/F7zfiWhZSUhcS0JqL9e3zTvKAVZkrvgKE6AUQHTkfWJjn89MDhvhZqbNLfqL5crJSUUWl3bKYEhjKBRHTCSBUzqaX2sU11EelsrXqLZhR8mWbWxQ3rxQ+R2bYMSJ9TLaGm+Y5ngK08KjAEvVWw3fAC3NnZ2iPMjTuAA7QbaonszLglIpmwSy0R/nyG1P5Z6MivJcfcDJgakPc/WoS6J7Q98XZ9ek0fAr6ayT9E79iAvC0iXoXFVQVYeTZHkRXevLwZQqsS+Zg0xnG0/JRSD/GMP+533eXq7AQoPzF3QUq9ddJeRh1Fcky5XySlry3G4PwsY0WG5+IU033HxuRkNGbjNYYHxgZuYjJa37rIIHT+GlSDbCQXGEFXBrCOxIGBssSUhppH6erLAPO3Ox3u7XJA11sorrNLVT3uAP2a2xzHE8kJR0IAu/2DuywHAYMQ60jHG4uA2CeH3rYAwax16PRti7gpK49mUIwmctfRDHxU4OzPyE8gbQrlxmiXbIrQkEy3m+HuLD4xARb+32BWCfJ4Vh4udmQR83A6P5oFARzQ2MK5g3IAT0nO8R4ur2WjWKYL/zQJPadpdLaEx3fiVD0y+/+4LttSrSEXbOHF1vP4FPZDAgsra6/IeHmuQK5W6UDKoCSL7H5waHVtejweLRgSfrLClzqPeVi2BIs0Ff2htRc4i4iYl2mf27Z+9yiGVRlp06RkTcy+Y1w5hpRz+fKrQmtNhARS3/TzCV35iqQMFtAgckfSk0Xhzeksy3EoWkcVmb3RL7s7FbRuD1QDcfxPLMxrQBOLGJSc02wNsWoNpwNdHmz2R9cxZJ/r+RhnCMECl4OCf6KDMb4cu/ZcM/S9z9RwLFA4erDszD+TrRz4xQD09msETa8gW07qOZrtCqKv78x0637Vq4Qt9uIK5ZUe5ggi4jLuZ+9uY6CDRJ620yyMmch251QzKSGldpacFOCjBA4JJq81frRQLQp9rCEZ/nDI5VJtPvKMCdZRQpQNPcrVfCOeVpnYyGMOUu8skJSEa/hlMolnZcwuSpBykmhA40nwfAGvERC7rxAsXpDTFaYxquGdPBFHOWjL8vSFS+/Mdu0GYDJEjujBoowzutzALdvgNyBQHDKz9Rsv9mdNRc+dwsubdF3dQQKxd2q5yFTI80UahWiHh0yN825Ftvn0DaOBMvku8t+CPm6xUnKbldf0LfVBuEHDeOooOg7LSNOFg9+gabXnf7fhXt3TAtoI+PIEWLPnzIAUyIhcu5pMSKr63mnm/BIBZKjVJEqx1VUqWmz1zGaBXJKRdFhwdTrMuPaM3zMEBw1CkEyzEGgUmTVFkcn8r336Cg8Oz0sNhblgGLDJa/I39KHSz4OT5Rk5UjtiJlYrB+jU3YmkF6NWaInbsvgOFT7GYwe7aEeRtW9S4zgkNvfhnyCyF4i8KOG60Rojpghiy0xdHKacp/4maDDG68IIEqVzuQEwojr01HahzMe8sv+XdBQHjCgUnQMNrzZ9k8fak2DjT/tZ7BgfXxvHTrd90JZbpaIlV8WRO91x2m74qDbOUZamE1Y1I+Xtf66i5ueeqod9+lMbkwyPv3YqXAPfRnJlATQOgjEjPu3WkrNUAgWYBmv4+8eW0mukzjpiPyEgNeR3A1HfF+9uf06gtefPsVDMDl+OMz2po8ymBSh0S+zTG4qJ0oCeQXwsu5CmF+y+YKFirm5wqv2yOxuSJioExBjalAaw6Yg2j3s3Rngs3e6GYvP55mPXCD+Za8f6R0kHh+vpGTqxfxAhDf48JndqNJkc5ZbYcdSBwlbRnMIslDEiXwt44eUzjvo1zcDfHGhTUHITQz8uHYaU0KyI8+aDC/vpvjW+U0cYS1H7ErJYnCcyxBnzWATsGSIz9b7bxtB2PPlx+BxWnCsuSsXT3zZBdYBel0Ar/5FKri41YneqtH0QKsXeKz8OaLZtM8bJSk6nBiSa4xB6ZzqJHu7nOmX2UdXS9jrRWqI3xaXgYcFQQlseSgX926G+89w75HxGjQ0VplymhXE9PGok+lV6lcAcXHtrUwIyWDnAgihXDrtcdHmvdu2oeMoYOkskKNXpxQt5xeke7lZGHGiC0H81sUcGA2GSTw+Q48Y4dT+eaHoNuJ2PPhrGzTHa1HErssMP52fYGF91e7zMaZwogxyU4aemKBverl2QncrpJTC8dazS8sZRhy0ckMD8jap88zZv37fj9+1b6KI3tQ18nATRe0NxpC4R+HnFEHGp9a3zNCu/sBdBUMjPwW9y1wLnCyvSUhwd2uqJEUmgS+Fy5/AYQFwl9+tYilMw6aha81Q+lRgAwXO+QBtI+XsLOmDURNOOy7wOhKtzu+2nbgoAGaLp4dpDgx3tqMfJKguEu5Um9FsjtN3HSTDUOCw/Q6mRSGyvJe1D4ROg+Cnb7HH2+iftsmOUYvOLHExZvhpwYi9K8E1jQeTbelUEu/rit/c1OSEYWwknCTuAv2O78VU6WI0dCUanqk/LTpUHGL8h78MgRMKl3tN7wu3zGr9BPi0/RWMbelLIZSW9t227rTj4nucLraC1R4EtkysmT6EJlii6R5V/yX6wIKwtb0KYVnNLtHAHYyQhM8xyFaBLFn985aJyeu9dUODT3PwXxf1pI1TVYMMeoG//Ib5XmiWidQXSqtcSNgKgLRWnoQty2eTgJqptKrRNHtwquR3L+gJT8/wFOYlAlrCA1IVaVGvLC8szGEHkz7RGTioFF2efXeUwhvgm8yROQmXBOzSZQBwkdKMX/B8Mx/cox1PwMayEljpDR/F/gcW7+k+MHfHObYBmANKwphhLz7bnzeuUzGqQh9otLhKSjHn2fzg9vknKvTIOoT7OaovgtlETVkBuC9HMpiylJs71Y2Kszs86n4l+A4+q/m12UmAjloJuVJik7al7psKWqZtOQd9D0vyNDNOxnB3T1UZ387HCdiMpgDzITCeXaP5eo2TfQnYCJczRZlh3R4HW+8EN9jY7RyF2x+AIfMQCmC3tGaJesvRBwkNOu8D38uLRwMlaxeNOWzEYZF9Je1e/GBkWf3MXZgvIoXqZkaifmfIXU3iYZChwL16Mxs5sZC2xFhmUWcMB79+rIrku4+KaFkfZredoWSu8unhPEiSDirB8i/XGxsAsdG/ACap8LB2VsLgxFqxByNRf14bc6s4RFcXyvES8VrU7gsqXII6D1lvfSRD6V2qqndY89+TkztvDl/4q5Cu73FPRWimf1JPHNFgzZ3yKr5S6EwsF2eM3TRxEIpIeZxovefOOxvXH+9qWpxjBjWmEcQqN1ElgCIAfPc9IQkVsFreff17EKcaoFnI1Z4tJAeXjle9P5DqA88PGAechdJLdFZnBXlBuJzHQ69YD+kYH7mkC+l7e059hTCGnnm0FFumVimKIAmFaeFGEsvinhB8GfDaLd0Say0FJnHm7D7z+RggqlqPLH3ykD0Y30ru86TuJ3aOs9ELpOxykEMKPaAvSMW3TvAO5XqfP9iXXq0BhA34mhdBi5O9WSb2KrMp1p6JwGqrEzIOBsIszjxbOVTbTLrSTAr7tFoerpvX0qd7yFqM/c4ZaY742R5kMvxDWc9o/HnqbozUxWASGn6AU/KMDgQNkxzb7S3kWDJ+FSN24ccaVyiYllmlMcplfdo1d81YQ+5vGK5b23Qfs6b6mIykK5KVbs+SPHUSi4f6Q0uEY1AIoaBPXM0eTsUlqPIaLUtP0/MmlBJXVWbvYENgjovYgZMZx6VuJ+KNinlb3PKZPa5jZ+vzA028TsiAyrxdLAdtGVBmzzfMXB3s2uk8gY266EnA1PL6fZMvmzyiT4paJpGYcAhjMah+UNVWfWXEzvBkAQwwSFOQmd4PGkdW5v3P85cB7V/AIYr9aq2sWGto3CX3Fp5rZ/8fnYdtvYkfdHI3/XfSq5HiX3BimM4BfDUOMMIziRemxQZYbSoqgowbIX8JeCODvv/vVpy8rV+bQYz/esqqwFyhqpl6M80sCN/MwrJzLFaGVIDF+E9v7paw8f/76NnuagL5rylHv9MLMNcEHOT+DmZ30f8Ruppx675dctZG/heHzHHLxplwbtoN+tT6cVDAisD188IZqTTXrrovqCSiBxsJuLbw1emsmrrOj8JMwKRoWHj+TjERSkVlEVc1/DTyExXiXCBiGM/BAKWMXUnVlgFym274qWOlhhG1djW/uAynX6m7eCgN+8xwtSL8VcmazrFLi+omcq0Xu4UCrpsxPo69PS/v3si+/7fnicKltpyPnSbtBRTk0uysE54JgnTV5UvlnEEnWrJHppclORFd8IxN3YrNZj+QaHOLIMmfOeiugNYMcQya3rAv67GwhV6Is9JbQ0fx1S3dqKlzk3eKMX3XiRlj5jt4tuPXH0iSVh5AnDG0gSQQUh+rCWRbU7s29U0rjpYlq6i+kQ5bH27OWSXOQUkD4TtRRwqetJvFZWc1kM/fnSKfTBiPPFJjwaWQweKEsRHOjDJTOV/6d6CGV2POGuqKAxUTRzQVgVTUF8oVikC8CQsdBh0JkoMTnMVfEmPvsHnq4S6PV0X3cV4AycuBX/gWxAHSerGftuZqT3pChbn11fOgq8bEW+LsZC9BHZBX/ENVSSe6wa7b61w/ZOXSMdtzqB7/+O+HyLClugZFVIjqqJTTyxk5flTSOcBL3Oxegpb+sMqCQrcb0To8iNq/ZRMm1ow2b1nFedZ4HtW8iOnIUz36Bt1RISXD6hIK8OWZ7ZfAZ8MN7A+8oVVYVArvRmLbn1p2jMPM+ogOrYa3CJnRtV77RnfPLuS6JMU96whUc+w1zgQhPQ8pKb7c8E0U9zoaJaqCu3XyGF0ggYbxdLAAsu8LN6LngkgfNeswMnIz5sCyNceFW3RDAQtHnlRZ2iHHZVxk9vjXZZh/2eXHvWhOJKBo39gLTwAnZu8TclKWPXEvweRJQ9zUtQzS0VZmzksy8JU8Bvw0cz80lGMV758VZH2oJoqoe9NO/ezRLgf92R1FqbmM8jO16Fn6foVXWqNOSkv0aWaViyfqkjqZWzMttUlCf+5DBFCiajnM+83Bc/V2z47nVyhjiEsbZh5MfiAuCjNp7wtemRBc3yvkfhFb4pD+ZOZqesqJNZD4zC6kZ7MIDdtYql1LNaAxYkNqtasKUFEE0qyxyKvy15D13a5zAb9ozMCo+hTfQZbgKbyoIcHlI4IP5JXugV8gNYjPEGK/Ar9t7FMAmHFxQNmn/biXUUmpURk8cQnRhtEWLALXxhKJH5K+TGNj9r3tSL6Cfo9tM2xqhCGpOVlKF2V9TvfX7rC95JUCJl+IJXsfqmnVf4YReSHjixz1TSmOMlYL2yjUBgnXSPh3tU4j26rCMi+m+N7seS9fzC/zvkMx4WNn8VTGjDG41aW5uLiMMV1sA1AxVog40SyZJRYtcCfCbhJuqQ2h2v051Jbg7juDRdan4eyXLrjBB14XaMRaNX2qjsK+rRJWtGx3C3Z8S8fwEnz6SEc8297YEi+Gvo9XmmXMFMCUpXkQAFGIZi0hDvDJy5xoaTPsWic7Czn7iqiAp5ucBZKT9nqAYVK9l8TcP9SNMFiMShfBGSO6ejmqFYyNl1mBwGsmBi8HyRyYCKh1PLG6CGRBvnISc+xdX+mOuHfY3mt8G2Y5YBwmMe+JeHJ6Ls4yHpckkk1Z2DzXyjCM5gPJdNfQRLed6gtx0AOzi3B9Onm/ITtgoj8eZunPTUz/oC6CgtOzannOCACwlwwixCetPECBcOMXmW/K3PEWvCoALQse4hVnepFVylfYfUcVd+lHVHmFMRWWXd/Yj7w+NA+QmjhjxHC5OCQqj4cP1ibOrjgbj5XdUJgHgFc702MR7hPQ3jnsWKROE1lS3UZG9ykPy0RgTTdNmctn4qgrZCVM8gXUl4VU9jVYDZvQylgSYKEu92i5du62YwUo2ZvC57CGJX74BgY2/Fks7mDSqv3KGmfveeSidI+3SZILQUntG58gQZwfC46u2Ee43jHEPwOi6mwGeeynWSQYkKReoGugIrBE2WCSr4pGh9GEtUw/IaTzOR568KZ8jI/I54l2YDoCVBX3ShfUxPnFmHFlonMr3qMpuFiidDaUb8UOkcPmnbXPp387mtle79qkab0yECrymiBlumO3xOeMVSH7ojGJoj3oHK1s67TaO6VXWGH4AjqPIVQkSsXngxbNoXX4RTNziXE/tNfwjk+Lhzl7gnlNFFvsv3gi2J8Bxum2UuVUc5Qp5bgCQzmkvfgduiASA64nG4KkO3gzZVFyLB+Je1oj9/K0pg2cAgkYwd9IyRJ1rGdwdy2yxPh+C8hvuBEA9jVEroLKVgGOvQYcX95DSShqi3Ls4qb337fLln/X55qutxD0WT69siobzse7thJJHTJ2zHjpxILz9xX8r9dm02y/YjcsIZVDC2MoAdL4xid5CUjvC1VxCsmNbc2+TChasiWGIW2L+EuJQfWuOAZ8WR3yZi/hwnAIyWWibofqxcF+ezFFY48rEgGEmksu56E17ZZtHZLaQcBdZPCkU24AkZq4qSYGPiOhE7z2LxYt2eGrhgZsreQfAGBjsnHAu1qOVDUQJ2GmIT/F+rFMkpZa7Z8keaoON5dCV/OzTXd1H602d2+ejnccr39iitDCGr4dnPkK4nKICN5e2UfKwOQvAu45g9x0e4db53BOKdjSDr1z7c2EExWm3SPWHru3VpGTS7MR2aMDfcBncEbSC98KTO80nJfvOTQGj+0nhnBEw+zNpvj+Gv/a09qIZXXdruAGXbOnZv2SsSvcqPUyralGLVkfwQGgtiaJwIANjkDP9BJkBN1UGom2iMuZ68nna3RVzZgKJ0dASoa8EvJkqB436fYTHhI9W0wkQWXWOso1iYCAfpobsSt0sjNRTZSfDgaiBf076h6j4eAvoNkzW4qyIsAEm6p1+rjl1JDiiFvDrYah3v3KDNNLJkbB+ytkjB3ENxdklNMYQfM2Vr3u8K1uRzEqpIEfWMuzyphtz3fT0dm+xDgM5S0hfKo7epXrhboIuzH7xayr1oEAGLwmM3+dOJQdbiV3rLizu7WYRY+AnMgiMmmyPfTg9RLCT5ReEWHOGNMgHvImjaJQwl065Qc68B2Y/P2kY26bgsRMntYmYYkM1EHnbJtZN5zAIKArZApP3eTAH+I06i7o4eoCC0mtsBA6pXcvl/UpKK7bsTcYnD/kIyWrNOmiYJGU9JEkVjB5BZWH+hMOdtJ3vJTY6x6jUh5JXN3PFBNbcHjwWeKqMWntaUxlunElnEVuUZPoMGghtGH1TiYWDzKJNgCtPMdTiK8BfPtfDPvgfFFc6UQMfmFXv7SWDlq9QpSmM7jbctJR+RTo4sCs7vsFBjmldvqtZ6JRyAUri51gh+PeXvAZWgmbWlmm0xpSAmUaGqq8sRaMmnXoKWzPnprGS7TT8T5HEtU1Cg6EumSc01aKJlrCUJ4zrRqwO9fv7Pq8RRQu/l6hgPS4rN0Ud1huNXF3u4d4ejL8pfSdFWN+u2Yt6nx3R9S8RS5qxpsmQO7UN+GOkL/Vf9Yp1n3HbB4gkXlXlEI1svbiNu/vma9Ay1qWu5utBZ+r3iiHImSLFWQoD22k07uFZxtMWo9sZAGYWQrXSPcL+pJCmX64Qn6X1Hjbi6pQ92CjY3u7z8iqVyv/Jq7BTHxIcMmibB6lxTwbY8EYkg9K7HprL37ZQqsVW44WhfbtDB7VhpqumwxeITb+MxXLi0q79Rw5BLp1VU07J/ghHWF58NAXQzLcgWWtB7siTWUL9xhutHM4KYfbX78x5avusrhArp+1vh8fZ51NXH1lTCSe4731XPGM9BEaXoAfJb0YRDSax/5RWwnrNrA47tbnA5yKs0KyEKci6YarJ8Y7MAauJPMBq3T36oLK6cChm4qQ9gPP2wVXcnhW/AKPIE2UDEIlZEosBhOjnsFcHcVlFMdogRU9ZeqeeXVQSlPJuOzxBMP54qcwDd1K9PqltnXT2SwoJjHO4R+3p99zqctUh3KZ90Zmq92Sg9e4yo4m8BFCNfYjAwa1zxFz5T2OtfdXfI8wU1BQbf1gff+j0nmMXgPBRrNZ48l00OK0xhIuWDhgiv1Hc+ICXNQlL7o8N/noG35+VsfKEZkSR0tLdfU5b7yqEP2B3bpHChqUCoLwj+376j5avu+7El6W/nrPlfXL85oZcjBT2d+HB0/6Afo7tuL5UUKZd7XaffN8NLAU/a5+koEgS/N/UmT8jwDh8o2txTxP8uLR6/097tJA76WEBUAGA+Grf+x3fshn8+5tdsXuXel0cS8Ks8puwbV8Fd0Lui5i9Nf4aMeJxibQyVDbffJ50jS5YaQ3t8TjHQQyiDWYYmyM96hcGgiNzt75ubgmlcSY5cwnhaJU7Ja0xF/WxZsN23ZtX3qKwrayWPNMQngOLj+D0+b7Ktl+4eOUhf5FB7EYsW3TupNg4xZ6fQORJFBhdMJfaCXorG7cnMDE7j9VJYQ/dr+QnoecZ1v9OWvayd88FFpF4skPjO5eAk9QNdnrxu5LiHdh/qb8+7SGvT8sENv3BW3j2BOLqyaFKQLZvwzxPnS0Ud/L/GjAB81bSVu7p0OFTxzYL/svqPhFq6thKZjzq3mwPl9o2iljasUtjparFRTdlHZQ6vyI62JdZ5+XSho1y/lyq9cXxQbowAy7LddZXA7ZF0NVsookOX7K0L+9QQPDGyryacIb4s/WsTDPxDfMdlTJSuOYINKQKq1hGRQI2WyFtlNHX9OAoa5VhbwFj+GyDiNgn8vdIVL93Rb4jUZVzY7NYrsPgTL0S/S/rGkozmSNSM+gQK71lxYbQcMoRHezahP9jESx2JBP9pY9WY0oj6vVCY2vvlXawwO7q3MquZoMBeDZ27lul+xmFnDRsafeK6W3QV6mCV8sHuklJURIo4Rov/BknRDCr0cW1dyJqRkQF6ybiwu7OTTB7GQpgH/ql0PIUMmH0kknM9AHCiXDYz1KntLkw4QfOEQL523TUvjtx+ztvnKCB37Tggw9hpLX4fS3SAh+PDYcxX4dc/fpkvAOP6jhyyZQUt3MAbxAhTyEMpvnv8z9RtxKw9QuUycI9ULjesiDp8jKZndgZyZRcrcZaJBaoEOCk/L5tsJaDCqhpAp46ReLoLFvjbE9rdVnqSG0r/siEN72034Avt08ODSHGjPTnnZ2+0sVE5PTEjo+P9b8Fpun6IKcbrx1dK9Q49aCaG39vARG3Hvum4EOU6fjO92OX8vCjhOltrORlyRi7omzWPOfbB9z2T77pPNr7/heX2aQS132usCWoAwbhTIME+W8WXXgy/ldKW6m8ZJ1G/04y6akHTAV+wouROeSGDuaH0ZTHAtQvCNKX+l+bEN+jCO9hkf8UAJkp5HjdgiNZhSUxj0neST3wbq4RYAjMSTN7fxvMMUwh7dr+8diXS/WZW9UK19s7qBk1t6+rmle6sQ/dt3rJ2Mku2jTD6uM5Gc99IKx40MvF6X4GpPuho+kDdCYZn3fNuv+cmOoYcsmCAP3Z6IHt6V9xEj5ZKgBAC7OwA3SD6yrWsTQpofM9xjLDqzAMKRf2tOB+MSodEmfRJ+7NiEwjzYMUF7xwa0WUJGl4R526OA7U6S/Zja3/q0r+BkawPQ1/Ai4nTozJhr7cI589YNGiJThhKEGuUkMKa3sXUAxKfsC2l5tHHsHvYXUsSXx3i2l0z/MoTuI5KDcBllz8jeg/7uHwBLyNuuKoRjwHD/C1GXpCJZthhSko5KL8Vlzq6bTI2hM8fD7tRDbMiI5nOrIkYY+/k9L5gY16iAymZTPl45NMzMwbIbLA0dx6t2zx9DWTsdlp5FKh//G39N7HTsGVNVneCjaQqT7AVhgIJuYrA3fbUJgouWjYC/SeXEDntuVOU6FJ1C+eBejGdVZM6D1NDrf87Qywwnw//GO9SSYc7m9hbpqIXin6UwEET9CSVb6mXWYedlUj5HFpf+QGTaWFaj1AI/F7x3fSln9r6znz0VvDOaeOCCBpXsEZYPESDuehE8mk0j617RXzqpzc/Ta5TsdJz8l/3i2wJJZrb0meOY7Ipt9iuE0EVIoGYiPkRyPjHWCpliVxXfF1q9djYAO1Wlhcxk7iy5kqgK1nsw/n/kiUI5idSgyJrVrWXiu0JOJcKxWVT06tVtnFXZb7iPwzjf0jn5cmApcokFLFDCG1us2T+je4/u8fwDXz8RM12AWAvrY3ontEJYfmtWYO4JViudbSId4WisNWsoP79PGU9ICG9FHwDox0hBl9HeRFC4InBPrMqJrYAwXLg54gwXpVd4otdm/etDIWOcvINlUdl8qa0V5YGThOdAWYAjkH4ZChhxKBeuZPPN/9ZNM1FZ/XvfJie0/mQKt/1p0rSK+MvRxe2tgU2fH994twlZpU3EAG4yhRH8HwZeSs0B3s4PnrqhXUVCpUQrQ/0db0HN4oEvz/kMQalaTNKFe+K9Pnu2UYUJNorzwblew88saCZW+gslmwxXbprCwA8FslBBcT30oGNvPklsVPdjnYRf2+KIsA4HP08TGLtb7d4B7bC+Cceqm52RpBriw+ZJ85aFSSqEVg5K96TrGabLVj9wjdOhSJnsYfZ1UcjclQmRIBLiK/D9wczcW/1Yg4NyHIHSY4FTnIhU9rZFiTHXjTEX+tT6q0h4Gt4LS/z6YAOrHqZk29XRUBeVNKXFXxK2lflugAXrGAYTn+u0PzoMQ2wSo2/n/1jjRm1EGc8G5cqhHeohKhFScoRqZgB8uAoUBxAfEipzZktU8oypkxTFjL8UAUryroTxMRgREuXWsdcs2IXd+VZDb/Jvwsh38Ku7wSzUUpnj8VFIlqKqoJIusOlkOVRh/OcbuuIUkN4OdxMp42GzKf4ErWO8LKWjzJfLa95YzDZ7hrNTm2uAifhgTuUc73rTciLvDCy2mJHLUHY3D9Gz0kPlpR7CmPNQHNs5w1HP0nAIUGmqNA7rR8PdDFc/6zTT8ZU+mPfLIiG44f3F/RmxZ7wryLYSnLSH4DgxOOHZ1hMXliODEI3H5xI3NF5NMTW99hNvbghAfylW3jfeQbBjq0iXNvejLps5nohriQH1WMmX3ZpJc17thNCoBABzAxlG4kVt+vgtJLoLX2ba7KPhl+L1KFUHsBb4T5pNeJAIqPNaq43P8+iFJqa5yFVaUhO6OrOjS3JbVd//9k16JQPnEFFoAd8R9JQGCU25+5Qwg0f9710P5/x75IJ+oezqAvhbUsu38tGwQCl3uCLVguMlGBIYNNMEljDSPGZTlZrwsf49rdy1Vesf9LzWGB+6idsCVm4BclWxITAGvAdnZQGTc6Y9xKV5b8F9O4ENPzLJJMFTYg+Fc8zb1ZtKbsqFK6eCj5RMDeLU5Xsd1VGHQnquSgKEp+XKY4JyRhU8E6nB8qW7YvctNYPCs5niDfOWp1eYKqipsr8tzN7QBhVwg/0hbYHNmAO341ZYthsZSB5ZY2BlnnwjkxxbPppbC2SYT0xyzib5HImpnwhqiu57Y5fd2mf/thCHGwEW3d51BB8h46zwkdYqXKEcmb/WgVoWKjc9PF5+lK02tv65Sf7uVAefyah1d0wxuoKkPhnSucl4i4Fbere6uHhr9glycxbkCVLsNvnlEk8jf8/gmAX4yDUjoTbQlJwKjVYvcdf8B/2ZJn+snNmZ6As2rVApnI0hxUwsaw4zyhTkvqwlTG9nbogSkK2wQ19SmI1SMh77GhwE+bkNuh16MmidFlJp2MpUaWx46sORKmF3tqfnO8wYWz8F++3I8AmWMJGfRSiPz5dPRhUcg81t5WTtDdVEDd0g1NzhbtRyAprmDMZy13DAYowUQiOtJy6gcBzrgnH7pI5g6L7lQWuPsF5oFOGYGsRQYiAxEUuEXrRmZBAZWdTQk/tN4ncoMFPTUNXx+9WGZys07lbRgDbUmc5F1OscnIhOdwHv+O/GwBEGWY4l8zWeeiCNyk7nFIPMOc9GeLIbEmjfb6Gi/QFS7fyTVaaSnuscpv1gxvz44kuIqgwF7o6uU8YezHHS8YVmjoSjzlfM49TXhv6oyOVqlmqt8b+OLaakIoF6sKl1qkeS/pQe4EDm7J0L/PCHmJC4v/NwX0SD2VxMO4FiVPB+q7Lw3UFRblSHS6brCemvtAD/vG2Mqu9TxMG/NNy4LnMLMVQypntvgbN7g+feOOSEaol/PFXVB3uuQMPDn96o3OZV7TpR9cssE9GJRxYYoy9gfupOb+qU7vg3nO/sBVr56pdVWnsEm+29Fba4htPslIUCVXA9WK1dDk7tcdxuUuPz9MBJfxx/Y1z1pznfkBmL1hLrWN5zvNbCwYFhlaqFXd8Mj0O8w51UF7H/p4Ox5sdf74wGN8QX6SHKuTnWunQfpHbf41VMzl16qixzaIhe8X10qjmNe78UuaTOK4oHUWr2xwvd4K1hKxuekFmE2CwXS9KAs9ADcZ+HVyegDg3IP+vnQF4g6pGtUimcS5ohQ3453+17/IV9neNroP5km8fSizcB88Jxm7SNz9YZrCAADrrHXsdobA+Gb6efINjyIsBDtetnwQVzus/CsxibsxXjQH/pL2CtQqb1ZtjlUT3zWtU8kz9Qt5e+SAZwlL+6ggdJWWlBTdl1Y+aMhx1BHu44h/lIG6UUuMOSzzikMxEkhAsKOTHPLXZZvGZJjlyvR+TtrKXZ2IKq8WpWIoED+NEo2Njq9hhpJWqrurl+nAna5twLTdr1+E+wsbijElozLgjynpWXobF5pLCu+0qLuQ9DIOFg1UK88wvtlAcfK+O2V/S98PfYhJSnDo2UEmhLbGU+pVxfwN+xpxw3Z4xQKQJtOvtGhLpe0tg1mSiHLEnoSMGElTDRimy6ZLzBf6TAT4yerK8q8VJ4kOUe+f20jsMk89hRZY2YJtR2Y23iHkhhHIslspu4c+FBgQKk6UlA9PwkZNpbcejljkUeLsC1mD2ClHUOfsIdQ0x/+w1QWZ53cb0soHSOl95cOFc5YQts8djV9fhfSLmJxe23ZI9nAvrk9YaoyinPA37rlYbRok7sUTTDQfRgFepBuav5/0FRH9+smwfxCgVvUzvICDp6+DPnTqn5UO8M6bDznf51hXnda0/sPbVf+G61lXatbHP44kNK+F2HfeUQnGJlm424BpKtiBugo8zCP3F3UhjmuqVy0QSym38bEwOHRkk8c65076t3o2lTf+a701fnTCsOR1p3L2FmFZcWcWA0BVbMPm5PT8OJs8tKbHwLJcctjWTjI7idErTzxsQRAkKl+x4EGSmYK0GkJ6OMT8gsYuPsdXBg7nIGrC05uEAKdGGDR5eP7tMYasxf0prgK7/dCzkrW9uryFt6tVZyRYMAVVufArZ4ECj1KXWctQWHSRtK4Li/wnwYOfFdq4EQPMcyT6mM9/jBSd4j+NiLdG4mOyYlCPkd+IiiAnvnZpU7Alf3PbHMEg7iJqo+QZBJzpn4VhjPrsRaU3YYrnDUKTIaQIa2n3iyNfKlVGMnx4uVvmr0zI6CyLNxJWrsolD+LIRkXov/GhyxWrumMh4SzC/dy+/T9SiXgWaSoaUeqBgUDyq+q+9VjomMM1iLxRzhuNasDts55aTze7wfE3YcqgVTmWLBzUxaOfid4r2rhBil7A46ifaQPEtg4WsSvhdbGqcl+TTCr1rLBqqYqNTttDqwXNMAWLvnS+UaFTREY5VCNKtuLCGL/H6O2q7ctlo2/RnSFjZXjFBHTwn8oOx//A4ShzGwnj6gWYgNQgU6o12tR4BkUFF9WacA4M7hsRy/wGw2oZeX2AXtsSPPcgpavVr18cAyVM/syDahIiJm2l4s8pYnI9IgnX+mMj+rS5AbCT7ri41pxUfn58bGwAK3znUelRc9QiwWXEcJgdf2tOpj1lvTZo2yH2GIqKUpiP1iI3losdnOW4gMh4N5a9MZYzLudVlzB2p2qAWvf6nq6MZ2XSvT4Z6MCPiM92+fx1cmfYDnoAquhB6e8WQB8Locgk4+f8KY7DN1SvYng7uwG4sZejcjcYQL6YvkQy2O3lHh1n1IJ9I9JKFPPxc9f2RKcpqSzDjIEKaMAV2PojZtuKITIHiJM6ASmjuwGab96B8/rUAjxp39UuvDGIj1TAtzW23Vq+4QkzdssIVZZRbpQ5qMX1ZrRaZ0X0sSvSPjunPTEeL/f+8hqW4O60tTie9aDf9Qlo1mPn6x87hBcxcroOn54SBQ5S46QuccXwfQGn6Ak1BjWgnsIr7zPqGuziIReTws/WEbWXvKCdEewBzzyZwELcR4EGN7t+bNLvdXUH8t+gC0e/ii5t16p9gbP9wHhABjFAfrHxm3LxgpgceHCfGwt/EfQDXG5SanIaRjiSRotXVsb73gTYnEjlCjcjGivw+BSs6cUvTahcp1PO7ir0CCVvbAM8YZ71A3aIQqIOz9GapZU8JUs+G59LV+XvqikgB/F8eQQjucoFTZQ5eUBo4Y3qUFNh41trrpQ/D+xvSDmNJBJ5910hJZW3DItqGd1cVO3OdLQWYwBnGgC54ySJUxpdGhQ4sFC9wbXPB9s8tnKrQFEyUKglUcMq/X4PJUctZq/jtaDAqrlEO8WITCWKFqrG7BTa/oJ/ZWi56+aC4zEhis2BxiAHruyY5jFKfV1oaDi6XmChPrq4O9S/q/YszDTzx7viuqT2QIlQuo7BQ7U6dzf6+0uBVAIQ8qH/AbTLFZekfsxGCRI6GfoTpEYxw2FrO/3o+Wa5LqORCQjJEH6j8vhKC2COHCc3p1PXrZsPMFNw5xZmVH4UB/WlsHfMw9XhG1zuGEy2X2NLSiLxC+OUE3chR5GtY+G7y7dwvFocZtjthctJ7j7QOc54LzSKTv14dVERiSC19cfZJOM0MxY4+9/qyzD9EnOfiKxV/IsfoNpegdQq/+3IuVLg5IA65FBTVahvrVYTEXE+GA5ySZObxNVYOk8vMMLgurof8xwOWC8uBLJE9ZqJTYCMTCqihvO+7SKuK7FDfMJh4j6l3adA0V9QVabkoYljhRF9r5wqHfNKhd5Xip3Y7dK76rjT9pVLYD61GwzwpX9LEUziuzuKRwBPC3PNSC9uO3KWHxhyUtcgI1dQbIJ5qvtLCoxljwMfepZdsRtTtRB5Vox580tAiXIhFlG/FwSHuZz7Vu46/6GQGFxFZAn40lA28T0sCCIUMce1SjB+7vlcCh9aX4KGc3TUYGCmlK97ZN4ASgC/FvqKcCoiI7Y/Nw0lxHIjQ/2MlYs8rjLCAIWEQGKILMHujaKdUpxCPqBn/6PnWRhj7OBqDErcn6c9DJHE6Ft8GtTksJQl5YDAe8K34P6fz9NlMoy6xfi690QYaHGl9YU1+SBLOmypt9sRA5C1iGFF8/66h68RIf7ifvC8BYXZVkLMalNNxj+TDiocyuoJKOuEXM8UmV0iZQUmq5Dxp7fFrYhc4QK5rfWFQUryW4Z98M21nPUSmGpvaT0mqJyPRlR7FAnpsb8JI+zcTvIJv0dlk/rNFt8rPia/UztWDXQFykCGIlwOUI8dhNtOcS75+/FQzW6kI5d7ENe1cxE8XVfoRYmOBGmI3mRStvCt0nn+EIorsvtzSiRYiZC0N/HALQ3h8u4ojod6ASV/KBs781kFwe8X/CDwW2onnIgc3Rx7cut2Ay9LcvrVdP5TYxQssi4uLocpHl5qF9m0ThWgabj7houBMu8LDIKtbBGOD3xiEKrVx8nG0yh6+ktf5IWoiPQ89aLaC98w/YW9WyBEp1Ts0wO54v3JfgeLMiVlMNIHM5FIsnmgVGY9cLjiomVZDBe2nd2hJddj8DN+jLJYYboi4JQ3ON3Gb+yYD6pj+B7DBKAGAi7nW+5UAImsaQv0T369EXjLzr+P+WwepRGRUl2r9dVKT5ZW9MPcFkWLf4RJEn5zy78GSwImvgnGrnoB2VSh4HRVRjBwVr75poX3wYXiEGpMhNN/HCdG0B3oNG7Tx/o9K0j4Exsi60PKLeoCJfMhtrwoG9T0Jm0qFIaOsJrU1TzbprnAqy3uyD6gGp9+zBkczPPmR4ZY3iDY+Wv4MuN5eGc54CeAEfXW3aR9idjWrXDPH43fyqtlF9Qjk25iZCu/VNldqrR9W0C+VV1Z7fMZdWUHQnwFpIdCPhXmSVxhZxYLTetAvysHihfQv2QcLZsG0vaqFOz7Te3QQNKpobCP7Wtv2iWIqVS/n5YWuoIIoBUiFqTey5AeAC8Z+OgE5JfuIpwn14PRs/R2mWDQx5LICKYuSiSl0HblSlYdoK8LoFQuKXYy1w5irrFQquqZzSNMC+joDO/S02MKuu54eLx9cu9G3a+5qyneLZc40wkT1UqyeJMKX5jiRwabWR2vEbWqGfe5+isbMexo7rQt9h+MQ7tr4xSnRdkmH2cwEaxAURNS6/4hR1fmWTQGST+z3e7VsFd6h8EVYSBIyJqlpQQz82ema48p77RHq/RySa4Gp23A3/pI1dqoOojP9LApBGucgy8lR4GFuwvzeVVngbksgsXe+7cZ1fxOWTdDRr1LqjlwgSQYl4B4E6PYsq2HkaqJh0FV0enrvj5UD/HHcDLi+uNdyEGO+49ODVuupRmmrXbKEfVGsfEiztgYEM9pPYgENoMXuB6ohPvrZqcy41cTlNWTrcZ9yLP4ID9zwpm8SXxnEl1vtDYbcpZTwE2hxWH865oJgn9X42ZHMQ6d/IdknBpvjO1FsmNAWE2BF9ajkt2jT6Q0oDzAcgWgG9/DTpsKzI8dp4G3PxWM697RLiEILkx2hVFSTsr0s8weoI8TzPqXSgww1DXlW+JMG1FvscCEkWhhbRfiK23wjcYvsSEjJu6eDZuHS0e0fhgmwDxHs3pbkqzQJbSIPrEwyB/BRckQ4rH4O0WiXIMCKlwTFhLbhEY5Y8P9nkIAYjHgEjEw3SxT/dA4JCIf84HvkBDQ7cBfZetUxMf+wUNN/gqu0Eavm15ey6s++UFcskUK/fmsuzsLwi8uAvbcBFN1ZJBjju24HuOvT7BwEbtYcAm3GUhWAeA3XwftwHA/RfftMVUCZpd3INrDfFsj1L3txj/TYaxiv3t44cGR/1Hqklw/QaJHE4X8nyDKwBitHRvBQ6VCM+/UklvNIcgpRdox2BpHcuYop1mh7vDcEDf5vhwm4sBJFHhcc1ZF4yZCyPdwy+R5rClAaklTuUFLhdo1nkY4Gkhyxqx+sEV3wNHsZJoyggvy8DISFe6yr0R5FLXvS24hIEmy9wQ0zk57aOVogNpCekV1Rn1SvYa3grCkS+GWA0YMtu7QxztLCFHH0GPglkaJRIpwPS1+mJ0ZhOPheDZ02CAg0y/W/iQJPikPqjby0ccpsQcThO275fSL61wIazdWxbSMaiWCvZUwUf5WWC0oG7kLhBJvIoOqTmYrXnE6YXhaGQSvC9YOVG0bU8QIfcjbzxnUSLrN+kbunI6pweQ7a5wUPiAKP+b50xRaubo40lk1bBaduZyIGh5vxFR8FOGO3ilsTAmRFUwkBYNXMe1O4CL71uOFiUDue1YJ2dW3r75BOHpU6oeH3NJBf9nzTFNJqzTrI3Q0qRKARNO2InCCFsu+thDTF56UNoPZdoEgLxMhEt7VUdDtzkHRKKWYECyTicy2/ZH+uwHWFi1o/8hQwMP3uDB75w13ixLA0dY+uVe6lJrHxVDN0sTtbmsvcfNms+h5eVdvvOR8J/c3ls1bdJnY5yi/zm/27wbq/I7pM5Nf39f2S+jmYV+4reoXCJwtJ4VKsYxPkz4kfJ3x56tsUHmf/sQwpC3nTlTo9gPUxQYwEscU/pH1Z1F48XCAJ6Rm4xweeGcZRL6xeyIUuSzJbDSWli20CQ3W3ZxMEhm0tkZTAwvoZgOtbsz1U74stFBQ5GAMOswiPmpRrtpF8lA9m2YUOxQMXaRwpRxMx6Qor91j2SRQ2dNXQKKUYKXyLze1K+V+EAgPXzTIqDaWGdvuiC2g6Hpr4lHiM8qjTre+tGc9ow5bfzbWuHPq7Crk4sdHZxW/eonQTXGQbMtu29OWxfb2nnJvZCXkHQTT+O9QTMs7Ntk6yGF99iXVfsNfFoxyLpM2WlAKtd0R0p1tVeAZZc1+9+pxd+TbPs1FszI5eUG+BA7/uU+DQz81yfxRRmm8HW9g7+6p7owe+lakfwsogK6O+4r6Z4PEiWrxCr5bFYP/XX+9qEFivGoj+mS/WOeRjat+UdX7Zy9fIXoeNDdi4d6g/W6JewIjq7EuD//RadT56FPFTJ+vM6gfSKth3m1Mi+GjH/OI1m4ZbiO5xyNxcHKhK1NNdFUeFVp6X6Wx5VOII4XKx/t86KfVYfRtiLFIevQ95ADjzxvkHf+bIzEK19It7x0vS8VDlSKhuYa/N+LjEUiKqDBWQ+TcD10TrSJfsWela/F7IgB3MeK8VuXgR0LfjfFTpR6TbA4qvtpZLGzZP5h3ZfedW+i+AsEktYvMjGS68RLWeCIZxlQP9uk8qWWxDJz9xSGpRuPSo2qPwQfDxO1SA3HpHjeKzEOJog0vVPqx3wc3rSEtBJYp86GQ5SvNoVHEEkhxiKGQUdZrcCrrz1Lpnjw7N23DQl+1eBXmapX1hcQnxGwz/gcie7dY10pFkh5COEwBbcKiwHCdSaF4P6MBpK1IKGAN1PEzNh+Ofa/k9woHbp2PTLjv23/2s1V6Q7c9tEo0RcGRFYCwwzUntPFaezVj03OTtqMrsxoTBSspiZMMEVf9rAHIx5aVgg5v5c9lzafoQp8UbAl722+h2ojqmyIwqSi2TB36D8fpbpqzPu2z5F1tiYetfMV6TH5kIU2+ZVclFrPtvUZSCfi7k9o53o7v8y0HOabu6VWzCWDW7hOb9jH6ic7ixAq4cnkVXRS36A6p1qQYlK/YrGGyvHjwH1vUs3t/q3XROjHUUbWsruoAhfj7VDz2ZaMAxSntKvXMhwF0x1mttAWegIebwb43L2ou3LwT9Dn0hsMjdpe0F/HPTQMvgg9wJNl2eY7WBG0CHdgcee1cDnL79uVixsb+maJKs+ifXswWY2ie5lhKFVLgoRilkJP/YFe4LeljzMlPMtq8oOUmncAFancs6I+B5hClMcXa6FWSn5KDfp7C0VflJmGlCbFnQsR2GH7VqLcwQztfkdzdAYVy9G7hSeaPaHJoRaXki53NyI2B8KaGnkPKj7RPt+llDVF8BmUeLvaE+fArjdLexqWg/VsqARq+eRWK+/OMJgQiLmxSvAaoD19aL9W48ejeNyWNq0jfi1DJb6USmq1ZBdoDbdOpke2OnGTNqIyqLsnL5x+IBK6fpdoFjIUHAUjoxg36HMJIKcSVPrB2euBNFvb98xh7yBBZGtIZ8A5s6kmn5Jm4r9b52GRtQ/z6hJiZvaMrm5OcR6/vR85r4z6qyUuiukXuXLlAFqlqapdjX0Yq2ANVxV5uThhtNPX0N/YeFqXynHB0gywZOcOk/jl98MeR6HYSOyZm/HAjjdrvYQKbXtlb1xYfQb/V50J+6B6BqpyfJwvf2QRHA3de3c19vc9VRcIyQF3l8UFHg7o3IcNLf0eLgLgnIWIRUKgYKpn13ZEQyZ6u3lCZp30cVUsdym2Kgo1QlMDsTe7xA+467e683caLKS7VxLSHR6nxjMsQeJACxpJBMyBTLekl4jWPIUMImzVU8paCbG2TPaPertz7J5YuCzJQQnqACrXOi6RnmBwS29mror57rCeoRk8qq1q7aJQEyEFys7DQryhU6FujYPRjlA2MxPPJzKz2hDbiG+nB3zv1n4Q6M59F77+GVd5UjwraRAwncu60KIlq9geU7x6uNAKaj3X+sn3m+rMpzRXiSv0g4y3LUABxzleLAXT5hwRQlCQ/dqRD7JqZ83Fxtzfp91wMWnZqOdk1pE9gPUNYmU/dn/J4ChRsDzp8IhG9XfBpKOaDU6P4DKU3lvss1ZaOMyYavAkeOgpp7XdUKLyarVK4TNYcc2uHaW7jwiEjhrRhtCWjrki3lbwKaQ9eczcLpsSIdXcNnvAHe6d4EA0+pCcGeR9It8V3uwQFc0XIJm3qmYAWXH7D9/NZClEWs2lYFOz01+sIg7JsQ0bXEgguEn7oXcE3Yl1vj6srkYUO2GPGMzDmGAvIwjCgKOY+DmgnahrQS5UaDkigL4qRTUl4fIrerdQW4fDjWOsdookTyNFp+Oww/ujyRqaPXgy+tSF4vo+ZTLxOyNnBad9Jf5pP0JSQp1XFQSPgdjRHrSF5nNYz1aWExXBBLWEci4rLH+7yvkbynIHSndYCe/RmqWE0QTgLHTCB2JCbQ0HTXi+wRfB26csCy/flnP+4J3cgAnQi1XAdITjBccPgfgw//zdAWF0aNMKYfKaxqWAos1eEPXrqD0SPFNMACrhTu+xTXIQOwDksVNqa8s2YB7mqMeySG5qX/NE7qAiFxVtMu6jNEus72Cfscb4vgZ3rcVQfijRMc9q9RxnRLW28HjUx9PmQ/Nqj4PhbQZHWPb7b8YIWGf06GThVDbGYuteFi7a1+iTvmgNv5vW/ycya0mZDyBdC6VKX78BO6Slq6T056o3W2Ehf32/Fjjs3Ssv4sbMonCIqK/Y1oPmA6VvTmv1DOGjrHIwbtCZC7nsm9Swj9U6CZjTVpqfyQjPlpaD4GTtg31Fb3j/+ndzgaYbpUxuEKctmpKOL3X+T8SY9ZghsCri4bTlFcDsVd21DW07IZn2sUsXtZCiO0bGCWONYVJIrGxBrqtEDlKy49x8g91GyPcA+ggyxDj8IrQv35i5F6hvTxtnm3xh0DhbD5JHtMMOGeYTzi8euCShGaSdDQqXCGhE7nRsQBYWh6Cag3eM8OYGzTb2Hx1r1sn8zEe0n6D9jYBKWYFN49pTD5aPldu4LjqwrW4v+gK+buKSy4RxQHZW5HvGr27vfhhKQ3751KkUi7pqWH+Jz6SMuhYYgrtt6/dBDAdTHsc8nrKv1XN9mCaaggBsxzLrWuXi9BB9N5TyB2f9SdN5bsV88GtSYa1vm8xjLOcSdStlnqwgP7dt4wGy7cGVOHWTC5R17Fh0vxDpuXkrR2apYPk9YiurEaCy/DF/Ch3X1ax5m89ugeurT6sLuPE8vNy4Y+nu10kcTseElqdfQtsTuJ0DMJfkUEurnIv+uTOJcctl1VtnVTGBKCmKSF1YjgEGRwpGtWQ3IutIVX8OXhBKowcfLRXJUdqEadoDeJ/aEG8dwPpyLf6YWNccCrb9rtz/j+PHKTnHPcVOZDrFP2NR8A84JwNt3r8xxgz24MSYYGdBPwsuOAkgzjt+27WbL3A2qUOCJkd3nuMGl1qvuOy4fqa/GbQyxuG5MAXAeYVT6t52lubr1fnTHOsRp/OEzsgVg6dlnqUOvJdCUXXkMQujcw7CxFRMNctbZvTbj94ixd8+yAHZtPpnz3nio0U4qBl+cjIm1Gr+eL0l82P3HtU3qgLQvPQNanz5+4Kp7SGNirbZpwojVTV9uGZVtqOSpUmnjHNAhVr9yDCmEKdPK0OMxbEuzUjMaRbfQi/TQHyb44OaGyLKE3z9n9ZDJ895IJ5tZE9FgbwZ+d1rP6cACsBU/I9BCS2Hlqlf1gJ4wJ3dTO3iL6YYXy/va8pNXPeOhAwPe01adJAdeBiMCNFMqvG0zHropmDQmVEJr679ENLBEgTKcg/cwQ9A385LyIcuhEDiq4u78FywyvUmWXXe1dcv42ZOzgT3HzdD+S70p1gg41DTQWXPxNVw9/FFfrPSaXbEIxfa9yf5qkuvBcji0phXMDvf1r+zShGhBCCsw1R/OM7jMYzdS2zv0cEuF+IV0cfz5LEgeJY7eiF2cBsBJpj6oUxnvLdYHweE+4dGAKMFo8ez62wghzrOR/2bIhHXLMVfzdys4Re7BGelpw3/DXRIMMTnWd4QK48GJ0RnVp7B0X583lO1ZYmsnO7/GTg1uZyJ/s5XGXhm+yewJSm8uT10eCXFaXgIMZJJsdC+CNWMwuSH9yIv0bloU3aAPJfEyZhdIAO0pxR069RfOIGKlTrHNQtglqXhUi4afsALsinllX259CaEbasJf7zcLXHPM3HRGu5+0uQ9kuPRzCr4g9sxmTyvl+2u5xSILRXjZaWdhkDqYTJWK69Qwhj2lBJsGopCdFi5VGyZ6Y9QAgL9KX4paR6k2ALlDujrHEVMXnzfYOvjn9LdCVJNwDJFVoaR2Z6eS/E8p8F7zJDwdm2oNi1rPa0HaJjoidXGEannNDMY021OzbH7u1/PLi83eV3O2H2piGZSYVWlUe6scBXgxFTCZi0q8dHVk5gXizScMoFbgqBup7UnGALCTknt0HxUBhXw0hqVKKTZxEQEZmqVDkRe6BRhd/h8yspeMSNqlfNVzz2nZK58khCHKEYB/9m6zDdXWBMMy1srfIK6+XrTHJcFkP/PSEPgl8IZbGOKPmDG1KrISk0FqCjDFNovM7LBxyWiINbKBGPRCosrSpI0dTWOPE8/x9p7NY2M9SXZhsQO1T6qUHfKewWLNNrL7Mg44EZVkGUlyMs/kSIrNG+FQAsMQwK/3Fhz4HjMxYZm2qJ5p0jX1GZcsgN6hWKNBdfXkCsh7SjtbspPrw/6OX18tgq/2uChXFuQ5YT8lAVLnfs0SVyVtNPK8G67hEzuOjysTIr1wTKUaNW4cbrMj2Eh9bMXGeQSPfag/twb3goMSuV7ThbseAX1tJjv59Cs71jDZj4TMlV0Jvmuj/H/tuU8RTpYYVZnS1ANgvw4fXG8BwXPacFdBp2AlYJUlNPLa5b57CwpSdPZDByuK+yTZPqvzF0PT2LZJC3+x9zyXimWDOV4Dnzg//nADLU+TN172qPP4bAVaGJ/2ZxoeKBR6hX86rb0+AJNQbB2qbtZIjFFRdP17zC2qRXonKq2cUswH5swOE2cVxLrD0VNZCnytbtzreqWrjZVmoHFSP5l5EnKE8bZNZNFWyDEiK1t3C/zZ/SDD6chw2mY76gBpuCuLz7m2y/nUpYp87bfjHwMYp3T0N8BYWsYsBaHKgZUOZM8h4DiUgsg+DLHbFRPaim2qTJeuT3Fgd7Pzx6cOlpxdaQX1rcCczO1f71RJRLEjWvfWe/WpzC2Hp6zqURzC070EWLSKNB3BYe9QsdmEx8UC6BVUDYphC6qXr9pVe1ODyLjYZzrAtDOvTvdCXNRrKuydRAWZdl6YkptqPym9YDXY4I+4FowjUnsJnS/mKwVAAjBkldXBxqMOv5XCYrwDpAjdnz3rO+ihf1A2XQOk0TNU9ihRigq1rSTsVsOGjcSfjLQHvm2EVPi9Xo+d+W111SY83/fub77hrYPQHQSwKtpvzGnMIvC2oczov4TZPi+cYqTXTxLtYv1D7qj+mVVFoPdEWDAhOL4YGveaCH3v9Oot47eni295olKbSjiG3UZTbOdfOJh0sbXvPZ8h9sUVtSrrWMVkk6HVGvlLvM267k8Hldt347PV8MKIRe/YA8A7RN0QiAaz54LSxI1ZmLCmFEaZZhpQq7bTmSJTBjlv+xMy1Ht69HTREvAwvt1Vw5Xd0aTU1oNavhvIYHWQmqHvbks0h+zhK/dx3sJIVxwb//qscV4hpCfJ17onSmxFvYl+hKXmYMvyS/cUSszdYdWXbsq31EWpRUJYnNjGgub9zChP1tAcR20jsIdihU0Hm3CTyA+EKUxDgd3YI/UXx9UgOFSn2JJxYJ/WQd5V0LOXa5eGIvI1CTJw0IjzSh/dmgHYSIVvQQ1fHQmPCujsWhPJXdi51y3rksDEoCaMiUkI4VgsClF2VNfmNSf6IkXchlPsfEkKKU7Zqt3vGcVBM+Oz+tKYtycSfeu7z0RwAnUcgqUtncrnoEkfeEd7HU6/S5zUdkpzCii6TuOT13RaezrnnCSwEGICGQGBkrAz9N+NCY0ni4ReYQVVjxrvIpuXRZmUV3N4zzUaP4Mwwgy5LCm4YIVOW6Lkay5z9OwyVaZlf8ahOixJiKl18bpJv+cJTivTB/mw5aGwUXpHRJ+Zfy7bIkL216lVHDuGE7nJXlXbPHMh0bHzrQc6bZBveANFIFwzqtlUEhvRdZUrh+BtvGmuOyplOr2ea1ofy9LONkgpHd2zCI6YiFIm8dEwgzNuGPraKK9EPMay0ITNK43aTupO6cdzgpZ0a3GOk0gpJgKkyvIyi06sI3yaY2R8Q6+cfFTbiJztaQj605G/O7Sl4t59lMFk7tKfmnym/GV+kC8+d+uWNFOjfljl19zE4dnMjMs+dEkqjoj1BDYtriXQOqNl5riIls9jqareJ3NL5v3XWMgxH51SWVHQJTR64+rgNtib2moTnT/8294GhWfG8hdvN+l4Tvs5FJ05TWLcF8R5BanrsRHvbE6azk1lxhaQqraBK8j67g98Ug+d83Dnnp0MNohpgqxbg7zaHSj8lHnpcMsJTjLFhcbmvLPZeaqAk9Mc2OA5Wm7p28NnWDnliLLnghI151en0wVXoBbQ2mBFfj9gyS0/xCqiw7vDfoe8emeaALFJvcxejzJz4lA+VEFz/2tmxrhzbug6Cary+kqJ2VcdLFdv4gBdCdVRCDAprFgvrfiD0PeoepEzlQOlDDIKKmgJLobUGQH/FyAPWSd/0kUQrcxIUkSpRc0lxifz6pWH1k6SGogjorjqVrIKQ+QxtI4HvPB8obkKTAPc03seA6pylhr4X1W3a8p5bH8weVhgmEcqAahxuS3R9iBgyLIs4IheFiSarpnl5gZY0DIrHgv3CgswsLkug2XS0dtgx2yUJONX2kswybdtMoVhyVX7piH78aOclR9QQte4dD6R8v00hDoCMhtAKzDD9MwS+gMc50c1AYoedLQN2iCNQUFxK2oxehBkPjvb0qV8ImndnBLik6osUDOmtm2OgWrolBFsjCfLxTDy/7Mpr9WSdMv4/1DDJ/t6DBnndWRmQ2h9Rplx2AjWOH6BkV3hEDwxMH2ovRwxTzrMn9KOFC5sy92nLOyCd8eHj8tsX7NI7gkY1RRmUhz56gv7OlG7M1Qy7f/XdSyH1o2I7iketMqaJ5SG4TFwRcbCZdCxvvIAQkvZ7Vi78dmkIrRYM0vxv7ueGorR6SVnjHNuygavNEGR5C4orwpEEdRtqNGlh5TBtCIbKn5rm8uunXp+4qHyDSn0X3bUNlkToIpWcmVfefUIrYYwUyx1OspJDCNxzcTL9QvkKvn0ZMOryvlpwyvoc92Of7vtOjzeLXjI7WEEEHAhh61l/+UcPkdv7VUiLaCJwBi1siDD9Q1R/KC0+f51S705U7YwOK5xIdIgZHELIdiTR6dfuIEh2Cu5EOASPopXUuVNTo5Fv7DW7lt9E/a/L/VzsfSrtEzIgMOocFK6lShcYWQJ6YK7Jj5xU5t7cnUXqFOFzO+/h1kOTsGN64ymit3M4J0mpQC0CdOH+vKLw1m2Lw2aLp/HTRSe+pp4JxgzAHt8ERN2j1os5bjsNKEOE8Hws2hnK/dhnpzJ4cK+XdJKqIFWv4+IbX+VRk8/9MOi32JH7ZXB79LW45/1xWDgs1z90SMFMUfxNVX/KVzbXxklDz/hednBPsvHb0alZqyXtOVczdugWEYF+XpuD/ftaht2CXTfDHfWqp2+QHpZcIhJe/p2mttqcfX/xZWCAJZlzUsT4qMgxiMPP9HZR8uyXekMYyNo1KKmHwAWI3sQymnzxi1LR8hJsBaldJRF0ACPAIaZUW5uP3ar65f8pp70vKb9eIGn/aF0aeVdpfIP5kNSSmgFPKWjnwoUQBydHgj8ZON+A+UXlh1E9LTnFYxkjltr5+Iql9PnlZ7Tsb2NwNXxPsRL9XEZGBcCTPY6V28WlSv1vyPWHgQGMB/ioAnoRLN20LxMrAqEwjEu2N2eX9ps09CRG81Boo8D5mm5fBOOxQX8Cdsf+YrtnrJTHlP1KwUVyaTdZ2iepSA+tcQSWXV34iRnN24takl/6V4tSuOe19SKK3X6DPLhR4XAGjqKXbwYHiy4bivosf0PPUtmoYsNAnjVcWGP9Me0izqoG4pwNgPPddA4+x6wcRAHmHfRLMpz9FBDumGT3jgD2PhEv5Q4GQZo+j5EvL8ywf6s8zPj8G18T1fevejwH2VzkRaB/UYLq0OceO27DhBSgv96u+maXFanqUeghHJRrdZSHaqAEb1UYV5IgmXCsJuysL5GRKnQeXC+O096bbSsOc8v5iMlHr8gqBf5Q0ztO8+5l9Z7qVJTdJJcApDvOqlJYfCOHYbFjacwtpft31F2zHZ66RRvoxRx7jIAkn4iipsRdsARRP9qC4wwGl/ZEHS0wilWM/cVLkZa7xWoqvWIYWAa8BAA55H3gTuvQr+QLQ7TC43LViCbThj27k1W9yY7qxHM3RoF/iNbOl3peTegCNb2eDEcaiz9ZoNYayY8mphfGxZhmxbc6sfz38piLR+WkOhvkrBw3NHsPuVqFund9BzwrpsSspnZz7fo/4iBee5B6/wJEp30HpXazdKH3/QTcomJmlGSdiPrHwN+0tYGgh4wyava+n1KUMpmS5Iws5RjhZ0KtDno8pW2MHN7DmQZvzQaym6CkU8u7oXK0vcQCOq1///DeeXupDpESY4PcPog5naYm0ICoShn6B5tItj5sZ12BrrCDsmkqXdpaHHqjwFJrg7nYBvY6Zgopx0kFTcxlWbz12UEqDdWH2Olq1wf00lpKZrcJQoH+lyOUej1SoygIF2+K7HYTMXsto19A/QRyIsYGDyBTJ2pcNNsA8qrTxwdycEWclM1ffqgt/X4EpE3W4WOL+BTTLtfwxdkK5Fb8F6L4Uzj5i4G1lvDBomUtccDL94A60QYGCSNNZXOxNgutpKiWmv82d5b6otmq69YWpagHW8Yv8GJvStWgSXyFvGu38qXZQmYhNAtZybkbRczZa2hhBn50pcTZ8CH0t1sL+IKoTBe5we+isOUSLNDE2BOnGDYW/vN2bGNFfzEH1cDt4BA0o+xaFFxw7eMl5TABPTFqCiqRGXBetRqz/q/6qjKr2y1xS9cE49/wyGfR6xlFPv6rDCxju4olJZ6W9VPQKPMiBSMbx9mQCE+x/zsmPrnjIoUsHlr/WihnXJY9le66YNr9Pniuw6ivZ/LjJ6MBLMNnaCvPEKEPwLLZ9TqmMOO8+27NvOUJ7fmGHM/oFXZew0jD77JDPBc7WtZhqZvavcBRd8upevfHMePp5uVcYBtQH27f5XuIZ+bWTXDHS/PI10diRJAX6pfRx3/u38uDLw5hUsZikh+n4exG0cm0DjuoVG7hICQIYoD53XZdhIbcnKbrWA6f43Zs9iHGlz9pKc9UH0FJE8T4mq6pRKBc6yFc/QuUPlX/AWk4KytSPxYsWtoZfK7HwtoWc4plQv4mix9arK67wklXOUe+bsgDvjFfljYDYHFRpGHDMW4khR1uwOC4E300GD/9J9eJ17WGvWpZ4LMWE6nWVlOmpohxZw5rYvBg/kQokS4PtwKgi0SHaUGmQF2Qm1Q+p6u1bJJoW5lGvXVgLws7IxqXbQG9nVmydfeVwBTy3sbLSyeCUXhem1kSL4b1Ikxlo66K5skkBZamge80v/Ham4YOcLf8fUDGr0uuA6Evs5BnEF4lG9w0pTmSgbdQFG2m/a7nJNVTgC4a5j/eaU1kmsKvXXs1g8eyHgidoUJxMYsmR4sYO48FYukWebV6ufwSj7PEKLiFd13a6KdBOSb7yUwGjaFkM9l44s5crEPuw0ZhO+ONa2MN4601nya+6O/b8tXqwZDo2ux4ab8T3xTB8JdjFRakbtHQh1d9jjFBNiFlC6B7LqbeXU07/JqpdiL6UfHCfc09vGZCLHq826IRbpjEIMQkY22OWyiNC3uvlIXJFHbkZmEmdNFCmD2hpys4t9Tklcb1ic6jzRz7C6Ys77wnO3iU2E6a0jjEFgAnhVOSOMSicaD4vGdJGFHLmJrSVL/savJFs5LCcwTYhCkEQ1l3bdcO0YqIfUrt7P7nHWFe/EwMzAxDuGB09hyJp11Tt2DHE64+4mdnZ7M2IKri61+o/y0lF5MpDmufE4FGKJh2CxCD6MtBGs+K5jyzvGg4NRbXwx1bAAmEUMuYBBn3j2Hv7h9PAC8fL7B2ytC8pq3WbbkY90WotdZy3tOiQp7CKbgt3zYqp25eMh1UNeV9cH+uKRgtwWP/29RcK47J0DOHl8k0n5dMzt+RlLt4ENe1+6kQ6cXMQxYT5isrxo3KbJXYIVnkH+gX3eCRHDvH/qtjWIp1iylcjT2Okeunw4bbTBgJeQO0pfHbEZsdxvkv/nTiWHVaCcHPPeQR0Y9Pl575BcEvQXhZYuh1yMX1HkQdIGIq2lYPuHpoOBUZFUpX0pSyVdgpAkkZtC/EY5WMBzyCtkNor9j/M2QUb6+BJMXas1NPXb/4IqKIh7HJLCTSZx4uDoRaHtG4wulzZ8YxM/OiN7V2rdYjhkiTbZhdQd/G1dE6hgaujuhs0aw0FFzDm0mjv07C/0sVssmmX2WFVVCy33gOR0JtFYPbi30h0iWiG52+/K20htEIBHMGfWkIT6/xi3iaS1n7nDKizrb0/wx++PQ6J+Gy6bMvWFHsFPRzNfqRY2+SxoP+IwKE+mToIC8ishcnHrwsGYWT6jorbDtzlt/5XQrGRZHrA6+KAfa+oR3kXnWmbaCq42Dil/8luf8uJC9ycdZ4Nd8bF4KtOJqZsLr4aZDoXh4+KKvsaCuQgY7yRwKQDSAa4159Oo7CE+2/J228CirPCyVuYHCwnPCqSa9l8m+sfssN4EBoP26bkRMM1wVwhe6q5MCtBS0j2NgWI3bTtRcIwlo0LYVQfA+5uuQRT9yfy4idaH0DCzwLnhFfvDEQ4D7e5HfeHkdTZJokEsOirDIUZyAbhxUut/fbbiKs5MjNllAQG56FY+r9dxz175mTyoEkkMFCoNT3wxyObTRDHWwXD4DZgYOA5WGZEtl584FFE63Uc+r0NxA4ZP7oZM8/y4kYYAEsqSLQbzXjDeUl6QlHRW6m3FekOSePQEsw/ftpA6SjxTf0GJvUMb9ehamQgErmnuW47ZxrG7Qtrr8UmU+EKDhT339ujjh14NwdQxZLkbiWonOJ5GMh4J+CS0iZxxwm4K5ZYcSYAPN0vGL7CxCVb4y3sCRJS1Q1megdT+H+R3NbHHNKLga5CkkyWljpm18qWqPvD1l30RpTnHvJQRl9PU7835EZUtAoXWxFITS0p1gON3/d08mDzaAvMRE1QyRxlN40Gf3y2ygWR+1ztf+q2Dl8RLcJ8LsDbgcJxG0fcjFlYSzEkIJWAnrvGZudakUKq6AS2hSqNqInqP2QRb6tfwjgGypzo6y92Dr8Aww14m9boRbyzp98lHa62QGt4ycFWsH7A5PBKid5cbbRnkMlZ1H6SC8NYtdeipBYr6CE2oNLOx2celO2sSPE7oqQ9x9lm2XxkBnw/glYoQUUQMXPeK/Vuut4RrITtp881o0HxoZ6G4Ywu7pUNbdcylDynpaE8AmgFE12hU9nqKBB1ERmIizEUdfQOFBDJHvOrUhF0SllzA2XgPQb2B6Fh144mF/QRK1IAhCgqqmb98KnInaxEZaR7lNn710duVpNkzMXdZkCc3xmvF9IQv0T9ueWWInp0oqlDh9MpSj5PDSBPUzXSf3DwBqbEV6IXxxjokz40OBohsF0VLAdx/6ZzT4SwVdKwLJiw045qZ11UsNDapBCpO78/+jOH6JZkRl+N+BLpw+SlODRRHM2RyCPkP8A3Fa1U425gOnILYrgekQU/GXWWWvvGy2wWmDrZvElQnVDXU2aaiDmbHxO06hNWRfSbjGfCxKL9Y+1smS29YZgxdMsrrfYcD5WMbuPwHzEKRrj5scwir4hebjsjDx7DYwc4zvTJ6DqqoFv/7mXla34sTotwZYYNI2R4VhJPojshq4HXUcG2o9+fnCYt9Utud/w7IGJkg++/Zu6WYlP2pDK4IBx+HTRaTedS1MRvWZiwb6VrHGPF8MIXVsKReqZFIGHfCJxDYjYk+V8zyGHiQvVvZ4O4q7jtqZW9bwbhogXPa/c4GHwubpnsP92a7BwGfqdAjqZ8TJrhWpE8dvekYA5yVHnJvERe4IkCpX+b88vOGep941trGO8WlBCbh8r1du2cG6ONI8rcRFeMIvpnjNR+/NLPLI5lC47/NQBWDwjolal/ZOykNehtRJTvw2taNbIUwigRxLelWSUUAnlTnY0Q6q31syAfpSR2eZ7fMfjOFUyg3U6xDeKpyP38OTiCO9og6xWK5y2cNmVCM5FAr55/yMiwe3wVI+ZqQlY2teECtbKiGZRVJfXILAE4gXlZObbhbMcHfyLEreOnAmUK04T/KaBJyW5V50+MQcudlE0bSqOvgWiyuMma4KM5QpBlZc06eBFiB13Dqoq4P47BUve+sZJzNZX8nITIwYTq/23txGIhgFXhxzm/JSIHvewttknYcHWJGfOLJEHiEE740uyWzoqNvu5Tf6Lip7D8CLzkrZBbZ4rtn7TozFew56z4pqfpkFpF99FhjzUm9+iCD6hFI2L/BqDnO9bSmWVc3dj0hdB1mVPDQL85d2Va2mHmfkTD2Y5FqsftqkDSPkt19bRwn9TOJPksKfHslS1zJm9DzOjdgbVABnHFvjar5CWl8MahD5VHqCnoSJjRB5lsNepgqjuwvbqoOycMNboiVNBUOprHJrJUse2g0IQU6sxhH05PhGkNfVyUputO0ajL1gJxAtZJ4mP6cWAphWQgq7XEIGrR7OL/XKRzRWmVRyzVyd53gSBxZ7DyhrId5BH8IvlhXTzjehgQsyH37Vsn9yVdPcR9mjp5qw4JJxQocwqYCEp+dAOs6reDE0ucaRP/zxWJ9woonijdKvoBt2p5yfNx9hXa57Ig556YcX3aQ1mnTdtKdjIx5Q4ODqnVUYCRXeGgk1mCpI+SeN3GANd3wFRwOqAQkpK1yN8D+ee6F0O+gPSOtMWVvj3T/prV1jd3zWy5A/4wY7OzPz+KU56fAuTVJeCtHdrQZnZ4sGgjZchr+Z3S7JSwPNK7jgmnbfQo+UM99nuOdQrsGzcImgvsKJZdZ+cRcgEX2YjHpDqBaHZ0sR4H2df174TKAkxzt1tg6KBu4kRuS2haIajqj/6ysEpXCjsICdc6aK0duuaBEbHRRmHTaRmjW5y9zglxeDVQM4yQS3I+IuwcpvZQMtge/TokQtt5SwduKx2lVeTaGN1KYRNfLS99BNwVUzQGA9krV919gdc5NcG31aBcirL3EztaDGkaFbTOFpm1pO5eWfjywZRSaX7xFl5MW0b9Ptxweu7LYPD2kDXoHbD3TYkDfRs7b9HkN565FD52x+F/O3hFNVG3uZs/atfeg5fufVmAHqnvdW0CiNVLPP2a4yQMmIIMJ6iZbM9lrDABHBfO9Gjm6ol8u+uRrGDtsfr8s1bQodakUWiMaEYclAeG7PNUg0ept0sFduxIwOTW6TfD6svi5RdzzIapHEeGImGIcT//i7LyVIbNRUwFzYPD5sSYB7IG2ANL0kv4O2dxE9i8vg2FDLLeGRYIeEQMOOxh+2u1ARNx/DjOKIhQfJZdgUgYWqw8d1ic9TMGCuFLjF2EfXDsQ/XzXD/xz7m4o3kZgDees/2kf97Rzc6rhKTnj7xLox95T+DwOViQAQgBmlsihAa95SDPQ9EulYAwFcmNzIELwmXewdpoJPhKzu1GodcPg5BaR2zOteZgRL2QMa2o1t/ugv/laCPhsWBcYPbq6I71HbRoI7yG8I4iaRswLjppeQPQq014hBTIwpuqFfr71thA/Whs74dmm9kQZoHwvcrQEJh3WaAKtiMvByQ7VkK9KZh+rlbou6EQP3HHI3dyW7SkZ2aRDrbeI/B0Le5bWZD1Q7fIvGAzymtHEtouqliIzGfvp04S9lUueO7Jf4T5H9J/7+/L1/Ydg6Zt3fkxRV7h3FrS2eIrglSbPiKByLejB0R4GYIJT6PA2Zno5UCxZdI3H8sVnu5PZG6Ir8eowxcep60uHHbPOxJl+NMzMgPmPQ6zCaECaRwjtW2zFrgd94OnfSUUD34yJZh2HGLD2eaYEW8aTWD7RgGunGkay3pXTUDdTILFS6W6WbKyzf0mGmcNIqYkantco3uje3l/dK3Dj5nG53I9u+7Er/UzAjpUMfaGZSJhsEiclIzRsOjWY8DRkI2iU0cwD/3VNJebxWd6FT5yZQ7yXlSJjp4i/s6j5zaENl2QqcuvvCjhoOsywMuqROx1A/KJzZNzcBBEb/MD8rxcEdXVkTF+Ow8+h6imj6+zbguPcgIYO1+o44ExO4HRH7/ODCdENR15NDS9EXnSW1T9rk+hahkrTwwSf9X25OCSiW3MMJcaaIby0g9imz373y8yLeQ2my3x9jL8+JM1rYgchDWIepw23bDggtmG9SjvEieKLicLBlQcRGOXvmOFd4KrLu1kV8L9QekOQRsM6HKdOj//DvCv+OgXXo+CbeXm8AIZyuXId+AfQCOybganc8nAJOlDcAsYs5B3W57nGvD/obISQ1302tA7tz+jGrZl/jkIguNXSLw2BZ+cnIC3Er9v2de17bznJ2RRK9+Qu1D89PQouaZ123UMZv6brB60yWF6AjgUr5/27CzTjjq5KkaW67pH8DBLLlqYGY8PYDsx4vMT/GWyWdbCaZK0JxhOLU8LXL6HQaZ2Rtw3oiBcCKZzNCtEzhNfcSFvSawRtddjg/jDlRyLQtN7QAa3fRkCWLxSmmBemLWaOPMEgLLV2z+jwolURoGxf0jVFiq/zCiDq/0h1YbUvGP64z7WFucmLmfwUgGlYYLtbRCdMG2tAhe/YieXkPKXC3JGVR8mAPoRHf63pJ2bXGO0Q8NMGRA2i+xpydvBh/1TEet9mufi2Zpi9HZDZe9C4dhFj2Jy2RJKluqlsurYWCVQ1sSmJ4kIOTi6IBt/V5sUXweiV8PUW9MhPCL49GCYtPCHB7+pQ0ZH0q/n9c4vgryIk/xhH2s75bHKjS8bOZe+8eaPuv/WDi277+sa0671pcMp7sOiIKkCf14SrKjpio4VtWsRvNTXzZBDZ1Lm5IoQURIyEcsuc0567toe4pkj/ZU4PEHuXMdlqe9iCo+03rp3RpG9+NmriCQKI0oS1aGnV4+CLctK2/eT3pMenBpbwt6qzlXFFxCt+u5vrFnWVk2XRORagL0eWWG2DyyuKZcnbcPQf5iB3uwV4ZJbVhsTAyrXGZso3jvhLk5lQFQGRX37xdmShg26xDPKrf59BjBR3Y9BG7KVdHZk8mW8YfJexn1k4Dlo4+0WxKDC2IVCbq++0eeykmcVWw9/5F34AQQYol3YBp+CIhOoAMXqTzOGWftktJVKp4Nn5PKU2jMmuYqh/VufItqhmoq5VbRu1B6OC+B4EJkq+Bir/J6FH7MbOlUUcZKBWLTNUIbe1R08taqa2x8XKK14X58KYGO1W/0xJdahjNL1OTF5DP42QECTguPlPDeP4WAqN/Y4208igZsO0oVSCOfG65MNE+TU81ag38E4ks3e0e7KX63WHueba8H+zfY1PkjmspXYtHPjkGWmcMgu5n3Rai1bz4W2y0W9Ui+z6hrhacDIMyjd9ohVoKnRPLvxC8L0LlNvLUkE5T8gfBvtJgqpVeIh6y5AR0CBZ1mlBpGZAQHwuc7LGKgXxw1vF6uA6Fr5amIbf4AClgXjCC3IWW101S3zyqiv+X3Tn+NxvsU5jG8PnYSeJImoZKAO4fMGFbMfUR8nl3v1dkO3kAuUhXPoEI128krT7ijCqL3td45aw5LnagAEM3A/7BfUN6ETM72lRTG0pEuWDQLAkGkGLUnPlCjrsjmtY5eYIvQMEirin+ryJOI0Xdv0mAqSpT8781WbCbTDaSjdHoaVMfrGTKpsA6kZTHHmQlIw3EgQOXXhTbjc3FomqvW/cuGGWlCsmVROQuqE7QyMd9ybyhbQe/LVNWPBx5MU9eRqD/6UtXOeFb6w1wKsdzN+ih21z3FyiZEqHa9pFAcd8BO2L6b7UNuqEujB+AcLXougP0TmqtNLbH3HQ1xe+I9+YrzQ79gAXyt0o3kpufezjubG5CL1dAgfZZNl1zhqecWadKv3e1tQxQ5J9huGje587CHXLFVp76TWcMIvtC1rYsmzS0i4AB0f65I4VNwBhFOIB4uNMMEP/kkc1epqEsQBu1PKuB0s7MfI6uIUUy29+vur6X/Ta7+3FfrBzgDhC6JdR1n59okvl7UwKn/g/x5VtQpJPcXNo9I9lYrjNdTFpgXtCurVZk5huhLQPaQf5rvIeNTUfiYkhBc1YzszGZyP4SVaL5a6m+os7llvhYl3zas91HUfFlTeoQvF1BBLItBelZ73XLT9IfyqUoiqkz6FVJCfP1w182peLYCqlTI97ovAOFYeksMbHl1W7FYCjTE612f7r6UX9CmO5Ab7T851c/kiXJIR19nVvTqL8fgHWth25K5bZCd8qTeIyK5NPVluUn7iLK0yIg+6KrDniExsj4mhECjChNktgEC1AOzFd8uPBBPVE6izwzackfbPcByN1nzN/ynZnLV+r6s0oKm4faU1/EeH38OiK2+KdlB1YzUcXtfCnyLrM7QDMtvrDX6R37mvN/NT0G2SUHeUdWupL6w3yw676MNGh4AOa9kXFn+pTvdnJL3uhgNnmKgxDBMCw91xzizSfjSArjELJkuULTA0zOhYWo0UqCvkrUQAjkExQI1UO1TXD+WPxvyTk+3e98+v3DFbTEaFGMVmVNSFOX00xhPHUHzh0N0bxdSMbh9wfn9bpD85c5AouFEigfbSWzmjQvKXJ0scgvupPBwu7MzOyQPMiSMeeM8Rr+9LcNwwaRTD3ESZxkjP2TNewXToBlXo+X/91r+vYNrC2QAt8QCmqvENYQjBTLbDbOt8e6ZEsprOd0pC9lwUQgux51CCrBB0KzfuIqORXQRZh7J5vpFoOmIO2XDxDwa/lKY/zfTc7UqdjF3vW5Y6weo3qA9+idB2dqckUD7miPFHzqfGKamvE+YZVeHHuHfX8oZkO+uT7oh0AEon629SRCUsMez/Jw0C5ymFv+3EwFqOdDjvPNSdXne4kTEtdk52uT8yQAUhejxPKKhyBdAtp17ESLUEhMEoGU1OFN3pgBFax+BKJFelwrmei3pwwVf45rjxLn9nairvROE/iF7QatpfCccyZGMrvU3GsATztwZpbw9MM1ZRnPzgKmweqXiT8Vm0HrSGFeyeq23u+COfm3ofHisEFXBo2+Wr0D6745nsOsgJWMxWb4gbd2f6GpkLJGM6WjHu3YzpLl6nvkfwVySlplQ+lkiJ6a6WQcH53R1MCTL6eaHy1JuZ2ZOmohXSXHJXpI9VMJoJ1xQCEKrZRTckUMHN2rjN60hPmYRzGmwuNiAA4CPLzutdfteuVBbOhTlf8VlXvWRBJrrq1mwYc2Rcp9w9IzqKGGEZ8Mb8SmTFG+6MEoJX3VswdtnB5iwibiaSDkNkjZSZLSJl7kHQuzmSrllgnv1GAoYC69ByTBpXWzDO9Ff4ZZgbt3MxfBx7GI6q3wcn6phJygi3TxJgse0mrAUJhC2Guos2Dwv6wPXRBZdaaejwS/JLQf0W/V31Jd0sNRqmoomo6sdc6mkf1u2l0hHlosTcSjq8Q/132F0NwqfwFHdaxg8ufpzUxcgoXygmUcdnWy7qC3ZYmZr0wFVScc9gGWQTCwquc6fLp+7zXscUYogTWYPtQxQvTogwUlkDJZhjeUGlqlJjn3zjqweKnjoNcirhpalOcDdA80iYmfHrf0JWAqnyxsExQw4A7kmKILUEpRaVDvOEelCekIs0Sekbuw4fRr7dDzkkEqFL+861DhJ1x4n/Uv2NYB9YI78rOFHcfMxjjUGxGWlTeGZf/k3hoTrY3NleLj8XMF7TmIm2lgr2zrs8xXhiaDmG8YheLGh3h91ALdWZ/u0tEIrBCNZjqzM0Qxqu60Ld81BqhBuyFi58yQcpINejSwuHABQsghg7PhT52/OT+wz6YCwEUkNSHcywKrdtlLsVZoTT6Or92itOclnSEqDqTzNKvGfbQ2xHIRsQ8ucgBSafhmfO1cvpYE3Hl01P789WrmE2Hzw+U47k042PF0JzWmpSaxpdY15b9eMN39yecZ/LMkVUTDQ/LsTJGz3sG4zD4RDBk+StH3RiQmIKxj0EGOmTUXwhy47qozHUmwS0eref+xLPjLkw6fdH6uy20Lw5J9iVD4SKt+KETtrZ3gLIHiRO0CG95Cn8b9vJhLELoxPHtTyRVqhobl1E3QMPzDSij4j+b0B2a2qD4SBQv2gsjaH5sZlk1QF0H/gFeif43XOcVGVzOFpbhv3eZ/ICsHlL3N+/42tkUeTSeAJFBd4XnCWp00G4ogyGidMGM+SzwwZGM32nRLX9jgNleWv0s5CS+06u1qo48FxwDNtG9hK52WjyvUxGK+EwlSJW5T1uG46QtuH/DOwHPnwah1ogcLDAOnjxQbbtUPiYSP0BO877DtxL9YS6XeREvQHfE1XF94YXGIwMZbqEJeJwbOCCPCaKuepHOPL7oYMqGvx31tWqH29HyZCS3DswpL297s8hFVy7K4B5EDW05FsCLjp9WY1j/zOLjI1/leKfYOKvKvgaOlUBzN1tVSONoxe//K/kv0li+gjpLsjSSIkh11Aw40TBnJsdrnTyWCjTNwVtcjGe2fC+UjzIhc84ri6lhjfQOS2vC7+St3WTbD90OJfNTNs8yuqsjmwFhNegwIyW7Is5EaAv/mkcxQnUg2aNYh0PnLiD2Ccsy79Z00X5Bwu9L2dcCB9GcL0EeGdAx7gXUWOC1Ewfr3778dzf6fODYdc9zpdWwYc5x+LD+EJHrt2aa1YdH5C3dHZ1JbS5K5nRnWXJ0P8ZUYpsTYV4Isr6CZBJz/ZcvLpgUhRYHoIgAF84lCgbjhDu1NGVkdBVZbLrV9OYrkRrj1uQ5Zeus1NakjXOw7WcZ+Ze7FNye/MBDZryzW1/OS+7BNiaBJC+6B+U+rf6H97VsraAB/qVNLIqrf+ah6weAeZEgG15D6M4N64PkSl0K7ocvwt5XFKergD0R1iz3s+FoG7mMYT4yOvA/ZNAziLO1DLVGPkWNRiprZJHqA2AfZW/ZpUvEYFxfmCIDwhcHEbTapNKYdTgpYcLLF3vBJl/gA7d6l8SVVPwDB/4Tkj0Fw9VvffBojLQdmVi3SlvbNr6IrcLaTyccJBzyhrPxpDdoyjEJ/WRo32j7CXOr7QrRLFcsSg35dq+Txf3dN5nI9WjFk4V1kwwCd3Om9rpl3IoPq6dLdwL8nEQOf2s75GaxsKICki1yNYtuXrl14YNwfgq30NrSiiSRhEsfV4PkqEgWqv1m7ESaWNZn4J90K6zHFmLfdom9abSDZH7j0MDa3uKbh3Agylgs4jwJlKZVv6feEub5xOxy1ruEHQFljfy5RCzXA+ff0rh/6pxKHStQlld5daZkungonhOlaDqg366o8j5h4Z/eZnvWlOs1MkCatOrYcHf7uvSfq3Vq8BeKL8gHOKHljd4UihPMSVZ7ziE3lWZ/nSgdUvnju6fTZi48CdK8x0bfC8+5f2aa6CAO+iyw/85ANhJ6KExWOl2VdZAWiDiaRfmFVH4to8qNo+ns/Sg2ksarsUdP0vc8iNjRVOle0xPNC3KDhCG6zDn7117ZruI5BJXZoG8MjVkb7jM91X9xn55/34b361IOt7ABDq9CDlT3TphpE0zpd6EXLDSpQPzxWdlUPo9NYoY20E3hb5ugYFVgl7Xbzc6dmFV6GQMixqXPhisUiBn9zzLXXZ9zL5PsCB20S8iaefq1lU85k6snOvI5f4xDPHsiSKcP//Mj5GfDA44oy87PhG184OH+ITOl5VMeW3i1m4sUGxmUWOjpVmvxbdshP11dgo+R5IQ1iveY8RM0+DLWmDJmc4uvs1QIDQe4GxHa481BDhdSH3PawpRKj6Q0847uOMDT0vliKRt4j5AACLANkmktyHUiAB6uEYaBJHjr3KEbRDQd4WaesorYZVDdXRCVLJL9rCfxvXApspV8NUDaKPBeB/Yju+4cMSfUgTaIKuP3aXisCs+R8A+ZV2j9zRs3AH5EhizRdbfW6hmJ0sKJZtIoqHAQXrKwFWrNvHQMv3q08mYbkw8NIUOL3u9rv0CQp6DLMBN7mk/8XLbrDefkwJ4Xhyztilqu87+oA/HhVObQyttEE54ZGawqkc/uld22mx4upRu4gPp6A6A1QFUAqJn4QpNFXL1vOQeA9XkMmt9tsvPITStlQRvWdO9aYYUyANzIlJ0C6Li5BBqAwry+3eaRuszz4R/E+nNGdmLU4P1DNE4TXqWQrvyGm5Nvp/Q6u5BAiGiOX4ThBKom/KCiDkx7AJww86/15ejbvZ8ua7DdamBLXgK4z2f2p6ZW8EZ+NKlHgElsnwD4CU+mXkMA4B0t0bjUjkprb8zCUp1x3/aGP579srXT12QLuv+p1Bj1sKWNqQwdL9JEOumLxRU9nPkd2FCnQfIZwncTaIi/M20OnPxUDovZsQcbhsra2Kg+cQMFmkW/uQu+/jyW4nfe3MAJ9kai3VjcuRpMnA3sDMM1f7ZzVfUvI/zeLRRIPUbTQYJcn65dzBtfX7XCU9WTxTUgfCYWgUa5D0MSWyQX/5ooPDZLXkW91/pgwZEE5KuVlDvG6wJxiZjX1/+CGYXOH9RYd5nZTMUIam0fnErJjvhf3YovEwCGlbFo06ZIy+f3JiMBgQUrgeBtPOOY32Lkpuvxyhx6V5x+QG+znS6oFtZ+mSTVZSB1MiUWLEgLU9QI66ZLrIsRQK2Ge3EBYLG0luhh8O2g3dfvqKBdfly9qOn+/0V6B2uHVt6RSoBXd9ZZ0iiyX2113qwIpRLu5fkytt0Vrter/8j8m838lP1qfmSiPh+5aF+gKnFxDp+ger/fBvkt3h26Wm9LJFrGl3HD1AoLXzsLrPgTF1kUOGYkB+pjFK9c300Qg980sA6VAbiJ1/Yhg7qGQd5mkhH2ffcJVj09VEl/VB4h1pvouOOmSwQ7HLZdFA+X1hVU4MQc4mvKr+riTCXT2yE1odaMehD4AfJuu8BXsao3tnxo81nsPKToudIpt5Y1CzR3+WhTh8E7l3rj7l4xypPn0RN0iM8wPLNVmX54fpONT86vW8ZesYCiYVjGuCcLWX/txy0PFu4KBGNTedrbzNNfruO3PQ9USmWfafD8ffvmgcoemdEMJ+khSQKtCdIuCoafFlKsdBa8vui59BPfZYlOCoNlxkPoGIhW6PKpLPzdosoXnghFh20OqChRFyO1ZVOIF8LmOAV5VtKlVY4cOrQ7PXbCYi2nkdk8V89HhsPG6GHPETpXxf8fNqVsE1rIAmmI3/3S2+YyXxkh0ROP1XHubsm8iXNlrPH96F4Rh0uAWZdw8kE6iPw3Q4z1zPuux+sZmi1LQRpqSaDcsX6BhoB4Beg1YUarjYxlY1VMdjXUggmxQxzlX68FUFk6b1Pa8SokNQ36zYnaLhcsbElCf0W8gQUIXb17/WXy982ovaWvM5SSwOol9UnjZ+9pm3BfqfiMG++qJGJr6AvZgyzkYbiMPM1edVTmlR84NF+THF8geBCe2xp9bINY5zW1IuZyx+CaWw0hxLkPRwKtKndoEf3VEhlqWCGBpQg9+5sgF0juMN64jYB719Wihxn20wM1DOCxkl/2izuOP98XZ/bwzK7DAcxr0H0lP4LaHTlXnB0GByYXTKTGCsY9FmH6Rr1plabJ08NfTDkSNDgK2+bfX7MuS/gYe9ag0+k9dVQa6BSnTEigV0UWpMlqNznG6Yyuv23+DUy5ePrBpiim8jufbDVck/7H+CAZVtBiMpUlRx+CWnFN38W0Os3vHaHBOVtf+EVD9sWw8d0edXJBid+uitmn+mjAPsY0W99PzoqdyTtA4QqFiXDK5P+t2FX83AzPldZIQ8ywISft1qLse4VAMUTQvWt059PtY/uUS8MwN64AUV3V68cXpwdH6Zo21RmCNy8cjbjKMSCn/qM4j4KRrMN40EsyRLh+6t1bPNXVtHQsSiR/d4QvTfXrgAtlZFWr/6lQ2mjmxOqDPAD6WrRluTWUoWeuxnWtMH497JStJATNQtkhRkO8CgP0rMiwsrST0rimowhCyo9DcsXbTvIwGDnCQmSyoRaY4IHPVYYJj12VBaIgvfWB71lJEqVJ+ySBoEQuBvb+wQTDGSBp0BklL0sU/Ke+xbcn38Y/q0tzD6vMZ2WwFFBDXQ2Etiolf3vlfC5xIa+fuDiMqpwUY2uEpjEH0lbXOk1b3Ajws6x7u5pJwh0TYK8zM789/1cDwDNSYoJi2GcX3ncqL3SHbp963LgzvmJQzVvxRYPs6gPA/vzp8IdjI+FxFI4eCCMtXvAkt/hkcdzOotYfHKWsO0hivZsTYh7GyqE0x7XFcEpb+29X3CfAr9tb7dCLDFZM2EuhPZJc8jkGbXlCP7VuV6m7/CUhrGW/nL3TT0WncrGCAwqhgA54iYK1/K6lBUSo+plTPcbTqFpfdNd8oEdlxsy05H6JuOFKPpa2joJ0UPcOBNcbhyY+lp+LgTlRVZu0JoW5zHfuvZzZMsifOlRbTGEMgOpOdLE/BkpAO3z94t6dRiOsKomKD6Wnh++sOxyCEZBKNYO4+6bslQU6s53DArKvkT0juq+5aI+QtCvGGjVNf+s2xhUWFLE/tJI36GOEBiUSSyKlmhv0//q+M5FbdNZAS5qp5eE53xB3padzUSpgiwcUpnLmpKVhVe49nBfxi8+7gtetZxsB05cKyMFczk16SXFqmmNn2l9eXHYS7fvNqZQtpRtxxnw0vtXxfhaAdkbU4PeqxGlxT9naD1F5+GGLWIzezLmFORgALU8ETDTE3KhNeOaTxLggKDOTsHa08Bb8wrRXiYsl2jLEJ1jXSBMddIxMnGX+QR3ECf2t3v0zrcdQzsXQkBDD7bbuBe+rkQE5Fng8p5KzrbCXbfcgFqOSxVk3N1vQjtAwTDI7nrkE+tRc8Vn4YrhXJz+oOnLDXDSWvsIf8rl5tNl8TI0KiyFcY2RLUqsSXS2AtSji4ErhrBXPWTOkBjhKpQH2X37TfnB2BeYJkvkOX6DkA41WhR+ewbjP6rZci9VksGXNZz2CrXGv5gEzOXx2END0IGTCES9+QSHz4armo1S2qwBsjPRj1GO3P18r2pOoKoEwqdM+099QK9MnjE9YL8N/SSvjz58pS/dI+CiFRu/tJrhj0LU5OMIDUKeozOL9RQZ+D24K7vxaKik06mBdZrqHyqbP1Te0Nb8qFWuanGc/FrqVOsMwOSj7QEYDkAiALodGY0Cjseye6inUobGw8twaZ97V0Z84ho0Ix0v5m26EnH+jjxmkDuh87pCE7VF8aiTBc5jKJfmlH/xsfVwhycXjTpCCFwTZmTP4gL8f5ZvBKahcSQjS9cPZz1SBsVLs7QGBnP7Ui9KijDv/CXt4eH3jQ7ilPKkgROMI/0mF9kXyKOezY1qTkgLfBhmUWzRPXgSvxpyo4U6LuyW76evOq1ybKZtH0ktALrflEP/csdMQy+mgxG986NVt/0L3N9mqCmC231C2GCxk10onD/gqsotnGB0LkmFXF1qV2RwDPFcex9zX8kOCNKmb6X0w4JYkb4jJzH2uMXX8vFgT7jwd3flD4SZQAERayH5sQW+gEpVYAYrgnHLOYM6oFfsCOevoP3oLmSBoLTFDgqB5ry2QADTujkmdizEV6bYVBT7nhB5K5D1T1RRUEDvOcsvgzLFTgGbqA4PxjCh3ChvIyAtvKYhCexKZLjOZIITM0HgZHfGdNiy8wf1mWzxN6flo6mRV3tClKWLb1kp3/y7cXs8ba9lkHcXCjnt9NHhSPi24lRInBlUoIgxo9Kl3YvviG4J9+HXvRpjqCzy1d/IsWuNeCT4upLpWuK8lYys1sdOMbtpfnVD4LRGKOIzBI18bNyzYw7l24akrFZpJLdlyeGqvjYBl73j7ibmIhZeXVW4fOaMhn+RQ7bisBOo8+7P6TnZe70HdGVct8OfWVrfcJ4BJjVPxwXF/6tAm0R8uHebYcxXbEBAn4ZYdoltnQj7cLhe6C4h3ZbExXL8Wxb6pAef3EXMsYyPe9dqLarjircrHXHClCs6mnqJ/V6vAtRNEQS0fxaBId2ww561X4+18NPle4yHkS3FZuHFaAjz/rPUQWhYuWu/plLCzsLo5DTYUqZ9a5mI66Gp9PRY9GPabjeJBUdyNYQ/kcnrVo9aU7Q75U8OhXRlxoHawFGUdjAatnU3NYjjURzBIpj0zqa8qTSuOSqTBdj5fRyuRH+7aGOiAARdPauEi/nHYkiQQ4WgYdEfTwHPwx6qK3MJnbrc0bNZas+v7o3YdBusUu0RCKFwFG1JoB7zkwaBN/wtahoMcNpLIFYR3bf2MAbM+QH2hlN0ZwlaT3QbqXY9vbccHdNBnSSato2gfaa4RbjDkrhYT8uKDta77hzM/YOjvFdHy15Yl7DCMSyo+i/nQB0hhyTvaVQL4lMeAAkx6fZJHiSpvZeniCfcViAEND08DGIQ74ToHgMi9wU1ctzp0+Fz75LRPjXpvze+5MARtqmfSX16lGfeHQ0+PL1P3c0WBJrMv6CzbVsCXPCdXCietHX5O5IgYc88ak6BbhC/dF/tsKxlzjc3luGLz+G7MizFxxB7iTATgqNv7KtLeDZPfC83WSqTFkv8pv0MVu66hvC7twnaYTQvz80WrHfF1aulwbCjPKfKc0P4DI6+s81P8HQALsP+vNn9+yUTbz9j1YZBj8/C25raWrUDiipPvW0GEosxtkXToU0FIdWc4IRkUD5XmyziHW06WIwFvfrPPqEePwk+UCsrtdfu+wZu6qTSZ28V5tE17Kuz7C2oUsw8I2zrbpG3+u393EVdF0FV+y84o7eDNVYFW6CrUtx4sFyKiqhihTKb0VnW3126Zwov+CZx7YwyJ9scnPWpDRZ/75cKPyiuxzTUf0mz/kcrZZzC+E1Eel30/0beBX5pm0P1J3k/kFSDksxGafo/tZlDSi5lFgzRzGUR3Cpcml/MBk98xqC6I4S5A+kwuGAi7MM8uq7vo2l6CCXGl2uDGBIxR/3+jzVQQC9uvA5fWYMRfsTR2nItCvJVvnVtpz5PHZeCd2TGRKmVoXGzSbWNqj1Nd9rX3sm4EqDgimPQI5kSDshqN3xnoF97SYZ8tYLOGmoTQRbFEKkkqKjDv+kdr9WBYpAwyl+HzmanahE5HLjaX1pyzNC/J4DeqhP91aHcabUhBWvV/V/uiPF/XjbsEEmqEqD0Y7ApnPBvBgYhjnMK/ixuOBDjxHF8CHdmvc6DRnMfB5cYD8ttu4QSBL+v/YXNZkCpeMy+SHxD9p6dKL5HGDA9+OCBtEdMuKnsRVf2+PJVu1/WNPhEtetRlqpJtOeL6qgQUoA1AUzd1YarIi0ImzC6SikIfCubL7llxk76rE3OmO/ioLz825eRahNMiG8vexaCc5MWcwnvHhw4WU5Rf4bpJGlFjqDvEEabTdgznX+jtMZojK9Go1QVK5sowVLKrTt63XVj86y/QuceQPYrX2jMp5vSwhMGv+gulDoTd8PLA1NdeFRiVxJ0hv5Y7K+QxNjxWR0YnRIqKlHFGaTgXiQnO8WnVFroheokgTEYiHwGIkaWRKMZIF0xeDo7GgxOpaSMajpvgGoSpReAaW1cHxpVV+rMdi6r/xYEqG8+TyZObeyXTYL2HTxAezaZBYcn1ShTwjPfE2lGDUnm0tzoM3OwjaKWfBGMNi0TiLYW7fb7mYAeVlQHg2YqpE+MblBRjEftwVuxxdvcq5/ozfaIz2cFNEv+tKfTiY3zwGSrndonIIIT9IPC5qorp4tco09CAJhagpbYQOOi7UZxZRdAJ2HlgAX7nE4yur57euc9a5+EGB2OSScdv7FPsaNmwwa2HYcuTdQBiIqjxIq9DJpevkRinGdrah8EtK/pc4YN5SjyN3ntFmPjmwlzfZeoG7Oqd/GOTLWelSJ3TX/3Mgr5U6FfqarkjGidW0/Z/fA7GUkU1dcGcwDLzoge+heIx2BF5ebFncPiRiOPAtVVVg7zG0wm/anJgWVvGRV4WCK9tuH5P3o9zyT30VvviDapacXWgtpS6bo/dxvRN/IqU7CEE363rvDKwyjX5e4eYAKj02QbqRohzYfxRGaLGuoH2HVlSvok1A+tXz7zWiCiU6350qon9U9Nm41scW7a7Z/eafbzDRIJnM/4y2wk/oYa+fu/qzcsDUXhLxlvcWQwCF+T4nGYukRQpfz5EfA5nUEDuoF3HuRLvl90lZKJuD5xGLvKvNvLcaEg7a9fIbzSK9py9Ch7RS9c+gTMQYW4HjFOMhaWq8a0Vhpz/vgmvVNSaA1gDKqr7K+IM+Vf9XBnDV+U34UnA9y6bGkbCDQXoBM/8IuK7R/yxU0wauMHd7ZwLi052WEp8Fc+OLDHAOOs3w2GxnqGDM5UJgfvz2ITK7x2cvEI28urPtxJO60lf1TPMlDIbxxOFBwIma124X/rO+jcsHkqGfAK5HUIkWgz9pquPyMkn+9k9pMjU+lWTvcPzne/LVYqBs8V8CYtvHKuKqmAc8aBjhLYMi99HSXzIveCqtnFFrseGtNSrAjHY8XoyoVEP9nBEeh/2CYtNscGgtOO5OTbYNtSkM+5+CzVnHq+kqsqk8UqxTU+12Rsf3I5S3Ewb+UXIEaW65qc+TOfdxvQCm4FTjGBJmtwsehHlKYrV2HL3/oO06fsqjNNP5KvM+anzoI9Noe0d6DI6sk2UnxSiDercOgS8320KeCA50HLn0kUd0urIijGl9a1NbdvjrIrvcVc5ufAr0c+lKnxUh9PJKLn8h4Gxox8n0Ucf0eci4Y4chIw4TqcGdZpqhcURD/EQx2073hjOjEr0N4pWudStJZP/yLw0eLwMln/mQPIz8XU7elVzEWdwVPjnnq3SF+6MEsd80lwhaU7fyIk2IFOhMDAJJ5mFoxdEo8r2UYlCU2N2IQ5m49Wg98M7IcvQrKRsjhBCupeh9kmvii50ejoW4zQjlPm0QF66GBOIRKmTrokr80bZnKAVgi0fofy7DmxF+mjwfnHNo0zS/Rij12Veu81c0EQQPObuPny073da3fFvb/jU5C5rXx+sZ1cgGFsCfOL4Lp81Z906Pw5m2bk/y0vVpslFi/JLbrIUiL+Lwej6YgtXFv3R+SsGvIohOxApz4lVowxTKqX+K7nNnw4zg9Cfb6n8DDpIRM52qw5epGXeMBfZAQHuOusTI9pIgMhCSR+dFiix2w5ety14M6OefrIhpU39oMdsm8GWMpckhygPZGnp8oIoKczkXd6YEEAvAhJfMa3YREnX/hh9GFHheW1GchPNYzHAJilD7GsBt2zK6IlCv9CItVOcTLERH4LfYmDtqjlde0YfmHe3NL9zd1r9LJaqbX4dAE/3nyDIPY8Y6+/N6g3W7MEK6fTRd8E05mtJ1OPK8kfI3M2EID7/r4rNTnUbEkmaL/7FtkZQGwVQWBl5XeQ9CHuN2YZBPVZoxt5ZKwV/EdlGiVL5iO4Ewqne8wz7jss4np5a+R9g7aF4V7v3igKtAa2qSUp2rtX9O1pqHU/peMNTFm6muXEL6m9wKgGjG01eCeQyy9cNQnfgxSjBvzDOcnyOkufQayOHFMEq3YyhlG/galGecwghUrGJT5PK0ZGVQKZRjQXYlRVDEsSsdLyj/Zvn6O86kFzZHuty8eSID4GNltVv36OL+bcMXFvPz+cQD8blPa5NvVekko+japXfa5e7uPfNjTdDh662/zhRPKFtUBmhchx/G5S/kYbeBq3OuB8d4BYKHEphqHXHsbU9kmtZJEy366FNccJvPye4NaSOxZDiRedyN+Avn8sjVNCHnYYdwNVGxvPZYpFPfurIzHqqztB6APA5Zg0qHQ0W8sM2OoXR8uB/LND6+vre0vNYx0QzQvN7bD/ow2RkUhUds2HTrRJndCdwERKeCbjolRy99YbTPrxP6SWTR3tB/VeBc/vD6cQc9uk3zvLjKxr8kHtrrTFLKApjB52AEWMVkduCnoz/dYniwjYyNvNP3PCBmxHyguudAdZZvppTQl0VKZhnGomFlXJuxgW5ojVdjmBUEscXOrg5eEPnn0unXq2oDRXjrDATgQjind2Ia0Kg1KbDOv2tZWgIEDMKJeSIp1MQ7WLLtqOB0LiDHpjKRWZmnM9s/kw/N1mVXl5H+NUEWH4B/yPE/RCw30cKzJSpmoBnwDCDePHbbebenE+IU6NiF+Xs0I8L5Ym6OSQ8v6uu6yG1oCVHPqTnY2kd38DaNviNL0QDT3NIT0JYd+5sS/BH0np4n0EScvW+s8JukH019D0wzb65Zj7hSgqI3uACul0BxlwJWW1zbf2dhc/mNFGbxFKpS21rCARykdagmgz0ImIb0Uhdmnyq8D7y7VWZxWZC752/n8J9bV1uiIYamPMjJ8oS7/DFJEh0IjLfbSaHzE+T2Lf4f0ddtNbhFO0jPFoGGPgsSMLYYnzrvcokeQjEMbZPUSp9QJu96Q/uf7olXRq1eXBVZ8OeiHf9XRakSN60a3qlzGeartxZbEI2YW4qig7oG6gJt4AdohFUX1DkmdxTlOWJ3+MKrv5hG96XUu1EzgF37I1hd3XV8md7ruS1vkfc1d985XdqO2wJrx5XwJpcj7U05Q2lH/nRsZgaWLNq6Gy2OT3Kkp5YIcPB8tjTC6R6StxuqL/qnXzyeXi54cqdRHxTw6pGigBp48Eds4+95zajyyMN4BxbioB5bTjO50c83fqIKui/qnx5hCUT2ZEbnzmumD/TSd/uiLQ3J23bGaIkeRvHN2bKJ1tDoYkmrAp4mTEtS5xM13vYtArlMo8WI+KpcJImHSKV7ZdxTZloQCzxtsP4ZhWj5HKVk9kOsVgxjK1wzKIHEkcSABN/Vcoc/E0C6O6WetSQfuSszgFIMxFM7HGf66+ukj3gOUp8eLbezx+hnvSmvrZbMP5xrRRsATvuryNMfhGi68QuDLkNWuQ2uGPxZA5j6KA006DUP1yxGqqs/mSVVjHX3ZdHwR6F/WMJ2n7DU2lSiQU0da+r/jtvRYvtt6Xz1wpNbsv5wZJ3inVquEV7BvQZDmIxh0+sYQYS/ZrGfsZMoUwsomtvXkvW4by5V2I6ruEJ1zJswKe4UKzvu0fEGp2awFyLDJFGOeebTfIy2dqcnhWL2YyOYg1cIl4UUCncog5iQSzExU7CaBfcDC+mn0/IeqpALmGywBWEjoQSCDry0HexmITLbPtDJitFso8IvRB/nLmjFKk0EKSUDjwdEKmSHowtazE3xIEyl66bah/GxkgNyYNROzwgtvR7a48ukwrEjDCfyIzJOHa2bz5o90TWY+w2zFKBGsu9yqbUc6OJLfAAIQMJE2ipSFrJs5kopWNUmKX0+twsGvvVUnZtmPFDrMxqSu/i9xs2d3x+gKGSGH69ZLFasK9Ci73eoP5cbK92bCtrsHwwB9dsSIkZhGOo0WNgGp4ofEePpHjpJddwY36ln/mF5Np8wn7b5eXjZuVgtWIcKymw1CbCUbcSciC3po7JkPJaW/OtrlVScrRxpVIpNHTTE1rYyyJOKw0brWtoicI27e3KtTGsRHPqNJpI9Y4EczQ4QCPTTlywbi8vdW42uar22dyu4v7qLe3ev3B5Dyo4E1NUpZBxnI4ChQf6tjNFV+aWw8e0tG/CjHkXvFf+yXTrqiPzonoN6xjoOquA/O4b6TYkBxDihhdTq8Oh0jdA2ksn0Z1dGCy8HIHTuuWYVqikids2SBus4jBQm9lf+jwL7rtxpgVQTkL4yO4M0wgKcIV8yW8mU01TgfqOux1Ebq88AYZCigt3NyJMJpaixK64lc1NyRYeOmbXRJwQJeVDH79iSghw71Au0fhjLBbNzVJPQZ60l8tG9AsFsnn/8Exv2XS5RRnnYnyyG/ZQMAwnw9VT7noUCUReoGR2HpgsmK4JsuDAlEtoSzkCDLCECnZK0wNnEy1xaGkE7BViu5IGGIe0r4fJZzKmf6Q38FYcHvKjZTMFZw1UOwG0B86p6lTsP3mI1DA93Jp7w2ciEZWWzULqTYZfUNIKcssJZ8D3XFH9DGlAvH1IfhHsbISWdl4HxqJfShSQXfAkOKCQEVPpKvR8mYjaUcbginNJmTKRXrk6YTM6852Grj6ebC2JnNdFtGjLzSZCpEp0M/fiebSAFIEIQZns9lGvD0qB6GYBRS8ZGIuCEcbaj/ON5hpvBtzp2U/Hs0ychVtYxowvQgKvHRP4yR2F28eHopG4yloFJjSzrONOxTbytLmdQw1h6bgstOZiclE/QGIl4AhM+DyR4csxlpfixEBdf8fMNcgCSrNn9FnYhVVsLldyxyIu0iLffpOGIVE81J4cXGKGp+mK5qoQHin/Uejeo/R8wzDtYqDEgCA07oQbfvymLRBaZR0HhxeH/2yxKnqjCvyf/3RNgFbztMS3bqjsCGLS5dvv17Q87wWVFLixcO/mDm7AMZdAfvPYKYQ3CuCVkc8lZFlcO3nnNgzwamIg7pb5HU4+AR4BBVeK9f+SvhZLe+OZanRF+soGHm3CBdtE8a+IRdTpHhL8no+R2vyC/fNZwM18Y2airOGLFAmGHF8Nvz3/R8gdE0iBJJkLSk9B/SnpxovgMVPHM9bxV5c7qqNiQxkJPbY+LTJSVlBcnharVEI9BsLSa/VoKIpvBSHxZ5C37ZBZjC3xCds6b13RbzuQe8LDs2/VcTMUC5mQkqT/Bb8TVQTL/i163LNCpuHXSZGFxx/REt+1qKbLZFY+b2Jsb0ap6dVnXX+DjvykpZUm7AkVLMSBupRwTmCc2GxrOEJ2Nj9+kiQpi6cFvPyhVYK2GW0daWGyFudw1/n5b9KoJycSPw7iVWqF7ReckrswDrk2U1vMNHwjTl9jGZH5pPedRAoX9QEja4x7ogDdiEZkv95rnW40ewPwV892gZHPdww2gQ2If9pq1uEhb26yAC6jUz9+0C5DVoJLUoqV3nLuIXqYSQOnjvODed6/OLDVQzAUo1+S5Hjwlx0A2+a9I0MzkEBOlEnFcWYMMS9OOVOyM3lEwc63aLH5FfQKm7Z6kE1t32+8zxe/saljib0DyUZyUzB+/1wUZXi1LKggyZtwjepE0YvOBh8V/YGOyhnyzL+ONP0n7naJmNF3wLSHpNK6TeYkrf3xMghr+bAqDBiwA19767hSDZsKqbKSs3FbQVKM3B+CRIa0Pp98l4etlteR6263RXoj2QNYVEOR8cLWnDTzXmo4hnIPJiLKfKqc0hq7z7rwElgRku1YQL3hEEHi5d4TjKbd1KSKSYLBL37f4u4PNQcQqr+qC7h5RZLZXsm8+0cLnQie1ppk7ldzFrmOA3Zl7tffsvakDoL0d9sjHhxdUkSY8InCiJ4eK3HfJuPmLnZ4sv2QiVc0UWiR8MqK/v1zNR3jAsAXclCxWl5wXjpSGnjrLcdJ/tFfqKSfVyrB9MRjhX6zynnBkzmGou7dJZa581p49z4WwPp9ERv/HfLjRmFsvuueqlsWWbQA5i+2oyCPPghkAXqrPMZkRlRIVar9hZ6tVHK4bcikQc/NZ+IqW2szMW0jxwe7Dp2Tt0tcjU2uY5CINM2zrJp7xa4LwgIOLMNHWGeBTJdYtmu8yHGalOpuiYVNIcHPoYvOcBdw+E7pvVj0ZkAeTcQyWdg12DNhUx7U+PiJp9xRBwFyfKsZB8rk824phQb1NtJ1iaZppycc6TDauAymjr8wAATRf+xJp5sA0yUzetMKfUpVibo3R2pqnY3X5c+3NYJ07GUWhL7QSWdlqNWr2/APcVFyYhQdDCFz21lF5mZezKEJwi52xh7X/vtISY0YDbhUzMZCBd93X2Xd9zSkuyhGzJqGRwauEuQa0j99KRJj5Azz5qQQ7HZf7FJqOjXBo2XoKL1Y7iu+ktGRRzUTRjKEzPsa+pSljfHEwSq902UHXWZCC636WqFd1Bl+H1wnbijSeudsb5L9tatIZRuJjGn5CjlHhUx9Qj7nwHzAzyDZqQ8ITlje8xHKcQWfjWLCnNzyFMALQqKUe6GTREJqMkFmIbTZBKbhuiBblXROS5em7s8EZO5Fjp5cJq28ZgaJrxUcuPQOP8fMdm4POJBGruArBIkBKPt/3LBSN7yVYLa7HeodDsi/StXQhBeGaw97rpJ1i7/TMGLUASPloHzwmIbrBB1EkhkYHtAGr68RcBvnL3fWBMwZ1vtIJuONXbpvkyjvyTPB+Dhkz13bNrkyDxP8T3wIu7zeyn8KOUpJkyiX6qtHeFewaJvNNbLbGQl6HBtfWCAVGb71lOXShhb0FtrFq9VpVB8BUEpHjdN16QiA+TXonY4tggLNnnEnBHZdo00WljFxT+vcPUjYPrvUx+ZYTr0+29kQf0hUV2f+xiJhCJO+GSt5ZGw6c0urCRjLc++LcDZsx00U8X2x4oUR3evNccrjhngGhuAe00lwGwp9f7a3fKlTYqbgH2bdZc7MSnaYhLVfhQo/NDh/6nKcG5iXrTEeRneRAwg5KFbyWnnjzjE1Aq00YWPhzJWWL8Jul9lRCHqbZHw5HgqIXI5bdKtIECSkijhewdMyeunB/7+cnX5rEP13igjUZUS4RJookv9Y04fgfsKciuLgpgcS35LQQTdkCXKZvY4Ds+O814QO4kTUeFe3IEbs8qycdYY1/9TyJrNYM06JnNQ7+8/fVIEIxdsH4eP4czwaxOPx3pftcE8VQwOOemSrMmv/oazSOL0Gfhsw9e9PfE5GMqMyiCjqOoVDivY7DMlETAgJY5EniLozPcINcqFmHh6eXDHza/f9yIxEX3Vk/qnGe11VQUaOem5AZyJBUARkK8zxHZodgFQ04AD8Wz90Ltl9D6uci2N+1Snv3oVcrnbGncLU38qE+exKl6ZxAjhPclzJTOJiw2msTk68BAEvlCI8UmRsm77Xcj9bKnxjdj7TK9k9UZMXwbyf1MBgflMVGgYGxAIF+JpdWYCMD+7DBT/5wKUjPdvtJQcRk0c+y0IQmlntP3pVW7zR3HjAXFDE00OTfDI0tz2tJefeMLzPDMd4xDNWFifPLgbJSvnjYG4KxtYdCC+t2BBJAEVkZMg8D8fR1yFD0CFSxHAQE4IW1o5hxoUg+e0aENaiXdDRjbrveYaKBlux+JUxkyvbskoybVklQxTMqM5+yqbfiFbxMhA/O5M/UQeW9LuPg0muRY+QsfL1bHgV9tVJ713VjiCE5a2moocHBVoKqtolO8kam0XilZw+WFGMzE6/oLqaHmPHIfFc2GqPu+CPgzIJPVamA0ge03VKesKUhd6q5b35eN/c0+44OrQ8Gzlf7UGukOavV4UZRu25dQe2YFsGYcdvnklEcaCiajnNuKUH2O7ZHxadCPvPE372JvYe9TriDFCt2kFZmuySpnU8oNDzw4xKTzlKyLKE8/kuNnsB+aL1rvlzfC5dQB1KmLCNNmgZPTeE6VrMiubuh+62ZgXV84ADJX+RVICq7g7F9IprMHjYV+kNnyE0q04yPk/nT3V+3qD22dB6wPsDtKAGyxKKscmqrRfVRu7j5E2ANaa0UxyBxq2GMacRYeIi6iY6azXcntWe3P5wtBSUioeOuMoFkd8gfQNAsuBUhPbJjNhsAhHsaq6ONZYmUEFJhASPnXuMgwE/kVcYRdSrq9LNOglZ8rnp4yqK1Pip1sL2+XsSnxrscbKzSUkKioe5ezeBu++3DC24LMqvNYYmTubx4gXvy1HF8dY+0c/hJm7JZqnu9d26YiA0teqh42hZ6cNwszN39ZKVTjyBb67MHJfA/4tXqhQnfwtJpUEz8Sp3mePFdEJAoIsNeNzF/K8ErpbMJMsY55p8STJbqoDlyCDZ/nhYlLWEAMQl6/eTdEc5Lg8KFeamP8AP7Ub77t5lGsnl4c9hVivuCMNen/w6ZM91AUv6K9DBjZL76q/P59/5O/S4yEfs0MCdyjvoEAwxgGkjCwIR+ZM0HgWJAgxmRfmIGpjeAeAmqlW9dyXuLXqQY4y3YkxZHvTFpIbQEqEFvmYvcsYVnzuxmhmymz1agXqnFkjWh71tQ18DV8JqAsZTwHTHgi4/jY38qTBerpdU4vZNj6YO3ChvGDIOaA0dIESsD1rbKD7LrYwHSZ6+4gW4Vw7MVAfWYPspPbl7hxS6b84J4jS3iLZhx5aJDRFfbO9nAlI8+BXaL5ew9CKKMmbGr/lk6ae7T84DSzIBndf/ClIPAw/dbnj+BNNpezEwr7uNUsnuUj9ytnl3HR5YNb/am+CGYYlIL5cotFUCcYVr4XBMrmAyJ2OS0fDPls8090Wm6rR4bgOf5wKhjvwv9AH0Jtt+artPAsN989WedymF3AHUOmOst+vAakuRWr0pyuEC06Cu85ty9Mf9T0aZI+Nry11eF+Zi+PFY3ZXfGg8mMXHN6aD7gGc5hT1j3AGsMnIMv2ryggD0f2XcqAH5aYnGdukDkX0npSzVwq+g2pjDmQG99/7rY+xhOO5wERFN9hxTA4DWZ2u0WOyk3l8SAUwJKCFP/4GEejmNobUyZH9zO+Q4s18Jxy+cPhnFwZVCzGAskbo7t5H/m5qh/v1JFO0uC88FucVG+nH/7fg9j++1NwmKB1CpNXJtnC1ysYdqjmzdPlXfV1v0I9ydA2iHoMK2pjuEYzbNYmDkIpEPQ/wU3mPOxbjIkEMlLUdeR5V9/ru7zxDOZmMW6GwO3A7wfk0jM00T1Kll84INy3NbDxsUQ3OVDJCH4zvnvcGJ37qYDSiIX6cXlyjedcmpvtZWpniqXxyyht9KX6NqrQWrsF4JH10L+wiaSNzhQ0bijXRPadSqRLl/iADhu12Bo2bMjZTRUH7pWg5glWxLBkkG9CYN6doIzG3LzyBFbwvDaQf+TTPxwAobxXDlPAiBeW6nYS+6vPbx9bNnpswKK8Bw+jfIHNVVvOlrUhIpPqwFwmgm0/BSEHtIVfBWd9liWjqwYOiJhfrXwT/3Vtxy7YEdyS7viZzPUkuftoPMa+QuC7oBWKnuTVTL42+sxpUda5nNnS0FjtM8l+MBeNsjy/I2lhYTU8Fmgv52ZkWw2EpwcfyJEBanjH2398VYkXx5ZOv/bl9Wbqj0TLJrMoCg8J517C/vlpmgKh4zCiH80RzoR/CT4+PaRN1rC2qd50Ge37Ows5cXwSbi8nLTJAMgKEjM9gmDvHz5jwLcirsORwpKuOzBGk41veg7dDGQ/wYQ5e05T5xkbWmpSGwLAXFdFDyAO+adX8eSJ4kLumcDM+kTk/ZE4NHhGCh651yrioTQsxLCCBfB4EqhrlGcJRMpIAfyWligjN5jdHwCYeYdE3Uv5dWM1CPjxF9nMKC2hGHdsEQ+nSjJTrKE8aPAK0pGebokEeRNR9349VtCa6SJDrWdGpzMedJ5ZjAtidphK6WFoPolLxOGNM2+dvGP7MKGNXPSguk3m2CYrVdGzSBIT2IVNNeerpeNXU0UPdH+7IbLik3uVxBT6KIUcPCpGP/mas6uKhhh1ZO0OXlv0fE2FAkmLEsOXCG4R/EhtP+rujW8RJ9NYR9xaDYFkgYCOl2ixQwqBG456pl6OUgKWzwpw7uoLGmUQ45Tg3bOY5B83YXfUskSmdNqIZ4rCwY2TTYePxVIcbzjt4sGqHFUDSiO0O+9pXte3jZmA1GGg0PepM4NDbM6NkIFSuSLpBbEtYyp/nUPNY79mlTwaTmAHcd7qzQahNeQL71qGzwHlpvJIHaq/Kh9MLt199BjOnQffZpIk1/tY1MAYJKIQr+z55WwjTlnJVSOEgHMAEabblwttukJ2xRI/7BCdkFLqiA9PElvNBDQDtbK+4jmSFUpsciJtt/B4sn+pCn6Qn8+IKryLKczGfCf/N4GyqqyS/QakN9bPrf/lxnpZdn5nF6/XXnOu22CZOzhAC/WkJiU8Qbs0sDtLSXJEfNWYSFb0zyIH3oKPIYJTdG2sqrdl8xnnBHtgV8yd4sTNiFrLniM67GpNuUAcjp/aofZGMj/mZvHosY1hrY1DP9sSn+nk/kQSmirvINOIg9XORgKtDaHpe9iXgRAuML3oxWQk/FXbXZqu+71deY9CmRNgjjZwO5B8gcHGZMknlfUgJsECQ00W+Vyrvjimq3cZQ+7cB5+srwtK8RGUxb/HpWWqXEThswlmmoO05EXzXbGyombe7llzdCK/Jzb785cxhK/fcPoz/uc6I62mN/ip07ROoW3FyqxMn4BU7711xnFnRz7Ggq3T8YPkMYG2nTiOs9IVBNpO+SSX8Var+v/tilB6iRfcJoZ6EkEVrqncsHsNFOsuFQ8CPS+C2ibNo7emIUPObovsGiBWFvmrKs4VIRVWYSouoj+6raZ+wUeGz5CkaP1x8tRlpPSt6qjmhArNNSF1jX3rDN08z8vliNRDfDVBtj/+un5PzI6IZMiezsEObGuQQPFS7vYinWXwvImJxzZB4tqH9r2oUHdzL/5b6vfvKpBWW/skZUFwHTcduExctmIfIbPpbHpsS8EOvL7VBx2raG5bD0AWncYZgtoStVXhbXFMOBG825DEXEanlMpuA70t/bfPjji0VLXalwx50hTQ0ZYv4o4qi0P46Uw+dLB3xoX90WPQXeVuHaQsun959pj6OvIwnOBIthJaXe8Fsky7qujvD4MPNHI4IJP6yqcexRAFr+B4LCiOzbtFnnu08gjVjNDieTsXftYgAwkxjntE52Dtuj4yBN1hVwb7NmPWyMbv4AgC7c0fsJGPMjSFD/c2t1yJW1g24QAkg4Rd99t2SGLCZ0YxThS8P2b1BhR4K27YJqX5iX6CDsHwYdsc4RAwhJBvzBZ71rFvmBUTxTgdtW9ps7By6YX4svnFH2pr0XLYE5/EaTqt/ommOvJGsTDBXyybDvjHq4/cCgm9pkoCZR9gLWacGqrpNaZoydJqJaWAPe8M8elYVTVeu3NbWdwp7jeJIdX7gA+1Pv3lWPufPgry+Oq2bc9cht3bLUHhl+tiFsP2sS6JKt+gnj8WpsRUmj2xQmeXyTVll3u8UstV04Dqo5wPnXnUc1f3aO6AdDIW5hhG6I2t6Gt1zGhPbQ3e7JzTExDZsjSDNumFR3IpBueYgKlFLh6+KRdhvh2OY5GixKheuuukaAnrwxwR7RzDXWVWyfGyDvPQa48UTRsmCB3EKr4KJcOtMAglAC6dEdFW04FJ96e5hL4YkTjscaMB5pCLWGWNhZhLgjrC+M3sNf0gyZFRR2rboslF+6ubOrn7mGmNmbvKP7SHFXFjk4stQNwCyGj7ZfY4/8NHcEMpTo4oobhJyd9n/L4je39PTJxtKee1Ksd/5JjoTXQmdlV3CPQGw2IYQ8rCoRepGJiEehlFLTCq6UovJgkre3QMUHD98ypxoAzXzEgaa5Sg/brGaHDlZocczMu9FejraeMHgYQZ0FSDTsHRWi8OONtcwFWc9gvoftYt/+6i5rMf17SZ1bm1SK2IPMLgJWzkMe+BqkhicDOvSoSCuVAKewS0tSoDs8DvpUWh83vxO5yfJGlRb1wLEpKwPLY5sRfBdsnhiXlx0qJFoJwL6oJYJVw6KQdkPUhriROcwC1CYEqoTcozEG91jzIQgyAGlhvYfh5+Lvhk3M1Ml6kb1eOYqG3DvaKhqP38tIJ3WyQJ5sl++5a6E+27DSbOXPyZbxvPf5u/bjRRRnEX2PQqJ6x1kosA8XH/WidWuqiVwWQuWia8USipEVSimRSVED87axSWk23B2wvTpHKlDL9tbvnFo6Y7F3jdaqtpzE65KDfbtO+g2tdiXahy99fpoI+yudXrN1LGZ4SybtDLfkWg6n/iKif6TsV1HCFRjnQy7qp7W8oLFIL2a4bNnp6kjARkOHOX1TMFL1qIqgcUchNFO4S21zGfZFEa9vxzWghIfb3+VIMm8P+pfP6Syc9dwHODjfBe6Y2KsYfz6dRIQOgQIGh6Eg7Yq9/y+hC4WZAhoLvtG6jpk0/4Def7TyQgldL1LhdCZIhNRrBZlgOutTf1rXKEjMt9/9+Uj+zQ24+1OuEjZu/0TsAGhUQX1ZdSoh3reF/IizyTYlgOoHiX/i2SU06j/wDCApaNB2OTnPYCnz+BiKG2cQQDXf/GPVvE8O5CX9tArPjYjq5f5itqbYooRD8eP1uJaSCCsRIBQUEPZPLb5SHq7E6bLRIp+piFKJvA1HKNqWDBzzlTLhLZ98CzeQ3MD6es6TYhgbMJzfpub7AMo0lH7s670oKq5ZLglnrNOFfPrcGGgJ4NWBpAqEd3LhSCf3RsH193WsRRA4R8nxri/ypkTvHC0Y63STuJJnCJr5FDOusygEYrwdiDo3M4YIGYMagXChPprZaOO5sGRj6mIhQYf6BNv+Ecnn1K0WZAIXPhwG7TnSBfeAgkWYsCcopdZhNuVdOmyS6mV6VeVLFBzS9DMgby3EOYompukjcO1qECJJKsioxFcoKpVZKn1ecyNyzIIAjQos1MQ3me00fDN+6GF+ciR9jhIlG6rcoA8Zt24zZ3+FnUL6Cfa9UQF58Gl6yfBdQapieRukpvQ8mVlIw743n3GTlKoK9uNoc/v06o8FUWHGS/6Vi+4FYEztEDmhG7Y4zJ0MIoW1zql9WcWzr9Ohl840uDgsQCv1DoZ9d56MAv/5m0c+qSyJ8DqRISs78ngS1MXrkDjDXJ7CUWRn/gcf5xkA+WBobCyK5PZcYHJqb0Nf3T2FMESJ8eFZj6jokPHpuyZSqW7HXL/MbQHJGdyzzSwIx+RyzKdEyr8ZxZJS7l/hcXmWByLFZ4+2bQZd+59OL0ckrXcWGbS643WRdxkpBrXo8IMYRuITSOmI2HKoyN3A8YwOKGexa0+qdoCDSTrZ5aLNLWpz9n7jAO4rVIjC5pcKvrp34Qx+RJbjT9OFxAo7JNGpKXfwoMHycV/V6+W2Fvou2vcWqHZbjsA7JPYqhBGzh6lpz5WGRhVYKdysQKRDraCwRvYcu2cVPSgRl3QqeC/FicdM1U87Ul5Dp7cCxspYqAvnAWqkLBCQFDrZ61deo7pDJDMgJCx+uuPZbr0d79gtehTYkxkMhf2vu4wTU8CWOinNuMBmk2Lnl8lraZ16dfehWUYbyVstyxICFYbnsYThiBp6+VcQO4xjlLIwEtjVAluHeT1jtuVoCRaz0AXNDi0biKP+aR3bEYCfiedz92VqoJCQykPQcuWPqdK2v0mYQjyDIwVwZkm41ax/7SbpjIawf4w4NDI50RUpWwNIE7+EgNMPsBmDAM9ZhEQP6OYltjuu0myLmYq6ZHboDrQJJRSI0sitpeF5/MZR/j6Jtb6qZCcACgRRHEzlfIBYZebSJyETPChtb7btVAoRYkuRFhxIFtScSfyaqmhf8v7DS3vMrmNjt9xwO24tXmxMkqI/G2Eje09xHWu4HkqIpTmc7yluv2RfAGyr55LV10X4q0f3l/OdboPnZKksE+SastlQWxp0el6QV4by/YkPVUjcEqDM1cbvE3u1TBkmcp3kI0ZvkPVup8BV1dRRKOG6Ik0WQbNYcJnzZH2Brv58oBiqQDckLPoXo0Y0yPaCh15e+90op0fqu+zqGcH5eteU7u8hYlDmKf88uDHfgIkhw4lmFisdACg7ug+zcGpW2jgxWHdthvLxxvfavWeUektNVaEGQ3eCoAXD0KFp97h4NCDRjHKdkuYi7Po+EMhYpgWlFwg7AirFZ6cpV9HjthE41ncCTjIoy7YopCgKIEzY2bs58mUJvBONfHsWAWiwZhbOOOk8VjiRshyeRaNRPdlEwV4gD97cVJJHhkSld1A+p+kLwgc5yN+dMziMa7n2yxxFg5NLQ98FbZgZyMgL46ABK2lqF4KPduWtVGtMkBKyrUkD75LVXE85O0OpPz1XoanU0FJcgypakfY7IkweK/2erDNcGwHrmbbQyMfKLqSnVjosJ3rguWMdccCdG83GE3IOBhI4rXyDJO7bOPwtVHcgUgH1fsxrbuB5Ny/EmPbfiJ7HnyhPJ+8YSY07dnvAWnI0IRJV9D2yslVHswdpEHKWMPM5OYJ1em2v3rs4/Ltyd5nJUsTyorY6+j/0kZ2P5WVqciYpb+Dl0cVre8IL60I8QtfMgnn0kBhg9ciTCzv7QmtzFI/xrGgiT1MMeZ+sw3/Qwzaep5LdDEXCwCoctEDDLncEZzPhx8OmtlNUS34wJmbUY/AdyawKWwrgPQoAljTnDKj1+1e1N5jGqYd+le0BIQoMM4meH/nO5dvCtg//bk0rv717CRnMv6VF2qnal5+GtJnDeChmd+HisymbJnniMUf3BXvzuR+1tOQaxqK4tGBF8F4o/jqS6cXuOcx9ySBvL8S+7GVR6CNbgJZj3J/bKdUtP3ClCoD3RtLt6MpZ9OG/Y1h7Mrtr8FJSjRdGA4qgQI3d9oxYL4TsG06BSqPDlzAZylUD9fbfNohUtp/okLMo7XnlMdjeYnOUgXakJRfqCL+falVIJZ9lcWxZyo+3KEktslbnzu1hR3OWAOD6ZFIcKD8w8g9IQUmyOZbhlmU4P64F7Nv8W4w+3fkiVhOzbN+XuHrpSjJc8t1MiuQojdzCq32YmiWCXqT2qc1chQRKHS6TofGVx+qBPdTIGkiHo2XJtNyelaIRHqB3CoTHlT9mvodWHCSqfsukcxkC9YNK/YWjKw2KzIzshzSYjo0lNUmZWzylZYRGkdTfZxjwUTTE1bL4emJXb/MvQ97XzbPbDLgzJSoqrcl5SR0zgjLBDeQmGyIAZVI/+2Jg36ZSpUgFiwBBJp3B3ynTxdmx+QV9vjIvUchEt0El9LnGL5g4+nb8iM6PylmVq4/8GF25XRbYJTD7JLHvZkFKDvcfXA0eskxzix3JRoffeUUKF0zmXStzsC9dyOXJa+1nycQVwvyefp4onpNm7sd+A40X6jPcNqkrJuVh2wEEJdAMu7W4Rif8h/eQPLTyJJaaXjfnM0o7kQSH4fVl8gpexs0213ybVpnPb91BfV/1nJmeKwrkPzxRnE7q+VTAtvfn2DmlLYZ6jHUw2IpE9CnG8iPh5SzDT6Lzs8YKc1bY3pa0T/RZn+mKLYzEJNi8H7X9a9xsPeBPxgViRDd5BZpKuPHkUWDZBR0sK6g7e+ZDvP2t90H5afKUk1EfzwugPumjpFNE7IMe2gD0TEN2+RT8BULDgozTXxV2EkiNHNxNhl9fQALoI8ilovUNtTJk5DTKRFNmFRMZXsRMdQWOjGBgzMzGecYIzY4DBFgpWu82g12qjYsq2X9LLnzSPb1aY6icK5TtClk1TZCrOl1LyTEEF9AnUonNlZTD9EWIafYRWvPWgjo4GYN/gAXsmb4Z0Vx1N1FrQzyVsirrt6liNIM/wncivyc8mIFnoneVB2N1xQtv+1TKRmNtus8398LJeAdepi65S5XemcR4Yyy70e7RoQp6CSgHvOv7Obo10pibwMUMcZ9JKceKnJO3SfTCE4wmH0G4R0xQ6N5tF20KS8F4nJYHdDO3tfxhOaeVPIhA7sEC1O9fSssnRri3cdAadJ7uVyXUtQvCMy5Sl91O/vsDEWIH282/pnPWVrh2PM7weCdJd6shVQY/dSGmF+Dn/lTwiJuDG5sxUo6WVvsl2+YLdnNz6f0AHoHAk6bgrr4g2gtgo0USDnS1SaS8nHOmjU2T2y/Xrteq3gQMotXi9Ryc8rrgPsQlh1ymZmQalWuSiXbkGcJbWKDnKXXqTT1PXmNga9oOaBs/zo5XOWGaVHOk8kJmFG/ADuUDhqTwwfc1s9lJKUWGNzgj72wAXFxU9oQx6Z2TURIASESjix4DE4rOlPlgEryKy01g3KGt4URsFsBCz4VX4d748za0UU6tJKdoxJD6XGs1PWN62LAXq6aD0LoLMFMo+EwekTJB8O47SjzhZvkrW3zWvyTnrJQfVbWFb2h6aWR8eLZHN3xGP/CL4qqAE/NKy4oPyxByoOb9IvFZtwZEkoo3wLCWpdv3STY43MWlwL+UR9Hrqn1Gc+/etCjwmgz1adGuFCdKZ6K9Rg8ZyJdAAqtUOE7+ZEnwOD4h9PWWPIuJlhiqpMWzxWmvDYoiAssETAMIPrDI3yRDcrAPM7hYknzpufXZtbPTGUBLHQylS6Cd6Lnv/BCIU+2+rcrTkT9RETZ1Ww3NzNkhvqfvfRuxA2Zd3VKYiBne6fABTXXuNdUOQ63C5qjamVJj9Jf3USK5OSuJi95+GxWP6Btu+x8lt/9Ngs2BrSxz//OixOsaFDuG3BO+s7hSnWMVh51sKbMKtRV/YlayYKIhuV68sjRz4QFiP7J0vjMPeKZIq14p5XaBGZFyZ3wCIjFu59R7C3spEFoWwptmiJTDEtGi/auSuwmfCRGuZ6P+hvtbZrrFu+v8krIxR7ECko6yAaH4HA9PFltqhPxiOM4ckxQRrtglpsr6ilKwixlYsilE3giWLwz31ZIeUDitQcHyvsMVfy22D/k0u1eyFq5Uyx2oYaGUF/dhTLnxqDSUvQq7Qek76tAtsiHLEEXH5APKsYn1UjM3inq4Nw39MNv68oUj2sQkCggOVyUfa5K+B5ebO0qjSuOmlWDgNai9fCoB0uBkUZ5YR8f+IZmf8TNzd5EQz6LuxjePqLOBQ8ioNJloqaCTeQoNAx9yiL4oa3vN+bkXpuk3su/mjAuY9DLOYJQgGHPAP3xn0OT9TdIojEPmDbpqvgl+Kvm7vPAEEIBiUFs99RXr3FM8+JDarsbCbT1NDqtxn6LNlrxl025ey57GEI0dr+vUENLJdolqu2UuyRFT7+rSSosoyCm3bBJDMghss8aY6HLthIAiVnsfdaDTXSh+pGeVbZE7xnCe4L4l1rhnzf8OkIZbEjzUEU4nJOz/g/CwK4uUVogxDnAiHGJ31FBxKPqfmsL6X3tuNYlHbesQmkfbIa++x+2SY98Gfz9XLSF1CQtgk5QLEWNKOQ+GdrM4mCLyTyjz+Kb8s6F+E0I1Iwm/B1kt2fYgdQqJ54ckJUG4+Bx1tv8baJQGM1yACaRmExhNH3sjQtkQECrGwncwtT1Sg34T/5WUxSuc5j15Z33wm7bDkxPU6HLDu1zZJqTOod7AEE0e1fDRg0c7hgznBqqYIlg1MQ/vcafOqQEMyKYAJW202ucdrtrbGSxPGXgdfcD8OgDqroNrqKEnNIObeXIbadKHH02bT1ViPNDcAWWnqCdL5+ZcA9ghDevW16braDkSXAn6SyYZHRpSQ3aFOkYC+G1usI1BGtWyf4o2Hn34I+2cPJZ37UHPX8qzLp1pyuSPhdWsBK8kCJTwRAicXQaRmDjA0gzaCiaFvVinMTd/WLF9JBV1i7sp2VXkmcqD5L4QwS1khEdHPAhgaep8p2uqsAkKt61+kgl5DNGrT3vZjyEjXIB+V8R12fdPAwaamTQPp29rCIBnSNCokheY3LEauozWazpSmbVb/Q5vfaU3aYxALcUKl1rIxbmyrWUyLrQ8NtUNZeIOvJHk4E/PiX6IrEJNJOcoYPkIlUev8WP9rO02QiDnJNUDWVZ4a0YpTpOU8keDq2qzLJkWhQl5c/JxUmuj8rAJ+t7Zt1o8N4yrnPlAd7LWpkw97ObCdkoyAB/107U/sz0J5db0c+ZSyjM5oe0ihAYEC0sIIPApwZRa9fa/BnBEPzBLR5OygPhWsq0A1Uns82YeZ4HH2QnUt7pjW64WZ0zQ16SsAHbXX6e1FsDOy5zxsw2iM/03lYEVQG6T8ER0k5aBLDKoppcJULxaNePU9oo+fC6aKnaq/q7k0GWvqo9IcR08goZxWipguzhevoQQSrswCKd2EE0tC+8+C9K9BVwIeHQ/ni2P7laUd73gjplAycqcepY8ZtdtCsIIZuzTIR1ljsoDkN33O4IL2iLZfJztegCDOwtfo/t6/WQjR+UMui9rIIOKl4w6VZRTIg+uXo19rcUG1/RP0L+vJtojNMeiycUvBybr7wBOIb6WGS9a90E003edMH2SNBraH6kfI0gVgjt3dVz0vP15FYuOv45p93Jr4IX2Mn3TCyUpAW7/ORDygtu53KFZa3CQYSX+MX/lZYW0bnH+Nmhzdg1z5X4EV0yLviPgY5H53zkgFtl/K3xchlQvxTkLSx6RRIs+KQYow9tM6tdRo2eG4KhL1Jp+0AjLv23ICo9zilYjSDxKqsqNe5gL38pJ9/mqX2JtKEuvAkLfiDGyx9C8FthFHWkzGxpIeevfnT+yMsMhVO78iL01ABZxeNzgn7/QBnvY25yhJkiSM31gAWnrw1GJ2KvVmgugNQJKxDq2g99uG653TrfwPcC5nVW7o0DNWOHyVdCaacqE8iu9kn7sITeA3c/noWGvWv1fVqxXYxGvdi2Ud4EHisRFrWP2xPxu+DAYDlbeMGBSXcX3XvC/0VdgEn4cl7r7bFxCsrsDXH8KDOceIAu0ssrZ2z2oMYsXxHEUIGDTQvI9vX3yV1V7sF1Q3UHCEKsasass2R/aKkcXBxR8FvymAeyCly/Fn2U2Eu04q56FyekRgRUlOwSVH8xNEtvsxnDInbzUxVSPZO8XA9a0CFAvi2hYFx/T94SpkoJLGXHojF9uEZMndqmR+F4fZHWua4aAs0fNxp4NZWZ3Ozj5gDsdXS4VZmvOkJPAHqU/mBRsvU1Z2U175OkjBRR39ctS6yMnbVN4Miir73MA6QWRAbfYnznKE/fq1bXcc4GrDD9ysvwjsJa6hmEL7I0/1vSt7zUgdYI2k50t1TtYK/MUZSx92NxpUbTXMETiUOL7PMofA+nLXWqg/AAzXOjVS1SOb4hkW43lUMMkdzRymxjY4Qv0n3cizuWmOd6VPdaoD494BKSQmmNnhgFn17u5Elq3PiQHT5o9XPrVJHHZ+jn2bi2WIqQQTY+yBjwkJEIuFiUAFAoWbxPl/UQ+HfGtCbeuVeoZCpSOz8j94Jefoem6BvEgQFlAUoiAucObRKiX/OK8Og7Mw3wpNv7jaPciF4tIEyQ8bMCRXeVcWc2G8dbq0qSrsiV99Kzv0iy6nryDNgMFoO+yqBXOaFzYWsx0iyWcySikIGD0I3a9a64K2I+lJaN0je10Wu94N8ikUmcfRiltgxpS4zD211O63AFgdpepoa+GQt9HzpkboaBnHxaVDRxC5iV7BN2cPzzeO9e/7njnl0iIiuGVYxKzG8kjIa5P6vpPCOOwRloG8eJqSesOcJcrn+ULcnau8PugICb8Jj8Wn/q3HnmreY4B5Up/zWjPd+CcSyE5EiLxM59TTbDMgQXknd1KgB4PQeQtAWczz/yu5K80uoVnO1yRhALjUagMJlBAPcRt1wOTszUiEUO3+6nRaYrb37FpK+YoXFxVPjgXVjW6wolK0FBMgkKX7iLpTl3i4bOBYPnR7pa+KViiOEMf1cPOk4iSPCAYoewjqRo+xRMlJoJQERZSiX1cBoZt5T75zh5siCbpCYzWG1WDTsgsgR3LJ/2Hd1eFO36wRPIE1gU2KmHsHBEAd06zcL0Fdmy1NA2klneiP7sGAlR1vA1ZWqVDKBh41Se49CX0fzf6+tW89T3oqJdYCitPaxVb4X5j/r97egOtBktAeOvPSpi38hOJjL4r7da2O9gD1CEJILAudI9X3VBaDuTnmA5zauVIO2eQIGQd2DZVQrOe7YuqZih+VhjEcIDtJIAtwq/58H+mUqNOaTphRNW8Gi5BYkHodtlF0UPStg6SegGg9ujEAvl++Lg+HwbKqybNNCJDv1ws+o1jVBJdB9jIh/YYhbQzdNs7SQcH0Y++2P4ATDj0JamfZ93hcgERe6b9kZzcuE0glC7Kvchg8tn4N2CCH8BPfBbTfsKaegeBrs954i5se96fSf5PmdaVQGpHa90I+UFyZ+eBqzuAlkheWnXXlt0FDQx3BIXzaiOgAJ5Iknuk5ajnol+VwnUs5yKsuShDhUdmSU1WaPNw8L4pJHuxY+rJ6WYCblEBVfsGtg8dLSMxZ846qcfzEbYxif97QT4wNYlKkEA4JYewHiVRKAec+Wo1A4SLmVp9M9GZ7CYgQ+2cc7G2SSS8sd/aYRweB/CoFq3rXu4ifM7VCz6nEHLpnDP0VBGwtTyN/qXbM/qYK/lJA4BmDbBXCtr2nOjVpasxiZc02WzubGB6UGVTSsnNyRGfeeh4r1SgLBrxmXRAiuKQ+LwoccZ+qySj8hcjdre5wP7RsrVCCBDLId4uvAeAc/ZuvDW322KoHRSHqmQXrazUYErpVKPNFqcOrihStzX8RGNioTL2jch5fCjD2ggUG/N3PMGG7bO94ElzHy6E48uWo9rtZZ66XzNCJcN+nYiIVlwUOXJGUSWTfQ7YEZCQb1nzY9tqqypmZmlBmQ8cjr6S4OaKzEUPiirLaBjJycqIVq7VstguGAkByBBgSSh4vnPgbQKlaehPAPaxEo4klgQRtbhUnoIzZnoWh4O8JDFwkW8K62xV9LbbpKfqatSMb6gb40oF1hLtJ7NC3hFj0GwoNVcK2KekeLDmlYHsvzChCwJcL9xp7/GXXE7M7TPiQgeUdAXRxeSO8ttvPOli1niaobCCXitubZjBufgUH6w5n9y8KoAgb0Zs3+se1ctYQb/Urbh6Tl7ulWn06reQd8BOKnNBm6XVVnMEKmb1Zjx9BgIctn7fPhAquBT69cc/nQJFwbwsLkBZvqBfXwam5NIA/5gVzfMCMSy3uLNVB//rfpME/0+kXukgGowK6Tt6dl1UrBNILfBuV7DLip7QTdHceNTWXtsxj0p/YIRY1Xnn+nryfa/nwtIt6rq4vxpSXzs/jJRWLzv0ZMaTNyIUkLV/YAS925YBu6X1l/BkDED1Dwu9XLgnYv70EXovGPE5Wvr0OAD20v7swbWydOH55z63ZxR0xlq27ZeuATLOiOxqT/8+eUU6p+hAiIlHo5srhKF1NMJpcHjNoj/BWebjIesrjnD29S8pjRLXdwAcUel9IaD/yXi5nWcebJhnOwtRXCEEbAtvkP3dPp4aCb29zU7QBquen2hMwlXbdDmOIMDxb6wrjGAmHu/+oqn+eMwp6jNZb2UcUFyrHFHy/Ml32w272SSmO2s3L9L223mN9VnEjzwUZeQeDiY4AAPgT/k9jqhRwH+nvGpHd1Cbdz4uZ89fHWSBFyPogAWSyp63Q/MHaCSiIH2MLvMkAQWoKLlkn6u1utEpw/ZVSFQ0YnL75r12ZiQ0wYB2Tzt2PyZwC9CI8FL7quYVcoAB/8KzZdd9X8SDAICTLePdH2MEK+hn3liwBJJ01T67TXmP5jkJCkkuqhuuxzfbKxt6oVUHvJmUZTckEx7+3Oz7VGfv+OGxzwzizzpLt3HSlixtlty2Xd61QigCkDc8ytDa4D5NT7YkiBhKdf15udn+bXPKExmQbo+UTz4exQkF1GY4hTT5lENZ2WLPLUaWmPHdK71mpZxdLH2BD57wUUxw854NbnI6RYOF8wjT+VdsgaZZ4yFgX0RmQV8t57WMPP/qJE9HW3U0XSog7FDMEPGhlAHO3gACUGxfpijPV5C1deg4FEM/pSUW5/BwbGBQWVOiLiDPDBWJbLVvWWcDeeuBA5cMHOSo3LPqeuEnkDpxmh802uJGkVME6m3vK7YsuKOsvHBoDN+1PwkCP1zepPm6+LpqISBKfuNSFDGqaKvT3+G4tI33sPWG6McuCNXhrY1tURnY1f6yugwf58GRk7/aonUoMrLqWCDDhRR33Y54W9wo7T4JuEJWAAcJV5/NvK/lrSMt/A5542rW9HtIhJm923K6eVUfXic02LOWN8Bhuy9KQFrRgIchtmCVsmwtGCkmjCl1x9iXmnzn3ewNKRP0TdIEVSxKUbflg74mHeH9Z1lFKWE2eDIt8U32AOawnCKmIfNziTuucNJ0qmtNAaNUC5PiwwhWKNwFlsXB18q7OOWslq4I72mficTRHDP+Lj50M+wFxnQL3D2JfqMMfyCWHpDIoXzZz5/vusbG7nFJKvgx5b8auuKq/5lDBfP4dWMgiIzUcCjKxONB7IvlgRICRM5Tadb+2xH+FUfYmHMt4+F8jA6FtIm61b6DK+fvW0poDTIpqSqta3ZrfPoELlR+WvpRsGIMPyYF/3SCr44pwaX//eYS5vDgnJZisXdcAvQLUsU+w71sOydxlHJoG6osojercBPKjtpGPfncVJNRjp8MQPTcXMRL0fGsZm/9sPqqK+UbdVyVlxty84VFHsfnsDVvLD2XPrHCLcU54H2gnhuh35vmKuJXIdLcWETw4ol79pAf8TPAVcnMApQ12OjuZYQnTiRM9+FPFR/iRwaWuhXmRFN0zvG8MmcE3jV0zMsOm3WB79BrtvhnRp5HAlb3TIPfOva6OvM32NY7kiXCvsu4PXBiQ56qYm500MOJWlJnacjD+r2Cg9n3UECb2vxTxuVKkx5KVUzec7ddso2H8rb7kABzPPmauoAbq2mo5CIBnWDqJpiO4LwB1y5XlVexFkI0ooWfmjm38Md2OhFwp9qQCjA1r6sC04DlaNoLbbteZ/eCjrBjJWyEtTF/PPzILnELw9Czj4uZPsSjrOAZkoyhxGAAhXJ7Rr7Y/SBvgMx5DHG3NxPTjqyLwp8LUAjBwNHiICFAfjOT0PPwpzedZ+j+AlzPe29oAn+HuCf74SxPoUpn9M7W3PJUH1hi/2bNmxAx2AgiOh/SjrmdjE/zbcxdL8JXz0m0rIIVDfyCwAvMX/XSjWXkp1ZcrJfzP5lto/ISBHrnnTpwGkB3nkp5aCGByqtozBcHuChPi3c1OKG+MeiV7S/XwusfqOAYEqM5s7ffBuVCpCWI6p9KIaD/Drcc3M4KVOo/54D3F5UVbz75yXggIoInkXQoivGho9Oz1mqTcVmpWpgNDXwL9OviupJd8dS58yMZxzXkUZzm43dw1KAYieKo/VsU1X+xdjzPc5Wo+Fa03jMlWbTn8c+2LYL/SGsZqZ8RF2dNzdfBFSZPRx17A78+BFpetUkqcHB/NuigwLXvi6WA2PhDF3kOQoP2/p1Tf4DApVdHjDMJJWrxKQztEwnpzdodxl/RO+I4yD8n+XhjxTj2kyo744v7xUM2/doLGU/aCMEwV+mTZGDu1wzTYWIxp6m9py2lA/+GKrhyMlVjWCeyhO8R8xQ75EciEs2+fUVAA9+BYbBZaJ7obPIRPxabAL6r0bZDZ0UdLj4uSIEuZcQbPwBUm6Xs/nP2UPe7v3ghW4rEo8rI8N3KYG2t9lIlWQ+3mrC5GxkfWLbQlF4v1Zo1ECEvgjjEPTflSXztnTa1Dtoc4KwQKpXbDVIpLEL56LUoaqNhFM/D/186+6RXjlmVxWmAdRkdjBOUMOeIuDggztO6iLjcx0E7CgEGD+9TiE5zfMeEWHt3toj1RfYNL8b15G+CA7lpYT4zBdxlmlWVzXxGvwKMHX2CaB58UsSBUTC6Us+JWA4LVbD5/ODGAz9bqMk1cMNgxixjHRWDYCz7/sCot5zenUZYbywuMsfguE/Bf6mmq8elRyrfKlOydXwPGt6XQsjdsWibotPSbTwBB1a3KjovucoApZZDv7CXQxohozZtg4eSqG0UBbYMD6u0mPiigcXIONtHHtnIe4vVM7BmQTR1fOI/LSAg65ipqQvZIf5tN83vNVKto/K62TEwm8Z192O/SMYiwEmWL2TrvYWP6dOUdrDWM8sI0BJfAyRICvP9piE7tRMcwDc2dixD643/XJ+X182UcJyXkeAFSdUy226CGnkhWVaQv40F9ziJxFVBAJI8OQJiQDwgPnGMM01/UUy3ZcVi/UsGWeuLNFV3Ri3YXMt9mKFuidE4zVJNueG6U0/D33Jcrs+r0x0DwZa9dTYY3+1lC1YEzMG18UQuqP0e+zxakgcPypvfq4cPo6HlfRRQsrWylUQdUYRvoAZUgpk7cIm2KLVcrJoNiOtieXMQJCGAZadVHAZwIy1Y1kjCKjc8av51BEopQiZ/WOH2PRjL0Sfzy6oyjQKfQXDHCrKWqEuGR1IcfZ4ROn82kuTnqW7WZGIv/GDHXQmpWQl2sqCdzqUq+pMp5CMq5KQ8x4JPVMCq3gFJun+h1NdBhJZn2u5FImCxbHUolnzJwiMmcz5zemKeeihV8m3QNNmYj78GChyylciwvzW5YoXO3TDSXAJw4lmdKInPrPW17NVSzvo7Roeh8QWPy/2mVoPzXbHGODh7GeSiRIth383ab+EP1UOqDumR6wH1x+q4JGH26iTXqr4rBj84GUz+DBRnCn7v2COzb4RLbFIoW6pCk2SXyYuZMIUmnUYevAAtN1JlOPW86PHTRrjZGzhEOmTxgq1Lj1njz28X3jOzQfEHWXAHUi+whgm7VghkuIWC+r2DWIERCAlp1OAQf1QAy78TN6QdQEWhTJJHjlAmfGkJf2D4ZhEXh/tE6UYU9NiKTFIXsJIWoTn13ZTq5MwpwnblVMGr2uQOJVDa1srlO5Pxok9fi5i+U1rHXKmHPQgbYyVxeFHb401cQxUnMKOuAK6AxDnQEQdWloKh8VaXFmALfQVGyT6SXPVRImH0FkJlkWTMQmVG5Wl/tF2A7IYK7FVOMXj8OeyDoAb2Mrk12b4+8l36FbHbN01uuBhyAfpRX3y30cl4i0ShH8ISW6WtitO7+1SbpS1A2ewYLs2g6t1Ienu54trR/4mVgW197ohBgFZRPnB6PN0c2g1TpgcucmYKTKoJSEh1He7hfW+wgMn/wTZ6oTGo1cWOptls0nRDfkajKwfiSZiUIA/0Jjodh57tIrQOQbb2EOAtsxI867d9jHork0QDfpxvTkwKMqTvGv2trYm4MQ4KS/AmyX0vEucxi0ox1zdlmITXz7YQHJMZrCKtbmdUxv74Jf5flhGvu0QOM443lDSM4zKF08KO6GK68GK+wGClLFrgjB7a9LatG/V5SrJTFUGSLyY7nTbokpR0DvzuL8KuvDwGR+7xhmzjWi+9qfBdEqaM95kSLR+UbM3YTqwRECSon1Sqhsunljd4D8TJ/OjzQ1uby/tfu2e3lUksOz4lWlRu8eEpHIA7SHEhNuXQlTwChWza4Am79g6tXpWmttKs6+4dc6N6LUBvshxane2lF4i1+xyBctY9rKCJf7XtB7XLR+0Jf7669FARSuwgWQDp6CTriBHrzhwflgZMUvFmpK4GYqbt+qmgmZUAwK+yxkz89mLvuwonmKD4+xe3P8hdX0ypz9h76C6XwUtVzRD7VC/VlaJ6Q+6/2l7i7o6fih38sUOHVvxSUWks4YpXrZhAAfkxFTihnoelxxG92X8IN6vU9Zz9wPAUj0ngbiYER8tMCbpBeI0tP59bFpa9UkgCbnucArj2bfzbGGp5l6fuUwse9K2SaAbq1DuU7DIWFqdwpzJD0GF+FGHQE+YtAT/C6NM58lkKbRFzc2AmldLMBaIocaBkL7cms4BN2cr+6FpnXhsOjO9cSg+V+pV85UOJgVxXK/mHMBYORa0POakJkYEGCbOPsSeLWIPd4x6586WQboYl/adTHte9w1xd9pxAVNzxvIYrjGJYHQJda3RcvUmmvGL7eD+c62X8a4P+eAEou8rl9rfebKdma2EL+2wQmlgfcMOfWV23b0bFECMbXwR/ic5CgwMOfdPGnRntCrig6EjKck7AdCNsLNkxrftkS4ACtJuAlOSlvIazg3O8X2qYMEkvOKN2vXjooFOqjGCHzN27cqcr8//VPaZI92RLTHbj8kmNbvyVbbqr3I4JL334yp3cZbB0VvlNi/sEIyzv24bqmBCcCJS0nVxd1YvYX6iSXhXG4G55Oe9qPoGPFAvq+AR48RZV2gx34XOgxdBcs/UDGofU/JPiKRj/iQ03nNZMpoAUYjYy1sd6nefhxR1BXb8L9bSa2FT1WrlHL1EiYvn+tS8CzFbDorseWmnLonju3q57i9p+OiZAorrevoggy1Pxe907+ZRdYfkU6jw6jN8f1PY/odQzvnQXfXN/+7H9PwLdSA5J+tJ8xAE/oRdv//oqg7i7k1I4bqEpBeurKYMUXJJYSj0oROO8TEdkBK63znEFZBM6v6XuSsG1oeZNxdePCu+38exEUHnVqsGwt60jxe2rCxu6OsT1HMu/vSztoRr/6NM/kQFJeOQKxmPu0vT/Uaj+Q+p5itMH8MwhV4V4RPXfRgfOsYX8jUdZQfIiN01zzeUFXOySXMJQAmuiuIJipIj06PlmeefRr2GhsnAAh9OwJXI7w/Szbq6xuBgYvtJB+fpr4KllX7frWmb21Cy4OmSXQJJBCZ6C0FIsTgWfrREysrDsahVrR/UCHE0QMj/BbyOo0Mv6QtE/P+YsmrsMFht3BoRazT4x/ukMquCnCLuIFLuLtapHMV74trUQGMKH5oK4klERIRKgtNRbWzVFntLKahDam/DbSZf1BJpH5XzdpFBUmL8q1+z0TAjOwsQwJnmp84GlLD4JUgAcEvPbiOUUFK/TeztzB17fVmiqOUUtu7bU+f0qF8H3ncCEWZk9wtGCTgNH8Er/M1W6+34j41dpGxfgpGhnfoevLuhAIBC7O06kZBASoNv75GFywYnfyQGHsfxlgH2iusq6QKJvSt0HSI3VG5HuW3VLUWoJGqB+kJwRAwucKVmphGzY3gNhjBPZfDq8lFEUJDaDHaCgtY98nJGAY/iumuBUcV6g8FkT6GQlBuVmLUTW/0WhVwD/UtPi7oDc7VXQmmdMrAWTr1f65CIT+irRoH5jSewflFKwqemD1FfyZVovAx53gh3v377MzD0VdIIPHihm1EtoVAkldob0meB5PeR+tAEQSfpP33F5+HEhf3BuEdGKckEhRAQ6+wDQfJvlmpg+l2L5Z4pY/qMaVU4K1TiwhuwAPZ5yUj/D7YEWHEyd1aiq+BwbSFCPIHlVTuN1X4e0Hdr5MaAh5YJXu40FLd0pFwsbHW/9a03cPF7FEqd+P5VjW9AtThGUMlcV7/cFrWmaKuWapd3/S+LqoG4ysGCpQ/jYpU0MJIKQgAF9lFOTGNa4MZwgrCmWUL8QAzId8cY3EUyDOgUhhDCPrqbJ/o91FCkLP7Qd0ojAFlQtqDmlJ5seUOkAZ5iyT6TrggFG2sPxUoIUfxK7xHChFITjbJ4LU8InTXQggqn19uUTYlWx+ecJB+R3/yiBPqnkOETqEalfYkd+x40W9EW/9wpreUv2eRESetEoxkqimmf2awGMM2CJlg7ybxzNyTpjRua9QTiA6jKuqyEF8W8Ru197smUyDd9XUqS3pABmKPKKVBISCl6OYKc/BjEUhhreHRfg5kH32lmTiwT0j07asZMwa2I7coqgIb2FLA8Ik10kHwz5gcQVxDJk7pjuRGlA+GCusUvk7Xu4m9JiaWBUOMIZjO3pCSxPv8TJOWIVajqk7WDYUriEGzhDFJycgyVM7kdIkhSuUH9MOG5W6cmI3EgRbWjpDp0Oip+PiIxcq6OIgC4o8i8tzVpTRRfo5rmeDXwzYebekb0IUHsH8of1XbftYjVZtaTGj9B44I9eZHxMdeQfOO1sLkVgYcveebdc3Gioy7jfl+ita2E4JeYl56At+ZyMPhn8jz1vQjtdS0EWb+t3+6L8MrcVfyM/kf/RIS87NM8XxRX7y6qnuOzfm+GD0uAoj+zNS9Bt5+fOyKUKeunN91lhwgjSWb3EpOz+iTpHSCwMDc+rDH133itoCOEzyeOHxJxBUfFG3tMyRDCO7VVsT+LDVp+OeZ467AfObrqN0E8J66z7keZmfvxMcxzn4hc7hgbwyuQvGo7S6VUxXPDfG8ycBSmJuX3k8NpMAiIb9RsRQBLSb6YIbdE+7fXtYiayaa2m2w2ZOGHOpB5ayXeXPaxz0AzLbkW9mPiR7ZiRJHYSqv+OJgU8DGTEEYy12HlaF3J9HJWfeOAyh1+yQuFy1wLdZLFX4VueOpc0Mv+HmSV9WqxAZvTacp4iHe/IW57rLtdyqpg/0wi4g4+/3rfpoOvOvBf+wGIu2E4Mgmh0/k2KIVLLeJU/duR54x0dNRuil53cEEzoOylri8PyDjzzPFpVlt58tmehZjp+jsGJWpBYKWC9sn//5+BU0BrR1I70flmmH2BOVJihHos1iSRbYjLnp4vJUZ7Ufvd/n1exy/D3dAJIlPMFYO9geJEHUopF1mlh4LTexZI9/lJlbvVfhhvwif1/436PwZXI90TiUWgRCt7laFKL+utcyEaNQYXRUncH4hwoleYktcsIELLclZ7eEaUfmIJukJoBzzfZ8KMyTcGWJlyxY7gR/n5DOBs9I8F8opOC/MNTW7x7djLxWTOv8LWFqHGl7QDqvjHkGGanQ4NkXATtHYT5r/OcVVhlsfwSor5D7nnoe/C8O73TisRQ9oKjAAq43kEci10DTQU6HVICzzgSMpNsVOz7fB/EMSjyp1bucwsQlg8e7X59f55oy1uLvkrigaWEFeWLTcheBzru+R0iKUoH0h9wI9kLIpGIvvEx73HXl74C3n+uFAYNOM0pdxUCnOQeeloOdDSQps9KJfkihaAlU1eDpR9zrKDG/r0hpmN7nriWuag1Kq9sQNLk5Gb6kCb4ZWpo2ini6AkVtwsEbcBIF1zUCr4ldRdAwLEZbBmvhe0qNfggXMUyUQ8B+IWeSa6zlYi2Ycj/9XNIyQeNrs8fG0ITgL1M0jM8XcuU9S8uqVgTJi3yA7bh3rS8ue+N25+3+KSAQRXGWQj7Ni8dm45sD32sRLkqHHgGieUlJCLOifXgM6AVTt7l+tapbQZfjL9pqR6VRi4wHsWjnknDHj1EZTkWFdsSDKb/vr5hLW1JQ3pgrhsjOkzh8vg0breRvCPlV0nIvSW4h3QOmww7lMiOC8elCpQe+u9V6Z0waFSab7ilrgdMQ+EYh6xlWuuktqy5txgRki1oeWTGMkXt6UMfPv1V5EKPA6r1mFcGdJ/d/n9/uj1L4TwpVawlwriNtDDn5nwo9hOmN749JG8p0GbybT7gqnjdroIBfnRYUSiOqHYR8pslJ8bAUkusByffx83xwowza39M8ueIyzqFIeqCsmoGfwFr66+YRV0HfzPsmK5xd7ohT+KNEms087hwqmb1t9gVrB27k+mnJXua+N/MdpOk08nqkiclqX1T5aUmjQv6BGzT8z0krKyrqGg8WMBmiYyvdxG5SmwOSontrazowtss7Voiiej4RsCAQDJe6LW8/M9fPWbxcbx5gMOC5T0ea3ORFNn8qWdB3kXrdwHUvr7k+LLMfvCuG7tkoE6AHHRacoRFC40DchByEIWTlQEVASSuytg1G4meMDfCFfe0OP5wQbkAB4096jCj/SUXG05ABMY5lpYLYzqa9OyUmnTV2D7EHPSbopNYFmfCSMbSlHl/TtrK8uM9bHw6q3So8eUHWKQgqjXehi6UxCedQ1I8HTwWN+hoV72d9XMAUYtpMYeCuP8gJCT4lVCnQyawBdZUqT8B/kC+9yDqkr9aGO35AWApdv+M9Ry1MIfOzRWjmmBNoPrR7z8N9qz1Ma5WBRJmYdZyCKORLrw0be8RlLo/j/Ktj7i9h5dV9cpWNOLuTbKtc2p6gx/WWQn6dD3UKf04mW0xE++9nsbIhuMJ65EAP8Z31wqo/hrpwfLkI77UC3FPB5GeqoybdkoTo6n6AEGBnVPdEUTC8m8bwcv49Hyc609YlK06O4mpxz/Kd715fVWwHoK8ixvZSNuE2874tgkG4Dvn+2Baay6rf12TvHepFn1PaBv+kMMpbOgeTRADm80wpBVqS9BkPMAaWmrTgGihKC0L0+TlgDZJwoZQfgcxNlhdH6YVltnMmOVL73khHZwK/9IKifUOJb3lZzGoxxp/g3gxAaiEzzEh82ZIPKubheVYPHVBO7vHjRDZdf/B9ZPKYg8HKEcHxUZutwY/35DN36Rtqag8vU4ylI6uiOkVa7y1rgfVrOS3RI/yoQxDVZzfV2bITL0Hqs3QfSbDOGSGFqsGIY2M7sYZZVmu9sNdHa6AUebcRhhukU0kWbuD5MTWdRHSxWj80v/u+FkfBvpWfZiza4ChnBKsHXBCzQ1gGQuFB1lYcT8nXxk5NbtqZJpwRuA6LqdIzB97Ca99HEc1z9noO54/Ooeii0vElw0T4HvQbvjnw1n4PnYCBfUPzxO4c7wH2No9RVQ3TlCZaenUSXqasRWBJX8ncx1O0tT84N79ocUw9aJboqCmSVTvjt4l7Rau4PQFySTqBovT6idKWDwv7tuVhFgohIOwwzHUWzBtFldC9aVqNWfxz2qJXINjgE8p5FLwzs81ThEIYIrhM9goCTql/MEdDjpfgXhjTtpPxE3jq3928wkFjnEgwXnsDlq+E5czeYdkm5woE2I4oKtZ6F0Wl7F+gPV1Q8wJ4w15VVp12cP+vieOty3F5jFeHj9RGjHIpiDZxHyjeKood4Xq+0i5k5FuNbGtfGKAqU4DiZ75GnQCt3R2WH+v1KLcl1N/5KF7eZl7GD+7GAiWXkWISzzd53vZouq2prZXYQh5n2GAi3mY+xeHEj/XBg5CbPo1ZCGP2o4ZByIj+JtRMteKGD2iWLb1zZB78QvF0fiwEb+AlSBO/z2jYCo86GsQsWLFgM/OlD/hmMcCEtST6vqcNYOhz6spboFfNONCUkC5fzwvk19ATF4NJigfflPSq+EMi7ePdP7wxYKQC55/YvKWqGrVOnsZ1wk6qZ6Cc09Tni6n/DKI0VplLGrDPGDIRkZ70d01S+lhdE4mtX+4OApCoZfU+4bQFJ7/dEWSfmBJIY8nBBz6tmWLv1McJwF7/+J7xeE6DcsEtRssCRmmOqanHDefUDZ7yvn6bXxa26cGo1W3N0sTPugZwO5XajUmUzHSocynx+WZKKCSnMvL6DT0CBqnF0i03axfoo67vvnvKJ5e7IJqZbhiRHg9LPro1tLLbZn56CpcEZiOJMcULsRXOBLlMtB9ePr9IMWlniFaWPVRtr3S4QX9YmfwklyaXC9VCBnp8cQai4oPnErPE47uPnVKh0118ZRUUqKrHdIvwEliRmuYnmCmggFNfW51b/52O0JQaL3x6tVZjiE4bHWaut5ceGCaUCws/vxvcaG2y+dF7Qx8UMjBIUAkRGsllAaGrTN56Hz/naNA+DNDwu/00NOWs+nciqM7fPjCzBX12E01LDNXZ9zyCYghQlnnOUD9ajKIiPmKKTihYxrBkcxtjmEywFb8Vy/pb18OR84cuwANBwgsJd1yPhRZQ0NvdDHJJ/zx6yDOVcVUn6MmPPKWoCMaUPy88Fp87cHiAL9VQGxLTOcnjh/gQe0BQx95wOkNmZVG/JKttjIn1FMDPvpkNFd+xwFYKp37LWECImp/FA7qAI/Akpilucairb88VOKvWe9T+5ZuPw7m+Ty8XIiIr/tO0A0joXVyhHPvOfDs18gguKXYDauTx6WmhcvN1a6Y+Qt3o8tD8fqStz/fZnnsXXYTXCn+E51PtzR7UL3vE1Quyyh8m14nHWy9vZcq55k4ByijeqBVG9lELsRcskEYmP01hxZBvQ/d9isqfRQ3lgwyN7pmXaYoqzBj1wg0vw/69lroa5tI+C1VDHSTt6o740Qzs/1toZOb2Psu2V6SU3JZrnVQ2k4ho0AcctkrgQm4SXpvbYK1J2cDY1On8CPQdISCiVM2hGceaORpo5oR/wFtvrJwZS9MFjR1QhFt832T0V9s4CNf47iZjN1ZDcFjZd70v8TRBe4AwpNQ3oKhGI7WhRds8AeenqGKH9G03Thuazue23IFk4H0l9XzQihCWOwp7pfzXW3FhnuVgT5btq7ven6Ph67vE5rWP6gFHA8TLiBEhWuTT43tHoqLueX4qv9N6Y/iLm55F8HL8YzA/h/xhB3Z8x931rcvqOE81RgS4aNmoi0y83a93bKyJHETtE+EpnBVkcYiwYXEwzdAdR7TYoYcm4DMjHWzlUTsw7shqmhYtT1i3qtcV3BPyxZcEdMskgd5NeBBL0sCeKqZkVCJ7OAtmYSANOViTGWNqv+jjDLVQVQjSw+MoP2jDdqN3rfjRAh+EPMYddxqOGg/vH5kHWW19ilZVDeEcmDrsoFzZCaYLGNt/6h9Te8a7WE/vToM8YNvez0Te8ye97kuagRL90iZqgQL385p4Yx3tIY5vGP9Z6RplTk0xCB0EQFXL3uMEqAY/Mk5xjygt5/W42LTLmKu3j276rqB0LagcDAzKnfJoxPKcHm+nWFBkCvY23RBHQkibISnFJBZR8mexgW++eKEObN0di47hGkTuuxtUKrQCECXxXvgl/XymfkqZEFMZnLgMcU8XDnPwzlmhJAWJCf86c8B3jYiY2nRRlO9ufJHVont6S0mcFo/c4QL2dFluyHsLmFyWbS7GKn0FJ9SFCkdgOp8dxESXhrMJlzvIFA1u4ww8/HFyUz2Q0Sj26eYq/8gN51jvtdjcechXZ/xcw034eOSH+6p1Xb72pfbs1lGXahhgEnZgjIquNoyGOCmxUHx6v31zZ+gWXOYqLtTx0xIfprrScxf424OMkHRCqkQP1BMPqz8+h7JAt+DHz1SQMg9nrMJ5fAxlunvQnF2hEGBz5LZsNTCfQ2LfPqXR4it30yqcTaSpFbb6B5yvWR8dLjEwrTcUAx1aMkMwQ4NMcEZIsfOUmNgzfJagfmXCdT+oFxX04Q4vjFR/JiTZEN58mcVQKXfr542VPPL9qJe4SdBlsQZARg20+H9BaDEoHEBz4kZB7GrkHP5oCvu7kETVVPDhmkUgXfsZaECItvw7worFjTcttXR5AzmEEsvqbzNhVhXfJyZKUOrVbnTy5JzEZlrxDrcEVeCEQGYlLTmDP326yvmwQq26SE8aiWI+kAQlczdFmU2yVZ/cfnQ7D87f6C0d4yR6RT2KhIpmm7G/Pn3/2WBxWUCTMkGkXlA5oz3SOnNbsix8wISqU0T76PsoQsD+jlFm71nwQvCveWk7es73ywKQ7AMgihWvXyyC2T50Ny5Tm2w8Vh4tcI+hv4qkcycEwwhCGhKWtfgI/l/zhgbpcRXeaum6YCVqje6TUDyYdua++8YVBpLYXzJFexIqUEI3EJ9WmgdAXMJBhPKGZP4mDXnnK5PLuVWmRursgbkmw0x29OeQXjZgNMZlsQKP+4JiQ5RJkCsoUydTpQK5UMk+h9N7NSChRd2zGZEgbMA/baihjey+fLOgM9g9CGfEYXfnuFVN6jlM8aIo32YGGDZRjl59VBRSUGSLJ63s8OToYP99ZSEzT+JTXUhKZVVMp9QAtmAfdo5g5JeML/9whiA9IIPRwmk/BSc9HAQoUy9tNHaJQgXLwg6lAjaJfz0VmD2JpIXpfMzfo47+KXu6qT2/1bg823BDH2jYrM5x7BG5yV1wKlR6vABpLxpOFtMhDP4EWtoZDmkTKRYgKpbe2o3VCRlaH5KbdNA4Ua+JT864XmkPZEenSkVjLeYgEW+hLS2NuuOCQ5KIWVaLEG07vBNDflfJh6Q6jSs0m114ITcPYf+iUd01ZZ0p9jCdL1QGqE8tyE0GrfyhzFQ1Q+RyJK2CuqLoguEA3CLqMfVVUivUHaIfDwhkBEG5YKKVZuZOZQBUGh7K+Pc3AGzg8jrM8pQ0piz1a2MjE3Ct28Uof9aw1V1onFsQKnQY5CfBnmMllTXybiLpZ31r5Pqo7clEm2Q2hR5tVgsvTLCP+GFWcMeydxluBquNCnbGl48gtxe23RUDAqQD91trGPGfrtsATYrHVpe5Q8Ux3fy7vNF7S38MqhpBx+vtudV4Sa1xn+V8C5FLQnLGV4VaFZQc+UP92kRPtintRwMZDmxNE7iflnWxx334fkWMpEtFJZNKoPhhbLkpJbmBV1RrolHt45mnermxi5KnhAhYWr+Rgq80fHK9gyQlwlvGoB+IwjuKyjCyFkwaJqh1Cws0gVz4TmbXycTLsseY01KPbon1R1goY8ZHlIoaD68YBbbYwJmTN87TBeU+E8r5s8Wym6pxIeX8sedChfBitLspDYSy+O185lYXpqghouOknV8LU6H8pfrw6zgvUmEsA6BwIhMRSowukY/A4H+A++FBK7zf15Uq+4OnO/bVTA8uOA9uLIFAKX9MXbv4CnknIbDmB39UNz+hY2hYWti/Y8fRZ3DKKRB9jIQyXmanFcMWzrzfpaF9cVePQBOKc6nL/g/mbLG36ADlSTIwyWxMOBHPhM41qkb/U1gCdc93hbxBgkZLfp4wPhSWIgMu1NSxAA7B6xydFBYh5insP6SxXp3EZBlXKPOUd7zmtInY+5i0ROzVBVL+54KuuJRwRqAzeZpSTBw9awiKEb5iF54sJWknsr86lGfQ8OuidqpRWD6Agrjvou47dBWmXoCTvNt/lCSjGVrnqTpS9jlrf0vB+70fvPdJ903O/rbUhrECOrw+mle7RS3fgEGG0mcnaKc2ajijM7puavXw+g9551kXUy4tVEC2XY3zImCXiNGQ+7h4zRaR25kmjLhWFGcCWvB4Cc8OWsMSquwf79SVrtze7KKhPGNbvbhBPJBTOOF5g65JPSRpfQ7eVrB3L3L5IRjHFCZe96cfWiMlRz7yd0PWywuxXW77+QJawQjhzPmKoM1lpJGu0YgDpoZyZL+Yi0d7KIQhThBwia69tbQ8Ua17dKkaOHQ6nVXJee/O7P8cBo00fYDX0EFiILWt17T2WTe7bpsaggWzJe68H2HONin7ces4XDQ/dcqx7C4c0HgktaAerT9Ck/2qvcKj5KviljHq7GKoDn2Ux0DJzcybAGb4FvUSnDtjtYRIpFha5dU+NjIMtEy+4xA1Q0c738C9SMZYMeXhCtepeV7OxLEqPioy/Ee85W4e9rqytnWQMhjqIsISWb4nj6A/LpJ09wcM/t1iY49lTvVA2Ipg3V4hE5MlhP1fD4S5uLyI6dbDw/gnEMFiF8xnfd9E2ovcT25B9LIxuzdx+XXZ+J11dlSfIIx5xbbVC26rEGv4kCtt8TrJ4bYGec8AKOYiYS/Acfd0HBfD55WXe9T/L54jcqny0cNrCxrKNKnpsAkPJc/N/tGH8FiCx3Dl2sWWI/AfIRz3+Tx6IJRw9F1h+TcP+8kkGZcE7bGN1ob8bjzJ1VX87jIXJbXzFY6zrXi8wsphUs4lL++hXHN1fSKcTk2yiBfQfA0pi8Yr19s5rilUDuEAQxkQmu9XSlVypZUH0GX0d/PJVXqz2FcnTJ4jWmyBYNQTINedpTg5vydMsv9rih3q92tRTDbS8Ykgi1NWiW0fVS5cQq+hBTGw6HK4wGasfRLGAhv4XyrxsSUB1/0An8GJ6gRvvkTFrgcv6SLd7vY7UmrbvBeEDfxUFU66tHqsv+qAIQn56yMy/+CBVbmAIFwihWUpXgDslCkwdFCTvHvnzwhsnX37aQVjuQIDEI7eA84rNRalorRlJ+jdwl8dsGNO3YqW3A2eLI8zdOCa0dwcWpepfpVTu1y8vhlTJIR3DdWHjN8EAniyB1xXJxBdO6Az0NvZ2N3OTCdu4llE7XNGTXYTlRvmu+zPazsgUVCcS3qBaoP7V+6bZC2gbY1hc+UfWR48HNDMSQtD5nDcTbHgfMA5+aKDKsoYV5Qu6KopTHcRakQT5XvPAwOL2Ixn5fj3eAbN1NSVYLdvybxJryOmJmHwNlkRi5sTY7aoj+928zmI83afKCQGGQ6Fr9g+w1x/zAqN7d16opB3gHy4foujYvSDvrGC+z6cMk6cU0OCTGduLtr/1TZFtf4duTaUhCRto5nHv8DjLVPHOp2nf6Dtym+KcCK06FkG+vl9RcdrshfYCtt5UIqqFliUY5G7+Mj9a7laWLp8mVdgu+hzJM4hd31m+Bukmxkg/RqbngrhKjTwNrPNW221qa4s7Sxdk37XyAKPfDFKHrbCPYZaxkSU8HHcXmtE8XOyDoUqx75K4dvXx7CET+vbHSG1TPlTVHME6ckE1jxBCkVe3MPqVZjDuzid9UNwbUF7unV75f5FHz0Lgfw3tJcqArwH60rC+9EDwOM54y+U9Q1F5qbab2orcpua4ewEmtLQG3yzcvCSiTiZGnfSyXAuu7ysCrk6exXwMCcHaLWmLc9oDwt1xiNT1rywKEx6nPk23IuRgxS1lClMEEIVpiTvT/1ZwIiz8IG3I8IAY/2gp7S6d2yyDnMCdOv+zuOWeIDYS+x3YvwCLEv9R+Z0kDc9Ycb00Ll6J4V+G5/p4mil/+eC5olt3Pos4h9oB2EVBK5wNJb41l+cijVFEY68+hpAAiGm3lIxne/LadaAp1So9maciGa4/LAEMNaE1LZhbnGTr5o3z1fN0UYXev3eV2asHn/G851wmVRCAWcF9frVph7lQlIrEr/LzPccmvuijoqvHZsmRuNd7sVeZ90eEkgNLJ1TR8RdE0QfxGyar+rQYYSZQr1y2MO4kvTIUmzL3dsa8lG6zUTNbqHs5zoa1PV5Rh4V45ZbN78xqKt3Bsyqbuk17wq/7zIOFSJorDHnmfxTEFaqx4XhvMVsKI5w26po/6rBAGml3OgUDgNv9Cmmy8QEo8AdcclKuHIAUaRwD4cHpTEmrcjgifqbegXc0mSNh9+uRDB8tlb3zaDXEnvEui83kd8qn0fwQ9RFgFTiKRpJHRnyjJBcztDnw1fC5bLf4scgdxp8KC+lFGkjIcPHP9oKDMV5ja2j4qy3uij1HwB8CYGZDExZIT9BMz1SjT/09nShgdJzW0nT70hv110N3hwlDWCco5tGP0pTybcMsKH4ddxH/+JoaBgtbNBh/FftsuAARgrMUN1RAUTMRodXJo0YuWoS4Oops6WUsRUiM/9bgFXNc7w3SzPAqz360TP+rxJ5Y7zwMjJp29yrdkC7xOl9ocOUsLStnDAC4tf8fWt+Rn48dzuGbOL+nMsoMrSfEt82ijbKuiLanAeFHLKB5dqX86LZR3IB/yzfGUGl7udtReR8GruFHcFP2lzP0b/NZh+f/KuZNz195ZTTFIXZf7M/yCbtZP6WDbPoW5DpM62SjE6hee/rId9QZp0m0QLBqasTq8dBOteex+JjQc5CVhDUWyj/Kxf+s7kL8RuOmgpGjg8w/6lgd1fnS3bEdKFyvwHc7YgawFCDgV5e2K5ESiU5oJ8qcaZsnMyA2J4JfP8fD6tSs30apFv44AopxvJbmBrc4xnN2HtdiiUF9iko0RQ5gdxjD0pGPthv9fElImo9LEsN1dNuPTVjpmDVpVFN5XCoAoB9Bm6dCDeMTqMCbS18x0QXDkg5vxO0mCJirzvGyXy2OOkpz+v7fy7b0EXT7Vpa+ULSYFq1C7f12JWvQaXkq2Qe8Agovm3Sh+fRNC8Yp+Cqn5GVHPGBnskw45G+sqkVHD4l+dPGBMwMGZka8yOoUOayLFvkaSW6gqNNxQiTBU1UWLdsNTgr+xaKouyNPG60mwbrTioAtmcdozM1ixwmuccbfqjoWEpSIfclDXivMwRiwbLLqpNY8hPErLL9GFLYgiMak8gbd5lMzr+Quv9HAhmKNnx3NRgDMqQqKaHrZioW4OeA/DuF9TcoiPuD7msazZb1xYWmxQar+2CZElPZhn3u3AfunRWFnA4EGJlz4cZ+TuvLnkLvPm5eEP2n+Vysop43C1C8RfuK25eTUUXeGgBeMpspzbrCNZuwY5UkJv8tfvGORQgiHcOhAYpoHSAmoLIw88HzVVqwJpJmBvdunPPztRvp0l/SqB6j7OB+5JtWbjS5+UOo0hck7lq0b0jEaTnVWtuV7C2EWDkuEXir93nPLd319iZT4TKuFipGQfpFiDqP1mHvWXQRNMRiP2NtxCVTFJXLuPh1mYFmPUCM6VD9CycRgFoR/lcTguuQjyhhYECRrPv6dVsmzpx2N4sByXg0L9ffgFTAU4pATL9/y42eZmED6avB7N/4mNaej154Og6oHl9uCoyKbmJ4gRqqaKhx3Ee0I9fPDVwFCeRvjjLOP8xgc4o9zBdo3o908wkfZXt+a1DV6NLYY5Pj4BWPygOe1sZLOHgqgmCno8Hp+uVBNH7xFmDdU8cGjUyIWSXS75ASAq3CWKwGFWw7yYM+U8Vfvy9pvqmDXz/6f/p2FOZ+x4QXDAsh1Ybi87St7zbOafkkNJZWwRiufS+pgs46LCsj0gDFJ9C4DPwZcihRYUSlC1w1lIF8uutbQ/1aMTELIizbybTghKk0bf+BdH2MjLp4wV7VCzp5H8FAUxMM9XaYLDrfkmiO3Fx0Im3U8pQgykYoqMcCSKaAQqofMvC68d+ChSw+jGXtHlvcz0yfbBNaritqyYUcRHIuQbdVaE7dtQzkr6JDPrQqCP9m4OspifzEnnxDSM+l4DoEnRrgF3hMjAao1vgSRSwDlN+QQFvY6bQuIWgq6ZHjmaE8MqYdAu1jCjk7ZYYFg6VxlLifVmPRbK7D6ztNajjvVMt2L/NAX+GlEHp9ytG4YAkCvjxAMG0lnrsmFy+zLEb1Fr3LcSu+fo0XzQldoRVEazlS33unWquPOjdISKtmfHEmJFfTZiDAa9OxqMbdLQRN2cDtgB46hsPEkO+u8Xyo5xJeJqNgvcYiVj524rXpx5hAAo6rcQq80QoHYvTtks9yllZYjRV21w8817nkqBejuBN1am4KxaqPuMRQfEu01AaPR2EjG3HwUIAwE+h/M1Z4QSidZOCAGSTpS7pCuRlmt6Q1Lp5knyjZh7e9WbVL3cnmbjr6ou6E+fZD4UPJkDwt9+sgLFFvBD5r0kNd5yywbaZNF2O+tdgNkk+z5hlc720jsbQlNNAdQ13Lqn5jDRZBMVx6/bfX1x6t0lSApB+zRgorRvrCRNydRJHIuEhN8eyq/VG64LC+hmeMYcOmpOr4hNgrOrMfx2d1ltdfS6WWGnBDv34491sj9Y99PzUafhzGXNt7Y4EJEMiVhvS6mRZDHfKDXFiGrjV4Krt0yZ4hXWSh1ILj8gX0ZtFcewBfPW1jiiZpvOQqGb2Ul/fH8U6ZVIiWD28d3Nl1tfNoBZjrrHCPdWUVkP6bCVUTMccFyVvLymkdrGiAyOR1WurdJzPIXN5Hr0u7X4TILXRXU4PMBibMzUnfQenGXqY/a67LfSB1xgkWSlTBsmuiseN5tA6tf0TReYCytPgOZFjPyzXLd0no7WJyi+tUtpmdSwFUcnlhBwsrmozowSzxyzKacdFs/oKPIgdT+OAI2fkEGjhlh6h5R4m463FootDJLsazpqMCbZm0C8PT7/T2BYhoVBMhnI8QhdIxzYQbFh/I8Fn8NAaOEE8isR8JeHdiCx+qpAwtyvs0vXJ9VoWqmj85x9GWjWplVOD5K2ZDx6qluqD9rxODA/s3G/eMk6wbA8q9h6mSkklKqtxBJKRAqll81yogsSuNZTOHcbsGu+HfFxVHwrwVXGRRSBgv5Mz3nn2zmFqagwxuTXcPfC2GyN61dJz9ys8taPRXDFRFJKitOnX7X9GPlkVjT1wu1I2ul8/gvfRqENTiwYuUdVwtkpzG6UeP1rT2EjreLTrx9rFT/mkWS9ULtrNx3VDEnOdRLv97zlyYR3ZNJTbYj5UtVTyQtMncUkS1YlF/nqZVEUeaxKfM+/PN/bKJzSt2E+pxH5OEy32Amz3gzqCAANIfwwZjIhzoqlQAjKAOP59Mh7370GQMYk4+4MTuq6V2TW/C8+zUso9jEaWQLZvx7ldQPMKT3/f1yJnQniANOAVamT4q0QnTotv3THsDTNK1ae/SyXKMvicZT4RwlEkUyFG3CxyXwRgjO+AJtlSF5QUFMQdsXM2PNmxB51ycS79vhUFeAhte0bzwx988hcYRW+zjCt2Zq3k7babWxWnje3r1QNPZWhPuV0yVqm/M4TUhx+NX2l955JFh1gGQk0pOm9jaW/1ULT6gDv8PrrFus5upSayRlfE+2XToFiaDGZgncCVTtdWafLG6o+TNgI0ZzahxUgtBA3A7K7jzTv7PwWmU4MA7UDNmB/W/bL8SjcqfJOSJf/cUgAdsJF07RXfnKrVPUpTMCeX/6CaxIDEvSGOmWqPZPRT2WiRPczA3+gcy7o9mCWoI30jgBK88xZGFjAN9ci6+JGvP8TO+qiRNpSi8METpmpiGiWm27xN1+t+jUYLOHPl4ocQJa9Ha4Elbc8KSvI+7eTEGRbJhzbOez0QQFjBN3dkMkoYX3cNOQ+g9UVV6i91MQIsehSW5sK6t+pmB+KKybrCcNxgmzIYIMcTUIZdNaQ3eDo29SnOBSwzythWjoVCE6Pvl33XgKxgbt43ovqops2M719AIvyHZ3HhuyMbo2dqJPJsJjawfgkinG/iDK0h4pSdFqdrjbMMRr/D/V4stF1HHyYJjmDWrby/L1O2PAbsJP+weVN+8ikkkOqR5o6h/S+0m/mUmhsbf1kmEChShCa+gR2dMAkAvZSuBW/5GeEkkoDL/D7cYypSp4UTtkxi4YRYqguGwzs7HCPTb7QQotzSn5ywTTrVT7vkHsmwUb/BaaQDvsj4GgrGlSNRRMJkuaKdWYomGvVyPggS4u4GQskaMmv0nV3QGoODiPB8FZg/8740WUgO/2K8u/21Wt9igyxTRFh/qJ4ONG/3GeKzTF5khgZaAEtT7qYayM2xZ/bPVZJToitVRfiU+JWQsfYTDRC1CP9SrvvRL8NTNxbZVt7Rn7wOpKYnVwjQPjhheHayZLx+UOD61lvbjc7JXQqjseOPR3KtQ0bebDTIBi5scLtFmq5RcPLpm5BqgbIIWlotUx3iKpi4tK6JgPOOTXg5dhdbxMbomVnJUhBncDNMOWNYabu4/jvY8zfcmHlbGbjKG77EnWEieCxjKADtN7VySna/INVbL2jhhyqAGXIskZ5rNkzQm0naaYPEuWdcc2hrQ5X9x/huXLNr6vJDDi3hQKNOgN/xlDq0D7J4jAD50ZJqyECFRF3Qd8FNPRL6iwbENT+r54T01oQfXs115yYxkfSvRatdUdkGBjngS5JDhxkqs2UM3WShY7h1ao0AAJsmOKs+YrUJTt//0n7hOGJ168dLlSAB1q2CLC5tZWNzhSUG18luEIFHwLvbg7uaozynLbP7dAywLoPrHl1OAFshEgV8gBBwPlV/7FLd0RrpelKfJcdNvIoxpvxWQx4qgOZfZuafiTBspT9dyJw+GBbZhrgTn9moAzL+s2B/SHc9mXSCZyrtuSdiyH/KZeKuYH+HeYEo2t08BpZS6iaVNABGW3hzw5uWgD0scLlx/qr+nT+Fp8moEMsRW11Z68k7ZyXA0HQCyXcAFydr50ZyAGfBaV74dEYaTIKQ9Hxw/A/Ukpc9jjlVJ6mMHwvzIBkg7M4w7db1nj7MTAO9ZoDAILlMTNmz4asDZhkAmLRATQBIoHcCiQ0ix1m5UeAkuIE4OG/3gX2h5+KWUCZGEGhCoOmbAA0omtZctIAtfGecD+0toDxoH9RV9ljNIHT85oWj0ObVKkZpjNRuuPvuNN6C0Ctauoj1EKrxwG+pAQps+IYOU1eZ2y2vvCOKb4hvbKohJTFeQJLoCro5PKrVVm+OrwHn6NvCJarTZhi87XzG5ON/t6eNH6tYP9HS/A0osZTjiv6hS8BCwWUY6+DOxRpOtNwQwoHsAtv3mtlLQ3FkBwFjboxaFu3NHJfduREW9SvHI+I/vXRM+ZYQouoiqnFV5kDut9sp7sjtHR7WiWCSl6uCxtkG4WWY42Pnh1pU+lDIyF2sOAYVF62LFiRilasVK6qodZtQfY6V87/b8ThqbgatAFzIKHx8M8epxJlqGv20oIPaz0+Hqth94prmWG967ZTEmoZgwky8+wAGR7bUmYSzgmfymqQiY4+dX8kewcP+bvAOjSwYTFjZ8DaB2UPRh/yj8TTfY0+fRWsKsJCM/W1UFW0RQJKEYJpWaFefSzwQQV3noD1nYp5YRyoTsN9h7efNlcfkocC4IhKHkzyLDTB+TNHZ4oV4fid7QxjfqXoskDtJd+5ieb7ki1qYt/lTHY1QiHqxRLeax536OllJjXy3dq7ssW2G0iH+3ToLMuZDK93tLKvE3m87B0l+Ee6z5+d9zuF4JYSieA40FE2pRmGbDxUpJ3lOAcg+Gxvq/DyV0PLHFbcKiL2ytaG5oOKmVKqqt7yokd+g7xLWMAYmLhKOQr/CcsyQOR/M54DAc/LXxdAuWx091ZwJ1oJ32OGutpWoFj3oAoUywdCTHOcCGi8IZIswEIz6PJ2+varCUJvZIXHbnONY71SLtL7wkYJ1P5l5ldmFK4WpBVfWOm4yJi5izCHxfZp9/QsYdr3q95Ixjzq0udc455q4il5MpN93B8xAxWQ1AXRW8OWlp3nWwRNYZP/lRTmrgrnxhu9IJetsT/33+2LtE+lm1+KD1KX/wPa49n6fgV1VSB+beqs3hoQW0lQ+Lscf32VCI3q8Cy5OjovUMYHPpVLJC4iTplWhExK19rENqc8a+UG0yEqovmLgNn7kxpN7QQa2MuyZmSmCBFBA6Ap5fJnDmS6EFLoO+GfmIqWmq0addShrZ1kXaL6TtItl9O8pUD2C96UH2Kxinoog6VqTXwuIlf7vZxqmYlwPYRrwRtFdi1MmveYruSRJzDwVMGu1jt+0/6h1mEfsKv5FSnH9Ubti/TL8Odivg6Yg+ZU5XafFkhBLrigHm54ymkNftqqOeX95WXM43oYP9szOxQ8msbO4zJ8bSnpM22e69rgEjulw50Qb+y3cvev3hMNoZBvSiOX7tRcAJeFvzcbPxK1cz3d5KEDEYs7E2HFpr/X4Gqxg0fcRp8NoA740pLdKI9bi5ePHIEUgdA0rVtFmgoOotkvtTQ5rcaUu92rrpWAGUO8CP9ffWqCVzaw1jWan1xJT93lF3Wdt1R1JDxe0+HQs9hWfuznkjxudk98TADqnQ5SAsv3yvWcn8biogbuoHvwihAgXI/MdIv2gG06YPvu/vf2uIYez7rWxDyITz+Zwh8Bvzre7qRXPrEHA3v/DjLBPNNZ6vh8wl6mTQ9jtpUukh/lk3pWRr2a3kPS4BltATfZUzTXHE5AoioUjFkIfvICtXxERkaS6CYwojeFGSLThgCCdAcFOzNmDE3w46Om+0ep4xGTUfj0tPBTCi6KaaTzHb8PrDhUZ3ZjnoCoPT/FidvKf8Zx4e8CuhCwPKAHxk9yNz9p6v0G3zFyndj8MMUdgKbuQC61zk9LRt76VUlNyZeths1ZPuwpXyYvHRNPLl06p/MPWZXiJRTYrwOG/Ja9SUdOi7NjeYP0tkVS+tJ53t6fOFwFwtB8MqRvBjbXvRR5VKOaAo/SMGADeJ150eneyZs+g3wTNprNfOiMqHgcj4QZP1qu4vmYtO+uqGsyhluQe7Ael5oP7m7P2j4H44ScUdVLsEOIdyqUK/B0F6Spa9ejYvWRWFgGHBBpbJE1qx2ZlEpRhGd6ZEm9LxfC9H+IIozOrKS1yOe0wROxWxyKGlz76W3ZpEiA5H8eFeQz0R+HGdqcTdmsc4vVxmsdxB8wFe6HZyocwwvh5E30SWCQv4/J1kGfq5yhzpymX9/anleEk4Xy8zPbsEWtNKOKiNKsfysfU+QgdGM/roVutaeseIbFy0YHFDZBVOeD2787v63rnPlvhbqD8JklKUM4/ibgMFyE/DxD8Yno6SOtfIIi03XQw7iDl8dwsNDNEiEDbg8LyF46B3ak4qUKVnM7uafWz7TwSiM6hPE8/gxUIplxUDYL/lOm6pi1ipYWnCsZ29oXah1v+mng9V2lB79gHgX905sh6kbIUzEcggwea1SGRi4pAYPDCMz94rR7GvisrVUqlZT1yDhJhrPe3f5CpfHarVNMclGxMaXMdyUEdZ+BOrhBG1Sj50kOVN7OCOIkz/hp6SI7KbJCYNPVocOqTJQfET+p10dlSkipJEDiRtmodSVrkPhFu2JKEjoOy4npbtBJ4ZZzoNtd0EkPe3dB0xl3ydqXAbflV7D/nj3bcp1xa9+PBnSZZok+bZfrweJlTH2OsWp2oR0eMO9LHRp2ZCUKGLUTgDOvcsRi6MhPFxkNZfLX0y0F92o9rkKS/e9DwBTLFqcDa9AVdXEemK+qC5RTYz1eHYk2FJiwhdHpp9X0rXrw53TdZGmqWueUrmOc9wbC/fmv6xct248F66nw/E1N38UGep8AmmhVprlvzgPMiS3kWi5p2JJgDyECsxvt0CkVIZljnoA3YU892gJ1d0G3LQTBFwnL+S1UaozfS/WySSRRTzzyqS/cJIUNIlLFaymvNJugF0cyGoC6iGniFT0drXBj8Z9gCvpZ+QIFWmPA172xagzSyX0uSNuBDEyTTErJxs0DBFbjIkLSC9mXpLeeRcqOjx3ov64QL9PJap3IawxthVxopI3gzqfbh0gfcbHDQQaxpA3E7xMV9OVXFv60QvJdqJyjVrbLGFCUgoy6ZPW7lrLfv13M9EAgNWieO0FLu6aOkz1Hlur2tiOKh4y16fY5Kzgawg0YeiZM+xC10jy1+WAUkcaCDlEbhzJzLWIIyoJMr+whusHubhqoQ0+bKnn7B9eTLLJPxMOy8CZT+ayGMTWSBa1aoA9ArNbP7tB1pSlc4Qs/Mg845Yr5G7aGK8LAMEJvKEv/tYNma5VGcxV657dmXc/onnfhnU9KEc1mPZ0wSzw5dwX3EfkeQmnhh4q8Kbi0pz+3+gol3p3MxJA0sEDTZSCh7ud4O6DgNclxoFvHUvBOvmLP3YYgcOe5P+7JZUBS/CGatoAt76zfbnX7pKdKOHtV5gTxf3FqVuRRFOraZsVaenAsr6SEoirati2fYo2hBK9pxl4XGZ3fvByHYhAOupuDSDXvywihL+Fvcmg1KH1IZ3plEe2IDV9D7k3GBS2VPOU13BOKumAmnCAO0yJBTkxjuRtNUqrfCGXKWgjEdR1Itqj2/0ACn6ISTC5uRrduPMY4Cumd7FJpF4FDdNUPyUCHKEEK4HesqyjqH63oxBza/cNJHJqAh4/IfIOrQ9O79AdzIvwLxISDYInpnFVkgREUpaKuIs5bgq5YlAQuWEUd0lv/nsofBeKOBjk/ZPlt7GlIk1B9pccopD16fIoyDDEvo9goCD0xxiL7C/V5vyaDuDeidDCSZO4bXpsuThzYBTUq+PMO3I+YwQIuEpvztZnUdvgHrkNJNfxkNVCXxmhg0eugczdVL9tQq4FinyqFtOwjzw5OwEINiyRNVt3agGytvlPl9BCdRKmwJ9TbhSHx3IchEfDZoyT1lJueA82EsUbgUPqEKFmzfaok4oCHL12GcN8kZ5ykDtKnTc92lJV56M/rWokV6cXHbKSiSB0vb9vv5IPLDDsPKNCe0/8aNYl+gO8DNYgRgDDvll/rYBicEIXulEBTOFUIM9mcHDPXjpGnL9zq87NJapmkIi4YekVICEsmRdgKSzvEjUaNNkc4a/5nkQl92q5lIkZLai8EIPigNyHpQj5uNHN2X1rcO/8rHOjooFQVX1mDS3uUTCbAJ/xCUchMqbBQ0RA+UIjwqCk6ap8KTFl3ZmoW9+oiTDVyF+GMbT6m9evHE8cg1RZ7eAZB4RJhjEc0IdTnOZEhVcmpmZ9BBe5WswT+Nf5UeuAiodzeadsDgpmqJFy0NI2f5hlD5jtaPdwM5Yx3bJRZLefq+RsNN48P0Bdebg16I0McgKOpFxxeS478vCNcJiqZUV/MA5Xt6auUWa1D11WlSc/3KQF7nOcoCLN8qpawR33BhwYyX3G4jswHIXNKRnmdaNvMMDdqS+RHVc4Z6q4Bo2UpHu01DJh3EwKmBSYfo0nmfvlJkZfRcuL9piIpangu8mWSHwCPArDOolUsqo2A2WLFZb2MVQG0lPxHqGHmXSv6j8tE1ZxuwoHUOlF9QirWaReVW14oLGvuWzOmKYgKEOHPpYZPiC0K0+RugsNFQO/EOhT6JjBSoWzVLlLtG51d42DbkftwEcf4r9bfw8c9rjJoQmwNaprY0Kl/YYlTftvxnh7X8766HfTaRLe4l+Nr2FXkT8aOEMULIq0mBJ39CuWeTQJ20YHqiXNULeCYjpap44Xk1c//BROCUD8cHVYQ9Rc6Zz7cd2glSck1Ecm4gprrx5KFwZ7phxUa4Z0jZNaXSbfS3inDXD2XGXynHmNOm3GDJhyzXyQkUbFlWTZ70T/8/Z+i6ljmtnqp14smVuA0g5/+OcaJi7lzH78gfdnW+zj5gTNMgaMhhGqGLO8bw3nvcFJsLH2n0GEzq/DheyqYHozhQlAxotJXZ+3Sam101kfEdPUtxvXJ0h3Ph7P+Yvxjyvr1Cte4eMS76wa0CVR8i5E+MU6bUYCPVt5Epi/jk2hf3lwwP3DBmGq8M2tS3jMNkJVhyXiR+8Keu66IMYUyH2wXdcwO+YbqqTwhAmq+kpW1cTY8ZJzePVByaexC0czdVyn7FWdbdN+gxbrLYlr1f7LXN0zHEuDNKNaX8C4ZFIROBX7qlWmQRgWDP7LxslK/ywng36vl9hPr7HoeE3FgmJ8wzJPtwOwVuoUucFj04PV6FmQb70ZVlWdeBaWaK6/7nO3VfsaBlabBqY1pcFUzp0Xvd0pfAhM92i/WG9iRiu4A1o7KQv5xdrapa/3WOkQpic1Y1+YPrTPcfBWF9E30yKTPDtpjWnl86mpsH/Fz4Jsse91fhECikMJ4f3Q4VM0g70UE2mVlLcE9/ELIiHm6iBSeIV3xPFYxxVJNtk2MbtfcQSLVmrIyfxNXU6C1KqK9vWHqM6bUDj3ELcKLb0Zhtz/A+bRnOrIfD9fhs6mUqWAW5417peihce1syePWySswePAsOS4NBWu2wqmqAsqlfgXvL05d5R7Wt7b6WQyW8lg3m0TL3sYhpnKZ+4CmnTH6lN+Y/fjbOSc2GPiIZE2KbgWRlqi+oFZzwSqbF7+i4vYbH6ZOTOImUaTDlClsN+eERN05ScgWK95yMiGdbzO7Dh2UFyK0cId5UEC+o1n//nkhA+0LVtUTZkws99K4XikM6OpfOlZ1j9liO4VFKUuBNHDwBMtU77/qSxK/9p/i0JuEMZ2+payGuOX8qoPj0PR3iZ86omwShjoK6v3pClLts+e0r6rmVzx5yygzsCks3+CWpKDSAo0iZPE+X1Iy+0/p7Sh2HJ5AYzBF+xJXbsw3N46HTpYKmdr5o0g3jC+K3csfM8uqAbscX5bjwVFA0+vqj4PuL/93HyGFjLgoaOZmO8CG69q0XLf9lODIS2QbPmkbEM/GaQvCi9woOM5oRJYegro8aqYY+zXd9K0iHSrrfoodv03/buUqvRPSpBA6yi5/2bz4AeayCb3N6VTl2Af5A3W54WrPItE+nTvtLkm7+WDcPPjzudy1HHmBEy+zbIKEpvWFv1gTidEyXiLdbRX6K7YFUmXdcVNLtVYIeEk/YvpDnIJgQXpCuVHMy6DFhD/i82IvpR++ThBlML2io16MVcU2VW/C1CNAEZUhu5MRHlBoZ5yFpYvJ71kYTNuv7N8TntKs+6vBfbc3P+9vHw0oCsV0DLJQZt1+HIDvDaZspUpCXS1Xdl57ZFBVkbvVDA2lxBsKcYkEEepxMWW9KZwbHrrAPJNd4cJwIIDRrPfojlgFxJkDu5/1+nSfqoPm+8WuBJpdXxWRFymDpDyWYmiu5meQ07ZAIKmxwRKTLIZBg/ZZwyYgBMdxa/RjIPPVnd9vnom13fI4fIDdkudMhYQwrVhQyN5nWLz0X9WWUXeE3afRUo+FDzYhzAj8cYvbe1pzi++iCcDTrgmDXrNvg7wemwXNmtcpOKFNQnpZ9CGvl1YF9To1gupT8s831GjlpZ1HNZjKMps+6RzshCZEu98jSzHyJDDBgfso8QeIaGkakUiAcnwhMwjge3QOfCnJrTb9tjz9AnlltxS3Jv0CUxaEwZHnZT1CEH9zEJMg2X5rq1aaPZJn4Vwt54atEXO+sI6Fc37Lm2/K9meQsckLdRE6KRhsKhVTpD4QD+yZZAt/fIZNprKZnxyx4gYbMWDvL+KFAlSsuMA2b+xlgqdO/BHKhabHRzu6G8O88JDpYN8KN4O4HMXG3x7nTkBFKY7p3MaI3uChjEU8y/neVxV47x3mVQ1YxT7o0Vy8OK11O9QwSD5KDNbC5ZWcRrzyT/iq06FDGuJbdymQa5j1eKBGx1ATjJe0MkIcOGifDRuqzxWAvTPiwFNN9wp9h1v9uwhO+rm+6kkaaMR5QOYxkGRPRy//VNuz8FmByCS5dWiDTNJ+uWpQtuK09G6BtVvdJQ7XoCq9qzZY6vpbT5WSilfg9zhw4Hf9QSlwyQA5wSLTGINRdv7lnJCvJSYCDRDbyLJqKZ1yOEEG7uTG0eWNetXwymzYj8ui8md/MlIMNrKB8sKnF+HH23O95CtT7jX0ruZ5cIFvWPI+JUtWmERJShk6b6hzB9nsWoso4QElMbPKJWZ4f6yjU1pfKJWRfwoyE8wtGPfKYTS5xOq1tfpUL290C+Xo1yMML+dHCpX2CqP2eiJK0Ep5PtIyEMfdulvrcEvKHgVRc+uo4EO1YMSd3Wi5mJfg24ZoNdkmjXZI9UkjqPtJkGaArFuzT1R1Bm5xVyV2aou/yVN0H0Aoc6lvQ2vgJIy8M5U1eFj85EyrbfooicMsbGazU0GGM1U3PENuHRnVIoUVXzH9LDdWxpmZgr6//j0HapOAUyV9MTUmol9L9FBBeeE+dcHFhnF+XvTX+FrDYImpJlhUTdoxEvBK5joeOTQIvRMe1XBCivsOXH+kfIhIawzfruVjF486Hx51zOo7Q/sIHWE7iA5rEx0LYNu7xPwYkgm/HdrOOP+ILCoFibxZ47CuhPUKQ2iCe90ICXwfsarZOMta/o8mMpzehwdk/svI8vE7Ml7WYOetl5fl3/u783AjOe7OsnTM2wNoCu3Pdgf349rB702sgIc69VgxlbtFkvNwrDwAokuXi/bdgrCDLw2I8CHTIBUPnJkg2RivZhfgvVDOTb8T86o4lJSe5rbGQhShddZK3DPbe/XjdK985AK2o7L69rBLWi4sQKIdGV4VGi7SY15eb3XQTizwzuo1wsYW1K244w3DAQTaMQqsUdhIWVdWMKgBpZliXqtVg1zfzw8NsY6QJ6cYVe/dCN9SfgYZ/3j53i1rYGH3/xatk/aAkJN3NMZu1dY69P8RdvgWehZaG+yCHhbq+GEUBJTJQs5wBY5/3t56UDRIga3DipcElKZ2tV0C7WAGSQRIP9+LWBch74al/40nYzkMsrlve/x5CUMQaPoqHwHzNRgT7VQt35PQO7ENLcjCgKRT6gtLKWlS5TmJRIlI5lGXIm66h0r1QJK5X08KYFG4GBxqoUMX+udWy6s3wNNX/3fS00ryWYvpHuwGbWNLVi2ZKtqq3H70MRBtIsvqmVNCz38EhsdEgigFTfXI8yUG1k9V++U+Ubb3FpObgh5+E1+enEuZ/i2+Lxje8og4LRUNkYoue3tQ2iJ8y2Oz/dpE+z9VD1Jh/USkAKax2yvi/nH/A2vkjGqwytKD5iqPCAUv+RJE7JbUjUXzQY7ygei7dE+gpwnkT6Xv3ddakNj1lQBCO3XMtHY5bo9spMMTRPpj3aiR5zGzICnKYU0EaWEYmAQUtva+vVd69iNXnmt/hDs0oFS03tmcLec2xloZz++UEfuC0FAva/okjLjkZu3vQoGAPX15jN+y1v603rIZ4WcZgGCCZoupXadJ61bEGXJC91/vrMmbZgd6fhkny9MhQOY+ziBokbiWMf/gjYDTGFsCRBnelgeHslylJ9y1W+LcugsfCrb11KG1ufofHOETbnnxcSYyjveIl99vL790NJsveQmFqMeoQiPJ8fW4qUPCfqlE5XXgxR3IAOQd//yl58Ncb6Tzv5JrvMXd8jZ6NFz2wInqS2YmekBlD8BSFmP33uQkSz5YFYfk/oxkYfA5TMOMMnVzNoWcihbCTAzYxqinfPOl8EoONXV/PG5nIafKWhlWw+cuUY1e9OS4kGMD2BzBUZ4jhANdQhsCiSV3K3ryKhMrWhozwplk/MlwzMF+MtM9UphoC62iqDsixjvvO+mkNCxHeOJErrN0ED8h5zM00lGRpuOzjBTaNrozjRSqtfzfnxvlHvQNHD0i5gUOGyUwf89CTreFYTcxk+IyTljz4f+6Qp3B0N0USIdnGXKSsCwrhHPSVOb7AkyFQxnNoLSDVhWeYsArC9AxMbTerDYZixGe1Rp/DZwxjl5wDswrEorES3U8EL2QcknQk3bQf3H0fOW6EdZSax1XdQia4/NsVnZfROSk53vaIlZoAduQCgq6NDQPpS//88P6Z3qXcUiSYcRwnlGjn37lIWUrc5wZm6R9vHkk2vUQWaU17P3uYjBPdLbWbVcHkj9QhNAtM+qO55NvKLylHhqANjb/NPAccBuXV1CxVfTTsB3+Wl1dfJ/Rg2Fl4eQO8tbvUnsUo9ACCZKy7AeAHe87HmOfqJjCvUcUt9UFihQ9uUv/PtkGeOdUTHYHlcrV8xy7fN2WqUmvQCtXUUAqD1ljGEvT/Gbcj+iypsfqmjCJQ9OX0MxqB5HSZiKU/h3JN1IvEfeooouvlkJN8XZgFNqmz7EdLAVXwrkY3N8n8Hg/a845UtfWQ+ToyDSHME6HU/yyTOsCNoJMt+Jg4fN77Ag1vWdr5zAa0gaN8RebFg1u5n1Ia4UrpDWB6njfKrXxA6MIcbx0ZZvudqGfj1NNf8CgXi4WWYSNDSFrxaGvixISzC7XovwMl3wam6g9ViBnhEKHhSkoWOq6ILXIdD6I/ldRsCZBojhMaQ020rcciPUXxYDaZ2xoO/XNLie3siWOMYZqIHuqPxr7D8WG5e32mRmTyoO5+Oi9CDLFJ15MMTaFcCsq+Ccwh3phhixyjvNfeBddvQXx3W2G/E5BysmmPC4vqTTntAmV3LYyRqsnWkdtsdkZSSsJfVeidNexrlbfz+Xmsm27Kav/4dRV9qsgctm88UUSXc8UE90AQk8BTslar1XnWPFEYxAZ8rScEffhJ8mDOm4S5d1/SSomGcuOMpvgQAEGmHzjJiwUBdcb3/FgIhIXIuNBjOcxVCaucrhIkAMDoy8gl1KMqKXPk6mB9EzoyKGoiCK+s5IxLUar3FJ0f3/2jKD/fLtgGSmfok6B+zGQarhI052z4JQb+SAMLS5Vuy35q4Q+sloUr1m29DfAusNs4N/wBev/ejmq9RXz4/xYOVlgDKH0ZDJ6oETQecwIijgHCru+BEyO6JRpRlG3L3+62u02bOr3ZWAdAJemmj7+Swe3daSLc1zkeo8KYPLVOKtSsVUucrVQgK0uKeEU1+4QGUGsUqweC4wCOei+/IKzFiHE8U/PZjDORNDSiN0AVehAC9De9v5rNo417wDOjBivZvAzdkD0gJr2M3goP4i6+jk7feogeijV7t5qj6/lGgnZtuZFZR9i3TOHGKVAPEvLdt8WotAD5wX0D4F6BMOOo9Rb/taL4g3z9gBgejaPOfU+2/NhK5cnfJxIefvhnL+/QgEg9s6hwgTY3uaf/Euh1AvubeyloPjfsGW80+hxvGsKSnwSlgIIMmc/UQ6j+CmTy186xaigKfDZRTAaK0cF/M2znZdhcVLni3B42Zqe2JbdbOMdGgFRlpnSYcHMqJjDupdmjshC5dzIeLOwD3Hq1RAKsi0RZ2zZqXk4XL22gymk51YiTyr1azPoRvKr3KyZb4NzRFJ3b+M8MekatKi3MPaCVltAxKkwEoeb89bslMvQgJYCaJYiwe3Z3+knoWrbFxGzE22vJrZk3QKi4JXy8UjLwTe0mbW0tCEkFmMAQc9rRwbFOS8egbLuc4LIO2C7NdgrZXuhikHBhrewNsRVz1el0YTb2PDYpQtIczpNMZ2rsndLTN8P9sQdDeH5daoa+P/ISIZ26zdIhv4WUmtGfN0dulG/qgPTAqlv/oJCFPp7ipq6kfFp4CEp0Ke9/Agai2KVC9pTe00czYPb7+x0zQkxfXNI4oVarHq1ZtsHCVNJ2dYxKQIl4iiak+UYjGCrsE1ri30gHzqUuRtBCld3Pn2wLOtUtl66gTSGFkUhkiBM0Tr+JbbQyFI00/ZNPrBOQoW614xK0cYA7iftaTIAAuQGDb8ZhBGzg28wxz9MEeHk4KP09x/BdcKpdrFDqNL+xvFn0lYYRyaCDd7F0X34BHrxrgTLCXgx4HHvAvWSDJhxsFJq3NgKsA8u0ueOtMiRupNDhafG2RW9dcQytAzoiEMjhJ6us1jlUhnSRj6IaxmoTQ5+YoACNuGrKslRgnim1sSCKf2MK4KWMuZBa3Y0N2PLaiZt1BSCeYMVAPyhGgtEfXtW49DXVL3ohUnPD6JrFIldBjZLp2G4wY6Dd0fiQ4SNohxCQYxMAbH/Php0JluT99qvKxNzLv2XRxd+uLPb05aL2cKLqXhBpai3/hs/e7LsfWbh3u3Xp/HzRvHvRaK3DjI+CJQXFC8Q8FyhL7uxqN7jirv+Evy9Rkj7gDVP1J/LdV7CxEtyxjTRC6p5SCssC9Cgn1ELg0e8QHHuaXNgTPZ2bjKYKuxoCPn1ilfnlTiSToeUec/Y4Di4e/OIeHcEsT281A7bh+i3lDUYWzeeabvwnzBl1CZjuXMSZTy66ptyGqYxs6Yo/jcvZpKPWOPccQ08M/OfEpiqUybKQwgZYhmjX329pUI261EhSCeEiuabnU7b/bzjHQW9egeh8msdCC7O+DhIZbT9qz2ftvNc2e+FySJYxdQBgQ+cNFPPeQUo2kIonePEctvhVB++bgbYw2TX1uirSQs7zWVrK9FOJElRJRUCtnO4qFXZQmIalQxfKLrcl60jMhFXaEIN/EjlKudAaUf3x1fCFmlc26T2HrQNt+7+CZiF5HoaTbJ2fZfabDentfA7RdokHzW7kueCFPy6RYf/x9tuu0lkL3bHvs4tXQu4DHWH6ixCCZPnqGbO+dwhoiVA8u57pnwj2bdA+lb2b6SG8ETBA7MNDMbAWWnipOMNTfhWma/XJT8Ir1tLrlAqDqQ6zQKZi6MPcgmsg306NW2T/jhYj3Jm8/YIXzOlibmRgojxwsEi+zaCjkUItIooWPWvxnspsQzrd/rTNMO3GK+smLjaWw7OmZEneMqVlzWprVF5G7Oj6quCuLQKywzEl8bKMivC4kv/NU7zzgM6TSUPaK2uplNjpNk8O1yZLf8tS7Y42caLI4iV4etZX7OiR1d+uealt/yESnmak4IKl6cGZNM9YuzxJP3PZ6uzS5lfAZHBkMa7tDZPq4on72VMB8MooyuTBK4Ly8+DwU2hRfAnL8JBxTE8A3v4ES1/bQQHogDiQ3QSi9w8KySOUUq2EUET1EYBhNBsunYFhyGMGxzv/FcGAhTDwkjbZmVTnxiVogxAfer2dBcz5KDx2LAhZc8Id/kc6yS3hC/1PpxeLoeWSZX8k8lPNISQbdvpPJFYYrW8raXYyz7K63h3TMBr7un6HoijxaRh2issW7VvnDMUWg90oTbud8+rjLqYri0NZZiHK7vFiq9qPvQAENLg6WwoqqeDQz+ftfDbLZNF1dOCdqVmA6kr1fKDEyuHQ9fe7tkBMby8e9dFs45BYBZUEwA1jcAbgDKsY+/jF9L+fZXZBLZ1ofCWh6DtJCJpzd7Mzyu/bKNjZKjtsz2UTFtQzY9cU8kYfOkwkJxcaf7wEvDdVGYlmtW+0XCp53Odcc6yQqS2/mKpurkL9v79Lu19oElsnREU1BI5TH3dTN1Qgf3oMKyy0QXiEABgTWDJ8y4+lIZTkNxiBsOoyNldfoL6vDzaGuryGZZuWkYpjlkHZZZ9r0GxIsjKntDzMcT/EHeaxKNtrnJedZm4wrplP8+INczlxak5o3OHrHFYRMCeVIyksBKHe802hVtHj+mcEwEYwTEtSm7mmB9FJSQmDeu62oCmHwyObxqqJ3MAS/UYCT2UmP9BPhecIHMYnQ7qlMqMsWvej+zltsfoQlCoPvC9Ixh8o8TLKDNMFig3UlcrHk3O+ppx6w9fcNcbCbPsh9s5B4PSLuqgNzHwxUlZBZoHmJ1qzR1gaPS/ADCZl114HHbNYKSbHaMHVmjbCoACHoNyqQ1VwgeiQnhMqQNyxv17Zx2uT/9trkvrJL1euwvs9am1K3+TlSX6RwHcfjUKP73nBD7Brl8gMDMlrkBl4JTzeJS54lseLVc2CV7Wh0nT9G2IPSOBjLC1ipR35Cy7he0ASvL0fnmg7ep9jRLtzQQ+VSfz5SWCOfsGQT8r8GT5CXJxXE8yu1R43It4GBwYos6pf0DFrheBQvZreH1/W+zcapm0x2SeBOZRT1WM3XN+8rS2m2Bbmhjr4p2HmT/ys5Jj58XDJDsKqiAvyNJK07cJ3bK0OttFhVpaf60zg4jcpmv5VBLGqKX+xOy5etYIr7FWSrCu7IHT4jcI5nSmqo+mSNvF4sLM7nQBV4L0eA/+LUXJGV3tM1FA5XmBFg09gyxw7nDIUuapd5RTlsY3b253dlLnm1hgTi+xVHyKDJj5sqytjY/K7Nf7npTPBw9jPEIXc4UfjteyuKPCx2Linj9mvgIExAr6q2Faq+rzvn3WSA5JFhfRpbDAkZU5HbVIfwDIy3aQ4LryXs6orIkHmhaBJ1nnvpWg2CC7LA5rcgTV5YEvW445+iUgcpEuCEivxa22fuMlzEfpoPrvew8CaqnJTtKuIJEhGMAW/G/PwOlq5/p0vETIK/UwVcW7Zo8cM7xteaa/SMmnvtDx1qX1Iy+LqR9tZymS5x44Ok9GlOei/n1Oi3Olrno87yO2Quwy+3/MKlEzMzOmqIV0EZOrWjuFyeOig3upXDC+cVOS6n3RL/N49MQE9+taBIYmnnz7PN8QHu1Lz92ukjx6xIZMJN5eqgbG2zvbB4Y23CUVRkvWRgh2ZbCeHx4v1xWszMia21LrvM1uaNVInv8J7yZs5BNjneaC5a9CjlpqYHNbfL8IreNewpOYbAYc+SqkcqaiQFHyijAIkenFmnvKpUhN9n73okEyizFVM05NvFQO40b8tTyp7XN5Eq72u6kmWicDXwH2elzrcdqTcggcUOV89onDVSq84S19k0NkrcEnXRskoGwzLCwyPSLCf/mSUmz++4dqKqZ17/HrARdh2+Qdlg/WnMUSq4FYDSt85uXfOc5w+JIh1GoDYxmY+p2jk+soVKRvQ3AmvhECk4A4qeH3y3G9VxBHBbbfbpoQro8Y2kOgOeGcRtVG+3eU6kKIJbquUUtwtpqlqVEl2niZ19X6BYI7/7bTgw+NORPdygHCsYO5Xi3XK/uHewIB1PhPzsHxBMx7MX+eWbiP/ojgBmsuMwWFfZpzeC8DeES6XoCGgXBMVLzM7I0C1UmU8QGLecRoQDDJDrpUcSfH7ZhgEyRGjHXGK6gffdaoOH7nrS7qnQ4DznARuz8CvSdo9EwTOEiRN2iobN3LNiLI4fcg3rw6gKj8J43PpJcnvOSA2CViEECy2XkOiHt+D+ffv3Z0AEThdaUOQrKazxwoL/06FtIMYsOf+tKNf+ap61C9ASiI1VsOOVl7gpNYUwvP2awNWDVGMh1H0/CJzl7DaWMSHlrNylXQjbVofPJ5NVUxshV7CnHfAMym5GBgrwV29DqY64jZTD/hb3pHpPYrjOX5xDZSFMe+rqZ6oGHvmWztazI9AY/2085WhJjI/SlxVmBPkDydUCDIljdhRdD6+7NVFWpync+++u7hhwtSDrWRraGPxPV8hS6cl88s+yhsQNLM4BLJUMtcUTjD6wHzeo+G0u3NO9+Lv/VPeJXa01FSzR3GXyaF7pNcrulwNww0CR85s118Ho9AnwBgEdAXFTLdQMgcvVT2JGs2AmDW2lHwfyMK1nc+GdYnlfF8Gbq42PqJhzptdtA+vnHgXh/W8tureYUWuthYkD4PIZqS+cduQOoykpIBXa2nNhSR+vk+XUlapeZNWZxbOJMVqVX9aJ8k/UX5T7X9gfo8YOWEy799CJYqhLPzNrdRxwCa7vo/rJfw+0SJ3zPGkm6Ulzg61kuv36vLaSh67CoSJL6lk9nBctKHNX2ffcYOnAmyBJ+VbXPr95cqOTgFVDW9FuHmvwpmA9e2geHGphQEfyRI8YLJ4voKQC/aaeDUnP0t/FqK4an1ZxDL3rrTUGuiU9dnv0R/TyYIERXdYLm/A1nJ3xGYqlSXKln2cG3GcQnYHU1Exor4SnwgNGV8631cmXouz3DtvxEFUGJaae7hH6WfFmwGDQ9QOJA/NlRtJrL7C08Vc9NloOK1UOqPxSD51n5FUbq+8jI5pDSwdgbbtN4+g3qcoWyEGAlVSeEQ0RdMcoxZ8tUVxYVTXKEkhAMVHJlv7K92Fxu+o2XQVl7pUTo+hnTFSbNkPM+TjPJKMneZpv4dgPRlH2fZj7MZ9/gy1qzFJwFl/4wFVDNtKR99HxOUhldmNIamlCOr6iuqFqI+DaZJ2EQaYiFibid641HKbs3FClXj8/1tfrKpYDmMuloQpauEZ9ISbVdoTCrNBdWqjHauzZVvRcH3Jv1+CR1gzKrjrZHwCNmwWKFxcPXb74B37KvKdX0b5c7aynDaLbkQKiBizd41LApxQxGEpLtqjyC7doBvKRbSiZmAtfom6+0oE5iyvkUUrS+A9Gx/IeBzOqGjpXWcz3L8hzH30egzxrEvctcHZEEvTRY/dCSV64xGulgbo9HKuYWImIp1r2N+XvCwqbtHIgqkeQNUW6z/ffEt2XZkvC93S8li4e2/kz0M7U9T85isnUCIPfwq02VTI2Up9AM0MalU+Tj9GXbNZOt7j/pP1xiJDUuJfybnqqc0l8x0LMHmcgyblgBB03IPsyz1mCSSFvhmtHUlrVJA1WP9o3lFOItE+EAf7ePZh2hJho0Kv6NBrIAk2GA8W8RB9x/UkCazPrrVrgDiKzlfumeWCq+LVuXlR0QWtCfG7JdqQhOCERMDqM1QiWLI5uuNB//8EqTC0ZSDVauBhK6pNfLcPOhw7sS1RWhExreYb89LCXPo0x4/DKIPOwnOPeQMUXSTX/+1SBXSBHsFg88utrchW0P57aX+VM8+JsiOx0L4gBmE7zbE/MjS+OC65XPp8r9SM4odE/1xG+fOmbwQAsXASQPOk5GeLL0AQa4NDFMiZ37+DT+Kd4Jnos/WomfG8ywCwXrlLm0Vo7uyfKzoVtWTbxhkUD1pUIrof1Hv0nULaFNTpU+ubhjrxGqi1PY6oiPjTnnDz2YPYbALzhmURiSYCtNlNMfYHff5UbNdZggfAqRD7Dj2yqddYSeWL492JhCNfSej2WIhoZvOooAS4xxriyu8OCXLj85KEYjsc14o9qmdX6v7vNNpm4WzZUryEKkpGlf325B8Qgrvl9TCb1e5GFiz35cuXuBd3p08W9N+VLitgWJmlqNh3a8zuT4zq4H8hYouG5fDfea/JY+Vb4kyk4VSNzscnIvzt9mqv3gF+WgvP+MFEmVafnJRtlVOHipVic0SZeWQJpT+9aCPn2ww5JYcN9YmhUyTZJ/bpLBeFB2acKDVTDQbEGh2ArHHf6bbIp7xqbvSdUgwjgMBWB1nYhGaPZD3vlgMeeBekKvRfS5q9z7xboHds7fwXu/+7g2JkYUCEjapwp6SwcXQRI33Dm35ZOFeXv+fOCfnaeziyv9LVoyRj0gBkYiWZe6Nr+eErzSua8GoPaq4BeB6C5bnlseUQML/wgbeNWtrMTG2/E/KTRhN7lGHQQuY4tcOp00+4wx0VmStx9cy/vEIDxcIVFMPPfD5Akc7QPsl/jCBAXk/rCfNBkDzaS8SdUGZh25abgMHC0fSJWUB+IUjlYllU25+54/371HG5Vazh/vsl0xbUHsnsh8jlwznkGXPqdVSWNays3SSm/cJVd5PBq9Gyj2cfjuR9uAFhy1xVyjmCgU1F4KprKFT3kIiKsDWfkDG9LOsJsBehmzNdLC+WGRP7SRdiHfAAHpqaI2EGls7guU/rO6CcTlrycB8MemJoV0ZuDDB2PDOzIZ135uKsQQGjyVeDtzSNjxL7wKrwu4TdtlAs4/cBTK2u+gPXtRne4QTBWu/LpSZ4sN0906+B0J1ZHoTBvo82Vv7S6le0fY+hR7fMwiRaLzJOqMBtowwsn3YoI8TklkRe8xn3olRTM6jsfVoVmQQAYJH78fq35/hfJKFVvQpsz27WnCRHvFsKy9kEJmarpMnDcyxW98+89ESd6PmVCpUK9zx+/sl0JbuLlUzy4lR51IbirYgyUK7ck6wIIz7RjXlc7+wwi2hH1eaQPun6yCnAmNFKjHX016YVUxh1csDlJ41NwgYqyyjiSwZgYqb4ZAsIaqHQm7EIeKR28qB7sklO4637+uyO6chsCA0ECyfGqnnUDjXAi3PMV8ufUcESXxpnkNwJe/WNS0QJzy86cw5+5xXepc6pV7ZLnRxiBsFilxHWfjw3MmmSKJZ0lt+7lP7DwikGHEdIyRSQZzdzo9BuOMDazjvjcwrvauVNh1/bAkm7GB6e6KRNxxnCtbofjABzj4TIqesBHamdWZ+TCkvWDOSzSUw0CR2m0fmPr9T4ky4GLBm4ddRHTHGLKxVXYFHcDfi0I/PMYEDjloNuOnzoebOZOIQHfQShpcxrPr2pcrz4CkcwRIdYEJjvv+R9OGtDxd23sYIWAB6IB5xC8tQ+imfnD+Nd/hIjbVp6y1QSDn6uC/4tQozRIZaWY9oWx1GdIJ9nUPRY/xxdZvevl/EILqggx5kxEIC+w3sBoEKOHV+nRR/ZTEUC7ld+tZ1S6vABxNJfaRd3kj5iH0b3MgykL519+BqeasCosAphRQscu120Z3CWXNCDpK4gjzZX58heSm847QDBulrRtY9B378w5PU0psqJd3G7ksgoausiAbJzDJrBvn37fMg7HzIchvT63soxp9AbPD/hwby6M1GxtPhnByZE2MalsGopu63mu1hxPPtkSbzoI5ltrxZ+AdSZBgu8FXCV+sMVE7wGoVolZIOM//nbS+pOirdbhJCyO1OWG2BkSWy9pTX35Ea/KhPY6DuCgGgm1xsV0TM8BQ4I2l5pDnV9dW7W5aVpPqCuNXKBOBT4jb75PosK0ej+lyJ5IWAeplrfKe/0Hf7w8AmxB94qZaT/ysd3gWE2SgKbVJl5/2lolsshidmT2w/9FlqGwvPm/3fbnnk8et4EdsV0JMM4XPYdcBuD+5uLFolGoaS/S/IIq/3O3HSYZZOcs/TIo+/wLHZjxAkqzBPhNFuXJ6qQazedwCk/xmgEzdmodCzOavl2EmaBpzHxDflKJ9rne9kIqKE+w5VlwC5y7fiKjXHOXzrmutrBbvzwwljv8fJp808+NCk5PZbXAHj5vm5Hp/JqASMOCfXjBaGYYeVM4J/R6lwp9ZvqyE3cuq7Lx2o/hRiPuJqiRrKEOzz7YSsjKB+GT1SYwOId54gSthlrdEQAOHBgU3Ehy79d7KxULBFUwTAjEZaFJ0sgUqV8Qrx4x5bEBoIP8g/kDWo67BJBdN346+6UEILtqFPYRw6IohdRKL4AxHrXe3DU8mLVmjhNn5rRCntRhvxZfdxXXtNRNG9xwDE7BBsUNbgqog2cJ8ZJkdC+bV+JSk2WGAa1IzGDD4+91bYx9SiDQ6zPkZGMycBX3+Lt4e3Bz03d0TifTULk7ZXH9Ip5A6WDYn61NueyO0LSUGTWqJ+q3qo3UZgFknpDc1K0LyJrlm2wGFFY+V7jyFtSUl/uQD7LMq2Jk07SRgkIXtN8WW5uJQX1U/Y5/QyulodB5Jer2bGlsWpdzp0xgOcvf8cETy9K07bpiiHdW4FuuvEpKuSwZFduyqRENPruC+5QvePK0ZkLzyXZbqtb2fGNM9ZJwg7Gr2jkyaJFtWajT/Bj1v+zA47ZTjcPKxh5Z/FhDp/5Dvy5cxzzCYKncGr0xA5Jf+EOasA/bLT2oNSGA2jOy7DGL3r9PHSk9StXyXBOPmUlR6vUlc8yX16j7PnNQ/HroE1F9MGHgxSbADuh3BJ1W7PLBnsM7QAZ2KbtkJO0G1DWwliJGXVHg88IETFQ56dztlHJkWqPx+O+YOiekjnrJb0R2b7pEE1nOlloEvc+JNxqmIvEK0cJpA/JxyAKRvZT1VMh7KO48y4dJJZUahRngHCk/hE53k92VuREFsB4mlwhA7sop7G6aoqelobIJWCB5Njf+1s76D0Ib7BzgbBfsIRuTbdrgNxaMrITKsjtestcGEZ1BgrGSZmgPrUZG8/SHyf7Khj3JBwZv3pkXBv34a+ezbJVauiRfugjGRj9/hy2abZ+SpxBthJtnaaNEKVZJyWNvXM8DJ+eTkXwHZ5Q0t5XJNaETkcfQPJ9nlo9ecYJdOph12+MddUgTDsg1DQOcTcwI4GL9KsWAtFbdCYtTb5AcxR/PBjSzBl2j7UimDchyITtvVPX0yalk1/DIax/ZQRu04e4BzJSd160l+EWlLDVSfXmghGcFjC+JFRgHV4mxRGs8h5xbrhFryUTdZXbW3dYjycGFBpwqQ95ZVD8vHxZsTXtz8S0oy27Z1EWBImKWBBip2tJMSAIaR9cYr5ynJdgVQyfPWdNJ44rQnyVlT5KAmF+BWSmGSkbiGigpWEnAr0KOSG7xq9Qff/PbytFjEwbZk6VXYD0KcbOowRIcXvEhf2cN8Ht/Bg5kPqA4yim5JSpXdl34w3WThjU//B34i60KQpo8y6nKxQLtENm7uI/XvUZ1l3jlNqY/hkaeVfQYj+JRkJFW4ojirh+BmIxrFYNkPni/UHCaYKcva7dcyHu6Fx1DHyRxkikd6Lv8pEf0PrX416XGgD8lKltTz7XhQNf45XLqPYTSJYh2Ftm5aiFT5XyIMfyBl+2P3B0vAcpD9epYsnNeHGqeTi3Yy3ZNgdgm/7/q2T1CSQCD514IL/rR9V+rwPRZ5Dc1Jhz3ruo0tYCzIxjrxGhvZzqYLXqvvblZ8WpebMp5vZgN16buDruWfqbrNCacQJQhBvHAqWKa2xWtSUXgZGY8PohxQNEHqMFvkD2KuhkFdgTycCAzTJnZIgKd1iZwnpL7ROth5fuEDB05vUSmBsOAotzpe298waiZZCR2Nd1EGr/evqdutHcu5Pu8LYeb1t7n6/imM843UO/PRjkxbbP0V4aTDJN/0PqW1OLFr4s5ATVrK6jh10V4+rP+sL6kWXmbDhfmcqqZfvPrkTW52oq/BUapQrsATvo1M2KlhdenN6sEGCZRblsKIO0QvEGxY/qoWRMRiRW9dONns7Cq13ykqMQ0WolzKOxpDyXQPUaoLDG65G8c7NQz8t0q3wF5gsO7zaV1fryhLrX6V9U3PMaPNvOSJx49UkM8cNuWRJb7jRpZKnrc4qFpOouSQ9M2hxcQPIOLFl+Y8/TuRy7+t1ijGnsrLA/IMIn7hXWqbIpW6PCto//7nicHbTHOWAVuMNYSLvuf7na+cXrsr5UhJD0tBhL5jTa7eu9bN30PQsRqR0kq+WCphB25FBpYQYWuwqfDdiSSe+0i93+Utrd8uIoerSUcpzeTeQfKbXCKXbdqUUfkIjpWykjOZ0VX2zdgk/OOTuLejd3uVlV9bFFCc+OZc2kGtHjKZXIxSbXGP8F0Y9QPZX/zveqsRMBEJvUyRwkYM6LRuS25/ORo405AeH/SSY1uYzCHkWsQnv5bTsguW8KsvbZUERLg5jdjZ/A5Sjdy9i27n06tj0ON5Ak9D+MRzIOzOoh2GNwGHjNjOvK52RRfY7E2jvftbi2XC6E/N5ZDATB3SucocCq1CRWVgRztcTiD8OcL1iWtbiRqDsl5kOE3HY/m3pvnDcJwlR6RedvedAa7QDHxgTdPTjcH5AGc+Yv+JITESVzIhpmFycmukiHMdful93R15m3jJLlkLyGXkKySi9nr4Z+Az64domakIaoOtQVRRQJm8MFDB1bGAsVgIy/FvNIXqf/DXWv4CactnIWYXfSfpKkhuwKrWcu2T/MX/jFFWQxUYzBW5l0OxuvWDqJ4AusnaMBSf0CtGQxoTNWKo1bo3PbiGKK0GHer+JHCiegefcMij5AYus4BUvFLxsBJ3FfOSUkjEg6Jo7ouzA7ggRd3dBUaP6QlJWphBZStrlcwJPlAOh+VaD1cZnE7b92qOMV8fsJ/ZDRvOYFyqQoEAzznoQSlFvCVygqJAFISBjneXWGMB3A8DGOn2Nx+1Bd0ZYlQVoH2AJnUFpFxIu0We4/2cp11JBnJrPka3oOON9m16fFMHqNRpU4LEmzb19H/BRn6f4CLs7mX+HubzzPQllcaIN3Sp7WutFfyvi/jPqAzwLIi7bW7WXOZNnPny01O8X66qMDQbzRQWFDMR81xq10k8NHgLZ2JqOWW/cSzQ3wY6HIE+PqW4OUv6AdtYwPsYTzmF0o70nP9aUX9Ps0P+5OmKV5kuw0+Q4DcXgg5SlOmifrKvWKRQPV57FmecW+zUN/Hn7Fi1S86Ir01JfpQN6fsgotsq8aWc6vC9bYBslP749NVcNgJ9xaMQ+6QUv/ssbp1wfODdXArguO5PSEkR1RRC+uajpiVWhRbrbT3b5N0NY53V5JCecYCicteGdB2kTc2AjG2PSZ2w5w36pE5FVODtTsR6PgUD8f28dlKU33UY8JDRI0D1FPE4ZzoLjzxZI+KQflEB5EUnW66+ifAXrhsn+P3O1VLNUUV4GCwd5msn3/OC6dY8Ot/MoNLdfM2wULKOEapVwNxJo2KEZkiDpnQk67Q+4ldvSkkU7SKhhuG5zaeaLcgf5nqmsumvdlBjXBQm4eqrY3QYg6ZxkGiV+jnRzrHqsqFpdnZ2oSmRbLPXqj+naW90P75DZ65pXJsMdSKULnlz+4awNHayps7RPs5sK87ZvYzIckklTKmzJfLeVNuQFLv//quoxNKe8Lf+HifmBK+kwPzYr7uxWOK2JmCy707gF0fUkfOmxeurmYrk8FuH+eI6EX7G9UGvJ08yFj6UUSyn64OYZRitTRSjjdSFJWFVUPJ3rwqAt9k3yOtNkZPrKiEurpOQ8xsn1CIEM5zfZNXkdHDaCPf1qQT9GU+GaRPOf7UZ3dSFQCWz8D56bI0x3u2Ki0G83T8a3kVLC7B5idUGFNZ6R6g7R41o9IuZBLXvIyYV6r+QjLv4VvXDPdaGfO0KMTS0BW4g69FIVSG8EFkaWyz1ultjQC/+AOuOjGh+jNWfGu+UA/slnHDURRTvrWm+luXBqKiK2RIu6N6hmd4E+dwyq8aAY73ZJOs0fCXCsVSkBvfkc+xUG3Whape+eXci50uCJZuG6IOrSvov7mpNqhlPZSoLOgR48bKwz7JcEljcpApfJjvIfJhw5xbuyIf5nUr6lkxoBpdtSH+CtQS4Z0z7/e/3fT9HmJwJMogvzTwjn/7NEADWXOrR8h1RCgJU7EMomY9GL08T+kmwH25eYiaJlSOk/gZ88hsK/DJRONfBkIyEZ5FDCGWD/WvtTwv+U3Pt8SKMeXaz4mq5nMjT90wycvF3tnCKtZTek6+Y4nMdEb6e3JKSs6cjlf0ilvgHjYbFVIV2jXgWnI7sUzXAmTij3M2zQ5oDDBww4vw+NjzI404msaemVxsKoqswq8ArMKFxNeiXX70K04CkOoNI8ZZpHQS5u0QdgBthaExbXOaUi0qPeycxI4axaSxS7dXPqjBVN4flbC09m5HV0MgsffjzO/Uh74qnTWeAITHdoqdkQJ92/Li9Cc31QNAyWrW5Kkg4QYar2VYsLlovbPVuDRa28rM4gy3RG/mxQKuGqCVkhv3AbTTK9mfypI6dwCBTctNOmXHQ0gRn8uTTX/zWzGMLkeykcxFLPE8N27tQUWxYe9qAuxj8jNmTMmJbaOEbvPxFtDcraZqg4Wz9v35KcM58C1DDS/WETDYWCmhG4L1kN6qFOiHyVCfDTbaRNoMKZDHmwqbPVoBPWIWMLl9uUJCcYyVulc6E/OYIPn3+CEVjoPwttg7kb2TkY1Ycmm3Ga39eUllw3jn4BERpFA+Dp6w7EXZQ4k8exfHHodxCaNYmwXgu+7L4gVviSjHrW53rfVVAj45DUttMm8huWkWzYO+6x3oKlHBATZ2Y7C1rGDrM2R4tpLt/UEfvWfWXPhlcXpyasEgQAtMwPJUN89p1UQHNNYrC15tATRyyyGX5bJWyqwBzpBcih/yQZcmRLbKI9xdR/HlAzYkUAMplP1emU8q7HK2S08s1xxTRUOvz4dXV12FIa4QACp97AMyUoQzftlKtRV9DQ8le0YZGQGehsY5b6ddW1Q8Kn7L8KE2V2Hpijal/lXO2MvgPGNw95H1vQNOLmc0ugTRy4rFTmiBjcgyZW8M6ORG3Rp63qxjWqljK+Dk45cIlD7OhXS9pIOSmlYRBSQoz6ni7u+xC4vBE1CKWp41e8BYNjb2DPwBQ2EUJ2598Oxd434X8qGnnYowdA6W630x4KEhYptBie1aXliHB/p4B4/5xdFX5Ub7NddXHsgSed2X+xCW+0YG0dw+oF5/V5ro1zZX/UDp/t3UgHsSt1AxjQJ+m9d1LOyMo6UtfGg46sC66lYPm2ShHhfz2QttYIi8K78X5K6Ubg6A2DvIRzCacFs/reEw1tMRjUeUHqeorcl05tkn6FhS9ttZfcDCqs0TMI8V9GqZyJUjJmwdgCUCiQdlqqSPhXO8AEjRLNFt+KpsXxozbTvm0Y5S5+uqua/d8ZOyNmvBdlbZ24Il3N8aiXgqqz2UgdKXJQshHbILjIMPaClpFNKW2zMHQ9WmpLSChUFje/I9X2B4+YcPPOStW6NF5idkO8RcGX9iUfH5cc+Th/y5VSJld5mx/kVR7fCdikbPFOx5/kqj/JEjrSjdI5LSpskVJReF+qGZ9vY+0VQOIQn+oKklkYdIWvvpY6cWFZXb+2dJbxdXYRSy1hJHR1m0kK3wp8piQj0BV9tl8RATqSU6BiRDAfrQowiwTGdWECROZV4Q1Wf+/IUsOW/EXHZsfdktBewXa04KprvWRAhGRF3TGER4tdBD8QHSb8qCfYYmpimB2IzpvQOfTxbx2+Tc8p8CskAHq4bszd6QKGXgaYC3Nsxxvf/dahJCYHVNf+m6XcQYMHFbPdMuRb2/cCY42h1dTsbvPEBK+rhHWsC5ycMzXGAtm89d7iS4Q42p2875no3N9NnZmR4G6AwBcv6tIiZKKZRwpUl32s7INQxlSwnsP4ahuHSvrQSnFhHorywzXrK6ff9dB61KmE4uSZqb791rFLRah9HBYMkJHFTElC0G7a35IaUod2y/r8rsbZkAdPInqn3bX1lpBgP3rVGOf/0BtVwXotvqRDKzS4TpWumT+oAmBHjR9++Wf6CbaBGRBxmM1Upt/Pb3FmMKMJMa/oJH1fjyeD+LWV9/BQ2bXwXBXWy/sYfzhGAe/KX+swJwbaMmXQGXz6J3ULS8hLHgM659FnvqUm9sfovoQDzt4BKtOSkd26W6sZNtCwFA+ewDMFizr/n2albsb9Ivomg2/tlVguqqeoKdBjWeZ9KbNHUb/q0oVrCubsi+xgDTXh38EA2iDa8RtMSGEQe6x5f3vqsOlrVTS4OPUNqtNkt1VJFUgn7UYrr+25QrnobBR2oIZkppxKRaujI12x//3EBEOyA6vXBYKCjsVq7FrCmkgT0Oj3H3pzOMI/wIraWyJzcooo/VW9sSAGvr8iLjt/WsqqxnfYMFQiQxZxto2VfAX9kdvsC0QtmaISX9Q85cXqunTVNU/9QMALol/uO7oWFS21BR4RLE1jpwmxl3zaPh+zIALmlMSbaHcemTxGcL/F5FqtUKBkfcJ9YSVkPFwcHxx6K0zGg6374O6z21cNraAw+xtdYbPkvcYaelxP6rDY067U4qNfqidYEdBq27G1YmMk7aWwC3ePdAR2iHP2wKp68+kJVYv0yxadJIngQgT9TXsCZ/BX62p+W9M+HUxiKFhxhm72aGSzYe6ruvY5lJYbd7ioQFnpNk1+0bSBWAOGwLO2n7k/as979T1yGsWsK8npUMMNFa9NdjUzrnIdj8X/acfK+/ccHWP6vq9xGTKR8gUOLEBb97ydQnnlikH7Z5/EsX9vEfEeTd/fl4hSBjfals+UAiaamxnGNcdtCi+Ojjj7qw7giE0lR6e8cgK+W0UtxdBuKMu87Xd49Uf+GvxUdbZ+4MyxwCys68mqELJXBOT5+m8/OlHh0ImXBuyBo7w9MZ6HeXgZEr8WFl5nXt1Et5eiToOcsnwnk5467wZ2Efqd8+SrhpCbATuQizQWCNO1CzGezXcENVeR6iVKXE49DTyLYllq4bHIBb2drWWlT4DPrbe48t+i3Y4WbgFLQi0zg+VkrkMFH9A0WjnoYuilkkhssnlCHR1LUMVWpE1dF9NA6NlQKQ4lWytpGKcW7ri+KMm/7FAjEh862ZPin4rLj+DgzLECzgjksY7U0FlJta/Fs02qZTvoCr2xug6knfRS9QTmPb7pRoWGTL3gsRO02dWIMvFRxo5L2L+yPP57ItHhCureAfBK37ug8JEfTWShS2xVQqqw07A6COB/1AYMSg4gGBHJelsvkoz8MnaVPxuhTYWxdx4BhtglK1/eUcei3FjHfAMelNZFXDHRUIWpyZf8K+a8Pp6zdb2A6x8voSz1VcI/Uv5CVMI88Vykczylc+gbJWAYhD4dKtXBGhr0ykz0sS22ZAOtt8TfLRfK80cDxzPSoQ0CGa9DNsWpFmnfgT0snEitxeu/nK7EN6DNir126amYrfGzc6hJwRII5l9oHbAtLAGpUjUhHe4UWlI04bH61V6BOMhIhI/aEVqVvdFxqC1NtJUcNYY/F+FrJo6eV4Dob/AaE7oEAAP0Aivg/qdU081s5srVzd/zHrdXL3HD0ZBVlpUNFBkHqheF4/f9Lr6TfqgXMxDXWAXzdwS+EgpE1PMrsLh8o6ujRgIHdpy5MDcBk9bFPeIvbldDvyHp3KCaZ4DlDxGcGGK8IhkAqAyfXbRXgpCr/6S+siL83246bPSnRdphYS8nfBL8yGI/zlbTw/rUD0w9Ec+Akl/0cosNkhT3z4O6O1xfdk1BbVE/rrCObDjX7Iwmq2OoLWiuZ8lfAFJYE0J4X1W87IMnFvABqgmahVXh6UZ8K8+lZxhQnwgt/Z4FXhk+4JwO7CpCctRebKHt7jU966XJEKRLozdNwgPYFRvO2mPsaGMtc+iMiU/Htl2nZM1FSqwvIKt65DNg0Yar8WxkiMscUjflTyO8jA+GjDhIOXWKFqrvjJLdiUGzkwTpeII3cNFLaF+FFQeIZuqebmuMT10I55142Gdxutt3z+LBkkgde1hafDO+4/xzSHmQTmM2KKFaNWGCt9cVqYNqQBWSV1KBEz6QHlsfT4D0xUSf9j7SaclmU4UC+FSN1PultoeNDK0gnbaA0uB5+GQVubFYymwELibePBimqqA+pSB/8MQJc0X9qHDVMde1Orl7tTmTupiCASVwU1tswOKToZEm6Tuoa9ZrFK32QJIgD8kMRCVtiIptzJWQ4JtYPp7JBbd7GqfySW8CWuwHFOGOS6YdWRsJAb3WmnBUe6aBxSHSWeT8jqZS8IookOfXHfUSWy8xH4kkGIinOpkaX4wnAQgEMSnqrQ8xJEwkpJX41eJA2QyHzFztHMdEwTqY9Wjl4aMP1aQnWFyQaiKC7gfJ5iFOvkkJDGNJU/BOvJyD5tnF2ufoXto4x3yLYXFHvFZTbAT5CrwN0bGuMj7WXznfOsq8AxhztCUj1Z9Eawn+Gpf/clknMRSGxXodaOblnDgb4K5Btt3JoT4LjGaY/mzniloTL/d+eU7UM9EPCMAP2Ke93HT0aVZs3Dx9skEhH5ujibjspSqyCsGO70VR3BwwICIiBl8Lt1GIoibfe4l+g5jTeYccYKHQxieRVX9zN/JuZSAmOLQPZEeq+abqUNBMwuNLUfpNv+iKEspdvI2260A/rIGPSnTPGJExrunLv1P2floTpP8wc6rCwuHNMIn0fGOk/6+VyoWzFV8Cdl8IuWCoNHrUON6PBKVXzlNJgJ2dawmEkB+7+91aq/PaxWeuS91TCl+DxzknzvaEIGgOwhwaNdK1x6cCkhmZQcDFeAM+IMQXRt57PMxSTDylbvrDXQJoF+nmsdsQ51n6/ZXgjQ3W9h396u9lwi1n9OgWIs2Vfs/x0qurywQu5BxTFYSLETgqDNd3DCkGcWJ8fbV9fyB+Y518mnKE0zdKTKSJfoX+RiwoyBIciXFWcNRblTfydIvuG9BX//EGyuSbEUcmB8XSSiIAjy8SvjV6dWQ42xf8FgD2eEgLU1HpGvCqozwemaZbmKCFo+abnyGLzUZFuUWHSqALkIcB3jOK3y4ToSD+zcZ4NzA6srtrRFEDn2vPawcrndiHAJIJjdq2Gp+mo17kNnvxOvcbzbd8eAb17cwrsAosbQexZewwEq6w4uUr0umRMIFw4PMZPG4WzW9kWCese3L+grr6MP2ce5QgtzPAG9z2uyT1FFarl2sOCzmBJQ/jWyg2w5N/IcEtf5iHH9f2aw1d7+Cqh49rdl4o6QWISFbTTDD5E8xN58t0wOA7PyiIBBYgQotxYZwO+A97gT/vkbU1cMH6In0leZ8/AtpWaBhYMkDGhCvDieEG4TOHBUMV8RSLroabZbxalpi02Gmo7zwnB1XR6ERo9x3InMNqviAq+EcmTgdJojfhVMRdAK/JYJPpR3NOE6gdy9hKd+Wc5NlmSNwg9+hExRdO32bKTgIZ++0aTtSJKrj8+UCoHUOsAd85lAuX5X/rnaolvlAtTPcRgx6hSbRNSv3suJQv35kH2DNGK4MHk4glCKdSua0d5b/x61e00+V2VGuYLIPOsGHVXhp0kdOOrVa38opwp8roXln91inbNFfg4n8Ztw8je2jcFHKAMYNstWmp0IVGGPDdjaKwAysgLudiqSIdXQmdkG7Zwc4N8LhbtvaVvUtkKBvclSXBdsJWwDajrVMAy2Qtab/LF8K50FcWta+El94FwKHL0NGEkuUrs1ed2j6l7zTIKZLhYhn6zA2FC07ts7OTJ00q0KJle1Izobw3BBazJHteSAAe2psfySW3eK46SkVn4LurcAoNQ8RiaFflw+mLLmUCzdqiBBaIf6z4KfuPwNjrc9TRWKOJrfnBl563invHhiKkdxVyB8xA97TuuOFnT0tc6+oZe0xrGfOIrthvBn6ngHwvS9cNxRziksPhc77BVMtKUljg3s2XT4qRpJEqk/qaQKHodoQbcbS8qRJCSbFHtH0MPQ5oJx64UHL8ZKLrsMymhyDHIYl3zHO35zDf3njTfav/o+ZEbAc1yNN7ugYr/OSJX6CcDk8qyt9Tgcx2qYAiFRQUJebsIMkwkMohwOKo31Fb7RbqiQGrIaEhtPBJJz62QMiTA6OxgiecU4jwC/U+cT6r61vvgCxHwcmeVD51+G2anqOVi1sZFSSsPqsm9YPBZy9KW4dFFoW8QxfQ5+SGIkQqKcsn9x34eFQmfNRX9KNpjrvNfEekp88PJpQ4/t0lN8CpP3aRmiSKQCoiiwbjwmG2ocZoAmmrqVyKVCHIA+UwjCc3No5BEnKiG7cyJ+kplbPnFvtHRQS3yhcyyrvv3kdCA5eyBPzwIq1V0DttnjckEop9DiLn/6TcjH2WuQDAT5UwvNUsESrmJlBznr3EegP661wqnyHe3Wbl7ExDNp3PUdFWUrt2YLPr89Pxxvap7JXE8rXJ/1LyvUpt8fjm8LsFNn6uWcTLSZjlHaaepc8TAqWLIKAWdhGmV7fQgYjENN4edaZY6uq5sgnXiNPp1vOtmRP8lTvcCAQpgvXqM8ARapsEyDaX1sNzWz2lebQ7UC+C7fB67I7dsy9LMYDFMAjvNAt7oM2SAnjgxckJ/Ha7OQy+VRXXeQCrScXBhDW8cMRtlOCfq3xnyFrTyXSVVSmcQFOnXwM3XamUz7WM3XefiXuGyW6t9JDt6JffBkP1oF+nSoaeWJCEqmjO7ttpOVfxYmzGhBCIqhFcw8cLI+UyE0knz0ao4dsia8IQKhlq3z4gx7xB8yXBihJDTBWTBzhWvUto+d7427/lSziQIJapvSvnCBUoxjCu2hcgZrnFqizuY4EZfj71h8ui3vx1jHUmfQLKzNVYm+TTPwEjpk6/MkmgwmAuRP+ISL3++DgbuPVktlgi0YHEvq3PFylJaMQcftb2y8z/C9jUE+PiEafFMczV76trSdyniScJEKZWS7nlLhq3m2Rp0ucbCWL1GkEkUXOc4/lzqKY8HVZkF59PXB5y7bBPC3n9hoOZefspWxXAUR7zY91LZ/+3nhlqiK/IZRZCkbBIuprvBW2r0yKzh0qo2TLHSw1DKunuSISI8EmLYJIBQZaavIbXp9/YkYFG0OZwV/SC+0oVoIEjPP+yHJie8BkKviSJXh/i/oi6+fgWNin7mcf+WD5zfabTpjGzKRkuXqZ0JHaoWZFjyptH9NqU6W7+9B1qmOdZ21Ztv/LEO/vettLjeSrt2lArKwxWLr9oKmv8zG1IrlCMz8w5SZA/LMQRIXWNxaiOEHTe8CFjb+zjjFAfeeRQWV0KSkDstFEsDplk2t26OSGuU4pEdtAQnj4JqYTMZd6bxH4YkXZ0B5JkP3ta+eoaPm64QcwiNuaXDkGONuEtWHHpHvx+ZdZi3MuT7BuReBOtcK1/jWveMS+8nO4urSr6pxhQouP7Nkk+0W5XG/+Y12LaePHVpUnS0k50AGZVfl8bEHNxILfTyxlgnFgRQGrvxNI4k8qcmaNs5geChYGALaG1E64fXfe8+ZwjjVvUC9atBi4D0+SQIaB60Xk9jpJsNkq/PpHMD36puh8NLRwj8LmEKDPLyeeJYj3TqXi7TSnjC4kbLpukcMwSeH8Cbn/Wuy5au8oZynHciagUvw+MmWtaxsNbOiqRjdZZoph6w7US8MZWmkgKGwR6kVvAwNBBenV/OoC/UmHwCr63ZyYXbhDrFUl+3iVMWiIbCRxRfxau6MPvHCJHlEerEth/5TQVaSNNnGh4wQDb10YofgpJSH6fses5JQaHF6mFBS64qYsK4GWtxXIricvh1Jr4M6m8hJcbBAfiHi62Nj3K5BBziegdwuasEnAgVwgFP78sxXsFLSyRmGiq07FP7R4NOO4AlCrU9Or/Eihy8+rdFtbN3feLPdyiwwwflf6W2WJCbzimGrD7eZ+I2hZHb+7MmZg4N9GGw2gKH/aklnBGbvPn1HMb8eMTvpdBAT2o8YnxKyCOhTiKBYOrAxokeQnvfwW3Os77D23BJXM7b8qsmMPX3D0PNRVMEtRnJs6+7Io+1Xky3IkYeeOufe+ZEyRmeYGwV47y78DwczA6JV5tSM7m+WsNZSm8nPdMrOT7hcKxFC5X6i49kbDU9BPGp8ZrBJmxhA1SyCVKBMhKiGjiiToYhePug9nYCFPrHfY5ClI3QCpAEle1tNrKGZjrwJj6uYx7OIWJ2XLPX5yA4H+prinuYgBq3rWzdmWHGAqJz1/5iJAVypAx6NoG96L1qhWwD8eEf8ysQrrmQFLs790fn3OVB95CbZxbWtx2UjKiuGc/PZwL5sVayabNclT94EI5sq9Ye5ccbc1eW74hOTsqhYcrvR7WMfTF+IMWU4J45Dgqq6hDjFiXmeiR6+q1zzae1PbAaLBGNgyWjAOHcjB48EdjlsaYJrlpzg9ZQvieVkruOT6I1uzR2WIBBvzPEA/Ye4PuilyL6qkt2VXSWsF8+Vvk8BXNzibwbptUfE7LJuYw68LPVzfcWpg5Tmp69BLGnZZv2i2KaCjWDp9kn1Uoc2Me3B/cFy8euhcXFnX4Yj1F6xJCBFpaq6fboKDUReQS+AZhx5nauDo9+OhI3gAqbt2Xu1cKlKXlT9Waa3F0N3oHjnAjdC/BRxLEXwF1wXNWtnv0xr2tfeck+AQkxTTpv+R2njATnbZ0+D/DHDg18Wp8GEIocHqKtS7AYygr8szCtUCZC3pnvDK7FqAkKFTYf7xLE0UPgF/7hVpLA3v63lBQIj0ZWJaZCvIXYYMUqJWsoCLWh/P/3IwTmi3pux/w82ejZGkMIGrFb//nW+onh0UsS5BU1Mnvjl9StWlqT6fCNk9rVFtnEKqKpoWMZ5DYXoDxISmBFExsERvtYMwrQdvLMX+u6dDIr6Vg7HYdjcEOKMCX1mBdx4zmwxfKl804xfjy/eNgEEJdMdHLXup0JeewMB9kFE4s1bOBWkAsbUzKUYrIv1SiAJfZyAn837jQZDnciIQBwrMgsl6gNAlpT4i397agNgz+Kll5gi9obaDpNwuKbVtH4VNbfBiQ3bvFkHClVVREbSVsEDUCLt8ZOsHmOirEJXAnjJl332gZqos2bf8ZrWqVyHYWuzj6i0zXN/nuvyFD6A6G72AMzHrDNZSBy5ro1D62w4Xz/nMGzi0OCrt90egTkT0nIdJhn8ZrA7/4eTsvWIlYXiHmgGpvUqZLzvGYJDM3JpAf37MbSiw3dWz5rjvePyuAmVC9n1LU8ZKMsj9+FE2rRDB4HW3CfmntuwkE0MdqkzXWAtSchJPH/qQDVruyXaJj8VAhwhCRXFqN+87/Qwh6cXkKdl8x6ERc2lSgEfVuids/X1+mfOPpHXVXi+z2MRuP2Io0/LIfcTIlDOOreRnl7rktMhk/k8Jd9NDk1NSJCV7X2lDhEa3GdrYG1KUh1BYRoc3a4SAYd2CulgSNs8mjcTmmsyi4cqBrQTEyF3sukRIaErsrnMNdmDqxRM6WvjnRu8rYoZ81BXxtoL0B3MzWoZGyPqaLfuo9/ay+6yiH5+as6z18xxTItfSiacmuFQsbeIXx8dx2HGP40cB7bOnBgweqtllunJjDoOkg66WDT28uYkrGcLEJmEZVC8ATKXRCnF41e0x+70T/3fjDUehUWyDrbuA7HE6bHloz99NqlOmstmJRet46FUo4QZshrEnpffOU1I6XtPSQsAv8IXeV4hrhJziQ5sWsavQyKEf558OX2M4AWXME3ytiy7YuhNcTmeUJ1sCb0IBgVh1fbu8qBvoMDxmFChTmc1IFk+PaEx/BG3ekniyOp0pupngaxRySC5CyElSsrcf57nApNpAwHnYWIOlp620c+zFPGDeqFK32Ty3EC2M/YKUjaqgFr2V5MHS9LFvveLJ+FoOn+uoeqnweEhzgX1MgClWjrDt602BAh7xEbrMbwCoWWWPgy7WiMplfj5GTtRLzc5ZgPxNii5RmzKuR+U/rGjLrL8G8ISWpvMgByUU+hCeDCHtL2kMaomUB7AqTrhEbF9J/vcUmXlQxm8QdHLW4griREyjPHzeInlh/6fFkm5vlX+30XwofCYCdX3chPKcJnORp3BPUF6b5D5aBHAKH0BiivUwRGpwA0vKnpFZeiG5FZ2sHu9QbYzIuzMOok6+jPz2TLMwlDNh0CFEPs92LK+eoEhuq7tCHfv3Q8c7BBo4Mh+mwbWW7lCHjuvJpTfAzsP8hepPdlL5xVofadVhN8UYHsB+ipw1FJqvgv/gll4xrxm7K1Btd+lUmAzG0vNwNLhi+7uRQxPOsayn1qSWBw+qmwQqGwfv0SM1rrETqfY5I8whnBEYn+aPZm6bjZRp34sTAKbEQYwH0taXE11VeyX+bGaabAaL9MSMk01QnRkJlMotgkoH0MpR9tU3z05ajl4RiPTurLG4/w9HXXMIURPV7aSVy0n3xgQ3b6hW8IHGnOfycRtVOQka4hC33Q2JFIpE3AkuBW332W3PhazEvoyoszTkt+JEfJLNXuigF4kYMBSCHvonY4utpIAf5eXsx38NTRaJt5I/3GHeLDRht0Bv/Hpdzw6IximZsI0e7PQ2i2j6Cp76ABV6epLWa7v4TzAmyUWZxBMIl/iRb1Sb1bwMdRdD9SWBp6miZ0uh6BTSSHnRQYYXm/farTItMPr5U4ENF/bPYzN+GUdzh8aDjAmhuNx/rfn1qNP37g6qKRHiDwatUEtWvm16T7P4kh/Uhzhxyzxq8zuolP586Hs8kbnBrg2UqEZ0xefB7JErvrhR2WmtC8ZlyfSbtD8HMlzOlYjoCI02QQ1R70r1r4vMdqOOhWd9RZeTs/ravKRtLsUMsV22tZehrGy/cfuGsp5jEmHDEvefnkiwobl2B3Ls7PUI2MEoSRYYxGa4IqwCqG9HywHldfFHJVPtDXr/zR4kTGnA0bJ2x2ZfQ0NC0tOlRo6Xj50jV9lnNyHk0pdUhhMu9rQbNa/ubuv5aZESmCB/6bXwS8xPjbzR8TZ+m3Kt+CUGeNmlMeqq+Hs8nHGqUJAqojiQiH+7qHzCFlI6Df7trkcHdHkEBgXKI1KJ5ZB/7FdtF9+pdGIybinshfsDZYwgwktTm50ciuE9XLMuvdUyiDimJuK5c582YGhv5dlIrdNr7c/oriJA/yXCs6XDDES3yji8CIEyYJEazn/oL8b/ScQKo7Ng+j8eRwEfL/9RKv1sUTHtD5szvYTKgmxO5FFuKYTZ5zxc7Tp2AQJd5fyU/Agk4pXnOIWLsgzPPiP0/FOsPm2tm0Ht06+c+eZB2o0cknLDAY4kBYm+vbVxR/89aPO1i1IzuXEiPgAvkZqpYyGq3Fgqf+FcBN98P5pxLeBBPDA6v25DBOEHZuy2+Y5EX74VV0DkzpGCCzUEbB4GfVKK3hMAe0N2TkXGaKTu44qqI8aL3+/juN9NPHqwvJOefdJOo2KLHbrcXSZ2O9w1KWYM38bQVAOSR3S69HGUGydPt1muqLKqw3ng/apPOy+zCt3tv7TqYCsDTbUwv5KY6chFnY+yTAzJhixrB1uxIxKH1ASuybyN/2s6l27fsruBRDBtnt7CzraR++ega3Brv/BTZQpXFzLE/MqUt+LTh0dQBNusvnGwJLz158ljnXpNWCjCYwBQJP/pxmFS0NdIFfnpDuuz0H7kgkAcRswucFoddoDlBmG1q9LzEPfn+xLveEt7/JEbBJwXZARBNfidnNpF995K6NlVMoral1j5NX6JjnxVZJ+eNFmO+rYgpUOr4S7Fi/WX6/ilgiqcrJjU9wPyJ4b7iFNWNDN+xuta0xRj++NNNjYr20+EU53XgEIdy3x9zpAdE5KThndvP1MXgBJu0HzKGfCP/CAKRzH65sb0urWIMKHeGwhcvlGgMAjf3/IDbh+DUKHM/TM1SVCuWrtyQkyYNpw3LrdXwqnu42lTJgctEFuDprFK+sFMvsABQSicHsrsEIp1OJ8BNdyh/49zvdVIcKKYIsqKs4CDweQr2sNXv5EBT7NXFVyJBY5kTYFU+L8Vzvuayl+tpTLE9QxL2C90hstMySZ8jamtkGIjRV4mGDXupC9djuET9/3UDgMPucJWX9nouz6pVIi3Wz67bKWKGipEG56O3uxxoO/mWhPVuNpBsCOoeaLbPZMu2Itk37QJcyyhRCue5mJ680jkVeAX4QMdvca4AJce2247XiSMcHv6SXDxO40EWs2pAjxfifq7ZBE6z4878T55p5zBKldgcJ3xsF58C6c5j08DrI6gRE7FYLIZ4ALbYJxk8U/RfhQrtUzrwN8XZNAjoh2TdA1G0XLQVphtPNbSGCWwPjI076BG7fOR7395jL3eqoGg+HzJncixwj3jd+bdSIwCQYi+fffre8/W4m9EzWVnUNIiPROmeiHZUcCoehfq7hiblQuTL603l5BxUpEAiqI/8dMb2qF+Yvw02HYyOdqkgb+SbJYkYZNYYmLh/rd990Ks072G/v9R0Asa5Sb7AgEmLC7rgvtoHP+4JfgmpQCNrEzBbqiovSiN3O0vdbf23HwTKsMEjKesHXekygOiL2PwmDYP/k88I8YnbjRBszX83JsocRmyAoBW7/SP+447+AsSPltBBJr2B0boc3vkK/pv+QaLbbvPmfcfCieHKfERHKPkRYSPn89sO3gZO8fI2nHfFJBFr0dOWtfpLElMqu7kcVr7+NKno5L186ydJYwhOiiG9ciw3WqLKqyXoduwEy6//SbGc0D/OyYEdo6neMlTK0nCBuLgDICZgQzEUmVDiv5ia9f4VeXKos+TnU4djouARKDJXKWeUnSRAm66sScpbZb78RqG0Wn8aRmnuJD8XDURXrBrHznUhdzYSPtt0r9FHpKKqCzqB8zl5XMQsgNhJDJys86eUOuDR7vTrqDSJ+Rtvq8PdSb8Ix2b80eJzrdFLagy+d8w5tKcOELLzQ2RX+i7GxHga17iIxpsk64pqPJhexn+nxCc0xqbfWEdw8JklWlBC7C+Vbv9LseuZBmytxG62cTPo+LfaDrmkv1R5j/qNcUsTpUAUgAPLR6gMo8FrpFjxJwQB6XNSdn4qRG6/MAD9bzCtGc4K/RDsWr8X8UeVNLdM1ctLF+Q5B61MpfeBn3IEN060QWEKYxell0CMfKJzj1j2yKsMt4tOl88bQ96C5T905vpOON+dKo4qr1EsQwuT1gOiph3ZhGcSuFwpP+Z9T+Wu29plUY7vYosL5uBk3hQnu3t64Whp9rnnTMKNcxyMUqlyZlV/K4yGfC/SW2Z7KPdmwg0PB5ttJcUIHdl2VFs5uHa7j4xDR16DmcqbIR5Vuif5ukJUQQry5kuZwujk/wM+DyX8tLl+KgipxTrH3bSJi2dfVzDqusJ4TyjuLs1jWGVCUqwK2dhbEpoycTCMl50IgQYBWcgwRayh/oOH8/X7xmLj9x7NaoRawisUGr7EXqz5+Qf2hZOqq3oUzuoxRXI1GbqHq4PBJNadleHL4eWO/Es+LNTExO0ccnSAUgonkkIyujHwlbie6LI3XfvDXvxGX+S7pgeRa+Fe2FEmUaX/5RPhfbxR1w/Zs0eRc1jAIkPKM27/9BJIdcgvdj9JubPPG2rQkrI/YAOWooxL8/2Nzbby9ln4aipE8nHOZZEfVdyPrnIg5FTUzqQhEzIinDUMrejuuW05MqC/55dlYvianGTVWz4UNk5FUTwmDgeOIBj8QFv6ByaRWkALdtQQd05Eb57ARq1nnFWBVM7t+A2chulGLeldKD0Xs9Fw5GL9qkpGdnvIgFj3w1Vjj5mxfHUeBu55ymrE0yJvSkOXGRPq50RtegrAenJyR2E5SLGFC0vLj9Ow1M/ctd6b/tCx6R18pBBy/uhoq/Ws4EJoDBfwScMsE4N+LRVQsY7cUI8Hw4lbL16ke4iMNikPVqnBud6XjvuIuuCWobOZMCnP/EE8iRGTeAX1iABvn7s/zV/U8bje2RINc13QdaOeE0txRF21UT0vhVkHIaaqLiiPAYxVgDfoBc0/cQ3md+rqlXSdMDdseALkhaKKUlDByXCN4M5B5ArJ7KlATjcSm2U/JQsrpuVm/NidDhNMkhhN2queVgfN73lZHehWfz9pd7Im9imBwJpyx5fRQ2OQHHBQDiZDDHnGaWSWssqsjIrvCogYvihKqBD1J68/kojLCCgrUXTB8Eo3mgZ/g2oLsyUuZmBH1KOaby45fDtgJKMewP/tZXy10QA4gLZuLJVSITCY93a+oY21lyYmmsm25Yz72vuNHjVMfYsPHXC+cLth9cbwpv61HBO9qXHMMVYACD7envZ8plO68oYwuOSONeb2i5WRtR68QTr56GheT7qa+o2JuEM/gUzTurTKEUQRwMAXqCklaVp5yx7h5UgMSz0SjL2OCP+3roRju37oPB65B0+jYl1WUeewvdCv2oF/yWDpXVjEa5L7C288mvQwAaC1MP0nU9h1w51XYBd50Wm06eL7PL/dCGaEkmfvi5JWlzOs8y8IUjl/qhQe0Y2tinHZ7ckiGUeMLrkZ1u0kNjNwf7Fh19pKtarcufQgF7Vto8THMt4eOREhu8d7PsJ0uDaS3jUS88Q24WVuEkcPmIDTb1QhNXTc2LRSoM+UNY0B4Z4z7FjS1u+8CJb1c0QAq0KPNzy7xT8dTm/sgMtGkQ9wve+DYY/USgoZYh9gKEUcr0SIze/yRG7Esk3sX4NLaKDFq7nf3Y6wM5iaRIrWmerjuB2XOuXw1xy/7UgZXpvqg+ydrICEPqe8rs5YuvzDniXke+haXvVP8FHWuAFyeyK3aAlFMg7ptu1vQoeUvXsBdccWahI/stHlV5o0pIKPYsx1p8TbnoXBujIksDAe49T2jtRsKydFKyFEXpMuJYyCLJ1ljcnXgo7VEVW0oJmXD67IcnzuvsWhmhuAeJOrgnGMkHjTFbHm4z80ZYiRwxvkgQzqTraoFcr9QMBWWLgF1yjbVc4jEBnunNYt7COYYXEYvVB3OTHG86Hc72fgADURVWrQ5CPej5G/6z58MiiphIBGXYeXggx/IqFyI8dBLbeEGllkXXJb+cf7lc0ep5+7UZwhs0heigAuXgdSWtvIUFfAItNhJleXkyIKmmK6lbrVSEiI7LnZAQw6eZXfzK8QvC6ZrBCDtpyl85tPpo6AifV5BbXPgxznXukCojXuxUznV561GeVuwwvs4t13Ya6UqWhD2PYHEUcKGpURcKbBX020aJ0xGqyWwqNhF7r+ibU4UBqVgUbDx6X/SNro5Pld5dIMBUY/rmcCcTSG7rH8hJZdGfPXQHhJZfPs4AfGwA0XhQi6FJGHXAKrsDuTCwqXVe+f+5U2tQxUkTPATuBgdt6USFyfTHKGoq0toZjfaNzoYpfCZdz0kGORiFQulcUGf2lG7Sci7zqpWNI7H7mswb/FFqTLW3Tl3jSKQZdfZ2TDb4Zz5MoqiD5hV2MZDvYP1Dvx0WM/MT5vWztSMI5l/B2shwGhFYfvTNFs3uWlT1I637YffaehkI4jpy7KkVH8HGHg6elXeCo8PAkpA7p0vK8mxJoKBROzv1XXd0G3NqVQOks6cEjsL0IlK0sOmLwAkFG3b+5r8u1QChcF4IniT/tPFWvMehnyW2J1rtxBFKr+iF4ON3sCut6Dk482KSOHsulez8O8UOoAh32oqqWo9KpdrqI02pI/P29Mas5yjYhee54et2C7YU1ZGgklM8PU1LU6zDXLrbSdbV9xnbuKOH1USfC8B1K54A9YEOPdRT43cNvUqs6FCJWjMKHgisWralzBfDUD1jLb/L4d2lXqKWpA+AKGM2v1VJzFwsf0JCJScToZJEwPdIiMi+XT59KBO9ifUtFENZEBiHyG1XXkJTPneQZsevzuPBbkDOmIAC8OHtjO6m9eMU/nXs83705wYfOc+iGMxBp/U7jGJ9cXhj7Uk+yQUY+2GeisZcbVA5UPD+8Ki88RWv4X5tgR4vsBB3jZSfm619DO3V9ofo64f+d1WvGmeFIBNxzr6s3xxlRwzMKvwb/mbq9qy+kc921CPgGqxsj7U68j0n54jC5eAxoES9aTObf+2gYBp7HjOxsUMDpHKgo+IzYJQ37DH4nXU7a5IbFBrzM0rqfF3+IWt1hwZA2+e6j6cXDhAJSK+TqSZ4OrK+Byv/NESVVfYnsQu2opI99bl0COVqLDaiB7ja/MUQ2fYeY7x8PXviGFstWWeK3xsXjeEqfvHobPCzJh+SJ8M50/dEHmxaOqw8GaIJ/RLfvvkg+XjXTrIuw1oO1dsm7VnHYLjUjz8qbAaRleHPHXkmDEggni8Xvj21nhdBBwYSxpQiuJgYXlVES/YKuWQrFREdZaAoEjR2h6ZUNDECB0AiSOHuGxzHGxuE1vRyY5xHAzaqBifSL9QgJ+sfnAaHM0EXltU052QJLJ56Y3zNjrtIs5h2x9CXM9ghh8No4z7o3mqnQmSoEH7jDgCEG7/+x+plKQD5hbrnbHgFf/LoqnyWF8MVBZADeh8fySwjzI6ny9U6PYRPXB3X7Zz3/nM+WHCvqv4QwuUh5mgu+6yv/o2SAX45XtotkYz6NNKfEXE7TJAsUOPBlHh88qskVtNz0GDQ5cfhMyrPBFBuX44MMrKGimS/9w2/YSLw7rSG12XbcXhbWGP7BPhxo0CAJBgg9N60sWr2Xt2lHEZYInBihkVf0J+OBpClTVZjbhXCsxQWyJw4KBu/EoDwi2/NxVOx8vQpld4cZt7HuYhHMSfrWx9N5rIkY42ltl+Ok1vLNVGtk7/cCRI9GlXWsjkded323WuCF4w43ynzY0q3cbSB0lTGC7Eit0uwjQ3sey0vIIr/XoegAKH/2P8eV2ZlyoJIy1W4J5lRu6bsoWiO5o3XoBGVyToy38Zud9s9uh8i3xPyMbL6zO3DJMxnFf69QdLVkOubw+NZ5HytYYGGTwvVkS3p4juEX88qq9aKfe6NqoNqmj1Dpn6jvDcCCxYwyOb/Ijz/L4OvQf6TDCWb6KUHlpnNhJ44GM/kzbnbCwAMGNVA6nzqGOhR2wooZYNIII9VdV3kvvEE5GsAvTFEv/bXhpAqkKG7miTmt4OPsQrmqKtriPMB3/BC0qfE0SKqgWbWKC3l2JCqDKUf/XXNkPjiYWNzGvRF750PdRVFUy08KYWoJ4YYwam1LtKPUfY4PenaID11lJCKNuBL/0lPUczQ7Xr8RxROMOlTum1Uz6+JO6/IvodlYHjUbvGAv+WjnCAASnWMf+kkwAenU0wlltsV+oKi6Opj6dQmR6sNcTEHIAK1uJhfBJqNtgrTwIoXQwOLpjRJheubCeVOSRfN3PIkKO/CUAIQFH5pQb6Y5O/vksUCrKy+gLms7UaQd8TN+ZRwwoihXHw/JZF69kQXcbtchEvhGMU56QE34Q+LERP8pf0hLrCnOLlfApnMMvnFzMJPwJDIW5cM1ZeTuFKUxtndsAE7Q+NU1p6AJgKuQH5FD1SjohSSRzoF1AKpQxcoP1RCzOUn4NEK/IuSD8G4dqVa0fMVL5/G+Q0r/ymUb8RZgsH7+cNqjm4ALr4xNsqsqoD0r3kPNhr02/iQ1H1y1tvVxFMNOrrrW5q8RnyAFZ/zBj15cb/ErB7+c/IS+r/uAetUU8lZ2bxRCwy4jBDjCFQaTJHmjcMcZRNrNTBjc2Oe/hh7O/iZbkYza+1UIxO8+PksulvgGK7r7mrOhJFnAinS+BbULnDQhEqCStT+i69n8BvNTX0fv8sgXilwaHPzx8rS+IwGf6BhB+rbPbSswT5B39IzmTp0ExU+I2/88YujKwNRgqvneXZl6gLHr6mQorba5YPlA4bKVSECo5L0or0q+xDAooHm1eN02XhMWNstjhZMkJ4rw48b7lfzD4NkADEI/622IjUcSqFaKnJS8qyJnkBwlhjniabh67cQMC3f1OVEVdReyxBNYLHD9Kbdifb1IA0ISm8AW+RchPk3m/V9/C4k59N69vKZqyrpSacT1vbaXRv2FBho2yAhop2MgaQ00HhZwRDRyTLyP3zD7NytihIs2VyXrowyAW2awQB7T8dX06qaGtkagPj8D+3xKCEWGzp8bNEQ+VkeJheCw4wUcae8/JilkQorHY7W2tQ9NT81IJS3K2sN71dahs9U9eLCbj9pOxNM2g2o1Hew8ACBPV7mTzAfMuN93SvDLjlwhQlVygiUU40FQMbz3c5FkqzvSogxZDWwX8Cs1Djg56LZ+zBiHjoIK9i7gne2Y5DKtAML+P+ONRY++ceRerJ/NWszyz3xSPIw+p5SguD6ZmPhbyJ7/WMbQ2XkAJCK8zfXgL/slf4zBL/0s6RYNyjuyevpYjBxj3nqRoPHAln/1tkOKc7uyktUYrEZQ7ARTaNXZ1XQCOCrcVPrGAoKWX9APVO8iRvz7CmeaiWiR5ryXRaJZmUorzvPAThDvAuEvxe7Fq8pirhfS+s4GyBvLaVsTfOYUNAs0iJuMwxAFan6O+5DrJe6WVH6+zU7H+ODXFmuVXf6FnWcG4SH2kY5wf7DSZSp19mx1jSPaSG0bIrIDqQFlFRCVD+KPlHoJ0FRXRvA2gE4d0Ee4sfqj1WP3un8KfJGskCzSOqN439EoakS19ewJBOn60b3wbt6S83WCUqgIfOKWCdes9Jtr9R8fvzPzlOe6D19zZJMKjztRUYFfivjhnsj+yqvPh6PKnadxjPJFQgrL16yMZYN1uDfOj5Dduw7LEkJPCsC6FH2pTCbLaY0hhYrXPNH308uSe4Y3+c1f0SZQMNElMJDlSOEV79OG+eC1d3m2Yu5aY9XeOgKhxIgWyCXYyXpxfDm7k20IS7PhjXfq28PX92dpsgAuGeRbyp69HZMFccIstSpYk0xzZC/xq2iqbF4fEK9P2J+nAi1KiiwKX2K1XzeBGOdp4e9HesA02CsZHw6PecM9RD46KLhzxvpmsKxMCCVuXJzni+i/NlhrMuSW1reoMsWYFeOFy1IA7MZ4EE4m/n6tECfxYpGm0mPJscSbf15kAlz92GukUKWdErHtBiHtieUtsK1QseAgYMz1dk8z7wFUb5mm8zWOqQ7mLVhA/xsj9t8fiFIo6vlkG2jLicSgS1GIbJlBOeH2Lu5D6tfdJasfEKlT3311GpJcGtp7IYctMkI8Qc2J7zPe6LMZd0TUQFkTNdz3UnnHP+Zza0oBMocCzdXk40uqjdXrExdA8oZ5zAG1cNsd1bAwXKRm9WP5XWQMCxEjadPPwkx321RzjMYF87PoyKXJbS8aE2AAuqyC0RuvVjXXMFVSfn9y8e75YuInnPHDotWKIr4AmN/xlaGs1PGfGNk/btEwe/PduWKAkG7AoRHUSjGwSSanMJzp2N1B/tY88r6lX+lyqPYxqhB+up4kiRicbsxTSduFvWshO0itR+e95lROe0/YGQYuSjXgCx/F4J4D3FN/ZDefXCBEWp06mCLj7u3MEgMuOuH1XMwaUbwVM9rb4t1LsYp5O8sxHukzH6GLPUsgA/YJCP8X69ojYUp/0/NMiS0rG15iarjfdb8Ed0dc9EPhY2olQtz/atwCD4AVaGG/oAp886R7TjFNGXC7bQpCQelQGGj23UNmmhZzFVD5dNCIY7kZkenbSZL2ilnDBwTNe7wLaftwZsiqm0YnAuPJkCXbo6O7refvEtAS067V4qx1vENUp/FLYBbrDZh8u6cYM5m7YbnFdQ2FPVYqK8mBhQXo4QY378nIEuX56aZ4cRVWvNP5qYXXYp3C/kACCDU8K3WicZMTFzUUyd3o+iVe1C6yhkiFapNujTB67TzhDav3LIJem0N6s8fSHYB+sJsOYoxNjrvL7IFiMDLghUh3H6IdMF28GruopHJ3n7nvtmXMlDNgh88/gn/Y+HtPJh0WIqPLDg8w11UT0lPZsBOKLuqmn6wJEdX8HtKdoExeqQmyEuK7UIUasvD68ICGF7Jrll2lXCL9WJuGwmOX76QCIscOiGblAG9w6uC5TraCQGIGYXHFLp5ET4nfmZXs45ijZWW7jqAs2vrmg7xGl2HbfmW63BjDxjqJtHhM3mu1VQUb3YDp5bzab5KayF3V4Zt90ow10TfY+Nc0i7nJxWA0JxdXGm/7UcPzlLkvoOwXLxaRtgocBhmdgCp9llil5cYvSHPzn6CJuV77krFMpb5ErvsfZtCOJBVqojAhbLiChxaV4dewk+ha+PFTdYhriRiZ7mbA0MsiOpYRoPBeaC4COJUIQmgkzDf6j6/Q6ElXZ5lbJcqBeJ8xrz3/l9IxagO06XaPS1+Glv1R65OOvRYhSU/kC73uOGj6FVaTAfD1bVTYitItHCblDCrmo2vC0hbMMGY5ODb2NphIxHXV/bk73VLz4yvr60s0AltiHXpIQx7wxixX7I8Mhh02AYofFxVnGs1nV6UUjJ+IFPoQyNt+JFZMjWbuyDeSsaxiNSXlMsxMQdUyeMBobmIbr4TH4bCksbHdpGdxaA9IYn5AIWlsUB4siTCfxOg/Y7qdoFE/odF4vEBRZdmd0paDzhx0NN3uA55+jxX8r3rtUTw72gcjNeiSCtYB6Bp4wTApukOM11JBopJMD//K33m5jkgcFR/FUR0+aAszy/urn/qRy9R7MqE3QgTcb4mS7gQwayVkGAResX+u0tud2U8STuoqLv2BPB0PSO9nF+MlMthKlQCsQIzbtmdi/LS4WlB5vtQgiTEG/FbGvEMINywmGwvYpXcOsQz4tb0xYECG7V/Undl5WLcqEX/2bqN1Ao+JgS+7dB3HI5LeKubyS5oLqXxPOsS+Ycm8DDDDAQThmB5EdcSZiCNvaM27CZAhVLsmGU3w54tGAGjf6WSsSGpCiAYq9mXXXhwpSBmPcgjL0riHJfBo4McnogLW2s/RiIlqj2e0UGC1igB8Kmb5Jd6xgMVSjBmOa/99oOND1szjEtncVvmtTkrWinVnp4oTjYFSrYijZX5UlFwbYNjy79Hmc0fXVPIDAwZC+UYXJ94/e4n64GvLhQlukm44Y92nV3Iaj/te6IFvWyMWobRM9++/6Qws8ijEHL1+P0FksCPd67R3+CDv6UzmlvqCBRvXm87bcgILmh8akH5rlc1kTZOnBumfFxgPIW/OtXBz90exKnTLW4FFdZkpxnYOIfFXL/w4/9Ia/EpAObcUZLMj1YyLWeFv6nCErrXTu2JDAUpumGWs/8g7GDc4n7v+Cwi1EaJgWWY0iEiYAnk+/cvO1mmvoK5D1W780gov3yg9QR9KW5AbCCOtQvA9RE+EoLOh/MA0mCdA7JaRHfp1YdHdJybGfmOpg4OFUglD4Heqc1V884AaB5NLfu/VQr37T+0PdIex9/eyLQbsSvCRWkKvRmKBPkSKAK8APPN8fCkHc7hteuGWGz3WSYxrOccHreBMfljbb22R+whypmoXL3MvlveH9H7cHOR2Zxv7KHWK6DKt6g/RZMuTnkChHKtSu457wXtepQgw1M12WwzYpcQJfluRiaaRtdtb+IFgo+yniAdCjnZzXDKNsGBY6F0fH9bNW3SVMsPivnxs6QxDU/6uckEvjErTRTc6yiAeoSk0QPYKuzuEkSU8YE8Hm0ou9Mh7W+8G/T6hoHcBFKJRo67+VGgb8aYbaYzckgjCyJrEADLcsd2/QlVQ7ei7seXQXgM9+I6rCWZvHQnfl8osmEWnzFGifJNlA7tLOOaDP5S54fiWJaMwaoCSjXSu8fDZF2AmqaEsLgS4Cc621VQ7OAaKTtWhzr1PMCZOMmtATimO70YaXxtIr92RgMTaRhY6o6va5ipPc77/OT4WZZla3bVs1/oMXGg7NP5YYgOwDaGNWAH4kjNfq88hvGo0FFslPIBAliXkaouZnMMzGMG299LO/twukWG97N/VkvIEtjAPxikYYnhRieRxeRnkiHNfaay68OxsZ8/HNXvN8Iyu4cIwZHtY5F5g1LpYeF6kTG+yfOH0fj68bhwUNjwqUkkuCcXdI7BL6KebsJuINSYmDiqZvQSJSpxMHLGEoEcCtVbHXEn8rTjw7sADQNrcEev7rojYo4q6ZMgh1FCRR6B2nCXC36P5VZEG4uvZnPmafwdkdZv2VaUNz1UkchScEJgbrLjvMTEs8ZuJUqjY4mKJqgrneHwqbG2XdVv/Pty8okjH5rtZ6kW2viYlzjkAxFdowMilL2FzYtI87KsRc0VngVAmGPildaNUG9VQgPGOQiLsI9DrvH07J7wdq0t1yKGl9Fp0PU7Li/QVDCPkTKL0UJhtDkQej3wKkIyi/iRyBvM8OBvhOuFZeTwUyaWqfP3ffMi0oxlCUD83jyIobbbLtdL18HetSAzaE6BzFHzBe4vIykGA2JK5DDHAECCScPMb4Wx2KPxep0roDsh7v7pO7Yly5HsqreOosPk7kecDxNT9P/4+pFNVE95HLx6NqS+Eb/BhIiVN0HdZ0J7gXBwACTNMc/eWvPAlcfetWDfi7Csc3h+7uYMOvcsC8+AgygeS6VKaPZQ4MAtvSl9FcTbFBzB59fOm1FBHhU9XVL4x7i8O8pkOCV2OHpgZ1TeyCq++9fz/TbHXJegTVxDiCGM1qcKZeM9CAVyz6yOozV7T+fesj8hzBfnKySJ3UWTqQTKxA7q+AieQzJsRxrVoNcxYZrFmCtc53n14MTsH+HQquDykP2lzer5SiKpi4orMVF3YfYXGuOXz3Y8tKpKNlwWbxSqL13q9FHQsimpjLWNo4MqYEksN9xPELShwhYOXhFGbro6XsqPdXmLXsT/qtdZhP6a+o5oE4+MjKzpOR5kOZsm9ABl+5MENb76m+Dmvp4hW4ZojZNjPDDfBHl4DexkWBl1ST16S7Eq0lRVTreCz+D4q3mos85ggLCBv43LMx+D+30YIsDf6lcK3kFS5QukLDdKqLTij3GfqukKNGKe5/dj0ZDwtm03sItBWBxHOb++cjt0RhC5oFOT9xS0KhsoJhPWSq6+6EIT2eXKp75XDZ+RUwCYtU1zyeFS+WVg6jgnpl7fGXEXsQtveno3ZgMr4vgu/CEQwWkX3b0mKVAKEpfjxkZGCm7l50JW9DygSYKvFU7ZF/2NYAltaEmHlA4bNF8ZfuWRymLhSbN3P0KTVNyli1jGl3Sm8AT2DpKxs4loB45KA/AQq2+gLZb3lrC0/+dpkOq7ck17OkqxIfp2N+BVdbWLrDM6dLyK8rN0InLbxCjN4eZsEEwfxewNIghwXLzajtrDYvTMmD3qOJUeWjZvxIK20rRIy//LmH28rVyGl8bbHQMM8t05bdo2W1SrQfZwXoLTuzBq682HHmjV1LciSQDBSevm9TMLgMsh/g6dWfHm/xb1b95FNL69BKvrodusBWohWM1gWZzX5gwaIxNV9/aWrOSmz0HpHHE9c1Bx80co8UQTdHxbNAghQJ2p+6Z8eHgTBm7fi1ff/VFMOOpKtx5Jn0PLe5VBMpyOyppYqUd37PhvLCSicaPJ4AOvUo/dgv3NMCE9RzcQfoIXdH+7hM591+x7rM7aqtVUP2JHPuzA3+QQYtlryl/2uVjOPvapkYXoZy2rwpZa5lE4PrjOEY/TQZMOAtR0S4gpdFeKCmMO+z81FEsDWtlQMv6djhQ9Q8eJWEJDktn+Yd6xep0MG6Lml64jrznHhIKX/IRhV7LyOorqHY+/VDrrWuvsObwe7yHVFw9omNHOc7zBRir5qL7qwbDQ+tj2FJAZdfpZq+qD/xogMzXw+bOtFQ7mkkq4dzrrtAx+uR9VJHv2xFw+sAtVFL5/BOquERn9/B/vOF83O5SUUk9yYzWbI6y+U0HiZ5kFmDmVrzY/TRWSHzD9fUkSHkndlN8O+oWdVsNY9RAavp7Qci3v4qCC02eEn2lmq6CaLiAf8SydNUzDJeRVd4T8XZxlJw7jXnjNEGHUndBQMWjDOHm8Mt/iruB2pZPMYuXjVdHFWBjpNi6U/xItqr7xpQdal4NY5kc3q9rGAW2cuQpe4lkFUw7eY9BAoXGadCN4C3W11Iwbv7c8krIvch6QYY3IQPM3B1OBE67Pja88fUTTJrYuao1kzc5/V2EZW8QASwUCkvovYZT6fSjUKwQQoeMScFVhS7sRs52wP0hcp4inv2INHN36mpBrc0ShWtVoc4fLSW9tim0sxP6CLFrxZPbLNSRP907msEnG/hHWOF4gFlxkk51nx6vP7b4DKprCYdJGYsbGxy0WhrAcg35b24TlbLufUNyprJufB6KamM9/l0RlzubMnkNFuLEF6y/dSOso14AN6NB87UK2Iq1IOMMOolY3lJZpxg+bC/h8bTu3t7hp/CuFNBbAad4o7L06ncf0ef5NqV70ju5IcW87v/Us5nsJb0OkH9abLjuCc83vuWl9XyAidWQFiBPZe4EtneG6F1/gRZuG49qjycLWYwrem14fcQNz7uJCmuQ1iETKocZ4m/MDAm7tgL9fIqa3HYe3xVMov7+izCaxSdaiFN5/11yhcaXIxGhgtl14sutjpgJ+LKeBKsFHqSHZyA76r6klqPtUx0v8RF743zljoNdkbZyEi12OWLis/gOkzgaF6hYgT9kXZF3D1bJ4pyW3HS7mXypsFtI/rBPkU9afzqXC73BQUbhfJTP+8hu6V1PPwo781OrzLR6lrxzDhr1zkEizw9gbgI9/ECsghEJzgrg/flJgHhB/Coae4sIcU7e91gsbCrv2DElQSgqb3K8CJtJ0tvzsLBxjQfkkTOP5TKRkcpQHvzm1ZgCf5USjqcO++IsSpWcqNmShK/eZuBfvB+kIsb5WsiE4QsyLuOxvheLRah/wy3sE2t//aKeihYBjB9D752W7X2egDaZNw4j7Z9/f+8gtsMiGsHG6D/aD2vyMGQaMbiM+sVlbVxiUbx4Ra8BO6pDIrqOV49c+b+3S0NGvQlvUCA0+gOonicLeqDiXHy1Yx3AmVga4u+6C9a/jCNrpGJTEkFi/f2LNsbA8Fkuzv5aCcBi6Pj71eRHsyke3gXaH/U8Qs+DWxm86uK9RFO0pNbWUk+4r/o6bDkYmC8VW+lUttpG05adIZgjtoYiOKay0oYcfsYsicmcqFX0guwl3uIaFL9vOnhGMT5x2KXS86yXj/VDOUTsjhez83xowiTozXalSPzxrU6UvszlsnoNJ+7to/+Lht/fWcEslDc900qQV0fWmYh1/1ghDw38YXa3t5OjYIAz1382qTmR7dz9oF5IHieoSpM0pg7Q9Us3b2wEP41gNSnGzqsBuHPAXlP01koCQTvI0CO/4QSPJbt0M4Q0X5RlBPbjn4QJYweUGACtX/J0lGskjv+Cf6eRTAZ94H1VS+KMmYOepJvWFQt6guPiED3q3eFTGJFbVMbHWZOs4FhSnnr5uL1kSGFQR5EsO77+e5+GBCwJ1M5VTpqIMXIsFV7mMvN4jx9W3K2D99BuhenKUMqkbGAWoqUSaDcG28l/5/nWeiO/s8op0H57lumM9hzRQD6H/kK2TrM6J4n0mGRNofRFoNryY7JYkTbYVm17W9myGBtPl99HpqmfYau+3ycdUKTfpf3rCd8cZIdjmUkhYfgbuxIz6CAdYTeOLjXTP4bmp9J7eOE3a+7Ar3bOPRvoOFftSyJBFp8gqiguusxoYy4EYx2ApspqfsZstfSNNir9zwAGsutM+uKpybh0hENDPJaFXm9xJpQu/dnenrc1YaGKcuOBhT0tG63A1t1b0e6SEl9PilAmGIGLT/sJO8T5EYaBhZr41/M6buMhSsRAXAJccEpfFQFvLZwbHNuC/Gi1URNXgQGqbchdZni8DFzqVxGvL6RiDOjHpjtxTvN7x4W9GxUqZ+3XCBnC65FH6sRBSYQmUwSmzdJANWUXMYkQDbjN1Wt3qcVJSyFl+XZmJfXJgWcA1UIM3QSEYHI2KhhOkcPe7CrQJDobKYDUZBWEHSkz271Z3NEvVXwP1KFphO5BwcCQLrLvWb2xo/bOHIwGF9zQY75YiSH2uVRmGdS4O5r+o67aNXzZTet5giDzoNmsKljpzdAb9vF4+T91UjTixd33B9lTHKS9Zgt5xlWr8uXTfJ2TXvSG8cjTwoLkaB5DrIFzhDKbKF0eelo4ylpCkK0W80CNtbppSvRpDFRrqMEVVbdQqkLUVwB+gyK+//5PPTjHsA2bFy1oXRAHHVKxQWum5i6a7j81uvC7iFXZxUiMZHsAwFDVKw0OUiEU3P42/UpUppMUj0bFgFKZdGH1i5VZwF0bT12/PA1U8c58ikcFxdhnWbRvIWnHsdTzct8Ru8f9gV2SX6UhWpxmzxcRH956oAu5nMhHxiBv+kxnD6rGU7f3vJTf4oFqghZSFLEQhMORixeP++XJXzJiyejY55jtNXkFoCfe8gpzcTWinefHnCuQzbNa7PkMs0EGk3qv1aUtrIYt7E1YUYVd2nZPFF0NfSih7m3IRaCGAyOAOOUgfsloXCsMUeKOG1fGroIINc3pQcJB8hVqf5Tic/m9FcvW7u0ryrr+baX08TJ6caAKMy+/R9mnjrg3wpkPlNOqbOu4V5WjMLZl2rY8Od4sBXPqr9hcruKXBnPNJSePmEbqXhFX93HbczG+Tn/rdxYKVk43kKccFzJJezKbtj+V+glpvShVsg9cVt4gch6RHw4zXU2sSQv5dy/73aMcBn1lT4VmoE0n1CBvPUJdIYru3OYcN1W6J8Az2LIun8NaJ4r2Ju3WFLzJRGAkqQjOWoqIcvQqYhBnJBqR8nw1LDKNV3kT8rkVwUSUGRKXDqGrz8m9HKQ3K+nFCCv1E7W0NDmbeiClaBQf3vT+x4/NLW+X0IYU1zVL1i1xpKfOjkyH+OwbtIgawtpVaigqctnfz9TlZMRGcFB/6yNBcs0Xj/y3B/qgC0q5P3Xrauql91qjJUaLTGauvXCZr/tsvSfE+eh77bRt49Tv1PXdGbF1tffwT4yYZy6/RXrXihRcEPWI+Kc0+eYltNuIcnRYediMaKKA3K3/0AgtHqN0BGLLvDl4caHsBkNF2OSD5JfYx37GvigS2ISYlgIGfhFwZE/uuTdzp7YTXTOl7l1InOlw6IpFopgBEq9bvHnoR8tXcQGDIXKLgrjrERZL16b/cZl7xMcBldBWZNclYupadcksbEa/q46ugiQclmP3AsRbXxwCuRGuD/gqZyIjwBb/GAau4zBjgrD2gDvSPFa4jvAn/iB+oJHfN8s+lGYGxZHo965rHGI56KJlW4B8H7xL+tnDUOLbN9w63lIVw6jnAts/BeZCqrnJ1tiuILuM72klHUQgM+LtbsPdwBI03nyc1ArURsMonWTMhsiRjGcvyZzTFEED8nyPd8g3WU36wPeuAZ51Ljox7W8npMscqcv1IKP1mZqZAFkJDFW6BHu/xU9XABmI6D/IQ3DJNINE5PNivsAMD2P0/KJmJT/JaDwkDsevGEWxuuj0oI+r4zXTxt1/Vd3SR6+X/pYLoojYy+vREPZEN/ahr1I7RqPCFpv75IuhwjLd4k0nyTIdtoDEzVi5qHgq2Z+z+iJlEW6uDxwoUa6aJHNzlzE1Puzl45wbJqTBUCBoQyK1Y8Lzex14SSVDQx2ko7D2QGDGydvsMsClxPgr92w+5MsFdvNl939J6fv4o4GqzZ1n4IsqeCJrgTa8hga4hodG/RcdZ6c22o8AW8UorGVnGgCzOkuOZLGODXMHF8ilgeNy6XBLn5xIUi75juF6y5Gmi18Jjnf4rcAv/iMZyfAoMRFWsZXMt/2QqxdPWXN/V8CFIL1U+Bged4mVyGNxs4SmTz561dqDqFt6LRerAo9UFgEvM1M7D3RzV/xLFdhbIKmEO4JZCWeOc62FZaKV6RhoPpOu92gdzwvxW4aN6BEvhmqSH4255yhpM8mLR7qtnyGjTUVuNDnB5vneZpdsrNI0d+ln+OuphMzyx2IJdPJ9BHw+B3rs0HmkAwk/5B2nlhDe24IK3WSdXjSaF+BdDL5YJxVANEiya8H5oFzyW5SW+j2cwpksrcLmMhG+Rn+zIWZ+y5XLQWSd/0cpaYJeSabGr7aC8vhERN9pNYxxAAXJS7GHCVKXhfnYvV4kqtZOKoMdxDnEVGAtLdY2XsJtIhkAoYVyi7jxyJLiyp6USTvMBrl1JZrglzUuKffAO0ppC+jq5J28uAWCxIsckBmjTiy3NG6m0fGcCERajE6CmfTD13xd07kx9ju6czGWTBCzp6C/7126NKc2/gdwyJhAZ1M0iCCB482nJaB4Ec3wKGlyMO+aWkT2g4XL2fIy6iGAPb6TOh5bnzBNRGDWztH52HijmVWrQ49Am+XE6oMG9v+3Eb3dMlebPJMMynsSoX/s76FpNwlNtlwZco+aWJ74P8mppDWuWgVqx/JAuy9J65l2PULCvg/fmtoaipQMxMlC6r77/sNWNRVb0uYsjtL/gICi+phYx8CvgWPV3ePQkkpPP/UXZleGzn1FB7DSsz2Qkyijj6RTBSijuvrQuIQ6m1Bn1YJt6XY5DVv1b14QfjiwZe03vzOew28lu805i2fOU7dq907ZaZBdn1xK1LaAXhaEDRV1nCP0PZ4o/9g9L9VgD0Gmksc6VSa291uOKsfJp/6maMPL0m2qZmmUISqHcSGZf6DxlHD6j/eDodM+OdjTS5/nUq+X368zVhooXZeAg7e2IX/NaRd8X5yWrhmnhgfRCZArQ7UlA3n4KNSIba7X9lwi4xH/rxQveWMMcfjv9T/PyfAUlTf4bgy6dSxkyL/b4dC/rDfyrGpY5ThQT1LBx1BfEIj61mw58yiepMuktYTt6WqOWEpDl7v+y2lhz6LzMSkFqQVqXaSXBczpC+6F+z/nx+pI/Dzj3mmyMir49ZjZ3msRwIbFGcnXrrWhu822JySL7Da9b5OyzvrSoQoLgu/hv/VrLXto1NHU4RRjlgv1TU1a5CR1kxPPqDWiI3VIJpHncjoWeN9dhKVQkCMvNV9+K+2dWRpgNwGPPNk0xYDKD7nazhPMvvn3vqxW7YC9Pcu5/HJZLsIlcHCuTrG/+KNRmekoh4pVgYXN9kgwawBTpf31n1VPQY9CPOWYzMf0LXDCONWY71lJMrjBORlUv98f/9XZG3yl553PGkZPZ62LEJkrTdV6iRteel570dYUQzpWro2kUqiwWx9iUeg1sMU/efC9BkETa7frydLDJ2tZCpxH06LZpAAhn/CmoLw+4TlgSzdD31ovJK1olTbfzQ1FHxTTTaukB7RGEtVfsyjnb3R6sD31cwKEb+kD618JbOis0Gjx3KBNWYprCbPW4ASZ0/YVBPaz6mZPa+hv7FHkmQIn4PdF2B19xqv0Ea8rSKCI2v/JGEBpqV2VpiAD4WHeuyw3SYkhtxNygTPap3ndK2D8cMjXBvfFqrJofQ1iNX5b7A2V9OwdL3bu56sSEpN93mrmjdAFAKtUSrMA5sJPEzOz1hpOEKMXV/t1dpoKkDrk8myt6X4ppEVg0u6P03qMZJJV6h68Irrd/rFVGmoTu1p16CjM4k8KqCiERYpZBJsWwAVqjq1y2YNOyMnLLn81AgZCDba4oqERGwUZi6sT8kx5zbNRW0u96Rp92g88cli6kIe7DVEHeXISNIiqjLwqgFAVolv9im7a+h2h2u7qRqsLq1myBZpNjk7wzhGJEK/clUI4bcPcizpYoBCPqJkE8mlXrwibKCdd7QRzG1daiKexRl7E/KxqMBW82KhLkxBbJouu3W91oBAk0iispArU05gI57r4qClVCMTzD5l23ODeHG9y+7xfne7uVlPQhFO/fldOTXFlILs2VF1drBMVPocEBH+oCw9x9tqQJ2VPRyiStuf5PurX3131x/47nij7bw85PYm2vSg03OClaGMHPrSTZGOIbPcIPpOVNN7jjuNKHlHd8LTtX3GMPUeSvJ/exXQMrSyk73KI+4cCkYxASFdd2NoUWJHwT34nWcUsghwOmr5ZNJipv8B1DnmC/LRjjh19PgLNJEWfkqig4r1QUULUUzG4LPwUEN3eqc++6teNOqTVKstN2ha1ilZLuYP0441/f9DE357w4JBb+QFWH/wQ/fEO5AprfELDMG6hhlhQAaVR57W9Gupjsrodc6m+kmgNkRsdHKzNOwX2d6B4u1mwx2qCIIbgWzDoqku2qxtDh0fAzQym9tlz67yOZ4HEVnwGXrNYoKisXuVMUrmE9tpomxQGz9hgw7xTyT7Vhq6GfOvCgheyAjmv0k+3SaiN7j0fV+C+xwAH70P/DrFPrtHtKJJsUSJHiSo8zciQaAgKOf3ERvEVWeq0OdmgRGDdSAIK/UxPrjWYCUjmH5pwqKY37kArqZYxZPD0VVhR5IfdBOdEVAwugIG4eZRsao2+5VHMvUBwjCy+QPcUO+DCGdCXAOIYJLXkuE6TkdNyusqcEFVVK8C6Ocifhns5FN/KQE39xFUQVqUCjwk1EXh3RZ9uovZ0jzjRulZi6ZX5yiFxK9Ms5b1hnYmQOv67wDJoypPdJnFv+EhtpCOhgOVvmX/RIC2eOBlhE4+iw8lLlYC7keF87jnMjbMe6Utyc4LFL1R3onC2EqbID4qN53oTBBHewGZwYoQ/XbQl7oj5OmTa7tVpsNgWfKrScnR8uoHT3LTXTQcgo3DRy0e/dQXk6gWtPl0Gd7v6ifoVq/WTILTgMHlGNF5uvKiiBe33unCempHh4+p8smeDpnvLEpRHBRMdX4Kbwd4DJUCXtKcZdQZxKUCuziHWz0v20kp6Gy9Xns0S4OvCWeSPYtdTQvZrj49dZgmplNCx7ls3kjmSOvgXG56qJPWYcvpL4vMx2ptbo7ykdWzwcqlSZGe27Y1kEhFSf0i9tbyPKA7i3DSe+vK43dEOsJPkgDdZXtz/ZaDq2l/00QhIey63n89NGkGZ7DdXPbJFgtCyEikCPFJmW0wgonBovn1aJBwwUG5pr5wCBrAYVD2rrvrj03ijmyj5BT772yBZvP57soJ+5kxXYX11zewfCA1lCWQF5WgiIjUeagRz0rn8cfBaYj2EoCApFrRrElm1YOgt/5RZFNF9QPxiUUDrAiTYwmMR2lgAPVfh2sGF7Ju3VxvWu5zrJbOPnscZXNifW/BKo/G9cXMvajUMXSuewT8D5D+AGxpRUbd7bjUztuS5t8fgncYCszzmI5ZTimv5y/ZvzQFqoQUrU6Q/23h96CuzTvi4Pdn3zQaXkkKsOTPFkASRBDC5HmR+fJpRjMfDxb+j9HX2Xg18I2VW6GP4mbYKKLJUPuyghrHAmBBuaZMTG54H2JgBelW7cMtlAbDVrLQn9EpN10tDlHDkKFVe06XrUz0A/zmXJW3lxhGsNcFuc8Rv9igZhNN5PGjamrfI8PEvslthhyvJKZCyVBZw+UXo5gjQxcGX18RodyOKgm14Ta80ETKKm3+DFg6YgBpy0HH+rc6FdG8lJPOnivWvPag4DsuXq/pR0TuRjKxxnOydEVO4QUnPcHM3Kyedbd0Wp2QsIu+diz4w41TL4RJcgHGCx+XQfe2IKgboouR1TOCuUBn1BiFbj2mcPcacrO5u4z6spxtAT2/n6O8HPqZz+sSkFhegLiTdRvcHRO/184fmdFWfwtz1rey7xc6XJYCxI4kYVtXSOjBVvUsyi5gAgBfX6RQV6SXUWGBwO7bdNo8/kCDFVT7+soQ8uqXvpaWx+t0YynAc4BR3PABf7KYWCjWTQPkmFR/vrBDZ0+tDRH/VqcyBEWp2EJrHJiFpaaGn32iTL0XjBtFj0hTFcL3/hTmUGhQOR7XEnSo8Yc11QRLFJO2ucpj8e/g6uuIBtU6jQmBlSiCb0b8nJrFQwvrKzvMxH+jSawEv6/CJGC9fj6w6UxxxJ+K1IbxXU4ZWaM/GSAOIjcAfNwnEvYLPDU3/rYbNhzSTd/my4I2P5l2gBVpE/K0RRoPnbwZGX4hc694A2vxcaXtGAis5AxLQ4TKvHrXKMNYnhCmgDNseG49kpADqAnh98OezH/kOhxTc+O9/UYYfPqkTntpOQF1UeQFfmg8N/iQBER4U2pp9CanXyqFsQ20hY+PM0OtxsrflGybBrOu1HZwo8k1cqX2yPi9+iufZoF7Z7NksDSZgyCVPBcoCRhgH0x1M1rQ79OpFPbkc2cfa83jx4CynpAkTK0rKN7BblcyzDCh7p8Z4svv2luU3fIwf6unmVTPEkD5MOTDzs8CT7UwbwOgTddKvx+1UQf54frTnaL7FIzrOYRgDYjUr2oaMHEOkfxm7YrtKaAGDu8th0cmn+HrbUB95PtKSFUMMSLDUM+D8y3qOZjOqDHAHNiA7Japg9to0TGaqBW7f040U0lK8S6tgcxZmRD2hrmPv/VCtIYfLfnfkGlmjvqfcA24vTjY2A3UMc370rhTyLOZrJKGhlYQtMwyr+wqEx7J5mdk4WPr2zsxHkbjHn1RijZkfZElzjminSOlGwtQpDQ4ZhXrtcSLetj2hktQ5HKrdrRxU/VLq3lzyBDnpkU+MGq9n1VUlPihUDe+nO2PJoBLXfIXcx1Tn288n+Mg4u/WjH6pxC+tyE6nqnH3m+E3Mbo98jZXHkKbnGcJDvidbAXM23lmG8yS6wCVmDrW2tAVNVj9J6KTJSVZSaopl7wozwWjc4+qwyOFLoT3H24DlwJN890HRhXn+iOnM8cfNLmrrBULBfTYCOCh8Yg7hVuYmod5VJjwecYu98xyOPSqmDgFqvMLgueeitM5S9C3yXQv+ISRKu48c6NuRozVG2EyjSuJ68isu14bmiKiI7a+0xvRH/4xq40l6PJa+J+VwTIxpk/FPDUYtB1lZ+nIpO9GoPY20ZCo3osKNnr2qYUCyBT+WRZmg2X5u/aHnAFyDpHLbiZgYUStNeoZPvIcdeBx1SBEcUko2GUUgh+jyevh1brmLfWNYzOHcsH91ompWRzHJHctIujBRKEml3IixDx/X3yGOVMME44WdMAjdfgwrVNGGDJotC+0niq0UzAjmAX4bi93uV5kCaMTxF3LTcsVtvTt6C1n8+wByC35X5OIi3HSFtM1uem1abzUGwxA1aumowJKXWpZj6HnOU74SLGTWH4usMzJDlUx59JFeDtswJoQ5+ij9lJ2PQu1y8dvIVVjxasbx/p7c3OwBqsCq1lEz9cxgQuT6ZB1pFdohq6mxy2AzicwCCLdkEJnQmGqkGetefa2I5juwLMnnnII4KHV4H3ZtBLK4tXLKKJIxOSRmgMyy8gsxYZ0qiBPs/1CSgeJ83TRtgt4yLBvlsOJauIiumB+YAGDQZEZio9DVAl8NdnC0lr68W4nESZnq2TZnjlgByiBgDIrBtGtWN5eXzASu+CZqHKuYBuwqsiB9x+tQuLSWP4+JYDUkDI5f5i1XV/lC1A6/wIqdUuKNNhs8ZiVxgaZaHb++FE5Jh9c5TaoSTX9Y582TFLJqJaFl2Gw5EMMkTh5fZnW5UfnJhGYLmxiaGKhrMUDdMP+Nmzz5SZo9xX3tuNct2c2fD39WhvRBUfcZvw/4lnGAqQNa9GOQABVvttb/NfgK3ppfxgzmfFzGED67sVG/OFifuN6ivrCNN5eNy21o5s+J3IyTmCf1nKrVZps5iIFyLLqCq8u6tYIA9t3rBrXsgOOrE/qEgdc3lu5Im3fQCHd9YYOOFIom+8md2SavXD3J6g3neqvwvDdm7P6DCQtQ7kFNL6oJXijx8knRX5bKF7ho4nzdqWaQuqq/816gZCuIDUAyQ+jK5pbCIwDw6CKd/ij0RfimeGdsBQJ84iNYYLVm/ec791/zF33Ddesvrln5rWAnKchajEetWzUNmFZt7K1l+8eAI9aw03iNQtBNDt13vArKYYtUS3BUarxhatJGzmz0yyMPGLG43owEfaKLkFjQVgB79ckdYer0DmpTVB3OHjr0NGvRynFOBk3das0eXKCnNHQ5mEDuiutpgNNQU1tsCo2PXvYkperKcIb1JQC62d43C6m5MiE6lXfdfh8NN5A8V9PRE7+5EqRJmNu3ARdmUmnldXJNSFoojNypyxaXZk9PQPRdzb+6mxrWanRiFG7PdlqFi30wNCS99OSwI/B4QsEhYAaenJETx2+1sxeOwvRM/Zn1Xz+YwpmlWlXyMKkgOr8F9QR3zKbcW3/TeguYadO3wNz80KEjYCBR40zp/fGFKUn5+38qqrayw9cpaiFuiT1Cek2PY4sdXX6pTfQOcNfufzPE3lCwUw8HnJqbe4v94M//0Ve+jmjSjYsAw/ukfV9JRJMFnBpzcsfj4zcfTDUKBVhf/aqoe2dDV5b00jx6Ofvla/LcFYPDtcnwgzqGq4q1x5hZW97rM6Zoatk9jF8uLEhgTq1ypLlERCohoYs1LFO2joTb61lfencgu2WYCwTIN3MqLqjSXN+sGhiGYvIM81fWwQZIqdYeUfJvg7CFgGPttdMAXGZxLnaQH1DJ+rGV/mgHor/yTwAxgwSM9dDC8cFgNQkKndOdX0h+coxBQViUJZycgdWPLwaw22aDtl7tS8RO2eMbmVW5NT2KjMSQSkUYTbkA5FYgxOSIZnleaj5RG2+ubkFDXjvpbtEOzzJnghA6VVNeBCdY7ymmnqHPPVtWlage9kcXo2Yj30yoYIj1ITpQox6NgSY2+XZYjdvaR8t68FPT386//D00DJlRfEkO/4FmARhIfj7AGKPhFRcTNez22AkikijSqia9Vyi6ZuXpNijsqiCnH4rhvtoSeEhA0P3I02vOasFzmdMkrge8d9rep3AiCHmpYwHIfhQ+XHTgkjuWXz5WiEfJrwuShjuumfCpFlMvx7DAKjqP5LHnCHjS5kjeyqYtm1psWM7thFWW/rTkQmYpIPJ4zi4Fvde0i6QfZmbtWw4KMiUdEFNsfiRq+mj3S8W8Ig1+DVcDPaIvsNm1JTGRJQWfuO6KBqZjlGwSrtRMjfpET8+zQRI1NiwNABA8dwTHVqvDMlvZGSlFA/sld0kZwCz1+o01SjW5NC8wuQvdb24+C93A06sMbs7Rd9vw5zyXI6vB17FRAZjjaFzu7n+PuPRTq6k8Y5aXgOxdTkXnQbM4GpX5GYRZnbwJpYkklXApMugf4GsqPcWjWSOeIkp8NsMAjxzw9JEeoqF/vyHy1jHnnTR+LP/C0x1MEwfX27SURQpMRJHb7i9aqXYY7E0evQJFtemH/h2R4W8ZA1aLswLHfk03vn/78CyKwLtg+qt2y29VujzBEhRfoqEpU6OWHPWssKJBm30bIiBjOGlTLVbWfalzHzYsbLU/SA4ILZewk2JhwXVnyDEGf3PsFPW56bZE3Iu1n3m3Xi7DYthujDRRNrrVZ0yonUS9hgZdnCxnHH0NKwOYw3uDuaVeGE2Q08qlrTpJI7vjKDxKLKka2Dxy7U7t2cdRWcNEiiQKdGm8eAMVdMvQD77/g0oYYhwty4DY0G2phKNj2RfODfyV18Fy7w6pwGSqNeUzLsCx1K5TS8W0L10a1WTPNJr2BTGZjPb41Omr/XOX9PceaiqeGkV3Qh+iOjAj7gf6Fjqv4CPO3yByuYnk0YDGyGBhpSJklxj+EeN8SjVvig8ACHXdQszKHpUbtVYh8inDOIfn+QOa/7s1DUR/NTO5Su6cJXgSuVS0VQBS3Fo3YQ4YWk0nTWH552Ve9r9b1mugNaOjLRpMHoUIgbhsp8ygBlR7Rx1XUB6EbCQ0OJmPmxNS+UcvyuhnbG0uBpR3my4TnxjioqAhgSILsjODQqEEI7QiptR8hUpiAjN1HDvCMuiq7nLXfpPvtaCvPHmqYoRi+li/NYKgj0T1ghH0pl484Rne57YNHWcM3w+y7OGA3ndnXLAOuM4KZ6eYoBV1XaEsyvAfKg7THEFxrB4slhIoMztjWitPTLaSc3VWxoTmUsh8yCj9HUEfaxgn4L0pjL5ZD0q+z93JdMjxpfDNgr0+e2HJ0W+ypr4zrwrhCkEdn17x7ljgKdbVnxtZn2ED+psHNyQPyHUZJxBcSqdtUatR+RsI0izIOtpa8ivxKC6yl20Fr11bFPHDbxc08I9vMEFrajvpOsQ6m1A1E248cOxkIrSjz7fB6zaOTp5qGLvi8MXOWGTDaTNHW8J3DTu+pl+tYAKNY7QovLOfYWncffCLnltQjnieBaew5C9wrirWyHNFMZOi8r8Iec3X09RaLnmORWm0zez8unstI5HolaeSGCIJ+1nYj1hYL0YKt/HvGdCuv33wdjwX2auaS6O28NhwIWa7gE2eB2PvIeKxEbHq/K+ZJPaZCP2RBiWJQfZ914WyJZRP72dLemGZ7hR1VREd1LugqPtye7ubittHLDWy0ibRWnJfuClTXKFsNMwsbe8EdPicXtl9BxFXDCu/s6/gCvk9ZdJSlKGrub9umusn1ctH2SRq6qMINHmFUG/Y7gXBfxD7wjLUPDLLkHgdIV4FPRdFTpRVMqx4JzDEdQOZg859FlUe24n+Pd4B4whG9VXTcEgSjJ9psR1dOtyWmby+9Cr7Bvf2ytRvo2kGJrXqcU64OI/4rkFuTFzIyNlT0FlZQ+6euG+hzWA3EoSVuigjK4c5hmC9E+590WUa6b9N6On6pOpLFNQvGAbYq9XKGO+OF4GPh7JvgXxOuEvg0AqB34dlqzUbEJ19LyaKGKrR8bm6LAYzGKenKTUn0ZJuGCCvUDa4KxBrddB6xZy7gqd0hxZzBJIPwz4XVH6biyuOnc6b6auSTTPtoljrMbBXapbfjcnz5/fN7dnXCMDZyiEHXV99cihJtYzSKOhpSJO3/7NmbJQnBo0pkHq56v7AjnMBRGlrIbJ/eAu4cm41jXMPp3EAy0PPL7f08x7NivgtuU8QZLPhGITcsZv98L2tdsLeqqoxzjWXa5jIxHPqd7Ne6DeeHNYHGT0DmQYpxNBt2wzRynAVZx3bz9/Rq2R+8YW7A6cIwjJafeECzHCDZUp6j6vMxhiohKyPCRlCAf1vgVFir7RJp6nUbTE46KBTALryWwQPHb4xKL9Sa7Lpsr7M3uQPpK7He1hM/4fpSBKhREchAneCJVkR5w1GMCckkP1Z/HF/Zj56VuBfXwpNJFgtyxYEOJ2i+BVadZtZN3wcC0xXDs13hEVOZeqdCIsT8X5dT5j4U2cGhy/1THhIwo2gILNlOyFAbwkyaYqX/Ip09C5afPDEF5USvbruXCx8AUwVuMghEHJoOKe/exbn2++vgc3qDUtvQ8Lur8P5CO5qfMoLaWGWEBVoSgSOn8/pcgBfG1dL8IfyVuaKCaf4cmOfvq/jVQkCXEgRsraUxOfEWjhrWQU0QluCYBstE4jMK3UyC2ojbhMvrpcxJ9l1LtN5RnfKSf38e4I7aCnsEXIIf8HudqX4MZosuJhbnVPVpPIgWdwFTb8GdEERLk3BQ9GZGAfDGpqN51R8/jW36W1PRBtUSIhLX5LmzHAZkS5ZgM5z6+HpLqt5GHDLUDwFYInVDXGOvKM2ZQp8FSI9ub940eDgVI+dRViFDyDx0d3ywXUVz0QaeIsaaMz0FuD/p+ny45dI9TI9J8xxYUSMh650TsYJTXmK8HXuecaWlxY14A2z4ewUm5KhAhOPCS+wHGb7sDHID03X+uorBfuYMIa96VkT4yTULMajZwoG4ZMCr1vIyWmE9QHSJ03nMK8tTV+p5p5voyjaEmTvie9cxua3WfFUXcOyDD4uPqhy+r89/SAVk8n88g8eD+Bd78JhA0apnMGOtDigwTFiyT5tz36BI28UM5YMtLVCU5mfxm3RxGawUgRlIHTeZAzWT7k3lGHP2VEP+dxdUAm61KZbuLmqPDSPCFEgFEHylrhBwRdUxHM5WdfL28jRONhIM3rwgKR7r+id2Tk8clHDRdZCwr8ISCQF4s6Szkxl+2O4lllowzft3jXvFr0JRUp0ZyJX9cjkYEiINzuwVtDlSMgbnWvq5UasWgDg/x1d6uA9evCPo8Q00DgFlUFiGnAsgKSdkC5OUVy8vLmrRiDzTgPEjmeNtvlBr/pdlNGNQ8DiDE3RhMurOn3tFhaRrvB8hi/5yvozdpMyyQcDS+4x1/9zhZaLvkSJavg5ocjFzdfM6SNgP2TMLxXh6rz1972xf4TmJgcyn6WAkqHj3X06YhMz92lZSbWbRjcOZNtT58AROAnARq9ok+AIY0aCyIesEK+rd6nIbuyQEGqGc5ENq/LfUm1bfQUXbfCuUHL9KZRREhiSyDx3k89M82gJNNn0vLbC8XjToEtCnGOC3joiaWS0GUVTaq/KRkSOdRpUZtZC4VBmaONCE81rWLAv2yhYSBBFH29kU4AO9R945E5Ixw4djN1ZXK200DLS1P2xZcLf8rIoPSZ7Bm97TB54qCQXUnhXR/XEc9YO9reCZVKYblUulSP+cDw8XH2NJhtC8P0ngQ3UgxmOc3S1RhpeGJUt2UisTxdlLeUxgu1kTqe5bSDyWLBqOjPPXLfGW3AhZfib+AwdwpH4a1Ic2pwHQq7aPdRRPKfWwVj9kuXnhkzThFWC/bS+t8+0OZUzb42Jn2CU738Ps1ccr86S2LpJ4xZ7+GOxsfcR/VTHLmMIfjwT4y8gNsrDFvizoOXVDo2IaiKJpu9/NhQPARM1KNtq3o9jEK0vO11P/lQ7c+Jc2rvvyjPAUEYWfmnB/ejzOjp0UQiwvIsCR/MOamXh2673IK//6qRYtzIZNIQubSuF3C9lc1RwPuOA/hG6zdhzXLPp1pM5USbQmBoh2l3fyZxY4ZUR6+Pc+N18+q6/O/veKY8pz56vTYqtEwP6uhINO13A+wsFlIqcxAyNwA/20K9IbqMENMTcP416Z9cLFx3YgWlq22WDnaAesiuYj9UTn/k9auTXgYaPVmslgPeFOWr1Jx3TywadpbCS7xPdZ4ayaPQjGcUf3z4osboazVIE6Q8y+Q/vFqAzaLrZoTuF5tBIqhO4669rKsyQA9wo3bp5jSMZQD9HmzGfFeD4/dvrck5HZlLjEzqun/7GMkbRoW1lB+Et/FTkE2xSZwcnxODeKFV/pb3Y8I9jXlr52CWDnZ26aFrezhokS/CDnWHvXDhfniU6Lbmt2pU+jP/UPO0TbnyvZloPgsHUJ3ldt4ygV8dpQlqqHv864tpn2QmQy7fI0oHlsLI5OdVc3nPcgBP/s1llzplZr87ZehDrENKCj9ieE7bQalsYKwYzTISnuWc2ix0fPTYq5ZGwyacqUbZc1f7NnsuJ3jhqSparXndzOVqaKNF37hpzFic0fOai0GnCRp80O6887E6SBeh5sS7Qxnkx1rHNMKlTTvfVrH0I3n1Osh/QxntvJeg896O2Y5NelGlhyy1kihQ/7xDrPYJjkk+NwCwBTdrm2bg8EijTr+rK8CCHz5mYUs0OG03fTP4F2Rvfxw3f5VVpRpT8uuI5hza0mZKjW6hQrxSLBYXWlwE6erq9fXBIn5jCt4FEaLuJme9DkcCeqwzvN5F6yY9SkF6AuzLZ26G2CgEmEtge26AFSDQKSOb3gkqM3uIsE+XMkPMv6/dG3PpGitaZtE6LilFZfPmW1sHcnEIHHDcPt7hJwJ5aoGfELlS4w1G47czpDx/BW+LsBPD2gagskFrAAhNJoDCzsREm5lRmg71f28aBKdh5xXh19Gqe8gfcvOjvXUDUN2bCW7Vf5P+/HmxMtRERzQYVYYlDR1w+A8SS0onxU4ZWI+DI0C5mmDi7W4xwHD2OGPi6h8ny4R8FoAd2ot0t+Fp/zS39bU63nPdnJGNXJAwepFlwBP0LAQlvLLwrinRlXuqJhprI+Cu8RMBbvc6VgiBS7A6VcKXI4/XQy0sTMSs4TP0e76LgHz96E+EGSgfwHdw0QoXCfM9KYFJF90vj1Xrm1gor+44DldVxpl+UtH9LrUToXbZm/77Uc/yf2PgNFqyV8FwpxMSuKxIxsVov9ZYdauuGkUYLFPxo/i/YDRhhiTDzt7bqt6W22jLt/DU3NH0dRy64BwwBgsJL5bz+eKnND5Qq7CnJFnPVYHtf4v3KezYMGWxMlDppCZxxzJnuBtCztevzFR/C/4/AKWdcOVewXjssEiulf7kblnE7H1ehvOTUoQWuSy9qu3JqKClvdnDn8TIIrH1P/CPAhgBdpWbIYszi4XI86iYipbI4Yas/qJxLLzvFQmvhwAbFp8ZTXHL4xefWbNbbx2ASp6gL0+bttrmq7pUyHqFxykmn8chos7PNTy0JoA0o/UcmdyXIgtxP9BbKD1ic7X5zn2KGqi5lG40a+X/9nhHXwVuWCFO9LPd1vm5Ch9YLTW9mrq801EupdAPylyDuLIAhYvuPoA92TTt9ELl5drG/C6mZxGBnvv5bntSH/QqYWUKxgLU4BpozVoVi9GW8a8R2hYjPqehMm5krmxKfOO4w5nmLZ3HQPUrQz9EdkbxW3llneMB2xgZs/yLfeT6gmIcfAKRB3kgaFhq6SNrJERDDk+1CiqD5zKqUruZtSo6r2bIV2m6lK+2jFbzm3cbFz9dn1T/JEFlDBQvahtJ1VWBY3D4XNMFiT1XNDqQdqNgLgpT1+OGpGtJFhyS81CBEzDpjH9MMOmsuIsBnz84XV2V5fnINoNtOFTbiE82IIgvSU3SNbS9kLIIkL3NysJCjUMaJmSwhLY+lulRhwgqi6Ga/HISPO4Gpnt602/iu3fmv4/ukuxrMb9ik2t9b/x2E5yfL0jpI8PkbyP4GKXy1EaP3ocHL1FD/FXto0Sb3QwHTpaFPTEpwZiqBXkVFOOT/4fTIRAo1BYUvgP6U2AB5doR6z/Zkedop7+LQfNZhWxHvK2HBOrUpqm/HrxZFz5cH8o3q8nOd6Gcs+1H5FGR22ZUVsKmUJkkc5Wak2egGcAcdIQhDUGTMfLf2R9cKvtlMfrz6YHL2yImJWDlVNzcQ/SRnR77U7dHl/Kq/3Cgi9wY6mjNSoaAK5ezvaljlpUf14ubRrtXlbWaQMsP0CdlQa9le+dIUfuZtyoDuWzu7Q6gtHpeoIiKNC9LVybVGtAiE0EQSzTsL625iB+jTy+24TEbXLhZzpe2848lXZvHb7d75KFxsuw26SqdEnq/tckaU75zode/zyJiAyczGPI+4Jw0HHc97gFzQtdTz4ogA1N7WzyOmt2ZKM+SMDDuT7hlTVWmjYTrGFDskOMKgK6L06PryuFtA0Yj1j7igqwohSaDrNkZr2lNUHtl3fvKuSHuJVJUSgsanobXH1gZJPGgzfaSrUT+dxyQyjNGeiNlDnz3h9EmKfYuehbjf81KwMoIW2AsOUV4rDIiArXNQp1+fDVEdLHTHdKAMHRiXFPioaVeT61FNYVBCHSMukgPiTeKH4oizJ7TmNhNDRHYrB4yICJAOxNCk21S7j8yhyGilTxSmbZ4kcQCGmLuQxrYai1UWffPJd4nRZMk51WGZCHm91EgyT8C4rtyvPaEwkWCDzDdlWPB/gyiVowsNds5XBdku8kVpKu4GhkBv6DL5Eaf2InYPdXRKAWQBthS8YHV8TP5mMe8A6fZn0zqKgSC2pX4T6LSHqNjql7iePC5LPvW3pJIWsgklA8/CrjflpOf5MicGvx09UA7dqc+I6NJOX89uQlWkynGOP3d0YprBiUVfQWkJSgTpKJGbmnQVxdEF2tAX+GPySJ1iRwZr1t/QClinmQEZ05Irar3mZoFVHM0Hcz6h+rWyQtOTXEYNkitfbrcpxN+G4s6eX4Bb6RCvYxeFiAolXVFZRkHTN29MC0f2VKt4UY/UYiYu/ut2XSn4RLTxjRTv+TNVfrPuZkCl2vv9FSPuD3hThc7sKk7uRCkZLfmOzK6x6r5rg1FhilHDQ9N9L/xvDR/J31F8zCbSCnqEVo08bQ25QPir8syqgWoPS09TEsTF8gUcq3L/ibiK5S7i8ljOKLggxg2gN5LXBm4TRlWeqV4bOXIUVhyialulj2nN//7/yUezWziq+ModqJzbT59f3ufbrCLCwYMmJPuEaFXPWzGG5j3FW2T6dDQLV+dIVXZw0wXKAW8UWbeB0UxekLlHGz9jYywcRmaDGeIBznP8S8sHIaU9ExUa0P+iuIhiJ+vFU6oGs7ks1R5ZAQDK+oIoXfnNs8Kiy2gRgSic/yuopdNzMNF7Fd62ngM7ZhAohlcfNMJ5DBpXkPY1iUmksbwAVBz75I+geIGfHzjpkDHdBciXPmFKQPqvOurMgN4LXxAKKj0+Gbxif6jcYlcNAJWlSRTpYAMhjKYj8BWcxIIiDoGXzUwGEp2rZGTcWSRlYyBOCruBvhGYjbg1V857pHYt89FsGrbPjYUbUecC4VeyUAerWND+v7EilO/mDQjldHXec56mslYk7XjgQ9dLI6Qwj5MsQbuqYmlBmFkXwJD9PTjbRmqZOfOlmfABejChrVdCYDb7QxzkBHb8krSfU1VSng7LjNFnZ7niTh4bJFCcXJ5wbr9RNY2hJMaBZVu3rLY6dpnH1R6CI/0SexCfCUBp5AfiVCVb+Rc3bmO6HlDuP0WARgWRwFtRka/aj2dFH7vZMxZC6UG217zoc5qAg2bPQKdKkbvn55S6KnI1Nw4IBkD9JaHEgIn1sMSssruropsE3Xn7qzZQT6Ns5sfT5JA+ToCcC0BfzEEGPTdAzLIaYqML/Uyj3/0Kauriprl3/DD+dXovcoLwE+mHjmjVC/wxn9VnT2xrYnVVKY1zsfiy4Wx43PbzVJnQmMkpWloA7CYdUUVGEgSXyb/SXCYEdVtmtt8cZpzEhF6EghibQ9WwTkl7/i+nVKgWc38+HszE1HNnj+qD63nwy2adcWasPmOo33Y0rkWgmpnSqhl54IsCHb8UeqS0j1feI8dj5gmhy7zll6v+mECai8pH3FFxg4sUC/SmzjdBjZUCDkccgvBCp4wvx76hmsBZ1/WA9vC9YgVvvpLPcmpDki3sl15dJhAYNl8SZrxYGx7psl/5jkNtUu1wX/pEBxhteH5E3n+IzmP0jD8YOjl45rAVn/HMbCP/icDVQti2O6YXRPijJ7vNUZM0sfBfoLMPzs8wcS3YPIyVf21OZEUv3e+lxLR7JlnKUp/UMyPiBbBbh6GVqiVv2aW+CIdNvmFrgY+q3IPUJQRfc1+I4tQSX6x6DK6nVA5D1A4SYEXCFr/sKKGOfQyDCleH/iOxaXv/A4xYzW8finenynwrlqBlLGxhyIbuvCbi+dPhFf7+0e5td8+SCx2wfGKxPS00j+LK/+lzo+pJzjott5/IM4qs5VnZ8PaftmKkt6n0VhUYc5wlUkcXpfEJYlLImBRLvugaqU5USlint+5uoswh9JAIY8zFfPl7XlbNhvm8Xc0tRXEAW/2nTFFR5EuuvbG4hSBVpiO223qA+zC4cGDE9vgz+0tLd1stxNTQxYVikNMK9YiCTr6fPZ0Lr6zyy+ijvctwvLiMFKLRs5vTskSJDgKh+e7wfVsVs/gFusGK2TnHPz7sjAGZ4toMP2KPSYHuCoBW8OjaNthItyI8xBajlbe2ZQfD7gDuzJpJufJ1r2U5t3Uwwr9CjBZ/MkkrdU6U3TrEjhJLoxz2dstKQKiEMdfQeiV/tMsAzpRGw4WyawPiZkLkaF+vEKrDHuxW0rjBf6dASkcR5ZUjA5yQ9wH/kIsiFOUQjPYdYt/cOkaxOYE7qS+Bfmo8AfFI3FUeAqx5MwmpmNU14hxzSbMpNgPOFzTAFsbhdDvj1avPnsrhjxpsNIp4w6RdtI+O/klgPR5+yLs1WO5KY6xniJW9PL9iDR3cf2QUPPv8V/7kdAESzBnHwB3lGA7tak73CAz2OUFSxtG9htz7bkAm7JTjrxAJtH79bl/tbauGVKf9DPmj1A6gtCJ3Vub2d7/Uk5ul1O+/ls1ZYsniyItwgiEXSYsB399OW/hTqE3u57vZAgPaLuL8ijsaOGM0srA9ujOYN8kUt4MM9C7PMuuyECndE4q/SzrgL3YQbJHLEopbNbCjAEcPwB9MQx9+sJDW33NPsvTklKqWB6ynKwQ+oF23Gtz7Qn4VLnBjUnt7bK/Wic++RVnAkc8FwnTjqwnCB4KLAgk4zGvcTHFSP6asvMLyIDa5K4stp2oz+yv3fH2Wf2cklmTESc3sSb2fMJrkDLbguxTX7BukEu1ni4ciSe6ZcTpjaPuB2MgTvwJJS5xkUl4THUKf+lOTOMYW0DGuO78iayWlgL5Nd6cJPjn9nYje55Kjmdddp+8aziiU9U4ZkCrJDHaqixnIR9McMymLaZvJ5JoSEk8a64feYC/P9WyO/h1E69L+pkcXuoaRpnxSpepd0sFK3Jva796xO2kQd3Uzf9dQoxylZBNqvJBR6fhQMuPieTKVov7glyup2eCA1vQEzs+31IFwrbNTEbqWjtdf6rc4syUYSFEbI1RZhnVd9yhykdHXd9sdqJpyp3gxkiRg6h2Ieabn3gw7c9KuaaXMHup9SSs3sBWBLCdgZe432G0WkjYukSV05ZXho162nXl0JvhErbzD3JnNuU9YS9zsXWb/rxoWjSFMYf4Bh1ckEcng2pYOhtcSkTMP9TvzhP9Uj6U3PGv8lgQE6ZNjDqcOLT0Mgh/uafLqHqsKc1Idf7ko5j1x1UV9AZOXpFx/nKJluHgkLgixrK80LIxfyxg/Tpjz7uTG3Zr/y6rey79VEDA7ClezrcXfWzl5TV/ypxNdMijw387K52EWhNe1CDbZKU26ZP6FyixErgiezrZm40d3uJk4EAhf+B+8kSgMf/YlNELMWflBUhQ8oO/j7FgBtFcZGhwIaXjkZaPlsqHSXYvIEbL+lgiiAeS8XYcg/jKGa6tK4yrcW2w84LGLRIJD2VdWBXD4xzRoRYnbE+klEBwug4NiTDXD0wr/l0tLpGxGWhYobtcNqhWjl41ti7gmAD3uGyt+4YGH8t5oyDU15VJxklB8ImYtPWcIRfbAkYTsQv5x3le6FKKjDg9c/FEA8SlezgXEyj+H+iwtJzclzdd8CdiZiRJ8kPMPY0vAj0BygcwkCwgNjjWBLK1eoREEqm3gAp9H4zTQMBGYzvh3s4JgbCbRUmCTLPf51IAjNpX913ZneGJmKJ8j416toa5lLukPG8/Rr8UyTjh/KkXSuUqWqYcysjz/zfuuzWntyjETPO8PUxFRYNashyGoKCadxE9YOFa2okVf8+N1lKZUp+L5yNhyPtaAeQN5uxlqi0/8r/si52No1VyibIy18/TK0MDgC0ADOr9Uw4d/bncrrkkceHJDGCKMvIFCoWmHM0cpl4P9g7jqpfmDXnhxM5W2sBNUGviU3zbIRjHjwVNnsQfydNFa2Wsnem9GdA6o21klhDgMBozfdxa+vvcdmifJpdtGUEM4ZQ5Qo05Hvh3cyq4lrAUmiufVeXMNGkR4oZ+CCwD33EOXSlktFRnPJ+lI3TaTlqZp010ydvxb2WvuTisTq/VFk25kA0eBrBjd8gVusBKaSHuzUytfDSyLrKRfal64fbeNzBu++qRnSUtZedv4KQ/CbLw9RHtg6t0hlOmpye5apHq6WrcKBO6Q6abu1gS1Tk4q5ZTV9qQ9qxZ0CPHCiBu/u7nH33pZXeBEJgYd8wsdKs/s3lQVit4dHOgEwJ1quQ4ITnAZRCs0ArafJPODPHz7+/3aZWgMK270KWN2c5OBO5p9N/bIeyjgZKkT8j5ZDGMVul1ATuKs6hNV9pnzDp37Q7kvk1R0cL9ISocYMwsCO7rK6H9an9xCfLUVH1o3eV619/LCBse6sud0JsplLZnjDzmzTXLVD77k3B9QfDMx+3//qkZWCR4nvVacBkONC9M3vRbOG9wInn4MQWKSBfw7f0w6VmFGbWati7/UUzIzyi239wnIoyE988WgR8ZnmgYm0q+kwfxTDG/gwc6FakOOTD8hDG40KzxXmNMepz/R2XplaMUD+jFtFk+pRwy4Npn4gM7V2FFSm173pJXooLmH/9pHZrAHMIn6lJ4a/iDO4rlUbgS9rGDqYh4c3Ox3xMwHKi9/BAUjF8nHskeqDXFtl0ct63eWposZAF2vumxKHbJZySX6k3OBPeDf9rAZUXnsbt8gj8ew17rUVZIennxbMD60nBP1fEO2MNQCPAoA+/D5nnFjILSzsjKPbifelNGr/2tpw7LL9cg1KB67RYZWuswTmv7jEaFwAhkjmyXv3bucyWM6O4vlwR/6A7+WcRQQvsWRDbea0mGmB8GK8b6LYvIjETrOunkIT1daNwWVm7Cl4On73rpqbnmJWsoAHJq7aP0KS+htZdEE2ne52BoWMSslPudQtChXCNvkreDAsBkOAbclUDsMRfa03hDrlGkhQgovrzoUqx/4OjnJ+5tasdSUOr6GA3jmil7b1LclrGl6pDbokSFSNGq8Im5MGIvqFsxVWJZ1f0Zgva36GyR1ZvipiWgkWUdd9OfWGdiDE15kGbRWywjwydYqYk3Q0CX0ay4ISY/t4Jd7XjDewIBoS+WGdaDM1xwp8PKWFhoCb/FV1ovj6T+jO9uoOeW2DTFsXMXcwdW7eYT20plyMBWCORUcjjxD+HC7fweU+8drNRpi/vK1EIsEq3hrW+Jz8/spMelvNIeXvS3xeaZwK3kZZkxFSTkCGqWaEdJTTPv/EUWgyV6hy6O7fK+j1JLqUHt7PcwtpWUe2VSzsSXKk8Zj8e1NRJ0P2goagYagTDwc/35jg3iNWbPQk2dL+MelLjrMT2fIb+joBeTmvhTuY8LuB+lgFDeYt3fh2VLWHxnDTrKno4UmXp9pYGpJDYjCMxpa9Y986Q442+E5tPppD40A4+tNmCVpeVbAG8cszQwXmSIsZ44NLONAgtv0AJEZFEYPn4Jsr54bfMVbmNodhZ8aNdKSiCH/9DvIcwycwzwENwsJJuwXkr9mDd2DT28jdPfxhwdNdeevjUJdRUnBIg7QireZUT/h8Sb6hl9vbaiaU54dOOyg2e90wKow9VR4388bKnM3lqKg3H+dQpLDtBJl9N+8t7JKwjR4C9svit1t6APjU3pkSaGS9AcOyibVj6QJWhhlMWL0o5KAgTIZhtjSasZcXl5iKyhENp7kWzb6FiSDPSzhOPB6I2oqWqrHZLH9CwJ70wpXXwLR7abrOgqik0agw2lZy4IOOdQiNGccNRbT21VdiEB95fupDA9sUPVuS2kYOo/zTboYSyfkCaVrD7RU+osX4Jcd+CXjAc4GQw9vDRtIQrNDrn2ZfKTBKgSN8QIAVb3EYcFbcxyTt3YucOWp+F7dMPh3npGsl+w+ylcGkQk8hrnbQjyLqZv12w+wF8u80gmrwuwPxTMKpL8mMpb47xohdyabhk1hrpq6beAaQGch3Ji5DA1cxfJi+3tHS0isFkcyPrN6fkOOTrKn3IGtiHXz4Z0ifLsRVvX2LmgtlZ3qp6R/Wu2nN5fCN/Azmy16ub9+62rceXVMXdVLkizylKuhF757Mui9kBDjFjXXLyj0L9XjH2O/HVQhEqnCDOGqOsRrHZD5JAUuvURmJSDMQGFRD/AzSyP/Y8vM3vnXEJr8sit85BXpc1xS5VgXdlC6GBtMBpSc+wvfGlQBxq64DNkDMsydUH0V0yErlogr+D8XLx2a2V8FeXm0TJMfrWxJCSEe6W2IrwVjMhYZQysfNR01I3jXDrHZCYGCLHjYjw/QNy4gWP8wyVvHQ/kpuaxRCX9+qDj9iTa/BPvFfEER+39c7KcMF22DL+hUKo4jge0//XbPya3vDBQKfaAZnGn9L11LbnGpgPUCnP1G3uaGCMiOIeZrLL+YVz120o81LQPfoQBUrLrFIJ5eqWB5IPGwGSoYFumiNHN25mKnygALd/WTIPNmi+FKIz6afyWM7xp8Z2tJ3OxWkO4m2KB0ufxiDNTA/GH/eMegUDvLZEiiZSjUpBc67aofNS3mtjbk/8Opw0PQnmdjg+VpvKjfHMSAHJvV+15ZNa+DuGZItDs8M+YlsnfD6s+wgrGpTLROUJhYyKTXPKom8Z2tRwt2yPdnJJRifrrwmRNXxxtP0SyGh1amBbcRtPbXT03mT5scOWjydcQ9+aGPKtYxvoeKMaDm6WpPjt3DjkW7p9aGFqca0CR6YtSyAKTNP4PHr/AXYhcM4MMitGQbjrKACq4d4L39F6ena5doKi55DFZ9eEK0o0AWFRPnF9pQwVFJZ3SjMr/9NSVZej3kauKYgjI5SBqE+aYXsqkmv6mWxOWUO6mucPFDXLkuRzq7+nZQA4yR+AOi9axE08cOkB6Hw23nP/IWzxdubrS4qvjZ6i/sC2IWq+i9DS2Rul3iGE2IYBppwADxRxeDLdc9wZz8PTF3NmkP+9WvMEjEjgwV+/bWsSZqyfll1arbDEXkfSwKxwnvcIFG0i2iYDOSep/Z5XnPNpR/ZLxcLzry5ppaZIDh5XGlzpZkLNTAELSX25XuSZPVWauVPXQgctly+kbK+SWvrSDA+UWR7G3DfwaFH5JDmnsqvQtse6gQH5o5IN95Kkv35adP+4w0Zom86pDZekUoeGUc/06x8DHDUzIAyf9RwUZcnvPyTbC/RGmOcTE4quY1cqvMPto6d78boWCbqUWhXkwBpgdvt5gAxgjTF35oXgl9j8zF2puUvlxABmAaG2Y1keN6o2x5C9yPB3dkXt7BPnFHsdpZSK1ime7GH0HjDBHkS5gWVJpKucF1ORWy+ps68TX6+mjlQSgo7JlztFdR3zDeraQrbiWuqYL5ii8mH8KjcfGuT2mJc4W2wXhLHvD0QyR+gDjOngZD0Imoo2VB+Xoq3t4O2b3HG2mlO3GxhlN0S8W7+U43KcMPV5IVlC2DJKSlfzzX/M4OqbjY4tntoMOMlAJAIvieXAEgQnZkbRqsEb+lKMwhQUw0PPdjt58Ev6JgpJXQtuK/UJ8y+Hva+dggvJdY1EKHxq4kWfM7LJrrcINcoozjKyrTwWaLuvGb6gu2bFJzc/nOROiOzIf+ttgBryyq1stM8ZjFkdJOClay/t4oHVyjpnlsIkFqyypMARLMq63CthhoyE1Ngboi68kH8S+/lNObAd/XlOMK2Eo03aApH67b4XQB67VT1miY0//wuC7IvH8XS114Nj2bDXQVSRYjZEF/70CdpCaLNRK4wlHmXZWgb6jvyoGHNDxr9ZIQ0tXcfhuFpeHu9Ja2v89I3Serx5jli/GutM8AVM0pALG0bgk4FJCV4TjwXDN5Ic7hhnIhZLLkND3hDcO83f35V0bJz0oKqlNIT/IqrUONERzj1IzkTu64/79p3U8gaBdh+3m7PObBytOnptpJ+Itfo+IKG6I4tjhXUL+oq+A8YXUPTzDXmXvvYi4lzyTrgyAP8tq+o1SxTpMQG82o9jnNhdto8eoLeIkTr6aL2/UuCOn51nO2CLSzBpWqrEPgj4tgbovB+YyfYn9TXp7Zh8Q4gUz78jxOk+IGjnjO9b4vRZ0mKtA0kawuPAgLrxC00uixOXLwZFFn78nkzWfkUvitPKeZepSZTjXLnBUzDWM4p/CpCiyxrnaG1gTQSZd8ASvMjMBd2lp7XtEtBFDDwo//9teTe62s6JdrAflEuGnyD2SzK/DO7cmVvi+e3ZXqlk2G/MmuLkf+G6oOlh0Q8mHFqZjXgWF7nAprPbcXq09mFaPAS/r9gc+4dZjcQWeS4Gvc20lMoWdbqLoIKHhMXMh994JrKtRO0dfm++9L8K9dY/kMClp83QtrAOiszupdYPKgzr6VurbwT23fkYdt1GWLeS9+zG3nUgIgOHwttxr6d2bIJ33uYJAOG/4IwJvoFebqLeVEzQVJNhLbu8fPZ1u9piWxHzRdwsXxJGKTsQ3b6GEQX8Im/LIwOfNO9QO0zhNK2Ytc5XLo0+nGiL0vETiuSL9q16MyXIs+kfKF4DHUpBQDg1wKpKDnF5AsvosPLV8/9RcluDhNIivpuKaLlni3VS3ZIP2mfYl+biv21VCtXdrGfKxvaQYAL8hb/rQD8veXrjYkTilDRHNAWF48p+XWyt4uGK3bK9W7pc47e7hHbHiiNY0wFelpAdARjgZqOkCLpRPL6/bKDevynX+KiDBxGwv9irUMdQ8him5vDHtlLhqyY0Uy1NdMJkCdardxv+4Yjkw70bRHxKVEL7N8/OjQC+GKT+mvTsvZhbcpId82bn5S+07a/2OO3+keOvpXv/YtEJGYlDSRAC2jWhPtH8Ib1kvcVd3pEWZyu2WygMvQX3gBSlMCcE341slheNog9NKB8zU7a+W0KuQNAP6wpbWPJtHmKKR5z94eO93RnCeQ6uv/5UzzYfHjli7X/XWdHPZPz/iauXrwt44zAujg3mmlUB4HQEz/lG/bY/TyIkhMVkanDbSteA/Oi8LQQB3qrwRA72j4nLeHbeoghcYMfxesaZz/3gFYgW8ftcO9L9GMJI2XYDc2/ILnOg7IRTVp4Xq7f6bOcTlkqciPGt4iK1e2DRWkDxcDyCDM63O8kBs/oPZpc7mOB6IoeRBR/t22sbCGuIiqF/r1ZnLJE0YNqYwX9dsGGZy2BJvOBxxuJukgRsIdseEsQkGaKl6jkaiz79p0M3eRRoHFR8SUxTXlzdXF+8Z9cZJeKIOXtGofJ2rRiK3bJ3QU9TNYqqT/uGImx50ZbaG4zqkUOhsPHFEwzS9KpXTVCmB/TBkaxFjjookU74EBVCyQLPFJIW68Wq7tnhbun8X/mB8dpqRKM+iH/AWZxbUwmPDOUrPaMpMS+1iidfjUc8UcKWcj/dcoFvZPzDx3H6tm1Mt5qS+O81AsrSXhStFqk4y45xoJwbdFhxv3GkRxhDw7JRHTjDihKa40FiSz6Aowih4Kswt63IlqoYECNz8IM5YAhzqMNXqcBo7Z1X4MAJD8KPrj1whpzRwllQnIcvK/5ngXtFTshMnhwtSmrlhnBp4M6eVxuxvO7AnZPbiIkuBTbj/rvb8jQtT/0EcAEZl1iydj+vnH2zKhTWDTEf1/PGYUSkYHV2T8d8j4EY+h0hPB3EqzwIDcvaZQw/8YLn1xc4E8OmAneY+DQSYfcQFXQLhOMRuaU4iFyCQH9bz025Dkw+10bqrxSu4+WNtFD4RDYWnNzPPX0iiS+lzwIKBfLZNUVzc73gGxyvHVTT3d2v4uaBhMsz8U09fwawXfQcecm5RbQUvnympvg1uxgJWTCx5Vu7Fkjsw3Qp1g3OxkA7ieUtRjE7N2efIAsetH/m1cIJ4i/4oJnvOJQtvHy4YdByibReyfHHr6DOZ8mnl732YcRP1QimCuhbMAU8rMjT860i5cqKaIW18WXCrXA1oGVsv9NRB8ROjSpj7urbkvbyZR+Z9FIEwEQ08exVKmm/KaeedaMwVf5AKO3n6xQ+VgyBFc0DWMpF+DrBkiOD8qi/3cDgu4HFYYSnEk9w2jlIJopXdQuVmkm8xmxIopoNfZjcHNtyae1QsOLi6czDL/d9RalXrA7gKJnQ0kA4BSHAlFTel0rOnBExe8WQ8/0mf1cH5Pd4avih4YnuBAo96J48APQOYfBSqNrjvofIr1RHaoJzG+1nWKfG8ixdKifk+4SVv4PCJqIObUtt1Lq950MUu9DBEPs45ryZTy160IyOgx0ty2A/ipId0Fal+YfY2buZ0LfFQ7jVrynzi+2ZVQNPNYQ5F3+t+beMBFznJFz6/74ztI20SPrxrEd8ENpMVzJkHrz5tTBpt3YmXqJTlwBQHTu9ZUftOPqSHEX/5YFv3hhLHYs5qWS15dgltK6LyvGrr3ORa6Fz/fburVG3+X1w7qgS0IEQ9i0N3hbvr6+Lo5N8746iYzF1CMm78O6q4fGTAMHccuENLXnmA+WsyGLtuRi5d+FJclj+YcsuuCEehdPIqy25Ef/vHj2d9dXRN0kRGOX+9vqBh4hj9eWS4Xw+zONtfbSfvBongCQhgAkHHcT4zHjC5lVP2vu5TMns1TABnweFQer9fyd7hMWXKiITn0bGei5h9+e0K5SePX2BVC/yUVTJcWu/E9awBgG21Xd/7JO9Aye6ajtee7imTk0MX8/UvkU8qNNvA06wWSAJzTTFsn8QBZgyWeBObwk6M86otl8cHeoFIXF52+hKwLYgACPrXggoe3v/gAPoNXsQzexdLJJhGS2MHAzIq6ZBJ5y/3cvyj810ogxBKy6qM0sFA1LiDZQCVmj1R7QK/sfgva5svGOWs9lVqrk23lC2zDJpgPt2GDE4RZFgCxskjj1yI3Iwa71m87zR80iexjeUuYoA5/qAJNQBmcE9wTQlI7xO00LsyLly0xoZpQ/LXfHVYf7xNbCFaVjyVvYmTfUAZIUOyVm2+bf0LFn4HnWc7aKlyFq/WSFLq/5zwMQ6opQl+d0mkjKT5n1hPEvEztv7ebLympZFdLJsGE07U82pH1QcxcEN7h/9R+pUBhdeoZIqc4Vom68y2jSBWJmP0CS2Ue8rpC9EfSbLjrOdeLyQElWNKlKnw1P9b4kV4eIWVu3cC6L0SCxt5xJOWbkt8D8RWj0NCP3OzMYrOCVaeGyCA+w3qBU0pq3UKM1H97euTPdp6iRHmSYy6EwsbHHH7th4NYHiiqy4KztZy5UBb7KmxAsd55f9bBJDkvOx1ikjnUxUp9w4dzV325Ym8QCA4vZwXmVuG5gUh2ncRZy6GHMwEZc9grtNSwBPBMUDS/+/0VbEdAd/vo3bJueXFKFCqaSNph0istvf9OOHvHsONOKNlbTO3fMXTtcmXzd2c/KwEl6odYKMTRq3wj2zkWAHO58aAq5XKrkGl21dRHfn1xoS7Vnlger6NpfDYi98GCYRZHSFzOYxaKTlxJ9qfc2sB5+d6x7Fl09a6hSZBiVKxDKvig+H0JhNkCz+px2g01+4fOD4TeFqWdP+MDchiCEBzkBtN3DQmOjM1suT4Q2h1hoK1JzUCFk2fqMVTsjEjXksPft+9mhpw/4RJBnE72RfCe8YIFE9H/2G+C/Rag3Cn8ParV0+llGHdtorpMhRxETLxLgDvKRC5brz4KVN71Iwl0sMjGpnxwHleDgV6AB8hiHAAzv903afb/keH3UHRS1kANSy6EFMdUC7JaUvKsl/BoBPyal5EqlWUolET7ef+r4zrjWh9MqaVWFaHFUOfbyA/MwQax+4mJPrGby7wdnA6gTImrsI7KYIMlbBjBLHW4FpMPz/C3gbnzwyc/J5T9TaQvPPndfxUD3T3IDhLLYSZEv7Qb8hUVrtAvTHine3PopIDiHOGuD5+zKIpBcc1qpq+/DIblq59bjjwpe93KCVHydtrteFJsmVp/z+iAfI6h4Av4hGYP3s5raV9fPlPYKQ4SgKqPdf1TdG/FgjUkIa/zKBnNotFMjbn50/84IP8iq+dn8IZwOALciq376XLE2ecLZSHoX5rRz98p6dbq5dU7O7FNPRXxLXvS8W43mpEaUUZbXmJq1XOxM/UerRe4HA4ag7lqanzWuUwu2Xzzp8ZBTxrxMHL+A789oA8vk37zEgBXwa5X7402HVCykeh5lkO+4wUSlekCV1RVf+XJoj98i3glYdSdQLX/l6PcnyQlOY9ec5fXBEiMcAWpyUEg/bkDjv+gOWAdGfV5tL1sS1dUXiHCD05Yguz1OtnNh/fdhCnFvjTdRhWs87o3mdrjLxc64ns+0/4F7XM/SDjcjYtXJUE9kiBhQUx+oMhejXkOUaryZ2D6Cy1/T6BYeef7fgUx39ON7dZOfNE3KtfuATnpaCcMeBvCn3+8oG1npiMRZ8g6cnTXW9K0ZGdgqFV5C0F0WkqFJnKwnGHVQZ5QbFFcb1GN5c/CUNXDwk2JRnb5YZd+7mX+G8K0dmPP3iJTQrbAsjFYduZEjd3NQK7vl6vv6cBzaqoKeLO0+Yt6uuKywBaEU9HsmRCYe5OR7NE7BnWUSJxf07eaUcEXXe4znknZtI5NloXoD3hJvolSLkfcw+UI/BV5KsnXPRo+5mXWnsv4bwTTa+Z5r6cEd0X5evewXQ618iwrlAfTAl9tMX9FFVVkYrJsPgO8r3SMQDEn4LRhiwn+zyvrU6QVhwS+cjkzK5tXK8Sz9osS3fpBQMHE9gUR9xlzl0okVxBPQRlIBkG0ClDAIYKYqZX46t6ijcE5kj+HamQC0gomzNzaZZ88HDjxt/7Q16oMUxO7uAtUdF4/8cLnmXT+2JB0FH8iOs7mjElGl3pOIVQpzb2mILJjeIWo0Pa4lkapeP0bUmS9K60DU3I4WYFobg+RndgUb0DTdDbf6mxP3KFVQVgkRF8bO2sVXX0GX+zLFlRpGjVN/51j1QF8OcbHL76ll4ijx63HwO+2YOMHRfoe2MVBV9+6ZSwKUfrFW96A+yyBDIQ5ncZvjc/YU+j8uX4q4bXSVHHO7Ru+m7rvsNz1Xnl6R18XX5uP5iiSpyj7ImdDpl3cf7TVZUwM+1w9GAb7+xQWjAzHgQi9j3pwNvA3HdvWXcKlZ9c0p8C5cIBFlpUT3HW5x/4/8Jwgq04RCjPiYDFhiy73RjsoyTXVbAw7HjbemWynLvm9ScHMG7tEoNQ/lkoL7jAUbyjX2bqPERh33NDxihX7k8ZLnlcx4ZhDLRuGhw/9qjSWFgFOEuAj1bekXIWFSUV6HQgMn1XtSJmqIkfw0KK9fFCYDzemyHhkPFHgzniqep8qbWmh9QpY1ccUBnGoomdXk1Gom5Xej6Qf/2w95VUQsDQwgB79FI08hfFDZppSR0b7N4pBVEZ2OTEFSVIjapdcW9IvigeBC2O7bdbFzhLTpGA3Jo4KEEfSz3w6awd6m1GIQtgoRQ3tQaPIZ7JNYpdWZXpGtTu11s+IqGJwtRX5KE7V6OtBD4RiejZ5mNSWUGvFrPC53mcGsNrod6cW0MKuUNorU1FZ6XAP4cRDuq/WkYUQaq+cwRpQ15bhuovg8BBXN1l3EaYiMeJVp5YKoLUxhJiQCUnCd8fksT77gNNxYSAVlnWoKXn1I+Mj0GOlV3Md8UN1wC+9JO+GUGArTezdUeKzFiYAXNBFmKhVMNdNnw1tsF//rld/JV8ZlWgGJ4SOgNPWME9hphSIeY36qQc50APZSvAWKDd5iyR5FzYUxz8J/0Tg5IxvBcW6C3qFaMFHA+q05fFuyeNA0TKzTD1dUejN5MAWDqDmvZnZ9AMPZW/P+gcjF0/QT4x2foYh2VTIEUM5J77GtV7A6Wi2rzZ2PxbHLORxHFicOFfI9Nz6oKcMAtmgCwaE4b5Lu/SlaWls+bLfojlRvRsPGwXOU57eeMV0mpmQpeFkkwYeDsoQN6ZqZ9DmMbP3M9uPcUlxAtK/uZmOYHdvHRIP1667WAHawLlHdNINBu4u9t2Q5A/ByMrj1JDVwHXuDN1bXN9u4XOn4dgyykGrpG8NAZpeSkeBbdzyzzay/mLn+m1UzuEqi9bMIPe3sMUj5hEr92oCrAUdtm+QOzx0yl8Drm44kul9W5TXF7FTNLm0omlXnw7dRueBXSfOSgwyjZ1iHZquVkG/Zba0GaGX/vyg0KZUWSCPdQYaPaR/s2/RHgCwaEAzDjuZRZffPjsDwmwanhIe33v/QUPHHack3pP0vc37ePq4O3lT2yMq8wGIYGKWpcw+rxr22s+wIy/P/Or2fByjGX2oupv1bEzrH6/12mf4Dezvrh7EQYUrtyxw9vFpEOO8lCM/gFjrThUNrPjIYvgTK9krcXM6pBlmyE2ST8rxO+qDLuc+dIQpwHQceGOD3bHRU4xYRvGdZags6kLnImEIcsBVoWF25+MtixivG3HoaJ1gVXW0GahaCki+jCNDtyNRuzoJz2ta3rauEw0MN1n3jQI/Flgu/7BkW4aPw2NrJVh/i1j7FsfzflyzbzXF0LiR+FKsn7Ek9wLM6+nt3GO5ltlNeZWo4+kj5hjz+F+3J9XuRzVV8qt0xs3PIIGpFT5JDixm+M+XMxlOjiSkFP695nPQ3oNuv/7o3+N/2HMfjZcQkPeMipqP41ShtNd/pjFbMdOyky1/ZcVQLMoJ6n02lhwLUCMt5DbSRvS/WcDKUYvEr4kU5VPAdoV0/a9o4k9/Y7I6ltOHN8/G0t1Rzq5NamVBvUtlHxWBywXKx5we+puNdrkCOfM+qN3jHRQVepHTJoGdoLM3WHIZdgqsRub24Vp2gdDt1oELuE48UGAJOtwdLQtnHmSsVcGLDQOipy18Bs9gyMOge+Ya5fz8vZoFe6PdIeyADrZm56mQ1eFfxtZY/cBzNCoxsLwUgXkXYuMUz2uXFjrJDFH7zhRwjqO4qqWyBI4pFSskjjHqi8VF3E0XBRPDQl/pQ7jq9EQabed5eOSvgYVZ4e5wTZaNZggQGFAPpcuf4Cb5guoIdh32T1fs1FZA4QmkHM/qJiFqwr9ETlb66KA0kSD8XFEUZt28awi/Jg/qDHrU7y1irhAPKej4SHkQAkYDIz2TyonBiMiW9JqZRBwqapdiLUGV7fXdet9+D9EomTuHoHA8lTZ46XcSfhgqTN9j4NjuEAozCRpfBTH/ny5qulscwcJkXc7y9cemPOldGoYP6INClP3c1NRaYSn2QK2zPGIR9qlckW7PzPTv7YnN06RDy+P9ntQI5p5ZTpaluRuDBlQdPlR2DR00Td7TQRd1vZz/M2avQwk2oro3CzxkWthodNGLgDHPZM5g4GtL0isi5TFhZL/LECrZ4kbU1LgtKOYJpU7GbPbg9rd9uoEnotPYAHXMMEBRJSxZZhtv4xVpWVFS3F7tURJJZLqaIBZxaxKG3dz4uWU2ZAb7UR6sPB9IqBV/otL/kPHDES3WZQRj6GtKVoogldyPzECFnfhwuzOyCQ8dLsrNuWYOnqG/qeejFOaEt6vmDYKLSt9Xhmf66w0sqHhmZi0E/gDBci9Ej2zwnK4trfbEb/yeqVcXdcPUjoNjQqEZkAA7q3PWAQ63z4+lsHvIWxWfJNDihNuvzFC4nrwGj7bXvc9vCrvTGbHlYxWhr8Ie2RU+oC3k2md2BukC1GuF13TEMS9uaEq3YR6cZIldkxsCiZaEKo0NCkC0eIVY71SgreSiDG5g4qXfPOCoIsHkvtLVfIOGDskSc6QJd3a2d8JGzwvvsRirDd+uXDHFVxTD/6vQVj6doee+aC1XqGZHiOFVg+PknYebvnz6F1oTm7kVYIoy3TgfvvivAwHKCHNTlGsThFoRRxjnW1tBpBz/fL5A67NLpfj27gWp8N2Bk9ali//YWI9y3PRU/aUZrthJgqX1opmpwDM5KhqNC2nqd2puHIEW2kjJQGsl/P3UbrAZVhbLZy029z4UN/1xPq9skuAwxjjez6E3Q1nkt/S78J6N7LP4TO4FVg0Iy9MSxqUJVOA9LJctBNtf5Ncn7tHCUvLPY4eIrvpAWRi0Fji0IKpnxoYUlx6GYs/prz/WBjAr9v/4Z7IqZ9U3zB7b4bAPLO9961AIFd2hvOzJvZ2G0ifNoGxQFH7nfg1j7FflnQ5CCnbuiAdco16b+oTFxov0ECcf1CwhCuH0UsvwZNJ7Fj1l+yeZhsF5Wlxf+m9DkeAkmt5GsNH0lduf9cEAICHgMnu2Q2+R4jcItR95gczpK9Sco5LsXA73ZPWFALwXSDFsVjMsV3yx+xHi8i7O2dnFzsIDEx2DKIegBpjiMoajn7TXifPXMUe5uAz+87soK9Ebj7/NofiZqrKrZtnCtsoIN325trjeNSZehcgC5N5MKc6iEM7Cu1yRtFpqB6n7GcPXlGe2ipa0+FddJ75DLzj6qY8bcYqoqGY9W4Nhg3kxRRUU904E+JTE9yWt/LZolBCXlPn/AGIHvBEpjqTZO2Cc9Q1uIPxohelz1BAMqQ5AZ2OdrmjzxTyvZf/A3iLbEf2zo3fS7Dikn3w4iFKXQfkeaGy2saGhsK3O6AAxv5vhR6/GAn6YOzW7BiXADflYfpXJbNAc+RyCCHyczfVG8aNeL51mqT18o2J2hsapKXaUNpzLStnD3bBrIdeBxgO70fERzwgcjrOulx3U6OfWn/IqI8ZU3xkMmIVoDEKzPx6axuCjFw9pItlOgV/bzWJTCUxm7sbO4rQw0e49kEiu9NeBvLgYTkSul9N4RgB2p1jPlOHHLH6LX6Bjv86+lY7EPxOUhpRcJonGGbp72YiRUmruyUEcTYRKNeRRw1W51j8/3pGBjNuYK7kg5MnYIqBkEG0onshdT5wxaLe4SP6fcOoa9PzPz2CWCVYY5p39auerjuf/kefFTQCkK0+PVRpNmy71c8M5caQFNohDM/gULGPcInVccEwbNpVbT18biASIDoiTZpKto5Blzshi0aN1q3j32r/T7+ZTTlyanY8p17mTcNuNeDYWyBeZm1xsjfqcCkOPcqrSNqrN49mpz7T1/MH7PYAk/KXTRAJBFefBX1avZKK+dRLoI48BvtGYEpj8dIUWWAyR+bxmEd8wF1YjDAIjL6qs8yracTn/qfKlNY7SQ6OFenNa4rYDrZmT4k+4uqBxdHJTgZkDVMURx7ZsWo/+yhXTH3TyyhWOY3iRpzOvD3awx+mMwiTxh3qXXp0l+rAl5sZxEJgVuCgMdofUSBK5LIT1lPGeYav+WaWoxrcA4iEH8vITrDXMxwT8MEc+6QTnFh+c30b3VxpyMfgQPbY9oW+YuG0O08kA43KPnE4XVss5GI+7Q9N1FCa4X3DqzSIPjGUcO1W0EndcNvhxhxk1feiaKKS/pXrEeNXyNgAyhmGo9ch0rj5hECKACuhEcXX0YFhyncQn6TXYR0wiGAS/H0/DF6EQKnD1CNa4sz4YYzwC/SWBEEVXy5R0zAShXrI5ireqo3rJ1SZ+CevX8FBBXw4EmNSuLE6UZQARKpfwQ4PI++K66xONdWps4H1NUS1bRGXwPtmChVvaQkajztFPItcHH0Awc35uFQTyCqzvHm/0C3Q4gjhOPR1bUb0RvUmLcGNifaO74eUryFY4TbVrBRiDbLFumZpiQnNPI3OLYjF94j7rtJbVMC/J5Q6gDaymC8MAF6b9A/QvKgSOPUjgzrGh7dAWasVqvgc1SdwNebVkMaxYmQyWasfNyDOdstGLz18Dl0Hd1YiCOQIOBZO4hcQNni2V9cn7dFAlvfoLtK2Vr9Nz6k1prQG+KdXEKWIIJhLZHc7ww4DZpNb2zhzC6Y+Sm9jg4S1wv6WY7jdqY5F9x/7K5geiDgQuOuGOecWoqbsSqCz8ShTiFZ14W+r5BmfwsKH68LpZDSRbnPkDzmQTmFOuvqOHHDHs9ZBQml7mObSfvWhjIpxVPJK2b7kgq6K7bYTjV0bA2dJqo1c5q8CnSWI5BOfM89HHTv3geIq44VBjz4tYOrDP4hunmBcsSvcFu01xNA0KMgfgQ0toTwxAlMeeVUZkhTMmtV0IZiFsUACvz0Bvh1EEFsiYjzrDHSr5Xf8oLzpGXiaxdNGYJLRcjXkc0iaPs4JyqKgDLVvFk1LPzKitYFgpxsn/gnmpgqZLpWnkxZf97vUkLJAfxhiNDGDlJnHRU1sIFSrDKnqd2bwQX0F875m1n870eBOWv0IbHWWVOJj8J7ssZMyjS04tGeRMPcWUBKX32O17d+hHgsAfQt8/OHCnDjKO1rkx2J/nV9Fvht2GdtIFmnpVCFqYcBY1dX1rQ9GTntmTlNRcv5iGJSu+aARM0iBAQF+V1wCXezhmbNHrZnt/VNiNFxKRrDDjtPX9fCgEE3Eju5rp2fMp/hwenwYEG6OiW7hiwPJQ+0/nfD3rxCVQITUVL5KJ91k/9KNXJ2UZQ7jq06SeN1CyDrxnOo72i66voAGZ5gJ8Y4tNFPQ7eFqRE6uHMxHv6CPVyo8BWckTvst3CGrBj8D82B1ARWF63Y1yQ3lE2ay7KmUXM75bpX71INjXDhFQpjczjyPwtcnv5RcngfvDAuDhJXMRb10cBT9+Q1HqymJqGFuyvXsosc8rDCnskXT0PZLz0PPybadGhHnLUgwKPHtxinWUqn80skL8B9SEzS/QUIREhth4kT8dj609+9BiY1OdfYnT0u/QRGqn7jY4ciLU2SGlxZRpihe7nFuH8drW6Kxvsh51Q61RILzTPiz/H5yz/U57nzexlnFurWDKV5yqaDLvRS2du+tLKerTP0UdtQnfIC/mloOJ0keZyPoEpXAx0Aag5LDRUo8t3Kz6SyQhGvqnOxzt5W0XDt4g9qN+UeWO/F+ozXVeWtwo4Adgyq+vV98ujG/5Tqm2ZBZA6koZ6lbjOGhu3Fmk6g1Lu6L/pqi8gu3hJ4bL35/vWhGa9XMWHfwBhelhRY7x1rP58dmsjTHvoHsdqqMnO2jeNLAfVccfVHQkJNgAEFu1DO72jZPgTx1wCBcbNUsl+ErZMSwGCBpXnXMycc/36GIkpQjJruNvpyvSLRxnrB24n6GXUVV1RuZ/6MKfowziCD2mEbXE7Xub5nlDS2c9qtkvFdxqW03hlI9GyfcsID+TZv4NRdI2fzQEr7YhCNLduTsXKaMkeY4jIgjQhYtOuGwHGhAo8pA9uaE9o0hBQpYLarZzkdbKYsaCBTj1hBFxOMoAP+rPS0HLlI6VEUAChd8l4InmtvuseGVcFDqVlkJ8YLF6nAg7ROuKv6gO3kcCD/86FgrYJekMBlFyKrPP5ZnJrQ5mZmoKJd5wJBjrX1BWNfGDcispGtVBruxj7Bf/h31oq07enkkCRO5V8DDYSh6DyAk/LMfgJqOLPRNPWzJbozdvVt8sASbQZvt/YdTb2y8p7jSNzA8WjKx0afttp0pcWzaF9YSSGIROxBm0ss294roMhLKn4slX+yuTbrnxJiBG40CZVpzmuvQHAP7i+hqTk/x7JDFkT6zAtKeAUqc0/eg1RfhSI2ZTCpCdtCbQJdrk5ucEnvVmAzyRamNkSmJQYT2qHWw89Xg8Ynq3S+sTBtfA6DJY592eLxHe8v+RdWGfJHAMLcujvOO6DAKroSC54jWyAQUBzM4WH7m0I8rk/ffP00WNvI2TKgie8qUyWxvq2jNuIYNTTOQqmKo2dsYsGlV8KXSHEGzlvhAUkF3FUCq2hBs5h/K5fm49Uny5PT9dbrdZ6En0CP/vTKBVkfJPHMnYMphY987jw9wyGy4vOiABu2kB4w1pG5mLJXHWs024ay/9okrtEMpHMfZ51/q1OfbTit8ofV3txCvOYz24H6m/nUkkdX31yGfvx/tMbX4TBEnfEnQCzmB3kAMfZtjZFOI/s/XGke8GK9bvz6v7sHWfUaEEaGqNCl8b6ZWJpsdX0xt+PxnaLOUetNzpBPc321IoYefNKtqiUyY7yfPvgI8VLFmuAE44bTTBjNdZ7qvt6GmqdwXQDjI7vKKZ6jSZOaNk7mrqWDNNGdACs3T5t7TsRMO5MEx7jLa2/vwQN9su31dHw8H29UJ5KDiC+cXQfYqipWW6UF4XXDzWFCI0MB+175U+nWt4yuAuCL7Km+O45X8UGeUvMPl/l/fUaxrxhpZsaxDZbIUBOqup6Br0a9agpLJx1LspRPsvHhRD3W5bTf9eHT8Y5Sp7FBQbfei0BrT6VqEUddOJximCtWGdD+/GRWJ4IBRhhcrKHA6pP1U0LJZiJjl+Um3PrEtjkxoQhs8IccfsFTesM3zIQ4hqd1z1x6g3UoAlAC31FQOeA5DiZaLSB7UbwQdMLahsHqa/qAZkRpCRA8U3ULKBZPrsYq4I0JSuN3idY4c6lS4bmJNdpU0F43VW0M7YN7Ub4k/B3g2uMVFEljvR36Q08pI8bL16Uuz9211BZ9lY1rwfaf7FUjILTO0jL3u5BAjeISkDgmKJ80t01azZh8B/KKP8cn85NAWi3ZuroJWrqIkB/ckopqRLs6YGeP0ICpSFJ+DPq5pNVM2BcwmEHZVTvaj6H1yDKipay2NC2piPmi3EdJGrLpf44pVxfum08sxnnu/7R5O6uyTz+Y+rAEnCmzZLc5BlalYzJSoisk81YnugfVyZQULSHQjCHCWpi72LcZ0XP98eIdRCgBPZywdWn9x1g5Ue3keeqnKRN9eFhfyUxT3ELBlcVWtQyXE2RvbERFNIPAsLMsyAwXU29IaP2R6zwSXb8ypH4+AA9Fw3FZnYHb7XT+1MWhYoll105m2Nj59/Wla6O/XS8r36sRYzVpFoGZ2t9yyi49jrZWdYlwJfZ0AI27iJzvxEIXTvD+Db32QUgt2ORE4TRPnbulBDNmI3Thzb46s2DyRtsHs0xVWljpLBSeeyz55c2XVy0FN3uDlSPKy3DRtTmzw4U1j8H/nFHHJMpqzsTIMBw+a39wgmGN6k+I6g3mGKnPFxXi79FFgjwoowyzB3388KCZgPh2brFOgLrjxOJ4DDo2IoiR3XYs7JpX+q4H6AQedIatMQMQ1Mj1zkIn1i0pzsyteCPz7a06KdE1Y8g6+J8hh1b1tQAq7hlhuKjGdwqUUNg7GZYOc4Hw6X8YAKKjD/VvhT0gYFS5j5p/SLwy7WRI/xQFo126IS4n3OB8f9STGh+XV3GCvzdXOPzg1oMBqy5Cyu6YXJPuslE550HJAwDdVSIwkKnnS41UXsWXkiRV0jeh1ifd/EiJtvQWzz2q9WJw8VLF7+ybaeff5zkYIL6zXpo7PIAtvc70Lp16E98WqW60vBySwuIedw9CReorxPR3kOTqCvtr+8URz8Wa+O1eblzU4t8XLc2blTVMbO8CVuUtBkSo9DrHOPGrAuYhGYZ+cv6cde2E48RCDkp0ljUArNES4Dv95QyvNCrJWsQD+lePc7U2lvPx5ywdvRpHgi1IUSyTJQKPGRw8XJuHWwOlY/+8H6AsaSwj0Z1dBQJ+3+Xp4VpRH7E5bofcBLRF0FG1t7JKiDAuLAZHSsMGVwFojUE51bMQSswNpEPatOSNgDtkC3bUuK8NIW9BtiI7d5dR4JkGbqFswwgOmHCCuVT3wLw2qtATMrPLSdEc6gzWUAZW99Dsi6Eyv8AoUjfZU53DkxrN2JnAZjplMNxW/t8Ukh4li7XMB7WyBTAQgJOqkQtq+lpvWkVzvf3/LyQD6baJJAJhjbrLjruGjE/q3yF5Am7EyO6YVCvic8nkqHU01Kk126unbbZhr2Emrg2K0YeWZK1ArtvsnQa2CgKsUqrvROvM2D9tV1rHjV+ziyVkBjbQIibsBeU3sxA3PpLsM0hqmIs051peUg24Dx2Rv4VQ3BxJRNGAKlcBaXqSZFUKAkBt9kpguf1KmP1IRM8X8RLKmJgm0t5vU0n5wnjcKwmZeHWAQ1RanT3zQjxzlOIaP6MCDvGYe1eA78qiU0L/MnxhAbaNC4lvTfV6HEmb7J7cWxNCOkM72pmoN6K3i168Xr1FcJrmAkSMHgvXe70K35Rnoq9vET0YcAx1hjw1B/O+1rJvdXsx5NQs1gRw4LqudRzWKRoirAEVV06rk9gDuKIHQ25apNS2SAtlEVAlxDOG5zJHs/94UbVlw0bSscEOorskNL5V79IqJYB2hvzr6De2WjBoJ6G/7pvC6ulkVJnUCsfr2bqVUjWUwYPThDohqt9qMXtTa0498uHD5f6y8z0YohOE4kBtGPsm0W6XKPUM+3PS1c5s1c3TXwX16b5myLoj21BVH9+qzQO6tmAht6673Tm9Xo7W6OXoCbsihTcuV4DjvWgfy+OQlY94ykABE+tmDlNd3pMFKt62Za6W4iAvxKObvzPpbD7aP1QHcOQ5aph8/Fa5ONWu6nbye5IA/nACuzRi9LOQzCAn/CKo0F4nPSXGGysUtoyMwTCZf08hCc3oI8ptCrkydgVygh5wP69xnnf1khf1pgMqw5LKWh61IjtiYGgDxhrgkYaOcFrLQckBHkQ2IQii7F9Cd5PAekRuEOiCFytc5dL+8oRoWNodiAg8OAMveUB0RNb4FUzrKs/2HzjVxM4AnF+avuRwsPlypKsVWByejV2H7SiDYkkGO0g3Bc6m1d1r/43I9fojT2w6lSg9Rdjsu/C4oNaXDl+Rh61bZxaeY6XVspbDgdC5leP7AzxUMXb4ODplxTr+ERSMuw/eTW9jh5XxozCY9R70X14jXeYOPMuRGQaZ18kGmKFXCZfw2/BLPHzbdOwkoESpt15thquFk0pMGxGVcWjHWn0eWxZ6WrEoFHdOCr6Gby8QwlY7uDde7RiKsU+gg9Rzd1V8tFA8rI0drZpEnyTOkpqrcVUzgZ7G9oH24qGcdUOXmGL0A5NHpC47EUJKTnujL19g/8M212aFye9DTSvSethwff9fQa+7o3up685PhzaS/u8mWl2MAFruu4j/h/upnt1Y15xmGVuXwFlQA5n7h1EOBkea1K2wCwZttVB0WvvWJiJbIdQqX1QHBoKw9hN9qdONYvNbhxNdO8w+Y5+PAJi05ZIFK2NkJTzU414NYldT7nWXstLjEvbA7GRA119+rNCQs65q7N1A1FtItX8XXRHlY3o5NqIzLOL4X/kGj3JtsBsr9TtizOax4Dkke1SCmUR32iRcfa2cV6nrKPXk9HsFuGyFAe4FeAxZRfSFtW55WJolrxK0eeieN65Ozn4S2fJcAp9o/G2XFviboEKQ59Lz4n0/X+iNBbzfq18NLEaV0uFrBbkFZYN94R6AbC7ZV8qGfxD38JO3Og5Pf7P+nf2DujYGe6p/AAJ8r8NVKNEtmSUeXikF7LMAVyleDvaJRvMO0jtArE70z/2gE0Yaq9rfYYvaacDk2usEkCghqwsCdG9ba0yywZ7iA/4JyhY76TMwlZaaKe8f18t47UtYw0WgdArEyu6dvrKFYv648ECAy0uCd5WzBa8jQEZtfLwi0BlSSl2ChI6LGZe/yp6W8LcnCF5ms23bOYOTAB1y8bN16nmlUWNqBBq9fw5MMX57vfyHnJvWNnwuR00s2I+U3PfJOBFIl5fEvgT3m3q/ZRA5u64JaP/A1Cb9dSN5xPtVQRXjDXM8LhU17ov+YfvPep97C41hxNLXROvtVKrMYjAmXETzHKbYJKk5LWzrYYXkIf01z8M5s8o6gLkL0YMLcbCXLVjUPi3s1b/rdcre/luQHhGRbirj0Dk02oiAac/1AUGwEEQ3PFC6YUQCYuYaf2P4e+wxG9OA5YpqA6imClale5CBDA+kdihxLCeWcmj5i959oioGCErxAO+vP/Wuq9MTa8p5czzGhJ/NgDbkirdqyynYqKwXKCG02UThpyOUyrEG0axaI6fiqzoXgK+UYaP8Px2nNChL6irqizElcW71WjrDcP/hEBpRcSVCbfTHh23AxDDdNSWuGu+A2MxfvvQgTanmFa9TsfbjOF2DR7o33NKAibJK112X08e6nuYGxbrcGC8pnmtyyFg2G9yrLNaBCON41+qQhwAoWbpzm0g920v5Yut6QrfzDSDJZKyJTVqFVl/xbTNUoQYngDPpZYuswxHqW7a8j6ccB+azP+o7NcRh4AvTKFtwHetvRJ3v+PDpHOkUidByrr00siWk2nYg+XGZxXyP9fgzZf/H7bII3og56aT6vbhznIrxb4rU0gbXNd0zywZva6jAxjUE/+YnNQjZUTQeAMWhfXB336M85wKcAk3V7DnaK5Y7oDodspNfgrhrhLxO5QAWchGLMBU6GHgdIIpS2kt8ZHUTe87KG99BwoROX8RBmpuLqC2qUtC0TZiS3Ofh96h3pK8Lzg2YP/w2LZVE6VqRMiXJFLTCS3GHlodPNtpzyWPi7ucSYl0aPcXAxwQGSTAQOMRzSntvkHUZqqzmBeYFld5ANiJ5DdRDo5IaGs/Tr5q9ZTgE+yvyG5O6+81FwKmVerKqpeupcfHzdepNTd3tnez22ssL0Uvnkdcr5soVm/Xvr8PxzBGIecWGwyy/A29ldVjhn1tDH0f2T/OXjGa46wHhyZFOvPnLlHvHvBCzbtyY/8D7C0dNTh141zF/UBI07e2WMMuMbw0To2VXUaWJ2FqDoUijiFIO8YbbQ+T9sv52JQcpH/SEnHO8yoTuvASq3eHTNPEYzdke9HJ0ekGTii8jS/KZ25ezg09cjti7JHOzOLWNvohZB4EmLvI2KO2/Ts5IRALYhudONOa1nVB5La3txaYj1Vb6m03k22vP7Ommbo7IlAtv8w+QR7BszK7ZSf1cD/wX98m/sU6ZjpoPN+n/nFwwIdrK3fmrgYThg3mgttxQ3CUAku2cmkEFrmVZE+Up3DFijhkygGydcUsFGaOiBGFGKR5RyEK/pHbTSQlZh6R2YUA9zagxmCkkXnVQp9KWDfc/IVTEXkXivB/Kqv6Lbst8mxBU+xG/ZjPpl9JC3ojYpJhQm4RO9SA/ulNIcrHmJh29u/ElnDTmLyVvcnCQZvlxlCHoxScy7iMdG7juu77cFdhQ2YvmXTfWNtq0UvEo0fH6ICI16HANLbWlENc7mfEJ05gcyWmU5dp34sz9w7fMu1V8V9Zlcvz86+o3JfagnJHer17cV7hIutBEekzxIYTaMvAecra+slmctUZRnqBzQfUKG0Keur4TXq28n1nzhdUxtpT7H5AEs0At37MYOIeVfHzUd0IrnU+PURkLXB00zQ3O7cnXHfuI/wORIsnqSNJk+WfEDd2oKnTsh2H8u5GTLuEEdVRFMcMlGjZ8cKlDC0pJ1oScO9MuGrJt9jng9EqdSTjO4xbuEIsFKme3Ze3uGmv5Q8kwRUuO1I9/TlwNwmqaJavm75QheZhTpD8BOWXR5B6dX0G72rmR2sJb6AufRFxG3s6ZH3fbHxJnPPG/lfzIU+CxbhlurcG2AUSp+vnJ7sbhOK1nZIryj0BcKvs4O6LVR8zChlSDdkwg/87Lrv/xL43aCtlaxtidi2OE28plj7bFW0r08vpNwNePBzQccgEimePDMu8knGMWnnuH3skZF3FNt9y7zvHHGeEgjOwewWwakL5AGPlDTeY52fdxk4N06JxyKrByqGZysxmlxkESFiNK1Hcjd+Ig0npnY6E25AKMa/ZzAH7vZKxK3VrDeEhtb25CxT92WEQddtYPslQB4rx4qyet/hc8bfEsksJPE/Qv0IR7f5U+aorpU45VIOheELG9DEsRs2dViOjWsht5g7VQG0dYXq4n3zT+xgdThaN5xtKnU70r/zqqKte5d/bzpyzq67FszevzkWKGa663EyNqL3IAqIchhgyYi1Dk5GwXYebF9w6sbRoaKkpQOGspOmxrJ4Ru1lvAsi6LILjR29nwZyzr7lQ92SeH6EapzDFkgG/lbKNKOFC0FbYUm/28zckGG1iV8Ws323XhF7MvYKpkS3gnQ+nHxpeSD0GLEV9XtQTCEZQ9GP5XMQTaYD/P6XNY4LOIbsC5Eop6aXlS2ReUbj8z+JRnyvJ9SjsnAraJy4AfdRgWtTryhDDmZE9p90F+Qhy3WMrHuCZVIt0Tru4/Syia/chlFPLCWlNH77QcbhQ2CL4NGoJjkbw2YlkVcByh1yTNUaUHrt4TFPjPoo1iwW1ZnqDRpy5cnDdZBjXL5LQbOqt0TrNDs+d5JxqJ9kRs1q1+paqppUsWFS3zYbNjPH3j+tF0PrV1AQdvjtE7zbkL1LIsEZpN4JEDB3PsJlTP3HnC2PEam3ruydcA8EYhneFpnjbs/oFd0CWTepKLUes+Sgd0NIRrYFD2pXTNAolln8s+BFfjInRSciAusgVajtT8Dn/5Bn6kvCa82LYhW62tTUZN3hZ5CaesnmG2o0FjkbbxGB5Knrqe9W5K4EjNaWdNLEk719vjq1nMZLpfND5g9KFkGqIHhwKtYlxQCysRMhvO3YLje6HH3wH8K+VeVon699Ty9kM3oTPpWM34Jmu7qoGNaaq64/k3PuGMTB6Nb48RD03M1gWlbwmMCQCH4TZAly5/EIz37ZLmIk0C5to0EfDLUE46+YkLKEZ9GvYVfqEHI6qo5fA4z6bKJYql4wAkihu7WuAplmQASeJg4Rkm9qm4Dm9eGbpXN/wKKkJH02ViPBhgPEQDdmZDkS/AVTGwLTYntM13Ve/6rHNQKg1NM+07mmcVBwr3WkMHWwhUFQkHlGYBvOQcn/heafOkhmFjwMfc4aC+xExVyaYGs/c29ziNEjQZoMyeUxkTi+mOJnYyxT8i9ARl7ZLmd2/Es/eDgNSUS+CgwrxIE1GJqcIOVz5JThhm/tkgHujIJgSUKJg5MKWK9Vapgke7HmLn11PWrK0HQmtzKXatZDnRcF6IH0aS/RuFvP/KZnNRMVpcCKyc1AbFQk6dGuFdULcmM6z0oCVVerXCoLTHJQMKknXWNcuLvFnjXGD+Y8jA3LfbdhdvTc3Lzj3lhd76b3TrQ7PUfplKmvYMfn+1eMWho7A8P7uKdim+3JTRBMilAigS6CUo4GSB3sUa+vf1ir5pVF6Oo3Lx3vdof/8iLySkMSW7pjayiz8SgFa8bVvnOMfwFAtnY6J3wDfsU8slirg0fM5uJjKYH88UoDNOH7r50dSzLcY3cAz/tLLdRu06+L8ws9zVNRRSGsx39QmiP5aIOyYheWZhIZQE2B2fanVJPXxU+KGN0VuJZgp/bpnYg1BmC0x9Q27Zqude3xugChiT/J196B0WL73oXqD9rL6qzZQVxoCcPsrbux082c5gap0yXDGUO/PUU+UEXRfw881jrvl9wcwUyuMehv/I8YfIrL41AKmDnaDrAx7u19+9plv9iq6mFgdbAB7JDV7W4JwFcbbpvdMXYoHNIc2Z4eM2D601BoIBxQx2RA/o+do3gtHLMydUW09vE6CkIvllQPjHHKDnSF7/T9jWBr2nofAtYye8kzxqYJkJC1zUbpARMA7vbzbl45EeUnt5EYAUFTHOput4t/To/UwV+LwBygE27FLWRum9jVEONScokBuoow+bvDUjLrP8fwqcg7+/sAR/bHYj/xtUrjDGBxVGllRBSRPtlJubKFNu0fkXAN3tSmBWxSPftRE5O+BONyz0LLIQG+p4IWdWpkqC/ct5f3S1iPsF8OXatMnpsG6DLIrnd1F5yxNCMLoegNAurOa3xHLPmKtb+PJ/izyWJpeh0NdZWv7f/Jy6HDnXqHtwi7GkEONee5VIduGoeWpJmeCTUDM0fDnK7/70H9XeilqNuXtXXAAWXIKBBmMdRuWS7kZqYIn1/h/tDvELFsBummvW3F07XANfWYUuowfJn4JuO6nyl65fHh+94mFh7Pim03BuoYpCf6Ly7YSa7psN/NEIveeQXZCNldSu3LkuiJVcsj2YTa6xs1Qj2wWnRfYBtGz6+JSycKJ9Yz+4EjQ3lmlvPdXsPFyu8mSNsMYt8SU5PSv7nWTzRdf+adLIhYxiU5/IPOnzIv9etGOPSR41yNZxyirwtnVOxqzrXl19oW4OSx3mQDydONIJVIRNxyjn4FrxfRaFPj9HvdJ2a+fImmLFUoAky41sVWWMY3ewPLepdNr7a5exwF65V/GAwqkF9VDmq/YjWxB89uKQMfQpXNPCNHjCCaiPBWlFopbdfe3HsQ++gD+CpUpvts32jl+Qo9Vb56o8Xg1/v+GMX2q8ILllILQSM2DGp2FCp8TKK1FA3pDxZhd0qBTlz3/LfCHe9tkrCwWDWogYkyIAhVWudBYpHw52o7awwdW7af1sHP5ChKoTNpAJkl8yCt9Mp51SZ+05sEuy8tk8Werxf2WsJlNR7kov/8eg58aWpDYNDFMQK7e+2tzgvozYL3mbcavWy8FJq8lYgqi46UMEKiAIUplM55nC8dzqwLvoH8fJcNak8TgljSsdCRRYwYZAGBNFqTY3tKfawfZ48KGFPlX0uuegIgK0uY8UX06SrnUtyRCCz+6vPYuW759r+ai1G9SNgMVY6mZJ5VZGSnQDW/yUF0k6v/qu9zW0fgwi0XeS248LSrbO+RbBQY3ggWjRZls/cFVRySi2DO6cqx3fDMBXFXT6PPXkEPYOjVV97A2bhmsRmTfjxML06CHmXD6zovyh6rY6woZqQEdfXumFrcDwqOmcpwdnskq7qoFRgO7ZpJkL3Es7E85sEaXE/td3OmTsfYm15lZFO2tuDjeqcvoKs33HzxfI4RmxgB2zImUk4+u88o461oVqFH0qVUr2A3eFhqzcGzXiQ3K5Qdt6/H3MbuSZ46Tobl5eJkQRDBLgYDJV7sOhdNwIjT5zkOH/p5EDXCOSG6BPvMYs5CM6DeesnRTfJRD7zfPHfdQuYw2roPk4mJarxeCQk2Zc4aG/VwcvBvfkXcHOPmlxin3YCOppnjPJkVdKl/gztazcGl6H697t6m5JMakKjNeVUP+QT7F738yRbMIlO0/co2Vdw7EmvCTkUw0IsL2VdTAZXm5tZ4z1fYFPWZcABqg+3cjbUwzrovlOGI6ppw4NEoLd9gX6hmMiysgPXOjWikTlQxv7r6BttLyUrB7N3On4J/9XzdTcT06tyf7wJptAPoM7comgR0j98Y/0Fvqz+GbnsBLBwcHNcpTyZB6yR8NlgPOfDpn4Jae2dE26NVFOHXHGMkBN3iIGI2heuAEmPThfPCJxK2uJSNwSWdEeUWNRgmUrY8ZL3+2fxquvD8u+t3rEEw6+wXrioRgLB6qZJVNe188a5gCk/BT1ms+fNCr///FbKFxGtfv5WH18gpKDVFpmo3Jpjnl9RMAu6SgrGJMiS733F161sQzhqaBOdT6h/hVt5rAtnXnndYxb7NTAP8vblmVjMayz1VDSDyfJmq4M+k17QFmm/wd+DrZ+pu/NDTkm1r3bsW+PMWNg4Q1sb654IcpZJXs1apNVvvm9ATh0w6Bd7RgpVVLVTHzOL9R3BoHwNzGr+ytoJ5gf+VlRTMSfEK6xvgQGDhBYTVL/uesPWf87g2rz6us0ayGakcArx+9lw+SxjpIOyjj/jB0QHaDhgPqzVTpqv9WfBbHa8iqRRQPg4I8JE9iBRxlNLQxKS7CfGOIA6scySaeS2yMOy3Dj+0lUHRp44hHp4gDg/uOUN5Gj2DWD+B4HCZA67bykOz57zoG1hjpoLreSDYiQksnebpQECswKmgxuCfx4GdqYN9D8NcxHuR3VIe4SNr5UF4ffHkRw1jq8BNxAhjCPQNJNlkZFc+onk1q5PJlWvfWKtC2IVT5SNEbzYMCnGDoBv3EWrarg+BrOw6tmDz0xrKreyuh3nimbXEJcEIWqSgM/QX89u1iKJ7Ul88A0SK1suG1Y1kdrvfKERjH0ak7JagU2fzqtfUjBy8ICK4rpRYbVBt2tSWpZzUCN9w9A0pgzN+O9Z3z1zw8oE4Nxt/2ySLojzSyZDtDWK9FvqC0wNjD1MneNC9QHXMrgnPlj2QcxOt4SIpQnCLYa5Jtp3d86+6fHKipa3Pslh+6TfShSCB2C2V3rKHEAXbeLJR+cXfLur56G0ZCMNKFRta6fmWcfoozGkLuC+O9zcaA1N3sMKImcX8EhoGy/utN6ODgomkRd9NZyaJTtsZjURhjRsq9xJHPUhpoqL68GJcZZM0y93e0ZRtFAtcUnkdOvkjj0PEj5SxQjK7VNTnI4fSbblshDygvMltQoiC+/6qvcU7JCn0D5U5B5S+YJn7gFKUik1zQgq2d/EUZ/o/K1slJfMowWL0MHeHbRSx8OgWcv+60IzwXnTbktPPCWdkJWLv0dupl00izOJU2LP/g4Yhk/p0CnMvqKYiAmCf70yoxHMX8l33WOUM+RZT1fxiP8ONW1xz+8T4dhoH0Ylo6CwkoB6e1/k1eEd8+IIASH8PU6Hz0Q+eiDF8+cfiCt44CzF/Q50N+ENzl3SG+s3rSidauRayR4ZhBqlxyP9qdmGLkDZFQuyeaeE313VYHEQNU0x2vPx21b5SguQQHl9/HzJDiIGFEpJD7iBZtSU8xuJfpW9jJ7xcizzNb4xMUTB8qpUcdJz05ma/0reTvkgVZgJ6VLkVySRWf3XktA0BuRGEWb8ZS3D0/jidGSRC8dXqsvs4diFl8kSH02HSf+gZLkCBA5Qb7fAR96goxsNo+3mxXiOpJwpUVyrQPTZ/l+RcE/YXIQ5YsKSvaaEMXJNoqkFicAaUPXyQ/99Qh87EYI1Cvb306UuGWIBiV6g9MPFZCXSmHhRsq8R8GsvRxAnz4d5QNBnYOBFKHXBK3suWPfwAdEXY1CghcgHQHuM7Sehc2AlJnPUCUiVcBxFM77lYCr8QvP1/81OYPgetSeng7f3hko1nRhRan6t3dFc5/hOyrAYaFHZHBbahyM9hcPgZV2k9g2CtScMetRqeayyNfKfcno/5zCCXYSFFibbvGwpX/j3HqikoYwOs09MHKOHAHgAVt48c/7vx4rri2SKJRhmuuKUCfET7WQvw5Aec+TUxgWaDVM2Rm5OFPuTin8GaDMDmYg7Pz5nRdHYKY1PXOUem5e3CkhBA5UgmpCpX5kUoBzFFrcVI9jpU+OAgAX+zUzNWiyOM6+xTARchuVD8ZGAKhxyJY2gsPz1RrRoxkj0+CaBtwk3CSnOyz+y3KzarGmhWfQZLwdKVAsqCA33GktNQShvKZ21xoTpkVvmuRUwR4aSzZdEcLjIKwF+ASCetaLiGTHEqw+YYu9RWn3OpgtPWwomraZjiDVTm68TBeW0h3dzA0Ol4y1HoTjlFhkacpA/L85bXoUhN1MDqeBpDpdP1Jzsi7Q5lFA1u00iD+Jn8cBOKDlOjTKAOgWbqcTCljDUo7vgqWGtLEW5esAm9ErE9ozL9TIp8zxClHZila4mLyw2STkWplE/vEDCTaezB4KUMkgO5LCFZkUZ7BZL1IThX5V663PA3PH5TJ8Vy86Cfjq8MkIZdSGNJuHlfUul+mWMSLrebzCEmrWB8HhzonQsOmgMsvbN7xU74n8YUtmNWmFvqCsMbIE3OvURxg/9ZHHkMHI3VoGkBM1HN78fUzA2V+VlJTjXzbBioGwF+Mu8qf0K4h6SoggkEFPpV2duH2mSaj0tuoxGxpMuzIRQP8q0Q05N1Ls+xrlOwAeQRUn2GvdsnY0RRw3VWOVpdf4pPgC/JqoqxsVoeW2XPlp68xZQRgH7F8hMgqQY5fHRCyH+kywbQgPfx1Yg1xHA/T4OoVCMg96IlIv9FupDItv6u1FiNeJU659d2aYyfDxG8Sivfim9/cIqPtSzSRtSqlcfw02Pzj8WuDmLOdZxDbjHIjv1Ys902bJ0bhLv//2vgmngxErAN+8DZ5WYWJc228PHYqOOFeHmCCoJhu+P5MFKoXJC/M3cOt1NE+xY3NqpeeY7Eaa1mbQM0ItJAV1/3KNA0mOE3qMN/EygTbJUv24Kor/EPpEMokAiLHHc1fK8Uh7KTSk661zoZ2I9PiyP7Mx4X5a8aCPTQxoIuzFjGBeuj0+f0ZkhJgEEbzegcUssTEwnzgQSphm3AYnC/Fiq5nYC9jjGSCwcXMLi6KWaYMKk2kSBGIqIG+HVcPDLqH12JmdWEt3O8Bn9nWpnbrK7zkARNDTMQFl/jB8rZooQyB6HryhSKwG8Q1KKvLBYBuhnvQzqYL4BjtvuWVhdt/iPOapzw2asnbINGu3d11OgMuFG6w3b7WZ06SlCDe8m+lgKhw8BTU2YKKsxmcMtI/d4Pw8C6qAvC7Af5eIUCOyHhsJfI4wI8AM4leieRlUsYKeZDZibnLjl7r0r+NXOMosEilXf1Ysirmbn6U96sj5tjWghmWDYHgRLOorv2izgvNXUjMJY0dfYwmZDiRCDL5W2YlKxBJ7FM9Mhxuze0p/A7xjlHaebl745mzVb+9wwUSIsAUF8awWUhXo7NT0HwBSfTLCBsZSJ8HH930WavX3rvJw6vtU2Nkaeg+HaNQG1L8oL5AYwW72Sq7y/Ihinv3InWhyXiWdpGkBbVsIJhJsptUID0LhsQ9yF+FGt0oY0kp8b/GbpjNh7IH5oI5ybR8g0c4Zylo7cNFXmHZK3ZUhUFx1jDAcdo8r1M8hhTeP94vUWOh/7WO55cmAcqg0Npe7HZ08dLKb04lQBGW1hBd+AFkZYcujzG8fWhT5llFcccL+ZFEsB4cj0M1HGTW4nv1Ng8sKkbyFIbznY8mBDiIbPsO5sxL96MUjxKdm7tDd26gqFyjt30/olbyDIrdijOgyoV2STrKAUMkXLq6YIBB9JDox27867BSrRdPA7rxqo8fX9suJdM28IlMvzdm3te5faZayXGeUhWKTyX3VLtVVZwDNjHa/djWURVODZq2+z7eoxIeojXayTa3rqe1OoLWRAUo59PQIt2EV8+bir4sx11WEDKL/yjhO0cHnE5Kpnti5kFmHybXAR0vOG4JUJbnVBzh2UbEgYIphW0rgwNsukRYX7pqYgnSDVzihvgXQZyDeCe64kNWh5Pd5fgRu6afMxSGUDy/MblIgctFRZ1Bjt8MuGCJT7OK3ies0S9Uc5CFACyHYbS1Rj/CqW3bJk4nl1J+Lz0wSmebNarjLkS3oFpPz/cFFYaH19DlfWTVa04YGKkWVVpOzYvKr3yinBV1Ut/VKLGfUHvYPJywCom+ENoptSqAc0beRhge8E7YFLtANEJNIUkHmNx3Zp+Z2QGtWCsctK96Z4QOCy0adrhA1Tubilhfy5Q1fwfGJtuwEc00HjnaAww0OaVYyEj2lhtDQGIE1k2T+1vTDNcR/RNYntPgQhK/DfDIeEi0aeWieGr8ZvOQtMZOAndHvnI01HwNs9BmUVjWCSxnUyYSi0LVAGykkTpKTK0J4O1GDvuVDfUSBONBbWHMWX0CGMRbSLWRRQhE80PJVoJk9D837xcNxRqxQxWgn+GwaMIPpcbiYKbtuNc36uaTZrWXZTQyGWqzeUMuCmPxpVjzxl0iCSXcP/zm0qzJZW29ekD8+0d0sxxqEm9CUxGx29oYCWqowJ/mUNV1uYQWpcOlvSz4uc/21KaIQJ44bfgb55snSZko60XrQn5eZ1J6WU5HGsVbKv0XaV/cwMYXmd1LmbWmhRoH37K6FzfWeHqXch200KegbbVlzGTppU7AN1DcIZZgr/GyrgSKb+nznKYlhJyaFmGVVzCrJhE3oR0c0f5FmgHY6HMNIZyOMbiBGcCFgZIODLNTCAfmohuWJmI8xeNDXBC7N+4X0V03Xqd2hTpA3Ywbi06C8cQvhZuxVevID0qXr3m1hwURhTr8WcK/Xxa0dnasgFcRR2/tVAzMZx5TZPOZq/S6DKYk5mB6PLlaVf/j4J2kNq1A0nzwAjevcXesEuNdQss8vS/LfhCbPUn/+HS8JbQWhylxqUZw0tHjT7NDLm958uZbEUPYHYfj2H9agkDKi7SeGNYLru+0hIpYGd7BBIn6UiziMb5zHIbbA5OAA/yOJbBFIan8y2sFkSqu70Gm38Xj1gBTa1oIAdqilzQvLTNdyBIHYErP6C4PODoVwL6XCbzKTnTClE669AKXFgrcziccv6p3rTz5C1thpf6sLoCRWzJVzvqCXVf89B7eKZMUT0DZqs8eaZjxuR9YYaZlam1BgVYcB+B9a8ftPbvzzMtCotAEVTI3M63VbTsKyBuKyYlN2wC6tAtLkZjobV2paqxkpv41Cp6B1xfjEK/RM3tlVfexa504uaXJFnXay03kP/HHpvoXg7YW/i6cXDFrXsaKdQF9qqD6XFPBQxe4gie/lxhxFSHc+6OAlFChq2Kd0WISbQGvMiYi861pkRM8r/C/cSLLQxdr5mkoIYkzH+m7yHaNqPjNgZz3og6xkTJl6CVj+bOhCQzLJ5fbfE4dwigXOjbbgb3+7MhOeiYdpF7QFPpWE4eBalCow3L3uBO9l1i34ROXF+MEQxBp053fT91YqXARddmKC5m0RdITpAKjPM8HV/rE0bnsKNJcdX8WTCy6nQmjqs5+eNQckJm3Vx2GvD8V0h5pYEHnuZ8uAFJYmqP/kkTzt99NzRIvjoTU39IOZNaU0caQcdGjTqH9625BdcYmJg4zLLe3CWIMlq5FURJzZHAaZ4Y1z1Tnslas+yLnGzIv1XL3S5ihPvIhcE5ggIqnc+hGwCis5X2XiHN//wc8460OL8FkjsojoBNSracwB0VEywpUIwnqULxyEnVUj1jkgnz7pVCeRS/7CVqLcddP2XeFyWLRCYk7bAg5ShG/wjqJE7VvOHtFoz+0/xSgUCe5T3YkC6ujux+TzBSjhA+Dhd5rEwhS/w+6rFpIdL/Aks1aC3ZuvWsN02jRiDPmusy2iVjHhKWglipABPGoDLIO7T8GHXv4xTTxcm9Xx0fpVV5aUA2DsG1ptj5zODSrzr6vMAs/8zbGM/a4wyU4RsjzJZ2MW2b87iMPqPrMYZZ0OZ/4qbMRc0iFfeSmPbu4ChmUyDv9j+vkHn4ml0uR3jGrkAjt/zir1nhI2Htq9Cn174In2KCHllxUdTXOOkOboydKb8QU85OJCRtFxTMY//BeQERGjnjk+ErjJ6du0X5YZgGNJjmhi//KpyIDcf45yxPSjzDcw+ilfME2QlziW2hQggViCAdupu0iocrHkLM65cnMQ6QO7VM2eUzrCfLMnBF7roDM3UKR/oJU1R8EYVIxRW5DGFLTczN8MoAHjL5X4axXudhgQ7bKcRaF6e6nv9wytHGCv3eUlQ4FQFyU0b0h7IhXSINpW+RKw9JFrjKG7xhG9pYuIEMXZtO3/Mat7ZNS8VAI52BMczk0LKE3PgyakrR8CTESKqsSJ2oK9ca98+idiY06DayqIVuA2sPVhwWMZXItI9wLWVnBZx7LM6wU+PbrTxwQUtDfKZR9VB/fzCmf8iq9riNWctbPlAefBhf937Nj9ns+Uh77yz1vsYrhR3ncep5Ah4cq5Zl1moFks2W73jbasMaomtEuLNadXJ6QrM81qNdZ4WpEssT3wpkUF8txC7esaH8bBqnyDnT+8KN9ffjc+30cFpEM6PC0ARy6jhtRInfYD4ck+yvNYJAiQ+F0DKZdsOmyv5E2GribcYUCIvqBFgskYg4wrSCvKM+4vJxV8U1dG5UYXAH+rjPb9oaerGOAhOw1AVHykyZJ4+EfLyQdgz6M9qljvm/sWROWfWcuhY2yTPt/pu+IuWwruX536MFcDwkHrzWH/c9DAO6yLM8ZU0yBJC7T24XwtPdimmaXNTI1N5VWW0hbhXFBp8Y2fWctw+oI71fs5s5rB36mB9LlyblizV8HkkO19rgR86ASvxWlqn+1aGgbwv7mKzKY1GbVuHxG1L5DalfWJCai7PAs/MZRL2dNg7+JsIvaADIckkUEIGPH50FHT2e/mkb8KqBFqOBgb4+pcyUfj+cG0eeU/AoQ/y+cAeniZnjoMS2pOfWDNXi4I/6Ush1oaMNyTsQNNx4WYskkbvAsQ8GfLWjhQeg4Qr6+/1AjuRDuD1Feytt3QTgAxGaJn0wVBv07o1+YlS7d/n4Rn4AqJ/0zzX6Xj6L//rx23rs7bayPLy/WJbawyD3eNcbBodB7/EW9sT1lNRv3KoCN+yQAAl8TmiUm4O6gMlA2DcSjLbzmqDuO68o9lL2fwQFJkeuyAEMlJh6SkoWDl4P5PJoMMeDe8JvgzrY2M9PCSjn78o74T1a8fha6mLiQEyTaxcdFl+w6E7lgZHNGy54M4W7IEAu28Z18LETonaRhNVmsp2nti1ApBDGQhSHJIv/ZVDMG75rDoDtHFhihKQA9kolfoKvYA1whW8+QEcRFdNbfc+Y9vRMjmJSteB4DI5XR9+4Lq5xHpDg3m+a9HcvMycjrJ5+vZFh08284txhD6//dDTwLlG0I5XeaqDWVzjEtXNmHctL8JrCbh1Dip8vpI6omuH0tbzQKLKUXeZz80wJ1KasxpEgOR01WJDGKlQZpQvEsNGHoeTyWYfP26RmfK+Wdowvp7KM3ih6YPT63otfQG+t1C/SlPoE3xDTfJpLZcRy3yPEqP000cZyvYs5Hbjx5o0WwpVFcWZ5w4mAvjnwnpMe3OUpCvOan50GeGIJcC7CcTgjLUI5Kn04Ng1TIdCzBq2xPqcbbG9I5y2WxNHOIojGLhT0K85S40SNFZaHjiZWZx22lNU1sAPvUqjnuuYJOZ2YRR3cpdEm186UFlowdyRcfH9G+8CRD1u/NPwYFrAHqIwrbSmWKQhLiwDw59hgHQrR8uY4yVKzoqRFetigRkcMr7vsPVz4BTgGslUNtqFpPbVHG3lzE+tXNXUH12knA0LWYKvu1tP3O05LmDAs5elmzz/kTfm5DLuCoUMrYtWHmCGfIN2AiDHRbeUMNOXUynb/rFrRk2UsJKKER1usLLo59q/irseUZBJyOPNjXTkBmNqTRb5mvLTUnD56VH2l9jroIvLk6RNcOu/X/95Paq7V4IU7Rn0k7mqNt1yAjPYJrHnfZbnxcAAljt02jjdZqYTbKetlxD1kEdrFj8eyni+2rHcWmb2K2xZ75+fcQWQvXbf2ZT8lsVKo497VQ+no8za5rzyi1bPlxmvLHPtTeHpVQaEnOLOzpL9FpPz5Lc8YzJ/KsRVGd2ZqPlrks322myrDkPZj4vUd09trahCFq+h2Gttd5hULPBPTbrzgvZAQ7OmMEHbWu/4DgbLBKFZarKQY8tOM1MJ68R7+n3DR5aiaGMDjQvEBf4KyzJ/qhFzWAKi24JuJ7/tEEOTHq5uL/+pu/wOw8yI099WNjpu5tCEXPcfAYQNnXu0Gz6vBvkUKahl3mr6NW77IsSMTFluSIN9fURwsLVAYO6m3r41MxLGeKO+C9A/BywUAW9QP3khhmi/ZeAdSRXH9M6PxN2AJIJh/g1Ty8YNSx4tlLN1Rg0JSDOIlml6D5s0ucMakTX/A7TB++S5DSRZFv12FEbOmUujFZGVOPHCMJQTC6qjMOgNuvFFl6DivGk3QqUo52s3EN5LV3jlD+Nl9lvefB7TSKv+Sqscr21LsM+97Kg4BuZgh1J9fhyo0zoE1PVfFYAgo+aTNnTddZkiZXbV18b1XGoXfSxwPV71CjEtBN8QUs53VO3R926YpNo2ANeW1Z5yulDseNw2CeBKB6yEFoUDPJn9spH3ECTAtWMIJ0km+fYTMqtXwiIeMbHxycLKiXIvDMm6uQ6YNeh4RLkMXn0GPoRqwmohC3W9KY/R2prY4qhYO/ny43O5q3yqGBcCE5qpdM8Q5QJSX8nk0ntQu+JkEV2LekFXon2sd8HCQO5/LImCw9MvsGYaYqxqXFWuGHQEAjkL9fCB/TiBS8xIgGlVhht/Yiud3KTMxlhszlmVBsk0hvV7moU9OXgG19d3a8ksKZAwL34IIChBzBso8garXpHGXkoyZyaDh3gcN4ZXO7u6cFztpnwXqxXrjH7bihfjaPez7Jh4aS7V5B2jB2ARIldDwO+yvPcrQXXVKNLIrCLLgiMPYe5U3xLwrCVbdMoaxrf+UzIQkcdT/RSiSNtRnQPAbewKWHs0hcs6Zmuk/H0HS1koMqNn+QjHaY3QFrX3hIZWLgK6kZKKAJTb8xNQcFJUVsPcfXmaWJH9J4m4wy+O+v7NhyWmq8hXtwx9GiFgII6s4EMVQ+Sp02LXzyNHldGMh9mJQZp3sZEJad2WttfEIz1Fw5sULs7oK0vxh6MvVw3qe9mGCwnxMyQlfhxedcY1CoDMX10Nq7peWKQVNu1PQwOVhbA9ukMOSH3d/KxUOEKN8IIuVXj2FB/tjJrODkedkkZwb8H1JVs9liGu6qsi3hCA9PBIyFDbAYEoAshkdqR5wj6zfr49rKzH+jg9NMnHoqzG/JoewLJ10yt/47jk2WOZZG3jeZ89NRxVVWI4dPZrZNd9Qmc0fOogYMTteyEDUXp3fDsfV35nENejRcxCH7y+93waf6BSPRJ4GBK/0ONpSbBVGBqnuAF8iRm1YJBFp+TX/tmxDn9nHxNKN+rvbVj3fdM0JhIWvDCmat/Cgeo0t5DoVszli4JeV9hqplDct0AKNh4qDZABX/sPcvToUWC/mkm2mnoIbY4JjNLD5qjt8kaL2qZArKmVBglSAc82WWyBvhycV7+B7h+hi2IDmWw7hg82rkb7c03ugMiTXotygbiEgdVzOyECyonHuwF0S7vmXvyQaQkw9LCC64XOs/Ps+gHrwShjM8hHoVL0qCrC74aqPuMaHgKlWZ/JEI1eiSdr2THE+Vis80hDaIdfJGeWZsGQuzVr6TA7RgDafUSuztIMM7pzluH++eifi7xd/O88sc7VqEx7DhoORDuCY63eqYrg/twTULmkGojW/HkRR7B3mkeiUCQ+IjjUcWdGh38A5T2mgH/YnLASk5OpGRs7Wu+N2HA6XMNdCIsknJWiyMMGLItiv+5JsNkt5yv5b6Xgou4ZINjLpCFtE34jcOpwn0Yw/8KN/1KkxrOCXRCHGv9IgIBuaT4qhHNdtrEQZZZUvxNuNS1B/hM5hNFcnsI0Rq2ttecgUpgNyqbl1MtCkfu6tBPokdMIr4mlGv+aMI8XqCY+agzp6aUkMPmwPCb5f6GKpruHrWi0xcE9R3h9rdaxp2klcwThTfD8Fw39e4QVX3mRqHcFc7r76StKk1QUjq1De1q2VQ084FCMXYiYdGH06di5zAXymynAOAm2jxTuxuwzTT71Oz9d8DsHHXJ9gNLAJitiCkCX6lz9cQbsglV0Wph/vr/yJ+n4/wWb0SehLYtNGyD1Hirqozt3gr2uFSo2dw78LhpveyvvA5e75rderaRghKHwY04x38s5pwZtFttJYFXYdDxayGkYbHxyGFJgbHZBBaiSZRybmAJJP5WJxbYNH6A2MS5dTWrWL7zoblxmuhp4O9KWVQbVdZwuzFqpl0Ps45ne9aUuCpeVx+zhpyMubZn+QJ8CTW4KkDLO4oza5ZfIojYEWENcPYlcIZgM8kYHGKWhI5dtyGHQFYMrTznmyWjvqsZaZykZ0aP7CNctA3XtHqjwxYAJ/ZqsZI1PFCNMa368V0maG+qtbNYn0+IQ8QMknXIoXzGMCSNwSi0hLbx9MT5PjS0kW+C8HoIec0Xn4GDsQxvpV6BWltZQqw/18SrI9Zki3kVXFeZSSBvml8P36ccDyjupKhX5QCTzz0Wuh4uvWjoZcdwPeymkM1aP2OHJehbBym8O7ZH6CZPQGXgOumCrhhk6fOUqogVnCvqairtEGV9CcVjMpC3Zec/XECVBYSZ5VN7uqU68h9k9S/5X7UWePmUaYFT8682HaqJdxKFU7mEtCS+lHLcfyO70YIMhLvL8183p8rnh1QX0uSu3Rm3AoA9gtwkvZUkitksXvjLk+kluvkwEF192By1ibxBqWoB6qHVV0nsLGBz+GZW6neR0vCzbeeuajIECfNSP9G6ENctcM1N2y7cGx8R/gYIgjtUL0T6MIhBGtzTAbWfAhCkzlZCMaPkNW21sejtmW1z9N5pX1ZLsI5DtuLQQoqkaZbqoSyGW2FZztxF32HFpCBgbSvsc64/EjFQ7lJyN9SLJ1Ndkxfz+pQgNth5mQKiNgJDQiMVDUwXEHPcSqOkXsJKTZt3+h8fL6+j0M8eCCsPJpm8KE1n8WDjt6E1BDSMaAeRE2aPJkqgMD7FkeNbqe77KQ/f3z0Fvw+xd5VyCknkjCya6VJQnt/FxwSYmPzPdBgRoykBqC1EdgTEAfDSkAdYmRorucPAozUtVr236IpsyI4rIHL4j0IdjjKOQnX/kHoZHcqGofPoYsUaYOqfDQwnR+fZozc3oAFhUCjyf6Z+uwg4bS9uyZprU3nu8yFMJDG/xNeYIVD6fCgDM0/JoBxxVCOb9Zx207b9hEVslrA+cAnkK4j+8Jw3I9K9O7lwqdSbKuEmWfA4Lvc0uTIhpUyakikFjTuhFjF1pJJaqfiJ9txd5xOtKVSPIpJZ1OUwYFbg8WNF1asUF2UNehIbNAP+4+98RVWqA4amhLODOAYxEpK5NEieWaJtkdxFRpHGStLCo/pH/bohkLbTIO/Ad/dACzUPdYuFsb+mVqVKTiEEtYIZaNGMyNoJ7BpKVFy8t8tcOfg/w3Yp6iJy2HTd2+XrbY76TPiZQPOpmERs6M02JkQ/DCoKthkuU58HRsp4FZejjZBIX7UoQ8+t9PiR515/ASLsoDOGONkVdXHeB+HqH6DIDRkAiXVO1+xUzlsIkWSz1pAdDjUA/Aii3LKtmrCTaL/RPmx1naQ3W8AqTokyPJTjnN4ujRhruy7SDeNRJ2cv3Mu+PoWg+foHYwy84r1QUG5YzbLwhVHgzMlD1dVVacpYPp3k5ONDv1OlumSp+voXQlLzzcn24HiECNZGGkeyuaZSGuW8yqKJMltk6U9XuUo8QWn+dsbe79jk4Rgxp60DUEAzK8akptCYmhY45i/gRIb7rGQDUpNK5DVGBj6NRX7rANm90HKozFDbEK4BWTOi+PLrh2r7JZrrFrgQTzn0Lc5icXlnxt/xbNU3V+wHjJ5fTDCQapWUaMIBx1ivXqzp66JYq5G9QMC3W+Ht5OTk+YhwAiclh+Qjf3XZ04TOFbYLPFQ4TWsSq+ilgnxKDGOjnnpmnjdkZqV8rqbQAH0dgs9KV1ILzQGR3mJ0LK5r0bU9w6GtarNAxSZXW2qTeBNLRV7i22VtnlHOtdRpVtw8vb7LWJGx1ggZxu/wUVtf9YYHf/CyjWHDaSVzAy1cxC897I2DGix9Vketw7PP46uBlziWtdjFbR6cPCVbNnIT9FbAhvLnQxWosiWP6kkPqTBoYo0ezLt4CYdhcpj6dmNZ5oecg2awxGggpqSxt9OnHBlPvilfd6jaoHLL51cUshCDb6MtBSVWFLZgQvUj75G0HkwzpGniADBWvLnS3xjO5CyIsF7eRvxiWx358WQliKyCyBITS0N8gcYaV80+M4BWxHC3LgC8CjfNyADUP/dsrsvar2SFu6T8cG656EPQ73qKpob7WSP+eEu9RPgcyv/svDSYO1zHFLiXxwi3GsqwipJiQfv65fuxHbGX2XDsq4CdtDe0qJ44YC+mWfQomYBbEQVq1GWJlb8XmVBSoq4OJ2dhY/9lHAH+2XiMybTvZvzWzYxAyMr9QhrrYwMxN8ROFWDXFOZzGAnAohOLoQ8Z1W2T5lovErM0qGYYS1ss2m91s0uqjICSLOz69+LRmOHjQ7nFG9CQEEbLr/fFw+qkcnlkcE/HE21H3P3xlEArjrXIHYpo7g63kFy7O6IRkj6IvpPsGjKxzD8joNwH7MIx+KAwTQ4z+manPJWQEtWJyAHbn58iI2buF/C9daZ4ORkcSQ+5OW+EhR6M2cAnmJZdmrV9Cwja9Q/j+V1+Arr5u7wUbYHncbYI8BzvbAsrlsYfp8/9Nxjmt3rvIoEOAbivCzkeZr4rto0grTV8a8ekHyafXHijXGISsSGQTtZMfp5xYNo7x1GzF3Gj325wYXhVcXG0sfcgtQxu5Wt38EWXfY9ueyUgsCIQUcg+fqT7GAtQwWQPmmGrHIYSi1b5WgWlWUIuJWRtficp3wHTPhx3/s4u6lO/Pv8IfQouZ8gg1Z04sSMYSt7ZXPWoyaCrV+cZLS2P1bYE/7PDl6x9quYO4GZkAG1SdkBj6YA8tw4A6M9QFhzKPaK6S7Oqiwp9fr3R72VVV2v04Gp0dVJaDIOe0sK+B/KYadp0DFfBXZBIsb/WR+hM60oWP16Kz/0+zvaI/64yeOn4yx3Pm8iyd4dMhUx2T2L5PvsNEJowlmSrM3pdVoyenhAn1T7EWZnv7gHRBC2bdpdXI1r5C0lvPgn7WvYJL4C0r9zD8aHf7Qz9p/lKF+Z2V/N+p3EeDSVmMPyvj0CxV4wSdZYz+l6C8AhI3sbOz81zvSpBxxVOa9bLV9Z8JcwY2D9xwnnKis4n30mLMTnRYvkvznZ5lJpr7Ru3Bkapj07OcOju7M4BaiLxxwz+ZPAtXZuLH1lQSr0NL58065OZ7FgarneN5CIELHr0qgwpEclVZaO1UY0uv9r24qouNU1G6lDUq7f5gmftPz8nxzgNJhCgBaTIfcD3a0dH5v6/Pn563v8SxgiusMF3stdmUDGgQt6rZuHNK/875svS7YpGaQ0WL72mefIlLJme3Cn1JLixbmKHbkJbLs1WNMMyoRHGH6R4oA6pqfdAGiC1XYosPBvq08vvdITsRGDjrzFUJcNhY8+UxIF04lfGQHrC3z7DVu3lg/4+sLMAIs0gmdHx2MqkiA6pU3LaedlOs5NB0kBJ9XC7aa1V51ESN6P2ddP3PvPVX7hSSgBu6SRULmCtd++R9k4gSMaACq69ZW0Lz+Eelb92ap9VXA9Ney7KaRzOh4i5dSaw3djljTBB89WXy2VfGiS5TtnzBrlVCNUnLS+WaDM/mZmbYWb3S3ruT71i7nwQdI1zCOAuWut/FpzytjM4mXYxnoT7I7ltn0kR1JNctGCXBoQV71rg1V/JJkQr58363cP8sRcAoOtldGIZIxvDEBW3JIzFtVy8EJdU/I6o9O5B4kW4WpzyR0vyVnoaKL+stuf+mItj6BPETGbBkB4KwG4uRH6CiYYRMh0o3ZKahR3uFfB5L1gsn7PbuF4sPVdER1cwST6F1drizLsk3eJovOKafHrjjaBmVMREWvNx1A8hbYeCUFVreknEJ9kIwBCQu9IKrkVtfGRCYf5dCSSNKo/fGq7iA70t1DbBOqtuR/8bp/haRSkVZaXuWzClsJZHMPQ8ZvbZ+J66HuB3pKMo7ln4vS+q3OtjK3f16wBbX4vOzQ3XSFZinh24ypRnRS9OGLPjDFayg4IymSDfLzg60dEOLZu/kfXiXqN7rea8VMfnDnV1nRxMRqvxzB/6ib0BFHXkjZ6Rz+XGpR6/juJxcWP5yPugsGq/EL4+5PEPFbIbCD4SCGd5+p5qV87so5KBTg3hEXZ76al707tT5BWrBUwjWsYg3xd/YpNp+p7o3+xdNFaqJPPVmxCK0nxDBiFdzuLRdTKqRXe6UFOZY2XVAAIHR0yrrFq0bNOdaobaWNfDN/T3kjYsgcBLRSeJd2d3eB+UbN1IJeNCZruW7Z3CWeL7oFpfSG3b7MBtbtYf0a1pGKnhpNX33QOKGufZ31xKpQgNsKx2CqZWs7zqmQbXylUdgYfJEf3daTbCBoYuuqVz6H892aikjtW6GfpkFvuO6sZUf6s5G9eB4AXJKkolSzpuzCEIRnQqR2enOoeI1qqAxdLQZL+VbbfROra9ps04QbVkarmAj+HDL259AVw7JpvcqC1XJcBy3NFo7bjY54Ag/reTqz9yfUG9OfScAS94Fg1aC0AzAtoEhyqqYZVT5WT0vk5/FaABan30ywsu/R8Vg37U3SmoNKd/UfDO/japumNkpQXeQ4e5LDriv0mSry713urBInWdfikUDmzRKzaXAsTUjG3r68cq4BWWgBeM9OOO4fyqfDa6DM1IbFIEFC6kPHVtsoHulxKilWQapAOJAlhIvzUqhnphDa+3jrENsa4Ui3Tl3CVrI/V+h/0ESr55hB5/6fbk2erd06jV6ZcboCZhSFBlGvvI8V127zyI4tco/DYB1DfyYVBCXQIu/i4i+YL2Kg/fLax2JvWF61ZIFpgo7Jp0lRBM0bBLsUfG3fhfCwh3srQwOP2KVucU0ChgViQ1xvvWG2YuvxYi3Z+q35UisKmLhVnhHf979yteDg2p1RlnRbopulO0ElF3+3kkgnTLJJhbDCp7XjruMNTYCyckbF6FeVqwRTpw7+iFB6cBJJ5ltB/z4FZ4IiTlp5ZLfvHGaVRJxJP1/QWMJtVP/gzw81y00/iV3DTuGKXeSMrPgjoJlX8F8Up+ik0w0atdsnh2TfPNRZP0zep0IzCahRs/bvzBkuVTo+lWEuAXtxek4o2sfuNJshKJYyjhjCmWOlfM4oYFwc4fnKZf4QiCarfdOOB50gt/4xBbaaTIo8Qnjnrcdgzd+K1/2evkt8BgivdCT2ExjeQtF82kfulKtlv6U+pm1n749VyiJHdJ/GHAjk44lZaj5Ncf00Bmb23obqtyA3Fd9e4nYsih0ZHn4i5x+Yq5g5M1KlMA1ZjqWR/+I0BQe6PaoXyAK9KWrhRSnNnXkB54ZoBUtkcz/qmTUSTzlxadV3JT1EIRW9c60f4H12j824LlyImRRpSrX/HcanaBheCw03BTuB8upWNcfLEFOkUEA1V2pzdCWH4tsbuxw721Iin91pgiSbrFt7NI1RUQp3T/TV9a0jXmjoR5ynQDHFp9SRylPP9imyCmxV/wIABT2xXLTbtIwKQ+E0qEDbYEepfMsDRk3pILuT1p3kfOne6xYCDB8+ss0VN7yAw7FLqYig1ZB8oDpO5sP+Nf8i4PFnms6rEg5ImsClg2EHcosIW7H1FCBzJiMRcx5r/nvxjstyhX8iiQgoserrA6SMdkhpIEnm9JAn4HqT13ja9qDBenOdImbxO05vOeG46PcOgW7S+hxICod+uuTM/n5BfISbSF/iNXL+RWVcvafdwA6/I7qvoOMrU74XPfgbLNlcUW61eUX6LzMj2H0pCmr/WA+Ug+zM5IdBVUn9aT5YrhQknWepQZGHM+9+6lg2SKPseo4eiWuiFyGi52PTbv1k5l/W2kSAh203Vrf+Bll5oAeqXxf1euP3+HvfYj3eNVDKl1G/3DEM4L3+E/3SCNGXsHjUoU+EhLaKB5QBCTAPfQddAqrZKVkhQ/53ygidf8T4MYrhj5pyxIbasL8Dxg+E5q0jLk81x/ZRuY56RSPNdg9IVDfwnYBnwawRKzPiziYWqBJdlH8hsIDFBNwjky2HSzDeQyrz0/ScgTLdqDtl/kU5Y3sDEc0fiNvRkjohYiRp8R8hqIWBqqV4fiHpD2JySyHpXpOTEwHR04MuV3wgOoVxj34BxUFDT5hMUJZCVFKqsD1j3KZ1MS4zVi+fP/DOgpYvVm+4MB+1ZCrljSgmd9+7EXNLaezOGrJ1Bm+5wyTqUw5J5fEd+8iQ0deeyMB29ELDvi6m+3pY0+QpQWXNL4CDOzTHnVHvi6VsHT56CRle6mlFrdqsiiUgKMwkK6S43huv8ES1eFqhr4leq3zIuEw3XxviMk+8VtAs4Fkvit92EUw2plsKVk5rUrzmMwA4kriYwKDUX4D15auOvTRNfDKMyVHBj3sr6PfQphrq2j88tHIrZYiQSFFZR6ywJwrHxTqmCc29SjArUpGqg5PdLMh/kH2cu9wzm5BatATxzsEcw9odcqHoVg2gRaqUP1Gi2aSFjBy2/FazRu2+I1S9D+o95kG5QOFatm5c86kAcvzaOg+EKSxNct3K5vF3MoKov136bK3GaBXjpsjylTZv8UiUGhqARyOrYyAssME6ZVfphXLlIuOspNHBm6DtshcUTAiJlH8fUJb+oRACgNsjrL2ErziEA7XgTuNu6gIT6FkwcunDjNXfk8l3XQ9HTR5Kjz7dzt6A4dhGxoAfOIUErONXvfcjKFtiaz6vGWRO1dM53J/Sl46pqKflFkkFpurdfWNYX+LtSUAwvBfTpYTE7XwerTfJ9hrVOkJSx4OsYlqudxwFoekbVkNvd6TQKRgdCo3XCBw+TDZQcFY5S1Tyft+RKW5wVYwzu13DDbGTS5MSu78CiJI53n60b7oHwWy6duWZvQEXkovZHaQGt1w7EQ/ZuIUyJX8SQLlh9rfW5cPhZ5YojyrQwr6CTFolsckdpU0XNb6uZJkwQrGGzFOVGyuGgx/arEAVRB/+foPlrxnBjac0xcYTKAIKziiui4RKVM10p/KMCOyLs13EH3vjHwwzhpE9RzKoOcRZWNeVwmy60b50VhCqqd6s1yWRsoAx7jdrVgIQAdESecW6OCIXCf7+sZjbTqXo8pjvoEIW0GX6TYyEOIrkfSPH05a1UxzCWEiVXt7RFuON49TZwKk1Oe084mCeBkcn647Ir31sau4eibt9UHIgL3U8oa2qXh72jtdrzlEbrwRpkTNJrTXwE+MN2x0+HnDRDavWCmH5S6y29au5iKN53IHu3u2AZXFJskDoiDuQJe9su2F4513vledKuwR+cZe34yoXI8TbDQ69u079+wN+8vLg82w+T733HdY5WFCCcULPEibxQ64CIUoQTluZHu9s99kfv4dJ4JIJl+d0OZnTB2uBOpFHoynTKPZr0kBoZO/EFhQkQn3PncDJcIskz2ZOMGHG54bFAtKHCtK6QZV2MvYLZk+b7CNJG3ecAC+1OHRMwGxYubDMMRHFKxLjHPfVrTFFSpIJ7QQisb17jP+fu4Er/V0cbwKW3zWZ+cCSi1EyzToO439tp1Dn8mSjKp5IHYML7F0JOxyE/fDrlmQpBP8Byevz63R3lGVvM+ujM2j8QmCX2O1BYXrpis2aBidxX2Vhn6JrmJQvSPzuQsOLEW3nDQ7Y4B+gWZywKUl705mJC9dgmNBNoGFTIBkUsftLW7I/dEGKEpD8b3Y5THQPQjocxXj6n4T1tjC3gDDqmbYxjshIeeXr6wDEa6gSicEJULXjfw4wm7UAfrJUeK+1Tbxe7sDYIMISq8IDiRHaWFxahaf9SfGt9JcADJn4biAChHEcVdYCH4ChCsXA5XF/ML8CoXEart6h/SQTAbfV+vkMMQ/njkYpBkiZN+JykGaks/LZpaO3cFcyaJfSoeIeZxUZzKgSRz8N8g4mxkVedQtc21f1Fn1obQVKspdScM1qJ83hS6F16ApdAEfPrnW6tCr4hGLbEFsocMG2TFgiDDtes80KfEq8EgkHlirs8hFngjRMgQTyPop0GLnpPlV5Q7+if3BaUid50HtSfToHgVN0mPtHg75MpMkWj0QQA83t4oiRnfQO5Hy96QtJ+vynEFLxAmGicLaE+Nttl1e2ziFpEFy9EJDbFZ9OVtjzW/552/rn9jHVSuppiafHumI99+xLtEyqde23czCN8TmgTdoCdOlixTn7NRHV8eqtZU1Ax5YxD5anwyJUwgMnYxjaAq7QK3ulnNusmlTxGHZHmdnnu93Wn1pDhIkiMN0STqaFzA+EgLl55a2vPFGWpip3ijORk5jAWUXw8OKZ9Vn4c7jqRf+LNB1hXPz2sptI/it8jnT9O95Z+N7plKzB6vCOKtIiN/rCRfEdnH/EuyPSVPCZZuh9m0RUm7bUX+yeMAnaILS4RcnHqhG0x0l9uibdqTfKf8O4fNFNQ8RnLrNRIuwGpgrzcGOrmQnreTU4/TTC//1YwPTSwDsgkO0IKGpdpukdsxNYN63dYxJKOp5EVFN2ypSWc/dwmjI4wXf0/qDlEeDhDdYqY+Uq6++gSlSP+wVesJt9Yv7lfKUVzVdUfk36CeMeCbDmedXed/5tvmzogVg/GrGj9DtI2xDTlx0XjS6twthfE1yd5cacEBj7WJq797BP0VKJViudTY+8NH7Kb72SUQxYTUCo+ZobwvTMjCu+xNmA785KaYxyRwZRvU7AChJ31THaoFGOXvV1vTy76Ve78SjjKIiqHBvqN3y0ioK2r7MHQVvDRdvF31JyIjTcc1hclxn3DnRv+gyqB6VpVL7WfYP8GBRev3dc6VdPNng4DLmZJQyHSHpNb1ps4+0BhndhPB3Gi1OOysiI4odXmr4hLPXJgynx1Af7x6llZsvPAxvsv7OHwod0dE2wWtY+WeRlJtrfISrdISeJ4tF2juLNbU63dd0TfLKKp+saIvJc+kw1+ChonEaH/w2GARTjzsNmsPLNa3FQL+C1ZRzNe4YUi+DRL6aAXcjaJ8t/N49h4ft57s7UwPj1v9gH8Sxav6DhcTXAEsHJ64P4YGhVDLjeyw6ww50waYg0BixQouM5E2f7P9ozhHgtVSWLwtncEznorkKYEhKKKVD4OxvhIWxRw59hB6fHMsQ44zOAu29YxIwLY/0MHPq2FdfBLEvQU4nXrszdHK5rOEBsVgyo2liRH8NSzSo/PPstmd2DYAxcUN6adVwSkyfmB/mpPWwWg6xJnTMa7xpMaGi3LJmvVCtCAOgkplO1BV0DpEsSt7mqWODuRnEovBvrZzXF9uIKlsujDzcFTYNrGTTtuqJnMqKMX68WWWp6fbD76cDUfsehe9jflkM/kLW9jhyDtGSFKLrkbDG/u9pqTHJt3Kw3XgDFHMdGKXR7Hhl5nZ7VyiL9eblyglbjx8qs1tqJx9tsTbFOQn1DbSyL7V/QKlPj+ccILP/5O9WwaHFqT9dNx3PwG2Um6jAFe0FQqnZ9vzdCCF/MwCfqSY60POyWWnfUs/APg4SK+o09lrfn1tHcPdHCAgW7eU1nF87uMAreu/G6bPXo9ie16iBhWb8KdkrP+fwRBMkFbgVnAdxpZVVE2GOjCgH83U3Ds79QwaT15CL5EQkRBvwJafcFCZADZi3XHScVtqrIzEKHNLQBTPIIfMMVN7SjRGz5HFAIiE1pv0K9N9Ixe8woe0zBtILTY8vbr9vRhjvEJltcdCnVceO9YsCNeAmJKtDMiK0fP/ICbQtqnJaeWno884ls+xMfIr36qCuR+VBUe0gNgsL0QEpUsLtvzKRjg2qg7WaFXhJxWfsdctdamnWuLdOsJPQ0ctXjh6sEmVvU5LubfJZ4kdJSv9UiNnPPP3dzrfOsVVKIzgNCPOcC6vVZjKOUAFsAKm6WP6FtnuFfbssqu0Zy49DJXe6DuuxmQVarskkbjisYU4s9Ibvhqbx/Ih1gaNT3MyaZYuPNdRtETEyx4x/vKuDfoCCsCGt5XT5cSfRYqTM9bRS5/cKn7Ir7I0I8Abm7Krn3TPNnG4qfz6zzyAb4A4RL4DBgigj4UpAzZ7+ESf+MhMppEMr2uP0lWUPdMy1sWO22UFCnjJIZ2kid0f1UGppBD8IBkpSBfKLrZ8//QXv2N84XHQAy+Az88T2Hba0kk/EV2e7BwdG8jfXwkXWwl2nX/hm0OaYtwQTk4mF3AJ81dtJ/8q1HDiwrhyfKhoCkIcGAfHR9YjiUhhBlVUJj69M+dx/bEDBrBOmbhIuF/qH+1lEyVjXIbjdEMY4F+CoUQlCgyHfAdtl8ifQdHnbuc2S93LNizspKvY74eDS2gNGKgOn1176Qj8ztcZX/KmEM1aC3i+CByBGZHnbFVVHfm5alBewtiEifj2/+467tAEE7lBcJcesqVGWC1I4oij2LVlSLLnFrDlcA5gfNQlFUtx1fBLwRWGlBOeFcv9zeILWNhLNAhUSbXQ9L0OqGzArK36csjPzFi41y50Nhr1AxApo9Pz/NMsqAuCNSZbcPDkHpAdCpTCJ4qMsHD3N+pk32jTLeytcrDJLyN55kjG2xCZ2+6oF3bRZAA7VwmHimr8dT5ju5eKicXbdKKlLGP53YzEJKRZaAd4vlJdHx342LXFd/xNnQVH9U7WUzOBKqLt8oURU/T3ozTyqEWSfDxUhxXYU3isW9TA+tqFI14upRzXY6ti1d9Pz60ZNTMxz/PmDLLSOe+piCPLp+XXVThx8BLwDzXooVthufdbTvz3YFKexi4T/HPeF4D6jcNatciRMzhp++jQTuscfhyY+xAUP7tnBOSlGnD3oofLBj1X+yMrf7eI69lEhpTthi70dEL0KNJy5rRlscWTc3EVqclGvHP6IyqdP78DwaybR/tPITZxfA8El2a/3Zunvw1+txiQ1NvPSKtu7y3z5PXtVczqw8/vLcgDE+msQQN8OobEhcDWbHdWsQMt3T5wGbExt/7Sk0YtHpG1wn+w5DJ979MuXEOUEPvVIAhCCCCYQ8Au6MGCYpl9yERjFmEsaaLL7fAIAUMRlk+k8S8pIJuS72TACwVj+jLpsosnA+HAK5JaZvoo4V4saF/71ONkpLEZFj2QM+xnzvmioFp8E4mcCeRKY0ff/KqFtVWxjZ9hcjihU/LRL+oHiwnHEvp4+rvYZMk4nzHMi0YWCvQq8ah6I5yj+kTDLFepMiTDn5zpsPcVXaRqMalkca0hQy8DjLMSOWFORxCwfeox/hP6XG8MiTCJjygu8BU1PvCVnAzNlg7TiTDfUzqilFwlY86kTdbEuJ+Hx0tKcv4CaVfzO6tv1TB2FZFAW4W69Hsao2zDkiu86eIgGhIEOTM8i0g0zERyiSuOQXvaVt5qHGMQy95lhydJsxjzyHUGB8dzgeSZY9FPVXDi/Acy5Xlav8Hn2HZmO7O5q/PZpDR6yzxyWPKXwgX6jn36EghYVHgnfNlSeNUu0vZNRLm60RgQSeWelUwfGjCg2fvUZPiHOW7pKyWzmpxR5UncD5Vf9+FypcUkvIlpKrGnUTnKkMKcWuzD0/d/rONiEFluNrqfLEkURf+TtbLxV5Ggc15CRrlRpHfqJwdCLK01P2VaB8n6jA+1Ivm6dueWoo1huoh5MslRSYeXTXT7WVgYZgrMSDiheFYF34x+109hG983qAF5R7uuklAub55/pmDd/dG4+JYEOr6cG0lTyPHCESDLK+JVK8pADeewZkNfP13lBGJUJxnEQkZd41WjUFmupLwOQRygGMiuDBr52P10aTC+ZJWk7jrg6TuUDFxvUTms7iQY97YIEy3t+7XjCF9m9QZFYMumeDONOl+hCVBPzSoRQrOH1w4qYSpEHtkzKMrrmfq8xk3nEQz+8Z825BSqgu/zdMsDItrMWMlXq4exqP0p89Iybb2pQG55XkjeXdR+4jZ/xdf8raVfYdDi7utD0HQMUfwPIePjcAmfoskCstsQQZS7iz7o6f2ewLDkJOMVO8ubG9uynMBM8xzDoDY7/PXQ0zqBiUNbiJZFTmHIhYoohIMYsdWnLscUktg77+nzChrR1tdRCOHwNNWDvrsoQBYc3X+IkU6xGSyB4Wf4C9KH0XRnp4q2ecgS17ld2yKCXW0N9R38uDRu3X1jzK8fBijbC5gu1u0v8NxY8XKkhEiMgSp03TKiR3nspzFRXp3Rm+9ifiRRg4lHBOQ/TJMTXKl9Jis9XIXJDtafgFFmxOlFr0TOO4WiQKxnKRWzE0WXta9Vkv0r1w2XG5n+J9IwRVX+fOCNGBEHHoYU/mY8oOhicozTEtZ2NW8VHdK00guCAmlDutc4kO+zPv0Bt4G8+8Qf1JdZCqMmBDHTdk+icW/fw3MwLJgVcuzxv4bpeB8O6gZrP4lPpT50XZwki2h8kpARKkPRAV6m0lPH+Klfy2Bye3z7ewsUUAbMrXSqS1c0AxYHiRpDgfrkNSfx1X8JgXAN1bmdszfQulMaUIU0K5cTBI50tIs6BT8WlUT1gSeMaJa7mjOilyfnlcs1giBNGjyb5JW4yehOY9+ZVDGizSuQ6KdopKM+a8mmkK9e3CVHr60rG/bmeMjqRPAGjJR3QBd9f6MU1Z5101/lDfajAqPqJ5sZLFM4KY0Nftw9zGBMpz7os0Gu1YT6u5z0ByOCzs5QTRRNrNr/HWbChaEMMvlrURcHvriY0ilEXSgemHeipG9AzSYmXxthx2W28V5cq1sRMlz1f+UlHR1lMmhySLLaxB75qNbT+8v5TelwpSfw6qzBdR44tCIcuYpqtwbBxmqgvipTeg0o5o39ImYzDFjlbKe93DRIVwgaX2RrT3PVGVgph0gVHc3UotyikKL45MrPDADtTRFFvYdWiv5XA1X2nc6QRfsvi9tCZWzzhuUqwKixiXBLm0URkuAal10Zm0IIW5kRKl40aVLCxXrr2CiBd7T7ECJESINDWU3JyYHgQblUNusa3UxZlivwjGUHBQQH1lm9PY66O5uCa6YL35JV1GOzIChgjKsMOZcDiP49gXG0u9KIFkWQJyh3AeQ7VRfNifpkWU+xF7X6A5/lCkcQ8LyBSoaHojAkRCcDv/w+1+DqQywV623QXcuzqM0jQPeDQATy/vmEP8VMV15mIJl8c2ASR5T/slmYMa7/PK8lcR0mH68d7jokTL9y2aWOkaH+0584p9jJGYEHTOlxWGrOgzOdggo4t7UASbHH7+2gGfVXxXoG35t12s5O2422/vA64h781ZgmqN9qjikboFdBjeGq2/xP4zJcniiPHKDnv0sGWLBWCcqtsMqM+Hf7L1bGn4Hh1ju4KxZ/u9ZMBZScH74O1YZy8krj31DI2krxxZpsAiO8SCm57gKDhCom5fUUeIY5YuNVVrIoxRT7nQI38JtB6b4C1zQYmg5/YVpIHvepg6MGzf2WZ98O0vlO5cF0EqZfUVb3ADm9wnD4kyngd4d8l0g7kGJSpCwVIBC/KHVOLJtJuW3zxRzrf0zbl9/HGt4kqvxgYeKtOgjG9sK9rV0ue01iUr1X8S0K9q30fWZ8JyiqaSfbpO1UF93hWt/90tqfjz0jZ4KY8YceYiNZUVHA5+P0gpYuOOkzaqA4lr92GfUHsb3gPZnY5hPcbZv2VmZm2uAnB7evC49kwFk3nzZdP2GKdU0BsVOO4WgPQXvKS+78/qmHuoZDe1njUzHqyg/Xun2wltu3tqk9JGqXtulLDQw1F5Tm3L2Hlq/g4Liaa6r9GhzjC2rsQXNPhaBzi3dMfVOjZ5EHChKPb8ksQQ8LiHZ7MdGAbIwdJ98l1c/+iaumzJ5Fr6yaS9MHXQmxPu3qa37FNzzgbSpIkjYwnDtKxNGxmiBnQUAbaiNklWQn0KB/E/4ybXp70dH8vYlkS3xGJFkYdqYakZM1FmGxlnwYSJRPZ50OMFg+U7Vc6H/e6cHKW0iXrdCNfqz5RvzF+bzn8HqLzyvlTheLILQfISHgbDHU5msVVFuEI5VVP3BrmZhSQUuIGpEEgLPOuBtvXb0zwDqeAb4S3En/nM731r3mfI+L6A2Oi1nooqNxrQ+vju4i2CMSbj/gaTAGsZbtI+gLa7v/imMGouJWXahEKOZZJ7gH2W6VxF6WfBFXT10cXXtsKeDUxbnCeHj9iu/eHkAZNuMivhwwPqw+KaVEql8UFJ0TAnmzwwEbrc7JuWWzXGd7encThRdolFOU2u2yw+h+DwaWxa9hLJwjv8WdyFJxIdC53/h0mjDJXyr1i022PT91qdxAKXAH0ILU1bRhib3vgQZyXmDi1xQDudwvXfbD4UaTBZCDeX9tIBgIczA0sCtwKuESphEXErgRjm9s51reGmCtNZEI+k21Q6pnD/piME7WHCsWAI3szra43o2LMzUWqBiB3/aojuShBntInMTzxo16EOGMJJUSOwQU3rEkP3Rswoyjy57vghthn/q8U+0UEVeDM0nrpaULrw9pJPMjNAWX09V5OOMAdbs9llZ5lMmwoYsWNUSFI7SUwhzt2PjgRpS6juuGV+99s5jDKkODMP9tpFS/i0NVAK2Ea+1xCyWzqrp/SgcXNPIeTgnKo0H+usZGjqEkfJRVE/eTolJRmD0Jd+IZG3PFYfr7vxoQlUGW+wUD/w4MotIJkXlaZbQiQ0/OsHAQtBFtpRUWulzPXyRkWmRFd3vaOQ7qJGB6ocG8se6hjMOiZFzgPaE/+9gAmfn7wBSqgv7bQI3rs9EeZEW/aj18iDdiZt9+VyAiTpOWy8T2kopbxddy4nFmyyTQV/XJA6OtTLOk0rRPBED+u/NQop/ZlNe0aiytjk2eVBzUjlVyb/Onxnq0LEg+A6e5x5kxQI4i3gVKn1HKR8xCkROBLxGMlT+rVnXuOlBIbp1MDcVh+QRH8MFJrwjTD0X5r9GGs/YDD9cBBezijd5RjKANoOwhEA9fjMYwtEym+nBv+410y31T2Nn6bOnUm3WGQRC/PsFneHRWLtr1JTjB9B0Hehsn0x8N9lU4jRDPtlO3W72ifJiQVrk48osb4OKlTuLOUgS/raTGxvlE96tBgxHyEnz6oklp7wxvMh2R9cWP2bxcNNGHt6/SHO/7Xe65hGxZNVa9wJqa3avN5IW3sMID6xXhTmpigivJryhw7qQl4bc+Y9qDDgIPPVxh1E1ButyMrqzrfhak1lAu14q7dEZHv8bbcfO6TV3xDFMVS6t1dicO3STm7K2gWfvCNxTqN0U9XD8BlYMfaHLnfQoIyFUrDgNpyOGBOP+b51zuKQFS++7U4+xarzwL3Vo6tYeJsx9ifn+GSVHl5OKPRDKviWYa0MDAHhEXpLXyxVBB3Y0HEQXqbhuz7BQUJFkQQ0Aql8rqBIc458kGe1YqtgCs3BhjWtWtqr59mXjGNrOfh8hdQsS74PMwgn8PBK1E/3vLGHn50moX9JUyRFBvMLLcEsJzbXyHJagl5H1y/otqlCQBSubuLZZDZCUMSIuEM+3H/w7OVFyvlly1CrdIxFDsVO68cGuu1oZJRRCkJ4g7PJRmUbZWJxkJ00BhLIi0qtETc2m4cFuKhlbBWSaIVJJHhIJVe16y+naE6zy/0yaxBlDJhp+qUtdn19iHGgrvhQeHDebtCp6VmKbiFRqh5uj81lYvkLcW2xxV44d/+beg0r5UNfSWmSg+2xLS6s6bKKf0XAX2ZK1/3BKFsF/upV+Y5IWmklqX0Gy6JswuFACiL1sJQcghr1s5/yvsljfCDbMur0ZA/tJva0sb+ViQWpc1Fld40pH804SrPMJWJHRlg8kLBV7/pNtbE/XW0z+jB3DQyCfyZilI4TD/0nnIp0nuqtxTdcRJDcdHl+Hlp7JFDhOXqyC63quJKf8ZA9YiNp6m1q0nz83FMlg+b9oIefYK56FyjLbdFhgfQLAX5ZtZLFpECpnHxyFuPqGGiNoU8tken3kgH0VFODRCRuDXgMgQ3nu0Syx3QDmwxCoJWC/76NUK1IvjFYMsmioHpDciJ0YP86MnyMyPRY6NnqQ2dDNOR//nLFLR5Lnk4zY3SZ4jAg/pnwi/RaNFU3XKOoLJWg0q0973p+MwVmMcxHp/lO32pOfzhRDj/Ze1MEyLC6tp0RvTdd0P1T7HhkcavCOsXW+pwfNHTBGOuAWRnrVaIqDqk0c2qV8Pj78oFePJZfZbmolZ0jMqbYi/CF2hSyJaaz9Ex8Tcf15CfA22UaZu9dJzJ9p0GpqVTcNEEArKAsaxmg6doDZBjlG76/OiYWakHh9mIHXjH0hvU4IUJgjH25S2cdGq+ZaQVu5YxDGv1lgcBssaeZSXc9/tLEChXs7KK9DREPDsyI7bZV/pnrNoG6dY5HAtuW+iOIc4LTxGZdIMw3RCVN7xQTt5t/OAXZFuBhBulMHBHnjRHBsS3e7XrSONHd+BVURvK+e2Vw9L55hngR0ii2oKQ+0/MkAwxrSFla7kvH97W4guvcpCuh1xbnZ9QmhpmfRnZR1r4h/qeogBQ38MDKPQcpbshiC2wJ5BlIBUPSMkc//znpZvahLMhjxYm43o3Vn7k23RjjpF4G87rbNkI/5jwUxBLDSYY3Lfm2WK5krTD4AWs4NuzSsWRMAIofVL027lZO0ypkeUfJs+iVcrOcagr0SD3WlP10kf2w3GDeMS2KtPE8MY9mi8p3pObkqBtNEVUHc36eRfASRHSbCcZ/fiukS4A2wPX2HAZUI7kIhjbe6tltFu1zEiZEdxhKM4CX0sW5hzfi/3M7u+aMld7Cn8/UgVesgN5fVXwcF/N4NXB6NlbQNyVVE/BPGHxsYZaDxljxLyKK5IToj12w1QkYXbIcHg/mznyOGFfygN81XJ8e1foalteyhqVE1qxt3nVylJ6QXncUWP/UNvnmKosj6j9wUpGLe8I62QaAMF9DOcWQMJ1ljPSqWAx4MzocyL3qKpFlSDhHEUQUrUibaksuqAC3AkcjoOiqgTh2GbuXBa6kc9kaH4rgOuRZnyXOOOON5Tv6ETrNwmszKakiEtHBY4X5e+HOs7KPOZ2NknFH5NCEjJKZ941Nwg/FI2ynUbUw5YfkvYIUnrUgyeqEQc0uz/kfdXABw93lxH79nSEnykSMI00u5Sq1pl+wTg+2Y6V4065cTzsSJY9yshq6eIZgEP7llbI57oeIsT5HVYWx5K8VdIaZ/q+rObavEAcw4/NmueE3OKJCIiAJ/osjPhnvQhcoAOciTVYgIb2xYIfVQG5QW8DAXlx58jzBJGRG79kSCrmJ8TYuTxcGiZcLXVNd1jJQrE34rsPx+cdnM3/zQFDGLgZs5TZ9YKcPxqNyVyKZrdLqHQ7nodGQDxMsnZuXR2NYpA+0HWoHTkshTFyYNUg8Bpv6ArFMUuSgIFeq6G7Jl51z7GDA1g1X9H232oCOuC7IVgCeo+EixJi3aJGJZDOUO07EWYYd5VUGbHJ2tfHzl768LCNeb98W6LPoQ01RWl+K5kyu2RsCwdrXkV2W84q3jbGoJR5a2ySTZceZSn/B+DxDTE37g7TrkAs+Grr2Ac7f6bOUkvTXg5WGNq5b7mk9Ls2sibAyWDxknOTj9IO9DLB4vtR6HXNh9I3h7UEzlPPhRD+Ydcu6/i3raL0C7dqQmPcBmcqgoEpSzO5d1XUr9Cb3dCd76u+4H1rbVCQvGkxXLk/3ax9SNY2CJgUcb9BIUK+j8m0XbJTruzg7qp8d1GXcb9b50xquq30YN5Cy+gza+/ALfbUvLdrkUeVL96L7FbMbyBLx7TbVb2eqfFIOCZfzu+JMNi2s5m7sno18QeiBqoUWOHLbxrPnHr2arIDZiB9jCVZFiOwd9flOHlh7Pz5CFeiIApSIDn+rwlvgDHpJBZ5M/M9XYxoGqZtSlb4IYwF7vZTxXJVHB3REFBsf48AB3lHGDSSDzBv3qB7YHOz1FnQWfxaIGDEnP2mHcPiX60q6RNufSpG8JEAfsPNtRQvEQWU1tEyFTyiJ8vmG536Y14Evtb748i0yoFdVGsN0DMIJJnBWcu6aDppdlWRXdRS3GHdpvKHjIfFcZwrKPdU5Q1MCLr+17uizkf61HSjZait6azWVHd7JEQETRU5rg1o01SAVwiF8a9SUBR7OQUQC9dPoIglfb81vcd4zUBwvVCORMfC8wZs6kvd+Hg+1K8BTutiVSgMtIEPJlcE+3hv5Z2Cog/1r/RTnwpNWuzsqaO/AJnD0LWfXTrrOPubIxNeSxJgAN7R2DrCfxKskyuDWbzMHbx4OMcXI3VXWt9f5EF8p7BNZGup8gzMSpo+vWM3DNdcBzd+JGfKwvFOjaBtwyEmvFK6KZJvD3iNcLc9mtb4P9bAZEaPntCmCIRq5qCg6yjfcfRuzs8K8BIF5AUYKn6T3u5n3zn9PbJhZgeGhG34pyqcBJPVGromN0S0WRVfQ4Gzhza7ZhafwfhsW/Ci29tOAXnx97QCFaBiWAqWR5OcWHEjl6sSatiBLUVRQx1D7V6iApYlACqc+gBTJd9dMGzdZQTDJwS/g8xd0EFJDXSyI2z7Aj9lUVES10r/EviV8c7bxVGiQkZcH0I2tY/9Ju4xVP6hjzSXpzjHRMFltCxpVylWoWxxJz17Y50SOnBM/0bbiZgW4HgNEyqijJuLRzyAkdRjg8rCuJHMcw8aBZs+2ToRtI3SwnxHzAEkfQEWpzywNpwZFs13ozbFzgWRx4LyBFzQqUBS+gwKFi9lKqFg/JgRikLKqn5Bpgy/DxMkCbCnIo3Lx+l9PHnFUEL3Yh34UieDNF34fWQU/8ZO0vo7JPhDEA+2qkBAWNeOvyx0U80TsfXYB19kpcJccfxSD1jzBxd/2tM3QdKyL77QmZlKAg1rVUOZzIF0rhpr7X4ng+chzkmKb6kqsIPuqfFc2o6S/Bk1jz6Oeh71sDj4gLk5xcXO9kz4MM1VdiFq4yucWscqSslYuksmj7QW1ozgNVZXGbvZz44X5Epy1coAGmKcXqoshRh0XkEfSRx0/04jPto1AbgYuMRy+Q3qy8sjum04VTciBEYAiDb2rCcj0mNt0+eMiUZcLAmWxdVTb6hrdv0X6WymbYgBNnR5Eu+qvjDnBEXdrcs/9bh799LL4nfsDHkEuExQj/PdHoxzVDzkoyiHujx5oBdxRT42Ah+SRWxsdJUV58EONVXaI0pVfS4H5NRudbE0k5x3W4DWTmDFr1Hq9decOfe8JdJzJHYXnv7SJ4rnCv8vSJSxmvCXz/FeAFiEncXfpzzeNfY0WAgKwIz+usoAHU7qJXMAVfulACeci5kZW+4xyRQY/coMC0qTylwhT8bK+0lgEOWyxTF0aZZdCkhTTEZ/10AxbH78o46Rx0c8+exNEwgFB9XW3yZyAm9qW0eAIBRGFEOs7HMKNcc5TmN+bLkypN9caOz2fKUfuM31jvsqFJ5oZ6ppiDMbagXmUHAXYOVwzucpZb4GpQ7595bzwxFdpyAMtGd9MxfFgDpqY9zZ4fdG9pjaozCyhaCbv7PNAkGRHKz5i8c9bPEW2I+o2F0ofC1wg/4w42FOJmo/1YppPG7nhlnbaW95FfU5xZ8GtpSvpnkjM7bpn4LajKXBpr2fh/baQc/vtfG8SXl3v6bPamPzWTyaR3L3IAda438eNkpcixZZ1y5Cpjb//o67iQhwlXXO5lX4Drvrn8BS/OIDkyHLrY5jWGd0mKlO/BhTKU/1NUHFDOOd9crP+FFpaNOBew9he6/6LUIeq4DA/9KcGhC2ZX2+qQFbu7JAAHsUpHwM7Bo6VuBLQzvD8V+iME6ugt0tJo6AOUfx5ATnIIvnSyL3dNMZicMmq3YzgRL1/l66Hhl721PRxS52LhJiXSd6Q/77VyYd880KeXpYFk7uTfU5UvPFRwnTANQ4XXAvRhJT4AW3wdpN7WCOr4mstBrZCt7qgMroZad1CS/zDnpb8N2JnYbBHt19KV9+xUYfs72HgRdSWdlZ6zEMjseR58Wxshsn7HdsJspaFoFbNqKw1N3S4d4DNsOb5lA9iYT6EVxyxJhS+PzsKu5ESIm4n2BaFwNv8oTTNsab2wGY8RVpDDi3zEeosowZFeVeVE+Nt1RlfUxQidE/YT0BCTdrCdLS+UGYHnajuVR1E9nk1pdB2te2KXzu6iiQ1aWL7taqaBANu+OvA2mQIPOtLC+wiSaGRGCwXlbXHbaeMZRGxaFS125C41OTvyz8Wzad2oR9BrbIWR4eaBsQ01OgYgVv2rAzAKh13aZXA9+U9e4dvWBdII0A03l48Ulsf5HRpA16/Dyp6zwJqb4SmZH3TS+GPR3BmJDRyR7lGMvE3gSe8dHA3kUJBDlrkJIRrKKwp1EMmeG9cNx3GC37RVZv8nfTvcgkW3jp5QDhKgxYp3xAAwiCe1m5ZydTdsh6eJ0rlxxylIjCb4iuRKpMlT3UkQP/pzOVLRaErXfuwJWYKMPrNCGN/EJS4hobu4YUmY9KorpZuC4/z6s4xrvMx5cYCqpGrj64yZ3EB/Y36MVPTc3dsoMJ76FUMMp3xVx9c/q4e/sPMWKrvUPD6qL5QC7lE4IFP04JhtVua55HZBwfo6Hd6s6hQ20UYxw4sWCUvi7ciYVR5hwZFVv1VU6dU6BAh8jJh8gPkl2vTGkKwET06qk/ky2PlA/hli7o+rYAwBx3pVKPYo5nkOEDs3pUJpXeQRDZ0jWi3zjfpSf4EXkDhphl/9a3dpn73Eswkocekq6ep0Vcuw9d67yWql+bNkc4akSl7ulWV/+XleRhmB7wixUg0y75CI/s1Q9Uh8Mk/6OxD24aQJI4TwZQMvFrZTPBS/71swXuzl9b3dKZNJOpc7JwO6kUHmU2nWQ2A5viJs38Cxxy8lxSXgxXZkYcz9KrBmCd2FW7DWvITSYTVs02foPlLLIiot28AMlvcJE+0mnPD2Uk4m09knw2CwBZ3zVCe17LVucUtrnEtEyBiOWhfNGSTorzNOp+7/e5ViCwIwluosHeqSfJ7QIkT6y7Vq7eRToAZHY7qn40pYz4GyBM3e5hB8ids/eFnf3HwQDj1o49L6eunXAtcRRw1ocnFsMlNIS/nJGkYNffduSEj6iXHCH1dadgh2sMDgGQymfyIYqwcV+uj68F6UKJmIQnoz2XPwjyUsQHIyvhKarOanSmmDRTBXsuVITPk0XqP7L88cNfLBmb5F215Dyac2ZdAXevWTpn9PSVJJI2a+4AD/r7iggkfZ9gQl872hT9QimR6eMllD0E9m6rJr6f8vmJGr28v54citQRgmoR3y24MstmBwo4qpKi0V2PN+NcR45g8rkrCVB8cGqByhPVq1orE3dyF+qzo/LmjoCE5U1JBAutImbi3YGQqiCaMnr5j3mexBGSt/lEMt0AibmTJf02Nh8HwzLkYMTkUOfl9Ak6p+uBBx8Aq1f8hhWrUL5xQDQp7GJNId67c1Y0u3u+szqeE4ZTvvIU+6xJG/Q7Tn1m/eZQFfG5CYtq3lmqhuprD1F//yqRGhiSJ5B+Ccuid1HguSlOjux3fJXX34LlTEZrmGX8nAKNEvFkEFSJyAkvnPjvgslC1VW28kM1/6IUMju8JdkUoYRruaimzFccR8UDt8FhHaR8BSlxsMGNkoqfUicWrAg7GUBe/9KxAPxcmGE6BZNen6rLFp5XVlHj/r9i/Xld5YGhURXLIz2pTKLbil05Y2XbFvhqoItEjDEiuIW/E+T2roD2wYRIsW7z9l7bns679GYagl4YLnKtQPn2ZNBUKlyIvZg/CxWi1vYC+vpbZg+XN6+BKEPKMqCQfXpIlX+V9FOr6aDYVuywc0JSI5Eori5rEV3CXzv7XuApTN215bklMoipI4ZHnbGrhWIhOzypSKNtdW0D0kYaF5Q6mo6Pjlyr3vNAsvgA3G2dqgSsteubQIEb6Z32DDqVGGxbP/zayPdubF5I9yZNfVXgW+a6Bm4UVfPKycxKs8nV0Ay48hdf65LTqFD2tISYANu3KsXwJQGBID2KQrxv3k6wrKH1VXO5ZJI54sdIWrupUh7vWCMuSvORL7HcKDo7/xzFCLT0DWl6qZ+kTx5ioy54OweSL+/ZzP7nx2e35MatJ/DMRbmsUI4uwX2CoEYOtbQT1BKR8065FNqgvzOGy5eJxQwyVHBi/qOjrYr+84fca27fd4BzGUT7TPTph9U2Q7gMsHLB6JrnrmM6WS1wJQg+fgJK8tt9NcxWNLPQbPY5JvNMSxFj5T/2K/BHXc8FvACiY/Hb7j64c4DClXfowHkHdzh3wRDKC/pH6SsIDw+7ONswuGREvxsSPwiO2PD+iZ7TLktX/B2uVYHVTaw2IA4JtO1OwxCQ1kEBQbuV4vRb5V6n0Vi2GAHmodgmRPm7NXRo3WI6c5GXCh4tFqSk1aWjU10aQVaY6ETIYR99B8rYTye0Gwt3IXHfuT3oKfD+VsKZVzyzGWwPxWS2FFdVUvdwnHYKfzcBVxLw1N6RnqKrEmNw3EJ7UFndmHiLoZy4ADDSdVd8is5oOnVYhJ3BtOHmPLyCujiI28V0MqN+Yj31Ky60mHcIXogVeoT8ge6OA+SCFSP92MrdtKF+YxgE8tEx7yoNeXXOrgaKTGDsnqhKkB+1w5RPpgZu7vxg48y3IqFKpye+cRqxfJlKXzRY341nG/GR9Uv4ogndO//vjOmvgouQaiju0oKlFvX9gOQJuuJatl0BZ3/76B76fRXyfXBR+CUt3FzFsDFAeCYRt9Y28qYguoFaQg/8cDWGVlB3mOlBJXV0A6F3GAOvj3BH7OXe/rzOaHWy/x1QTdhI+wncCXl3tmPR0s023mx/nbnwOvSKE5DwoJqqe3uTMBMPe35k6cfRtpeHf5BryKOvxDvPL1l7XkIdgKAKlekWxBaiZsedY4EkK/USHZAYHA0X0y7ItYj/iRDX4qxiCfnBbAxXHs5WiSlMSaK4h2wVATkbr16uvWsyQKKyN/hj0ri03t4mp7LnsqUdUSZofmfJwnesXDYf2LvsX/SrqsuZ+BCNRDLe3cYKolk8zBe2SS1ULdkSRLMrOZxmwQuEUzYc5ioi3n8cRa8UZCd5b4nr4mURUNoOH6XA31YClSHIui+fkBAp1T/WQ48sGZJyY9/cUJlUhI1xfBxrWaEVNckIxg2fhSlPQ7ZCkDkBHJwY8wPnRvQx0hgf6VeVJAEmh+HSiGmGST3C1I1nglYhzXPBor8AyeyCAoP0XJOp4Kzfwwc5HnOq+3E+6HwDhoxj4ZpNqJbuBlruWporv4DsoHixu2MHMcTidTBQmMtncxePZfF+629uNX4v5wajI2MzOIn+xdng6urHS7lhjYQ6akPOkCC64yPcCp9YRBHsa9SQ83TsVOKwB9Z3NlDEa9gM5Ejrv60sd5UG2VONM5Xiys86MN4BLVxm34imTLmOR3znf8NyDb8nDMgKgbYXRYyLzJrRPt1QANYHkf66nMpJOTQ8RdWAZu0Tqq3Gn2vxL+fn7MjwcGfLymEEVbU/1ZMqt8aaT7FZQhKbtrbMLK5hTj9buCaXoFmFFGVQyOCwfHJv/u9SeRhfc+30ybR5J/mbn/fxm4YP0H43THziFDurWpJ9bWyT4VkYGq/OkrqddE5RJOUZgbgyZY2rWBPDpz3uTwERTpbNnEL2avccGD5Im2VvVBwUl824bXo+NKhy/FQL6QovkRZqafc13w+YM7QFZPqsJM/M+ofIZWPTpf+JMCSlXka39sgNsKrG/S3hUbQYPNs63j74m1zUPCGj8teC3xozLnfqESs5JEh2MlHlicNc1gX5ljIb/gWzUUV7lfxvF7lW+IovlUBq99r5ph+Poiasxj/2qmDaB4A0rJuk9Q3SLU2BnFnCzSzmZ/IlTzh/UZN5xGcr6N/asLud9jg8i/wA/C31xl1RJLErfmvEMBbP+dZH5GvdjslrvzWUjeYT65+suAOW1UIJej7EiatbfG+XVfQQEg0FpUnCmam/rG7w2DUUWFMiWQYBlXgFRl+qgC9pXbPhg7ae3Ml+YjtOxAO2eJe/+MLvDfPwxQPFudOusi4L4T77jy4tX47eXP97nuJgoEtp8gNgWfYHfV00mpMC9eljWkB8bEGDlHOwVYHt3/65B4+AZ9J0K+OVjMlY4FkW85c+xD8wFxyy9s5bUYWBWqqtDQRNDU3vncLB8ciQnRd2f8G+dATzzjVyg6s/pb3a0CSAtYHLwYUwYVIXzjuySThAR+LjIHGJluLm264P14mye6sDs4mfgwU7ZoyZwzclMvnCYfC7caKygXbyCjfU2j4E/A2Dkz3b1WVFxp4swIh3W1kfFV1oWNeyVBYAJ7dTi+9hKw+IDET6LieQU+78/fPXH6lgevyBfsg7GbAbRYCPQD/02KDIo951g4H+6njf74mt9iYTubm8bX0jz9M2SAxZg6HbOt3X8Tp9lz9lGZW+XWpPyeQqd7l5iFIh85YWkIY6Lr3IzQuazoLerLN3H733uDPxnTYqvZOxlfT882aYAeH/C9l/pzkb4NB4eYBBQ8WUsy1yMpSwPuaSVR4DedlppsfEcCjSOCAr9ZgboIGxc0EiDnWPNeLkhIGuGIm+zCw3IVmuA31Sti7DPmnW+KtGdEoVz3VHmg5llKU/dD1+T+hNJFG89Oy0fiJY4KxPXoXuAF8P4E23XekLD4AfFSg5S6r8zBE5Opto/FlDSsw1Uqi4ytOco7kVpk2ks1ylcxDJn/3f7f11fA7Vbgk16MTEh9c2Ele4aHljuFqqqDNXjhib4xupy6qUyjvtcoES0XuVdJzwIzn6/WVwIaM0vsA4MiN6RA4U5BbLyagFuZSko0cvViFjdVh/kq3WaVdCW+tVnOULSFneOGKdOyb8y5IjbePUP29M9b5fhuU/gzZ44CDzL5DlYBgtNUuxYCAL/iXSm25Fa1Zb1zTiHN7+MBxrksJ4PneyWtd0dASjsw0O6z/UCHVh7T3pvtAuWpOxYs8DZTqTnwhQ9HXBzcgJ2YkDVXqNDSuKfn8IHQKdM1XkIZlZg4VaQebrdNjJmF+3DDWpu5X9D0VdGrpnrx8mboL6NRel1gWh1OeckgqDA2i2mDspGJuYagDLGVqii3+R6BjgoqdsWayQtRWvA9ki8IdNKqpamA5qmzG2/eavEJEzpONT5ZhlQ5+ZbLBXVttu5UobyL8ddSGP7ebBIsaRJIEIFzhcQIOc22LnwarN95PXt5JGnFXjN57EXExuFbPCqUWNNdiUq/3/lw+vvQuyzL3ycNxyEk1Jqk2wXIPAGoSXIBxFp/5vFDYmXrXiI170pWAEKLHrE4tjbj6aPTGT/nWTSvIVf2z0JLXjHmYTRCRNU75+hYn7rqbc/yWumHP6m8Pluqj0NbhmGhatxNKScv+i2Teuvzou+3rHkIf5Lb5oElSOzmncvG2Eo8ZkWFR6xsrX4MCpTnim3a2bGnv91z7C/b7hHMX99Gpv3cgOo+eGMqxaZOff/r4Sto2pQmGbPldphTxh5ruMS13IHNWFOIiKgZ3Tu9q7iIxlZoS1jlxIdXgLgoRp7qBCVdv74U9+PYtbktkSbD1RdGj6mSs6Ti+NPlG51U++3VEVYcqWRzj8399HZpFkNHSsLwO/w3JkosgOP89Opx3rjU6f8HhBbUjy1QsLY7v7NFV/1wx17i9eWvNtiIbE807cPtdh7dHkXPjgH90EEN8ggsslqlTnaSCigEhh9JsFH3c2ojNmXF7ytmsWQU7FNRs1SvM2bJJqdADZsfn6ApCCuxlePlpcIi2hggGnrueT58H7n5af0gzRxNnNvVS1w4c2zXsDPfC1LCXw89llqnNQ8o/j0VQas97V5Tje6zs4TQUiS2hBt2axXS4t8smMC5X04tyJqO2qwrvisblFd1h+22KXC4ec8XQka4YtjWnPRVO4WPRsNcQcrZpx+jshJ9Vw4qCICXohlolmFPU0S4uX18FLD4ZsNq5JVBK5Pdo1R1j86wTLwVwORgHp+wvexgZGQajq/ZSIslJFRdZaHjjHx8K4vx8XWQj6cm9ezG7GHNXDhr0EfGWm/LdYSc/vmyKsP3TfXQS4lAL+qgvhPgyUZFjbTU3pi1mcwKNsYjfPr3zR6ek8Huzf4X7bppiXf7v6C/ccc8gBpH6RgcUZTjoWzAIUoOPwX2i2Pc0uyUkDncLvjTF9bqpcD8A6WsrFBtyflckJApR1/Xn6ump0RcWrI/u1fYdJEgdPDY6SkcqX+jGD7Nusei2rDqOvcdTpSddyz1iKlFQdiYQO2hOQ2ki5nFCG0pKIb2Y5MUCukrpk2jnfw4ezB3f4tQehpOAN9uAmt6ZiND/QDW9j2Ba1vIc52U7KRAxGhaOYuYzBDbsSAYvSyZdFTYuKXHs0Ed+tSjePPNvEH47bF/1/2S5NklCbknAJsZeyclUQNUhI0JO689lfYep7erdTj4CeNjts8bc18u+StYgXQIuhEaOUdKFzZRo8VLQ76TpMvrHkin6fl/Akw9qeh9ACx77cYRshQsxOnUS+TgZOyFlpSFoAE4d/N4EsJ0qdTPHiQJASO91GqMdQwAzyNWsz0DEGvMWCZyHwzrcJiys8NEzKjnT3152Z88xHc3mREUm6Om4pJo6Z7LMvTFr7HaoGSLwam252olYIyKYslgZy2ng79nizG0dXpKsWrFojPfXIuIgMvekG/rRr39lu7roa2ur4JAXUUzpF40JR7hS9/KV+21qeLJah6Nq2xOeXTeGb3aj6AUWjh+KOyruxnWMSWg/aEFkeH/VDUGA0RDsoGyhSyRnk+9pO9mvWpNQkiTkBjq0WeSvRmYmZ+w+49P6LbUPhBwJjbnlD4fjTo2UZoUDxqqfvydq6S/s5BhQOihL7GdeDUttfTsHfZEgx/JNBz4FLI5bOE3+9xlQw60cYhNmO8icem36zunBh/XWNPdjBGQna/I6y463fcmambWZ1jPJ4Op6i7w3FPkchdorDf+SjKqc66kxMF9qOjqUrCy+rxmxeQZ67c8yNxDxALFG2oIEWQfONneGD7W8WqqO/gcWvamOt1YAeek2WRTuFVGmmh3c4RDDgDIYyn/4Ls8yyv1xkaCkiGMeQ/9IL+dP7ZDScseiP8Jl3zxrseR9AcCiaVOa/k7SPyDQF6zIKbjOsjytFBeE5fGRaiY5DkfBJL08tsOfzOtP8rF5ZZLfseddZeX1SxuBSDkmWn3JN6E3fWuQrdYDc3np0xtp0n2jkZMlpVW8KMdBXKvDdM+CLfxMnBBVhhhtMRM9gJeK7+PoJCTDQd7zw+0sJ+JBbeSkppbMj1vN81nkOADNU3Aq7O4CHSmr6ra7ECWKv7vRsdXgAiI+pjmmtmwo3GwLNQOA3WIE8kXEG1mAbmee5ko04Q0kQ4VIuafsTHcPVgYw0s38zjrmJuHY7wE6uib5FM3PHRLrf3bwsPEr9xrHUOx+uwbRkhrzXZg/HgaojhjGBAUxzJC1TOTU9ZjKMudQxnunNvOasBEFEPPWeVJ3dmrq/XgyAO4ExEE/AiWJll2fPyn45SkqeOErbfqCVlqR6Tqpx6i2nezbOOc5mA9AeV3gbKqdhiUaXzIPDz/rjO+doyj5cCdOnba8hwQcRCXOzcLstHwyHTCZm676NVj28TNFADzqBsqRyRMxCY8dG8j8ae3OBEVvOe3tK8uX+EImr13TBS/U5R86Gn46yhmeT3bkEyu8a4Sr24HCB/ylhRCywGnN5TF4eB3xBqG/N5H6EnYbjIL7VK7nAli3lP2MhkA+7tz97qDb57Bn+MvvYM/fWUS4r1OaIXKBkdGnRyCoQB5pqjSOVi4iY6xa+TrjfJHl4Xy88xmZcdAlXh0BwzPdm6rgs3Cv5drBP+Ziq9tYfxdNq4Nd9ea1DCnSFqt1FH9i4Qzw7ngaRyvejZOt/HkHB6xK/cLUJ8X7H+jTM67PquwJ1j/bQgSrxkBdlvrWwOqWdn53PO5GuBaje1TqFG5hfyEVBE3B1+AAnPg2e7fAaCL6EqttA0RGO03T2c964Tr2C9mRPVjbi2Zatedyc5kCeZ/WSzf1zQ4EomO8cbnS9TWhm/zeBnKzy5znbWylCui8MCnk+4v8HVofSYuBWh42kKHmlpFHSV8CX/37VTtlCWJD+8ftvrRLzb/S9cY2tkY99KD5PW+zJjiaWRd9wCIMlrnLLI7F3bcagQ/TH0bOXKk6XbcfcHBHGsSCEnPzBUgi8BxUrUy5pyUwmpSrCbRIv0VfYVIsh0RIseH+s79ungPg5vniYeQglTd2CV565ByDF5pDAf4+rwg3nYRqtqMO4bY6Hk+ze4Hs0r5dR2zOFaCP6c7YDC+WDrmTqIoeDTjT1CelxEjKGZCPrsZlKxIcMHvLZQbfyvXMQaJ66OJ77r6vtWZ5s1Iy/LyqjYsWheSlkJDG49RklXqMqafpb7QZWT7B0pb/+LYEfwCq3WxjD90vB1nsT3lbKA2vUovUA67Vqp+maHj3Fuw/Q0CERMEwoeqOCbFAYzz3ikFrvPi5Gf8njXgssH4kgxdL/q1xChoHl+3ttnETrJQw9j4ndnYOWty8lv8qc105+p5CuMLz2vaGBf02SZ8hvu+WU6eZJTlJg2MbByxPm5hKoVwY6k8+bKv2+zYP05bH4hk2eCL9ChatRFxVmSeLRj68cKq6glXTPDqipsNKNyysdEoMxqTdY/QljJMHdmZc2sUWzNoipjYAe0UgN0sKNXpuzPAre0cPT2Jz0Azj659lTeFrvFsLCYMK0t7IBLXJC9wFAI7/c2B3Ql9le+sf/iv9MFgUfiIw1xoEIY7TvAdxwh9I0wE4ExT12z6eeEOikNn4idTq+KnQly+sx/rqldhnr3DDUfdpi3znwOlVWMsS/GeYgRQUz4vtJviSzS/6gT20MWf6M4W16JpEsymCvZMdXO31aejm1Et6gk4rraKMA1TSHzEHzBfUC+u3KjH75xwk7Z/Rq3DnTRtm6syAgBSHPpl5bzWKw5wcBULeEiHvdpaXEvR3tHybzrKZVpde2WzwUnf0RNVlvZB4kIZBTaXvvZIPMAF5AmFmSXNy2gxE3zT1BVF7qUM+K9mIdkWMo56uJSflXH/t1giYLpPdcCgFgeNkOJG/NClL4kgHSqxjIOoRllc1gii7RwbG5jQ4boM6EWURDrxU28fpUI0Uq4IHaiCTdwHbLeYNDcmnNfj+6ccpivJFd2cqvjFkExtQMhJ4uB6dFYIdUK1YBfqMyW0Wp6qmUBMv7QgiiJmJowbXNqbzVywc5xrN+lQg4XvgQ3RmYsROf3h4qiE6k1IIo4XiBoSaMXHYOSjSHQVkYusnePZdyIVSYgGi5N2lG6uDi+oEe+k7qwKG2LSJVo85zQ63g+F49ryGlsE7iCBYdfASF34gMSIuShj4Pplr1AxJ6x7pD/OgrSldpZGVMZP4gxg6V2HSquWPCadBquUQJbMSDjDuVfloX7TYW4HoBJ4N09EKD/qXZ90VlTlB31Z/7ou14UOuz4Qg4HRO+3pNZQw/hFFA7aS2zaDKXVhWyCXgIgCotZD59TUq+/zNtX0oN1LSxrXlVdQt4BrBh6ek3KeFbgXPIYZLLDSqExvf5QV/9jgLMbwUfpI6BhGnkgrAvj3OWeVF64NUA7VMyB+D5pLCuiX7JTzLzBkunCHrz3VQxQhUw1H07J4OBenH8K4sxRlTgqTHFa4x/EaYiT4KZYHEnXrCEppvCik9uOEQQK7LcoN1g16j8wtZanj/YkUQGra7+PGPMBOvEZGY5DeGzjqY65Y59+gVn6DYIflzjBieJdTEVcQQPKPcZZdAlzid3BfcCH8alH2XFKA0UTwomItB1RYC4CvTalgtjgWzgk1QXeW6mc7qjAnpJaM7KnFhRP1kra3ga/xAlDOrwwsyO1VJLMLQTV2p2pdKpg7ol8rfTz4StgqNxK8VJzza0iTearMSfyy2gE2dImRXQB9o37DoYNI3iTRE5OKof427OG66cLTFS1q1JS8zm0J1GP/YeER24l8iXG1YPzXxAJdGbiBhjkVHm/tfxNwpgJaWPOIuq6i1vMvEy1PTs9fayndA65uKtQwEVkAhMFf3myqTdNLP34WD2dFTC9RY06YJdhodQv5UfM/hai7heT70PepheNUAkasQKLbE20SAzuk8n5rCwPt3AuJSiAJ9Olsu7MS02JQkmOwnv+ReHoJJw790QiqkcQ0Dv1zThQrHnJhuYQABUefBPGWr8tTkUXg3q81YFRSGobRC7gQc2g0i+nBViVjiV7iZZF/ac478tvWebRQCuiBRRACZ125RbE415f4P/QxQwXLhOoeo1pAmoW/BKF3ZaxkdLa9rJiX7qrw88/BmTpT/yUQWfIgSXNH4lPjEdRSP8su4P2d7B2RqmNnSwabeoJPLfiVRZzIrUvUljx3CrCbFAFX8Uf5xJ069OQddmtdnI4RDkjUV8DSWC9luuBxbySnx3xKv7S4PWckMNJVmodWRht2xILxxkNjrG1GxjF9QwUr57M6fHjlOVtNCiy9CSJvJh0vS1mYodj/F9UcyIdDI55OieNMz5qrErt4KuCIaCYiHu2yUKCiOpgZcMGGL5/UkvxHWQZqoftOfoBXxWH5ZKzE26/A0nZWAvBCBI7sDRz3B2EnxHM27O/zLaJ7qODre+HOMm7Lz5FSgmJBCssDiv3Jafg/QF5m4Rcx7J6HAaMT6S64U/aULNvPPkkAViUtaUeY1cko3EL8XCLGEVTbw0B0phpWkUsAJpiRTzmndXanNGuWOTS2T3a3qRrcr8waPF6QZ9ArWVKXoXROtsFsPCuUvt8kcQR+LvnN+Kr/QLUsIbL6PkDe/w9jtBJhSSGmL3KxIEDrqEnFlR32DAgohwY16lrGdA3YSVnT8NVQe1FJvC/x1LXkHhdCOQPLAGACUN48O2ce/OpbwJUWkRPuqQo9zILBSz4tgInSRW8Ij5SHdCcYy2ZI2iNuh98jXbbYK/uwMQOUAACIMTJq3GOCZuqvvKOoEvTNLemQJsVrwxwRadPRTlKfB8V8L8CmdIpESphjBu8oBeMlkqIu22t3aGqFU24+RljBUf6qUs0kfHMeaUpya3JeTQbA5buD8FCfkZGon2d7bTtWvB0lPI6av4BqlxVHHP5Gxg4umTEXGfAy2d/jzbQDzlrOlnX7IFU9m0WRxulz5pebfUZFxaEtjy65jLmZn1ydbeTE9ASJS13FRSWBobEXuXyUUmptrh1semoBjRZR2A5ur682O9ZN6skN5D7/aycvI8HWSuCG0BxNMfYO6MLZW+MQJMOvGH0HlyfI321UAf6S2aI4b7JfuLrEobICcb8PZRdgCvMTaqWoRUUXQ9hsbxV+Syr8syro9MPdc1mCBVsb9cLv2B30oxIYKB8SjSG3GtpqoCoq2SlEWb6xZFCHZHA9Q7bk/6Ht2V11Vumryl2dZ3ELYDsChrFgXt1O+BlezRBdjXCPkZt94XD7TmYt4OMEtaurNAZamsAHb5AgKHj/Txw7cPqO4+na8oFnJygtcaRUqcJ2l9o6lVRKk0pkkfy5Jybunoua/HGDouPyfE63P1ujB5jmTVEj7WWHmRoptirLLUqwp/RDNVMIl/lrsNpIbJJ0UiILB0a/4cT8qd/S0TkiC/SqQxkj74a9wvgaMPgjWoytIRV60pwjIYK23hZsnFcEZgxzhMsZJQBiBEqHQU9ec1CMsK8gliFjFfyWT3KXaRcK4ZUwPsCLWyZ6AqTZ1Uh2VRyYQWpq321aUNjptuvub84nbdtjwIPJIwsN1JvTPxA91sQGp06cvSeicej3nqjMfJb7uIIgm5ImonFdfoLBNPNJSS2NbaKWREEh2G8e7Nb1VOtHl1pg1owc6+LcE8oyPj4y8A2Ub8iaqLnCk6g9v9GBi6VAuU89QuuI1LiFgdSsT6T9pgk3C5uP+rxbcP1LO2IwZIEMw1V44IKlqph0uhq+p8c/X1qOxRKX+WnYO78w7sEEC/oMWVzz80LUU3lXijuouSBJTMqL2fEMA2xzlkb+2XifPW8h2n+qPdh/uNr/GLx/+4oH/zF4NyYoSSPEVM4eiO2hXTGQO7no/8FUFGwORFVhIyR6AoE93Jj8F3m0v2hjVTmJ8dcDwu0VJZ8TRbODfF2KEyM2AAm1pvtccYUBmeg3d0M88qgFNcWQpctk/7AXX9oqryVpc+5aVBxwwk5oG3UDPsM2emXWj0v4Ga6qL+WXIF358MutIBWJHxAhe/OSnGxNM7dGzony/u+shNCFqk0alsPCH3xtDhfnZCt96RDXYgGsiyL1tLTZxDI0PYzZ29kzJIRqNdIz4VKIy579cpeB5d/HCuxnOjyvExcRYxcXFsx7Wzazpy2qlgWUCJLyOgNSSwbcZEjQGVT/k01hM2MDtKOqZF7fBwR5ESjpjtoDEA8hGrUWmMQepK4Z7LWPPTP8ziDtyNrGyEeTEASUlX8xTULk6/RaVsRURu8tdqte0lBmC8yx6IsFwer/3aOxAGnDFR15uo7A8WrxSzFQT3QpV/vOH2U+8BI2uPqmQmDF/8RxfUh347JF31iFMlfS1Uuh4FNT5Hjfo0blIGLQKEcqis4CO3b8rtDP6e4X1elUpPzcJmXkfwhwu2q1YNEQmHdJ8cY6pmmhV4Howqk+eu6CLumoDiP2lyswuSWZkrMXygUvvs3J6N21gu2G1/KwOhyBjUWdDxANgZanTlCM4cUblhiT8U3pajsAUgoUtdio5eqPS+2dx5lpqpc7tvBPcyVx7sf+m+hEJp6DbmsyNsldE2M6MttywTCOsSw2azIu1wet20lrt12VSAuN4z5rAf5B/nAlY4IrPiCBvxAjpphpMD+ZoCOWpobhmDlbx3tM/b1o3FdMZBwXnvIOXZlo1tyqr19wA9um957lG18GIP0YOxBP1Rx6JyUSp3Y7jLdX0aD6MaofPioOgbyQqjNXvST1v0mPqh0BjJP6OzxabCEl6iOELFS0fwITqnSrijSNkqEr2xHE0Hx2Xr5ScEAlYZp3fXpyWGK2NttgyW5j2Xluok7e277Eaz4hr92/RDY08owXwq4b6nOvT2/dKDviLbVatkbY0cglOufw6va9fDReMtaaSRgT6Jo1Jl8e9iT5xsxFNqGhU9lBNr8hDyRvOvryPE8l7i5wOORFmiGgyX6v6WYC01oSFltgg2q52iaf4kkv3FT3a6/BCtlDCqVwLp8GIkf3obJ5Acg+hsN+TJqRGgdRatPz8tqxQZOre2Xi/pI5QzXVK5+RYGTfZXnuFqwYSlRL2rif9FHyie0ZLqpx424is4CM73ojmIVDehmj0fkyZATgwngQgcvYTDkKZ6mqVnai5nkfCOvcXYiwbsV/2LeH+PETWil1CVuRNpjDy1iVGNHe+3FbpPoeYk15vl8xRYDVq/SAR9SbSrkeAgKrZt4AZ/goK/QYO1yo/Ips4r6995AuZ9l1tDT3I2xEBOX5czbiZLelsV/t6YOk4cvprSG8WTR2cZ+oD/oe/9jRtrH6SixUzXdmJYaEwKslDr2Xc0xBjj7BqlphULt5LHMSmgRofVnY6tLPfFxr32FjaKbkhhpgs5k5qB6Od92xIi4wkBRaBBW76/ZrXVA3NVWpWt+mi9oEgNZfHp31txvelVmwUp2pshlrzd8Xcs/e7y+LI9SEMA9XdUp58l4QC69FJbG9mD+Zc9Na/GXwJCi8igzt5cbsnrwKaUL9bLgBHVTP+8ohJgTShFvuQf5rCHqYm3VWT5bKTztcmwVS93v+7pVp5v0xSkBfl1wy8LpHrLR+WcfGeeE83QKq92kCgpXLE8/zaEdoDFefuUvdlQloZlUgMPJRlC4rho6Ch/9V2Kivf4BxVK/Pbb6df67lcqkpogSRDSLDG9gDYFqiXE/J1RxQ35hX1U2Ccz/mxkLpQTRUss3TGmOR/QDTR0xYYhBoLS8pwgfuit9SFKQlznm/hPbJjHm9ukwbqiz5dFT0xry85ViAFgSOPkSOWzq9FCEIB8iqOIMcdexea5DjYsU0Jo0YzP9G8PP0CxsC+29IYB/FiMpso5w3r4vGMbbKsUs1J7wTt0GsMbtYnB/YA1JK3Xg20Y2OOJj8vdukG2FMOuJqeIExi0rvUiIZyN+P6TUgzwz/RhLIUJSBRdLUiKAGmgraOL3i/xxQDaVLNpIJICEjyymgGwdnK31gtb938xUxAupfyQoaTad7S1CpSDxGNrUKBDljOuWdklGuIc3vG8dweXyc/H/VwlXRZdaIoKFSl5wvozoMPfS8gNhzN25RXnOXwfLmP2tOxUrXP7Pd/VvIHQuaeQEKSCdVmsR556pXhlwuAf7237csirdFpCUiDd3VXOeZndWYXgaAVS6d2laARzTv07p/V78FsKBGcoj1owgYj49wSs8m8107y2enNwUpIDahqCxeUOoXzMxY5dBDvcuuRH1A0Smpv58Kxa5Eghm5jsruzA4waMHYwgzhHdd4+mxF/Tn1nyDUUgH5VRbCRs7ed6nbxLw8MQkwE2FgOX3lVjhHuxVACxhP/M8Bu536xLJf04JpeutCjnkes8c+oGYiofOljlYTZFQEPw4S4egt8mmBCKVpGhvsrM3kx/uqBj1mXpeNeXEkvuLhcCopCGG//zVIt099N8i1D7GPVyk7jz1U+XdrUlc0RRadkXer+c6z2kSbaVlvKPbQ0rhY93JlufTTLLHeD7njEChFF2Z+ofkTh818sSSi1KwXZZR5COdq0gSatIo2z1CFaRD7lOmSWxgMXnmdYB4q5D24znsZIdZuMqsatjpANKLTrWtCMawDg/IL0ucYddxzuM06fgHmEdqJtQZAQwDnEDFB/S/9TKFBIB6Th4YgDOlQ0gkHP73HHj5BA8EQQBf41/UkcYdxyBJsKKcRUC66NEBrI1ppsXZefmKvT5+u5NNMv47OxmEovrki11FcuLayvz2QjuCOvtKnoudcuMx770p2ZW9auqp37NrE94Z1AD3PGSc7TLJaRocgdDSdc0RbS7P3YbEJzZ5kAxZbxGxMKV4aQ7T/TPDByj/ObWuc/gTHuZOFgKseXKhqQediXvtGoDR8zFSS9ajCGqjdS51AhuAA2aeJNEGdxnZauPIv4useB3c6BbJtOVXV99BeDspcTP+NlZmWdfm82hKBkiAIP2uski7QS/K5W1X1n9EulrtKTYDvIudgyU/dmP8JMk0j48FmcQiyvRlS9dGz7yNVcwfGDkSLxOlZ4IBgOR3Pyxs16J+nDHXCO0hK5jBQgYW6NIdVBEhNe8wHB4iR5jHeAIQgXhsSXIgFv0WhpZLnukoitnLx6Xc+UabT4Z2QPO33Hu85DkBMt4YfwyFuVFjoEsRN6Mpp9AIQQzIRT00Lg3J6FinKxeCD8+CvyTV8/14zF8Uxfpy7tSn0tr1hEOtD4PWeSf0pHtvGWR6uKbI79jX9SsQtN78NoQd1TxyhThoF/r7x07vJOEpY1OCHNk3DLio3FHAjiK9XHXBloDlewhXTaPPpZ+elUabw/xGoI/34l/jgNdE5w/dfeyGeQAgDAJv7B6uiW4rfxUbJqUNAjGs/YYaDgB39m3d9bu1g/VhnY2h7Fa71Q20b6q9YptJ8QeIeDI90sUa/mGbJAOkRBJ2qkiH/gcKfME2ELZ3OB2t+JGiGyn1trEkyMZaUJXrCfzvghL7ta9/iXMB36pAPNK5KcoYHOKW/u8SMxp2gUVLLpd5S1Xzld1eetkPal3V++FIcaw15Glq1cWyRAKC7pFtPoK7QdiBzF3oFXYNKrlkxoURusVsjeAnGsRhC/EPn0ISfO+aVx6UCuE81cyhwRLwTOvmQGMmYpN4ok+Q/nkvPIY6/BbwcNTsEgAKrfEmN2kFC0b1zSCU2/0e0ko4evhzMwAhW7Mb6vIdo01ZjmSsaBKYC/VIlpzY5tHKDmJK+3VvCbwpSxnLxe+sOAfLL0+V4X/K11dCm88yLcAPhKKmCrGeayzF5JX7PlW5XTLzwiu4AGkr/qDey9bB2rhdBDkR1PRMSik0jTzH2U8dnRhsSnvwAek6zd2Z3jiH20aKDoh3NxN1fnsUiuj/1yF714wvEP/uOtBb3NoVwpMhZwSV3FIktbEqGlWXQnE2bnasPcGRgXG7+LCsuTpHlC1fWHE+yuXTNifkkFnXjPwva15SRtHBmCInEuzeNm/RcL861/dFvqT+cPbLiXHS4QdaXiq+2awzmadVsMJB38yHDqH5aRpCvhMwDiQZ3SWjVChOi7wVexcRiP2h/M6a5cWvZfT3wZuVpI8ponR4YPlqLH5OO9J3gyN591yg9GkefW9gE7RB44o0thwPh8G7T8bzM+XW5ZH0DHT6gRwkl6tzHeoU7xfuVC2AMxob63Ch9Xfy5+u5Nrfhve9lftf2dX4UuI4kJkT2zgOOZNxrPzb7oz6T4EvVMXN2mELApajoDCnkVc+DpeZB8WpCRgHJVc1C3zoOn3d7ewh6BLJ35Lly6QB1HQm374/KZTAAEqoFhei6klmqKL6n7iiGZY020IR+hKQbzYeGBueKA9eqhmWBX1AUc5DPcDtf9/jG1TZQeeqpQUxdqAlff3Mwoxe2vf5FvZz2qL9Juo/exGRZAB9eZ10Hz7EyjOWJoLAKMacpm6PlEV9PQ6uGgOw/SxEZGdqrqOpCHZOeY/+QG9o6Unwn2cYqpUH/92gdb7hPxJfPCFzkV0G9S91rZ+4cEPzhpYcpf+XiyS4tNmmw56DgpkVZtqsF/6sJA532KI4EvWOG1c7NThaR9BaO7GxqsE4lhSG1OnsNoit3aYGqSS5/1cAok0acWfj1waynCyKO1bkklG2H+oWua6zVLA2YyCiozp7f8bprOo2/o7+4SmxpAxM8AGTGoKXbHG2zJGqKCTZ0LxfvqmYtLtkrU/aMh2V/2KOLpsidRCT0yUX9RwMXenBYiRBXXVuLv1b+p6/5YNZTxqPA+3lz6zSzDRh87lrPC5cQAiIsIhTBhsjAq4+ORaUo1Saonx00LPRhjS7euN/lzhpPAIV1WLsI6lwnYynBL0TXAtSHf2G9d2o/k9sOtoaCXjKrr469NfvhSqlD2Q433lnmtYRNPkX8WekbF7eDL2alGIdhtmMVpHJDhInZ4Ue8g1bItfzU6CUoNERUswyHyBm2UE2IayOMG9Id603i/RdcymJdEdkBNt/AvYw//fXfP5FIHIJdfAHSEL1wPOUvsWor2lgwCs8FYPZIjJmxvo1gSomBv7G8rXaM91Feny2AkWPo6VsqDh9x+o2x8wKQaJabSL4CylCzpf9DpivE9VLBztSmrO7AntKoNPDOZ7A5BSlyOl7YJBMOivILiEctBSURYZxVr4/Vv34WUDIk1gEX8xmUs/x1nCHvjkq3LlHHjWB/PLwOCx/P23zyvA0XijBeoBatFlz1m6q+Rt8uLiD5blbNLonNZ9JJXb0lALKS1xGu/6dfgPbLslsFYzX+pFSNHbE9lit+BRnO6+SrFWcZki6WEgvP0dGNRyzdi62OwuDPDFewhm/5FC+wlk6K7ir7jJFXY7OBYgAI7TPY3LzcQkoC2Vgce0YGdAqDFtxhADQwRfZm1NeEa9sXm7r5MEh99uLCgi+rJNX1o7LGFIhMruQZYG02lqEvna5P1KDgmMwh98UbQGTu0nWPhzaVGpXQ6KYnUBG89GwmYFWnkFG9MKvoNOiH/RUXwn4k6Y5X2knwoq+qrOJbKPmRy38/Hp2mxbM5UZO8Jakjol5teJOQaW9ckbeSVw+kiL4yEQdCYEm6Is9xZO+PLHc7hyYyIrGDEgJjNfvc/KpGL92t/B2wJ2c+smJaVl+jL6ate0CymrZnwY31Nlt+kJ18UH5HkHqr9WeBuRuQ4EZZ9sNXa+O2OdEh/Qh8MZqt5cmaIKOM2YTJKcUPzxfbbli/z/oWfzCgUNzmOGJeaTa2qnZRkF0cfZod70z9aZxe9U2obXLkZVYSE6qlGudxBhpd66YELvnhxSxGCpvr5aqf0rG4H9dksXEbWIiN9YVv4EI/fXAcotdZU/cXUIqO9Un8M+4xTiUZPSgB6lKYUhnpjAIIiaC4wI6fGKG3nql3082i9GUEpUC/LJjL+2e5irmBVQubxOGmJMH/pNLjAYjX23B52w6JBB6059hhpcaQKr43nySO+fNU80fMxD4I3CnAPQ8rYPVtmALICdZjM8mdumSntiIIlDqL8zm8PX/hiKDv6oQvoO9qQR4lyZQHcZfYAXY9ClF6zM0ugbpDjAaaeL0p9od1+rmjv2GyVvOHohHS/jPSL6jtVKy4O2t1IS5DHZAIs8dzPWtIRDkZRHJHt3fvNct7qwONusLwGCCHMaGyD5cE1e/4looe/UPYDBqPHRqc0s8jFONmE+QTSF0ncy+3Ym1N7hChvi57pmhSjYwpMxbJcJ5gO9KNg2vVxxTdep6cSoe9bY1Ft22Q+bPJbysjV4z1zsEGy6jo20gv2G2e4TTTFg3IA0Uc1zHcJd7a3nH5IMKv+9NXajQEeDmjUIU9vB9zfrpopQIk7v8xiKQ2+XoWSAEpDri4KF1wJlWBzx2VaNjCRCFPXNTsRDwAu3UY8CirTjgKyCKgOthPSvvh5BWF6AzKja0z8OeLMLMk87iUEee20B5m2ozWsuiDuAve1ouOIyMjPYPZFD9goQIs/yHDir6h7sdSWpBE2ON6bUFDIHVzPU+RBZBErrC0XpscCqFncTy1RW5VMqG13VltfWsRIqlDb6iblu+Adgb30vsFyq/lcfmrra8jZAbER1qYPUZqDwpsafZmsIj4KKxVytauLJET2B8iohdwe1oZgDINOTFd0PvKxjPhmoOFiteS1JAwoWQrt/SpL+j7TmDc0neptTuVFOoEZSOWE8VKNnzQgYhx48Cnbg+Pa416D1xduryjV7XTs9sNcZFC4hNIp3LYp3GXaAZZFQB/9F7TZXuZ2TPw/0FIwuS8azowbFsuFlQDtf3+x3+g0fvgo+f/57TmxzWMB1yt11+a7uBwmSHcagfTGpwQ1eB+orNhuoIFFZstyUBMd89eg1PPwqxXFNkFHxYqVZvYQTCjjbfK5tSK2OhRipSbkWbxmCUj5HlUrJKWp5PHl/1gUnxCDLHwSp24NICrDerPkEBw/gL2ZHGRABR8ih6SjTmONGo7NyqQPm8LlcnGiDE7yYQoimzxJzDdsKGtgjmcPbdPlK6rlEOavhA2t6GAnAHhV4NczvdI8pZfljRjyvTr6wfR3qtRNgWdgHnkmHP4wC70BBlpxvnMrHHdOb4XoVNgOLKx+h2Q5DgpYokCgEaD/jW8FCh47CLncSEKsUvtFqE09DX2O73x3imvc5UcDbJ92nmu9/PHw1dHPsTZG6MGwa28Co1d5G5S7jkSN9F52DQYLz2Vbqr7FTGw/7JhYPUp3xQT9fpYaCZTfNxUBPUMR33nDJvg7guTgKn4NX7j01C2QpA1Zusn8deLzDa45BGq4ygWmk0RipszC3OfqtQU6qT0CgKvIQwawS32CEknJygxNCUxgOXJpOeyB80pf+jbZvAUC9D8K0POlxqqwhdrtLzpzwu/LU48lsXlotW0/yLg2WtbDy1YFs5pQCOczrCAMO++6m3AOyqs2jcN6g5R07fWqhgZmNvd1Z0ZC6Ai1NLJ0TufJA2mqviM6yUUiskKqSUR52AFz8laLheuUQD+V9nSZ/WleQUwFRV88/0A7utAk9TGJrlUd3oSnD3GreZ8UAksj6L3XpYgJ/21EQQkDsQ/LNW40uCIGwPtJqSc+3qqNE5APhnmGALa64BxiTAd3cPhinphhY1vsGHWHmtd7PeOYGE/9pftBkXGbfi6wif0CbaMyz9A71Ob19GWrnvQgSYAXKY6VuPKDLxmF/5MYi+Qs9O0ZgqHTrg2x7bJH0KjYvOKxAl2vPICHz+BEtkuD7STCp4c3aIiWOfU6Q8cfLJpHw3OyWmhSdmNj7KvOuJ9s+RdlrW6j0J3PznxOeG4EWLG3QSJIY5nHLntDnte9hXNGkO+yP8MnjvccfoHIwbR7gg2UkWoYrmPxKmU/+Wjqy33SupNh7T1EayndksCo6TdZTE15BIzFQnnKst2A0JB89e9ru7sGD+sJj2euovIGbAZbLrF/gGk14Dv4JaF40awuRF+44fsCuaqajOtl31gaNR2/salNwbF7zxdW44Y5p5kWUjJ2NquZt3kBexVx+50JiCLxRPNdKD2IX1aLhB/Ou5kkR6aAvv+BhJ28LoTtTcabH5WvG4NFqtrHP56kRfRWfFj3lH0tOSg+SFqacMypH91jiNQlr1XARJvNeDWh/LB/vPbAADMkoXAd2wFMK/Hp2ZyZUBI3JWxYjOArj1o0Mo4Lds7D2FFPeLk4ke5B6lN32H6I4hrLF5358lLVJQ3rN6pFCRU+nSPpQnIG8/VIb9fo1OadxU6INUNjGKm0URx//r2PWM0wOBf/EoGR3HmV3eIpJUjbI6MPDq7k2EkFAwh+5aAfi9wys1LCIwljCS/6VkDjSMVNrp+zCrItK0vGBi+/Es7U15nq5vVc+2NWYnTSUu4270OKGwYXzQpHiQ2KYqLdl75C9i13j07gyQO8H5DMtuL9rxpyWYAfQ15X6ibZX9N/zXV0u5MiGCrCekBFsyxiKVUR/ZBlmNJvKTrhohA/V/boeSMXygu6PuoVmNhIyWmFrrYK/GHvH729tvq4XyJoHUEUhcSdKAdcss/Jfs69X7+PrHeacHspHQNHcjj28rSkDpI42l1cnpsgFCX0LfPlOWEi23pXkYHmK+Iwp/hwr2/8rgxjCfljaXjW04h2Jlds0jmJqAP/a0MF+rm6dR5SnRCaB2CDS+HPFtYL6U+4onSVxeZUc35JLQvSJrD+NywIoe8bv9uaP8PXfl96hxd0lbtgadIKZ54DOafme+ZiXPD1jPXCJD7IRGlBqAJY+jYsdRJMv1AtmSoNxOCf3UBwCCmr9BA3pcZqJ44DRrevVVePUgik7sT9TPAhVkbzPEsLfLpKmkv7IZIhhVvO++iAwLgzASZqNM3Plt3LVet4jBOXJwbOcAU6bZGuZmpet+eCzSRjC6pQ9V6KAQnNOWd5HlsR4dWTSCRucMmmVrL1l/k9XuOe4XP/DLnXp85T+/I5tQF/f6rv93/tZGPVa8Q/XBfSBkWA2e6scfqZTJ/8m3DpqJbilL+mOrS4AfoBLATkP7rzUiP9FJF9uLboI0lQffYEJPhCn6RjKuV9c93DwURbVZPh+JfME1PW3wQerYrey324J88tAzi13Mxh1ztw3dd92+M1fLPGn0Il8dX7wukE4QoWLEsO7ZOw/kdSFLDmHawEEUGdbSSjjCNELI7TZOmz4OmQtFyu4EIGNC2AOY+EBudCnrxJa/HOd98xy1O6PMUBFXR41J9unKxpALOvCTYgjQzYvpZ9eS9lu0KG1LTIFI5hYNmDO6j3lCHEvTXV0MHSb9QDDdrYsjER49LVzNoEVVzXjoDd5Cq5G8fqlJzo180vTJDMBrFKxxZN10Em3fNgAo97r2Qr7oXu9fSAyt04nROmklKi0XeoL7AWMApcJK13m9TwBhoe5JYiFuNR3vFpmQSW/JMj4AFreiqtu26AdLBxIo1PQLDkP70EUONYwexZcUjRPW18FwKwiVY+4HrvaGbg4zGlTkfYzR0dZdEQMwValFgbuijALwkCQ275ZgZATxWVccVDSL8sDfFjWdg2S38iCVEdfDouWWsUXp72T/D2JtSvjIwlnsy9hEkYY3Pr+HHvdJItGCV4M0eKLuqKwOuNKAi+x99OXB7RykhQM4MIHUb60HMN9JZdzWzKBrDI8M44vl11I0TCOpCjas2Z6/HjKdVhTD3RR5UvA/dnr0eQ81NiNpM7BUUqQ2pnenKa4EUAkSIv4duWyPF0hvT+rtoEdKyNvYDqFE2DCqYyMCE+nDPJNcil3Zx7UXQgDbR+YwcFOjP4KN6ALuJUU33fQA5Mn39BYYT6tRJUlpaP3CHqSZIgdy7LFGilLCo7E3c3W4r+fOtrNaRAFEwWWBNDOW6fJEFd9XDpNwVzrpIFEZ7MZFOjjavc3yKegDkgqxZrfINRyFqoomvoou1h8zJ9zkmDO/dLWI6kTTK2GG1tlnSlURwOZq/CBpdIzrUgekTAbYxG09AbnN/hnpJPJ0p5ufpxVCNPFHfpir0iWq5ZH75xcFBQTw7adr86XlEYuQTcfWGUSgJoYv1i35AXcO/WOJwGP8WS0qbGqUczIFo7Vn9ByPLT+W9/XYSHpLzzQfM3ZypQTX6Xtn0dJXWq7W1XzW1FdY47oCMF9hezmCfAxWhgsLN39VDoRuetXTDuX5yUJ9FS3uDxylUw6erKGaJPjWWVhF6NwsNnHeL6u9OipX7BjrAA26e5KzteDGiTmBrgfTKedVcsmVlvXEAUdLANmLmdnE/cYunF9FShsx//UFzciu/1NDpNWM/xNCRd48oDyARjoZtfNLRLs8ho3pAIz0WZQdA+5My8TdkNoo86vlxZfsTSJLqsUdX+iYouDvynkVfqlYIEIMAv1k0PySbKp25MZlQyIf8dsdz3Jkuv5CPlU3rPC3IHA8t8Aoq1gvS+2LNdEvPOfU24L46gXaw6Oy1A7dYIYpJpg+8dNFFpHsgI4XBtpqanMf3dMRxo7R4mG1qNUNsK9oJGEgJObp+j4jbTXsaXdHJGw2WifT894vE6XwrxEd/sdyszj95M+shQVBHsWQkrbWYFfZan9fXEXtTtfqpr56khDK6FqIZRbLNcSBMGfsOiXdI7kH5ST5wSY6d6/TXkWEHauCdf6CIncKXDsO5LY4ADzPH/VA6MTWfaKjzBB4RRPlF/cH4RosZzoZcUlVb7SWzxxRyo4ZQ2yX4Is5ax1MJrTMZPz8GPxjFCWqVz0jDJxhaFQq2mfNilXLE6tHr3+bJ611yJWzqj7ruQBq9HT1WJYQobKrg4OscO4/w+kQha3QQArehtfhoMgYqkUWYF7uflMrqADmAAg3JM2bVKbAdEYom6Ug8FzqqzvFUwNXZDZelnPi9DL00ElW7qIYews5vjO5kIYCgp3ImQaLlotm5iO+fzrB0JpP1ADIuLcU5APE1P9jPDdYeJblhPcVMl3lO7GO6xCNCjPxukwkZvH8vqk3mGq5cjhnOQ/55RS6U7AK4kXbEGhT8o18me7stnuB30kuY38XJG1d+qjdfwCgkL91blK0F3pVmQmMFvg8WfHYmkxxkb7PBcRKs2/6xkUCzPGqZtS6MQaPHVUJb6IZHgyit3snlbL3wXeMLDSAVIhmt5I2Ef5b7JbtFB9nuHUpXRafhym4dKKzCiTB695Acp6ba0r4GpZo3fPHN3pfWJRm7zJBaD6ifKjvWTb6oerXZ35oDBVCMDSXsrnnZWBvRRxDjGsgaJlK2IjMeYrQzu9ThAIN+P34253/8SZU3GrRfoeDXDdVY9/VD2z+Tm3KPPkuJWyegLaoqytD06O7W1rmzLQoPhw1NQQw+i3gGt86REeIO/rskVsSMwBpSJrkWw0FT0d50Hi+dSg76aFaALn8d8VBi83JY47Oqhshw0wJuBt/93j3kFt8O7/6CMW/rmCyc3YhB5HG4hGl8MOTTGwV9f3ECop4DSRHu0ZZWq32Tw5jlgrSgRIGkSdwPQCo9wcjpNNazqH4iZkDrFIPVjnPZjY/xC2s5sGiZolCUzwbEci4FPJSbmyHquX6/icwTk6CN7A6QVIrPTx2yrU8mPXfxXth7cvLMnr9L/mZ5es9/EiEz2cGXVtsn1rMSxxfcpvFqQ46Y6dJXguzyp5YQn9x81IEqAX0NoJrtACjHU9tTs9+J3dEAepKPx1Jh2RAXtQ5h1ubkPNM92/wHrLvzynUntWR4kSJg4WzqCgIJMhVouojC9EJgw7qU7PDfmYKie832tgUqPwa/ZXqs3hF9nAxz2FIrzRh22b/5YAQqLNqr2Vxkyl8BKwOrHD9luSiWwZ4xZb34Ru7eW1+8gEy4HPFJZJrudpk/jMupDMHj45OEAdpopQJopRel56yTg1W464FEl0MbWp0CgS3JPoLsyuNK+ctbN2plD7DZB6Zm+PjIkkt0OdCm2KhQHU8+iAqb3wHLBrvOo8tO+qUG6Aa67GHtVdcFHHb2eNukDuJWjXzCrgrTZqWp5pS1x4eGrs8f1demX2tgjQ2ycv7ysN4e/gL7kxTq8k2iimc1Gi4OktX0XF2LxsryvaxIa6MLXu4i3xHsKPN++o9i4DkhtgOvm+sxzYe3+a3I/c/5YNe+TbdVOchaVNf0yjt/G9drCd3Xl+7eR9/LDj5l05zg1jzARZiP0X2WjSBNhtrPsElGr/JhI5ipkzhpR9qOmRagS1DRd2IGUIc9Ieb6DWXxiUrJgvQIoBwQnc6bl8ke1fumIhyjW1OZ4FEWt0rsZWv0qluuciroT5DZGcMnCMtu1dXWuMJIe4PNzz1xmSUoL1TLePTekETrSspdyla4vCh+hWD6qnP5rzvQs9fXn3wMDsJZ0d4F1RB22/j/tM+Rqfp8eWv8MkXS3750QXsLs8M3KfW1mwJ4lMo5yz/Cjb5gKXbgFiQtfHweS11RTT2mLbSOVKXYnrFk6T9Qns+xjhSU4dd/ZNPUaNunSUk6sHRIri8yOsVsOcv03XNRxgaCwVam3+OhuRS4MknDxO+/81NkhIsDNQwtOTrCCfQy6eeLn1enctuD4zooZi5iAWAXfhrTgCzrdhqUds811Muw8Ei17M6+pufM0LSAOPaB7RX+nDo6/KagUBZDQEfzm1k4z96kirGjofa++6pwc7QwY2xAtwmyafCyvvCdjtxARdCeOsBd7vKMiGVVWnzdHyL7RxLT1S/7uic0V+HHA7OmXuGYcbLmR/Rre26QKTyBIfVpgu7+t7TiNGpi9D8iJjuQ4xuv3CH7TaGkG3QUWrGwUjaFCDYp12+SG/yHRqeG7+yt6D4sAjfjvUQs5sn1AHVsgVcqogK6RtnxefUdWyCwzLO/DavjX8IxIeAcBnV1H6EYhIzMLVe3ssZ0MXAUIvovDQeIZaM1FnZ22Id/stH1JPbjKn1L066V5v/aRDXaSZdqwk9C02xeBwdJM1MAJyOmvTRjaluOSfiZL6NwqgdPs7rynhBrtF6peJ+umqVzuok0V/yDeAXUEtaY00WtWi2j1MvE6ta2qYpCpHK0YNiZvOdVNH9fESFc4ZuWa4FKJgjCed3crqYHtTlqE6tGdI0iGT6JYFC0RZ02GRcNU/uu0m8zEsb+hKfho3O5DmB1GZW/pubCswjwe8eEWxcjGtv4FcudWMp9bEDOx0I8DFJA+H/R9dzeANhm/bRulJb+n3YcGKeuRftTBLwx7hOibcb02dbXi/wJxrfbCKESS+nA60Pzfi/6CVdtFJ4uUOadFX47fort3LKxNM0r1EatkY/25P0JGTGqGML3+irbieoOH8uD6ndOzhesx/Xy6iogduHtsEe0WcwpS+vhBhwabDgKVdBWe/gjnqYSy00ON8P/6tx4rDS3x7Xo9cetBaZRwNKFyoQxINC3Pb/c5loNNN6Os7MklgY8CR7/IH97E2GZje7RxC1OaDZV5uvlyzqPYbF7CXUolYigNuHwESXGtQhV3Ty9gj0Gw5STWDAGimSYmDiUlS6w+HdxKEoBH5QYZ0dKIBDMTOIBtuaFmNN/EZUOWW17AjNuqJqB9+1U+INU/1wMLPJBNnBWHv9NT34AUxVPcSn4k+neuwg62RU6iqkYSty/va18k0XX93D/p45DuPYZzu/Tn0T0OTBfD5q+cCmeweOR7st/1cSVqDF4BmgFerowoM4Bp4R4yqX9czo22QlWDtP4nbk6wXFybUNNhBriHHgnQtbczlR8sRA48BTKG5uy1LSjn6qZ06avYT+EgO2YLcMiC9Fdxc/KfO0+aLSgFFDNC3k9D4qdSq9nWUsL2Zs32s+wDbTekugwNiIQkttojt9RgaDfzZdj6GynQ8aSB24rRz1zuTEWVuQWftWDPatKXiOKX//H71wK4wUyO+gr/eBvOSf/c/FwPspBYCRRsgt6bSc/ojCh3/OypymA6dzYe8y57WVKJ/GM2bgc5juVPZvNMiq/lVUERRGYSBmscY01ipK+N/04XdJEMdoaCCkSH+xXsrMXA+NJEnzkeCUVI9DRC0X0f4Nxje9aiWah/6PiIuxXYOHr45jkCIJfQhbOHoLZuScIGaFHBmShQJh25rPxmk/YE6RM0k+43Wa+zb5L8GjF5byB4B3seCZz1AExqWVgQOg6y/pvK8zE4nBI3k7rArrJL6tSiHs1HfDcdpWtrhMt+VxYCPGcc6E6Z55DehQTr+6AIFVspidIU4jIDuPVcDHFOfSKLBGDnRrsCs1It1QwtmYQGzoHuXmgZoo6Uib+/rDft+1AYgI/ypyG+0yOL+x7Jus0S5ORXmmSbfUaFQdYv681nxXW3wBcAMFOJH1zmpjJkx6mGCSL9ZbPCg2EjfGLgibj1Y0pc86s3CcXx9oGRSjMfCGO7hX1qh0XpHNy18ERLYAfxRZ7ja8Xh6bg/slNyFsIHKZbRaP2bnMMpW6SwJaelz3Cj1zCe7hvWVgn4lJ5jyGei1gYagN9dzet7/BHSeEY+mu1esib/3WosTeW6AAS9z6F0gWEf0HpZGg0oU1leFC3RVwC08ooUKea3eU5Ca44Nqtz2xgjQMTlA8/Frjs0s9N937h6n66roeS2JtReTV5wcetIdFUDBcfUxLvVv+StCaySykzKFmBxUf8jOjtDvbntXjP8kQumJdbjlORrHxlIBnRe9+OxPx6KRUalpQNYk9ghcaiUkcodiUU1pzzmiofFMxkP2dqGdfyVF0Du+PuTbx6WzuPdrLQmmT9Ife6LxzHsqm0DVFnl8VNLX/CFdG+B/eOh3kIyNERycRawmIQG7TtxIuLsba0p0Akdtr2GoAClTJPgb9ODXRDQPZD6KIK3NwoiHysUW+a64pLj9M2iTfG5x6AAvilr82RB/4CapjkbsKGh9gaoS/4xa6mK1Dx4tEgtPprbkCK5nNUyYaafBkfQahGh6dlqpGT6HXa+XzfJjcGYnZFWyY5940juT5OEcKHDSvpHXiXMj156cKENXKr9FwOIhux65ZobaZFC/gNzZxOt+0oIT794a307rGqMTdjXP6AVPACXyF8H1R2JhMV62mR8AfEPHXHi1NagFus2J2m8jJ9QjIyVEZUNNgWePnPs3xBwG1ep1PfazBwyNgi/okO/KNtkwea0lx3J05qnabOauJa4ezvrd24a6NRWL9Us9bzBzbpb8O2sXHhsD7D01UsG0hCclh+zHq3Z8yEl1X1E6hSegfFcIul+Hy39XSBDSArGKL8TnfqYhztX+e/sZcYspXr6zmpfuolnRShrI0ij8dzFbAWMoEXN69eoEnTi80XqdYIdW/02y2+zOIT3LIyiCTVKvyfMgeQC3VFvlTPkMiXmELphYDAbcioOsRyR//njd8z+CNYx6UilcL7f8YpAWtHlIkz9Eci1eyJz7ExtwdIOr3oU9qmzHCpt7XmlTNxtQpfVnr3l+WzMrc9mLUj1ijQnMPXVvbweM43osQDFuyZbnLRLPswk8bZJETJFzzI2hZZeQDDI3crPrx9n0MoUhTccYoAuNlkq1qHkuOboas6MXXxMXiH7onKuDFcI2WGT0lx38BV7RW0m0IAc9FZpYviLihn558Z/wtQo7vL0aCVqNVZAEdALCk/OCoPB5f6i7Be7oF5l+cJz9OYovTA80QbeeBym4KbEcFqWPLNkjgcy02ATRab394gFQ470rpzWysB/wPcpfcw3/ef4/V9Q2mFmAd1Bgscwj9Wk1H+4wU1h80HWcWIkFBvptKPnHMcQZIbHJ/FOT0NclI3V9jH4AC5SuC0zTNJNxGAuISJ0xGGuLpal33bxjHkKvJEy/jvaEL8Dd514Odri09PWxBpEKWuIVvWijCqZg5zTkNyzROEw+YI2lYFBKOaveEhHczrcCitC7zyNn19WlyfqR7YMCpSO9tEmUCzJidlvFfnFyTKay+7xL7ExzuqVAHIZ7/Eenhy1ETy+LGxDEwk8w1+/M1iycL+sfiqKSm5JQWDvE3rX5eYWuCYKFJZpy3gV+A2Q6BQsex8YiCY2aKo7RED/qn8nIldb6wZrN73xH4ZeuFzrsEgVzIldvs/iTStMn4m+iQQo3uWMEQsj+WxHkRr9pkzzw9WubkcBiKG4a14+Rj3sspL6eZ6L/GbuDuQ3XXxejaq0WXfGShZWn/kKNipDCevauPaFMQbUzsIq0eQ0dKgIvaEqSrVikjz257A/W4fYpUBZB8gS9Cp/pA6uIQg16m/098gN//ES2OfGnOr/Qq37JCgttVGlnPrkOQIdbzkFtHSYRWOiK21tExynKG7Ttmf5eC9hKNZQRbbrLu4wNvU+NIi1hl2eIFFlT+D7K+X+GpbiC93YtEyLY4/2s91cXz+/4WxTs6TuOJClQFRlajc4U9GC3BgFsAwRU2DroY9iTXhsRATU+uUwe6ZTsyFU+z+z1x0u6T4n/7rWcHHU817UokxWpJzTgB9Acy0fgqQsunDF/ZWpuxwKyj3L9zRX+XMJJU55lG/G8YuJ1Y70/Mc1hEQWBQCv5T2m7dCkYYsCN+edvT2Nvq9/FyKf56jvPOp93L9lgVPTL+c5SKjNFXcKK9t/L8AHU3cbpjqnZzN66FsKsyAokDjdLJxnf0Ms28ZmpSHLObmBO9OEE1yIG7FrzoPKVS7MdOnbpd+HFHT7uL2Qup41r9KthT1VMKq23nFNeIIcb58sjnMyFEQ1Rt7R+gf1PVniqPHeyq4FRZM3q0Kg0JgChlQY5aCI2arKMZ8fPIU+IINLM2Tq9gsvwtLUw0f4FzHK2nz4RT3KB3+hyADtUFlJdpwLdpdh6j04bzDdJf/8P4oh2AkPdIMB4Ss3vD0DwPOEPChPKRipiH3gHN74m79I4HHIfLxJdtaVQPNoobmGDlp3l/owTa83MQYOUwh07pv+9Gd4FzuoT+IveM7B66fVnTR6DJlJTb6fM5FGbWsrb4SdokCmxzIOM3ITW+WbqE+RnsSoVozohlGtKLMjQIb0bjzCB0FWPnrWgK8eH5LktR4nihCFb3yMgbo3oKs0/XW0jk1hjgiTHmI8t8Sh68Mp8eNfGExg+FSnsfqULDlMEuFYky+MNAS6piuuFklX4viZr69txSeGbxAYucfy8ZJ5wk9BqN2lzDCeV8tuPto+XpL0gcBx97q25zIzULi6xjIsNkVsC5NhvsunV/oyV/sgCvi/rYH/rGG/qYSu7AFeOwZkS1ijiVptU7jjY/fbupN14XYiTw0mKOGGcewFez7s7K98qvMRZgMxXUZ4CpuR7N4JZjxhM45VBO6cnhWMwJay11ehIWbjzSMyV/5Rpj9PvI9CqlnwcJrKP2S6jgaJtH1qpL8+X9bjFjYclRib9xO383N6Obidb0PN3/9BQ8i6e6bzqar//TcG+9uM0p6IW15RPYrc06Vv+XOPmKDS+UtAhIZeqQ13LGlPOE65j3EMua6ufQLi2EVNF9VGV1eEIpR6EBd8F24gb5TFkcpfR4QoEWrMOjARqVYPvwmyPsFaurukSVYIZQvTK/uYMLesKzzFO4lG98sb9oZtANOV0MafJJJZ7EAbKofj0UU3c8EM+EBwAaI0od4m5vrmwkjWghNuAXQqc+swwR5Cz3+U4FXzvIyMkF73/unYBywQhXya0+iDtL3KgsVjmdHfCxq5Hz0q+vcjXZzaGOeYJ9C6DFgZqp6T3hmXpq9pAkjvVhrW/UyW+xF8XrGX2mlX08QK+Gm3jc2NajKtGPkDBoSEUrOrNLElViFCl1MqwFwqQ8ndCfyUJVRsAK0I31btld4e6higKZSHcqWoZ8/Jc4BOcwpZWsuSdmh8ZZQFJ97x1qzfwPagJ6gXWt9EXUzBQw7XhiTCFIBhCs/+IpPhzGXBMJjoPvqzS+2Wuzo+kJ8LhrvQhPZwssHH49mxzrS+JHKFJunSqO1A8M3UfhHt5tRfM4iqZBBe3n8c6K5nSvL8IOKhGtxGfvyBgbKY6ebfXtDKszWdu5SU/ZZ9xgLEi5QvAHKRjeZJ34BOzdJQ4C7Ie/9vkKA24vYTl3F0+6hnnHb8wbZqulUcLfEnFyACVWrNM5nVuOqS+PSR9AdV5dbm6mqgnAXtPBOvKC5PD/fzjo7O+xa2CsH5Z6r7TnTInMGIJdqlOIbcDtPjHiU0lRb+QgIjvgAFRvt1SERHiYNZKmfGphLAUT+SksD65T+kB5Nbpohpv2M4l70q9AM3IjbpTI27tih8RdESknVdB9UwO2ES8+/buo6iN/Gs2SJJ6TCcwJy86m4Yeys506i2IacY9aHUUJjr+GAyENA/vdtT36q89FhjYpG1dhKF6ea3QS4XEU3lgUp2NKGe7qmoLSaeglkwB8YP4R0xYW9Ij2/4mohfUfL88pD3KTe3b0CyChMTNcSprKodSJUtP7I3YpP5/XBw43+VJF2jwNYzHaT8Id5kdxyrqfpeFqFW6YRtb/tNkabKnAVaP6nBhDa1ryHiYQ9+VP+OyPMRSqJ3C5JJpQy8fabgKa/sXPiTCLzAUpq9Uwzl9dshLgqmOy+FWhAwtaf/A4f+kQhXE9D67Wf7KnUXxSFq2lm+ByA24h5h/Ub9Sm66bwA8n0hro/7cJqDSdImmcgBJQomPsmKk2L44FkGhDXlY9C6Z2XcxbDwJv9toArNDeadiPBoebPazT2MjPcEF56ta4t9mgzE53mBj/2q4DE0I1Lolx4nV6ULNXCWd2YnUGY7Y3W1sfBVwlobpBGr1JER8e4iP1wfmt0sMVd0LIQrbdhxy2DLxajri/3Pw7GhBPNIA+JbwgTjTJw9EiHkd91fdoz6k2vnJfqjTtrcbCLExNEY+v3ATK+ys0iBm9GH2ysbV4cjl56zFwx18zdXgac5+ObGQQAWAhy985MATzaUYw/gNq7Ynb3sgWLRq9MzQl8OngQ6XOFCeCeI3JojQs5oyQywu7XFQgP7Z++/wSHw+GKzR9cMykUW+4SXIiVVmNzuVJjY4e8SCQwyLAIDAyGp2KqPjghc2WwCQxjeoZsbNXBTQWY4ceUSX2JbG8qG9D8i7+svp9/t5xnjgl3x2H/ZfEkxJ/XPnMCwuPXilS8dkh7TymJdkFLR6xd6C+wd+5F+91uMx5votjJvftrNam7lgB6tdMohvWBQ/tdChzgS6LZDB5/doB/EFyYlWRZLVyTCUpB8S491JkqxJjFyS5OazeGhL/8LbH0SNqN7fCPa+PKjb+5oFU2e4RUuqnooDvd/fO/sjjdy0KHPm2SCiWDoWra/6SgVltQkv9zb/Q7LdsMZUNPSyTaET7hRxAJNvz9bRd6mbNwOj80McKBTVzvkeK/2RR4bYHMEdOJhj04z+ws+m9EGlYj9vFEnDChtZiQ4T0lnAHVbDKrC5DcBUn+dNuuR7kAilda5Qld7bJiQUYNS1lZW1VE8PWSNTG266c0myyGj9Ky2nOXdvRT/eOnZeHi/Q92LOIxPrqvoPTaYRedjvVVKF3e8Uiy0MteTdPaXUO8v2FQ6OE26u4DTU64/aBrP28P0uuRAqBBDBblY9pTxZyH8SJJ6+qMLjtKECFMd3/9yyqHWcpGx2LiEhYfsMESdZdki9aYhM/dBWJkre5ZyuSUKJIpGYfXBXARZi69MeYpgBpA0+8TkzBTr2XTzlfMJxMHsnGgrLbA7tbWxqi38NfRlaAb3czkXUEM13xMVjyuNNL+XXj2E5tK947Jv/T7pHuOz+Tc2WMJqMLawXeQzUBY65AFHdF7IBTYYuXtXq6F1xVZEYFVr+ji1iv09VB+l44WFI/snCbIfn909heoR6dhtEqCmAhWqkhOUQfFfUlZZLyzlNncN/39xfi7/kZLzzxlbzoM8XxL98Vxa039AcaAo9lNndZKu0konxHpjFmIUHwjTCqDa9wNZcyxbfM8Rs4vIT7FUleEu33Ls2udXQNycwRg1mafM63dW2fF/OTFtn8TkyDCilOzAbEq9cUtizE3+f3/SVPX1Jy2J3YIOlqQELOTXAjLW7wCvexMxUzDq3bZhbTNououQ1RjpwrZwPjdP94hEEKDJGWnGwZtdFnQMFGYDKKupD2kD9vuNzqjs1f9maKbreGxQQs40U3ryIanAzsTClbYJ5nCVF/jydQuXCzBaoM4opbKZoiA3IVRrVftbJIIWC4Rqq9IVUnFA5gUHZX0IrbPIiQ9O9Y67Xfq7DPXuFtQDa3hyQqMPtLgQnqBzJda4U9LrlFlJG0nXc3IrT6sZbumevs/02aBntFDMQ7+IwGgghzICr9EnMbZuPhQYGTozihVxSlKaiWLf/sVYl13FhTeLRVcPawzYAv4lYD86ymke9hcIt8Wfwho/mdyFTLzxQC7HuzSgy6YuIFjVRzVoZ/9l680JblIDaA148KHi8BCUGfIZDLChECs7AwC726I7p6CHi4cA4RXEXGPEz2+hDs2LlCzSYGxp0xnJDrnW8vh+/w/MlaHRgHH13bI+WF1l9TBJ9NNjIAUChtvOgVF8Icz2+VCezUs9Lvz+HFmJkMX/xSwiUJKJwYmn0zrU07oQVEXhkJxBrpZJbirJ9M57orR9XKvE3GPbvEmxmHR1iK9qcC+UT+9hvrP2gFePOwDKBgVPnZlm1E5IqIjWzWh0tKrYDOZc0olASk6JREtT+S5rxsMDgxV4/CRNCPLKVzkaPRgwki3pF2SaLShqq8gUbwr6L8o/BDg0IqNhfxT/9Z5pOiNzW4ir/n2SRC+3WY7uyXEmcQuyir6kxuKtyaJJCup2z30+yrK8QHsu+GoBm5Ck03cfmbE91xByPb2fPhhb+RGcv6wXxQxlpT3Qm0uyhOG1sWrfEF7j41pNv4ewIblIrgesFzj40D51YtACvF3T7ob43jzu+JW8cqEJoGSG80gZB4Om+8lJksFncD5ohvYDhODySaYt31lXLBBlp8P1cnEtV3kEUawVqyyS2gjZdSPo229JKngOrVNyPaJc24Jts681GKJjYZEbm2DWdY4SAZlzaD9iet4W6nvOgLPzOroEx+W7WBnAfEdV6iB0UK2sKwWY7aG7HZRc8Op8iPhrJ/YQT44eeRQQWZtJtqbN+nxM7PIBjE0ZHNxzhPO6APhm1uXk2oss/uFac+h7t989yX+UN446GXcdKkX6+4EwjOIIXTMA2RFIIFhjRPOIxiutOD0zvstw9/1t5iXH2woWrRZXWG7G5eodnanSckB8YMAfVr6o9Mp4MU/W6j3LsrHfZinwAM+ZfDbANRdNsO6+Yt7RhbzbmpCTM+8rbGOnVEAUbAONfQvWcPa9sn9hSUs32aCOJF1gKUqsKV0rRMd2qKt4Q6Db0Aj/ex8l1CgKE93GfXDpP4U0eKt/cEbt81qMABo7dmE66vufleOazcQv2zgEnQtfLG4/wl15DKTQg1o9uwcz++tkB/6vvssRfrV3lQ56B+z/TrzR5p0ga7k7hkBs3vYpZO4oh1TsdwWPpGO/rcyPRLA3zGMowNNYUb1+O8TKcLQHlJqIGzq9uKFo8cLt9OqsPQgmO391YF+Y+FsBUT/JeYbQU7WOYrCSnSzD9HN03q9K9a5YchVVibnPAlChSLE5geHpb5dZsRLHY55Kv5KPN//MkC56wPT7IY7H1Z+UzTlz6/vFK7AaMtSafOU3jR5e+xTuGrhm92ctIz40Jn+TRjqhGm7q+hv8kYyHDvtU/sZFzxgL73rP0FzB3FOED9hd5m3K5qkxcMkloo958eI/zvUK+bQ/S+2HU54+8czNMFgJkX2hmbTWyQMqiMYsrduRA/A0/YI2eUm/920TNREp964AI4iHUcrODQCAYiGoXmLAldB1T3UgX39jO1pvhumIAnfTCybr8Mo/F+JNBg9SS5nVuMylVvX3HaGVj/S35keQ1ktdMmj8kNTNmqPwHLV9TqUEX7UB61la0RpT6qQN2cdvfldw1psBrU7tVst/311x1G4lWHu0BZGK8iIy7Gh4YwRdgPhzV7L1FqULLp0k3YkIq9qm0ceUAozUERNAJLATUVeTl+h8femgI8gFwK/m35m2MaQHsgdM00eJABYD5NqzLwFvuBhuWcqLuucX/+vIp+g9Wbq2hwhrHDOHz4CJAgzWVfR4trYd2AoqWywBBa2GY6jOoZ1FhL+2Nam++MevkXcUahn/QJdJ7IyjJ8Uc6dReApH64YPvPeR/WKbanolRfm4oGNxVAD/+kirk6KETalgbTuyxE6CpscFMPzzTKsdrQXR7IWQ07yz5WEhRpJX7VzHXwX8TnhDIOB7QU6eX/K81o0+3gfRC5n3xfbm7ZHWHHbkN5R1Ylu1t+eKmMdgr3eLOrIQ/WA5RyZxERrSLUKkkdBJ5shncFgmtPBiI/sSbzgDcTSVsmYgRHntSJ3VJ0N2P0Ayfz4p1GPnY7tVdhbbH4ISysisjpu6NtpzWJndQORI59VJo9Vf6jPnLvQqEb48fXylOhC/zxJUgNgJ/tkfYdYq5yZzBfDherQhoUdlsvMWE3z61ObVRST7xdLeGt61JGp+XbHvLpyKM+fYvS01YmJeIqJp9DMoIBeKX7pLS7GM3BqMbGwVDy8df9iuuYG2ecnPHm8HLb+CpH94p8iQGzBYb1bkWInKdgJu1QlYKDVMV6RLXcKkyU2VfcLaybmmBNBaupbdsfr0J+O8om5XNsrJfXRoBD1s2cbvYFnETm9hlGNanEM7hzVMSlumuqeGUBsb5JffG+6dVehpQ5XPMPzJ/c8FPPypBsJsIgAt7PIOcqz0g9yyfl41zuUpOH4f3UPgORUSL7yVqNSf9j7TJz6GfRhoM+4Sa13TJf4x01J04MROWB0LNSk+g9ixi9GIrbOCTTEYjwIBAEVJHCbkedgQkpB7ASMUZCV7QySafxTZVPwnCkeIxacvIqsdcy8AS6IssaKqv4YjwrGmitmMMOGGDPVYaCAEC70ewfWIZ4PaUbXwMk6YE3yqRDbUQggEPtRyfH40jsi2S0cmOG/2YJEXcy+vjH53rimi6F4DRP0saD3TdKJ0fUVE7irJl/o/SvWwrx5DXNZ5epWqL25oqLp3c8aYEVN0+k6k4a6z7mHne3DKp7ZjyGzKOfLgamaAZ1akDdDvrzKqm+7e/Q+JomGiGpEWsH/wlup0LrQAUzJ5nHLv2p3egtQb2PX/X6rLb0E4dIV7Xs92DytP4EMtePvYAjR0sC7DKkEWPZY24sBfHspeFQuPtVy1I/TnZTHtQpfF5hsvJWHGOA7VdrtnBFvmdUBo+YIS8oJT6ymlZX43JL5GFYgzDdc9DpIWm3Rm04erD9osOEi+gBBwe3aW2Lbc9BR2p8Z9RcIPcZxmzmRk4LmNgbN916se0POBCVY0OqigDeZ8NRMbFrI5uyYt05+f+EwX30UZKEqpMsIeyzb72RJItz7Mms6XPEaRbNOZG35YdfUcBJzpx9gC2QUjoni1w8j9DKKy3siOSkcyiyMe3NkiFVft+FDZlGDxm7KXzJnTKFPKVu7Sp5trREvUJWm5EQ3jfE7od84N/M719YQHhc6RzvfxubFtWSf6Zwl5bC8ySA1aa2g4YJpqnNCFa5cdmYsEJkbM6QOYLW+BikOeGiPUq4vReD74Qbo7us8TKfFfWvgWGhP5WT7Di3AUOzu21x3CHUKV5eRilZPMZcoTbK8znA7eFuJNCG/3g3VtZO6RowG77SlWqhuZSapqFUXaXWfA6RLwfAN8PYExKDoWyRzrSfpLPSznIlJwOhgY5XBhjqMfA44ZkNQyUVSL2co3sCcHHBPl4VhUSEf5PEBvXuDjGKhTymwbvCfkIuYULGaa1OfhIdoPAZ94G0khk9uZMM/YAUNCQ20DmdHrdIRuvlS5WWjC6HY1N7TmO2PCeQ7ZfT29X0tPdmD9WQvCBXaahIPQSG87fMdSz0qIb2yhnWAyKR4BIcbxnxa9OC1nJNQUKoWs9+qS252HUL1Bv024FWS41+E7jLOrImIlr1JWpR0mvbzZGmHccv6NfmdwbJZenJ03DzaLtqha0Svy+4xPFXz66WlNADQayW0bDSCX0i9UL6+l1t53+UwH7SUkEmeknMDrvRzLSZSKniR4k8hZKNIYG/eUDQQmQxjaAy1EN2edTHuIOp9kcWloOPKgIDKFLD/pNCMguK0ngv/bhW7z7oCXZ/aQdprTiSdBKZdJXizAx+C6MiIhbPBCd/zFTK/6sMHOgaRlkFAF9SA1QO6dv7PUyyVz1P5siGfyNg/KaJSrSvxo2Y8yF77WT1HJPcA2k4VX/1euFmAEzQSaG43koZMgH5P4viVY3CW3PEL7/BDwZdCzwBLvExlSy1QIhq0/J/43O422emiw4FgDKv4jkiMqskVZUqnc/7hLHQYzWBaC64ammA5+o6LQ3eubQNSoj3n4C8UbOB9X38T+2sal1PkpZcdIQlryalZdbH9OmQkgzxXK1gpz9uybC+00ruG5F7reroEQxMrNGyPwiug4tiroMRE2T+GqnWKDlru4oMkMFhuexqw/DGCaukY3VV9WcIJV0YnCSn7FubDZNYd7KLQXGlOWDOcaU2Id8oO98Kx+V/eXyJsEBwxY/2XJx+D0THiudvI/W0XewFhLCDiqbqwJiEIH61jTdC0vSM3kNLwWhH/4A2ip2XEi1uW0P+3etg8A8careCJ7etqsU4IlOriAdSkBkl/u1LIokirdEJJDgyJAHLwcN0a2YK+6/vRkoDMWfim11j1oVnh7YSJBdE6gqnyG7MvuWZaoBFcTgYOkvPsy8FETzlhSr6Sko+hUh94GrXmdbkKP1/rPE+kJgtEa1X41Nrv+bQ64JlUSL/TUu4lJPgLfq0SL2a0G2lNS3QUBfk/D334/sjrczOgR2IHYyzLjNRX/1ae4/X9JiyJ8XBXR5CcD05X8ZXlEvXRYzfQN3zOiYmHAmGjsQZtk2w/Ij2rNZs5YYuz17ba46/DAEYRv37vKAvF7kvWV72vcjV3oYl824hfKEKYc0E8PDQkR49lUIjR84GmBZRcckx9iJD57Sfo4dQ083RXRrJZa1EtgxHyV3qbx3oDxNsGOYqHrhIOJ30AwbKIad8inrCgcZ6eLFZiIsdhscsTM9aRkAJduJiq2079qpi9XLVBIi+PgXWEIOXS09V5ROpxoncdqclrxpwCt5m4vHa34c0FXmtbFd5RzXsZuhfBBQWrMOWWUUlQ2pjXTn1rPQlIA386JLrerpCiTJOgij0H7SSSp6PhO2Pm0Jr1P6SLwqQUkV51reG/eqoLbU2Amyr6DVjJUY9/LOig+cMxgMkgjXY1hs2THBlIK1VU1ccwqGZOeAVTEbDDpBx9JwmQosqoRBKwYFcj5HQomGxpLm2ixqTtw7Mj2kJLdzuJtnaY8iDXg+Vp3jndcEM8Qvr6MqLG5qpz5Uv1ZWl+T0BriRQB/PSPz7PQAQqT6r9bhG92kALC9xZmd2NFbCIlrfK5q5RGx3hwxyO+hHCKSoHLOnKhrTmScNS96KwWgFGMhLrY7QDyuN3jlgwZaIUGJtVdPpN5h2V8C5o1My6EQM+ge6Bh4LloFJvEV/azLbv4RX1kb2vrWgrcck2fiGq/wP2UIq9LlBa6j6nKMsKjBUZNuH3/NIxgFmEP7gOhWx7yDmnBbIRyHzL4JiVWKMfDoI6oppr83dnVtCjcYnDssHheyn6CDJkmsMGsysCkUlRtfIotvyZtLmzJ6O86URp1hhZW+dS9T6q7Gpu7up7aew0o4t7rXn/3uf+KYGD9gzE69tMjZnlW3Hjgm69e4OKLKe9elZQud/cPl7EsAkzrPWy5sfGrA7E1v13a/NMsJbEqabeBTfDo8s1hnht2/yRBe0c1WcWzFOVWFp0SeUGb3tWj7VmBH8qIHYYnARLcSFlJ59ElXvYBuV0z4x879Dpewbvp1s3lE0qgSBQMyhFP/xnOWlDXqOqM42JIRCe7FDC+bgKeZzxOZLE19rneszInZqb09UxypuvU+cBnmUrMaAv4wRssEQcn7cUwqIIStsdb6+sRflZOgz8IghnA+DzwO8QZsxdxAX8TFv1hvYJ5AJbwubeTDTYHOnPXuMi5w7KjW9PRdf3vGGoz2/9UH34IbOm7rVlElCCa4c9udFBRBp5wsCkTQ/Xk8T+F4oAMDvwcs1SuTrpU5Q4Z7fXnpouOX19Nab5QK9si9hoWVEcWxy8rnp9JfjFf7FGDcQ2HDB4iCwDKlI/mB/YbnLIeuIgLDE2xN9lDb2iF8RtHH6H/CfMFYetEpCTMLSEPEsBniyZehRITWfRXSG1W4QzkAxAgkXWAGA/88vegxoHuNstrulMmedqu8Pou0KpU3wlTeKBX5SLJDC1TT9PIaKbnrnmPVVmEglA8CtxxtK3xVmO3nMb80XH21qANaSLK+6qTlCPm3ampGiN50L4ivRqxmnenCmWIdmTB7Sp+sDIWwOE6Fqw3shm6CFB0yITzT23/wyMKg9fTTc5mCoNWlDufYkxMwA5Sv7hu56LL3q+0GGpVpkqOfkNsuPwjARyFojSnwm4IVwozUqYRtQuEOsfC84rBrV5OKENQH30h+9BSFrw4UjE66Lqo1qOoxX/T1o5Ar6ikFBQMopUFF52IN4SO0Y0P4g2NKYMJqIgiRD7i1Exk4S1U1UlTHRDFWFy3AaZImSAnW65y48/mdRV+zxpykA0VM+wHhOJLJSAK5y3qglvF5a5MZ3SrMtY6C8t2Zch50ClkvhCd5M6bK84uVM7ue1esLED4d0lUykpGH2hFqb+r2pzBsQGDuOO8xdx/R4ZvZd0dBNHF/gX38EtPE7snXPWI1o1jQFSPVGaYOs+ZPrK71VwNXBDHLbEcNIJxEX3OkxJ/tf5OkrMrAjrxhHWuAAXCULlNjVuZ3lrWgLibe9JbTvVOazxqLcRlhBIXfkqPtlhdDU5r0Wx9bl0pUVJp9E3KL9ZByT2r9Mdt0ZZT9aBh4c6h4akaziPc5wGeKEblp3OA3cv8KKfHLM7OaaWEH52KzTYCr7rxI4RSOVPok1T042AOu2wkB6e868U0Cq6lLlxyIdCl4Htmdm3oYcsZz+pr300kp4dTXXIQlPOU3nWJlmgAZ3+tJFd4DUACFs0DL/jWgRN/Z1S0dcAk1sqoL0RfzUyppP12VsI9nD8NytS9SRFuR6wy6V0ENvu3+VT6p5tZwateL8VklHMifJgtATpIv2U5b6Ph6Fg2YQGNaawUsl7UJ8o80AqHHrai21cc1yRuyIny7JPKGiMSMA6i4YX5oAz1IYDrpJ3Zdvs6hp9KvPUveke/RntGpr/mkMA6gSNOluqo/hxBDB7wGWFT/DgjAsGPsbnza2Ac/Rm7FS0Ad5EgwFwt8XDjvvhBjPqdq+02rVR8yIzo8JK/ks7jUp6juI4laHR9BuGIr/w5M2p2MQ3q191Modllk6lXZs2SZ/obej4rUOgocdavOM0TGmtiyW4RlCD7q+1DhpT893gq4Dv7cu8ls18Q1jfTeCbB2ezdjGAezC9XW/5kYLSw6rDExZOsd3FLBOwwngFIaBIm+MgCUF8H+Oum6+Mztgkaj617pLujiDuZr+Ue0cqNCYtD72U3FKNWNVW5anQXXtURkTpu2tH8Ar2bKaoI2jvsTgC1AG+OHCxv+CRLVIQQyZcoSJShUxYcMe2U8kVLxO07cFPnGoNi7eaAGYPxTzsPD5wwoq7zF+jWgPG+AcgMHe7YlA0IZkBPJalBREClKmEPPuQ4hb2BkIlYmx+bA2oTHMkQBvER9gBqZrxmp7ZOpEd+l13fOFxTpaJxO5hYkghslIAm+/86TMH0gom42DZ31dlYwfhTqZPspyQ9iqbRSlgep3Rswfu+uC7DbkQ6Un4Z6zZvhbqWy5hQRogmesEgRV8YdFHJfyWrxZs1Nvdav3RbpXM7qlUx8qzUmfD5fCmn8YXKVcsTJRJ3Kok6WZvPVjygceArbD0SEU4XtazI6v1LprdQs9Etkp5rM4IwqpgQlhh8jNKx8H5KE+VOtlQYujD+MEYoBRZrYKUQCswHWUKUQWcbtNPHi9QYYjh0wsR/pbywD8lSA2ossx6blN8Eg9M6KrFTXbC4ZN0h8INyApZavGGgAI8mKwMJ7pXqPRpfWLo9c1u3TenldQDnotelG3xbaE34I4T4Rjp1Ang0tPdmd9EaFPU8gTQX1kW3XzvmiZxGMkbi72BT4olkhji0qPU8mmw74dYf1orL3inYvQ+NEZ+y9nIRvVdP/4g3lIz7qpdy7epGb+CT2UASJeOE6tWqw8CwlcZYZ3uLfKHtsJBlusFLBX+2Mm+EoEs2CUHqrv9RRelZ4uhRpCR/x3JVYCT4MBKCqVhkALfJ5ReIqeHWVWXwYXmLEQr61AMRxWgGTqI/QO0XV0Mcxa4Mrq+PuR3kI6ZLqLs3vGorqHGH6j7H0czDIHMWDDLEiLAWYf26+pag+BCCoMJDuSdmG31atlEp/FEf1r9Oju8xClYf4jA3EwNkHQBfixmJRVtMW+IOcICMgwXMgN35qgEgTrKMdan7ij0foDEC+YeBQTQwjs/d+Vt52haubag11BzBOevVbroEq6Irwc5iaK24+FiwEcAlzyEtFkG8kuNLoR9AjlNVYzTvaCJK6pbh2FfZrRu2Y5ao+oYOGcowN6+/RrvlYVm2KcN00ACUWgXRhQhIHN27uUfEQ9rjCHqh7h7OBW/gdUwNh2u3hXK5WklRPVbhH0N/myygzIBO93+5QjpTnDdOq9iyrAGnfN57eHR9yKGm9nnnl+Sj6nMZxHcmc2LFl6yEf5qSf/B4sl0CEFfEEbIUhHLDWwepotC5n5DBDm59mEoLN4HsJIIyuds83O66WeI3LdhcMRuI1sFt3llwa8FawScC1LeYN8+63/Xb8NxjehclqEisyOGkc9jUF4ovhDYa/rsPWVd9b2gXlaIxOUgPZKPznTGvb9B+XCmTwii+LHgEyi8vgTXgPodfaPPoDVAdzeYWtvc3WakoAGoVAVfiiujBZIuFb6guZDVV6nB9jy+Qj9BGNUasfGql45qHiJZ7OLrPd46auOacN6lgcXnB+VzCO5beJ0yGrYhPa4+DMJLPpeGLGKBYMasO90XqWirJWaiCz+3xBJqoXDXsttufSAQVqAuwTZXr+rHqPY85/EDTQwzlP8AUAgYtBsTpoF3xRPS5Jg7bquw9edxy/15LpWtdJZxmhT04nd/mQ7D5rs+Q19KBvovhNyHjsmMe1hga5EAeTvSrPlFo1ogzcKzyLEO+k092l2H8Oq9QwkJF6lK2yLRB21qtnublhc7TPK8Oupo+63/oXa/eG3/KuEGp2YPezuKmR/Hk+IhZVt5BxDHhDSX/+k7dGznXlccnWxOU66JdVeuZrJ2/kwI7vE0Ty4OUPYVjQjbMq11L1shRfB1O1fxthzhtrQRqsODqaPV6wqniDKmHwQ0/1GZVGofLou8V0HLeZBhXuPHcaIS3+86zLqAbG5jgRvBuc/MA8n7fMomSiUtkgO9AbbHiB71V7xfQEQmZ+Jqpp7GpmZD6biNTFxW553LCCKbz4f3XugBBcNWVE+pvSJiy6cBx3L8jFM120TX21XlZKVNdvJIsL397QIOw/2e+MO+DBsnG1/9cozjB9OyHUVDwaGTF6V3tLfVRzYqmHGZCzAoTyTmULtI29F4x1ZuN5+wlX+nbJZ2gZp1ty5/1BVAp1aj32Uz0XOZxYI5YXy5GUOxJEs2HtNO5holTnZOx2Fqu1ETMlVkh50tG4VuazTfNj9YQZkmE4L4E7zXfgTb+YyiMkO/KkgMcjXoRWzq2H5oCr++k8bgU2ziE0QkFfAwL5oXJ603RXn4s/QXXe5D+5VWagBGZGDRY/TCR6PQKF48uASFOeVHYovQqnbjrOwkOxiZM53qSxr5fph49ReEy1W/y8gMCchl1tSxGDksZq6DlE+7XQgRptwpdxQ7EwZ6LAxWMrGU+IfKY0fOSlqvkpqqsA77347zmOrDTR3nO0Y9Nq6LmW1RbqWlpaGzqchujETU1grRaCxQdUgjMny6I2wSsaY1yy6H8otunIFdYrmdWCZznzkbtuFk2myU9pGLwy6QbSsyvnFiiAz4nCu7ICakQRA5VkvOfkinolv12h8zVaTJ1ivecibfx7NtxMJ2nctLAuAORaKASz3575UxSDBt+KM6nDFUeFV2r7Wv/vgBmYeR+BKmM38lYoJFpyXeQ2QPmYCnm1oeICRgRy2C4Y6xlgh3sPFFKBayPhWwbZ0wcDBHIeGVzBjwr6ZEw8UCdKYQnflTbAibPYK7qbecFxgaYSD6oEayb9p1C8MxYqeoSciB8yFL8PuOn8SXvupDsF1T+djUlMl0NNWhzjYhRQxjfWuU521/FTw0SYi66+Lq/P6oc07LP3mIgfR/pd8PLtPoAEt6jt+xRUMxmus4nmzB8G3iOJHWnS7YHuKcBXfAF6jsK5GA4UlygkYmxp8NnVJO8Ct45bEKVYQod6qlj6zI7CEQHAYToil6bjejG6sOm1DN+RSDLUZEoJ6sav/6P5TypzkoEFVMpMBMcTQa3QZMCu1VKmfclKjTYHlAjRip+C1llxgNp6FLMrKAtX6otmqKZTUqg0Tp0NT7BYzTbB9B4l/ckwA7xKyHbwUimDfTNFX5dHpgoSg22+84RdKTDDOSsmmytHW3G0QjZUxdlxyckQ+l5DTyggqLEv7ly6/703ZGrqCOp3ZDnfJjsbrU/swXBSem7bI91pSpmchlcmdiPWFvq8wa8EZBtNkJ/ZqpzC5gjic1mcD2jdQIH8+/JkIgQ7njLebVXh9FsszK/IpP9ZsObl8+6nJ7Ol/ZXCQg4Tt9ghLqR8jUo180RXR8/ClXK1+JGSxNHvftxilAQLx1DEv1cYk18rBlu2yst4S7C0Hl75NHQeMoqDgjYywbg19yqgWwqj0oJjoYCick9wZXx4AqvGqArivWzs+S0HpMXRRpsrrUCqdHonBugXrV7b3VjRN5pBExuzSLnDxiNT/lR1OMs9h8lmjZjCghIc69ORDR/Wb5f9KMeIjAJaR14FSK+w3iv4gWGhgw8jyTzfxozfP5jMFNwFjnypaQLxxcdwmd8Xr1A2OKaobsuXl02C42/wxFQCXQmdN4JnWOM9kgGS39DBgQXJCPtS/pQ6dqGcqR7CqLOggAzZV1DvlPYf6JWfNoevwyFECoO0pAvEQRY2v4iNObI6QjLld7DsJejqM6corL7xdMamqSYU6rK7MN9UEb3i/JnOcY3YttpMRp4rds1vViMC6J0ozX8zJNEZwEMm3K5Yhoy495a3neI9u3FmW+kHkehoy0W+q15jqKzVpSsGutK6lqYBreHvMGcTviAIxyZRZhmYWDK1l92yxwAwa03uWyRnq4/NZFaniWlyJQFUcF3IKRB9PzLA6/05dfn9niVLGPIqJscomXuAP2Jq2WGQEhrYPhHWdnFnLzLC7z1kIJCzFPAF/Gu4ggSFOlU23/wI77I/BwGRIZhQkMXFRjHQxo2hIv4Oh5jlRJJtN25SorSpC1qMvfPGVebZmgkObSXN4FAkW+606WTJuI0SZMQAlMMK/v49L97HqU23Hbc+8bZAJwQOFuxht0AHCd+Y8/RnqPnKT6gBUT59nXb8SIkRV2cKn80XqfsnXSv87DfJYrH2SGIgGAAqjBOrfteDqMOf4JA6DkjzmmfRBYwOyilYG3Ihg2XvLzYH/32VLMnsvsB5Z6XMkGIcZxTs+/Gmr0p1HgaZgPwY2WM4VRC/PGxByorlFGSbTey8isQu7krO59bprH+2MKq18WQ3vgepqcqIB08Z7AjH4Kd6ay4Elp3V29SqIsUkRWI38viF04HBOSb9Zm0iSMcT23tHfHlY/6nThUFEF3WQ2n9fDGbrLTuBwAYx/uHOQngMBJh2jGB3V86yl4TwojV3Zut6gtfUzgTiq7fGuOvUrWpZ3iQz6Xsr77A+eJaatgRsK2hTVjPC57M2kq6wQ4BUctlKUs2kw6+kAsD1Ntq/zB6X0+7YIYlOQ3hsC4HA/FBFfRxg2kUE/CRtq9t77gkaLmXo0QtIpSJn9jyqhtMl7qSUQ19dCxTcIxslxVw0bvn19O7TGKqc2FC82RLLM9gTo9+pRYWChaGNgHOf/Tz9ADFB/H/mkyxaomNOmpPnU27FaH2ZxSpJBAheg3D7ZfFPnRCVnZk76FP0aMeZhPRCY5AvZVLFdekcQLBI1usZZlKh1gWUFe0JMiGodqVb4Ez4xvdUnEpcIzR4jTEIbnwOZb2aD98qK0JbqOTh0veKYy7o+6Gictd/yroGA1obW62E/4CQnvfD2R+Hws+WoZeetcJY5stOM0asWaFzzmqlvY0DO9DECI6od8LZZqO3reIfa9OU/uZeR6Daoou/y7pJvm3c3airRalG5U8NlaHjPhzYlZepI1/4D+4g2vyCX5obfq4F8+OwaBLI2MA6mW/xKWTg43MD3DNAo9HoQEyC0oK0JAjPjspneCQdK0TWhjZpjkGWM0YzHGjGPjl9pgsOVtnjFqxw5dzXfROM14DVfNBXmH/klqVf1hJwdvMRANoC4HBPOMzGEo68oHthevadgLy31XfRKqyuSub+4EG2q2GPTKN5Ogva+vOTevJmBIRsOhaSXMBODOGBD/bNbbx7vmZKvJpdbJcGbPMGsPng+5zNQ/S380XWkCnKf2Aij6ORye9FxaYrYTwSsjVDu0ITtDKv1D+15LId1jm4GgOn/nk3X8GKpOIh8LtE+dRF90y22rmdo47jPKgfZQ3sViiqTWngfwe4owT6aJS9mm6OV8STCEoM7uwlw2r6BT7VvP1I8ta4jKJFMSKm4IqC4dtdjXW4jgpaE4zlq0v+EpWIsD0TC7DoKCcHiqYxISOt23G6ecirVfTo9HiHqFiORS+g289SE95uNHEM2zN1okiQ/oW9mIY2EaO8JIEYuznVR7OTfOeWPX99qwIvRmUk1idk5/iKUUFNSxsH0mQ35cEMFjgJ1y3uzyOzzvd0L2pYXik5sSUbSIihBVvRTuuq1qp66BRSc9kwHDYf/OaPiBh/h33OcjHi8FXM3TiJ/Qjf+fssLxr/XHPygybF6MoQcYQCWzVTUOPXmSuNLRdRE+ByS+e0XjyV8ZJMY21/PL6WwVTZOM1ZDq7CHodkbaMo/gBQMX/kJPWoxosh3G710rIHTKQr2yVQKvyMQSOUmzKTY+9bIiXXuzI6OESX8wzpj2GLGVmdSUQwC+PpjTedVIuinehzFnUR2i+QAt+qRE81foV/B4Gr1N5gGA+g99dk2+iXH/WyI+g+uSsMb8l6XiVeHre8qu53OEiA3AALBI3uMrShcyccz5HW9B0alaTPAGmiq5JZfZYs5RZLTKULgaj7JsLtBWQriT2MpfL4Wy85WQebF3OYwXY56HyoiEUPPJawQbFHFGSqeqz7BMQBiGDLMt1sQfmc2NoU9tYHK4vYqsG/luCbEwfVOXPKpRAzU1SKIiwLy22dHQCMwdTGLVShqDnRINsI8idDVjUN6I4zNs7IcwkqS6rCxmp5+r7JQKTquBiFFEyDWnV44uOLjWl9HpJujmzrxIm6P/4ISr3E+W/uI9UDX00c+rTqGCTT+Uq345JowqAMgEzSFruRQjnk9FvN6A0Cb9EwU9gJ+B9n3UmxS5XucZuM54foaynBqNwh3tFpFE+krv+n34fjlslXSG/VcoXds7h63ZOMwkkQ6pr+/Tj+GMW3te5vGMs/q3K5eJm6540FMNxveOb/vv8MvH8gDxDc2ZxnX8YlhwGAkIku0rPrTfVk1dzWS9qvmavq8V7VJh2ppePALA2VgtVECGbunjg9juMMsUaGWGS5PaCTQu6OsqEE+Zb2cSotIvWA+r/zzeNQMnMt5ico0p0EV2dYzjP0Osha0BTUZVxPdmp9RhRZAOrg++BENs9EyWlA5AXUHABpQt17oOYyzdFdD2IBhvYNkdufui9FHvmSEPLwF4JeUJVlKsJgMGXA3857uC7UR/fnIXdLVJspEiY/aBll/1wVM86SOQV7LfY8eo6ZVl1ZOqziu1GJxDpU48O99OZzAr7c/948okTOld6yXqZW3172QMbBFgN0ruJICTCBRyOBT+9pvtPMstSiPchhE1wk/uPaGysHDC3HLMJIw+MRuMCZ1bHciQeXlyEh4sfBuiw2q9c2JnBeyK5mjBh4OUNC6dmhx65FQKia6DGwmuN8MYYIi/OF5Sn+On5zE6B/zpTO5gJZhV39lTThEdIT/pYKw/3XLsbgfvrTHzA/x0nKXlg6jyytQbmziBZq77l0aldrbcXm3bXOYK81mJmsbdu2s7wwNDgasvvSujSCjBovpRilWGMDXhJ1aSUK2LAFKArRs3pbbwvdTw70dVvC5dPSSmTZoXjE7o6pdJIE5D5l2P33Y6EAZJi2d3brx950Lf+NWfoRxPL3UKGXf0IX0udtA3Ll+W3UWRch17PQwHzZxj9UcCbtPQjuL3SfPYyiwpJ2tYBXaY1eGtoj3+UkybJPOO6A//DeuO0hV/iLbkBUsXue6sKlgT3+VOK4twiXaTRZmYHmiYtcvXguRIDLSEH8g1nouRpjin4eIyT+Zx5IKwj8J9KB6AZpNMSH+lWvHZh1AfdW4R10qavzlsB5xDICgNPvbjlVcq7GisyGjOT+TvXUbCyaIYK4cK5LoclfGJzG4VtVxmfYIARJ1KaYYBPBV9S2SG19c1HxYuhb6vLbSip1ejgvo9XlQWPi0K4yuq5hftS+0jruYZr8+PDWXaHx0WqjwpUGX6pK5Rajaft08P8exzj5SUUpnxuB/+vlBZ+6hhYCPCGtaO2ATvJJgDaHqswW4U8R4bDcXoVv1uF3AmDAo9ToLFGLPFfkuG4jxKjWMSHnlae88qCkdzau8VMZh/ZASd5MGObP5HsLYzi4tNXxlrs9QfkezBCyeMhdVUqFPFPDWkqlKAPPilYoVOQED/aD6AwmhEUAaeNUxY/0JsfAWaSL+KDK6Ezazo+3AM7nlDp95OMYwz8c5/Z0RTXj7NVzO0OAInBQ8UgzjUMY1f2+bCuYCiN0mFpL2jM5mIraQWB14mG7wmpFXRtn4cKHyHe3YJ5wDJ758Jpzfh+ELnr2IomiM12oL5VzhPjVX+GABmWqAioFIdLLd/LI+jitxflg4XdwD+IXdcbYhnBQYYSGPdytDUkjRpEZfCVVyavIAd5Qf9GxxDZiKG604ZtL5zIqvzfFKV+/OqdOsnztAGwmnDj4gHiCo5UFvO6yNAw21PMYzZy40CGkQ2FZ/rYl04O6c4fQNYzvOf2Hrk95IE4Bzoe9KEYA2hXcKnrv9eRF+Q2h9oKAAXfQJKGAKMd97Me55wa7sN19XLubRXIPOyV6Kwa4pOAvw60ucD3GKvQF+1REEmvxc27jrC1zXXviYF0/pOXkYmgC+AC2ugUvDn39U9QUGsjBObW6zHiPcLDctrBDqS2O89fEk/OBQvxCJcPPB3Qor5muMjDgkxToay+P8PpXPSOjcojzypX4Qmd7eZ/4eR0ZcWPAV8FL2eVmRRmAqA1ljRY15os1mjaMX1OttYliZviGdq+xYwXPoJkO2NJRaLiS6NxSKjSZwzU4ezQgpmPh9paVG4ciBFEgDR+ZpsXCnowq9XUJo9LRPrfTIri1bkCX1Nk6hT5XE/EaJaRSwG2zvzBXZxIEei1gkXFrfTFdoben98L9UzFSDXiznHU1HmFqwyjpCiWZF6DUIACMZ4WzgG8s3ckhrSdy1Ju5Mm2uTGwvsjzf2YWCD1S0o8/AcQ9KjkGnzC+5y5Q1Xstx65UnM1VEWydeUnrC7YiCxIRAlumyYAIm5apBMqmwBpKUU7MydQPyvG2BrCLNOyvb3S4HpjDdhLsiDzPu7T7VJ/65Kg9jFTmfCSuB+DCpWjwH8T+MQqa/KSMpOL3kGWrT83l3475pG0j5wptmY3IHA4VXyc9vdk0T5fPzSq028zxfPSNnYUc3QREeJUnoEGIIgmZLYjwjzRG76rJIqNswAu/kCv6kn9lkGpxItQp1ShsyqRb0xb3XI22z3sqhDRR5+f3Dmii6RkNMpUKelIuFY619ndshINAM28j8TqbARgHf0uvR4/EuXSafpmtd4GuGglf81wFoCRTdgsCtNz7yUF6fyb1R+Fak/Z/rTHKls+xOilfhC5XYy7u0dsHLEbqQRGgDr5aiQGqJFlf6xXdzohx7wndVOyQUjmHdOC/vwKybpikbmLy3RUDyDCpfebo5+Ro22gN/sRxqH2IgjABhRqdADldr5GT274hsIXgMk3WRP37KlvL01svdwNX3S/e+0fKivtSvTF/oo0bZHrELKGKosbJIEGhNk/tEKk1QBD9FGmn4OC0qPCGJm6RDtfDAVKJgcHvOUHRbq0JllYApMWLTriyccDnhPZLsdAl3/6ss18q8ns4qGFxqWJWOCaefRPgFOr8xol/7TYIlR5fc0bFjmiy3czgzimX4Qu5il8AqDAwuDCzjdny/6asdZnyUDb0aI6b7czPsvX3DccbmOQIikLHaNuoS9yh7/vL8eBDrxWsEpB0EdzxvwzXNgfDHL8DTZLc23GJyDMrw1h94VRb1d7oCdHwiFTL94sQ59IATKicJnhG5pjd96AXeHan+ZtWugxCobo8AS4kBTvYWLeiKv5vUtyl/HJTBjzlVMtJLMGGWrzpK1x0Fwnf4QpmCm/oJKNQmP1vcewJ1F/ZPCDhLOm+Rs7AGoXModsW2f90Qlq1go/feKeQB49hl4FIG+2bhZoDbmenwBoaPmaF2hlNhrG91AdQTNhbNxV+KjYSK895zdY3g8P5GEomQE4KQGEpkiqALRtw0Ny31kEU80n06jaRNIp1C+h4WjCUuwSQqsO2WxP2IZHhjj1aH0Wcx0j4UxS44ROqUfUMo3jvHgz1NpKjHf3kZY938ZGqtCbtHVjuppln4kBuRkrGCS8hAdRkHbjh7QULfDJnN+H+Jdn8DoCBT6juBMpeXrlNf1IaJz07mgpt++FRVud3buHKYI7a45hYZWx2eO6wiSly+KWnKE0TzYsFaN0STjtbc8ekcE54qrJA0k+VlJfYagtwU+B87mrkkeK0kYXevpIJl6gJFBEH8OpKxg5GDpmRthSRtqPVA3uj+x+xJ53s34WWQdHhAZz4S+jDZx3IuX3IAEizVgYteSIMTQDvq4O6HLwNHgeG1hx2jqOQ3MxgIhzTrkFafrXst5H9P/nb8Z+BTLXKodDiiO2jglQF/JRVa7K4EZKHGLTvo6OV/Q22ib/3GPPCvPKSaZ64u/tyYuqXBEBIQCE0mTDKOhfw7AVUa7LIG4sDJEijpe/rvdkaqS2AMMXbjxPVQEcIhd6dgmTTQJGbIYVgdwWkqUlRt2BbfIOMTBPxGjzA3vBaEDM6aiM28RGyl2E4mm/AQdGCEB6ut8WkOyMVrvl7NYbdXEK/dzfN1CEhFvULeH8l7ZkYXAn5AMSOjgmw/Glg6EXOcx8256qXCXbDby2VWZe79EDVKU2CquMks5+KD69QKdMAP9nl4KbHW0ipPomjiwcSauIRX+RaMR5JhcSbT6X9JtgNYC7wzjknQXYV8a5oMyVKohzhyBA2VR0MwmHwEId8Ld1gwBIRK5IMWAbgLv1XcNHCphcBmrvBM5fQYqJqQA78DUaiNLrEfQdAFgjsui6e6ZXssWNW1HY8zZRRkVvEYJ3VVX4uCYkf6kmL0hBuN8WRRO+Q2hKkP+4++O0f6YA5VsefyavimFbHDdP3rqHWuNN6aQ5nnHZezbhiR/QWJ96BmdwcImu/mrCsjszGGe2Vmc1i/mBQEkBvsShDnrgrgQvo9O4BqqvU+sCPE8YvHzRxFN/XWN9FlvPrIE7dpTZYmvlOnaDV5JkRCq0qF4oyk9uIuWw6S6QcSxGXmXCsUM1yn/hKcpB0MWrcLgh+KznmfhSsDemB5dSWQvFoCpbhYtsJus606RTWnLRdfLn8IvVR8r9arsy2GiYTCXYq/vvEhMKOF5wx1KIfFI+1jZkfNB2Fq1EDYnSm0cdjhMX1dr/Fyu/g6+njluW5pgEJf840qpF6uca9Fy0K50BDUhznOhIBLNVZe9C9br9AqvBlWWrTcvfs8MVp33m2BRdrWinn8fCL+M3f2LeQ6nInyAwb/tTNcBWh+aN68qqtzD55e7mQ8WfqaRBU7EfyKkWc3wUEqWyia8N6dP4+afdZGypYiwB5aXKJz7AgNj1JHUWB9qVvrcgYZZDvuzlnEn0sXQMMg2wIMLKr+btOW0vEBoHepwlOnZxUwWP+lmPHKYE5EO9edWpVMZIZ/zSOoWQ/uo3uMW68vDmEIfrWPq2mMLNUzBi2OJIhqis+Exe7/3VUpOvKWXr2vBUG66sMkYMzWvsaRrJoxOX0WW61Hd2hL0WsJZXAfE/V9BKaDWGhBBuaFKC78PXZXeto87OhmOXxs5iXpCkeV/pxNcvVr3xn0LcujXkiQRH3xJbj8Ku+oPtqVsefaZMdKexpYebnYn+hkYO/E5pVo7i1fxgx6z9tixACFBm4rSOzW1dnnZqASKFSNPJSAREQq51nWv0cAfzD/3y9xKof42Q69blP+L0Gh0fHQ201OpiHWcF8+nN9/GYAR7ddndr9Tmchy7jHWBJfOnuwkGNSW/BPjhCwV9txlfmxqxUlGwZCGifoG7wiA++j81O916wQVLAopZQPuoySXZykqGGtk8kxlbx0dIe+2I/xkwCLJ7LG+67FQKZQddbtKMHlZoJHXA161DGMCT9aGyBeuej8tl9Mk1cj2vjug6Vsm6r00A0p0CFpDQhmYt5SbsjY5AEANZfrbvKoWxf/eBpXeK/e6f4mNVRqR+HCOEhh5zX1ZGF/njacakFnktz9FC6HMbuo2noRGs4pCo6IE8CxDFXIl8lYEhlx3d5FUkGdOs2ptQ6R+0jbLn/OG7Q+dJqipDCxBYpXcNXiEEWcYsyOXgoaOhfZZm72FXjP4TlGMubJHvRILjDyktlvWUtjOBucytTRjNnL95QhhD9AlkI/7chulALnI9x2e46Y9opz9Q9TxzsdOBM2/7z43KjFPrAF7ZmLMhvzzhvBL4aACGB+MMUaOXYcWIeouhKndG8mP2naParx4DwYBc0Nq9xhzn4Qr6UmvXm2TvUoAhX8MnlM5vFZVNNgs+NgPVNIw4jBYr6InxFGWsEMUnkTiFdpk9uPbKdQ4WU4zfrFyXilB6Zh0un6KWGCul3T9pLJdZZdNqhV7Cc9vitcraaOkLg4WpOn7AVgmx1Dgof418YfBqhKkxfTto/FzvXghNZDLktr1CwUO+J/qSekh6fXoLXlD/zBqMqZf4Bh+CFmcu2QgIr04Xoh1rHwYvp4a5D0ZOish74f0brvi3jcI8a3cz0Kr01xZGDmq7F9hFNsSp4hz0DrAZaWoCIsNJq2iNncYUh5nHWUCYTAXt7cIJDhPsNr4S16aCIxW1Ygtmjr93Q0dJCPFdwdLC0qJbYUfYO1et9kfxwf1k7vIkQymix3QNtC38c40RWRr0kY0vY8GUPbQjLa+OV4WxkK3MFphpXik3N7WHWpUXF39dOKitC4yH/2EX+fJ+ZviqaCgiyypWoYyPQf+xcOQa+tj2uvOGspwmoJBQxWp0AvP4ePwfJ9Shk5ivyYzdtIE7cdS6F4vH2Kbt45+ljRaxzEpFumESjq8EDy0hx+VPBKuJDwLrbkjYtN8xovWlXJhYfgZSxrgjym2Hzy9tspk3qiZ7t3RXyZYAaLD/kx4wBCxllY0wQ/T6vN32LuTRic9ZsG5akSoSrEemiSeAreSwDXVZlClWpUsDY3f7legDxFDwQLNy92u9AvTd/gcTcOsZexAHK5kTdSBBO1XHh4eh4zfT6dO/EDfzDMf4I3asQ9aG/rJpzAY+IuB3rLTt3lwdXN7SdfiEYOslPeXhlpmJVJZgiyeBuQ9hXBawbcq+TXGyXZLAZiiyCHbA2rIHdhgL+MojraIJfZ3mJvwgifE1pMqXy1P1i6jXwfNUohzU9lWvuCtNy3QFwXZHrHfoP7IaRM0xanyb79B0vP16IgL4ET15/bdcWWzb5p+zA2jH4FVhxV9Opn5BYD7SyxgzO8M9CNbOLnEf36EXs7Bfi1MjPctRgHGQkVVaCo0KZvZPVhyGSIFyKmZXbuagKRSW7bHnap8wF28mRzJI6V6gDDoV2cV/Hl/IoffqZySnW0z64NhMjn84+qFaIx763B4z63f4vokPIiBJbleNBoelCWMvTMb1afTN4I4UNrv0CFVEgCtjB23/uWLa2KI+wFz5tAKea+SlzZLNKG5IBz6f7ls3kdtJFrML14Dly03m0ju74wX1KWm4H6OLmauyFMoHcWW9+bg2TSA9Mp23Ekj7FM7kU+Cv049usyQ3Zqdlf320TZwFi/lxkkbRKig/CRoGaNfrs0GzFARcdubumWf1PdMVubU74sYkDENlr8MvI1p3XdIs97I47aogCX+etchRCmKLbroYBduY0kJM9Vb1DN5x2vTHwkIBkC8qEqClOVaEZGW69T14NqnwBQ9EbNBS+L992u2QLI7fuRV2Ko93Oq8Ueoud27aPKhDUvs0vcZcijIBpIwkkwsQLHLf1H4O400avS66fY9kUorhuz3JTYXB020u2b91Hpm/hsHG34UEaSFWwCWW3xy42z8FkiEwuw4+s8LE8MLosNoARNCJxxRAYAIQKNNi2/4ZhMrwc4GsEmSuWTxD/92wEKwFhFoLtl0RBi2s1gRM0Zm+pqKp2mFyFVnCMlggt4H/GrxMm85ghnhqiy2PaPKteF+a3Bk/SSJauVjzj3dBj+TDgTO/DcHj+o2cE/ve+NKByCJJhndq+JzQl3HIgVXZYOmuD0vzdFO5/VsursqWuZz3+IWOl7t8H1oU0jggbh0XreHXNcjtp7rx9NhRLVAcTju4lpiGR5xRmzOI+mOwPx5vz27WWXez8s2Ozp+4rqYnNjgpDnsejhxWvf+X65qDb1WP+j1jp9p7i7yeQDY8NCqbMJ35XFGdy7j8c9t+4YLCGaAoGdyO04vtPoK2ZDCy0B1CqslFJ8Dd3rBzJ0Y9fbIw6bc1xvD/EdeN40BXhCaJ1eRzo81HzTibEg4U9B44HpNCdM02lD2Ymbjw/3CdxDJatcCL+9SvsUmRu4/bdgPS63IHtgIUXvLbelcE690GYzT6bsMpD+jg6PHadMEu/ArS20bUkkRWThX7prr2XZJOdcLzLjuptVp+PMii3RFlPG9qU/Emcn2tVnFme/zC0DRADfnoVh7zOZx//eSPii8KsdH9FJ7gAc24unZBTbr09/xDjuryf4aFFhKLpf5me9MiNGvgn6x/X4uarDXiXRqTW2owRdnzFEJcsVzyVQfR/tx0dNwXStMtWFREc8VncAJW8lQKGpN59HCeTPBxSkGnSrw2oqKn1Xp+4/HHWLwyMy5ksQY3FtJ7whnYl2aa8FMkj7lLK+fy/HNwGSTFp3xq/IUrc0t2RMbPhLeN/QzFPGVmyqVlkinpBRoEsiNmjdas0Qry/u3M/DKoH1qI5ZxUr/m2lW/Xlrc88n0Azgx41muc3uQENC6m9OUbKrUjRLVNAGHivfxONLBccKOhxCECwCMAgLLJyqK4BqHx/V7YZkUrJ2o+g/dUiCUC99XUacjz3dz8LWpQrghmfRefW3DEn1X92H4fsvYMI3fNb6G4fTGY1fGkbcuosgO+TFaMYOZRQ0176y0Zya+GVoWhaXyZakYXgJfb+tJCzgAlWL0XYuMQs2ANDS990TuAXshqeWsY3KsBTA1Mk//8Hk+O58taAvgmNw2HY5EQ7mJZN1X1hUs/pMOTL71z2mYaqUDwZ/gj5NDq2loElsOrT3vF0MUuYLcdgAZIPsEAnzhL6qfw6/qhhC6TwW8IUTXyorhlM1dGrfzlSKrTenrKVGaQIp/lJhZC/FI+WrfJ4PVb+3BEE4tZhloOA9qY3XEJLuJ5m+lVmWwPa2PyBckSWjwt6wVthk56+Hi6xf2m0XHiUuAbtEd2N7BJ9QqU9BfUcKOwPMEVaSGSFjfFaxnH/ryT4dGiqkZuZZFpn4AN/n9OokPKTRWRgAOtyx08TYsxA1uNl9RuioooP2Mj3MHCyjW7zn5owJM1hNkE32nZNfGTz+ahMscF2z+DJjuEUCnagVZ1iSVu7hSI8VcqVHxJNd809zjM4K/E/kr4RPpcMmx57++Ntng9DNU+yteOMJFU4qtMaBAbaquFA/m0+KZDutn98fddksPxqY8TlpRQDDVo5pGmgcC9zeVWaypM+YtCr3OUUrcYhtzQLFs6JlmnFTnQrEQfPqKsjXlg+zPbH8B65ApWMZHafA1Qs30CrXvZHuFzid2imoNZYKpWPfhgKEZ+OzBvHScDMO9rt5ETU3APMs6CkI9GD3mTXd2+SHKPtcx/iB8M3u0+7IgvN+xyDQxCT/vgsN03fZjbBu+8tu+WtgqJ4vSfx+EoElu/084vkVRQtloe5228WvZ1q7OzAJn3XdkHG2ZFnjCtEqgLc5ynigvh+z3N0aJJSJUfKy5vtkLTT/HW+xHtv+AoPClne7XDjJ1LpDhqSxZAdigMcd/nLR5ZQf62vR2FFXmwPJ1XsMy2Ox43oHBhsRmF52OmdKQXR+gHltolSte5bM2MTWkJf7544khYP/fhJrV6VDmWgqBxLiwX8FPf5/HeIgjIJE2CJhVFY2BA1PBKewraZNp8vfjTsbgePfZAQfr2JS7bw2dQc+5FM3pg2rJhEgZFWfDaQxbxhYLqk3cBaAyKBs2zP+MliEcBFfHyIJ4xz3VvsA0jAaAkH1xkdABzG2j/NkWmzvrMfVa+xgF/stNtF2pqU7gqdvtxA8pzvsoTQo4Olx6NUHKRHjQFv/bZS+dOOjCURZbz7ED3ZFIlBowUiA90OuEGCT4GU/ay9fKpIr1vdwXU8jxBC6i8UYvAbLSpukKXkH/swsQ80cWkdQ65E26qSlkyDZzz3Sju8RYw2c4oXyZqOlQ7/ubhWQqula9HrTHJ0Gzf/tVL8+AUnUAozDoX9NC9lMA7RZQVcOFUMax3bD7DZ9teJ0z7f2CrgmcadZtaHxSVmTxBv788mg52DRRJ262373bnQhIdOICquYQHDd5mxwKLOU0gIICAY0aBZWNHfVfk9JtucrSBpAK9Eaax7W0nJ3eWX/afHqsOT0BEDlEBSN5KJy3yYYOKFvzm0xMZAGnvHVRg4ATqNp8JctQkti2lIfkX0R+HL/ONnYVLtbJnICvv5XJDfAKR+1gt1skYcg3upeyh+qj46szX3zlFqROlAtos+oC+tSYdTqjsCQrd7SGhzyeHQfxMBDk89PIQPI/4S+qhRVEP9bwBSLGnsYCt2kmAr8Q+FEzJKb7teLdRHUJm1OUKX1LOa1MIvzEzGCvfHv7QBMCqSK5fTCugx1wA7vAEk22GiWJvdD/7wqMskRHcKYQ++zRJAUD2qxcvymP7fEJeINtNYdngSxbgxUZuzF3lqsqC2EPL3T++DOpYpCatyX0BIteoIQlzlOLA3YVxkaL+v3RxgwCoS6NDlX38bTtLOReBrKQKi3+pqhAVgTxFFwOw0th4CDeDG5twdaKTb6OtQzztQ4F5AI20PaSYNvvrIvdtJGtK3Ve+y8yrpVPZYR1NpG+mhrkr+ibjtDK5liQUQox+iX7W0PLU9/VL11sKZwM/jyFOFYtspiOuMIU6X/F3xXTey5zzJaT1B6EBR45s3AEElwXFWqwh1WB2pFx5kMJGMjKT6JZkftj5y/bghLIPohhANGNxSiam+CepOXzgR/8BlGym/18yENF1u1nrBASU1pUzQC7QDzTbStF1x5RxssslJ+VSB+w2gsLqEja7aPN6yfud0D4OeIAdBFgPoxhsdzuk8sO4DLVvlDF/esgeubDJNQHA0p1ZPJDRkTqZjzGMZ2vhcoYxaATIHQOuIn/0EKk5OY+vNzuP2AImeTuZScFsuIBPux1BNOgFPqyiCA3I6QnI8U7ycLK6zfI+hNIsIYMVqeEIg69QuY1Pg0rhLrzkCW/b8wuJWD4QVSv6goA6vQDTZQqyadxBVokWRC7IcAZI0ZNjV9b+jCj9yGXztLN61j638M98SAp31aaGsu7J1AyAhVi9PlrGJ9zbaXEBiqF0D2wMnH540GF7KokggHyGY9+eE56FG2kpN3xS8zvmXU/beTLwzlEgqzf/OrPNVTVA32bH1EiH4ARpuAUz8v5d+3L/iZpOOtBlvUnEd+NRx1riIsjJLcPv40WJBIEvOmO6Ot822K4+lKBAd7i7JXaL8+zGrCSftMh9dX1oMtbxwJjwaPnDhHyQNUmdmYYqqqDBlkyW+8XXpo5dpO7vb/2XhsRzKi6iMwMSIFWXKN1y6gNASqrCkgABEnLFdaQyYJ52WA1I3/sx0L89ZnclBHzKUcvhcYAz6rdhE1mrSRbRyxhSilsoNKgpiD0EOPcs5TpS83jXMid90SSCrDQ0SjjY2mLpkFQw38ftSfo0kh1/bFI4mIlOh+LWQfeMimKbmaD0HjqN+5eOfMcbr8t/xEuL2aeycV1DMNnI3nQLlgBq0blZs9Z41UYySnQ8IyyYWqgRJJlqsVPFmD68iBOKma8SO1YC7P5bOwZHWbxTIdg56J7QElBM96vB+wHpU9N8gjaZIHSPc+bDROiU4Qg5gk28vWuSuxLLFhIWZRgsTqom0VyGZFCg3EadimCJtRqtI7DCCRLmN5rh7rd0n+nKUczJBISVnzv4FQj4M4tuczJHF1KQ7Ur/IYxpLI9JhTz1Cn/E1z169FG9dNa+Mqp7hou1gmarlvJcd84B2iZCeV7OYQbQp0/XLJUdWdDfbfxBbHsfpQtKtxHLUnYBPbIMCVOig7zX48rk6N1M0aVNtzx4oloAXDELba7lOe/JR3l4l0tuMgV+fqLvhY2sGCo0M3QVwiOFEufObOt3wSerRlAeNbVOjesHOSkvOXqQjfq5qjhJm4fRobVpsZsRNF2caHn+sKdVBSW6lXVsM2jaI/K4EWUeSa0VNxMaBDFu/zyhUkU8VmXxS32eOryiANi580TNNaSfm2UjuJT0+dmauQ/Js7CNF9PENxUy7R2D6tQf3SSxSJrHdrdQXjdDdE0EFa2gNKjQf63RqAimT1X/9JHnvpz6YJP8Dbz0pPXiJp1udNPE7ozlMBjip3Wy/Z7o67qmF8YRa9qs/3f2vTzWMA5LA6Mhp9OJH/ptQxPwXk+Jo4kJYmNzLp8GgF+VpqrBygxyjCh+jIg+3kz4VA98CRVOaxIlTBG4ZSoxDnOveoTKpbXJNZgmuZM+n1jFU8Rw8CWHG60VOGX2zhDTrTIeiAXk4OXrOvWJS7HNccY/oLlhg1J8flTI7NBIsjodLI2ty2fsQEHBdNBy3uzqqEmeF1iExXxbYNM8or21RjXVZmMl3eJh55PwUdLHC/z2VfcDQp3wsmhUGVQcHA7lPfFSWqZgvexvFKkXpIly8p8ksByVHT1RZE+noAKEKyP8v0EPWB0iLIBU4DsRfBYNVGpKd+IGbUsvN3y7JdiNOYntYaYkExgG+KAPKSpIWohC9OgooJKUJpvfcVkwt4NclTT1KGSiGQoonuIIePq5MwqP2MnNJJx5hgsOHjW/FcLiNWpFbl3K9yva1/WlpEocUT4XsuPjXo1gUKgSNjJgV1Ab3+JZbZRZtkeh2MTcdyBVY2daSXOoo0DZoo+THe+oTCezSHiNIwrUAYN2SN4JD+ImnKOMB/KqS/v2jDYaa3oGKStlLMm/qxPGGow8/MW1afep8e9r31Qt+LwksiBEemVtzfeYliWRsVcgNfrfLN9mI/gbt+gNighC6gfDSFfc0PiF5ilYfvzltMY02zC+aOfiKfyfmDbBOE/cWzGd+KljWEmCZI+GoCXN7I3fkBBlDKwKQieaTSnkd1H59Mhti52koh0wH9neOAx5tnfVCP/vrFbK6syltj4EScjtEhrzCjhgPDBlM8TWKccnBw4J3YX90F6oJGSZ7uERJbZDoGbTQ1T79H69dPO8Pt4tRB9Z1u7hCbOK+4L5rOog1emt9abmsKzrO+SJFCj4jTVybNbY8LOTEs3sT7FrPF4tzPlkMWs20D1fCMcUh44kVEMMWhaD2XjhD5HXzFwKl0ZWVHOjUq3azZ475mlKya1azHpcFkafdxaQS1+qliw94N0hmrHKkSW38Db3uVSuqwsFApb99eopKmvpDVoLTLJjO9DlcqL5OxXFrLtCRJmVqokStzP3wVba0ynnxcrizCjcbFBezSTcn2fof+jO4KjbjUMLk/cg/IuqLtxmkNvzFKOdtWObCNTzL7sLssKzyZhh5RTsbYPSeIEqRDyTtlavrzdLg5FjZXgO3y3dpzt/adybVj3tqeLY0NGCf7jPBKMSMlgM70cuw6eFoykONY8ENce6qWpztNl9EEwePFRjTmZK5CD74SM0yckYAzyiZPeh/VAzA+8BHM6UMAkzCJuwsjv5Gt7hxevScUq5hfOWyM523LbnI9OJukt60lbuVuF9z4br51C75pKNa447ZDe2HRzZdsrqlfiW7VmVcYCv0p060hpTGajUinOKXS3jOxR70qpqnuIhg/JZaM2Da4laFJkZdw7LW1ix34ZPMJjUAkqRJKfzUk3XiDmo8snQYqYah4oMfv2zG/i9tte49flmyYSBeTVkbQG8RV3Quszence76P+mgKaQZjYXz+YWsd798LKZZO8q32vQWorC9cTck2Fycu78Z/CdGTehKFH0yPaMqPosG0zYtkiRqvzXm2Au2eGOPf/aiGDQK7+rvmRTGxT1s0Tbui44fqHw1sYbnqCR6C1k1DAzPrtAuVNdL9ErxWTeQ+avuJgOWDdCSXPTyPkvm6dfpINXsIlQGVAp/uOswzAw544LBwtTVNoQgOXwUDsaLm7SCSFIlDTKp8TsKxXlZYa0ddbsJf72DgTcbGdNHy60U8IdxxYxPQFCJ2oYHCzODX9Evfqj98gFZ2lLZUoypimBm4she/UZOYUaL9BUuFStrDLRHmNYxxqWQmU5wNl1eJ+0+NE2iZqm8a05FtLOmjhGiWs4pp5j6BIyvRoJFTqyuxx0+az0+llFw9SfFPxU2VO95fqZx6oAwGZY5w11cU+on84vV5nL/382zN1ia0PmwFOJzXXkUFXpFiwupyH2hazNCUR+dgEDfv2nY0DYiC9roewwuHTa5eyq1x11NpTvPrXdBtwzgcO4grbb1e0SrYmEt2xTO7IfPhVo/6jJa2JT9mL7EgwIDs32N5ZuzFROfiysQFnxN/PksvN7e0ari844tgPxzhbfvLv2Eq5IEP79mJO0gwpuPBhqCJhAYAkCO3KL0Y/JFOt546UWFY93K8Nym0hIaMgPYFAKFuq7WTvyggiTZFxIWt7/OnEh7hmPgCPPyfhh4/T0v4QKjgiH9AXPX0oMHd9xGU4j+pcdBB4JjF4m96Owvuo2MNSp/b8xzA5HBKQ339u+CCk2yWjE1Twyloei/XZk+vHG/0Ntvss4P+Y/oVIR31UhM0Yllj0tosNYYBwKaa+3CK5z+5p7FS8LtXeRDGcTjCGUCuW3B4YPdID+hBdOCb0RrwW+Rdd8fv2dKJNr3sXHLrGjDwKsdfxEg2fBhaNwyt0I1r4JlQSN/dayfPOR4Jz1TxSxf7owL7KO6mo2GgWiUe6xN/TvHNO3tK7wg46UJMMxbDOL3lbvDASzvEt17TyY9/OLllb1x5y7/2ADbEttxfJi51rN21818vp9RGZP+5rGTqJzn3FTummAgwKhkAM4ut20sQ8AWG5uVq1iNC8aAMmwmEaVjaJWAkWVsn0h0TgfWb2rxp08UFjR5zJk6TTMlf8reOdDoGlX2CvlMpfz9NAP+H7mpx8nUxvrNKjsdnNVnOl8erF5FcbdiClhXwNJcpISOQ1fU89gS8s2ru/t3CDLwmQAlH68a8traWTjmod7rKsPsFJEh8RmxbMVG/PWOVzpJjMFHlZZmaa5BfjXApcfL3wyfN4MZTqK2zEC1XH47oneOMCt52OzCsYyXjS6PwGQs6JCTRKN4PlfVRjIOoeZ7pPwi+ULZjm0EDMimWTiJ/Z/8jc776zElWHT/vNWFy5bv+bwobRCBpSqu6IH58j6Q4GX8c0CdQi3e75WyHnz92yDzQUFJ2ogVc7Td3unCM3XKALB8zhEp6RLy5+qa3oSGjAaorg92O15L1Gk6fKJ3w/zR3o1omMXrsn4tHcW9FKBVqPOsAME1QtsuxZEJ/CQrS8AS+GOhViV399QUn+da5/EORevAiaYmEo+UVEbI0dU8QFJLreF8szdn3FJRbQdelgcEZIGpO2fKra+BrcdKVI11OI0VA5NCeY+kDLP69/NQNSrOgABKQarPn3lMLutlEkiXs//WaMxlsLQ3ZqmBGauXWdOQvQIHrjefIeJwVJxITLkbToF5q5lufwWsJjSsEe9dGFHDXTastVF6N0MqRr1DKiR1k7wDyQtQflSJegSXEE3E76mxzQaK8I6O+TMPc/JdCXRpqFXxsgy2mRG8+UOOEsiTCzw6TQ2wigZTADXv/CleRD4sz/x34t4ywIOXiiJRgGmqWp3JNEF4I6/+KkTK07f3jV78Jm+XzpfiXgZbvzwdwfU3+d55kUxxEoXb3mPQD0ZDis3fFlL0getV2Mlpr5rDUze3qLsmEox35Kq370K7dXGqE97T5TDaoUZNi4d7sEDdKi/nV0euNuT9tPGSrExNTP8hU+OimN6BvcCrur8m9BpXF2GorUs5VMS3cmiU1zBuY71e7uCZgKXYlX/xMmdQ/EUigc5jxEIX4XIXU6BqRBK4PwGIunw7Q2zCBYCMef1HGN9Hg6GRZ+feD0w3ax5WPmSLCFhV423jWb9CjAGVlrPiPWHPrgagZVQ5L96v+P+yEaXOHVb9/neeQxUWC2N82CiqYOEWAW3awWjSLSzX7rUgAh9PjtxFNq4WpHmLxqT/1N0HuWdsAYCmsG/pCktQqJGbFmcjei3CEEs898rTfDS8fo7vZQudNC+OiIyoeSPPPyMbCI5RADO3D8dizkerBuVMtjVcfA1SkrLTMT/FkZOrtVGChuswm1OIOuMSM4/Zyjyd3zzAKCdyrw3GyOoQihdaVkg3vkN+ZXWC54czKO6SAiRm/UoDKU+y7E63ek0jaY+tDCdmHXCJlrSVQ+27raSE31Ft0Q4Q+9OEiqDm8HSbOROXzM+wEqV27k1v63oTK+GUt6aI5t9e9W/bXVoCroDSapJRRPPDW695F5SVf1ElukH0MiVo7GFGWhzQnvTYw9t4s4el8NGRr9w2+f896sOFaUbdrHLWgfevpUcQC1WbFMVRDLL9EU/qsqmpzy/0MuWHuhpoZ9EcsxTCEdL592Nh0zxuEs0rHdmqcjzc6RhBgCiDiNvX0LBRtW190nmxJeeLG5qbJvOVJXtmJnskZEz1KyUjt51X9FwPSr1Fx12oh5PKMAUf+k70AsyvZx8BQ1NyOK5ZsaCcxQCUN+rX0iSAPkU4jtob28bUaAh7hIcWz2ZE2xrH+j37wR2ZfClDPgxCIRKxyIW9dgOjV561TLUA9unjdLbWYpqFWEoC5X6h/NHx12gJj881LKVc7d5OLiLDzyDyE05Q6j68E5ZdpfHgcYQZgl32jDtHsfelbLZhaldRz9ahsh8zXpI2jWH8C8pKWC/R6IzKAc8q3Qv5IqR0RNSmO/qnXi/mypdvnRH3hfWPO3N4Oy3CRn/VoYYP39vS44G9K14AzPlbHHUEmcI1XnaiQjubWvmfEEeUODAu2/wnVmap/koUP0kCZynFpl12UKBmVvUpFsREHuRdK1btWkZ1V4PEkOVFj27hPXIEREUIJ0x0n4CEtW9wWJeLqzrDFs7THS5oZ+19cg0dWiVDNgIUphY44wzp7ce/nuyLN+rH4+Oeu724oYfZVqceue6dV6j9fRbyo/TewSXjUQxB1xN6LI4Lj3/atBE8xbPN0Yrssqyuc4jBoQCTg/i7UL0S/2dXvg8re2eVtP9lTEZd5RsLis6GnG48QFMdkRj0HsnqrZL5E+ZxcmTc+/7Pkg63cfl/T/p2n7kDkGjEYnA5hSB1Ue9lDpLpFPsNaQ7SvcK8AVBiNpmogt610r7YeOD0O34AF7iWqmRAczyvCO9bxWhv9A1JDsNkxXTgWMTJW+M1fOssuTW6O0+QoKYvKJpoEwGOuv6NPbnE1VpenrCsUkheaBoEUXz09koWyL/HXVYTQ6m/p7ZCP6aNrCLIBdnMzwzOBPAFU4sU5si+om/f11q93vxSF1HxOyqYusFle0R2Myw/KzLoZ+TwU4M4xSsdPxHjxQFCtiN+fS2UATTok62QUID/f2EYgpozzw5jXWmCtlANlBwTvF2YHQZUJ6uQO2vzEs0agYRZtmUHg3SW9Nih0e3xuVcY3YIdAP1n5N5TrapJgLVuHMmIFBxeDH6LH3b0zJ4nsUTVGIXzZh6neqBUsCO404EXScjWvFtrBrhhAYB2+kvQo0w9X+wT52mREpW9jY+/TIwJbigXFKGqFai8Fq5xzOnsm+8KqR3re3tGbLkn4+P3ZgiYbIE4GyM8nfGMoERH3WRUfUaug5IEMENuf1I+45qOFmuMPnhq6wInXbEU81epUdYh0gmVEkUlbP0dNpHGRXi+TuMhwwmN+ZTtot2NkaEjmEOybVfBgdb1Ax76JU+f+dvcPN7m9UwgGHpIpV+Eo8GoM+VpIABhsmJ9CmhnH+ETkJHgJNCEwKuQRZpICKLKiVI2Z4WkoZmxDSfMZCNVyFi9FLnHW1QU8lL2IrMQ16VOwjgj5G43xDM4/PEgd1UInmefb6yy27htEV5X0RIbNzZS/P5tF9zZPYgBLwMXAF4C+ly2kWBLwvsJWqDircraodLPs24XnYThOWPQtKDxENipSwdJ+YSmXW+0j33eAHBGT4AkSvPFQHnkHcWy56FQdI1MC0y159bIGuVXTHG+VpWhZEKyehie/WvWIghBimOrQjTM93Ex57XniUqsOZp9E+8jhyfqtRHR015BOgKPFNz+zsDcRlqNhyYd6e9WCttBzFt3oVKLOY2BdBh9M+fZ7HdGi918/n0BL2469bd7Xde/fqOijhcm/IRFymSJe0MgIMnryxQpnJIaU/gUnbflJbiTeHrn8uEZQXA4qnUHH/Afa9boFjmz7l7z/jIuLj7npwfP7lZ6E4ZUfiI3UKXq1pRd9i/RJeIJvbs+HnOYGvnSalpc6OQbo6EzYI7SHlWjOlWN+Ai3c4tt+m2oowiLmgWMyn34zmieztByNocNy4rqCFzKnj5B4CpXtm9AK4CWTwBSpKMPDRdB5A66PBcLhLJkhxctzjI42fnfYUnVAfY/8DcRyfoS/Oz9lbDH0gpzvawUXeMqtn2nyTmN1nqe+0UojNMl3kCLawgY7VOqUbkw5x84bxOWXGhe8BiCMa3YS1TXC28bwdv/s+qOh2wpFsONtxdrs4gq67tiIpPmJ2nXydmzcuqRd2gK2IGBQJ9E6WeG/9moxZPSARwBOYp6NpNhjJIpF+fxr+JuX6CLmfApTVvALaYIrTASebA3no7muOeu/4Dd7YWukKnC+T4nk6nod0Lg26bgzwT9rs5LLTrhUmQIsPwm2OXXVqUWPP+GR9sp1GWsNHak/KMDbw+KAEsXFdsxveL1ASRjrJWhIboJbrbcqjaOY6GK5LMaTZiB0nYX/w84efafYQI8OEJRFV9CrjEa9Uv1m5nXUTu/k65GL0vJEIUHPmFOTSvlVzn0W8e3NCFLGFwAXsZsxpORMo8Crlo8wQRmsJxX4A+Yg/qGeCbm5XhR2Y/d6QzXC3JfXNN7Sdp4oNVY23xs1BRkDAtkBC3SDcQpoWZuf7vhVo6WYKJj67rO5gTwdqbOVXtaz5Nj8hm7tVicQ81qDLsVri6Uoo3JLVLfRjx4wTRAGDkCiBYMZJK0aDFbjpVTYRDWSu4rNl6ti3dLnVXfn9qj/kBX+ZVluC4AaG1vVLB5PWjA+G8ediJp9hKiA/DXk0Re+ANvcsMDicdqnu5TX4OI+s1xiXObIIjsevLvopiIhfu84PsZ1dGn9Q5cJBj2eZLqvTJRZCOq8Cu+yssQnysWbF5WIZYaJQbjzW9ZQrqCTPhv21koDyyeidZpzZUUlC4sn5uZlbhycCBn+W574+Xng3I/nPat+FiE2hgG3ly+S87gtd12hjwr5MC3wz+LKXhDylaLlVI31286GmKHaSoyZymGM4VF5Bv1yMt+rQriqEhqJ2cqqGeMuSHTeDR30nb3wNVFrmvm9JF295I9VobhWdzC4iaxUFH5HpApJvU0B/AwKEAdSR0ngGvk1EKTfh8XPJxBIcSg0KCjHayLReFsU918OqWimvdxdWhz6Fxz3ZYVP9u93xJxmKxLwux4nkoAmOBxoQk8XY/vXgH/dUTqGSZnJ53fX0fZaTfTDYVZ2uqKFnqliQYOhkF538tG6ArfWvgfwG1d1L/YlO1/et2kl03MhS7Oe9Ze12U8qi3byQXmKYXpRf8FHjEFkSorv2dld9Q5Dqef5zDgVcutzSPKoDXo8N3srKk7VQNTWbQdBIJ7kJJNNqsQwqpOWXJAvzL+iVHfgcjuBEYALgLl3rU8/gxwwFb2XOnQPkWpTe8REiXuYk7BQIgh1wnzyVOOGjMFgnbsG+/x3JNt7ENL8wtqnjGsnZALkdPB47A+tB5YbsUwfpinC1KBCSJHd8hpSKk33UnwuK9PMVdYr/ARP3ZAFi7NHLa/E4WWCZwzAETUr/0/yfW8bdsM3f9rh+MOLpi40xbVG3ACkMYD2rGVuIHCFbzvYjiUfgHEXOEEBe5p68KTsXYLuKwDH9RAKSrQnZWYBt3xFd1o5xinQ4TwP++qmRGpKVbwpTm7VTTCMOjzL+DYqeaH4nwcrl2RgdhIfvXTu1Yg8zWCPBjSLYx8zgVQGsNZ8XY/Fc+pmNVmCxbrexveqsgIKGpaFhMwVY6MiRdHhTKaZE0ZExtxmcW0MEg9QUwTI9J40p+ryQnYxbk14XTy3LG4LVTsbWrqZB2VQD4WoDwebg8PyREfvTTN7BR35EK+IKtsE7DfMNoeW9jY6JOjdeFj5838duQftecEJfzpHn5t2FB2rp1KPcoy7y9qBvOF5y658xFhrud3uyyruc8ID+RjhRcx43sWf0H2H7DeW4/EY9s+ZfSktktQ5D5s4LaTnjjxD2A6TDlJYYW/dPs9Wl+IqrMMVk9ejGa+dKSEnk/sKQNsIs3WPPUMNUSzUQeky5SgJ9ozC/1L02s2VL6uWQn0Hz56w5YC72XI4S/WGI2Q0pYBgUJt0gwEIKWc8ORAIH4XMPXNlo2iuqLmvMD2Lrb/RzSSnPkYTR68joHiEpLcmQjzMmeV7aDiWS70OURcNKR/P1iNAgtWKln+f4RZ6apsaWMUKe3m1yogB1gMNmroVNFRpgr7pL17/KxJMJzkCs0WY4Cm2CtBICV+04gvgsryEK7HDean3Ry+9SeV4QvPhGTU93eY8GHyMzFB4T+OcS6oDpuqsxRgqsM4gR/hc7nstW1KnDm5e34vRNob5wwwq7bGSfovMvwPIJlyWzZ8NxH1Ka5dPztUJaJYu3/EjggzBzmEAbM01HEOTb4SLONZ0iW0ATLBjb4XtllxjqYRrPgDeaQRd2KL5W3pQ4FWPKFm2l4BPblKAqPWx/HAZ4CMsVKIIaHJsDGij57CPV+ARzPWKUju1C6MxHZkiE56AAkUJKbJS+Ly4xkYZK/FHYCL+wXs+Irz52EQdprfgO5+avkdY7S8Ry+Fesvknj/e6zvSC3YneCU9ug2iQ4Lx+0uGU/RUcdOeaVVgnWXAxJ/QvPLDbLBlW3SeLugvYsm645CAQWb8hNUskJ8L2FcIkAWvP716DRBW3t28k2jXoDY82anarxhIkSQ/ahYxgIMifjIedJOcr89rB2REsdbdymKh7Q2kvqYPF525DXjI/eZ5VeZTfNRfMMTRz18rK046+Jq065+LYVWZ/lIFzKt5wYqyfKy9K0dNqB04rTCmi+mDngTe1V9N8cwZri3S6KTUIAuVR9mxr+2GCivqzlXONPOixna2MDDZ1KfzvnqnYdLkmV4xwpxQPmvx1/nnLGbmkzg+215G6SAwV+vEvDZl4WQYth0YVqP9eDHEa7xa7QM451mxZqfHAO1W5w+RBv9RharS42o+wtvfQ3ilWukIfXYCBqZ1G3qRrfBUTbONgp6yacYCH2XTNFZ1DiQTEx2ggiLXggpM7mvnDM/eJngKGbjtmaP1nln83RrYlpasSnXaYiBoxxgiOd7eXsIQYG9Zc9RuWmI4SyBEnDnJdQLyAEYcyrHgUxhglwZYNAf0LtoUd62Z+IusZecksdkbM09kzKCXG29Sn5Y9ZxxJPZfDnknPO4wJXTWa28vWaydDomlykjzn+C+QxAHfbWwDa92OOW+AwbCz9xlGfuw7BBm41eU31ojWyoSYk7Ghbq3JN/GfcBp+W7rbm2Zdu874HTTTbBsgd/TPtjJAYvTkeRTeIIK3g1GCJLewX6b+E8IlgxGyFvJDa1tt0tE9O18fgQKB3sHSwevNbKHp3TXX7CtsVorImRlki88Ln4H6F3PEkdJh4slsoDOYxogWYIsRqmAoBe65DRpkZPkYh5vvS+KZjrCAKnvjrzaQmmkL4Mpohw+ZkmOqu5B5UOZjRt4FuQGEFZ7l/j0skAHgZvDXmSS+M3D8BGjgBgcuys4rNDpzBI/iKxN1mqOC/XbFTlQQSDofOfFeqHrjbnz0bvIX4Q4h1Fw6fkZfpr8/N5wng8Nk7ZTtRdXxdqLxaIdfz1r+ZcJlVDH2PbJDSO8PIO7saL9WRT2/Ftf2MhR/Xmz0Te+amWoB0AymieDiymIKf+PXrkvB/eSX6/gdfGikhVPBueR+X3EJ8OBTk9ePSLyd/ySAXMpKQbUCRMWtEiVagNs3STfcqNbwYQ5it9tBg2+iymFFEMFT9HYn+/cc5iDmfxwsaQFG5VToKb5DL2iX3GDZY7lLk1Aom72hIF/mgAontUUJ8lJMUgB8GacOZtz1UUnwu7S80a9pOxzEK0IQ5PdfWYXcTuUpLhkn2X4ObiFrHsiNqOeiM+iKJNUnE83eVgaWo5OaW2pTUWTpwc9Lakwvh8kpT7iUsh4lWSQjD/G7i7ReHW+Ap22kEJiv4gOtpppKkTgQOJ9Xu7DDV0RdlNOfV0rmYFT6erj6LhjZ/y19QoHxZDMyt9M4Fq7R91bUdBsQHsMsTyIqTxB/CfircjJEiw+eKMwEFNS5yhEXlYahygtMa+/pMHDmAuUvuqrNEwxCQ52CTpCZIRrSyOVmHlL7Mf96e2BXlGxWUkHWbe3cCgYKWN9siMyfjurcUc8hIIxA4kkMQAGuWVw1OnZjT5Ewwi0rDsxZ/6jqdYx8iMs2qN5vCify75MUiiZrPpqo6Bg3/N2Wz7ngluG3+Q96u2KCdyLhOcbBmRSzQp86nxG1AbdLtAuzFgunizkhPXGiVK/n4M+W0Q6ZxJqp/37bIZrtgoTQi5o4v9T0HJdqT7qI1YWkU4a8xEUerrOVV8MjHHjNLwoBXGN/7NOtadp0VnZNTemgV39w7RKrcUW13rBGHmJjcOmkEIyqOUrinDM48I6wV+IyPGR39KniRu7YqlPxbWNmEyXulbR4wief9HmPMEfKIxuHBHBZkELzbxf9n+KNfgfvhM4A1nUZeLNl2a2IIuk4JLXBIB/8KXsXOdzzWK1wdhChjZfk6EVT2ynYPbMPg+d9IVuntFxnN67YfNnM0TGNKWoMkuptEHASg3a+3o1C7hql+RO2/2loi9Lc1Uy1XaRWtCmS8E+2TUNQ5C0dHqHTC/wTbVOISLK/m1iIvaok2EOMT617HnTU5FdxA3NbFnumNil+gnC5XkbF5sDlx9NMpW1sOXvSS8f+BgHYmLOvdKGpIa3RCQZqiTuPxK6V2/DMN7JEW8KR8eBu47nf5oDt70SXvE8AxMEJD4cfE5GCzxQwZV+On2dYUhXYlGo63QlkJfIXDOP/Uq9enCamDDTK/sk6wIRMLagD8HZipHdsI6EYa8512jA0oN3bOcmD62NvzLJ8enX8bbWGxtyz1vn3kmpG1wPKI+d1jVCeO/kzjeIF69YdZS/84zp5vEx9WpxFwwN2Kms/lC3m0HFHmi3+A8O/UV5QoRvQVuCoGGndsqA+gGxwlMOK+px0FNmf1l0cWarD0nzs3dk2vEBisKcZ6BwsDWFdX8guXDtvDFX7/kxqQjxCYWQkkYve43DJVL3oH3J4HqxIrbtu16n6TbPrvgClarl6Ans/vAcO7cg+Q5EQcTbTn7tPWCeQCh8K7ingA2fqUAOf3SOZEMcKn4vpGkH+aDesD720z7xA3koBJx6Qxknb4eQnJbqPoSdWeDmw0249oqHsFSgYy4lnlEIJNfa047/OZcHwEqECSGVD6plnQeS/m1dY8EjOg0ZQIiUngMm2yrTq+AJTacqclOEMcYsIuHmndS2Mf0qljS/qmI/tFtTiMEbA44njBWjOSWSQoyKhSXw417DF3GNbIAJuNLP+R9Vxjrlh/oWyeu3RkWNEK5a6I3NoKkkiiV/iJ410OSwU80cLQt4FlBm8rBgtUmTmHVdaG98tYOLgiWSU401sg/S6LkxuERyOteNC9wqvQyPn0ps81JDInwxC9lyrqLtFnNuTgD1Z9BI5nTd+jbN8w7wbFagQiL36p4h8B+AGCVEwT8AjZV25gkl755ruw1fXSoqZAI673gGxXYp7X9mNPPOhqRll3zg4AKagZlH26KBql7XOFy1+bcP2mqZLC907mLIZGFUcR9K3ByL0BhPqhOm6LkpYH/YnG4tka/UUnRofF6bB0G8S/rIyKS0Z2AUCmGqnIw9tDfoFJtphsC7DJI/Q3o4IlIQcZ476XmQBxsS2O4noMePfUrhHVp0+B/0X/80z1UDC2DYVzRvwmua/gbTiBOm2/6RYjtEcfuncwguKm0CYSGnkBqJme7tVubOkaOz2IELniBe11Pb2mP/XXPy4lX0iHjWCGIlgy6tqqzHoTRR5hRKwEVtKfqqqqXoTcOauPW8SbDzr3FjI//JvvFifw5PCHouW9DHKJY9pJxj68fJJM3GXe8jCfkFAXUTgdJfG5LCGg2myc+FUHWnQc2JRgRoNcOEw1aLgK66llqHSVDcBdbO02pGgrUDAN8Vz+xIUGEcWOIGc8l8ytMxWNFxAiRZ3DnbHxnuSYTnKgExmoqJLVp8fgBBx7JT/TVETvdWkP+sgiMIPTMgj+vA+no5+jC7/ESl4ruZkhyQF5z5l41k7miVsQmSctcz+bP0rjjM8oBCEwtt22zHLc9KjDtBMUOt9WoOX0zHIMHGg2HsAIU1BHufdAQ5r5Eb98DEL6EuLDTth1XI3RpRuSfNt8jmB+FKPOcwHtpNfVYh1hqLrkjApepc0fW5rIZ5MZAKwcsabV76avD/V3aFTtvoRTGoAF60UpzLXiT1HzWXC04PvQSx+M2T3j2i5Q5oPHfabmSeWyriAMQmbJa/9x5T7zPeep2yawi7Hig+yaq1LYB5qBUOuK18hUyQgZ1G3YpYve4UatXRbwLy09u62EcWMilMsiRncMjfcB4OPl2MinUJbX/VhJJJCrf2XOP2Lbhuri4MRPTBVlZhlGUjUNs98Dc9R49YVDp/7R7pA3VFPymhkWZ/AZm7lAugtskPK0dw9umWjx2jM24QZ5PrMracZ8NAc06h7xIe2vIVXNjWKb5H8BStoaO4JzgvaFntE3gN+rctg5MkCrqj8OUglOP7ouf4gyBFpFkiapH/Kb8e/VkL4Kma+SCgxe+eH2Tk2SbFJAaaB3vBnTv+Ns+757e+yHk6U3HPJc2xrv1SNfHl/Lr2X/GlnosFYoqhMORiRGR2McKnXmAMo7gLxHADXKm8UjQOAkRc4THb/0w6kS3ikDLo2ibgbe9c8Yjr9eXprE4iuqKjnAHWnNVMhD0o0fL7m1UCq9053QdSlH5og71BbJa/3J/FzCDvH7/WCCbQ+X9xeOi9XPgBfR2slioXicpMiYT6aCS8WTDwFZvclkjoa6dTBAMJWAF5jvS+0AiDeYg0/9wwxF0x5KSTKH2k7sjQsGSTcH1H4IgCKlNbcALtFJvP6GAhNdiW4tXt2uPYIET1dyll/G7CRwaOHEFf1sOiYHFg18Z8HS98ZV0bi6+VURwR94BEcp7jGg3L8RjBFaKBQAhvWPWzoTr6Vmdo+eY2OlmKh9t3j64etomIyJ21S1OZGt2Q62LwSZ6gBbdHe+ssTUkAhjuZ6uCGLSKODW0mYRCQkeR+DiDbm+lyo1vQh4eqRLTY/DrMs81loNU6YVYCrcS80moq9JFgGDktCgIkwGDASSs/6MlCFtY+e/Xh5UTke3kT0+WJq9yCqmrEGoInt2xaGW+sgjxvIu98UB+PjwP0XdGV3sWlNro3Fe5BmKEKSAS+2bYMuHi7GFBP5ONHAPHyx4T5eQMWD+teZw7uj5eeAzEM6AqvEzhL3Ge3kkuHd6wl4cjPu/K+zwijyVpx5QHgX/F3vMUELN77T/1W5PZuvSNNG70YE9CPkGJPvnZKDACOeFDj92GizL9q0DFhBvk7QbOGDXdWWcQbUvWr3IdBNJokADzfrLTrASU9SiuzNzXy4QsNd8Fns8ZuwNFk5356BSeN5hZtgSZU6g7x+Zke6oAsu875t+leiDjUmD9AvZg9P08utOYgyg7WbAd8KJMWQ2soaSebgB5mEPVyIdeCyJxqmdtW8EhoWFNJYqEUQoLlnyhzfAhd4j2J18JJpjrkXHBvSUuTdv1THbqlL5y/Vu+28Ls3iDgBYiyVoQd4x8gMAn3WMwAise3c1c0PKl9FN3Ugjn56VlgdIB68Y/fJ4dlMRg7IRS56tw9nkvUVluaDTEwWklWglT46kTVsFt1H/C0JkFxgKTtjUBTpVC9/mfRfTodsZZMjU0A9c8P2oMnWTIrQOMRwoVCkoc1/dWAda6q0OFsfc0PXYBf/74Z2FRQ7/LnD3NQJJdrausPgaoHOCr7ZhwJgGs8zhaPm5Or0PT2geYlXAX1OVyvbRUij6qBQtcG0bND5zvF0sb58q7U2mhB7xV7nH2RtkzP6y4E/7IQ2Dmgz91ijoAdqhPlmlTw6M4RE7D3odUT0rdd08VdLGexvssSdVKKyGKFnXR3Ap551+ZSkAjuxm99c3EtzW+7EdmpzCPAmRsEONSyLTKiHp56EZ+gmSXphVY+PPLMowGpqvKYfv8cva+3gDK0qGjyuqEYK+StJSJKFlLLXUedR/169egLRTpmQ51EFXUOOnmbF7TPHaVcwAOdKUmdfAaceFiYO/yNl3VVTTcPFw8nzF2uKfHTYHvlonSXNdpe2YelsOefl4Wa6fTudxHfvmp05pAG2GID5mer7z6BkNZrAnF7pju3chXAwKB/F9/6X/hRt4dFXMvMeJ6TIRzcsQyWecQ6PuCbfv6CuelMUhh0piZXp2XqVGDFYCjSfQB5O3Amb4ofRlDyqxeYH22sIJThWGhSjH/mYpDIHAVrkI4YAs3czFy66z+wmf2la+bHZZSRklyJpql4G1O8tNSsKMGpagIJzXoRY8ll79SdfHgk/pcuPjUZEprrkbi+BnAwsoziRKQRO+rAPlKJF0AqNx5pgkMo7kC6a7d6EeC3/2Ico5yKzgCfKtHW/s1BRemJyJ8MIA7TFOmroxWnGbb8zFqLlSg4hbiFvIJl3Cl72vX0CuRSqHlnYBxsmQPxkGv+BpfFKH6qtxAGhrECNYF4hVztEhpo6W8gRPix5dxxVpU5igb4nu5/HKFydSsI3tpx5j6xB0jwumZz1xxLNzRBQHQaz26Z6KIqN/oqSVUAFvSx7cKS1XHUlIBjF/wtrmAUSLbIYogUFUgUG4baPU8SloWzw5fJ5NtaD0TRkJUMzrMW9GiLl2OBaSUFDNvYs/EN2l/83UVlvmHeyjr4uKoZv0f40WZUZ91Jcw+z1g5jT3fuMmG+/V/PKSu309Lr8f5UeR5pQoKIzdviMmXqP4XggpWYS4h+m2Qbvwt32WZYpLOP7Vpppxpf9ANrR+qWQaJT6pjRR+PTnRaQfm1W/yJHb2OCgpz6EfAAqOPFoa3O6j+UyY16xRVaR7jUxdFT7kGdFBf3m+/58iW5mTP+aOhvxciI+jT8Gsv+ovzMSJYBg7d03TFB/3KYTA16I4NkDPf+3bWhoxfJ0FBfFx3Wf8sQcMPSSnmTjp3oUAOdzsifExlfkgQqZs4CmGQNFcvAVNcFpo/WKuQl7C3Nd1xSXpZRYg9+YBHGJ2PqgdQ9uI/FngmWc/Pyl7PK/qSFNCvUgQevDWQ01CcXBLtSVWccMnBrloU9hf6A6yp9v7eObR4YHYGg5HiYsC2IsKguUO96MOlsmktfU9GW2DFK38qECrDWT+jOAufRUe07opBx8GCPWrQmUbK/HufaXNSPIeb80/Bogs+fVdNB8U5n6PtG4uSjzAXlbX6YH9xMFJ7+cz2WBYS0UKxvEzCaqm3TmhqW6iZn64Cax8Wbx5ebj2j77IMYxeaOrcTemD07uS0VjHMbAk372ol2dYdQRJXW8Pm6Q5VEaWcvpW+S3/DlfpPPNJrYDW/wSAtAwZB5bmsFYo6kmQiYiij/uLpF9ECRWl3BX9v9I4zRS/3zXmSQr1eYLYukRxoJDBgQRHXv6QkEcz1jFGBU9Z2/B1xMSbfIsoNzAwIpWTNP1AuZi/+Li7Fpg4knPhKqS7ublIZZuc8C71gLQUfnzaXC+1n0+c9hdxy1oyvYfR20Z5NGFo7f02Jl4/NhTzFhhm238rAOK6BOCSinnPwt9bZD3zzRyJRrfV9QxhI8HHvwmv1s26mIn1KbseB3bU6skCgYMRUVvcQ88U1TmqGHjpROsCvyXGmDIUmf4fGQNEMKaGZzbLyXdN1S1C9gav19n2tK0P9KAEk6yShNbbmoGC7TffxNYQR+XKNOrMdhkuoXFgGHzw93XihYvJrqPDuW/GPVNSznFel8UCKOcJIsPLqjenjuRdHLXFaxu0rsFPi9OtXxCzlWO5GCs+k/2gJAuCa/vDlhuHUqEVTrx1SkBWLO+jeETQzZr6dIOT7tWyLqPVPIxcCOtMhbyhrq03A41Ioyk0lDQ5ghWwVoSfxnnQmzkXu70RaEK4PBRUguY0nSXN0VAkiuboPkyU+n77x6CsgOtnRuN+iGnKxSh9kCFnKBOkZdjpbtkRmvep3+3ZUCEzEWfIg+LILB63RUjAS+9JQ6p9mYR2rxCkjAq+ne0DkL+qNRNhmXEQl8azm6P5ucRIiPzKWShtc+sajpkCe9KX1wBL9u9UVyoJf+99wJpwcrEKWv0/5YTFi3G/bDRF6gjxlwESp37/gZZoyjaDrXPsmZzkEwO+uH0A99/NJp04R+Zuy6qC4TzNBI2uyF+fkFUieWr+LrkPBpanrVoijVv4WuAC/5EhUdX4avzNumWv1Gw6pQYzogYiyCrREnSeEPdIKR5VgLDEGwfjPuAyW+Hf9nzPwInywL7TLMUFiGXtcOJTfqGTMA+G43kbSuITRxqhbM2lM1cb03ZL7/85j9gPlYu8OdLYGhd+R0RBmemW2VSL3Dsjn6FFQnLZot0xKo2P6hZZ7CJ0fLwAYnV5dLlr9RPXiUDB/7O1dGEOxqgDO0QZizMRzPS2lVrMFVEw4OZWcjkSy6LJQS31UdR5E8xBttGAgACHFlcT8OTJdBzVV1qXlNmqOcLvb7NXeo162HpL4+KblFk1hEaz6mVk+3Ht/4q4wcKYWkMNuB7w78zOxN6ZYhX2FMOyN6qbIdvbPGvUD3G16595UF8U99UucoSaANuH37i8UWUNKArjn1gwjjxh0D4QGvcTWFop2x61cO3ZOuUNJZn44dOckxbaUCX4dMbBxWugbPLQleuIjagLOHazrfGChhptjXptkrLqVbPRXGjE2gMIZCQYQBhDFxtOluHun1MlhSiHmgjhleRKyM2sj/pETgH5b7AQTMOLYVGiTqVpyCETnadmwFK7A/FPRy9T5TEZoPUB+TbSokGBr35tpnKxsVAPzKtXE/eoW9/8CpsHh+ZvOWRLKuDntxJuKJ1A10J40iiLb+46NeRMhMfZCVTCP0MLM74zjmaFg7Ljga5i7R5y/8Z2BVlxp1Yj2sTa99RR8a+59jGM2bqPZMsROeB2IcYY5ltsr0tyl6XtstjPsDj4ibUMDgvHGYtVFQNAyVm30EMwqqPFCjydGuMyE4CoobEeGXC6v9b1jUSw2KTgP9K8JnbpZt2GWZvBM40O+YjxY+o9o0fx0m8ijDry3Xx4ZswNQJgHFZgC8W40i2ncjO2q/UqD1Egz17LRNTnhALjOpr/gqEBb5DyPN4uZEdZKSWKLV381a0/eU0hr3WPD85hxK0bYloObQm5Cp8SuG9Dw47A+KmvciVyDUgdc0xzYOgnWje5s26ktfMrHRMSCcIHGit7iO25DMQn/skbW6E3essaF/gbB3lI7nXgsJsgHollOPrDeGLG7Eo/lVKTnwIYvX1GoZCLyhGRSXyItns7yiFeabxtzkZDrd59T92IbsrulT7cFuq68y/KaufxccPDZCLK2a+jWIFicsvyd8b6QPTIYwLkEvIbqdzkFX9cxx8pZLirzO2hNax3RBZMPCM0cv2aqg8bDHl9hU6JcFEZf9EoOhNkXPX9azke8FU0ZYdgVO6UXnz36bnSX7UxrUUkAZ/yWr1alPcd+wgV0ladSqsI7FTXwUyaftFUuvoejd7T8/nLv2FkTffNO1pyKSkRCOWs1fMYmHaneeZs9T5QEs3Kx6KltggkzBJQQ9qc90A4S/2xP1yxHHtc+fKeRBgtJTrq3OA7+AAoMS6oVrd8eqYJyyB0yMGaP2AeGKQ3aKfAAOBvy1BsvrcAt7O3WA3l1wjuzQXVnlr+LRHFSFUpP4ncgdSAGX0EHehzP0NiZkvVNVsiWtt8ZhEzwfhiQi+xiu0hXz3udcNJWjqR1Xd4hdSmVrUOLpE/o/qz76V/9pPVv+wzGIfx/3kALjknRBHFh+UfCNGyBPC9mOUw2/Zs9s0UZwK7s3zfYu5NTqfKcglhIz1MDpfX1cdWTsrlsAVfdnb35vzvKmQGywmphCbnv6GOW6pWS8SoeydgX2ipaoqvuJ+jsxjEsb386Q9hCVQ02CzJ/dirDHYr+Ra2HcziYdVqO1putmUAr/M73s8lM1w2Cg+1fbbyMfk1ImVKwvU9Hy8Z6MmlPgMiQPkE2onxLzE/HRmDWCfuLDwI3aYdvfmAw6rjQxfXTq6+gGV/I36317dvXL6PnfM+53Y/il6VGyO6eKUVNaAqOgQxwzL/h//Y7RUzBHpFJEvwyrXNp2TBWH2q8Mv5TGjguoPSJSOJsWHwpWnK/wp5ZoBOpSTOV6vHwgGTuSMHHQoCqa+pymVAGz8Kv48b30bFChtcf9RoNdtpYfqtfPG0iiJoZB4WuL37sr5FSTHJ1UMO3MIhdYQJTE6BaNh0GN7grqDLpb9ClWrfsp8yknJ4k2CiR1BhCLWrYhCuu23mqXJGpo5cwlliwN+g4pBqZBqQKUhKsb/FOY4YNa6V+IJOYSQaGQmHvPUnzE3MGv9Bi1O/LiVL5xJXbVyYi7+niKIYvltL9U/clI1GFxLAhWbpqSyE86SAwGp71vNzzi7KIV6DS21An6Msdf9KkAC1vXZ8221pBkcnA4YArAu+GF9LRjvlVEHhdV1Cd0O6rk6eA48xf5q3WznXOOUJNkw7NhHvnxLVQn6lt9KM0CqO+XJNyjGqO+pCGdWQ/H/seEtZie95Xkifz591J6O1mvwWokLMZdNeolg8cIewQSQQDDIfxinxhM0IGIMaunLkxgCg4lHBvOxuS75eSQTh8cCwe3fbhRpjcpdetCuT06FhxoHXpenSKVfUuOfLrbEDiaAA9eqDjBdlq7/bEU5dMron/6044dXwenJRVUWEhqbltZ/8br1Eis6EJJgNQS68wFOiUntj+69/JAwW56wtIvEiu6EiYCkRFpk7InsqMXp4OhMiG44TEV3SehB5xjK5z3F4WWWCFoQ6BLCHrGXXxxs21rQpLls08qK/b88S6pnXugq+t0Gu5Q3OnY3X3BeyUGbjRLyhg81CAouJFYw4tkGPX9g8s37FQulaxx1qehQk+r1TjDlp97mWdd+jW33qIM0qpeDFkF61/5U01YA6Vxf7uKR92CmnMyEsYwLCHL4U23bh3Icw8zDEOSRTVZ8rnN6hBZPG35osuoyKY/bITLf6QGEXhTnBibt9I0pJ/2ws8QTsN87ET975BuUt1op2ZcCoCMVYYp9KTcRDw0ivQA91gLLYzyzY9EphATdXocywEip8AuNcN9YyKXvLpdC6csJxbdgD2i8J99xT7GCjvBCMTp9v3WFVetEgJzSGTOitHCwP6zRKy8PhlxhEDQzDkewSTv2vw1WnwbjuM365LTnM4QQn39xuiS1UZLyMY/q9lgkpv9GNfiYt87Iyh4o6MZC5Yk1K3k3rNouYb6n066WQZ29nChxupv0hT/VttRwyMffeFiADDJb/4MrhFzxbgA9nKmRTpGbrjqGj+K7sPeBMzdvJuz5HVgbzWjRwJahIO2rysaKOWIcfJHAjgiKTcJ2kb9wZC7KeA1i1uo+r5/71R9gMZ4c+axEeGQjLTotD99cbNQgYD1e9L/00abWzstlGutrkmElOqbU6xWsR/4S4NCM35kKuWHw9h7xA3/PdJGyDwpRKJdYdlDbGkj7g622435Ja4Pdcl5+cV02yomBcdUXuppcfncW/CnFQZWz3cSohiSOpNwcYCHQa1mBMQ5IS46axQwovIUGyvdwr0ijKHY/TfimLmEyqYUdCYxwavp1X/61V5F5LqbUwFkIP+IMVdwWDBvXs1917yDycQ6yI3EoyATXl4ZeE7g31dUQe4VZkTBNxPP51jhLehCwpTciA567bS/AHDDncPevMnFoek5xKfr+HrHXoMo7pDvcgqrtbaN2dyh4Xz0Clu9dxkSDKSgsTnBYeQPeCKsfDDgYZ8QP1dCab8P/+UjpUbXjLXSnQCGNqHaViJoAwYL5mT4CveeiBUZiPBFPLRG35asLmnj6aRQi/mgxW5ke4wfwomIieze+bLLCEBhr3Fdyz0bEM4Le5US39yPOXCPNCa/WgY6OwHnTvQqla+4jnUGYBDoWnt8a/oPkmPca90NOu8OKBDBI2u5cQ/BBzgwMSkhRhYCyGZgJpmoe4/SYGMl/l+PFjdJv0EeaWJM4raN6INGjVShKyfpVKbevdqSq4xm9pCP71shienNaG8TFd749yErSO1cUrNcag/FU+MW1Chk89IZtUNBRxnHKsb/dvubudWJ4eyG9JdE4r4TXL6np+y/o10H5IlfX+bgVqVbct1OVvKChqcJ1oa1gn9QTa0eZT0cQIB+EcYdwjuaxf9orFjdEm81dGWrkJNt4voKmdkgTilq6L1iB6hRWsDJ8dAWnEiF6c2+5zAAB9Q3EPYRwcvmT3D/lqSiKMWTRRWeDa9d5R/kwG8RMJCwU1jqclLDcFXreftHU+3ikyqf09Np1kBLIc4GZZBKkMOqu7gOUP8POzLTrQNQ9Bt1TJHAEKJ+l+MqDMfVkBYQHFte2+RCgAVx6bcTnfSIVpmumhHF+PRE75znFlYcu771s7TnINuHGPCAlfxS2sm53eKdIJEY0dGAFevomoNyeW1XWYY6ksdZ9HjX6eMBHI5k/l3RxXBeYdgwS6RAlCwdB2b01xRswFElZjAzrfBArXT5UlmfKZ+AUWzJcvkxZNeetSFzMN01r8ofCXtzU2ILlkXZESyDbzhk7NSHz2urw4rjUistaOl60U/QO+6WIrM++CNMo85gO/FEEMHGMC2HrrtSz9keONM0Uz28GXzj7w/ihUchr0EitByNbsmuxbdsgc/ta8xDsCfoWdMjfBlpZXIHzyd7R+I44WQRzdeKmCmVYpyceuOwTb89l22mz7ziTHNaAb89nBoJ2Dlnm+sgJlBxfpg2QoXE+BXd6Sjdtv3PlMWfL0HMek4prM/mNqSiHYIyviVHKUKnDSs7AmfDRX43xhAA/NWL1I79w9jxckjDay7eImDQCNMxmKweZsQcrch2Z08LrjgWf7CRhDhDKLV0CYg9ZPnizhSfMQXNOl01E/pxTc96UEXPAUOdYK8Yf1HGDUyQLuFB/wZC7iwQBHweEUfcJgVBxPetSTD53hJnsRgzo1r5xFkgCU93iW2mdPHTJRRWnXGEzeFzi2PUzQDKH+ZI0CTvzwd9NKrwKlER0PkSkP92TYuW58ODMb4k/FWqHEbtl2EgXDVrDNpbUuazyPjcLDTRx4s6k/FypZx+rBFROuDxFP8Ro9+xHicPxwVDESyp3mLanXXki9TBF12eXx2Hu9zsMtYmcZYTXBHLTauOsWp5hXddYNnQb68Wj/ZB6RXJrHNFt5iNQDvtYuQ3ncUcuR4rLNbTceUeAO5GULs2Bz5z7Rfy+PLXpyQs3FiVmUBvQ8fKECdrENpocYjucE+p5rsy+SGLm5OX6a8jvDd9S56UomlvfR9oAb5+WdsevBNZhkfMHoRTrIqUq4F0jVzja+WHSojvY+H/Ax7iFBqO+hIMaZ/meY+CCrF82ZV4y9yvbzXRIRvm0cbQnyZcLixPBMA5Lea/SmUmqOi56kXXEzgCbMx2pyMyPCoYj1XQO7lumozxJJ4/otd3awE3HuP3NVNK+G43KsEzlaDaOJxixKGjibcL/55S4G13gzJo8VsMwA8EQ+9yCgMJkfHtXJSARjIA2MXJxUkKNVp2IonWArHIuzcjlhFZSIvBAQusKk3iRg+GgyjHgTCmEtuBZQB4bVQxS47+eIm2AALb1jj8WPepfZgcnZWCsB5Jw+f4ombP8uLvJ3AQfBa/qxFdYK4STISUsb/qeYcbzv5WlLqNcXkFN6YSkHNpiGGdGBzrto44PK+rp/8T7b6kOnsUy+aPHajYZXE5261MG99/oFalXfVfxMs+Jg1CIzNApavGFErXrPSMhPN6RwOIaTDP4sQv8U/o6z6enGdhuQr40yP0estqoZ0WzHCPejsa1yTaLTgEWDhW+/8EdBfg3Ge+RM3Y0lrkj8fgRimY2KUnEDMD673EZjMRLJ4LGyb/BLQkmBVV/ND1dLQJEymuRmSiXfdQ5FHBhmQ3nt8dAVaZJYdHnP9J4ZYZ1ZT7QfB8xw8v8X4BfhquocHkMdoToV6Y+DI+lgItQLEPxTsAycpXC8aly3TXkAskieNFHq3bWK26r8YQVcQKKzJ3oMNjnXsyucWc3UuI3+++h00gdRHtNWz4UVpjXXCI82K8Ed52q9OvZ6loFFo1gE/KuPO9nn4MDpGQUHfmtbRZ7wqEzzAI+bjFCJkXLAmE76g1mK+5R50PjMw+1mDjJV4RLSZcY/gm+dwcsa3ZALET89KmRKtmLUe6sxEMy44JxZhG8Y1arfzzfELmdSOzYoVTbLTqMAVVKJHxuX5ljarjC7CkX8v5fuR3y1sh6ZvE/pshq4PuyeIByyzXd6Wo5ke1DU68Xvr3lpQMehgxuF/ZSpl58AFwL/f7yWXLxKj0MHu8v3WQeiwh7xy/qk9h8KkbHKo++r2YTktwfOwziEEa6hF1u6Yqg7WP+KiW9uKV/S92ob8XOG32VMd8BBT5myDxcCjlzIipO4KaAlOslKqvN7taKfXfbmHT+Dv3hpV7tS2CcB6uW8vU1kIJ9DVXwjHZa671h1iC8AV8RISq2y/Z3uQpMiFGZEiXyHcCDYUTbmByhM3YIGWl+z5d263WC2GVsU5na45Wl6X2WP7wx+FHxbC8RfHd9Gq9I9s0Y2Bawe0yvgPNsygRxwO4/AtymnuHoTdmyAC6WrYM6yVzq4HE/Ik0jzn4sn/r61+PnvLvn6TZtddJkFbsrqlwBydKiwFhcRKq1za++mXHNy7iwJcmbbPpILSrsUpjWtviPBQrj7M1D2qGJismCHuoFLC0F0BGLwJsJnXOkVyyVVgnwPy472MC4oQuHHxiQPS27iVsuoALt/NdOSB2ZAV197/LI05tbDLCa9H2E+7hLl/nGQYGrjaW1Jz4nezW9/YKjhw9BluFoFmnTu6Zs1S6dh0AtEwaKR5egeDGr361+twJWXN+eZAwI3qeVMYQ6XzcMiWgN4WPG6Bo3JDlpiNrX4rYoE5MvJ7jKoZHOLHwtE6Z6rEWUrLKyTEn2p7IrKu3hI773G2gX7PRFy0xEJn68IojYEd9DvPbI0UYcAmfN+UUHfbX68tGA5lU4reK+s4xWotxPY7+OVFRhCVWp8uf2gccqa1aOENBfSKL0X7Bdi8GGVkslSw3v8CSMd2xxH5vKadM9sS0QKhFkz0eM5vydBr7qeccLKyaRzY62jdYL0Dh3jjM+JyjcWWgrEzArtXKtfo4zPMDJzR9JWn4r0l7BzXwzo+c9V2IJY9V9vZEWM5NT66kHd1GHLqde9EDEoWnd+WaHRYSP9fvLioHm2H4QUEI78MSRsGPPZzWM9URu7Xvta4Qmf+3tIgMbr2SdAh73IQ4iUUWO1fheVkedSZNDKKYPMylejbcl9pKlD83yAEXb0YNF8QJS/RYeeqDJDBqs17YG7IKQ5pkfI7GN4nDBVWoqKuhaEiBEQmMFO4LsXUBvYWNcixsxWDTS70qwGGd/2r3P6zjv8LisDdH+YaMW5H8G0fTmGfAnM6C6FGMJNEqT8auOvXQZd8rWSBuMRaHW7BslylwjCEE0sJLpQFj6q53S50s9FKMEDL9upO7lEw1ni3RgInRGKKbOvXiyEI/VfpBw4MZhXcEJLDnIlFSRMC+iGZIKh/qJKz+4k/xwbA6P/JKIu6YKPvZaKPUOdTy+0WMJq5kh+tL9BulkuJ6w3c45xh1JSCBmq88WDDt5N1qg+MWHNXf3HnYqv8CRvlUBrOOoV5Dlg4pug2ezpMvaqZMboS6MJbuLB7tiuNmND10Xr/00uGysvYvw6QEidt7Xih0NN64a1al9OlUUKSEREkKVLCX4mrCUuYO+OPmSjlCtuDll0rXq9FUJ6fx1JgBNz/ydlUYNe65KJzO8KEaKQFCdmQkXDytQUog3vCWQwWjm9oLXjmIQ12jB/dZWZQzuWUscz6WdJ0kxYFtvUJNQoDOc+TaUr/yu+YsBPk/630iDytANQeRrHuhnd2MY5xjG7cEUVct+bYaCl4uLmKPTSHQLraF9tofkXCYzhSSEWBJdR+g2gzynsqeuUTIn3wNY+2aN4Oy76+YcB5bedG0urduX9zxy+/TmRMkauP7EzoalxH3yQwz6YliMcQD6u/o0FHwvVnurDeC8hcahpNGzeiHgeAFDc51hLtbZha57fYThjJwe65fDL0Jg/HZS4Es8EDZafK0WkpI0d3AKMvFRTOIUwTQxIk/oriEN/610NhGCG3OjzPHB0VWaCErsP1oZ4Kj03LBu93otIFOKXJHaCv1V4OYmZQUY5qu7LQKa7sLJhFpDfK57OxdzQfE+dE63FXgwiodgovtdXh/C3IT5KnIVfeKneC12EupvvAHdHSwEGKksVptOwzKyh8mJQVy8ig/jRlodNgcgSQj61AvGtBRw36zlQplZ3D98JMZ4RJ/bJqacKXD12Ogr7J4fT9uWqdUzmSd7wHOtoDGzFLp3ZWHwA1wXdzm6oUavOkwypsZaIRCrK/D54wIep3Htqj9cqHWkwuAwLraO7954yOTDjm0YULckNPW0Qw50th0/Pi9DsXZA3Gsg10py7Ol0EgP4V5PJbTkguqIRthhPYyHeMjCBbIEIOWOZ8mTbYGtbpqXoLAfi4eplq5k786EMLFMYzr1K7AQt/QhM7Obg0cAfKKm8Vk4xpueHww6vXx2cFNTepvb2f7YqnDJV9pGGEOnPoxCagyFjPdvEvRZA1cNRzLK/AYPWUCTIZr3QFcTiV/rJSGeS53uXUPz4GNl40rvw94alMpHl4jRlnLUzAdcydXHJMAKf/RM3H1Uo09fEgXY6r8zDk0XA/z2ph5/qxg875ZYdOWAGSOQaQy1AiQC+EiRw95suhI+7FfC2D7qArUnikVjtRwEith0fkp02p8MIJFgojhkZDXXh1GN3a3zKBQryvCVHj1/MZS76QPHvrCwRQHUk6vj/i0RjVwIiBPfPHFuQWhSv6AfGT2NnHk0LYRzv16R/hARrERkUGvhY7fl2yyOKxhFSEoLxfRRD4a/bDKCG/uZAxki0bcJgbLECkJGiSYM7owFkHkLSiNIbQFhN2dUUDayDF5trOqWweN/6Ulpt/GB+O/xLapSknJ2EP9vjJFu35faf2QFb+fRJZrIoa4QcbdzRhzwnBhMv/r2C1wkL3TFEAkHenIsO0t0e3I+hFwplprOg8YgzMN4rrKGyIHZVuRq2xy7p91oKCGUQNZMyp4HnOgyRSkWit+ZPMVnBr/LC0HXg0cvKnIHm/glrOIBWJpp4MyTB9r1IcEQ3fLzzGDAJmV6kAuIOiciKojz2kAMn8z/iYqMnvisU2JU0ZybVaBibBmHW8Vq3LAQgQWdYvwDNFwE8Vp1GCjqjcftkng2c0HEmnmD1KU064sRbOPgml3LMwhZrAyVx1hap9U3AZ/VmeVGj6o45uezJSDXJUbzh5zzpQ8QpUNAr6veYxd0dPbb+hSSQQ18AxtOO1lpD+rvh7fwEsvGZDf5JLLFpm96c9GurMOVw0LIN/mG1rFe/tW/Z4CaT1/VAFgxZH3fj9MlVq/4xYHLuV+lAsS6ReDYEVBcyxlQb7No7swqwEOcKVtmXGeyc/9MrwjbA5tWAq4lIvGgJiiurzULUNbQgUYnXwKhjtYW+Qvy2jWBbO/UzQV4TgCdC9jHs+w1YVpWdL5pzJb4vqYZ49Y73ZYbG0Bk6DUYfy+im5gwdbWgyG5kHiF9fPZozPCfwZjjzWPhAaUbGMum4jHXFkA8tNxzJFpvO7pMpOHs1GWKuK4EVw8GbZqh0fcpLfogn3SlBTiPHe6ZLhpqIAQzYWVKtO1nUSUsK7pSoaVfdmvVBnSQzxdp/YpBf3Yjostzn/NKdWxelU3qfQ62MH9Et7+62osdHsQE8mWmL5mB4xN95gWmNGJyVN9Qihi72IEUZN6cfDFrHGaHAE19dQlv4lzgzyMJDA/jCp/qbcLdGYXLdssD9tgcTdtdXw8ZgXcgCIOlKZmO3POKknORxKfhd7ZjSRZTMOyGGDUNqWvOOIjFdj+oqqimExqH+7EwgBLF/Wz56j5dBsN6Jq0RoQM5IwF835JDx+HG30sHr2JdGCA5E4locVsjQjH3/V5+4VJyAUEU/BAfEcJqc9FRdhMqT2EfivEGn+JjGrC+m93zopee0GuTt68gDywtwMYtZ3Ckfsc0bGDcKheUhzwQ2Mw81BoxeB3//zrcTiuWynmu6tnFckST+6I14Qt4O4NNBIuTw4nr9mNftB5GSpP3dAtEkPn2mzSk8eIsxNgJyAnviBmwpckUou1rQUyqyOez4pw7b2k8YuDUvrcTRGfHY996aE2p7JpWasc76GsjNNwuHMuVRCPq3mH0PnbpPmYAuoKprY80wOLyySnveW7tx230rzKXKrUNq+n7Ae5sFALHJ46veVrwc5UtKeioPYLbdOa4cBVAHWd2lST1OV0q7Aow/Rf9ZkxEusL7PcYK7a/B1FNVDPcSmuCNa+sMTyOMsQqxrVGdTtx7u3IX5oThEyEkms2WzyIiy9FB57HIACXlKCC2P/LU/BRtJJvp5JkQfRc2vW9zZBp5MpqM+ER39RXPcY+aZIdSJhgk0Xr5/CmXCoMFOjymv+ekWSgH+5IarMICrV/sfZcElY/JM8Y5nizrdmmahL3bjjD+a8BBmcYkdmsQaLkPvNvYnH48Xn4zvtotCKwBQyZRYCEV0EP6H9sSgtHw3ji0KXUeaqWZtaGsXcKQZc3qr6Ph7X9SmuIptpkaGwNfcLLFN9Y9xGR9RTUOUdSAcW7cKI7eWshFGWzUZ9KAhgT35oG5b0tPnsxjwrlGVil18ZNuVdnkYihgNji1H9Jg4T35JM8MaXiUww9K39mXZ7Gx0iGTnk0HbEtfJ3IBrYVjAACZic2nUpcQ+EGA5ugLFFbdL9mKxRkgGy5WOiEEm2K2b/yWqH6VmmIInPET4WZuJDGy/oLkmBXxk7SbFS4Y4U6a9Z1QdA2n82ACRK0rI3PaLIboeX2so3Dr70aqHjQHiF0BSscR326TWHyvWKdwcRhKl/EgYacg+9YO+W7orPeZ1ZjL/SGFwWwCmZeonu+lLkVpjPRi5EsqUSxTCxUIRlQzC/p8ADh5FZLtC0Ii7oCUyX+n4CsqqRswjKKBjWbY6EnqXbP9sFFU16k4St6CHiEl+/kr5v5VOmOClZdGzM3DgpVUoH88M2EGwG5EPy9IriPAW378U6lxaoSIK0iQB9BAFwhc24soOZgj67JoxSz+Ei4lwePgvw0KU7O4bsZbX9izb00g8+vbnX/naJ6iTzvP2GTO64BVriEfuF1l+XuA/Tk4FEQ5JjWjHiilZQrnB0KpomZwPuh9tBR9DABDeCw78hTFBZQakr+jzc6/an3XUm8JAV7xgsKPCLkmxxCa5eVXz6NN2GOiHGdue551bSrQOzLOgqTAz0xBKnvhXCVAcjw/YqJ+FOkM4pjd+BTGD5PiFMb2bIMQFO00wGDb4oGRMvrmfXzfiGu7dIIFEZK+xGKEnq+Q++QCvZ9OswVv734mfFeuqw0RVaXx307UXKttdDThAi2THKI89WQXmxdw+C/0kqO00+HKsl7piKxwd13+/5AG2DexHYIOvOI2528wBrmG9ID+E3crhzC7SXXm9rvphGaBWx7UYzr/H9DNZKYDWDBr7hpkDNmzYuHA55xNJ0hj6lPghZjQ1gvKQ9P2eeaAn8k7w5Tql1eEs6cP8xZAMWMn3JzV2cV+T19MhG+PbXefrlkxqDJ9nVjT58ID/Twew3B4KwZavlvY+3XwcJI/v4Xc41krKOhhFhfGAMXZRBM9u/5RGuJZhHRS/gsUOftFhwUo0onDUDxuosM1dl3icc63+jxnC3lq43GIKR6GWbjUn5PLJcSogo/ftunhS6E5AR7N/nSN6Fm3pC79baXwIFDre0WtYnN53NaPhVXNcST26kL7ObpzkQoY19F9pME2fiH9Z1IHDiUmkVKOKxSUQvwFPX+Dk8AJdB+Jv0SF/lKDBLAjpx2kaqJXMTgwokCEbjMePps4Co5fzhZqOzjW/fd9v5FBwBySsyVLVencm1YgUiuexKEzvZ0jtTA7gGveDPOcbb/W0F7FbA1gipq+yfLMCNtItLeTM/KmQqOsRgXCd5/304CnPWeQIZTN9zZA50HwEkfLtFKbU6elKUJtFG5LMMtxeZoND3AO0H09ObxKLTS9FILZYMasnhWFGqUmDd1JSzqMuRkeepabqFSCO6DdIzzciFRJgyHf2aTAK8HE6t9O5oJULvbWFW6u44wBI9pEj2ni7zuBLTOGLPS9TLGGg0pbQenGspMoXJuaRgkp37GhSoP5ObVtdanr4bQTPLiIZl17LIrFRAAKGxuMOHv2GRxiKR9wl87yASdXxh5ZvERaM29i4Sa0Gx4lXnLQDAz/togm3D78tY9686nr0rjTuTaYieBEH0IcLKTDwKuEPICBJxE03YI4y5nv+IxTkTLlQ/OFA8fnyJzD+kG2in8HPWmw6n10uDtV1ouRkMulY6st9wlKiqqHBR/1tVeqthXDCGQhTuZBu/gDtayS19vwHNoSzLMS1JjrhYFxCC2X3HyUxI6QnKqYPCws5Yjl1H1UXf93ikPdA3g7U97bkt5WEal78Ld19IibTpPncM5eXYA331SCtBvt4YSQg19S8L468cUFOOK/CMxo8z6qclgaBrlDBq3GaVWNEp3dfKatV6+Aew41Qwx2QJW+qTL0FTVKccrx/ZnmraJT0Eg1W/e1pgHtn2RXbG+kXkDz8VFYX9CQSRPLaWq2hoLN/YzJJkyp39cOWziXz8b3MGRjQojpY1WeuQDZs7j8KkHA+J7kJEiA2i2neFQKhoNJ4EzPyWaXBywdRHVOYHzvDv/Vxxt5HsbOk7gzpFRCIkpI9zXJUB6isDCfFutEptI5i8F4s1GaUy9QkC1BO83KbiLxXI+hTlCh/j+4+I7PeJn5g0uSEUkiP54Ve471AnPnryJ1AbLpoWJoDPSXPHkh3AnRqEo77nf4MELuE2TGE1234+qQz6F1zCyDJ3IxJ+cnK/8NmLzSe31AhbP0+OOhuuPjN4LxVVCJtYZV521OfN27+fM8g4ZovnYx92O4xYBUNSXNsqbYpH39jTBJDHBPe/pWMAQr40VlkRhOzqmSKXuqv9hmpLDTD431XzE2I2J5i2wL1E3FUmlF+aaTwSg7ry2FiDgpCjhgZ4ic4v+RFaRF4g4wrp+sj+2tLLmXhW7LqGrrLbGXPtuxn2fAB/UNPpPo14kxqxyyOFGqF2Q269O3Mix0H1IoAccpliF1YaqgxBL+TugkGNIBG9ESQ8y30VPVzfEKeKRtoLoS7dcGE9pTRMhb0Oc/QnJZHny3SPuc3Ey/S0lLW1f1rQ2suDw55Z5KDMVLEO350XOWXVcDJpSk1ITIF9F0cOw/ZJA29J+SSXDVqnRPiPwDwt/1/VPf/xs5Qu5tlsJhnh2PP0H8uNoNhCDC9fj7roelbq4WgYSk9KGR9GX2lI1u61fo06EGwoQi+F+4V7ltc4dbSkaIWH2U4Q5pjPT75AUdo4GG9Ps6AzHhHRd1mxGqTvRky59zZrkuboe1k51/9DmU4ZL2oSfAYsxyPx8ZJU3P7ivfFOSxlDOLeItdZQkm2nWkKH2iGnrAClFjjXVj8AVEoHC45zVMYxungji8Afx2Qt19922bcnivVMk9+bd+19oudCu59iLV1i6WKX1yTgTCCk3rhm0XQPvHVj6lECp/VjeWhazhcLuQp1ylY/ryglu3FR+wY0lR6zJEDzIV60fc8ZeUF9raMtygUGtPPhxlqYK6uTKQIANjYwDVdSgY0Mc42bMYr/riopJe9YkEHx46CekywXVr2VMOItIp53wUvur24fyE4LHoDqxy6HwTzNwXoi6+pX0OXjKk7jX5GkNIfRBiQ6zwqMcBeJSC6Y54iFF3bk9NBjyThPE/fM3sfBP9ZgicsocE8OXjcnT8j8zJobhqTP4nsN2AcxQMtPXHpdv7K0+LincYYyVjOhnRZmhZbsy3dbI3HlFm1m2m0sZD/78KQcbLDelS17P4zUooSfP4rmptaWYFrPCdRcGzcGmmz9BAeJuSUilgV1Yofb1H0Kh/w6JtjQQPlacHCp/Ij5l9aR3idCpC+pjZKXcfDzurVPpJBsPbiZcnr8sh6Eg5slVZjSj/Xf6+IObeOiUMh2xnJiE2eqEOYW/KtwGkkI/REULeglLF/dR8uqiU08iy4wNiMRyshtm9cekn+p39X5D/7yYZra2eGbi6uw1tyjuyw6uwZ8QIzJjHJF4TOSR+KyCEeNw2tSZBsdoWNdwIPMMyMC3TkAK5DJqQl0A0jshKr3Jp2LR2VzABYMoGNuYx0z3u78LX22uotJwwRxmThvOW2TikJlesrj9dlJbqEn8gkSNr1IJmCPPCGBbG6YPE1OUASJC9Xh/iAd7P9gYPjDj4ItPM+7MJu+tXAKl8+BDqOvl44HJhuyNO7OeXINxhLgvr1U55X2MNgOkEsKRXpTQxHUx7bCFjkTg+fG6Qq46nvdKMM4qM6/mWK9kltIpRuxaXCc1zWDiIrDM/P5hGXAtbSl++dubB4XP74guHfa69LCtXGCRhenu0020paeUP3J0QGcvxxPgAvJmNjl6AA82xONzVCq4oCh0gW7EnAOjt9QyR5xovIeq0aI8g4HC3sMEMieKtkD8v15vWT9mS4+KAsd20uZr98IbInNzmuh56+BWwLJ5KCRbmD5F6P910Y/ydNArbJsEvTVihybhT2l4pcYQ8eIxjw8akHpj749PLMwjzZ513dg1ma+W6M8kQw6VEv4D08HHxFB1LStG8vb82U15RZJ20VfCCWgBeT3yZFYUp6fEfdi/G6wRTC7WqVq9suE7UcwwVosF6OV2OLRIzpL6CQtzSxDI20vSbKcAx5DwJGPNWiD52ChWbA/zIAnWeTenkI1gUVuJ9GmDm70ZRK22jRy0Ln/d4xHbfEByH73IQOntyMDehpRpqLOr1xDYoIdHnubxs0obqFqSA55/+FETIEEnDojvyYIWXTtexCqDw8PrS4RWpt6Eh1iIeBgbjDPqACbcnT4TameosGwLJitVSfXmUH4G5+vX0zjnxgTOJtpfinspbnxX1VOTrtXHmfx8XAd0mTjY33mFzlHzKGbcBdOSpSuSFpGtkmYfpEuCVk82kC7K/gBYibj7rlbuIHC9QPcyiPkV4d51/PAnwNlBFxdoVyWCZ2KtBF7GLpI90kfauPhImPAXF5pJZ7mtBQcYjMATdDz+KfosKoFbZFs5ogQ216/qgUS65Mjbd+zEHJzd7OEYy+BZyGDZO0IRqNEfBuOemv//gtbMW+B/RKFFB2qs7RWJgTiRk0GQX7T9bQW7lk8UxGBxyTtZA3LJ/tMLrRyIzig8mbl1ehwIaxJB+OqrL91gi+OD/FpmB36tVuPtJeJ8CN4EyQ6VLBDhdcqZ58Vt4DWnM8PaS6ZxdzRw/pujkgRE1TR7T9GaSm5mhQn/NThmcc/kUebcH43EjYVdYBDKr+0BE63Aew3PydA/GkEXaFA29rjMTX3F7Udfe4rOK3hDTABb+HzWBQg4MWBp37uEYZwA0vFRE6dL5lfKyCFCwVsme88RbymMvkSps0+KoN2AqLWIn0pZ5/00YhNmN14/5bw5I7GqZJLzoqxA02Mft/kxh1yz4fUd+kk2Ygr+PydeMv5GXHj1qnr3wcqiM03YUy3odSMBd0K0fdoIHhjFR3RW4e/WczdgzyaxFnO77e0ZnmbJrA0uj+jsLC9FM1RYLMc89DDYAZkPLM6wtuCk/U2mVwxruKItbWMyhgX+3NdRt5rFBV6IqXXKb+5zyF4zXUjfwq5qMZII4D+tC70se/7JRAczYu6QFXKwecFHIvXdiIc9Cl00jXC1WGxfE89b1RHSn9zprLnOaV1gsgzk9np6+5QWgWD3NTPLSIir0+iYrwiBOAtnRCvX55cSQPPjvxkJXbR6P/kz2WFX1T9z1qMlVkzd7+fqx0f2uWzqUlZobzHSRqZMttCFkq0/70n4hB7F1mmbW6eFdRa755HGtxXl37fBnaMrLHNR0cQlQy/SCplqQ5CV1rIDckvOB1CbjYj8Zcgzj3NLY5KoZsxI47B7QpwJ97zaZwOtUJapONuAjgGdmXlkg1c+Ll+HnbGbjzO9NBMM9O42ugP299ffm7drcTdmxHGS2pb2GZ+BwmPPIqaeRsk82QKGHW0OWzeAHhi+/oRgVayOijsLUNqchXO/WhjQAAtLxyqutZm7mRScutgSpp3iLZk6tS5RMCWHLmNgN6U8RcboCxAzpLVf5lvYjiBblDFhp3/BEMIHC4hEeRlYlpyX1VtNlpFQ1W18kHfR7XqDLOm11RU8+g1tgAcVx49t4aF4rfCHdXZ7ZA6Rv4eK0FQfpXazmclV169B4AjSIIaWZQjOm08PiSCToK3N9Yb4pbkuu944F3LxOflL3xdRDpyoobMsjKAN4xhG82qXTAzyh3Gd2t5U+mSGMHy/g9XOS23IqYLpWuoQXh2ZVb9iqRUp+19QRVQ9eQio2gHuAZo/Q0c/sKi04Ri2zS+LEZPaomy4AvnU5WCfgLwv8niLaQKfnhHJDc57To80jfQCvqK6uWDpnuBsL95XaiFlzXFjwXDXgb6WAwSZzUCW9xmLMjYVBIr1GqrbEiGmBIwKaCY4rPUFiK11/yLmHa9ZlXyH8Nx/9xoOEwXHm41rglU20ZAwmycQKeu9XjMEjO7F05mEnNIV02ydMJnby0SxEGc6mTz7MNG9CeEXKkm1bvbQ/pMqV8oHPNSNTCLeTfSU8416bij7ofCigmrQpGSczImeAdxeikRRBIZO7Q9laDthnE8KrJJGTTYh2nSLtw4ytR3m+wylfqaekcHdhDJHxYN89mbbw2MU2WuZkK0EdlQe28R3v+47HucfrIGsVyr66h0INzOEqfJosVGC90PhApko/r1yHszyILxafervyjnmT/SbYOM6k1mMKobS1SusYr5Qo+bdImjUE6Xf6le/3AJwgsftDR/IBshH0WPBPByvIeoczc1kLKdjZiQGzJEavg9dqVvUUKolBIRUdK2r8iD7ljh5xXQWFwLd2XpMq/vtLN/R1mHKj+QlE5/hE2AIUZj218+OVVCEb39kq8vDub3G8gq1Y84AOB9cWnyzh0UizQ0SFTz7tcoJrQM0T87jXt0FSmv/kX/8tr1dSutxUGoh3gRI00cxBxRjHGXiekwzaUlpH+FpY9qTLvbOmUC9fgYupbj7cM9cb99AN7MqtEtiH/nbWQkFxkQurYHHk/9voGbDBT9w3Wkbl2uOuAmSn7Y8Zai+sMrE8PaCDzxdNoP23eyssGsDVpmelQlJLgCgFezk3QReE1UAAIXnSCcmv11AxjvyePChRJOg4PqNrBwmKVRtcSXZXOodxPCOmezojhUW86ApVkpx8b3PRpH9kbcFQ1wH6Fp9KzYwQXqOQq9OiEipAQAcLIHtjNdjPn9ChK6XwHoweY8XcNP4YXMLyF1pmRR2g3rOXck5O1vDGXxJ3fAH3HtacCPCO69FZDFfBlKUEZHYoKDq8id1nDL9oK1KZ5Vi0yuzt9xjNZV+5WbuME7shBLfYKX7DHMAbURk9a/Qy2Es950nolMFQcsldDrkODXtE+TjWrftOoJ+LYAoOBZ9eNyZyyWkN5ltco0hL5C041J2uviDmUT9gBhLQMYDFCNn+zdOMdWJecLJtf3sAVe231QFi+YkF3/UHsZ6VVm1SNEaHX+r7IB/6uI11rQgAYi1cWO9qEO6+rlKQgXv5sGe/tRBAnksQz+5+6WDuVVRGEsKqHX5M/WxfVCUHHEKksBghp68UDNplU0wQguuLYTt+JybpT6Ern1qdjYnMMaqU84U+kfRh6lqRUsYVtRdVDMCvyW9IhV1TgulzK94+1xAMwYmQzz4q+nmQjSAU1mv6Lbqxx+yEsk1G4Gkq1YzpoAt2gBlm0YMOAJVSirrADGO0Qzpe1UmdNjXrW37k1VnMy8HpMaNVRb9W9LLrQVXeSmNZAVL2F6P8DML4BVIITIvCgFUWH4xUWKPR3b2gTDe0u7bduJ7T1ck57Qn3Qk3Fqcp1uTJv7kD8Azc9P2XHHYzeKymatEDtTYAQ6F+baBvK+WuL81oDf5ML0vov0CvM0IItDojyHjOk+XElQty7cSQE7/1us+wEk25Et2AoT6HZzhba5Uf4zVbW+636uFjyXfM0pyLGbC3hWyrjbY2mNtfSf8EzCMZ4SziJaPfmsrBubRbVtaZM8S1EhOUV5pXPrKFq5X20+DAc1w3NGt4PZB2EXzJNqYTTdKdvHg3+cmvESWdaRiQNC7GM1jly9TfVQeuuOYqBoWAxcsPtoblIGscoM4UPByUwAiCtIoweHFr1HUqaLG4AOUAeRN30l4JE41XVr8e88yryOj0Vl5u2jFP5HYiCLCnlNqzNX7PzGDrwRAhd+7yYghGhOYSnfUu8nP/BMD91T6dFltWIXxTCcXNZlQd5g6nbHqcovuH7LI33BQCePNu7untwk5v5810V+098O/5mAyPR0XLNdnUHIqS58DlK3CkwuhZ/8p8PLAhEiAyx5g+zQPbQrVEHIHVSQv8aajmOKuxt7GOjlORZE8vsJOIt0NeUKE1HEPg6Er5fUF9s7f85GJnob0/Ok5vDfkO/XJ8LcG8HFaIC4s2gxiWvhNZkZ1YHMMDQFZRngh3PEAPYtbIo1ZJ9Q1zOGSmHWSBc0nWiAkO8pmvMsG5UAkRhYeMkYD/iR/kwo3j86gcWmIj0e03eImkPHQIUcrqRYkyBhd6jsbB0Y27xKVTGEeUXlAQ5qj9he70piuGBallpJQ2UfGduraW/h/C1xl8lowHqAWNe8mYqpJU+eKP01AjUkwXW0X3thpYehCwAB6Kw0Ar9BuwvFPApPZBKCEdYLgmatnLg53gILzrtcHaa1zs3oCEpm/PsHkBeBeehK0EF71DByjOebwhkLPTpJjf2JVb4gEih6l9VEWRG/kGW8eMCEElQVei8CzDt3V+KiPOQ1suMNkZZ9ClCyX8V3nNX1TV7CPV0UCRZKy49e8OR0ry+lVPfKnlPHwLvooka/L/LRQh5zEV1FVkTV0uWffpq21X4ypJCdG3CVMO1j43c9auWuaMHrroTlhtn27tHiYg+meDsVROpny3AtZR+WWBHXpqZoyLfbRcAaKUb1poW8pzy+UQecIFiPw060j5zmkH6Gsa0x2zWRQ3xH8I20g6ACfb1U5zpvxnmDD61ghOJ+/TFbpOXSF3ZDVflkD7AG70L+TfGtDyE1yigr6FZcpwP1WCWrRjY7e40YKxhcCOPQ/4YK/a4xKaJce7d5o3wX8uTNiWyGYRUAfwMgBPonneAYPHPyJ6AejUeT0gA4Cbn17lmTLrYEpLRx7leESSyO5gVjEcXhD+u+hD12suJ0kTogxPwoZrTnP52hpB/KZwYBQysHIQfPomR1A30oHZ9SRIO4kQNU9FMtFeka1knb3NBQfxZNcAeCxIqccV31xISiQsITpXdIVN6akUm7jLdhNtJMrNNckyA9tzJMEmnB5w4edLuDdAMu5sxjXHOoEckEN79YWkQL9WKpUTfWU/687EsaIZFLPDYAHAYL0+UAIP5+Oj4KD7dHa7nIs3/aNuJzqSvERBXp/55R0mCPx+m2Tjf78SsymGfvUHTogEsrs+fhFazPEwWCObuLpBFvwkUV6F24zNc8udIPT6U4MRlPNZ09AEaa0nL5un1n/gRC2pvvtgKpZzdBA5KypCIRgdHCfMWIfF9+1La6gHUKSON5AezJfy0TJT0A3ne+whm+ZZlg9CdtGrOWBZ6KlAPE2xxe3qe3wwuL21zpcN3fETbe0bFguOHXQn8Ppj6aMoNi4Jg5k1d7+8wkFF3pPkN4T/IGIXqz3klsDc5YojoeGE8fiTdY6Sy2qKKsoiKaTYs4fr9370BHcGQx50KE7juy9vSlKGpze0/bCgvKl4sYlBdcaTG1Rhz44LNz1mJTDVdvcg/fD96fmY2uu64riAwGGPZce5SyZbLZirzbLRQKeMeubcKcY//Z608qJcsoTv4qf1K6EJMMHKFWBTiJH2Eh7jLmc9Gl8deSkR7JSh3/gipBASsNM6DkteOHZiSnIRaQItm6IjJaEbuTuDPxZaDvTwb33yzWHhMmHxjcK+Y8KYJEtRkrThyO41MXy/nKHUJgLaH4eRhBMjbaIhyB7aWUdEaShcq6shk3c+8y2/SMHp0HlonwOo09i2w+ihvBU5kM4dvGZCBnEK2QDILpSdZMPrBhRvKcOmiJyZvxVD3NtvUXtZ2roPEVAkkarYwr2JjmZcZ2uuRY5bTM/PyzS1YLVdhVTaLX7mYmt0OqxVC/IO2Jv+DHkjdN77gP6hhVF/lrGYvxgz5e9wEK9ZJzFedG3lVl7fL46iyZ9yRvusfb1RhtVR738QhnUfEJ/R4cd2tMU9MVtrYhH5U3HnoMo/W8bMwFPSjm5/HqvsfW/S3DZYwFmuXtKdLJdZcK/oZcqbrlsx6Dn2jiUXFLJZsVCGDILBOEqkU9Gorm1Q+aDvBYeQFYaooKcSSyT++UmQCVh4h7R1W+6A9GeaKMN8+3nZF5qwBWA4J17d+HIECdn1LGlvneFZv1uodNucUcG5vta6CWb6su382A1ykhTfDSFA83g4coUrPCk2ksYVY0rjATEhD0OrNo+kU+DL929qs0nG+i96YbWTOUdCtMro77qTpS+jUEyjRGF3lv0mELcI4SqHXcKK5Ex3IVttOpLVpleZB4XP79pmDlwcMxBd7jJsN0QYhXeGsCitABstBEDf4tdR/NpGIr9vOT3lguz1RdGhsW4NaLP9VC4lptfjyf+Ek0cULCIQlWPWHk8MTP6saXNfgVsIYop03xHQMQO/UOgqa1H+9mIUXSozqPSpMPpSvPEF5Gj6rwCwHw9e/o1a0tOhjTxHC3xGoiSG4vKQqnVPPcPBhLEa/KFDhMPDFdM8sMJfOhKV/LvKMcGfg/RWWXUfg7OPJGIbQ+13dh45Rrh2m+WgP8Z0TrnxzshWnU2zqG0Te5Rp4sz5pCKluV2fzUDENlDbHV+EhUTmzfgJb2+C+aMwW8iQ9wvGL6zBiz7rpzJfNRElq63cmoG2Ca1xXTUfcBCKuY1OzAOsJsCdNwDL2EPsUitnCa1+SuDsYfS+Ggdhh+ks9eTbgyr7KvjAqh0Ion17Qzuysp9McaNLNmRt48GM5g3Rnbf9elw4zF2U+5L90YxAPSLHkMR21yfhFW2kBKpUqDZXP6v0kZSq8IpjcFN7CPBqDkvVdtlffGv7EzkDrjoz9JbnjIA2bcjkXjgDCd4TsZPK2YgA43spTjXB8/gn3FER3nI7hcVprHx/RKfIT1pmxckLQR682d5t1eall37npTWsBouIIE6wCwhxBjXr8PIJKGFbB6DezFbD4+Vk2NGk9OVDvfjofcnSGR4GLj4KRsto9uJEkTjU19a0gxUEWF/cztRko498iTRhMpkVoo4cgy9GMgfjbt4CAg04fhxpvRPZ7sg70IddI08GszMhfbwQuizCT+WzRDLPDCZc/fT8qn7PFkw02u+ifQqZfZrXcBv05uOJmw9JadCBvrRjQ3YES0Jqd4FhjUejedeTt7FHa7JpdqJN9swMbClU8+ORYVt0J0RuzpnEAak2AyU9ZT5aHrnAZ/y72qfgEEg21KrbQhr3QM4VEPpEX+RdlXNmn9Bgz00XpEf4xIxklYR5VQHb1c+gUaREftNS4/R1lb3Z+rfzP67mpkBQetQkaSpuH6yILXjQ2yWiNkWEc+iysOQFzNRLaiZy5UYrBlAxram/nwgzxi1MfIw/CfoYmSIsCSezQL462yDxDs4Gk+ES4nIcz2ovoPSBwPzsTwNu76HgD4rtOYtuayUhKCtbkyzupyUARWOv9d35rwYafUPBjzsy+LeEXC4Q20zUT1LgABD6ch8aUrZbzdbgGnFL+3TW7X+hdxtsTu5zQWeyD4+XarMRCvGY2Qm0uWmO4WcC/JkYF6ukrzw6+fDK83moeuYXxs4gsfalwE22cZ3LejuizY/tZ3uANBAgmjPDP3NYjaZSO5usTnQ93icW7tX1z8DoWRmTQJDOmMo4ctgOvseFqwPPnOjaQ/XBZWdPckq/3Mp4ET4SyJGWNUwfjZIhyuMtetIXFejt8n4b997zE4iyARQqz49x0H/pHDSuzvMTqMV6OvQQ1AMX9jlZ7eKNmJfxU7VVT7LTVuNS1vDKiYyym1GgyZ6QYkJicmsUJQeCiv+Kw6nFIlmwOsPAK6vln50owAg01uqxh5DmBZ4yEFJNu1mK2IvSEUFdWJF7Q0UwGZzVaeTfCR8Qvt1zgB4E17sf5yx0/ZBczpxTVHOWxQOGwxMskQzCisyspM8CgMcE2BbZwQIzGYKPPGxeXsstFok0QM1lI6dv5HYSKCzlRNnmhHWHGzr0xYDGkEiN4k0KjSK8jiTVBrPk5cYh7y7j57JFe41KI1fgjlTZlnhTP+74x2KPN6gD9yJurhSriwZKzaeOG3LNvpVFN1EKzez5qlOwrbmhUuH8pBDrapfqpyPjOzZ8D75rnvVLCJCU0R+EU93C8cXfocMR9gAz026zrmgy0NLUhVjJgxruok/9AdrB98OvdqIaAAN/gv5ucTpZERSjt745xOIJE18/ui231UddSrsAsaY/ASv1Bfp0PPBJIDu0VJl04H5zOFKFSuUYMtBCjcHK2eU45HaUKYHnu9ltQSKvN/kcqqLB1QHKXY1poGDFzqDgz5OlFLeGkeKtWaCj9HGeM3bMVPcXh5rg0tovZ4c8zxYiVE807ZMshd3jkCMn38is/B+SWeSXNl4G6kBgiZSyfLQgEwcMVCBF6fgN+jxKK/JFbCxsOmPN6ys5wcKnkSfWy4cyHSC1r4SvEoMUj/ze3IKjL7aM1Bjynr+7Oi6KeJOwRemPboGFIKi8MFKPR6lq4SulcIgHxFDkOLmZ89lW3iJ2NKjWj5fjIwivqawAWJ4BVkx9x8stPFXPTbcbOPYODg+HOwV43NApcZFSBxVvXQ3+epldow+rSL8m//r4beUjnU4Ama/hLT9lksrzd1nHelEQtoHi5czb7Fy/yqSPwfciIofYgwxkZsfxqARbUxPp7TBpzkSSH72bOkiKRtEvGd3mD7GV85fICOE4gNoD0cBHL+xVpcfXsnngHiU2tNW7UuON1uVTMFmhKSyP9+qlk1jFpNI19XqwXbsirfO3sRlvsoURtpdzOqoikp8Xigo/5uOYPHm5LJOWIxz2dn2mjJxp/2bLCu6ea07YKNpF8P3ajLIjCYASQYvZ0RFKHcAqFsJEHOU0xnKWb65OjRFdxXO2L9kRgu7uV7OJqupPaHDSbnWUwWR96b2t4Kt3cACDFZu1n7hEVZK+K0R1IP8Dvjg6t9PYPFmiTvQOzwanvleETNZ7LtxaWzc4OhRcidLYh2KB6qsPi5xfjDx2jc7772ZA5y1d2QBYvpYDI8SLMIP+kgDyYrPIsEjxwAzKo0HxBCjz0mXvktMh5ZBgw7g2ZZQXbw8MEoXLmcCUWBhD/8E6J1fV8L/MIl/pgL6V9G8v36Frc2pJkOCd4U0UBJl/ZFCxgRf86r4YhHKnCeowP94MG7s5y+ncLcIbhAOJqSZbg2RuhkPSx1MRstBspm9PQdhVhrQKuPeDhP5s/B5FpanknIy0R418xCMghN3nsW+zrtMkmUHAqSXNaTLBfzmbea5fx2GOPgUJ/M04Q0ow+cUTLBpH/Fyd1gxIpQsgbgl9MDN9AMv7dq0ACqgex6PwyH1QeZ100InaVhc9gzza5B7qPWjgQISXRUQCVxNKoS7pbkdgRusAzuAvEaqXr2lw5eMdlKMuCxER/FeqJa9fDiX4zm0oenQGdITxwojNPpigFKVFmZbqIa0g2sGTTFijGLOnC6kEpRZgnKfckJmH1SjC0barTMDq70QElfUCwwur2mF5eegMjoNpFR+nK7xW7LPFPM76z04nQakc4gGHwWr0KCPToWol+q4q0IP0XKABE6QOTmHKpTol5y/bFUtJgb4P5p4T6lPPGZp8E4zfpU/6oGAKWsouSC+ebxKui+0QmAI6k5GEMtPtkRHNjq/39LE/ukQRe0NeieQFcoVm2BFrBAqAkZPthUua8nqVC+BSh7HsOz7Iw2lBZg4a2C5j0l2couEKzAFtZvkopEfn6LqzleaSSxZfSNFEdIo66e+GyywQUSekI4+xRy+6FGZzml+k7wrAR6RCKmXkzRCGzCKkAQRq9FKy/wzYUM19MUK+pCV2vPuKdVEDYZFNQDZBQTuL/8bMdxEX7S0Db7nyIu8wjA3EAhKtLpN7xQUBEf77fJBiz4ZEg0joD08NToM3hGZQycIebG+NQgBgoPEDDqnAlqzoVseMXzOrcfd//t4Odz4/WtujU9rXY8dgXm4Ucl2XsutRv0W0Gtt8ChfFCknT1q/aQ4KwTtoxWMVWmInflIjZ8flAfCXlLnc9RLnKS4kwci5j1iuAchuF7XWpy1XcxlzoL8Fk4tAmt+h9T3pArwReITqYFSQsn6fgvoVi4lb047ZPQsDoWwWHt8qjOtNHJ+v11F+BpLbEODwXKCTHX6lzp/SNxwmvdzXfMaKEZXrv2tRBMF5dWVujpBD6st/I+pgQ220G0ns6YZc5unUWwQQaB5woX71ziO5Fk1DuH0uFl/ggQlZ6/kbYnmQrpNi5rGCFWAWuCjS22kNsapXx6yr0XiBJLkY1k7yTeBBrXNUSxEyAQ+1gbWan3a0yoHNCCYUX08qtrArd3V3Eu9WucEfQZss/unw+d8v3Zr6Tjy7rx5uiqMGT5p5pCR2Jl0Uh7Iam6Qji+QYaGjbgiWc45nCID4QWDQ2awOdKEMv0TBnG8zrivpozgbHeMcHMCrf4YFIAHtZxKe0t05D+E83BbajrVEu9vUGtTwXQjZxfq2QIkCzoGyTwpzmiMbwR9p4VSZMQogmWu6oFgm1NoTV77qZwCfLo//CboTmzUS0I5YQn5LSY58XWXs0dWaj6AIbwcDZUOiQGgJ+XEjU0tKwzenGb6e8N2riL6Vq0VCkJIkBd6Tba98nB7SBdtR/viWnhzt1kM38ULeOyRBl7bA2GAzgNMiX/TXxSQhL8HPVzZ3ygzpID21T+2g881uj7uJ6A/NUJ9iciKUo0K0jrNVfUI74npgOZqNZdeIgaEkoQ424bkIrblYU9wIqhLhWWZ8OdsOBwZm9DxsuITZh1HCG5a2EVCdUVTxZivZF7MLupeN793a7wv7cr5bGVV/6UjnXBNdmUcLjiPYLDgOS6ikF/G9leUHhZDkb35p6wCLJzchLpv5VBpZnNG2UOBIl6g+w2/T4EVuh+7n/tnesri0ySBKTNU8DAicWPEXue2yWKVLiiZjpPhb6HKIvOjPpqjC/OT0ap8KF3cuj0vTC2LyAxWM/7XLnVobIpOuswxIsY729Qg9QDqB/ymX2gQ8pEnrZmiHlAAw/IFHBU7Y/JyilNuMPgJfQz2smLRykji5OC6QjM5OjNiN7POLL6gQiEsVuz/FLRb75QFQTD4tRi0zY02o2ll4XjagZeVXB5Dccy3f+GWxlRt8YTpFELUm31zxlEuXcGbsSw/5IQ5wuGsa5glWxyHbteAWo+Dlidy6XR51HiMd9FfMplp27pmnxGrGL7gicUL4yx/p+DyEDcudw2IBXFsQTCCi1sR2R2pnm5cZr/V1OSNMqnUZj/bhlVfPQvKS6Mf3VKHhFQdjp8g0runnY4xAW/ceEx8XcNKZBa/qh/YzeZM89cjGFswhx8/amE2jGz9tdGlma9ia4BMzgO4G2gUCgV8RneAn/e6rf4kYivqHSS7yR8W+ANnIhfNDZJGIWSL06lpGsPY/bQXOIbjITZ7gqmxqXrhFBh+88d9oKvruO109gUs6WwimZ5wqJwgcgaXnNuZU6H1tlV0Lodn4S9AjP6CSk7txTC/F8wvFVKgWyDPbNjRtinaPcjZd/j54kyxhELEukQNvZ0q87ccdlm+96TaH3xLyKdTDrGsDJcRwzfZukVfIXVqNUnoUbsegmyIZ2S17T0UMXbhWvJhsbBZjhe+5bGz0XLdzq2+h5Nv9hZpAg/9hPOQk+g8Cck4lFOk/vEr1IdSxaqreFla7TCLrgWBG4vE0fogdM0EzGkeY1hnhWpVvxTNiOTwFvv+rYE5LYhk3yds5i8U6P5perM3+vLEDDeUdptkRiDc5DxgIKqIZMbEQ3SZlEGU/WrCs35pZmZ7L9TFUDkCHdVfipkvjqAKd2tDz8UehOeBCiSv0EP9E8whPvPfMkrA21rfFG4lbxldPsxgldU91BLtBX8aKcPGhN+X3vPbv4aHpVV5DHOn7ZZBO6Uwh809gPAoQK4IxZl1nnpC6meV5+nP900o9L9LCsQ8/hhySnnipHODXsMM0hlV3HC6s+tOs+qAJ7J+4FfRdrL+9wQAQrxR64YnZ7AQ85XO7g8RAf/Ncnuylkdnsi0R2wI+gm8WwRKfNh1PVkhzxhWVs2dKtwFkVzCsvNa6dFGekmyiPnP0gddGcUXI7apbb6AHGl8fzqpv2reAlvlcJexaIi3G8QeVlVgQT2BQkORweeMKHPcdhDj0neyWMAUFxq6DhdFQ1mJLOelNSoSQd6MdskQ2CYxB+ujKIgP1VjgA1Ot57PWSQvHy5ckoygRIA6VtG5EysrpmqJpaPEUqscBElsVJZxzUjuZjLIWcvpeVEX6VBjwrZsNX4QL2c2NDTnB6KusmwDLIcKfjh1iDqEkqy7Kz9XgQ4/phGCWoBBaSBeSAbCtRm3vkrdbkFOqSvR19jZNkEV3tJHWYuevhvmG5PQVweLssfO1Z+Lv/Saxxod17tAiOTzgKF8ZdTAFcm5wrflCV7GG2LBvS7JnRKl0kkNeUNtF+kPLOqUyctoFiatDB9P6wBcdJEgGKW6szoiGwsEH/OTJDy9vMh5nJdlyUvsT9q+I3fst3QtcFAgrr+l7w2iUUl2HADo5W37/EKxLl4Cpqg77xk76oAbA4rYFToKe8p5Skih/aiwS+AA3mnyMcfJMKxoYFR/Xyg8cWESm7RX6UVDZxNINiL10OR3jVExZhcVdetMqSYntiYbs8gEdH6VoBB9vFzHw1is+XfLOIPK7bRAX5u8+rgCfAqJ0w5UFiooOxD//ShnMsAAlw9IatbqNrFE6TtCNC43oJF/T/QHnoU2YRNgr5hFNoC15pp/3XZiBglz2kxN6M8dl1RGRWgkMMPoEmgZcjgEaiTxOXQYY6K/3VAZw1CvlKQwKYQigayV4itqNE/I4gha+6fFMYn6AI+UXuXblaT3EVh+dXUUlya9iq0wImoxepjjDhsglSY3lcMjMEkBL25CNRLo0MqOjDQELk2F/a6Lck/m0i5F88Rx9vBTRdBSkNkQzWEeP5+Of2DRFtyGsxps7ephlLVFkQrZq2MBf8S/g39Zz1ZHPg43s0j8UzoOoRS0fRhl6AIOQcYtIxojdzl/ZbbEVVkhZgaMLRxC24O0cslSjcA2RY19Yn+M8s6AVG2GdVPx/Fwi9vlH/mzJsIzV6Fwm2V9tytmKzeHxIBrNCyy9M6jU1a142m8kWraB6fv4/m4GIkkttOjsgv635DkiMhLQO6IdeWPujmjuuoI8SA7a01KWr5fjs/pkfYBnBGhv5rRQHzoAf4ID5h7ddR3gfRU2NMQsNEZniI3XFfJEZBGITvpxbwvveJ8eV++3tjh/SJyBc/dJhdylkYf/27/qbq59Tf77vUYZIVHgKxt/qeCGXBHLCqcLgH+zepBVm6P01BEO+Bh143d5jbhzhRUrQaLFK/NPkXwkk0ftVzonDG6Z5gFor5hFyQaCbKTmBIZdsJXTKd0l2i5xuqGXMSlRDKHFfDfNEHwmHuQotiIevQ/T0z84fhCmE4RyDcMhnCzivybqUs0JijBUqKWvZw+sJ6Bz06nwbvTeYkOU4kzOFBgI9E5lc/1KwfA6UmXNl/MugZKTDrX9hdldIA4yN9itPFowF70EbbU7XTYnK8Owu+RnYlJTRiste34nnqXhtEANjYqflCQaMdzINElDYe5daHPEJEWMwM3GfDfUjl3me8Pw0Emu8nknYjLAnFJEHPW/C6af3AvVyzC6QmewPs21qR+WGN5uTHx6q4tvl9sV6h9U7WK3v/YL5CE6LexcJC/S+xK2Re4Rz3T4LqGTEoOTD0WBquSCqzi6kg/gM0qwhP5BFU1cgBWujVB9K2yIKW6/6zQQwhmPZXXf3QQpsDbixiuZs01h57qEI89/nXEEBOdlF4H41BmMd4SEmRfglH/elfmj0Tis0R4WezMtlbSGKYjKm4slzBOfG2ZnLFIdObDOWQGE+F5RE+lMikUXxjR7phFnRSHlt9CQYG6+4f2gTIQLgrWiujqFJRUjjBWQLsZJQvr4YKtIiryIYNPkwXd4efXhMtW8p9abrR2E+7/9U+4OTHRBY9ImElRcHvNdGN+fUDdd1FYOzySlBwR2X+1tJ8SxpVNTALszG580Qt/hipTYGcvFGDX2l/ecx/maPyV80Arbq3+WfERQhUs6xHra4uRMS7+8AfaMDpjRUnFmL1dvaiKafJAc+6iJKOeZ7rpK5JXfltZziszvK/jOsuj4C4pk1COcp/qLtTSQpaomGaLlECUFVRkWhyC7i+4WQgQOg203gcrhe6gzOBjAmgW8HNvRWGGZPg7cNW+xA7KqtCLugd39jpCgq+ol1qpG9gE04AZj01HJ9lv6UNfU0KAd/nfjz6TB872Rp6LXThmBLsHhwBiACPxP5eNUNkrd+nodZBAMiN4AgJqWDdKaJEX93kOUgTdCHuoYFQcmvRJix6W/3WS+IJmzgcLN5mO6W1+X+KzQJSzxo/6528VN0OZFulIWcyH8vR4r05lVe/I1exvcMHt0ow1zONqoZY70jcW1XgNG1XGZyu1EwDq5xJCFuFf9Avdb7Flk3Ll/KNOwpunK+iXKhXw7khDYhJIdIwHmPt2RzttPNIZeHsu4AN51GyXgb8bd0X5cL1KziLDvEeHgH2QQleWoLkzftY0o/V6XkMJw+JwsYJX0nA8JxKYC2Sp49i826cE/yxqNCO8O9I+BMZ92R1hBU8EB6x3zo2cTgdlyCYQGa16ZxyOhGCQyKmWjGIsS+1Fd9kYK/4kPCUjh6M+4qgkDBs5sgDzd6L6CtNDRJbuSZiNH3SELdEypCmwy7+JemZPSTjZDRBLM5FNZqteUDmweENN4R8QStsrx6myBAdQTtn7DrZJJlWIcp4V3ulSSI31k+W0WrBv9JAf32C4LGiwJWIOErcGTt0UevNxMiC1NtuBRHjMB1rx4nDd1MRy4MctL8b9AQ8fIxrd2ewbWexcxSASsivnHXngb13hFrmHuH4DaC+LDyLDUx9Y5Ev4v2QJpim2ROhIGnwML0kluJYK+YT2kXLNidIx7dBDD5iXDUwsJu3vcMyFjFwJCMV81YjQojgPZKm12kxj2MKtPzSa8n9VzD4NQWNoi8pOtq757T2TZvZx6REO66ea7X4FWl0uMiGSkDf316alvGojWea+fqg6uY4OQU0Kc/TU16zBYZWD9kW7O7SxN4tjecKnZNqugGEEdi4NBA8MmVJhzUuvKBC25O0aZTbV32J2nWt6BSgIqqTZobHrt5iu5kpXtZAFjywEDCwdRkLcy11zTDX2fJ++34YIMM41unEbcSJpzT06kX6JT+2ut8mSFcSh0F24yuFGXVFnCIZKb7ux6Gr6LrAl0iGmveZTh4eZb7Gklwn6EZ2Sl1exeEY/fHLyjq4Cmm1yjKIUSqGEy5kedlJrtB0/vWvdPKwuaUdzJjn0tLE8R9fVGbQTMx5VC4k7zqbXRk+Qzph33BJSIGhG0V2BD3oPUgnvl55SyGCm+VyTXIa7jYrxwfsgVd1KGVVAeVaNFmayTnMjLfvkSoP7TJekCCZCXGAb+6cuwDLM1Hm3uJ2/hcUG8uAf3n1xKKzG5qMsOn49Gi08mom1/7zqAwZujhvgcNm5N1FgODKHd+vzmH0z0F2h4uTWzNwsY5B09hvbH3bT8m5/f/gyMK8gLGIEHhLQFRCpdbawdckNrDc7VuYn+v+hEDrm51VVRSZgUEyovR7+aPOPagq1mPimcxOk3Oh4pxgSb07Qnxw/WquxRgu+h5EQMkbIoDdyaXlNMDpCppFxqK8ZQolx0SwMAHnMs6FL/abmlKdnFfZRX80RQcvxYTk4UmUHqQRvK/9BCq/vqVMqXpHNGKuvdpaJFQ3RrvwU0oTbpbTAFWaFQlktBKd5pYayrLsLzQ+yGJMx0doOapBbQoi4Hm+EiA8inpMV20k9EUbZwx6VH4WcBVb5s7KcRd6/hKHsZ2A9zMHOtpjnjX/dGwwdpaFvIHqWO/5vrQfb6WLqyLIIyevR6FdaAH+aB4Q97Eg4GEAp5l4E7b8R5GIexUpmrEgXEHF2bN/QERRlmch3bDuqA70fVU1ohl8t92Ab/HrVn/4aXCImedDyTVWXnra/PnGKlo8XhszzyR+GXeJ+JBS/ICPPOhdrXiAu0vVzIfzmN9RRzdpCzZbbDi/pFYcWkr3LRGJWeuQiSozXIeojJ+SOSSOHNGjp+6l8R/tzT6o0La1vdUd8nKys83qRLLqc9R7vP1Hw6CQPJLVSsbWd6XCOMgceHEUetufgm+iMUvE7IJ+4yZMzDlwOmRwkHyrjmyrrz/XgvgBXVx0OLX5zyOFusnG3TFJeixMBf1iozmv/9EtRlkU6Ys+Qv1vfeKYsUhaBvNYwKTjM+/NBApPBCd+C7xbHVXxgGokrRL4P9ZgMuRKVnPeowEAIwn/J+7SNwl4r251EdIkI331w6bvYJ3rDej6r8qoLJPU3SqTtAaOFehJjHi4Z7HvzAC9+Ab6af1PPVoKC+EfAXMmWRdBSOxED9JL3/aLMeIZJ6CD1F9nz3nw4x5RbDXUrJ6F5DCcUcjANe25iJyhfoK50ARbrbyyigLsePwQc0T97h9swY3QX+txhU5SOLO86R7KYf/GK5aMACPruLsMPVqNLBwWueD1+Ao4sARyvOjGi79RcTdOK92CRVGVDonmh/QLPTxBx3SgNlUA1s4FJLmT10nTswS0X35/+vCk4i4N2dNKqiERSOvbZfRnWPnIFIZb63CDSRP+T2HiNi5Arabvu3Iy5LZU0FfoKcIslo7BZIjJwDjm9LDGWNSwRR3YxQNEGj+gZAqIuqmN9ZXE0olI+pZMTOVAOQ9XuENDHNEq5qyLCOYuGz38aCgON/y2rkAA7Ijsv4NOGKhrCoGtBz6aZXVbuXI/vQ8yqacAdm1MdQKx6BqHtDT9eoZ5qD3FPpEZQdQORf4OnrRsTr+fvQXKjE04kGyN7Ds7ZP9v1C4Sas+qFA4Hv1DLo01vR4b7nB8b53BMvO9XUxUFBcAV/3ugC7FyiorfhgweRQT4qipSiZGy7aAfjPvfVD1WTwuJ1n3z1ZBI7IGOr/9VlhNUx0ssAJVA5ktABoooo4zFZjSyE2UBKpzLSHode2+kbDZ59iEi+3+bDtgIZvk8eRnpFKk1Cci/33grNmEr+clBmt0JuN09NFxeX32KZi2lh+8gkQcKW+WRw2oir6XPuWvoU5AlOh25izh0/SlJe9hxKGovfTLhX7G+r6sm6tlZJK3BTzApEoJP1LlIWrDHU31n7K5pzLtKCn41LHojz/DtugfAAta5HS/+qTPASTD+cVUh2/QlZEypk2OmW86kAU01UpiDFvY68Qu89vA/RGPFf2zwALc85YmTCqONC5NOlXZS9lMbL3UrHuHn//DwwHVAPJC1UPuCPOjSARLa023ZelJfSrmBK7anqJu5FVkHv28rTQzlIpxNZgW/ZAc1RRxCYGZ+QEq+Oxm0mbj0Grj3hr4p6fkxnQsu+XpMxAbjI+RKwxVRY7r3KJ1ABVFWdeqxygnHyKpZbRGxQfCJc3By+VMH4YKViuKdtTWL7SABq3z8GJqM/9hn/A32gayP6OqylMr6tx82XtE1PY/Ob3OsHkA38NOXrR6C4jWwOcJeaQnF3i16R6diSllBLnWzizi5OHV6wTlXtpnHQ7mlstjLzXOCpjcxN6EmvHz7wIBczjkdcwyKx1okImR3iIkytJR35Dekka+QpsqbB6pQLn/YLzOaXaLMqM9RugAccoJ/71gw3qHrKkKLtJYNwlYMbIAnLYY6EsIwt0QmtUXGpXmiUsrx0A4Js0diz3S0XshgWla+kQve3rcRyNGKtGg0vSbdtkfEiceC4X1+744pkdis0PsInwEWFYd0lwfxWE3WtJUa3BOQKnX3QF0ZmCRRvkI30QIweOulcikkS6kvzYFmKwwtKzl24b48S+71vdLCG1cQ51ApDdDzaBsi16qB7TQ/ibIu/8Dbh18e/Ch1vBn1RMOpzy0p0VNTTzTeKdzvC3Bv0xglVtRZaq6A7Xzm1Qxt0GUAxSKz3SgN++A8IZZnX8dGy1LxiFVT/3Jq3Ovn47rmizjLdJlLboGoLO/NJlfp+1dmGFIHNL79onZgKUL6xIMIwDiVREnNbnuHNvnKIS1MEo7zyCi23XOZp0gNabLM75UTtlMT2IhGeyaaeV9pLG3Z85r6GWDqr0BMPlha/B3fl4jW8guEFh/F6uVo3/u7pqmRru/xUvZhMYjERsy1/5JabWaznyb+AkY/E4qcPyYDBzveeajQXtne5GgdJ5s3yglaD7jJZEKLzjNcJLyhCjekkYiHZ9bZyrYk46hiTHl+0pAr+VcGlSR+V3mx1VN9n7vMK4awN/V+/u1132uINPzgNIhBOzep/5fdi8SdKwBmPDonsQl6z0muj/QllG9FEGjNJNvVQHGJ5UQow2E2Y4O8Wn0MT9KK4ZmLvnN0MR4mKz0pqrdtwxG/pYtNsfRV5tGPTjKGQxDrxC8nUAm3KffRh5Brnkkjowh9jrwTBzfvi2PPl101/FfJVc/JARH3AFF3W3JyGHLDoAv2VAm1NDcSqLG88hHWwSx9zn0a9UgJFhC/x3URXi/eBS8pYIQ7MP7Zm1iD4MdalL7B1L9wEtJLov9bZHYSKEmvv9ZdF6E6epshfDc9HUaByoHJoETWEHXp2Ts4N576tb/d5J9Rq4AvxRoyOuj9WCSBegEvXqZEMxnOJ+tsOzrmsdBbc9hhv6NDBVH1fRZzwAT9TJvyzG0Gc72Jg9i4c89nl0B9YUK8e41ELIKBqjGdXg1MLMpCoG0F8zFp8wIZj0bpiyZOrwUhkVjXNI/zJi42Ulx7uH9qAtO7qpOpDMd608A8rCwYqvPKKfPuGbMZzjntElNYp07peQBHKtQ01+o8176/kjXS9TD/XfbFj6ZNUvop1HwuT/LLBaPoI0+93oaJWNuMazY3SQ1xdAK45lCFNMm0YI+LKz11oh3dgII4MxwOGTHwCNuF5FUrPKpKykn2W9PavexLmwZBhR7O4tyFVajY7nyZ3N3URVpqA5NNBSB09BQqMF5ZywaSjkP8IexPoE37TaNNwBdi3cT3tl3V1bsDzcm9sI7SLLPw8yQSM2Bq1EUJH6PzA/9WRdw6UXk+iRoE6T7kfGn3TUEwunj0JhCvh1vR0+/wRLCdVLN+0o7NK6S3lYgLWzx2ssYHsntCnob+5a5CGkz+Yy8S4bY44NC9Hq173yPlTSI4N4uxhLQs5Bcxhady04Z/jZzWV+ualx2XbF2yiRJx6Znts5n0US0UmgQAhOyW5jfmdR6in6GHMOCvnhVkd0ULhpeN3QsHJtkpQ95hyu7hTf20sAbX5eSRqDdbYept+sr5d82Xx4di8xzjWFEKXO0bOBdzdo1CR1AK1/47wpiTnedCoF83jSpUr7Ir9jUH7k4M9FlUywJxk+lGGXvClP5Cktyv7AmemmNUETEKeLNwIzfWl6WLgZ3A1IxHnaYGq7CdhskHPyp58L3F2fsv6YA2MkftnQ4WcmntLitANz11614vnd1d0/cgb2XXvQDhZc9L6gEaa2THEFIW8ydqhuvAkPqGYYKH9iBXU9M1rw4T/IH2zyM4sx2n7zIgPhBeRx9VVXSVGzjhTg1czKYzFOxjLPrnbrN1lZrMQrBBYAOm4X/ocUcf7ahWt0H2F/s856sxtuTC/bKpYQNiiSvCjusKW1utnGwlJkZRiAWgh9XLaH5AwAMj2LT/7KEFhjKKRkC0Lw5pMm7rew055eGSPQi8xKLvdxLXgIwSuvI6L0nICnlIH+5MpMnIbPmFhKmzc9ZukKzCafCVrq/MT48Hd2fKKoDVPG3sxoHavyvqcF9Vp2SbGLupbqKWBSGMCKiBr2GpVKJqMK4xnhKBa7C0G/RDxohxMLGQucvNda8j2S+bhVNElb0NvEogoRTHQbnLBwUAeMmlWH8+bwPozR/PGKQHSJEvBSh4WZClYP947FsTcG6hlmIa6qtuVEjBHEM23Gowj7tjaPlJL/nFSjdoGNffy9biOkFHKKX35XzqwXmFKqgJaixm+U625UvCzh5TeOt3/V409trXPbCEOkvewe8bdREARG0Xg01j8zrA7WsHZl4Qt/6GZPKBvqElqxHkceorxyfpU2X79tH62uSS002eMs3xSgxrIhxa35cCLf+nXCwkhwz8GyBpaD7RN/Zn8nUvo+epSl+ToSOf91P0lnd1PrT+5AR/BYXqZpWgLZc9y8nItRmHSgUNIMhHmgK6xSojvHYpcglsQXanwK+dvSSKvIAIeIdHJ9W2cS0Zg8v8edtxyxGME4hDunpyzhPL9SJfk635lUViMyXQ5orCytyhDOmBD0Txs3IVMHx5hyvt3gnz46fHYZtimNfW3IHyLvgMESr/gJ1HNEiK5Ozv4cphCor1CsDUelQ3HyEoTDMcbr9wGkMp815UaMvN+6qHLCdKIDsGEfo5eXBq/NdhhWhO1SYb3lKfD4LhxJveKJhF04hOwDGbmONuSQN19titwissWDOkTH/rpOWZF+ye6U2Frmozqi9VvP/RJcMEaYntENPVSJAO+oG5U3IxjLsPhjGMkzKSJaAbK961kopAaM1dm9S4gI4LxqFlolxh776hKghITO+hQ0213xTutwWZ6eihFDWsrzvF1WhTMmmTB5QjTXw2pG/W5ILfpmwWR2i/GwAK5w3fL9stRE4MgCRDxdLkZjPK6CiT/WPp2Qd7vT6O+eYadAP0hXjxgLElsrnbrB1PD4IIiSr7ta1tzWijKTvL69RGWtho09caWwrAstOLfbXgSlvVfe1Y00gA6IygRf/0zJDd9RsypvZ3bAECgwKQmCgd0OQo5fbLc3lz5vfasKfFmc2o2gjzwKO/BX/DfDP0l58sBO15P5pAyLG4a0r7VLFvakjlwDu84BI7E3c6Swb+XS9m28z1unThfc20gyMP++PsMyeqd27CIdQHlj8ozgzgfSmvYKS96W0pV/BRySMEG/T3FdA4iFXgSfqV3LqOsxly7Wyt6nSNmn8FmECGk0kjRphsvCvSEYTpree3C9NIibjZKg5tCtzigUFUxoUUR1lMprLIRaOvKsyOy1N9z3nJon3jpX22UFs2/b04fsDCOhWKgg1hDEUvZpO5herDFsbvZNyIXPX260IVT/5NS/ohdwR/XU3M058iCgRN6sYw7x8B2+xymKIAJEv5yfdxg4JcpC31Qd6VWFCNHuRumYt88g5LXSLBB8KqJkh0nQWKs6oxNoxCThr2oJl+rwSLXkydQGdsFmQFC+Qb+MciA2uYGDwhsq+w3ex8FketJG+JL9weHyx8t6VwVlAu94E2qKpXlWPmn9uFYa/4L3uq8rlbM3jGLWACWm0cJJ+t1kSS5reEi7ZAgntyhcM6U25uD9Lsir8NXeuA3nRQU0iWyE+Gp4ryK2+WGozxnrw3CRvpOCwJopnf8knZJV+gRZyGr/0vU53yFpA9f9OU4k3D45z0s3SEL/KThPEC8sRD6pmy28NtlJEa9BTM3EnkdAhz9NCoJaG2gLLs7vloILv7+aYva7ayWRqAd2LZplSYOoAu3UdYC7fNDRWmIJbpO+LS1gDn0vZot8fm3SkRSVxDpEdcMD3lYgogoNfnjzEeg/W74mz4/lWY7VkncPI4pt9oKdMHFktloigt9vPJa1Acupm1Yh5f3XUQ8Unf21xxuBqtQ2+6dvblAVI1awkYPiIMzSLeeL60vwnxcSLl7n8ZgnnrbwEOk03tWMFFeF8zNx4qPk0fTKWRqqYr6ARTGw7w0c/CAf1TEsXmXbO8vK1z1hVOyMEMCp/Dqz/r0Qo5kjemCeomet10TgXsY+xHdCrJyRQlDJ9Me1MmNlvc8oVrAnDiTwujOVqpZm3SU3FTpLohhN3y297Icc5uREX+j1aELx7OAdQGVtR0ZdLxhm0hlu+n8+l/3tcXVD3HzHDAhnpVYEZfHpxPrZUtfnZL2dyGl2xecNMyOGt/D2i2ExhvU8STkLgPoIZlIeqnata6XylWn3yIoUbSgyDogMViGaatt6JRT0LFGzZWUvXAMSe4X+ASEwb2zR8km2VcwPcQuBliqJAsmSeHGiL/cnukGMiBr3O8WkecApnUpaHHt5bSu92xOlrVAq5jMDkDmTNReKZJgZWR5PV89mkKXqQ2m8Xhm+Er+i3rvBSLRk/Uy+PxFC/772AYMyPxrrkBgZMKEW9+sFjXPfJ8buD78XPqmiQw7OK3vY0HaIBHnVrVuYDPgxBUY82p1Ofc/LX1TQR8zXXX/xWJmOry3qAmdRXg3HpYFQKlkgZCq9C9sg8tOBuBQ4h5f3y1+skyq9AZzCEYGAo8eCKj6M+FavQ9P9+06NwYaf/A+BXCKblAfi3UuGnQ3I5ZGrKNeL5CLq4UJZqMMuNSeftCnnN9UQZ2TXMdc0Dm+5rGGpB7cqROwbrUViyD+yH0VlQPSBD5xVZAzKP4ZI3jSypie5fSCpSX/va+mtcpABTzqIT8aH8myWLYRbYQmkmt07/RXxeToQhiVFZneYVHCmAG7sA6u0bhcZIkKiRNdd+tquxkgUPgDu3xKtt+NIWQ1PfhFcSzC2kRbMrfv9wcOJxd+pB6sdkDJ1E89R8TTdTNOEB6TzXHZRskTj8CJBwFtKd8BHfbBook4exYfE5ydV+gLExvgkSNVbGQK2+SmCmuWlG5tG5noTTgO316AftWlWK/kX0UakkHGtbzyCge8PbDbOtYPmRgoMAej/MRjM3mj83vdkrVXYUeRvEPwfJ6TmuIIc5M1ecLGROeGLxkc0isYprOEL4W9vy+TS1WgapyD2sOdZjhx2zsocdMbj6XgpylS0xvdF5L3SSIdfPyXgzAnxgAnrvR3ZcBig+iZe8AgNGnHv9vgfX+ZOb3jHg4B8xT8xEO0jphDsXn2jqRXH7k3Fu+/MShte9I0IFNAWOYciv1muPnVsujF8jpaGXhG6DpZl5lnSVtO/jLBE+/YnkyIKSKrdv3rI7jsn1RFiSlR4Pnm09OA5qqpv01da6CSi0jihQ7GLrsgfKxfGxLqGcdDLoiVIiJopJpJdJSyha2tGaDOcaT9n4mtbQ3CTEzcNxa4RsxNjSeAKxiIJR9dIwP22hzJsF2G9rMveQJGlwqqmHdH+znL1SgIf7dFe0g/NqxAAlTbiBDm1MOS1Up/EeAokiW0pbzBEvrj0/3Ofr/OE7ff9ihCLBePqSngL0IfAa/kSCi/u9yUj7EpjBA4iUM1WEiv+l4QoKNoEjOHnn1rFc7Vl290TI0EFLi2+6YBmbs3aQhv5wqUxTpU5SKMduDSsgJSEOS0CUi3TzaTnJG4FAg+ZS1saeE7aXTkcu+C8Io6WXWVy1oANzIzJ6P4ZatebSEGGeKsJN7Aoakz0BT27Md5caGa0cls+tpDIiAm8k13JSfoHZKEToXX1rOh7RfnVyIDU0nmxRRJtyYOA7HhoCQA6EW1LMB6chqaYuc06VSpwcCqeHLGwqGvLwOrpQlXDARWN9J2+w3zpOmVyOpKwlBxUxoJzX1CnxNfO1sknHSPpCNTqzTQVC5LEnHHU5KQrDVmrNrtgFhoqKuqHKmAWpb6fTcNtwd7lSiEPl3KSHhdZsyKuGv3mAkP0/JUdqoDwpd576x+Y7ovACYZMFoISG7DpnAgkDeBNvS3rkD+RfRPFiLrN0/qeyfN+5aJK8d/IbZdLw4zbQDv1rc1mWEandjdEC4gv1+iXOjCPSuGIf7egtxsS7BBrwUbOjF37HNp8WLHKM+y6rcgsgFA9wS4yQiBD3OyBTGX4k40oCmi4BDxiu2wvPFHMh0uN8bJnWWsWX8wFZsl+c7fwHoI4uA8KMoJw4q/9MddsevlqgljxaBLcZLiissYzgrxO4FCVxgbnx0kK5LeR5W132dl7YR7kzMG03wTpFTqVmGNalFqoxd3vmBOxECFgoiuioKcg8fjs+UGmBS5CaL0hBJNmULA6AB+uk3eXqu9NGvmgpcmbwxHvKjPgQq0LR3lponK+if9xJwMswJaFA58HnZfC5NgXDLTjyZEVoexBtUwp7V3azFo/57xpyjrMlGJ4qJhqScx6hGCHBE+DdBKU7mxeWch6lDfr0tov3SkZqYAIYUoAAijRfVwWwZzVFKr7cYYzQhXjVB5RH/Zk8JhRl+g+PnnNnyAJhV/xVHKyLVCWs3qUe2eVWiSUvv/f2sqt9CbsFE9GVw+Czfke3z9yuAtOF9pKiSQligloC7Utpd0Fngne4+n7XrpqTqzpaFjxDDIVWvWaqddrPkwFfHn5C7K82cuVTnepns7UjAq5JNP54arW3a+UeR9poxG9dU2nzylKHVOnUK/OJONnryGAUhjrJMN08cTOsI+9POTrszL5SAQ/v257oS1D9tF9NczVjA4jkwZBIQmiYQKauuuKEgP2loGvwi55nggguS9uELu0ifQfleXdIrxeyrGYqnTR+wzcNxwMahy+iqkuL1q0+/uKO4h1qIQZIGIeEyRDq6KS0mHj6sCoow4+wnRCcB2OIxAkAJ4ah7J+HG5JPqMfxY7jO1Oz0d0qcK3PL50l6DA6V1AI8pds2h/envEvxLl5czxg94VbrhvoUfo2jpFKVMYpK/eIdkL/rkzbPQF4rgWipL7p0KvNdfTJ8y6HVbNctKdU1cVjyr2UpjF7c3vuCp3DL3whLvpvkSrb4KEpVitcTs4sLahjL7/77cNXrTHhoBO6DUJLp03mu87qQthcTA/Y17kw84ftVBuv8Ry/hk/Q9xDwtpmHzrIDix14jkw6PGs8EFJt+x7ooCUWb9oXI/TavhKJvtBVq3k/G9dJDuSefG0oztGPWthsV64ESe/fPfei6kzhFgoGi0hR21WfAydlXFyA7aX0VieJ5/RdQc7KcCGneTHM5aHrXje1KKF3w/HynipHvbV5DjJFDNQEnm/XMk+gqmmU38t2gBwSk+n2hz4vQZMcNpjPk6AKHThKHt1APMfOm24MD14fCuATj47DzUoOFzA7TEfNAtKx0RmlLHyX6n+1kTB0uBSVv+Ga0USh0X34ZVlwcHGKi3DSmI+hNO2FVMGgcfcZNLSoflc1ByupSQSFPFXqVn3Tk05Oq3KHBvCrV9nmJg/PA5Bg3MBtqMqZTHDYX/D22nSApOX7tY6DZwm2lFGNiq945EJPep1dpwXsalNDItnOT36mlL0chiWpBrft/ZiXw/zyqrAl6YfvZYfc83ObvmycaXNbvJNAyg8ATfybUxCGmCWb6HdRD61wEeWT3iQyZ0hbgtm+yDcjSYsgHEwduUQnbGL64xIzyk7VgA430Mbw+D1LttZEim0B+76Vb787Hx7z0Vi/wXh0hToZZz0nl4SQQngB3HI1jo6EmtHe4fkMyeomAgYn8ofbh40dSi3B3Zd8ZQ1Ej/aWsOuSTDtnapNVkJfh0Iymd1Vr0MdqzHJFxK+3GBW0d0TOfxkZwWui2IjUUNrIio8sB5lLpqzRHYQSQ6m3AHQmWpZ+lvdAduFsIX5FkNoE7k8yaXgJjoECmemknzc7k4tmgbRG2Q//w7KaxsRXOwOHnymW6zfMx9iU6nv32x4UvoAp66PI9pQ3zcDIyJk3U+sqOXlDXQ06QRH/5+2r4M8XVjJjuW3vwo07l6L47leLbcjXlobK4aHKtXCvL8Hvm2WMIXZwk3cytRh4HTVYmkMVQPlDQn8RT+dAf0z7E/SDq75UWHmtAPb5wL1F12eA0dvjIgoOyBgEebSyBydrnNQDdj2Uy1K11xksB7lwCDAkUsm7wtCwFBJJKVrTFTT6IctQgH15hwRWD5mbapwSkkOmQp34oyUr51EPoRoMXn8dkzu3hZYz8f30RRr89qbqHJGuxj+MsHDvSWv2x0IaFlZ/lrITqf9vCLPGT8PVPpgCcKRLC8O4HzP27NGrhYUUHby66FjeqIoE7Mnnk338uRrQh5k4G0iEs0plImKMLN7LlqjB/52+1/L8o3PnSFVfaCMGEi7UaI1n1uctHJE6ua9kbanJlmlkZGNvvqP+wr6SpMAN+Kyvn7DroGWYsmVh5j53E+55Gf9NozfI3eZeudNDBa6B1HoRJPRcyi1nwTstwOzf/sBaDeELRGgeSOJfuNgxEGeYq15uOTjTtC98yHEqJdDO+3W0u8EDU+ReFWha9h6XQ4vz+42QmjRpD8WR/eAdv1Mpt5ZPo6y3S4rEl3K22WW/gJOPZOys8YzSUvdU9X+6cYxbJUPn+3wnqlfMiqAf7CKy85799j7EnDCqK1TkcwWjsj563XY9Fwhti/2aWuWfRfFeVu/CllTKhbJAkJ+2iqggQprip3SU22T33SAbOpwDL1nGZgaavYxJ+iKXQm7sCbIWScawhhkaQjryOTvWl5/te9U0rP7jhfdRWUMqQdWfyLTJfaKlRTowlXKWGHbTWNca0CgUybmrksraLCg8G9ZQCOH655wYzJ2seTYNe2AsISTHWm8ioetKZa/jHanQ7uAM+2ODJL92XUv1fFdwNFdIf90Uu7iXGgeCpSDg2OApfaIniEiRo/z+ODy5RkHiGnjd/SUiYMN+6yJ3n/q/LnMayyu2Nt8t6k8jMw1CKaUEgWH14iaIIwnVw/SxN2fPUUcixmY8cFdSHaZ5saYkaUlY9biUovO3dsZgsvzjwyqUK9O3xX0fXJEaCWM6wQwkczWBgSrbc1dI51MBzLbIkZwN8XMyjzV+xjwbo8djuz4hcHyTLK2nvb4W5KeqGk+/WEAfGk5hmxvBy3HzZBkwe7JDK2kCzLxSLcnj7CLzr7oQXlnCzD9jIzt1PsE8Q3q7kfz1JTN1rpymUJAfVoUv3RE9x9rIZWbay7o59vxCKSzJg3I4yO9yQ22SANPSwfN7r7OwkBTPltxVZhDBAOeFz+KUALDr+OC/tyPPNYnAEyDatZUFbN9AuXJ1k40tl2he9kN8J/UTDXY4fDESjTSK1Q/JJdYs8IEkkzEc7RtI9BdvDOWsY+wuwhAAB2PLy7oi7SBKNIlQsq8nj11fJjU3Dy/RmInKlLayhX/2BG/xEsUJdsJfbozN9u7MNZ0QMFX0vcDQ7X7hg0DhkN48u/ked8Pnll1jWP33687NO4FDjJPnld1SMpTfgTUKbqmwLtq200Dr7mYiMLri2pUQhxOU4HClPuygQt7vudYT/PhaQzdLQ7dc7Qt6amYNet2p/FtJNMN89zBVf4Pg2niO58V3zMg980o8J6M7qCjia6SnoncsG2G0YdXRjTKeuQ/A5jvBoJUhfeyM0sIse13gp8RxFnlaVd3LoYoCY8LIy7TPX7oHAqzFz3sBFFEudNoBSFpxVGsdB49EfNaLcXi941JyJvEMZWJQ+om39z0w4JkrRMrYU4scFeMNJMzpRLxuvy4mmA3/RRW9b+8FKtnVDaIKscT8K/SGSnkvVh2k/+4V37ET3RJazFylF6ww3wDtV37gLQyqEA27iP5jHqscKnCENKw01diZjYF9YdrFBTPHEi/xYyIY0KfdUvwRnYJrCq3IYXkNp4Q2mVpwiKPPgO5Z/c+8eyvTSEio6VPRFTIPSntgn7y8BNOrhoCEbwL9/ax91ZtOixyRWBnP4zVPVwt4puVhNElqGoNO94vFztQxrFzCxVeNi/f3B9W2zDW0qpNxZbcuxui7XxLCMF1HuZvXGNeBzk8QXuqV7b61vi9qPdXDLvtioZevzUm0TeaPLxfa64g/xSpew/2W4kxyfCs9zJ8mZzBhZ3cldcaV8al8EBOFV5+xQAMyRqxxCQp8ZNZkxWdm9kCKs5I3zNVVM9IRqN+te0Yn21QTw4YWQXbl225cDKib9N3URFCeKM4tlTU4ZpcjzxtHen9O5ZR2EYdc0aEJEPXAnBNQ5Q1no0BUr3LnlDctX6MMnUQoZaB/ZQvTREJwi3bWsMxi1EwdoSLBg06dtRGZySj4h9ZekS6Dv7ThNuhtqi3dgf3DeiPuuijerlqRn/c9yXhJ/SJq5OP2OBrgTenUZrPLlAWmSnmpuDerhsoFmkuR7IT9fbl1xo9cIClXz/1fhutykqtLUoPFOAdvTie3Xz2YkBmq6xedqaxgUe1ONCc66JiP83Ky4sqQEIemyeydvNS9hh/vWi8JvrjIuLN4iI4yr/9lskEMRs1Pq7M6UjeeB5XAjJlYX4k0Vnl26bv9QDyfv8uZ9NJ7HLei4evFZl3jQuMbMnAp3ci5BxIG1JQBee19hIfwx1Wz47PW6AUutvnDOh3dzf+tDn6Dsl5dXbjhGyn4nxWwIg6yNJb3V4LBbfDlPJsgPQK/lgees2VytgGv2TMQ6TIR30+VF+82rB76f9IoyYZbIcvCiKY+jZ7HXlGBgDCpeo5HGOf9PDyT0yPAZMCWqqH5X7iAJ4NDDf6X+eZQzDhtqhGdeMxp0AVHDwsIUKa4QO9UvWQ+MUchCb5DFNXPV6E/e0Fn2pGiYFdDqaB67e/DzC9D8oDDYSmLVK/iXKsmOViihhw/idRp3XKxysAKjfpAs0MyWZr62i4hsrxeBLb398LKFZr4H6Dd5HTNMQuidlP+IWB8W1XPxhXNVH8M5Mhp1AjJm5d3JxboaQXXEx3TNSQxpS1Uq2C8YxEnHeLpVKzLovp4ZWliICtRtA3UmwgE7ugCq/JMRPpWHh6fpVfrhaXcdIJwJ00/s3jxo9zXXjS1WN3e87oZnTf3WWILcURaSShJwbKu0bLXtfsrK6zR2Ny/1jLPp3X7zU5ZEqou9Tng0wGLwpkM04RNgnPjRqVUMl0xDTPw6c0QTfBojsyuFXcX+XSTwpx385/ekHFpw3f0ihB8RqsQJYyvr/BYHpw3HBQfPZLwclx/HGQq7tdQSwiWUvffsv8KUGYiS3rnP8B4W6darTjI1Q3mKcvxAdskTgbLoAUb866rWFTecGrOiFH5VLQYQLM55EENC8TJZ5Q0CZDGnFDRI2evE/BJs/cweajFy9bdN0eBVINLWASGbtXSpSOWUDp/oLPNbOZ6HJckAPEQUdLAD8d05qi+Z3DsQXHfqKgmcYCPqixkFIlApktCnjHu8BDzURjLO2ZODgPY/PHYjUcHEHxIjbLqB2+BRopDtxLcgrVXUPlY7kGzuerBvAa+7RfrFYKWzbOM4ahnm5dRE+hQdgWmcHErj8JxMwk0hBaNp0LwP9VgSIvP7d1T0EEDyIdGOjPltm1/uPjAWXHdxH5SuqFkjtZVKUp1lVd8LI3EG2QTFpcYxdOkUGXuzB1o0XKMR7UZ/0BWRzKrCLuPG1yrG4cehXLQE3XoYqbIN9AEJiYkvAAQ7pg5wxpMig7yb0PI9+VbLXbplC+MACJ/EoxV7NNDJM4KPcuND6VIYnSJLz2sK+1moxvOc1XP5V2V+gkS3BHTLJ6PZ3zZrd6MjpVwvp45DQHPWwHAyDrEQhHoO+TlK1Cqu3EDEyhIkIlbXwqy+TL4kqiBFOGVaD4dwc8f3bp6mAdye87mHzqoLjmmAjVt97MLat+xj1GQwn1SZ9NOicLy/EhyfDIKR5RVPnoV93bTQYwAuV2KTEsLI0WZ8BYF5sM/i/0vScipHG1L53QWyxvTaefxUmt+rAtS3K+9Z1gYLL10ovs2zxP7VYzfuwo71XhEwKIvMf5PxZ9N590zHzB91fT//A+hc+3UcTb0R7bMCGPFecPvseiP9OVr9iIccvn5LOjEf2qV6DhHeU1pyHOZXEDvxnAVjqvPiPrSS6wTNBWkMN4eU3kNX31NXyVo8cWCO5MGYktu5ewP6rBOzgIXt9LCdc4ctB/5grGUJpX+Vygze9Ip9CK6PzPzT01IKeG2sSysDKc4i6xQWrTwYoZm0npHiNsHFJ0+b9M56xolrdrsRYYkh1OqFtnrjlU4pii4S4VFkswgAtbkFXgY/Gly4Fu9kBtSHB0LA9rkPKYQWK44AJTeYBgk2Gb29SbeCTT4IOrX2bpcw6YAhcLtyhM81LvN2qvW+3zlAYFE8UZF5sn5VwA2I05PoHkxfnkauZPheY2gIErPjYrDMvMaeWKZFXSs8LW3cUcZG+0kobI+f5AV4wFM5I15QbW4vChsiCSH5WrOJPXqlNjO5AXQGRuaTKVliFdbsSdPsopnFjxJJRCzJuE0p7nbGJYe3fyxNHcaGphSZ4CFNSCenByn5tvdKPWSIyJLlBngDlrjrwHD2a5tOqfPlAEa9aI4BSuVgvjSxu+Avk4MihUd2CIzb1MpjXz9gYF+VXIHAo6j2txCN6IOaP37z6utLdY+ofHg0tk2iMHWnytrG8fAXgP1q4bfg6Owongl5kgePZ8dyNX9ZnhaX4npSsFSVoK8+RtxAwdd8PzQDYrFh9R14jRs+9ORG6MJ7+zyr4hy84eWYgfLFE8YE+bOUGdOYh9EoSy23FrxJeBQx+A9fi+usNxsk6PNLLp7dlU69UoEUQU9UT9Z3ZDnrU3XRgztHyTa2NmKTwyEg07qZ/um/VSPIluuXBDlYCXVBaa6tX2SL/I25Xg6Dav3Z7oL8jRZesxE+DLLOpg06/2UdVfEy2fIQK9fHtwdLj4AF978vZLCp2zA8lAsItEBSDiZdlNbiKJDI0Vcp/2dQ/yWolUtIEObs8MVU9wjAxmDPyPZIPYpcpEZ3Guoo5dCMgEm8tyrBc8dfyuRPeXpEleEOvvogTH5RdfQL8d9w0Og9pxVQ7FOo64QwuP8Zl2vM4xyzs6fGklUVvbbfx3gOIT0rq+ILbOt+QB5f5hqv8lBqZr1L+BXNkhIWvabeickXLhnSl7cRArtkn8NwPoxUSRWkNOQcoiSYO17BI5xOhCUySM3kle1lNWRoHMsUEZwRZW23tAZRmM+dBDre+iY2LIl+4+pQqliciGWmvoghMTLmD9vt2ApPGPxv0udMuNFuIZx/s3ykDd0CwIM4OGlyINoOVPw/eJw0Jc0S/BSu7dMj31wEcXLI/TRmLA25HHHhNvPkWU3EC/ytrq6CWJhtm7GthSqekQeKKrKhcMF8Z2touF6ZeKhYz7ZJ9JFmLdV0dAKdn8a7b2FqSGqj8u9D8qDNCgIsdA9JaBWrbJbg/7ySlubzZiDfAVvJfmJkDZ66o5P03ZjaTdTaqQIwe46Ja7ipNYZDlSvzVcDVFMsjqehjqnDuJZTJRtwy07fC+0dx8XEt7ih2naF6qfcsgfERlcUEFeXVSrX7IbqbmOe3uaO/jeouWDTzfZskYutYuhhW/pNWjZV9f2/E8SEv//Q80a9Af0K+HI41wsnI1OrVZU9aY/9hH3u+nBJTV5v7ezATTBPkLW/VlITAs0ZmuWiFRzinJpGm3M2EUOH1wA97k1zhINvYgcMgUDM7l52mFqNuUYVMz+PjrcYcAjUjMOj6uQRUzM2SjAqxVVYGYvSx43+Q8Q1wQJA7g2dkn6WBIzuYUD72Ol933+DZBYDgKCQ/5UKO2fCPO4pHssdmmZ0o8zUgnqdZs68tymG5OWyZaBaLe/5ko+aIqFK0R3uMSWL5iFQUhoty3V2SC2LhrKBlwuL8tAAwmvZjv0PIeEFh4csX+pyOIMPIvNk0vaJxYs9xkDFP8IWFghbHSe5kdOHncJsuv+SLVDz9EYNdUIggRH1zloUuNPnw7Zokfq4GHoIsZMXXEgDRAuix9tOZhkVb1o/wyE4N2FwJwGB1rWmEYz5V051xlgsV+EJSV1uatZ/CrtZOm/eGK4DbQhsSwjUcAwwmfW2irn4Wtwoxkr4XkedWrSg7SyQeTqvSkG4YIaS3bOFg7OUo6DIuvTK4fcSAzIBHUNGOPqKa2kuiZR89D/K/yi/cC86peuh/WlatRxzJQsb+Z8BvE8/MJahwm2F5/hauzghzyUw8oZ8PrwePe7Zm462QMZiz9Ko7CLu/AoYLr4QTPLnwyoic3nXmrf++ppIhViwc2TdMEQmvfCEPpua8e5GL3ky0Uw54L3Xl6VCN7f+nDNwTqSPM7PvyE4tmoHC0DHTgxKU1ccthXTbg2Hc4t74uPWx9XHolOSHQ8aUZiWmHzKl1us/g9LUz/SBeLPPYKim5HlNTXYSgEjXAVG9ZnZkwJ+Hdq5vEnDWJn0m2hla324nJYWBs9Ecyw209U52lzCHc65xIBbVK7D9wKeYocC7YKE28hHD30ZK+nq/v0+H4F0d600SPGgn8oI5hnyt+EkTmLPeBjDb3Xv56UmHZek+lQ5vpgadxSZjbPM8hLfxscy59lQcmHNcX0Plp6hsNMvoc9u59apRyoUsxs1+uGa2aN3WyEn5pv07DI2AqUGVw3mUMaLMT+aYl7y/Ao0A9U3TXp9pXh37aweUUGMqRo1YRm+XBwNwqm/KAhJHvedR2OXlMV8lVp6m3i7lAxCZfVq0eQM4Z92LYRFJWVMjzlue6JJUPqUQpr9O4y7d/GBCe/EUK0+bipZNfU7zYWtPl9aUV996gUA4WCzYPbHgqxxy7DToqMgxZwnzM+Rd5f7ibWkAneaZrVc7U8gd61i2buDl7A+9z7b8zBTCmBjgPMKdjKp8Ol9DY7o6yBinU3x6IM/DOMW1hM1hfyVsk+c0pR7Gd9UJSa3vv6N5/54WoDxcAaowH28uUhsVPtsQsgEd+EvSNRnla0PU6FupZP2bprsDYx/3zhJQjz00Hek6zKvc6Bv8zsjvqgvwnrTMKoSMvoAu/S1l5wmMzcOqPZj3G/3b81gyrH7ABXscDTHjhXeLIfgX5uFYbv63NboMXfhZSwI3BsYLlkd0WC4RP8qjaX3xoniL4lgDeREik0XSeQgQ6wW3zA2XLAy/F6s+3yvUsd3YDUDEzmy4zQNaoe2Pf2XpFeJIU4p/JScDQcZ11F8ktesvLdo0UceWVqgQ4JprTKuUkQWPhtm5abkti/vokSAbBZNjXWzEG+wtdPhi+dF5HCJK76cK6AuXB1thTIlXimTWF/LYGa5rfxPpgi52dmJwsIUutgylK+AjhX9YflduD6TQFSBA8FkzGKk5CwHkfSyu6mB36W2gG8/MWgYVQMQBueyxNtmu5RR2sUS735EsXlA8Ewxs15j51ec1R0wsGpToyVdlLBhNTfGuROhR6IzMIwvUcAbPNDOpKCiJdntyY710h6v+CoDSqp6M66fc/yMsNy8M6qY+jy+WUKImv3NxnkssJEf564si5cVVUyM5YGzBRBAKL9H3K+fOkqAU7J/mluiL9X4+QVuxjnKjlScThD5Qgezsymqe1+sstrlPdRt+7GbYIfpE8I51b4+8Feyu8pAkxIkogmOtfqP8c6+l9lOy2nYuRO59anKR9/01fl0ppRCmd4mr44W4zZQuIA1wWiCDLKsL3+R0JKcGqByEHmGn2KGrmdONxsO4EWqdS7cV3DJyafWsxgnjUuHAUQnHdaob55+q+l4kp+D2YZ1PGKzz3iBaUKnOOAqJVYPEYdDRSQBlrvx1iCDWtwu6YMM/NHmiePRR4a0QM3SAxUk+BYKcA+9tFPmlIkxlJaIOppNc4trC6xshEUCNg21ngNizStHu2HHrzBqnGb0YggA0e+Sjw7O2d6B6Ikx0U7tpivLxmX52hA2uqIu1db+6JCE4NEJvMzllxsP+psPYnsQWdFIskesDdQo872lSofD36PiEtOqUmmmAV3Ya1CpNEr9+B1/fqOFrne+5RT2Zrc72J7XzVvCsZYQj7K+xXblvwS1t2G+78THjqDqG8olDWyl0jHmc2OUk4EXu9hRW87cDvcfVQMXqiepc46xgsQYDDqG0tZxpCgLBtoHVJeUVOXYhWyjiH84RtzAY2zgHLQq5CAq5ylaIPARaw+BpC4N8i2SjgZIytQlrgtHiX3LuPbHwuwA5IwH2v89kZoZ6FKpkIMXn730QlaxI6W8afZfF3VxPk/LENvmUVI8iJC/PGWS31w6kLoGODdWjGvSXEroQ9fJ9sF1pfqHVZfYJrrqH1GPy2T3Ejjv88g6/ET2PuruZDcd/O2qc7CmS2ywMEiDA0KBEfGc+Qcl76L+p918gegN40vKsMPyUaO/iobG+naTnZrujSpgxXep4AzYvVAxjXi2JYaNqro2V2A9+XOA3erYEt/IGDIjEBHdlIubMUUIn6VszwBwtZ/vpu8AX1d/Df1gbyJAbCwkwhWYL6bE7KJNRx7dudNczCIMA7MWF4+suHm3L3Cozd7FwgDzWwq0989F4nAS+vKPeR4fQ4fWKGU6Qec7tKaxW8bDI7ZC6DtZfGFNh+ECgwz75GFJJ2lfSogOMieHn9XvSsDk50gRjfDxX9mCQoEpFJkFuS4pBcEJvsAnnZpz5m3tIOzURlsacX20yTk3KwN3i5sJ2DPafgAwa+6yT7zZLRuAlkY/L8sYThr4uUS43mBKUrDMsdxCwMQLMi3ATyiZHsChaph9hfj3nZ98Vwy6K7NrQ+ln4lFe9INpFJIkietH5j28ZCvjbk/KNf8k1NydFi6EOdrpJcALkr2a4QXYm2tOzW06ztFS9BbLNquA7xjaVrLtElnF7+bPSGd0Q8uTOyukrcMk/NE3yEFicMuxfWOpZtXg+BS3LbxQsGdJCZ+k+bspfJBamzG84sDRwSxEN8/WI3aN3a31Yltc1kE/A1J0c0DY3f1Dsn1FZOAbHz80b73rt9rxKK3VlYTFr266PJJS1B1oIFLvclV6mN0zNV45wS4ztAKmamIZmncKDm3HWqCh9112iiMdV1t7EmPa4tVWj6OXWt5OF/jdul+w7YscMFdrdbs8J+Iv/qhenW3q71lRrKDsMgaFnTNvqNXYaSBgwtSPA1Cu0VyGqhbwuiiziA7WSx9udTjpE688htL/6aVY3g8osaaPkWaQe97cg3YwhMQpc9aKxrRgKNuZUPGKv5hfaYqQLzcXaTx3xZAGpnXVQ0Cw2j1Ylwn7Klhz4wThruKdpDjvbF9DFDSJOMQZusHJFLoLnnLtYNryovShdW4tm/HBvln3/DGQpgU0nbZWYJm5W3XP8ujV1s0Tf+SKhtzn9DCFxoILdSNvkiNG7MU5gz9CHL9ppC+xfD/MhnE7/vu7Ah6bOgGA4c8ptax8JEDhVjQoVKBiRHfaeMyH84Q6bZDecLKpt7X0cs66RO0xWjlUb77npeQ3HDb1QhUi00gfBpuwLSc3hk/7Q7N9xzq5lJ1S9RlLYuBK+kQwIjPHqljvfFxk2gqDkXqZ+gXKjoX8a6WsYrijpSjYYU90nXVFxtSKEyaK8vEscs/ACqLYPMqyhVegPXTfxpGkMKIKBtgsk2HkIr6mY71xoFo5vBLXD8FgKbLzcYntDIZAM19IH831G2ui61bleYOb0N51xjeBTtQWn6MowRumYq6ub8ph2W3VbpQmpdAYHag8PrfdKCu852r/XGAqZ53vFCoNsJQRAAyu1+yFhDm2/k3rvIcBbWkwfi5FRn153rUJMxmhvwtpMgpypTemMBSEet3RSiOsgRpb7ImlLYCcA52xJJ+Z3pQ4dPIERsV4wUdafMDb2v3FZ6Pzh7fsFgC+06218wD3fXeBcZeTnQOsXqgj8eLV04KsApaA3BOVPsIOTSfq0jYDDw4cwpxTAzdiyUeUMKaVrXhxQpPeaFP4SDUCe+LIRqj151HkCAObsp8PMlpL81oSte9B4xc9an+R6cjRaUEFSMMteBFU0KL5vbz+TSIiblzQZzwdPnPPVID2f1X8rsGYgyVXg2W4PDoA4gC7nLxgCf7p0FiKR6/Up+ZguXjNgp1fJD8Ji/5eDacRjrslh7s9dSuemUdzj/CIVvp3/oyFHpNAOHalBEOBEw1vtx2JyUicsuoz1BLjzqpC0uBgYj8VMo2pEAK+YjNEoqoQl1JUl9cpdkBDs8wp6O8hlTAL0VkAqFc3tCVGlJcXYwlJGlf0bU0i7w0Fc/hjZXPn+T3GTCMYANzd0Xw73ibfkIR97D/X+UVnCVMvJPlXNO2FFDOrBuQ6ZVC3cKWOVQMtH4xbg162OAlh+0tX2VCKYFzQXX9vug5qtDxkBCr5hrkVImzD+QnY/rTJf2ggi3+Rtvt2AZ3UVaAG29EEZobGQv3BBeFBILQ+20gJL/xAjcVPgw8aUlgS/l0OKcXDc9Thuvg0Q52J8rG9naBRCjVWxwksYV9UuCG7AK5ZGH01JXW9/BVJ6Nuub8szrJZaSseaaDP3G45Vbl41Nyo85AyD4OTQhQrCyo9cxBPTTfQAzB2c0aby9RZuIcIpjXftzCokQa6T3vrehao664sR2m48ZUNDuJ52CZM9nZfaQI1twzEYuTCRTg6tk1+SGj1JTP/yRLpCv3ngjcMe51FynJEt1HdbxwSwzrSFwUaelV3/tH94/PtND1JV0uAqXgU0lQxAYtGD2LQMH7DQ8IfHXuysJiowits+GGxCTKj+ebbHSNCYZIedE0IDvSEer92UKSfgSxI2fyRgDBHBwLffTyjP5HeFTiacUaBv21Bct3fNqU8naUeMaXvSbjwoiQhjW4N8gyktBmMO753OyOaBuCrbPsxU3cr3y/cXIcEX3VJAycbyys6n3AgwW3beIlnRwqtCUTEvu2oiObKI6wn0dPJIlDZErfhTEeJnjJY64vOGc/Di91M4vlX9uBYI3+DN+qvOUpuDjtLRopjU+s63Xo2SeRnkj0oXpBVVQ4xN3kAxQ147NLn9zkmhpLbVvogpFh6Qd8KbPDL14InQRbmmUa4YpNdx+kK9uliIt5znBvhf0E99fxgsQ3j16bMXImBEYnw1W1aFptaK8+dQLXDH9nUoOBGZ2T+V3Hp+e6+KZ9O6cYASkWB8zPNKQaTSmdvK49RkOXBaDIikFrbNnm6PVIQjSGXwrZ6IHEBPSuL+7STVFoJsv+0WCmDcq7NfKnTQ7t8dLktClie9lwHnk2OaAJpWocDOPG+3FIZZ77rcYQWD4r+LnuHn7ZduWSJwLfyHBy1qNO1JHLoQws2XyVSHYaVqogkJQ+/ERdMuDcUC0u57snoo0o8kjZIDTlUPRmR7mULBdNRcAa0w02KfWpbDfNetNocYMkoKRJJQbckglWohSXIUZKJ2z40hGvSHJb1xzccAJ3m45y3OtvcQHkXnMW08rg2BIu3XWzFC4Km7YqYU87/yimHb4LcCqXJLfgAB3BNLOEoC2v8rF4DcJV8Wwl4NQjz7dIIgYgWZcD/ZKYaqk3zamVGMmgyBi6hO65C88pzwWvVwF8k53jF1gLD485Cz+GrNV63MLJ6kPCTIEkn6oGgg2chbmY1wUkFbjmobdhP1fP0mwzPBmdcuSqXXAisqqvkO1DVlegv2jda4XiTRvln9vrAd8NyJ6+e/xNB7x3NKTd1sMSzR6g2uIWTTlkzQ8Yz3d6s1ZckknsazzrSJO4K1wmNqhdRwes0msmjm2H4kg+qRyUr69RMJuZbWDBqLWicmAWMjhPEHltbV9S/UXPf9R1PuHUxwBtSmQH3C1Owy9yWOqK5XSkyj+yDLVQeeH6mDo/4MtdPRQ694cdgFfORsE9b5OaOvXM+LMKrZKEKx0U3NEMEFDAI7KFFue7aWpk/y+mWsKiRBEKdbw9TxonbJ5PvpDhBRj9cAl5qG55TpseqoYivohWUyZErE/GYMg/xK0lzBFjlsD5c6n4CQs69W7t+BfNsTGKi/E05DDus3vladWVg0pE2cvZMNQui4SchhQJyaQV3XEVTke6q/mmc4ndSDQhL/1kfjHJRsX5zLeAPuCoaahEztOLAxWG3AN5kh6/EIuYPPJSsoQjWpkM6cbPYQL8fzbdd2AWUG96zcozvv34vX5yKuXNbQ4U6P1jih/XtNg9lISEOMhrfTMed2i2Y+9N3WTUW+9sczpH3qb7Wn0CxDM8jINSCE8YoRvjbEPxd86W3wkqOh6gDDo5HktBLhuYB5Wm7qHG5Gyma59B3aQA2p8FdEPx2Djq9EPgDYltBLr8EqpT4iJvwMEaLd9IYw318E4ZU1Kq90k0sihncl2uFdFYVshv6/UaYCu3Bu3VJr2dMyOWxj/dYXaWacUakoj8hByiyXc8ncRX+HbhygRCsiMHGByw8aaN4TRxCOX7W/9d/i5n/HMX3MTRnJXhvOKBvfG4tME4EVwKzz8Rq8BvGBtAtOzcONmkqTV6nfJjJxvoX0oWABMMz3O4e5Jw1+VgNTPOMHI1rqprAVXvpsis69tMiklvr/niqA2JVAbXyL1oAvuD0lGNJklHXhajH3j292YrukLmQkaRlWtSrYfznL0CVIZ3R30x52/0F1svdmdoZRWxlCoGlO9/1HHilfp22aE1NAjk/UTOZYLoCiqGCA/u3E/SRhwfXHrZrohl05QM0JVzNlBa72q+KJzhBKXr8HVAE/bqirRFJxM+1kmsF9kSU1orJGz14QFrfHRERRyKb8oKBKNQ1Ma0pjgSXdnir0oKqfNmFGQZ++a1fXi0yOvL85vsuGMA1HhLU3K11gRTfRNN4ndPOGVojl9bC8ABiX/8l1vVo0gLKkiqqiyZAq5vg9I/a1RyGpW88ygTb6IaQLAPV5ISLYkMkGDQ2xZ4qBQTja7v+qXeqG8kXGx5oe5Ax8OO0aOtRJI7Pb+gCLRX5TAyTxhIAHzAXMUE7qYqtP9Vi9Xl78iVjR5LZT0yWrq4VOjRYMjkgeTJcYFPzBLsr3UGYtNull1pE6TK0lfUFdfYY+XLwbuKP/I0attb29xPU/7fmwOysMn6mxqbV/negN8rW89Nw6KZ8Z7OCOwZvZI9n5fBrHkiB+6myXgrwWuUWf8RN+F1KfSbZANC6zU6P+pF0wzvNGlU1jPRkRgo+lFZhLlXmx3wRMzCnkusUIsUGCF5ja8n6HTcNFJPh0Xb4EfVgNiFe8bigIDI79Ngr8RqNeGbbSUKwzolyqaJmM1xx+F7riBDQ5OgO3GWAQvl0UqoHYk6+7XhlK2He00L9/OCuMclN7hosWF16tZZQ2zIAowmIxASkpfbS9DmPQaHkwWODSdg1m/U0/WZUJV8W5ydI5ABMSaYk1U2TIi41iMHhvFBbBQeOJ+RHNOgeYtIOEaxxdNar0Uew12gZdfAPz75V9cliA1BF/DgeJ42UQt2rbEKWH4cSTm+iNuYaEeGAblMiJBoOggtQyZsvdppxy8gpRakrsrXHReRl5B8qUu8c47vZexOEmIybQmTULdAQduveBv8YdSgr0LUgmbGo8u8ImPOsHStOZv87dxNXBvOH0CgncqLXl63Pq4vTAIcLl975TvwWWwDY2nbLqsLTGsAcgJu75i7noGb3JQfK2tzRGxudPZsqFF2B+Ja3m3mFpGbq3APfgYLPxa7Bq+PzZmaaI5qzMFwyA9ZlVc8pe4YAGMzpnxgbsVHBqVOvBE03oVyZXGm4z79Og+1FnxYJTLaImn5qG2I8bx4mZEA6nspr/QemAOk4ou7vqL2qefHkFVqXBMv1XHTc5tbOD2Tka97qjlX7IaTNatM73DIPPkFDkiOUFxG8CCPkAdKQf0+dSaN5oN9TdCM4bNDm9xau7wBAHGzSKPltPBZAiqhnAp2m4e5Z7pbRAS8kUjvZguId5XqTqL1zyFwhm2ql6zADHUwlRUz4uUye1GMQpjyay+bg2KqPINBguGh3YNCMTSzNG3R7vr8kCHeY7p+Rif4gKIhcmZH9YfdFv9teGi5gpsH9r3jzTHtCGR7NOqOqJ1zlS6a6OtJLbaCbTtB6dbbarzFZHNuPtBXlDplutJGtIoSik8OF2m30ZSAmm+azFpFAMeGj52av/UowN2/uZ/fFBk85hitgDCPDqVioftS12lfNp//AA6tgtndmBpM7n6VKF0rUJMckz7eL0vLnJ593fLs6eJGVfwZrUUMMsffWNfVAmFwBuaO1ov7/swsN/Nh6Rkh5Rg9Yg5o/TzoCeyRFmlYCjTezynoKAVBJLYmh2OS/bJr6UH/i2SynUGHhqfODRFNsPDyYGuk/Qu3Izd18I5lxwuzGsZdUe3nudkoL3HxWI6YfSsBEDJZsdgj2PJHjymki10M5uWJmGCeMprYm0FzpTz0PuTCK7urbuUKjI8ZtP3ZHRr49NfFix6AkxzEEt+0c2k3ScEbZf29D+NcVjcBefdc12ZoANz7AuVTGrkg929yRcUEtY5AZ/IlGzscBkE+9dkXs0QJ/WS7YBhMyg1NF4JWnRd5ap9bufmA1ePnBS3yZk7iJU7H/qOb/d69SLHm0P2wO2Ll6MOynwM3S2us7ifV3M2WcPVNqXQZhnD8sO/f7AcL1VF8DGRwchcypvBtn1HrqySIXPuub2Z98DV3aiE0RtPKdu1ab7ZRGQ+iOtEiYBQ7cenN6ZcLweeMDZj6RffyuYfoHiw+pckU5tgWH2i3ZUylL6RBg3d18mx3pp0ebg2MygX0c8Oee1l7ZXs9na8j55khY/ZpaN39a1UQrY67noamZ5kFHZ/9ww7FC5VlPQxY+0NO6zxbHB44MUknbJzr+oJ/mUmnrVRpLLDEXohHhY1RZ9v/ys7xIbayFh3Uq3MvSJtbIFrH91gcOkT7Ig/+Q9RezV8crrgmx574HWpFUmN9fLndvo/MsColmvXBExtPEXvqxXyUNsvN09czPYiyG7YQL4rTxuUUcmildxafku7Y+1xNE0+5zyXvsGvBkhKCg5xlypqZHY/G5wJbv8Mf6o5vOTQmOSZH+Rr0vYWD8mRiUGMTPL3vpZaCue1E9NJjca/VFHvr95+9dzWKskdn9h6emtVubhImHZgd/0DOXspBt1u2/1pFkGWcGaKtC5+ghdaYG8O3FihHoS21/hmW5eZ/GDtXAx2I3cKPvLpxzyhPc3Kj0Fy8UHLzHIc3d93D8KXfmsL+efGf1fyn8THqzCpYgU2Tt8SH5lqVp84EGiXctWoQ1uuEHIFLmF9sOZ6u2KTPnKxRniVrLPE/YaMwnpL5qwNC+ahAEa7FmlxymAFWXmMuWnaX1mJCqhk/YA6G0oBzD08G1zYdt0VUBoaPgOR9nQNFWZ2i+0YGEEv6RxJe1tgc6ELZE9ynkaFpn38eIV55NxUn/8r+Nb1MFG1uXbHn9pdasVEQJuBOQjlcMiWl9PI62I5czT2S2JxuYL8vICRAeB2pY//+xDc39LJ2kNxT+vLaeMCa4RfFirwyf/ae8ztaagRSFVsBLfrg9uMhmoPiWqrVHWaEh10hUCsBrPHUlyMIiTYliE1okw+B+PGpTzV7xezaOUtthOgWYmYVeRjyzUmrwnMfUqk+uFtTQUa6Tk70XlRrCm8R5dpuFoufqXfq2N/ThqU5s7cVcYgea/KYJKPYwJbLBRWxIqhGDmyAhVa/VyTKjehs2KzdsCXZfw3KQAxGjAR9GX04b2G1NItgNMFV3HqGFK6P4XL4htRgGP5VRGL++mEBkF8IIJB93GQj7LfXDi7UeJpv24uPXVWoWxMurJtUe/LChj9ppmrchsvIxWLOp3O3BPSoVS0TCrW6E4R+nSEKCRXmUANWCWGQ9mec2JaslbzofdT8I9fG/5I2SydRIiGrYEN6kQE9xBgKZjtIGjpCs0k7ewu9lzYpEk/BO4ndnndP1wtcYq4o/36MuyqPZmrQqN7h4NQqdoYblrY17Nxq3UK5mOZd71D3t3AauMXL1aGCVzgCMicno6hooOBbXU7uFOiRHBo9qq2n+Tg0HTImkjlUZ39ylOQei0K23h0KeRFMSs3wgVF7Whg7bds09uqoVOYCM5VMrzbamFvxHEBIsoBzwSONwHq7gVRJo/v2K1hEYEZgyJO9yyaMGaaRgZNw/mCTGTNZzqM0YvQsoAs6UAaPaVtb3ZxlcCL6Ugvp1x7uSIVcXivi/oriocbGUCcTpHTAG4IjQaAMmBHzf2sxHQWWDzsQXaNv/rRm9SUTA6B4gYFs5c/SWihrnQyPbdx35d4oi5MQU/pX2QCrSI0GzKLdm36CqSeuvXi23LBrUS/DhiBL1qn0WkDxZZU6k0lZ2aHmLufBHJtc2BN5R8iXNG+/7iNt3rQLco+gfovqRVw19TpWtely1hgMCjAepjNrMqeA0T/0Q0iUbZQJWz8oyxlnhJbJF4pJ5vngPny++y7UqdykUWwzjIfgiLa6mMrsnx1XQ+Z37q9mCMHY6+amkJAUudPvIOLqfr3DOXGLupBIXdxhsAFoE8PjZox05hyOsYz1Iiq4d8uwcG/uY12uQy2a09z/TGTbzDxejpbxPeaxpYIXbIy0KwCesZ8ofYfdIScwCNYOK6yk4ZB/ppH3uNufETMVsnkz3QBlpFOT8ldnH/gEsByETLGBAW7OBAB1PrMG+bSH6S/Ra2NWBK4tV3akq3lRBoQtA96sZoVuzDlx6ye0SHedq428ahkcuGKWZNyR4gw8fYqK1PCsJPa3C2iaURTl3YasDoDLAKUmr73Pmr0RAgRSLZqGs7M+yNg4q1PCftLHqFXubLK9lfCKA0xp7s7YsnxbT5St7Xg4pVgOlnX9H/ynBKoXnUCbOhP3KabHhowjlFE3v67tjygqSZWpWSa/ah33NxUOPPWKLbhLuphgXFL42agKl5FH5F/WlvGqyp9uC195gQWZKeEWpYgQgBhmDjsJNAOhrxjlNkcH+sb9+k0e87s2WaKEJnZRbqUq1/fvZDlVs6PD8tFAN0y20nqWcu0bIslO89tu4R3V4nwpVjAG9+DT50hJJCYIOylavYVH0PZIRn0YUKA8rLZqPFLA76hN8oVlaTt87zrNUb16TKddVDKNiPi5S+ZOZWZ30nCjWuFZptDk0CzNPIKNUnP+JQp+gDA1qjWyqGdTMeE9MSBKCvrhPsiMrP2dnqbhOaZBsJZfaX1FL/eTvEeBawFjqIMEDEl17B8ryDDqtc8LqERb3tlYZTrRrBNh5vaq/lsimYJ3EmjmMYpn8fUAIA/HsDP7gBEdYh8vmAMULfFL2LK7m+OtOEwsF/23SBzHhuvMAh59m219bJ1GgH98ht9XAtZqdOOGWzVSN1mnF56//vkdGA/4s+kBaZK3tP6r2U0pYVGp9P4R7TJuh6bEYvE8K1aGHIXr4eXxAt2sZfqrzV12/eudkJvPRVtsIwKMIBak8yl0FtEQ1rgGL0NEmaLl28rkfRGUHZzAr3TY7AzZQIijcSONbYRuX40/JZgoxJkFDiuB1cohF4T9p23/pAFYTR8iIWvcTcnuVfSkHdQYPHPI8lb2mNcX0K3QeXiUA8MzoW16lWO7d490HsvhIKBYOBf7G8RePYCWk4E6ITHPSQK/1riPTURLoq8/E72z3egu4CpZMvXLgsO6A7uiYlq6ckTpswFxGoptmmYh2BXOxBPa+qMDOpSCMCHw/7c7B/+um8/hEGjy627EXprvL+CYcWa3OcQptAf/nx9X0DWkVFiFRbhJwZpHoamsNUFcHrZzhwKzuiTOjZxMhIU9yUKIiUg/2Qq9YTbSQ6FZMGBX6FiFYGpGb22agLWYxEo6WCIjeo1PcR/BP97ngh3Ziyy20Tpyvb4t44+oUlGtT7jnYyXuWLMTMThQcpj6IMtCSjy9wTVsUup273OP6fH2KvfFV+8P69GUvLHdPxN8V5jDDiUmNa5GqHmqCLxf39byitcx8rCyg7dqYRk/a4axfi2KeUDFo6cUhjMw5Uep9vS/mPk42TvLJlwUrCAyHUqha7ft4qLoqUKp7riGySj/e2JqXkgEjvshjbiv+fMc6Pwmxb+YQQjzLl/cK9u7ic3rG6kDans0rUysGFO3XVQrHIPxCP39+EVSoFehxIKUMXhcgZt2MSEirdFNbP3tvGXJG6dfp+p2ew9nj8L6ZoJj8eSD5tKGzEMYfceyBd4X6JOIYUeta7sua0902RXsddxUYcYyt7H/rOysZGd8mxTZL6zHh1YobhXLS5SABs6onBWs1z+tvov9xuCPNY54bHRnJORDFDG3J0ZkLiThRCUH2p+j9G3riA3E+1uDAdqMZ/rJrvhpAh6GfxZFV4w5RlphhJbq5T1t//dOHaG1xU4sAxYU+MnlP8/4wxPtKymdPm1b5cciTzyDMtD7/Agq3OLiNDOrF0gc9Uax5wQLyxSJldQn8iSjf7wnu4ES+AxntYi/Qk0skfSTKPUdFZWOAvpkn3DQD4MWYx+/4B8Xhnaae5l3YO5aRuMVZMESr96Aq7EUWTPzRMBJKisGBxzK7z88tDLiLFEXP3NZMyvqVvEm9BvzmW+mRwXKQs9yT4LwTMBWQHC4DVW84fPGujSYbyUEL7O0FXxXkdWujNyQXPcwib2AxnlT2Cg4jVA05X7dCBGEU8AiA1mnb5d+Sj/kB+P7Kep2T2wmiI5J7jVMB5SZl39AundsI+K3GIhXP7RN5ZF5SWCBWE9hHQ7f8rDP5/C/SyGRB84pE//58jf6AJ/SF44JCL6Ib6F7i9fi/KNwmvq+kEwWwmgtjkh89Ho7lNwZkoY3gA8IXVG1LW/zyjUfQP669b4NJkJh2EeOPyQmFLKdApuQcrOO6zlM9evJ8ceA8s7zqCAMHImexLXtTxlWrFaiQMHAYfokJc5qPBkJ3nuCqjIFcDRNteDCiADl91RKEFmfdYc30pvuEALz2QUu1iHFZJctAg4xI8JuNi33sO7wHbGPoAAuRz/8oBE4BAcXrzQP8jbhNqBnJHJEws2VtpMbEifTLPI8kB071/7JXWav/IfBJpbrZG/Cdy+dc1L/QWI0XHWhfFPcPA/4XT2QmYAZ3rgHsRVDHQloeg3cQmlE4E64TGtXSaBJjqOTYtAgy9NNfiZraiX3/E6JiagLVCxAN0SuJIM1aqVYjuzCn0Yvn0JOtLKzEaXdspTjn8xfk1uYIUSbUXx6guLHxDlEtp2oYMj6GobV8n81fcz2HJCWMgtzVatSj6GKe1Gdsq0IjbqLDuNVXiE7RvOCRxouwd0RiiJjNBnP6s8TqbuIvgCxPvhEbTvRLWbdeXOVszKK9zYDRSwx6bY8wHuW1nOS0ctXVe/IaRnZJWFyNaFY0DfVK6udjK+VJIPEUpNpRyq3iJexSltl9Gp/Yi0+o6qFvjLHNw2oWxtnxuyCO5TXbijQMFVwGJYGkp7WxY6S0Fiem3s3NSdusxgHnbnOwubwynIIa21vyu1bB3nM+6RFffyGTY3AlDZXGcJKXRfHjxYpy4Qt9aRPdG8KYB1qy7hHW2P9Qneal6T9K56pYcwquALNt68ExkcZw8GDcITekqfM4mK90c4ZsjRpRkfs/jqzSrY62/nl4kT7jUKf8GiFL3PQ0EfaXhV0Xv4J6gNoMo3MM2PG7FZ85pboaFwxbW0xMdr5BXVwzWLLt8vqEROgLx9Y+eWSMWE87VhPSFVkJvF/t8U5RXUrbnk5wdL47vr88tFvt3ebWWKOMxfqne68aQZ0tpXwqiuqh87bcnPnxlKhmRgPkoMMLK72+TlRBP4xJBBfwkjl7LqG9T8rVnlvyQvE2Ny4+jjZSNihrEu58faU1rvz87HT9Yq7qxwLmJJc0gIbLanFtwFfLeR2OrACO7efnZIgJmWRlIdH2TDPVJWpI5Jd509odttimr1LFlbIwHOHX2gLhEZ7WvOtgWWreyqvjGZoTsxojdaZWVuWgVbxo6g74qGGqTYRF0s4hJ366G4CiN3qnZAvWcQJVOHjRi4aFtypOsYnNsUcPUxSWuX3BpbCjUGRgyrUi0QZaHIuREDFwUXds68FlewyoUbz7caFzUuDQG81s3b4zYBDJIHXpJVZCbWvwNkbHQwot7CHxkyrLj+g52ILrBlTZip30UHNpB2Mrt3rQeOIsyiuh1EJVHvkwtugDQzLVV91yLucLXV2NWnlGt3S0U3e0pCI7keUKw2VP+tN0P2p/CL0jpothcIUur4QLGBlp6fmNATWDSDzAmlZFJJfkuLiY55xKEomTuYGcRbTcnsHqjxVMozvXjpSzAxQUJ3LB9Adspk1tN/rtFCsuys45D9/VK1umKF75kPoKK9U83eEUWj1e0StJh4OkilVKoYg2tlXeSMcEJ2ahjcGnjFA542mnehrTxsn+goXwoowIGQJJGVLttLzQIO0aBk/ZiGIfKhZSoA2dXF9bmhYIhim4kvXQm1qWBXLqLFJMwQYAxvkog0jqtVrvL3n6fdG9XWtKB9fbu7TR3UBx1Sz1+ov9VaobixdaO4Ba8xs6OrRDSagnp3I7tTvuKCS12cDN7dmj78IVLYBPUxlGnisQvlABqrxLVaQBRZYVzpbMc8emVTBlUBBnBu+HKiWY/FJ0Q0iF6Zv8koBWJbPtn8NactHgutmd1Cr4hDEHvdAMLKGhk5yqTiWt3j+vy6oXob4KqlHOrF6+x3EeTj5Ky0bO8LHMtwloIXF2XFD8kPkgg+r4ED8pD7FcjFN0j2AZmvexp4moqtzTR7smjEMHZw74itlOfnInEib5DduSShasK8SGjryFCjcIO45t9Y3kTjW2dCR2RDdFMxo8KcN76VVAW4RHKaygm5eWnqdg7cw4Ng4VL/tyQ5D3gJSLRKpqMBgCrqBLDeuizaFYyOfkKF9fR24tcYiv5eUyoZ5SpvvFO8rp45Tdh0fZCauU4n93Y0f9yfHaR+L9htmqDkedkhmg9SJiVc3UrXkEx9BgIs3nzefLh2mHDTuNjVLsu2AG4rbTedtsS9S8DW7eo2o+oGVO5PaemwSuyEGt2NaQ1rR4sOsRjI6hCuEUtwKCnTk1IE9AE70YMLuEzIohuoLkRf4q+EJRx8lYF7NOqMmwX/tP84JAQuIVBhsmZr20URPJIYKRfS1v/botL9EZsePds4dPGN965NUMKzlS+8IDf2+Zz48vZkHhCDj8YSLXZcOVfDuM1aVxGFNT6a63lLNlvsB/OF0ZteXaSzR4tqBI4yRPRAW854VbzZWooaVoRXMjxluneq55XEb9HdpZXHaviKm5T8kES9mJ2I/FuIpmXBqq+IAu4bZlLaBwHiWSNEyiWqbqwrh3rLJuMo1xlMezM0ukZAGu3Xf4EM1bG367/mGyfAs/3aQJVhRkIMhndwGlJ5NwMt71vzO1d5CjY3QGHiv8eBdFG3wQHBDCIN4jYeNt0RUKOIJFP4ghoNg027K6Oudet9A/Bssdl1T+/gDLfzQc4NokifQ8699zdkyXCiKoQKy4QgsadxGRh9fVCAMdbUfCZTxHnTPlzu5ujMR3f1or1rrRiNGepJ0rB45vfCwRofz27FCXW4kJEkNIXr5Mm4h7pJ4H9jemoAAb7g9NoviDPinojvzV3eIIxEVhtp4e5G50iHquljfTKa41Msvd2hh2wrmq51HrvzGlmeexJvAAsT84tSLBAGGnoSguPOMddb7L7h5dpGgd8CpX/Ggsm2YdovXnoflMfLjYs3JxJP22cIzGPR8bK5l0F9bSMMu5LuBhQtfF8On+MLIM215nNa4SC1NvST5eP49piotJCa6c4KwDWoM6Xq0ZQ3v+14dsDZCRHVyL7hQXGUsyxG4XXrB0IPkVPpWgoLyeFTELgqfwdKitZmNvJiXuhgEM9lk2XFsf1Ulu9D/APeQtPMju/VuOCQL+WKVPmHZhTh9niA32lnZiFCBmHehOiJonBz4Xt00u7gSxxOkdwxdYMXz5MPjUyevsld6rkWd8Msmik+7Z5j88uZgoZ+Nh8lD8fqDQDcrsqymQuY+XFqsqz7l6VVOchdpX9xRsa6nG2k/bzF4b+3vURw9epH9KWjm26UV1kxA2RLDPVUZTIMwNUsU/7ez5TW8Ge1Q9iANJaFuuwo/v7P2aACrQT+sVyiIjzzBYslDWIGUbX4SyxabWI5LiNowavTMhuy9NrLHh0hrP48D9fO2qSTkOvFZ9lAWyD4abYUstbHo22Feh/Te21o40ndVvFhc0qacgj36GeYD40zU8IZ9rJXlH5lAhPcPGS9LDsLIccAwyKjCMjzLeRudKpW3xYor8cYEytH8q1otyUl1V98Q7C82Az2rI+Arxlhkf09Tx8vVhpomoi4q/zQ/P6pwg6jHDKdW+8WX22SzcvN8fJu0VQyexQvDMVpW4jwzT1xgARk7qC7MiKwUC62wKAEfmVuFFgLQaPL5E/HENhvrLFr4gpNsaxPvC0q0QzPYpn/ky3yytZFOQBV4mHcBdAaZirsNFxbSPthZGqCXukR74+uVW+ScafrxPFvCLpyaVrl6Q479FGqpOhxdQMsIuvLtOc7n+3p7mb0CrvebEFd6a01SIajhgq0Mbu3eE2faS1eKD1NsoEtQLwQhrtDk2DstDoL6fpwZnfSRUyruNnXWfl253uZ8stzMxhYoLehUfqD5iJrq/v7m4tZSMQu4cO+QIU+NTVHAAy0LqdQoI/98qGrJs2EWa2DVtpyScMgLtVon+artOOVpQPNDWdWjUhk0HDgjStE0SAwJp/GrFbuK6uK2U85ODDTikZATngSMxOX+ZQCy91Hwn1cMPB23w/CdrWER2M9ltPhbziYgO6XVPZ5HzYG5Pn6LfJiWbuvNbevQdRElGbE3SNndiVW/5Y8loe1Bt8/+wN3EpzkP2lTbjP+/qzNoLtrkwDCN1kPss7m6je7zw1ZVDgjky4GkXCldaZ03EVEGH6RxoK7WGyPjGBVai97K8aHakRFGUf3/t7fafMbgDEW6YL3CCs9/NFqvBYDB8tyczEXAGjYVnOAcuVgRwpyoIXvnacJOSnyAqJClZhL8rAS3RqR245e4L4+uKPLbEazolXliG4d6fZcUufDhpAqVSK5YX6wtcXrLj4X2K/WWZhzxr2IZ5OUGUpUcYqF8EmejcoCn5g+Hy4NwBdeOii/NU1FsY4hMR37NdJpgZ4t2otrMBXgLfkgUA65qjwDgwo+/BQIBhVseEh7nNcpbB9l0k3/UgweE8Z1LlripCqvDEFhEO3cW+oTzWtyI6A3VHVvYBarEAsdZeDbCkJhb2CRoR5fZE/kW8SuX8EaTWsipyfBKUjRcVg2JIeUknnwJ0td4QxxOXH8DKLZXq/8voEcXyrRwB+i7kAfZgJy8rC/34/Dx5xCfUuIMVMAPOfXwP2qaBdpSCX3egKMFIPHoSqoeKdJys/VZVrz4P6FrNDOXRE9FQcnonbprWR+Rfu6Re7cf2uzxqn4qK+M/3FmWQcO9jqGcsKZKoCdwlRBG5i9xmyv7RkbYJ7xvZGWbETvawg7npgGOdSVZOUopE4IHF7eVru/tv3hLhZrvsAPGDQuYeQEBiP7rsln/ydWN2Juu8Dfd5Mr7dZ00Z1jCTIm5Mg/NYGXy6ZYp1riIjkGYciEBwKCh5/JcBw018Iw7MlqgqtHvEAy9t4JZuiIgwA4kM68qz1YkI2+kmVxVZiVk0XZdl89FQ5R95ZgULbRC4Hcg2SvupJlgc+xRDJYLWcVK+Y0+ArXQlPUpw9X6T9Qt1NqJ9iTIOBGBtXeKohRx0jH35Ak6PFaIW8usnKN+jVxiWkjFVKFzdqvhsrK4RB2+18jHoQlGm8hg5x3NVOngQj1FmSKGYcoIGALsw9IZpNepU7uTLldh7H3EhzfIVFx5f4Ui/98BBL3iUSEJ2VJByqKPmartjTWxcSL+5QzzaeYbgb6WJXNb2jMd6U4qu1gIe3wkD6gtjuujzU3LuBvJ/yXDsZfsy18QRasS9Iq/QPTRRsT8k3uyDYuxMagjtWJoLX5mJTqqxH7bve9ixl9sZImzyaHpiUw5QXH4H8D6q7DLjCvBQwWe4C7sogeVPwAQVNI1SON63eVj1Lj6du2/cgEtyLLCxNsjeYpf8ztksoOTRmiaTXifT670o+uUFa6q8KqU2/XBCx+fMGwX5ewt04rBZJj7cI+17jkB9GwovLOSsWeyk9anbFGF7w6UxcEnzqrg8OR4pVgdyouoNDiIjlfQJ3Fmb7574zNacYZRAyTHeeYIG7rehefKKXdNZ8Dcfoi4aok0ucmQ/LaS9kYZeuxfsrMZW4BIdxOvHZDgOiHejMYjD5Opeh9Bvjba/JCylqCEo+NT1KwdIl+/Gvn2SLwhfvy6yCbv9kWufhJQeq00BXc1HUryXC/d4sxkVcVfoCfsKr3OOaY2I2j1n5N5ywehNOB5kalGcsBaq1MZfOFn+5faMM5h23MceEZnWiffgDjFANVFROQWywud/ZONWzzCLUFjztHty8l6TRce54xoiHrNHnueiBYbq8+9wa7PXvzDxsPh7QXYFqkrdpScVp7QpKE4UU3wxdEYXQawOFErzK/DLXFVRzkLPMWwMybMMIxGvh9kPrGKR4KqdeRsdBk7UinxowLcHxAiTWVp//m02gEa2f8OxmJ4M3pmIDh6/f79iyIjKyyE6x1SgarP+3VUapcTrBLq8WxYLdwZdlDOyY+iYBtqV4EsnNzKk8JdiFqaXqaGCFEdoC6bt9OmkChGFEFLDppoXbF+2EnDRq4B+vrl+4Gmg/kJnRc/zBfSIfGE+zstmj7vIc741v+PEn3hl9awK8GtMcQcOhvdkRj2whhEEZfjLlo9FBkBUI9TACp4LFD51imfflfr/V1eCklvIUX+n71NSdVmi5HAhcuUPj/YJFG3Nq65w7Gkp1MMVvgCwYwm/RI7tixx29j2e1dH4LIGDSaH0TkXD/sXheYVYBO/M4y1JQsgkJZiw0PdhaFnGcUeLIziDV0NtxmvnjwwVeC7O+gHWSbsttLTqjj4Plb4dAt1QAPnAswNwIRgGpazft4wGZHY+lRp7imMUi5NKE/ImBtjJvJXkwMcmJKsMOgxQfhhG7N50hPPfVaSgW6mOkSDKwUgucyloaRoMESoGYTtC/Mm0kp7MJHVP7fHqXsxEWxVDNbH+N2pQYt+F/hlKyL9RZJRsgccNTYQ3z9/CSq5Z4iXwNGZin9oEtAqPbkVV+n1QC+7YOubdM/KMdMu1SRUJAcMOzS31IsRumrw1BNKmgJBdiSDPN31/SV+OdmToJ+BF5GSI5N6N81Sc+mVSCFE6aIBJ0CuUwLmYqgM5vHETFMbFbU0wyhyaY6BkdgnIVse8Db7Wry+EuKElACbTp+9jQ3KG0tLrwSRUiLHKelNMlkpAABEadf3PQVGc1zsfAH5bDMCR7wh3uHbcum0+JH1CDUsyZj73dXXTD7vs6MXw6f1bphQ8krlgrKHPHObSkt+c4fUN5G3Zh/CAk/nmkLD8BIVzE8TxhyfdLts/ISvuFUF1Ra40Gp5CQfOvt+mOzaTy96+Z0mjDSllSuntdXHGdObogbkotaQci6vOnMq3gSP6Cvh3rgoNWxnbQAzXi/evNxhqe720GdqotaMctnmxXw3ASmecAMlxbbyM4PD2rE/8M+qe3kvT/entW5UX1l0lzG/1ohnz8iwBbbVc/di2NxZEnSuf88iL6pLHHLG+7b2E1FV4m3pt/52kR2FnEiRGJbV5lSqAaSv7P0ATKLaC9z5tRM2sdMjwJh7JL9CQpdaWB25QNx7D8QgFoiyUc14Tjy25HGNNE2EKuvPLSbFVwpWUbDEGdkr6EMIxiZfU3cinZy5nsS0iEhGEgiw1Lxg5t7AnGg/DEet/B2PuTnGbaKW9OPPeuvt47KMAeULrrW6OGJPvqkBA0N94c/kpFMg79kSFX6mGpUunOThDnLVnO810rPM8ADbYw9vG8W2Yx6YsuqIDk5sVRIQSrHsVL/+Nzyqyqc+gRRWYaqbJEycapfCMGk7Nl3lOPoZCI1Cd+ybQFtlM6n/AWco7S6dxUFm3hL2Z8Hn41/06jyZXKNtw3nLIfwt9QoSBHMViBH1o8IEAM/499GkQlzYQKX03xwregCMmHJkONTmF7T14bQARjddSJZxH1ODK0jp30Z7vvKqPuEMYgKm0/KePm6xhRBBTE7+bEFGhbnWtl/DviWKSz/wK3TrTS6sKnSxdUhn0SQFWdkczIXdb9tyi2zaM/bNNZVPBRh1ummlfjwh63mu5TQnBn8amduHpIqwfXlEGRskplFuOvvrtz2kSe9CVQhXb+MkiufKDzHxRqkbqIflMYSvpHj/wrlOgsA60UVLYCUXLtEOPUzOwaq+PGSK6slrKzoVC/fvXKBAFOqhFjqhXKIyu1TqXIt+Om5QzUHYMoehS9Mfv2eE44xlrCKxxSoOAdE7LjOL1Nvlyn4cX1Q5t5Fp8NCNhJ1Uiz3/29/PxJprBabdtDQFtHmlDZ2rcy/ZDAHoIh5Q7o+kcX1AZ/hD5w2QJckBr+Hg0LozVjGcv54ESq+P0SU7QjDIpp2r+k31zcligTQIck0Gh/2mi2SQxCKQKs81cmAfAcygEQScWgcU7a9obaPfw7JU0KcJyFsgrUnD6Y45l3fdT7Zc7Q/FknERkSumd/Uc66GVELFbubxAqta31fSEE7ffn8CXl7gmlsnktAcjvpYoqU1Zk7HZwbjznhO1kT0k7xMBsKOTW6U0iQuiozB9jALuaPeLXPvEjx3A6Y/CFfdWJtj/ZnSMWngccln+csKfz26syAWq03vtgkzeVEWuSsgln3K2/zqHVh/Hjsl2FO1tBXO31n/WWg+u950ZqgDYEbYxaJNxvrfbVGecZmOh335/E867UV9dn5dbKy1qwmLweBDqGNI419QjH6ZamfHvizIqLT0k8sqYcn5/YYWf5MzycKenTOaVWbYv8varornCYwQ/jdamr5+g/r30B6o8XDTr9SQxRBqtqxpEn2pHmHHQeZgpYQ9exngx5W/xgfLtulfbMOrNSHlB137V11chUtJ9WOZWl8JDB9gwmm3bY4/gAdCyh38teQc1LKv38JW/F64TkaQMV1yrTakFS8FAv18CBpHvjxyVDZphtkffxHeohoBm6f9kUVsuR0X0r07+dBVjjdz/h6ZhzTOb9/A/65O8FHF7/0slAHT4WJUFlpwlbOLUPkM1AUZUf5KTLhDDesf+82K3CJLZkD+PpN33aUm8z/ORm62/JqSW6h5+YCNHuORaUFNK7NCa4Ij6Eb3xmcL25sBclxaAFeBMU10mV+O1PZ9wpNJujo+zLWX1CskMC1L7RUs2o78YadbfjOnO64VebM8rL5ILlM+sFnAwglGJ1NOFXWeSPct1MXbU2+FC7/Gz6ikWxUlbpxLAfh37ZImrUdEV+4eDnaPSker/iY/L4d8Q+PIauPC3Ts/vMIEh8/3iRrpkBucIyaJ1DfN2otV/6c/pgciQV4gqxU79nyDcRFQDekYRE2T0bzrfC3wuIr1ZPqpVyslFnJjZy15LVi/NO2Di64hdX1cMw4lwGHdwd4dupduZ3/zvlLvvcsEa6ueL2dvl2PoyktWlXN4INdhGjYakbO+IklLVaBFc5RvFKvRVcRqQwABrNowq3VzyfuN6bQJ8M07jVrp1d52Kc+JSakp3E2sBaoVcsFSIm82Va2jQn4IdyRqN3pwcTSmZ/ptOxHiaW5I1Z+Y3xpuTwJuK+/R3zCJiiPoyUO0Jvrmgf/BbBxPjNgMjH9BqB6E/tVvmHk7ae9H1s6bC/xzFvsoXjO7ow35S2/kaI4XiFnTElrZbw1e5uBW/pe3lOCpsphVGzB0owg71VLLTToGARTC0oeBw2cvHdJdEAKCI5mtgz14KSlUWWpdEFoygbIWckbZsGY/mXdXnsi1LBJpUsW8/hsanSVN352Gc8bn4Ocw96hbCSZeZ3wmiprcdqV1ocmJr7kdCmFiTitwP0f0442oco4ai45bBSQSj32ACpix/aHzE6NZsljvB8AjsSqSvBLPvuq+my/dCOpqI2GNaa6uPzS16WLOtpm59VH/Qq1LMA9twkrKu5hizCvggHussYhM/4U288reumWOBMukGC8miqymmfXAW//vyHbIvBsblHGS1eR5YrnkrRVtcH5AcG8hWbB1bRWnBBvXqCorJxWzdCEsHaH0Hq9R9Il41Fry6pLNRttPsbqj1fTFBPeDaHUoujIyNbW+0kUUH6PXVoLNyWK66RRWQirMCZMByz1GHfg9D1XZ9PJGMda5acaRjBTbY6PUZ1TD/icIIsdc9LmNmAkdNyRKL7AE7esnZwM0Qq3EZ5Q1DdJdErA/49+ypgvoKVxgMpIBuebgyTuHBuxAV7eUIm9v+npAKc0RTTvCf8RXydyGlDeb8qrPPHnI9jyVn4/NK90scSfFx6yvCoAlqMsuRBn1/2zyv2h5gR9SRNGhm9kd7CJwKmYnIEicLFFdLtR11P+Ae7k6Lr7GRqbXWvEkhPzXQ2mYCPIzopT1EVL/KvPN72DwF5Kmtc8zmf2joSgNThLCCf7BgIA3dItPNLSLSGaCe4RPQlaGQGK0Rm9iht6zbNcq3sg/Ek2pX070Rj1/7wONkeLtynM4hlS++f+4/JV4RtJ+gsypGMzpj9Ohvw5nAFpwyFViAnAXQUdVuTod5Eg2H63hcwsll/uD7bvxV+QKATrs1lLpdszrPgn71ddGF9y0Nkzr6aCk+0xuQKGu6Q3Cm1BVGRrnk6229SS0L1fUvg6bEsEZcc5Z+bcTkk4OBXXx970EZ5ZKS4/bF44mOtsuS/ov1+d/KTJhOKkrAX0OXy1gslksVZHLiWAbSwwtwpPoq06X50MNXaCEfIISKDpsg898i9FtdYjXJJXNH6jOEsoEvGVLYcjd/gbzdK0qengWj6zs54caq2Lp0ye/KmnP1PqwRait9iQI0c8WH5zWzILBMsTdyAn6/HdbivSGIaUMkMbRtiqIB3r5p6YvwZb0qSRMkmTjHZMO56QezlGsGO/BEKWLIrwEIpLhVEq3vwqsW34m+kzlckPVMtAQnHjFkqe1CsB/iSrJYVdomFXF+pVfL+dBp/Csy2iGqMLTvxkwBYkRUdbWQVD2+GozWYiHVofIfK6dwb3bqJ7GEFas12sqotT29vKXhYvoyfk+tRk8Tfq1r4F3Zwh6Atqo02sWJeKIr2WfY+q0JtXv2+vNkknAcro3YJzS4VhHiijBMpnQ80vAUiglFmTyJxkg8VESLsZ4C6+Uikr4zGJlKR3Avpb7OILrfsDe56Ozoub9vxVgWhrGnhIC/C813VAK2Ju083IHb6n5noI3fpuM5XDsRlH6AbUgPX/BLWV4FfQZmA/1Ri7wFagV/uQ9iTw3xGb2BlXSfrKgqtG00jhuN1SPlUUKv4euCaxczmb/8GwIt/B1YAkkCw5gOYs9ru7BEShNYZn8JITG48BiFmfBIfcKDGO3JgB/4xk+kcsVbOYSaoBmAm9BUX9Bg7pqJRh95UYA3jmvy1anwT386Ti1Y5LNYfxXdMFc57G3QTT6OpoWy2fXtzdlnOlvIUItituopdoFZiHLmGyZIjgI4hpDcXD6Xd0lXO22G6e+JTpI1+msrDacNq21e+JImBPNTv+htpjcfASdro+D3aNR+iMrKulV+f27gTPx5ovWR31lmDZ2tE4/A0AVW44ceO2eVRBSB2WKNlNSOzGbMboc+gIUUhpuM0euSQdETji0d0ldAMl+OeNlrmLhK8rt5xZbmwj+rf8mstyO3KLppMWWe6Fq51QR9ZjWGOvPnyCTWWVu0XHK/s7Q4NQBLluTsohEYqIqEbj6KgtGIvWGOeC0p5nC+4+EXhghK3dG9j5ovphwOxFKrSXukAQGBV4549pWMEZ00PWxz9R16L24KyEqlbafRvAkrdr8OHHOdnh8IP+t9VB2h21Jm3R61XsaaTYohb+4zbCuGfH5SBdgdmtpshQwr7McXcSR5Od9rH7xS1ZVhQiT/euywuir9oklZ0dIA+V5QHosT2r/XFcj1BTXj4KfyVbrHY5oO+cFOqtaHiEmW8wb1pnsrOVy7+pMMQFbEP1i2xUYp7yVlhOmwoQGrjTnnuksiukr2zK4Dg9ZOlMtGhxE/6sKRcN4VkxhjYNT40iTDaIFY1WOKulPqpTqagWNSKYDxUDWJhz3LH/mjppuChL0eJFRadjnJj0NBivJ61BTtbNyPAwNJcYzshkyeXKgRMZE/NRJelIxBXyRKpbVuFoYzA0qHOol5OXyBEF6j+t0xgmwqaLH/BK+XItXlmsGqMV+I2APGcmah2D+mWNBT4p+Z1X1XjStvQeg+JEtvD9GOSUrT64Lz2N/VlZKcRo6x9Jm9ZAa6Yzl0jnYxLwA4JSfYBWHxE3ep6bRLAaayfH4O4nIYnQCNKrikR7fsPFZAZFGfTDoOPbaoxtZXcqekiPkm493xFYeEEAxe3vO4Tk+L0l5/mGoi8haRkEJEKHfOAHSfZSmQCSwtHP0PqUbDvYm87SShlrD7U5zrWn/+/sWnzqWp0J+9l1zg7TnsWf3YrnBJnqvAgerFzrHbKSAcncMmhI0OD6NQURMvQ+yzxNbZ5o5LIS8v5R4dYEHvWd3GXkJgNyBxYD5hYo1CReIHGNVZ3HUsxlvgntSo6Qs0kUz0hy7mzTgGB5pdMN0tnHjevDuuHSYBg+g/uIhXovsLwdyt863SCEfi3GjZviOwPEOSjhNBpT20aXOlTHypBKipyOfJpL6sSRElhsgQFFBl4pr5xKhGDEaTa9bIR+DHMlUVFnb2EcdmQYvWhSgGrXdXhrKerkwoAkUp6R47qbfj0q/BSz/FTMTyYZWLlpKHoP1zwi8QD/aVxtLzkqFDfBaNYtltrrno5PafZ8DqvcyWctoBY2wGRwvaKSckR0wPK/Cq6XBHoU5nhZPWCPUBPIDNgV2kh97OKkVJEybsSN24deU86dvdw54dYz/fYfXa5ObgaV8PZ/R7SpIZlNthnQ6HIiRJiHtdTzNPvZLNUtsbqXrc/BGfNZQgNR4L3j3pHVFX5F6MSvg2q/MYfD78YCUQZdLXoAD67WcoqLPU93w3vOj6ZORLVGXa29ARdHM+ya2VxK7Du8MBYuslDpCC7Y8Yc12D5HzQoeNsUSluQH+ViwEGx++WZQr6XcDSyEbAmIfm839pGjzr8srM2KON49YCzrP7hjdv2Sh5sYd4piCD41ijkLYlDzAvvdg5/DHerhf00e/NyxELy0AbFyQcPI3C7Xv7HyAabN5zGyrR8KNO4a0ww5EG3OLpzFregjGKirsTF3WP+DGY3I0FF+cbSi83ukn5R4EXex2hmdNsM091g2r3fq5LVoRln2spWZEXn24dR1fPISypmF3WgBzFXFewpiwf/GqSfN6G58NJbjA1B+KzaI1fe1aJh4yJIgcLV2YCIq0pP8IYVj5jWZa4Wf6w3cuuwA+J9uobLNyPSLOuDCop8EDfphgrgoDyGqjW7eTPYj5DDjqYmVy6NtLFQLGXw8F1kWkPIfmzfXySqnCya6YNyigNFvhdiCUAGva9VESqXbdtRJtU273ZdhHr5l6E886jeM79h2GvRYHouath31QxQRwqAdKhr9LXhsaDj6IfUQeRoDrrHQhxK05/qN6SJkVUjuGKeJ6sxglZJuYhf9jw5LKFsUbiHxV0Jvz7Assup4T/IHK1u8DT0feFxflD0zCj8jnMz2/687q1/8aZubLbQRr2fejuuP+wnlspdeJPBMhGZL64c9Mln5yeAdz7lXEpK2Xv6NdG6NNahYqQ1v/IzR3cJY0JnqMXINK8/c2cMsOw191wv7KUaqHE4k5mh7aWJRmvF6uKVX5BCzau4yu+m8dSb2m3KWuubGnJBIh6RL6golOkT+IY8kUTzkgZRMn356NpLkNHpYyU8VIIi9RU5yELNprjpFp+Gch7mLVq+sxxRw4aJkVXUDXyUIjXvxgxuzu7YDBFxey1M/B5/PlHN+QhlerZlgAiIYmwjtN/5hAPT/tSY042fSgLavGMiX9V/uMsPo0MkhyIXhj4npn/G2NYAvXkcGsAYbGE2nkEmu3HVpOsuyVj2mWNC3YI6M2D63QKzdHPLKTihYxbqAP4DTY8y3HFVjPme8682Vw6gZkp86UIDPSRWahN8ehIXfI1fliC+x3Ahx7yKdYXCa146lM+jNwq7hm9TEkY86ltUjf39jxwutacUxFhKpK5qAXauZN6nCjTUCOq1i5zEOsGaTYRbtxQZupDZJhq7v3z293cUuxlysoA3P+1nnUw0ZizOOJqStpEmFaZgMmH96uLL6pvxwfXts6Kh886+ikRn3zxY0jt/j131h8ekxLIUtylpv/HLKzEogkoI66yZTBeIOyyju5JDaVBi7/ROEj7PeiRr68pEI+zMKj7g0ifXecxL1Zl3qjyUGP9s/T0uk4kRyX6s+Kz8pTh8/gG/+LevOWia73m2mNhaiwRrwGHV2Dk2pynMNuqx1DhnTm5d0lMKm5DrvwyuUp509wFbrN+AAkIpxppq8subDZB+O8MlFsBqCUxF6ybFuNLHFtf3qTy75F+bPe//30OblzQvmLIDILdiaWnUOFV5zeynV8uSvorX9Yw2RmdGEF2HxurdcEyd7FS6Pgs/FJaAfWi27cIEt02QaXHInqv8s3felRQnNz7dVTb+LABqAROdpdtumVvCmwh+6sCrnMhknS3vQsCx1MUwaPie3RZuB3C1gDY8ZUphKKZf2Ysv5CQGJ9bsfRLzQgZYavNVRghH2QdjvvnyNcDQE2/QuPHbEeQfJgBh5bX0gqQTYUK8PHGmRD38yDxpQ7tFEr+Aufq0KY3Kpugds2QpM2906q4L11xt626MYPuF1Jiks5cuicAmaFTbLQnX2wuG8NFVKGlIhkM1OsRbH7JOiUbReO3FeekuECw9FBnnYThMbrL1JRjVjMWpS2TYlr0btT8oXEpGe/3YmIsyYPVMVzlEsoJdhCITIoMbHu0O1XF41P9t1orsehhfgzsWDPTz7KqS1RL7cfr9nMLYVgRoWmHO6RYZRLPiGr4ba/lBznEQtF8OFyjTomvdD+3C9VIShST29nouUv3bw89TpuG1t26+F0ltXibkObkr3TugFM/ckx9FPSHDXtwbTWDoUyDbsJY6Byf74eSPTb5U/LTr5M/SGYhofHWJYbN/jVdgHeOLH0UghPek7+n39E9FKFCc8sQfEGL4FOChZqqnkqFZ7UuYt4UEsHyyI87UYjPK5+N5QoZ7EcqZHCaooZFWzFoxsCFGi91rV2r7woSWRkZgZ0JEhzQ1qZw4O8bUc/k1X5jYTgIM9xhAA3ImbiZgfNMhoKZHLLpEGL6DtMrRreYcm3XKaaebcd3MKhXkrUFE2A+9e4g3W6pDJ/qjs13VFc1rk5vuvsxmfDksaLEXWx/71TDoJh21DT1lVnPsY1jMoK8Y/GF+wExz4PKrRv6KfAEu/ddztC0EzuKEFUb3P+fGUGfdPO8SuZFqPhusxorcxndMv+H0rl0lGO14+v0yunpMueSdNRzbgjhRcOOiqlJYD1fiYEREwsW8esKmWJrgrPpLzZeRuxX2m9gu88a67XFFFHvgvghTh7EVytjl0Na7F2tYeb3zIP+MOMr2TqwBTG2Q/gowVFni8ifMrGUSHjrTbU4NPq720CJhHM+f5NNTEcxV26gC8ZpAHztBp7hwTSV6u7cJus65G5EFULFq/J7Yf9X5tyZEEuLams3E6TPpfpiPgVEr+dDqjvoJv1BPeVLmb+AMpU7Ji9TiT7xv8Gp7qTKwGDiCMDX5kFz7tcNAHYJ5paBOvYuNpE+zUnT+iboBDh0G5TeAtszYxs41REcScIoUHkRfOrPnyIYD2o+po3qLazyDO/11DXncjUn8WGFuaT2iARePzEIwvz2CH1+cBDMBG+PCCYoPLdZ10s1x9gW+hNTOZ/oDpVGL7U7u63F6xEszy6D+wImk7I8vl/kduwYa2hAv0QYJIYq0UCYccUgMPXG0mHot37pUQyz2o8uScC90qcTy4XXJw5FpEx5llF2Lj7+YKZiQWNG2bOA8ltcgZp9S4xoi189BZ8UvzESJ4vWf5VUCRvMNChEN4ykVHYB6dnOXUPvCTKFn2Iqq5nTXjEAAJPEnXExiwkQ+Q8SUptXF6vaIyWQf54LKRN4Spa1eEPAXxCLio1y85RUNF104qEEGEcucZ9p2/RDyNLgwKJPgJWl5U6SAh48dtPYAGFnr3rOZQFNxtpVivxtfeXdSJ9HoYx62LJKUI9hT7o6Y+PlpX0jMpPP3uaJRqqPcr3p2ELgymRCN4vD1a5QBX9vHmA6B8MzUR+JSw0IXoz5xOB2v7sWNGO4/JzmVov1pikxt24RayQRTqa1pAW9wxyp4aCKiTbv9xEreh+KiYFIlTTZ8aMalROHLPypnBg5r0W1wkSZhHHV088cFdYc/hpWl84eL2FPfEtqdTyMmdFyiWNYQzOHLRhpg9jgILBrqeJzfLvhD0LOu5AybiSLQVfGm6qm0L/cC7+3r9Ni7OeIgMqqbxv7YlLFFx3QG9czTH1BZa/A01uMn2i0AOpHlZ6XSlD3KkjPfUnlHPJx04ngds73GxL36tzEyNs4UsaDHqW8oa/a+ZixjTlm6AeO8P/w/4FQ/9NRPwzHPCu4Eqhgjujcte/zzvQyzWBjrGp/GhOpM1oHGzWrBAL7kXp72w0A4q3qH+47dR48V5K9f6Mzk+OAp4ysdz05s/zsYj24BjepgxpS74d2A+7FBS0e0u/BIARM+fATJvCeQovsRWUF0I+Q5HvkBps9IDlRR+XwlvvXthNgwTYsLkoN830zzq7L4JVVhadPI1fTbSG5mDUmFu8kTn3suSQS6MKf4izaFsnw2Uj3s5CPiy1/+Ih9erymbK3YiAnbwIA/vckQuwAQ4ANDAO+MR6CpfYs4U6N5fwZ7hI/eaQsAQ6wPPcIHq8QN2WemIyLS5ucFN+iDzrPPUELVjpBacsvX0Cy/lDPBFhX0xpdQwRZVoPFQflzoD4iNdNOzjtQjP+FuXembneNAwYjmS9K8wG0xUvQrM8PJYl/16Yw4HD18jNiZDwyA6UQRCvnKmTKagPU49yERGxhQ8XI1Av+B+utBsZqqOWowSEWijj4wSFNNXSjRNXQmHfhV7A/D1hIPqZHgS2OB79l9ntDxw1zvJ4ICCnpTvMj6WQHmAOs5dwjyD/vvxS+U4Td0XkHnbbS0SGVXLk2q5BwZ/Z4B/gtuAf3sidk8FtYQVLXuyNuHtI3UWOcU4+da4qaLhGC8dxWuoaY2JyW2UXOaDe1FVXBK5BWGGSJ9l+RsCN+ZASPc0aC/+aNXgv23A9OswntRofJuMDsSBCBQYjBjgxINJTcH2Dxv63iZkepRg0VOaJFu/lX8XsJbbK/p2KkQuf6qt2H0LDi6kNX12CTY43qSYHR+hI5SONWuVsPqID26kvqWdqVS4Bfjmnbw6rYVIIb88z/jarS1MEL6awemgpNHCGzAjdOAWLbskwYYFnKtmUe2zMsquzuHBGyIBEYD5tlSHk40rYYdiB6/MWgPTc+IG31nTDBzqp4l9ZJR5YUSTWlrAuZsTg+ecAs/GGZWOBeZ3GaosCKk+TEmxvU4qO5dEdqWxl9aybSSQTzZrtBq2CC71C+IhguHcXPrTUPbW6WXvawXqG+8QsowuVehHTWpuim8btwmZI4yzjxU3XQnRDgZnixlyjAmYgQXygFqCgOlmR9t86yzTSgroXOgHADHQa12wsamOWkYbq2wUM0f0a2HYNEU99BotAFzaU3TZaz4wGgywGxOBlKa+jdx/RGl767U0isd9vnmlK0qAj8TazqwxxHm83sCGFy++1D/w/cGEeZ7t8uvom30w4aXxZ83iL0BqRIXUFN7ir/5dc+Ol12KZZu1/4jtaalHAgU52eXuDWf+9GfvPC33JogyQJR5yGvlzcLXjNXRbrgGpSFIBTs938BqvmA3XTcNxApe8wCHsnhDHo3fYch62wAHO/BOQXYc9F23+Yr+HlwrKgBowpkp3XwmMWy/6Xm4691WhWbWvmSeuyEL3CkE5ZzbZhgtBcaaSjnfhk6SkP+4+NAxfh+Xwq/A6NptEtIuv50kYtfAbEaCs5Mc2dh37l/f832fEpi0DAzTd30tU8OGO1r2Lk9nfimU3JVN7T1myBBvwD6nkXtnLBV6f/NrOTxm5a970p4pV6GH1LoDIHJp/G1+DfGh5nzK7GrxCC6NriR59hySte1UmuDzvNL0OX3L788JyBd9KE8pz7rT1orm1oTiPFDCNNHq3JLUXB0ba/uPKkIhVcroeFGm/hbeXBJm9czzUBaDQRDPLJHX/8bG13k2wwyYTB5T4HLC44todO0ZeoS0YPWFb+cC9V3pQMripdRnPbniRO4EHsnLNJ3JrlY858Ml+RjDUqAElDKll2oAaHS3mAAShTzNZ6CAaJ9amgVOVNZJsl/TxvglsYyMacu/d6JjEPkNG8rj19FYsEfpoF12iZ4Wnat6G3gn4GzHjZ4mZLUMf+gYxyU+XEgdeqQe6+yxSnAvE3fDCMk28svNHaGEwuGYZKJLY8323kiOCFEnxcKE+OPB+m+3MfblMmA6G5e/0cbKRaz4sGLPrFvI6thuvgP/JyatV9axl942tIOpCNS6wzWUDvMD08XuNHu80CubrG8u6tjPe6j3CXSkSs+vcrxvhdwY2BFgqmMmKbDXa7Nvhz5YZS2y9USINAjaFWulrWtEZWH0vJz4D6K4xVirpv4poZSHjSQbuOtnK9hhiV9DmyodR4NtXvdSyJhxxw/+q2G04fDPkv4+MPXhk7VQtuW4ES+KWdEFUwjw99kzpe75W8DBXebyBwkBmxCgrzNLEcplev+HLb0Hvxy85Gnp9ApVQKPViLYDLywEta/Mx215PRZFJZOLqahXR1TF/EhoxpRb++RxyGwaAxd/f5cLevjgnXGI3LwVg194mQlyDqJ+IkXPXcEPbQzIfyHWas6u3WEd50pR4ClhbXfOwysrBrrVQ38GGBmE/+aS6x598IV0jHB4MHfLWHcKAN8OOhpPx2pslZL7xMJ4kkIbaUA7ERn1ZCAS76I2XwwqhgxRRtfnQTjGXkNxuEKxn5HIXJ+EJS1FOTjOD5j8fgQlVkBZp/RiCed0rFNNW38uVnp6ZMR/a6eSO6rL0dz/09Qoidy9j3o/Gx1q7HKgAjJnWRBAEl1P7KgUSBJjjFncwNpScpvT3+e3G3QZphKTJPMF2KncV7a6BBFEoIVIyUeDywiz3XBjLDIv0B3XlIlcddaKNnMn/IIPuOPuIkGIlq5BIfdljrM09ae8mtmIl5H/6zpDCC1u18HVQ6tMWz4m9eDmuHHs0NGxKJMQk4uFSzY+YIjAwz6yGhmxBS00Cps1D6nGF+/rGMJapWi1Qs40G685Hx/sKH213p32C3k5SVl9B1RTsMUfEXddGFrDpvgxB1QcX8itdF3eJeo28+qkcWSLL7IWY6io+IR2hX7U2vnwuX+MiIzBMRFfKbWVZo0cgbqklK9Fmba4aitUt0aGjV9RVP3qbk3N+4wF3RZ5JNPyM5ih/9T2S7ewWBGpCbysmIcS1KOS9TbQleXgNYJbVmbcFlNNtjwEw8il22M4Z7AZEb65hoawNZD6wYI28CpIEp0IjO6tBVnFBPryQUJLtDIphIxKWKWTWN4eFrhMFShyYw3Et8X0PBJF5gb1rVt9GWdjUHvTZGhhzi+ew+TmkbBF3UGhBpeJRcq7U7Up2+yFKxOovaY54Hv9RqjYFOSY8IVAutv1lmCOo7q0/LteASHAk+lcY/Ny2gGTCPgZsULLgF9cYxnfoWhedfVEex8NUn0ltqYklZMDCx0e9aYyjcKGLn3cIBLPC0UltbgVDPTEVd6sbMfihtoZkXKb7NyJnSaKatnoamGDsF6LAPQezhEw5mCQEr+cW4w6Q4GGt1PMUgK4wMtzNR2j+lU/BVoLyEnveX0yg7ISnzATxKxSOMJobt+FDBiPVpNgXmoMTOUxRuH9mTtAW7j6BSNsC4VuGNeMJSfDEVHlZTeIBRUUzvvmqhEgWpoIS4gpS61i7hSgvha83epueRf/EzYJ2MN0AaTITp2klp7LTNimNHMmndFXcw1uAyACCvWvshJ4B6kxULYTi2uUoj3lK8dG+ukHnotubDW8cO8yKWW14oMxhcMHZS1bv2l6SLlvDzq2ZRY5B70WCKyO4cVZusLNYNo2T+kUwILV/pdnOPxLjXerZS4s++EgZ1q26mifl/1VmqHmZJPFKHfHzyt9FhMj+ff1ublnNCov+5ryioNo7utW7YgGgyMy5mHZkzJQMWXpHBe9gRJ4yx5dbyAcz87OuhDUgeeh8t2qvTsYoy2yC/6ap9vlM6yGhtpH/Zq7nsuTGmEYUkfVOddfjxYRtrHRYvfYKx4xnwnPshdAC/HpTs/f3AifzRMPx3MvWBh7CuV9InQkcIL4XHLBxbn2IU318JV3oJJwGKCeMfPDjAoevX6VqNxgrcnDZPG/Eu8JcvfpAz08aHBjX3r/k4y7MOhrjfc83SqsJ52UXcNK9fn4hHHq+gjyiCFy8VQzQWXkCNVzpuAXswAZQKYHqWd+A4heDFx0qJakVQQe/WJLilvHLgxD4h3K/pM9BkW/njy4/fnavYIV+nbFuGKUnz1mhPZxB8IlZiRZs1X7D606GCFngu/ZxRbOgBWx+S/Z+phakAshVFI4dZ9DbQpLXhbQFy6IkN41avVvLHS98R0VzO/OFdOWD5h07h27HxLTM8WBetWDOCP/XEGW8Dpm9i/YlMmQdAFXULSKWDm1havYkcPRycIOGv1HdYEu5SAUP2mR9XaWzmTv9zg81nRRr3PGNC/Rx3ZQI7OErYVY2niNfgN8FUsx/rv9eR/u/yt+jWgovVVOOVEtEbSIDCd6tyuMPWNn9dGlSr1lC8wEVUB5ExI7iJRvUZMpYUUabLzJciEJ8HHOqBXvuhb70jw9359NsqTvq3vx8c+S9wRC3SEBUax72oJHWbi5hvKYO3JZNIL3eHlINnndFFld/DrB4Zmw1VfKniyPRXIqHtQfxAsMAsNpXWCaRYe1jMklIDbD0Y9gj0o5OJHf7pwaxAh96221LCU/IlGzASm67u+4bOh1RCFPMiXalwjFTpHKyfkpXGK2cU1C+h48L3cF6+ldJM13w01vJh1KE2kNknHTIfihZVWhm1SxIKvtC+pFuFpcVd5yRAN3rAmNTgsYRDnhKqrfvHtlG7idR2muQb1+NzrUUWI+Dy2p9dVQteGcaP7QHAvJF2HjK4KmTEWU4gNmFrG5bszMOlfW6JXKdjpePVyRugIcPg4rfgw3yk4EcVCHhoJTdJavwbI6C/hI5zuksUTi39QcEmQ7QbYcaT44AUVEIUAJzdT1JO9uhkyPjxn8h291qddlaZraMT2fd1Dag9uuAJT443kTloMBMSyno+r5vuHLsIEC6d7M+jiHDfV44RBMUR7G1HoLExziEFATcYdqxeCr7ln6zTbiPV84uBQUpKJj7/cJgr2aM71RRHu5z9Ay6VjNAurtu7MHHdjbu1f+HPKgZ7Bj6tWyU9E8Z01eL4I2JqbMafAhgzUgw0zakkhF27HquPZO6Wsc90M8ng1AfQTuC5qf1406io7wXysy6ATXddGdCNUlVNRja+G9gqs169xi6YdcX10ZNQizIEfc/0PssimMsxamqYhC1XH068WBzO8R34a5bbHDOTPeHNpLyhVJ6eJ4e6N9n0HS43isTIW7mEsiGJxVFUVB8M/ENgFFNDOJENEA0ekJhmG/sldRUJmVr7GpXgVK77YG0fYntPrLbylpd4uukWYesjmbBdz7T0v5Y6YKMMujfngcLkPEQ9kIY99wdUPpen7zMI3Zj2p+ZdYU4sUftUsvhTt3itJoDJuXZ0FahOky83H24fzHWDG1K6NJXTBFSpF4+7nKhHIcDeePYemtreClSLqVGN4dXKcdnQ27TJyS9GUlBOpK7xjJrZ3hJCcH7bb/PWWI2MfYfm8aAOC29G5nM8pkc6cng7RwbvTjm4ABkV1bViRs/N6/2O6pKFPWPHuY9zn8WTMPc2iemfBGRott5VksKTkMS5BjgKmURmjhCqa2Ms0CPOC9G5JfgA5TSjl7L6wN/btFczt/DEM+aK3Qx3HilN0g9VawJu3SpY8+7lvGKMMDzGRy5DnGHzqD6yrZH6bVU1EGAw5Ey2p6u/ZqjTh6n5e+b9XZuka/hsweNGr7m6J056P39KOyEztksY7P5wDpcUecWaI0sJP/97Vb67AbxiVQdZDdeBPmTLFgaEiCFeo7epVJPTi9ptLpE9o4EU1pGn75N6LZ6YYBZfmkQc/IkKUrgytBLPtr5J3Gw7fdB6Kvly3N3GGG6/LHIjnHzWq2HOAxnH8sVclYViu/9MOpXV6EAbWavUE2pcj6uq7gUPW2w/CowaWO5gt9PTVYVIAKrvAZAfaJxS3rEP0qFI/YQ8/T/d7d5Ti7zxri1QmlJBMi6FGmT0iLM8Eab/3FtEiYNwUYNqRzxnRtuO5Jn4rCFd/L1nyZXGynq8ZmqLyld1MskAfdJTx+wDYrc+yMJ5d37H1Rg8t+dbsizUHoiEmYDjcAK4iCmY6XPS/eLDOvSSYUVSsy4Va+/nAU5Tni0mYR2WjtpOvY/5rBhfUL84qbVUmDkgouNGEoO5AVSIS+ggzk78e+DlIEZDMzsPfVAq9owtimEommGei4NZFseffIOeclfvbLf2k7W5W6t5z8RLMhewswP4fgBXa6EDL6ULbo7MxwmOHa5PrnmvgUMkUS4fncpi0OhtYkJge2ACt3NqIfkq0TE9P8aj4UvMhc9E9eIsLU2L1DH35zMd34/naaynyz1tz4SdtgJpO8j8zHrIOD6cbG9mnyl8YlDI8osnL7N5g8vZMskfQ4EEp1VsTrrp56xPAVhPX9Nowb74HfhtujiUa4UOgmXdlvf/b86e7hXig8o0A0RBQvopsGNbR+631ga9sJxTY/CH8NEJhbyDJGtHdbrhp9y0ljY5zv8B+MgzXV+pofPJp0CF5pOK/NA4LNJYFW84vrubBEtAyYbWQsBHvz5fNJ9fS5BcMEbZEILUjgEdpN4STfDDWjWe8eN+LTQ6snw8gzNHDxdzHTqzjB7IPt1VOmMAE+h42xgIvkSUfcS9gVaRc6wEP+NmGqkivbGu8AcJ9GrUmY1cMj9lU9mi9Qtfwn2CcyAHMJqVpURIXwFVn+TsHbrQAzVOt+nGZyMQX67JKTy+tR/uCAKnVO20IwwDFR6aPyTK/EpcZv++Q0IXmRM2nrUsrHaFWOZTt9tit4otPc5E7bkdUwJpe92v2YyYF76M/AN1cKItp+9h+wXLKMtudzp0fuuI5wv3qNP3IcDuok0l8SmaxfLJredtP4Z7O1cBFbVsqale+jEiFbfngrPtpBAvqsngt1n6Oe06aQdjsgQBeVxTuYNNus2Rv0mfB6kH+K/HGety4X3a0MXBTL3DuridGsRYRYGkgRZHC80ticCbGimsfcJmqODEd1fPAl7myarSR5/JVnpKffDZTX1TGG3PEOSQsd6r1wPQOm/u1w18gP1mOyltgw/UpUbSK5RIhFkXfsTuBTx4cL8SnQutVO7FOB29NAkq9cDkHcIEpJjy7XWe7nua2la73hvP0rSj2fTygbxjDgtop/yTeO0R2sGm36fKXuPrM8nTgMCdAT6nPDtyTnXkaVIlHFSqN5t23tIwHRGOmeqjmEyjJ0JNayvm4y2nmrWla8tX3vUasM/ZRGG3S3Pj9TWFDx4ws/nLvm8LVk9nICZ0qYhF6iEc7ObwnhiOiSG3+lPM89j6xFU6SDjSpdgXsgK7SlzVaeL+m6xyqYfyJhDJnji7obXoPl43dZGYF8/FEaBGUGWrNVuxhmbSGKRl9ms3BC9JYV6or5YZmlrmpPeXM0HlEXTQMSo2vQ6mDIT1mEtE9In01EFrjlLi9rU/7CpcRA4Qbvk4BETypU9vUVYBNsBLYPK73BlIH5DmuYj3JOFDhoXxrDQJm+Yj2jIupBbdWdXVT9u2DcAd83i0eDsOr6wKGTsFpnZuvcXHa7yrSGRc3XelR2UYAFlpGGYykp6rdIUTpG/GPGDqDumOYVkAWCiMnqAgWD4G2A1TsdPj3/R9W8Zhy41WLDQoPo9ohM7Sm7rN7BQssNrgWaNlhtVsSTuYl4cuD/OqZSJTEyqUkY4cnbMHT8lBWxl06/glbfdEXqNkcA8cC19rREQrwsW9Fc8pGABS+64YeuAmBs8So0w5c9HUp1wffFsDapm1j01HbIkVH5OV3nBK6dvosHHZM4JjU0mmnXu4jBY/ZEs5Jk3p6kDLxkGvUqF1bFLvHDbNOvLVFbDujbeFNcdRljOKH8kW4HwqnMVl6kMv7GbFkkviA8YoWO50EAI8f/ciVm7P3cB4yO50IaSf4Wcu06lKdkpdiSIFJy9EV5CLM28ZX+wsm0zH/Pph40qWT3U1n4Lr+HMOykZB6OLA9XftLUY5DOC73lXQ7NCOI13FRkUfon5MUhAYVLcwV2LCGydMumx39FKjCc5llajaGbX/BniGymR3LrtOz5itN96c/S9xBIDtsqKrRba4c/OCYiaLtTuLQJxat/NChA1ucTIVqtzownrZjQTregA0LZ6FwvKK3151RwxOP8mgFu1rZkvzQtG/QG5bcc+qPmGCzNZWdNGkvFm3npqBeZEDCzmWiFSic08i/HtzX57xP1OGkfDuR+Pgb0fUkTgaRWIpF2s5cRK7iE4K2mU9Q1LY+pCBUmpT7kxF6breuiRyHiIfWZyufUkYuKZFS2oAYwuBLPVnIdaQvUbpbQBAxLxwzOyfHIZeas0xD3Z+cD9u9NWSfJYnIwCC9a1jyW4fsjfKwTBlEA+7JrbhbrES89SB0rF5/XUOyJuMhANkTitPh0vJYKxTs04uLjGPdbVOqVGVwZtFGtT97RrMXyJl7y+E956gcTkiDa2h9vC3YXFbWi0+bzF9aCAu5VHuxptAcJ6GCykVFXzJz668kaHCRHx667URX3eOpDDwG5EHgtkyonESeGurbpb7Jxb+uumfH6H7we/DiY3M8zhyLoITUreAf6H3ea4Jov5yzf7JCsuDMZ3ds+gwCKvn3LySoMM7/9NAzQ2R/dE2sxYtBiA/m/EP3QBFh57bIwfpQ4RtQLVgkGbajWB02NLu5mFbWCzKBmAaeME0Np9qTcZ0aR0JvOcmoE/nnhZwb9t2RDenDNCe3P/ymqafhrDDebPRXKIZn1utUMs+YuRaMavxuNSZe1cz5tcQD6nCMzFQ1zboxlNJrl1SFH1XN78b8gz1dTgFiusCTDQA/ANndhhwpf2gjpjpLHzHnomO3Tz0vPHcb1mwE0xbY/wNg0xp+rPm1RSkaw6fHCim5cHLx8+ERbwyV/OZvHllPeSIO0F4pcFPdYHIp+XoqdWBYFWZxGZI2B4CqZKoX+SHnSyGicdUKEVqZWdlvUKlLrzt5f3hOYLWO4dX7vbgTKRSsPNnPiVNvk2pK/wu7gHDstgHTGuuCevQX2sYv5yAZ0cAcySVWcCvRWYkNEcITizwYLNAlsRVH+jozt4fBzavAzuy2TuLLQOKAG89k1iXoWPs4xmis7MlVkXr9WcctbBNX7BNIuK9jfDAdv9TbOG4RowrVFoluftKGmW2quFGE8usgZRqjA3ajksPJk/aQNS7VaZGf2lnJRjDhbtlFr1NjZBs6s99WrgWm3Vxi6lj7sq0kgA6FyZBeSPTKpZiqeNr77JHrMMjEFXtWfZDay5g0HtxMz4i4HXgHqxOPdm7HA1GAC5WkQDQxsPib5vBCZGhMFaV78n7tk4RbZmvueB9Bdhfs5uqIfVINBR5RHTgBOFXmKDcQfHP/3X9/PZRZT1o3UBuV/HBSWAMefBZ9oqceDOnxYk49iMMD+5JrFV7iNBwdQH3IZ9h4N9Vop+6cpkl+TtIeDNsA6V2Bqq08u8qt7maqXGQZa7iY/W6SGwkEpAXFsBo0XFRFwtwF75fkgt74b4sjRDpxV/1chF2IuGA2pHIz+OC4KOwhylBPP+Va5NbZVCq+6PwOgWXATdjALrJJPWjyBhqpEmVmqa0IOaPLtBNCqaED6yjQFQ4BGcOetDXHnIKTOkl8lFFnCE986gINIE9MzCyIp+2M9EYsTpG739SqTT4gZnRnnDLoynQ/l5J8oA8Wc5OcLR9frZSWGeVFSghLogjAwXpYuubhUnZZuv6KmOaShnwdjhfXqYJvgSV/jouj5jDG1FsLl8WHBim8SfiMr0C8oNcKb0oAHj8khoohFSYYrl6+YQPejRonXoxVngEK1jUm7XFjkSNactU26l2HJSCDi8jqHuQp/abfxuy4MVy/xmdg9bPsD1cGMTJJfk8wO4awgJucaf73PCRV1f0xQhQ68oOb1IrAX1/1bewXAG/6CqbVP18F1tV5cX93KQX6KBHZrxQCgqsO4PHb3K69lIk99HUuPOcGpigTvUz6BQNoDdZ7ulwga0oEn27MFp+H+gewjF/UfcaRvVBZoQYupK56spJV9WLpW49ivtoNigq2lqicNpYWos8YgAmbu1pxa3fF+eziyic7+hgJGnKpgsSEXaPq0nVzUasHqJmHTSgTUvYq/NHZK1vGmmsr8yHxqKbmhOCWUofmq8QrGoV2fCM7TEe1CzNZcpR6FBBS4Sw+jAc0JA2qUR/SfQyZYDOnHvwQ6tuoxrg1NG369WSOSq/ivZLIkVy7VeJhX4J0wu8KnIyjLFPGnLUY8rxxiB0CEk4jzl2UhgIC0FmY3fv25/CjOj9hLhqqqffs5SPuix41zpwTWjQC7Nyf/Hb2xRlaU1Cc+N9d06b7bmgPleo2YZFWdaJHSiU1myeIVadv7qnMcLehkKY1USW3pGIeoU3OJoMGddPd3jRDNYXJjlMjZrKFzAxQ9HgfKrYXsG2Qjk9uFZQywbIXaoDBO1VnYCpDzOHnlJe/cjgGWxSs1tQxscqFuM0pssIDkCIGpXS48b1OvfFCQKodmY6EEjfiDomaAvqpYPr/CQLlVCZypfnoR6bIVgZ5nnDdPtJeR66rolabBikYjjx3Ma5kUneuabtQxtOKso8pIw9dTD5Adat0SdiYZRV1POBbuyTsyTCb75KFpDmrZnP6Thk4GqpCEyXdkgHlRqIaWSNO+tJty0XqbwNr5Yk/7R6y11uf+KQ5WnPQwriKAV0galSUjWQFPhDRG9vLiaA6hw0/eQPtZI40DzDyN6nNKhbzOWsw2ID26KuhZNxlPWLroO8S0g070n+/3BYc3YmsbNocj8DXTkRzWzUGX7tiuHXt3lFU+vgwa1DuFO6eA3ppw68OJoxEfh2ZYC56/EaNHbgWeBO4FHKpc/nqRyeqVh+hzJWUgBPc29xfg0PX/sqZBV5h/8pOKraLIsaSY99GeehzcTJ/1EmEdFBnSEo1UYhuEjt0Q+umrnTFhapoEaZGk/dLvVYGmTxzMY9e3jfKu1xUE9OsXl2fAUScaDz+CoflqWMmMjnVbZwvGJwpRbTMs8cl+gpne8EKVdj79r8WYqYmdzP6l8ffCYFEp9v3R8xvsL0BRadwMLl0FJLfAIjhCFOBhsf2UNFqYGybPSt4b1LByqpsikpfPiCDm4nwUGmnVfGi9J2eMoptpNAMpqUwAacxiaOdVQKyTwNFbpRllPqb99HIAJtTW6sLwzqc5bzUoO9i0Q8NTnqpExfVNcUxBccL25PKsqi0YahCMhweonZ9mFTAxhlgKL6o/wNaazqfdptDmjrBkxvxHTFQCN0Avw/4G6axCMkxa0dC81+IyRpUeB23Fs/shrvInfo4AiQYPJQcZ/RqkyfbV2XE2U2cJjs6tlj7/5/ciRkIKiD1jYHMFqAunEpvDd+Rda66ijsNtKLlT8OAi/wxGt3ow1TvNWCaQbVI59Xj0Xjj7pjbBW5Bnc5J4ceLnaHcOKY4eW1/0JTQIUcGoZoNUjIZ6CXrmP0RCsBLvZjFkjTfPqdcVzz+Ve8J6R0H4ELQYeiyzhLV4cExa5C0qWtBlhYB9SLB7hzwY7RWmmdo/1Y5yPpMexVGcTUG0k7ob/vAZuBU8oxT5qfFov+E9Hkc8LLlqotJGgoDA0iQ9EzvIXmSZV6r45LcfT/IBCa/LdMfAb0YrJaeQQivIvRFn2i0OejDLOP5tLst3/SijG5tebYDoQlkzoCw6i2+LOPiLfuaOeCpIYAVjBP+6YS71zfa7gKRpDAmLeTw32u5XzBUe6R3z1fvqOtsQ41VkVk320ca03hHC5ypTyAtPVEKT/JVVn2O8L7M1iQoPAVdku8pDlocuYNC5PTMoehfGI+RqucHgCBqTAPCZMI1QqwFuRcpVy9mm2kbhKiy/wNA0l4ORKMHcm9CNM5or0CbNOK0so4Zw8qHStddg8MjBHa/Wj+uAOqq5oII5ayNDZ/lI9AAvblTDYo/0GMb86eUypDh9FURfaQse9qoTo+AxuElr2WiCR03YlmNYY2vL7Ftu4r6+uXGtMuZwbFsBF9lfM4gN5aEyjYfwQLlmtuOXrfxdIRi59SKSVQ7o7o8igRj4pAvouEbvRT9oV7WqYC0NrAqx/XxEJEHIFaJlgqDCEcI7abHhhWLd24koV8CZQFBv/CuKlEJPaIlHXkHTQ4dh6yPromLDkCCKxwV9lGo//O9ujHBmi4CqvOV6hfhT0FuvHbe4/w8wClcJnr/iIQxbIWk5Z5pjJJ9j3QwcXiEERdXydbCPj5gYKJ3Vo3wzG6Arpyb1ZUIEPNEcxa0w5Wc/TJcF1al4stSkkBlnwTE//rC2nEU2zlQSr9cPJ5OfXvwIG86Tl8Xv0Z34FpY7JV6sWqfypui17ve1UY/giJmrSrbpjzf/fZBNqvcix6Yr1B4KNSoJ1flD1VvnNvlIZx+vOFlAX4RT2n7mJfISggNpCttSS5p01b1eqCM/Pns+VnQ2VJSmimL5NRsEj9GJ2VnNsq6LvicVAVXuBWtt21NSQLA8cz0PoicGldRD3hBnZ/sePTvCx5pQ4V7CTqjsXJjrqrI+4QSU8sfO43PP5Bg+MN4Prv4RAe0oIGO0cqThIyV+jwR41wHBO2p25mrv0JSdpwuzSm6PmQ3beM2U0Pk6I0k0CGjGnsy3nzE+GbhDoZULa51CVGaiY66i4HEkf81zhu7wf7yqYNhPvmXsNuIdXOZUr7OSJoYLM2Q5PqVzcjBGzCY1jhs07gsls+OgoUIY8XlWjUS3v85RVCspDODJCoHa2v6jDq5bemi3rTk2+R16u1pM+H8UrWheh1PWSWXRLwUy9+dNp9V7MXq2F+N+5MEHjMGtHotmICI+7KP1759ZHNUlNY6JzWBQOhUFPWxh3pg0QrOclLDoKqdAAPpkvugQjoZBgtOLgLEfn5exK0JB7W+o0bgYXbG2c7blCv4tFxDd5GTG9lNgWskG1vG7X9uLF8CjQXPPVJSanBsBH+qA6101K+kEGkKeM9UtTToVvUk9A9W5GhIkaXC/3LYpJtiCzeddflByK1OiFFJkP72RvglhtnTl5OC40HZJyHJVRs7XSjnHE4x6WJqIWVxBmZnAEB2gqHUXyocdGbPbk0qV4ox87YKFiSAwKZFILSn02BsdsKBqpdqjj+YQyHhYj3jjjZ86Y1fnKQUqow3dcL+EKt3O+lgM0QQKKgeN2DuwhzLsPf6c9hLQWV9vaxj1tFGlFB0C6YA75EWiYVfZbWGwgfERgWYWkJKNCpbZTzORW0ORJXJEIcjagkG7U8fY0Q/4kMgzOyTuNGy7rcPFT/1blAgM8+jFheCxV5h0/AYmySlMUQJQ0VFxIrV8QGCu9xPFRqJOxDSydkDqPpL0AW2+ES/KnDD2AV3ktNifnzUAobdf3tRajpmM4HiHoaOldT5udLPss4fkb4O4NU2xiPPGQxY8egeTEF+tfgikEwbNpS8Rx1qKx6Ob8brflocGY4ODn8RallJ6SccsNbCVHXSK7GczJtjK4uEv6/SYlUD/r4tqbf9vgTStZSvv41cbct9JdgDVbLkFQJ6CiC+Ed5mlQqZx5Pj3VLfKF6EF2YTlj/isLrMDHW3k4I1snJOPCtyBP2H0uq/X2GMvS5y4np5xHY4BY2gk84KqjahCXinTKWz4gM2Nf4MMhFThhPYif7+V1Ez52Z1e5w1o+nWdutl3i+FYaXIEn/bXPE5e5l2kdBVf3bw1a1U+kMxi8fO8TiETx1CKU3NZIBk3wKE1ERZ0WWHa/TETD4sAsCm0zX7EQzx3x7thU0UxXJBedkUUZUgiiJKVZ8yE/km0uW5gaPTp/Wyh0rXoR9yU/ehIKWy4J86pz4WrtB0eeCRQCsG+WczJshKSZtOo8TgiSoQdYzAwqhMpYhmuyPCvZ9QBeNctNZxvUsVJvZIVlfM50ZvorHesi8Z630K8bcqd6x5Sioyjr3TEnq/vRuMk9Fy6S1IZ0Uv+9DDn8qJMoBSPPXZnv4iqOY3Go96uxgQBOb/a7kxz6nfDo9U5rvoEIpxU9k+cJNgS00l8iaCtRIZHO5wRlzJVBLtl0pMD+oF+2mLaeNZ39j+DVFE8HvDlpe5nNZY4s5EXPr52G0Dp+SFhIXV5rCAdgytNXp1fv4T4DAKPD220qWGQQU63ozdpQTd/v1/wprmyVY1Hxc/sHYWbBbE3hIX/bYw8owhPDgV61ktxvEiks1I/6jz3BRUNkhzPlhXgx8HnxusEOKn7mFbHL3sGH+TLg15XQy+8JSTMAFLcA+Cd9SOwKr6vREjwO9ROiIO2EGX0rp4aFRoRJMcoS8XohjylXrd7Pq3veZ0pkCfGQGGz9FZ3YLzU7qnZFxcUe/dOr14wnaPmeAAtbzCLpxVTTcN7n6zJfF01hd6kf9RA+oNd/NGyZJ1a8GoPlyfd5zIqvpsbvjNIG/L6zKSJXQcW4GdgTftuKN6rx43OfWCe26zM/rYIbtPh09fJJylrjsbJ/EKP0H7sgjBz0g/zwClZIqJLiVrg4y3tWXwFJC+gl+qWCp9GUxpJ3rxPMIX18j7tPOpJ968/gQZhpg23YIJlRCjyZdrzNEJTvw6O+sgdv91ULC/ekwx8fMIh0jArqlFayVLIdeMftDpQtm7CpSAg/uV5XYDhbrXIIk20qtgiMpRag854ePeJ+9wNKu6j+eH8ihvmFFQxuZktFUPyvPiC4K7jGI3aLLzPmqMx4BpC6TvZCq38URplEPxx7Xd8p9GjQm33S18isfRgPfJOX665jmMTGANy1s+mGRdpJNkEmePZRG7h8aF4xSkdtKU8noBth9ce5slEOUo2NrytFOTImw0PysZE+QckI6IWU0tVSePYyftcBDshqZPdIcOfpQOc/wUMOUBSVZSRrsy/5Gx1f1ITYk4IkKorCybFMPM1mLiv9esFBZbkKq/sVoQ9d02ls7hVbtyDhil/Do8tNqb9Gza7DpHVvQlOGwMZGRmFz/tYKxJ6mMWuNGbvMwWjLT7cjxi/ctc612KCYnUf1VWpjFugbAwBuY8iYmVql5N4TcOLdyzInuMuX75j2cJf36ht7SSsvK7YJs8MuU2brxgJI1MFTQw4ECqMXLinBm4Hd59xaeEaHW/D3e1/vF7H8MDQWJ3zdjUH5RGpPE1HIkRMhuu2W0PcSjrcHifeDkiiPrO/0nwvDc/iGCKW70W/rPkRKsz8NKKMXGHYwWOEnIydm7cSQMyXrSYkotWqM2AnwQb6uUsZEJ5NZMFywcCn6a4fcn+S73ToSa3NsCFNwqdtpt0IEf1Ejt98a849szNStf3vEuLrVOpRawDRCReN2DjlA0kalNKOul8+zS9BiiDvVvCbGOcZMeQvJM5cWH0tMy+B6jJXObVaoHOS8KxB9mBHZEgCido0yWMLuLopL14ZMUgyfmxaItoxjoXq68Mh5OizvX16tXBhUHGqe5zjZXbakfGz1uXhnIqt27vxIuLAP6QrJq4xFf6IH62t3NOoA9IcqBq43vo/A7lWgTOJh8g4AK3IDhHgKsvW7Ey0H4+919YyElbFo/fjVFHKN5SOhFvIHRSHT0+S0+HxL5Vn09Box7f8QqWCHhoHshifphZFL42E10v954TEC8ADKzzZpU3pg+mDiJsu0yuC6pSLGS+kWD/gRWuE7reY8DwWSWHuhDOPXkkvjo4WXHILl8UnujnGjL8VxXk4I/0iGWNkrc7gHKHxU4DXKnpFj7uqQ1q0o6vHrfn+D3IyGs+xZrA/9QH/1zrVwbMWghiH9KeTBh8CSvu9uOwXotrDL4jIiWr+tJ2Nd6ZxJEmiy3EqVU1zEqSDLNDsGeh3QGDVYE1vkej9Jc9dUNGGBs/epgM360cqTfMUala/4eEV7NW4wJQbQIDKFfivIvmO9R/apuLu5+iWSsCb8bDK1641n1SKLIUykfzmbz1qR4Fvcx5iFz01y9y6RQapMi8y/Ew3PnBtumZKj/HPmI2ZhTWc0zlvPAVob2Aac2G1GGswIGU9MTWo6CQg9Gsd7L0ek0vyo9FpuYltDnbE1IIeQrzFv8eaOE7eLm+a3UWgdcL8gSdXZRo/OubceMSB91VoiHk4kX2AUWXR6SwO/fW1BbCcRjYt1x6Shfzhqgx/nj9LCa1JkM2NJVeaexUNSiY15cTe7cUHYrPv7Yh2inIXAZpfC99gAHQeDHRsXAqSqFgDs+qn6+Fh8F3uW40RjbO40VT+O5PJVPUvxFaB8hpcd4vJRZrxGjJ3H01NjCr4mARrxlNpNoOzMfIw+MqspwJ2JsKB95UqGy4Xt6xHMBXvvx+gWVY27VDsl8nxm0fexUEI9Oykfp9x8+Tind71Q4gb6MFGnj8lBkVxc9kWxVn3VQiXWlETve7Ts312TDGqVaRlhgExwozljM6FS17tScI9MWUfxpJn6wlASWraaHkhSZbjnuFs34KrjTFJfGS4RQF6oOJiKpQugIUi7j/kyTNkezzFbpchaJ/jhqYCJRnVEKw9REAcxKPeZh9LKNIa0g5vKe+j/IouAAVhTw8lVJS3ifu5DsEn+uN+aYgV+KHs9bkE1N1km70XVUq/toc/F3Ex7aT3tH4Yx6hi/ZMKWhs7tVj2coMdwID8yBcXMZlwhlbVvvNVVcTwNBZElPHIVSQGGxwBLyrVaBuOsLPt508e/UbLk5C+/IpmsM7I0Rr3KYgsXtuODSGjRmD+irROdAI89cVBNE+5AbXJKdkQKDQTLWjYU3Edex/K9SLmQuMyQD3TTfiduUNuPbTMPOKVgubRVkuJBNkj/wrQ2esDEDnE2A5TIhyiDujXlfpVadjE5Zf18NJNwZo+fA7NT8BjoM3gvVlSXgR6XLsRFTt5xNMmhgPXdAcnbFglrhNqvKrzzrPKLErFGPM/fS/9JalVmTMoytiJUIq2QI+M8GIQngGKCcPqk1Gcr1u/hW0rGjt/iXDTfeyr26J7SSHq0RfDzYnA1EyDznF+bNML5x/aV1lL2UTUWo3GTevNohjEXdYdVM9hheZpAOhVrpHmyY2EgkQ+GDxwdeGJ65Z16JnCDOeVGBcA3ILSFeWobEEt56L9nvM/eDhTQDT2CbVZR8vVpvMojRVNt34PJwP8uSb5Ak1OT43piOLxBsAOc28OYPfq//JdH8zOBCjdaUYyGl3z/33x4BNTM90jtYzMMoUkfP83PifSOV345/taH466g0QXQAGGiaP58C1HrLFGEvavNDKbu/dDvpiGgyU21WRad5YzBFVzme1FrObYqgNu2Q680/s0qQCROT/MODIYbda66wMHUMJtV01OSWJNiVUJnx1CymAh3Gsk8Vg8gSR8dVKHtdZP+vxNaPJpdwh43GZI5xLRi44Zy6ugT5l917w5dBzb/5CJ3WLp1hvmRl2R0T54OKH98EQbsVXprg4nRKnyTmFYAgMWzfE7mV00vHRqsiRmwyP318C0HrhcorWZkB2QXCOpbUqsWztlWA3doGRm1TEZkNLxo3e9h2HjVzPm5/WRrbPvecjKz5iR74nGcB7iU3xbcCQfUhpvVLGp/z0D2s5yNwyJdEPtLoaY/SgxY0z0W1HodxQXzKtQslDNK7Ld+e+hlyZx2cWa7EZ3lXrH0MwDTNubGr7hxQaVHKokFR4ubebf2RGNVinnSecuLX2ieAUg8KllMI28r7QFgp5kbRE+juqYHCRWNxg06vKSQBOKwbjTb06cFuU8UutCOkQ9FDShAse5ol8aJQGzqURjG03uWzGGfyGeDQCeL4ukBE+mlE7J08vnVUzbirU41HLkBPaehl07u0kLRIR6HcDL1qbpSCty6NMQ9fEl6J8C5AMCcJsE5/rQE9jheAmL6Pza9z5rjdPxKFS1S2iLzHNX6VPuQ2QuQhEn3GaHeYLkVxpCLCYFui6xc+fgqv1u47sTlFfM7BCiXsWi178PObAhn+ElmTiFOJShGhTvHGCRSaIY3HrZiUuc9pDUPIIckv/a6SjJhLr7H62KlKXlMxMgBtvumJgUqLULI1cqjllkTfHPwUoMkmouU2aPngNuofJpjOgNoNMaO5Q+lQRyAq/1sEGb7snxMbbL82V85tq5aLmpFU8UflkRyIXYBNR7vP/E+Cw5UdpW5Kd6iqm654YrauwG7w01kXlP49S0vxb1os1CXHGZHi+pNyIJZEYGeMjM/nadI/TGWF2Jc7SVgZsMfeYGGlyhKzpyEv1qdA3j7UeunpWOg0wclsOgMT5RNzeqYOfYvBl8M0qS09c21HCUE3kKTpoKuwmGkpWN1U2LzXMcqtLl0W5xm7ww2CThNc9LoNRxwxAN2KxtNOcwnOyK5mBVOv5U8SOkEBlHHv1EwLdDbLhaELvp9Jd+yBaVopYFY/U6LIa+M0a5gLqNZYFzFAC3yVNB3hhE6vPeM0tF1XMqQLRb1od0VSYj4c6l6FWo6gti3DIpQjvS613DKQuPNRa8oBxcHU8Q8VzTc69sjRmwrtKoFl0cUBYQMK8EyOzOZsdpSNurmCTwyPhPyZp1cmV8BmhIjvUGb9ZMF79EODRFrPpPuDcoeZ5u/A425X2oUmsuOjHQnUB8yJ+Eg2OdSwCAg8xUXQ/j8Zjyra8O1jgpOWs7A5+jUrPt/F2wofBBfJ3mczllwv07qQsjPUI4lxB6O28bBspuHzhgNv1VbAkmsxGHPofCqB+5BiGBML+xJsJjDnVDtuzHDIA/T8cdbwxlB1u4AUvDEiMzdzPLhoLh/cJS14Jr9DO/CoI/8N9wFwPL2k3LjFJfmBTBPne8/+TIX30+BXAmyM+f3SMB3M6plql1+bwnXjTRFbgKIUg1bctvw49282+gfYtuJnULlLt17g5cfrRc/gm8FBXMj92eAa/VEiIp7CjSbQJ5NXkoGKRjamWar3g9mxayWsoa3FKS/X3PADSD4pU5ND1GZOKttTyDyvWcuj3uQMcGd9GocjNB+/6rqvLRavIYM+uku5vjZrMUukDwdFo2uNEXwz3ayq5O5Hb49eQRCkVCCGGDDOx3kmqNzu4G8ESfiDyblbkF9yD4vhZuXAaAUN9xR3RF6/qZ8LqLrtQnQow63c3IYed738JmiFYFdo6MZvQ4LXpuFsd8HQO1YXs1usFstpaHh3fb7NU9Uyptm9plilg+gBo/7Kwz99x5wuGZozCGLdsMTmcbDXZ0a4X7Uy0DCDOPuLY++SPCXseQSbJd2DG+UoFUgEvbh4vbW+dxhDCWxAvktgx+cnHdZVR/0m+WCXKL/gEsYZ9ieGyZA1aiECgP3j+/AlkPTmaCGbjOjsfZTRs3cWnWFtwNjHTNytSu20L0VQgPQroeIY+WacGQzhK3DMWBMQKh1CGL+P2CO8lm93bKqMyPj5QTEPvIBVAzBnVP3IygbmYLdJb2ME9BHUZWpj8vDWMz3VBGbmLOxhoxm6tsJjdkOgPwqq/B7P0DXLbwwUni9m0Kg+e5fP0SdGJLjDSyFYtX2z1SNi6lh7fu7xg9MNvcVeY5FT3EewQWhPFsUYAbyThvU+HRODtXC6RyU4VMxRtjk710UNTWNWvPTvAHajiuDEUOenLfLH7FOZ09cO7qeVq1j3FVetyY6pULLWlrKn127sJ+M4YpNpbFIp+PdhE4+4cadF1en74489pZxYjNlKQXSvPKJ9ApOJLjc+ZAWCbvZ7blpTRJ4IZNq4mORsMxuwx9SaYikegU/s+17sdpoziYyk+St64lK5rXTgypnld2q3p1YbQJl4vAfAVHEuU6kam1UfcL4uVZV1i2Obt5q19PXDt/9jVg0cP1gJcWpMCs5QlxjXY9G9H0KGxpzKX234zlI4x6Vx/dqK8zmMC1DFGA+QOw/bgs04vQTBj4n1V0Kzu4soC12R4h0AkelwAmEjnCIxNT2MCus0I7aWFmjmjlNCSJ3e0w4AFhyip67UppBfuCAkiW51n7eR2oK08cGCpoDQEzfOy50hBey9rHDXOozNc0zXcyrcLto3kzC65Lpfby6/VayPAk29PCnaPc3uZe+5Fhxu9GSLT5CDsjmQi/obhRiryIUZpsOvY/fvAHy0NOZBFajIr95enh5ZH+f0anGJnLhGT++CxsroJALGFOkMYbTvlPhUGAqJZO142G/LTjugxkmtXL6XVGtR2SztgfEd0Eq4eBTc4pN6FLQ1NhIrGbmiSrrLvwaBGklfZEddp/z3krQ9dp9CmJW8tIULyW3/RHRMyDC9TQznXIw5OxzvDpQ6lTJzl3X/UoTVY2H5R5J5zeClfBVv0sljdBeZ0Ws0BpTSMV4/JYPxXCD4Mbx9l1E/MgvhVIqlCyuf32W0EEwqZqSwsBrUhxCmjT6TrVM2SkAulvj9EehXeMPABmiHjmok1yH67qlfD9z/k2ZfQyV1+eJKvp4xbqs4WCWow7sM8K6HkKOHlMXFc3Zh9DYowJzyqCgqxu+QiuZ13Ovqcdkyc6xECnBXSZTHNX9HVDymD2xza0GqnKL4aAVKpfwv6YpdwNWbKSzbpcvC3D8KlTH9+HOTpNVd2jEf7f6oRwBoR+tHtzN+uo2qg6FAjgbS5XfTKt8AwCkgANoMoj4ukykPaU7aOq9oFJZtw7qKmodKFOvKNqix/gCplG8uHYHGo2gNXJrkJY7/jR/wztTzhzaz90iO7+Q50Q6OuPznewO0n5NltF+sj6wapPyhD+ToiTVE7rDSpLE1Kxj6EDsn/GUocv6JY1lzsObjy71EoBAalsu0qQh5sy44qdCitSumYe/xSEsjOo0bkbMJktEnjyiLMy6725LAMaydoVw9iMV0UMUX/HtZEUSlTvkS0WWAv+5yZ7EyriuaQK0EdKmhtqzpK52OLQMsJuyS42D8sG7CGPI5EAf+Ii2tCR2utec51DIziU7MJRttbAcsfDO+ZffHEAcnGH5tLOw+9aP6AmwNnMZNCgwMDrxy9EeuLHU/KwSXm7o4TqFzPkq66W58n2f1E+lBWaI6SNU/6gV07RGHWt2L+uFe75t/St446jTvJJaRwvCUaq7QP9+icHgFkEyqh/pbxKgc00Y9mQcZ6JHB3mL5Q+7f1zW1vjWr2pTybd7pq7yQGqYdTnCIbOww0rvAK/bXh0s1ncZLTpyGiZCdbDpDRwgBxLjNFXrB7x7j+7JUAolgStk0TjsdyuTYC/ZBAC4YzJm1cWpDOoI9F8l40y5S/ABdshWWYVL1haNzfBM0fkYoKr4sXQrOXjwLfBJaoOQF25FJEEkAJlQgHs5pAwh2SxDQcszrP8Qy1bRYpKhwGlCtWQFWCRQCc10UDPNk2tqhHyrWQGTsH2TeSrG8KVgFmFL+vO2C/sN0wjll6rS7fhZIRz/vWQUVk8HqXhdz3t9ijMm7MBSTeh02Flo9WkYX9Ftg/0iyE2oo2m3C7vZsHRIQN77TPMYl0JhA0utEs5LVKwBOpowuioPUQVkzRtkmga0Gc9woJoGjFZ8ZRJQAQy5qN5F3hVyZeUM2lMPa8XdB2HiBGknAOSszeva9wwFQbqfsgCe7RRHMlwYXk0os0Rg96zcaeRnkohmP7JzVadvQTV4erioUD5aGA4n7QU+v8r8wSlQZAxR/ry8L00ocFFDSQ30kdThFZmT5/s1UE7TkGigX1StHAjUdXfhRdVAiGFpzaBVqoFnzdYyT4tYu+P8DPpt7MqbThHg5HA3RwJNtFHall/rxAAykfK1GcJeppl/tOCuMNzPxVu34H1wRNCAz7VxCfIJ44UpGv/7gcEgJmYMF6LDfLax1YdbbTjAGgzO+zZmNxJ6c4UJ0ZOt1WvcI6+X95Je4JX94sZgGJfITf0dnO9HJPQtQ2/0Tk08bxhdkhktjcudBIJnpUecZEBAtf38hm5z5TCwlzPSerttN3nwU9bnC4Bk+ti2XdvFaPgguPT3JUd8cM8oEp/zlc41W73r5KchoMFP3QeUsCT0PT4xvOqD+TRh0Vp1AvCFLh3FXQnB6jjIAict0TG1hklARgpysv1UvbIttrtZBJqt5Dm9LWxYGgZ0C9sTQ0zbkWXm+zb8V5hdrfYAP+9NLzOM8MDGtWSqrQ5KKQTZGWNZulf2gxgYixm0QKDhB82PwRHK7nvS77+w8hRr18Ee50RtkCqdMCjo0Urb0umYSt0S26CGW2WOErTLl64E8XoFsyzVg+fYzWXbROdpzxgrJ5ZTVRVVKCLjO2MugpS5gnsLKbWiYWtpv000WJsfCzQjRuQNLldXTB2C/Hy5fmpow0o7pTPEGHRFCxTfyvlGU60d5mfP6KXK3gXUVnMeNN+Vzy6/Yayd2yYlG4wpDxvF6bsIzDtDQGcQfu8zj17FWpaXyBfQaoxjGJyaSW8AhCZrHM4jtKdwBt3IAN1mdC3ArTBdeVFcSbTYGnZr6gJMeWdMMylHwf7ZcJwaDknGWGeh6IeZge/O3cic6vXytEuV3WEFp6aMmDa2BYVhRmMM9GxOrIZCKv2FOGJ/Fy9tOkKLKClxQ2kxg6MMuGKcuEWpCyogrcq4ayOq81lyh9FJANSjztW+6NsilVAC8DnDR9Fmu8W3ypNsX44T1ZZnUta3z5Tp1QHoBVD/4qOMCrnxA7/aYH+cYMfahDQlC/DXilTpVg/tr/99mVhRT8I5e96PJW77pos+rb2W3BpBje0BtU1vp9kTkkIP0cBmGQrbtwAyH0GodNpeaWxtHD2rDbBLii9OO933Lg6vI7YCbHAqANJFZTOcdVF+HPvW3VhJhS8ctt6/zXmuTiw7cCtOD/tWoofqT7cqzYNNxHFCVI/5NrTUbXTuDxT649dnHhtBYWbnEsaHMC43MEAs/pU0hgy+7MkNXTskJIasmuvcQaVBwOgtG7FtHyMLsK1CPiqiUdrGzo5ePw1RRh++u3MJ7IokLF/6lw0ygsNeb8zXxSvfYYmP+f9pzd4/xQmKbCwYf3CVM9SraEBSwpEXeL5sAZbz7FYX4gEwBBQLcMjlBhxf8QF0jwhowVU+/JxIoS5fjZLt/AGO+rtYg8NEpvcWVyJSQ/YIOll4HNE7AP1ISIEe52APY5RMcS8iCL4Pe6ONmL875bzsXXL2Uxg3aBK8W5+ggRQi3rH9+1k6TN3O3HX4hKXmkSQrEQRTYIf5CbP1Fo2zqN2lC2hxb3p/WhSTrm/w83JfN4fBwgjt7TDRvC7hDX9VB9SP+r8TP2yQ7SCLiH0s1QIa8J1jejD+LtS8bw2GknHIPMgUFEtCDonRG+NyUvfOvy//N4Xl3AIlBTMNNZAH2Xh4nP73Nz0CjHZHknLogqnOYR0ALZtlhhRC2T3LMuevlW3eyojAdc51x6zPwbMj9XuRTuNpkZQTnH4X75jJhPx+NADugWpVYrJAug8SW27UpzbanKsOkEJoqXjseMNQW+RM2N+LwiDf7FcqTvbaAkwOeN3wQ2PqGhzMalXXJ94AaRvIpiC1B72AyNjIe1hpvUv3jNE6kC4rNGY/Ei42Gsb9NHS8vruQjViNHe1Ud9wZV66Qf1Fvkl719tN0of86szvmHOIs+G5RFjo31LviE2fpUucSifvlyBfJQhrrm0i7Y9OpdG14c4kRlKRNKPGPDQbR4Bkw0lMLjI4zCoPtp6ZmPM+SFERFwVnU0FF6hxJs3AvQmaC+ogw2hl48EGbozSBSUiWKQhAAjPtfKODdrmAGBP+LgAq6chohr0QNGEDx1221AoVj1Lnzr9o9NIE31h6a/qqIG6ysduwC4l7wBryyfcxBuVrj1Op/SThpS7zZrGWG2YFs0snDKGzIwHkHUJ9pUmSRuAjbajAJCHcZi4b4kpRsw6bbRahvhF5FTAqIzc8CzcO9pwn/XCU66kEm5GOzFkY8QpkQc2wSBArexdHBZ2maUQEyN84YnugcNdGAtQzlhh2dDmatVt2xuugbBLtMtCY7n5WeKcc3jAW/6Ron8K/k0ievLjfJzmUn0kknV5UzSkN6GJ9yPbRifq0OawfLTeHzvdObtvbrnOA9qR6EvIh8gSgas7msumaFm0gEyqL2NjVzS4WRdWNjcVDs/Fbyx1ydz6NvN0VUpdl8xZxuDroXPpvAJIgefPZPECKQKhKYx4Xxe2wlUAz+6AOO0318mOeEWUlbS5jL1m5bvjDB9/HAaEMHKOLRwQ8tAgQ+2AnOhYocKoYca5a8/gRSeN69g2K0qxU+YDoIY19rALDbRL2bTb0WnM05+bDQHrghN3s3ZT4DQTD8OlondVqx075uPcOGIwAgqocLfth/YH+DMd6nVbI4a76LOuwGowosi5sNLZrDQ1uAVg0bS8UeTQbq2EimBSikFgEX/AipwFLH+kYIO9ycTcjh4QechUiRPxKKEtu3ZM9RvApeUTn8mF193SUgyDDK4fvc/yUV7muWFJVVgXMDH+GlKFgCwrs3kp30cqlIHkH3vobTSOrDzPUZ7m6QG6ZjsBM31qAvbgjvE9nVoD4t34hImLlEgJ0QQCs3LKArm99WcgrG1dFNHxqTS/CuXj+LMgq3qiy401rdccCg/PfOVSYT1GcUH0fR82uSdxBwVcWKl7H2K+YRBZONm5EDJeOZ6xVe3tnfv+C/CuFFtE3Su8CeGOLEc0devDD08UB2H2wT4DuIbm7mQbDZpwqa/JpcylddIKX5AFjW1814oj0SAZXMzp+tooA4G3rSDmDPGfYiFEbqd3UjxSewdFisdbf7pUNOjA4RJpwgX9JdOWdruTQph5tLYLCa8zgdg7SVu/kxo08UdkjeWyVS4Itlg+gOSJGSpt9xpN/gUTRLd6fZxc/Ud95iv9+hbHK7L2TqGuaSa4/mPEobNhThcaQnOzv4GO0oRoUgW1fGMPbIpKA6ijU3GA5mx4naIXHBf9eOv2PtNizvyhBZ13sUA5f/x16j+fobV/s3sbDOTHEH5iU0kt7VGyhVpZlOqM5qRXTXYL75SwqIhHxpmuaUt2enCYd9MIKq4t60LYUMz5Dh+b+9XHDYqof+zElBF5wVZLDotTL5XmxkLg8SgkDFN7tL4NfV7Xq0toB5Pt7QZPfM2fP8KIdRi8nbNLKeAwUcsoXWILPa9+ybfUTbivvq3utJGdnO9nmyKxp1RPtTixKTs0K/kMJyzvq86ugSPWY1qW4GcNN9vUj8vw10WK3fDap1HeuiLUIqdd3Gnms8MxgbHF0thJExnsfvaBNmK3KkDB4q632eYxXK1x6GsyIT0+tly2SMKUy3wCm+dCw9Ne4PVSfeGBXzfNsLKXGwnzFPNIvYw+HPGiz1egfs744YUQqPok/NPqhaGJSwhNB/B3SzNNhJgWiAPB3WiHTeyqTHce2WXaMBR2Xkta009XTRvLmLQLCeJQP7OgvoNeRbwrK+PytNcc8qQ4SQFf9RDZuQc38mi764N7I8OGLT7dJZhrZAhH7rWGMJqxAQvhLB5VfRNdI7PausdicfYzYIqlf90CV355XkVoEctLI5dIrETurx6FZxW02Wuis09UW0fYNFdTqOclwe25TA31C07xsoOm0TpKU10aojeuvjNKcWjPDCiHlarDdYI0nuwWgHRQYmh2on0l1VrPQV3H/HiQN9hdLOzB505ye/OM8VaWInec6Iyx4fp+whxHK8x0/EazCxqMfk5A/M9m3YQnVlxEtFgNLrI001nI1cl8/bKb7jlSJgqEoqBptxjGLO5uvXuVOjomNm/Z2aFMISFKgfmXRGz8+vje/2wui0IMm+YRje0J4E9HVr2P7KiUsTn34jEbITZn0cB3N3du67fsctgkqg2Ft8SOT1bIdkjmrS6NaoBL2F3clE3BAWaKtrN3L5l9tgTnJqW8ulYD1r7Oa0wa8xYMrf6Ljnqb6YcoI/2Hd8Z+9js+WI9wlYlICCCFz4bOn5+qIun9PDC7Oog+IQ3hBkVR35GEwanz+hk92r/Y0086i2bPxLaTMGyh1gmtxKunYoTlcFzPx58XJS+3FQ1dEqnH2XCX++72XD9FhhUD23iWmxZkuHSfNr+yLV2SN0lK1XLFZVdGn8mXG+/KRO/U5ffzzylwzKQ2ZRInX32Bl1rZgEGuNCOnxB9gHfx/v44dsHvcwSn4dRpYD0Etpdv47uCNA6anDeMqt7W7nu7I/qTWkWUoKqYAEhHMEEVgguiWDpvHaOaobmhFRzChQCuoCCX+l61bBCPJ/MQd5zUlNZbExAk8fRPE+oT7ynv9mDaGOjWBiLM22zrfT14g4irjahRM/RtqocZFq4Yj5LhLN+8qTY7fgmUBK/Bf1USpnzc7RkbhkH4EkOiyatPlgpZzRA+7Mv5sQXAb4UOSOiOfS4WHSGF3G9Hd5o/aOAAc3wCoERlmmy7P3kkpnhWnZFbeBUEWKsFZtS169E2GbZiQDhaj2r7uMGXg7K2ejMOdlYKtxlRe2iUPM4NwEpHIpE0jOliGOrZx0U0QwcGs2N6NK5tJ6tmDSb4FvBb3ADXskrz91mH2HY4VhLhdLHgYF/cQOwFSmqydXvP6CdKqfggT8rS+3mISje8TJ+AKp+Vz5kEHRuD8rlCHSbHb/+CuaSs+nAkHBwftJk6EqSqzHYl0y/qIJs+yGxssCNzzfdujtwdtBvMpD9nx1v+xgTb6quUvG+i7UwyY1hP11Vu6OcqtjwYyknmfsVBhckJ617oEK2mTVjT3QCi8D++lyT+uNLJIhyyUMXQ8bhsYauZSnKuNRCHQ66DgPAZYdB8i/LqpBJF5nfV6leLTP2pBrPj+kP6pHa/LD2hDQiyQgcEY0H85VUL1vDWrdrh2LydGjS56GK3XCcaSB2+EPc4UIGNk/1lGlVtN9aLFlQph9huWueszdY+qlvkUr03XIC9ZnzyBMdPYIEEfLDxHhG20K10IVxI2hMUWUJQvDxpox/5TywruIQZYn5De7ojuIGWEPfzkQtoCF8P//aSfb8SXcJKDRRjQrPwUTX5vwYsh7kDtQ8UW6Jm2v/s/SiIMypAHy+cYQK5wtOjBrjuGLSEUiSjoe/mCd/h1ZI3khJ9idsRtKXXDHCfQKfarvSRZQOe7DThEzTgSPkeJk73itnPup7Ib3Nb86GQ+fiA57TnovAjE4fywBbTEXS+gI1ffLGeCJEiKS3xjx+F6CsTUJaf3qaggUuPsdHGZO2agGuiby+Yqegu10++BMNMwAn5czhMQyJhcWf/xSwlmEL6aitRXhtCZzqCvS3Q6oe/ayyPhJsSb7LzUAB9v9i5f+B6a4yJX3MPj9kfVgqc+m97AURAp4XV6vzHDRlNhZHhTGM7X0XVFx67FsXqm55LKeGx79s9vs8Or2zajxfXvykXf0pBSn3oFIB3Bt1A/Vt5uAxG9PGF6ADzIna+iS23pHnlnv8wMbJp4QqVuGzfnOzTZ0VL/2spCSzMamTUkgBCl4rbCLQ3Kz/DIURqXIR2u8QX6AdvzGDXZgsHi4PGlIPEoExBFUmYWpeV0bjpCjuTW4ZTBUKFrae2SU59MzZnmdrrqOxsptvzl3rKrOvKdYkF1uUv5DX5lq1Q96sTr/9R6W8Dfpq/V4XnVTGA01y+y/d65ey1EDrr7m32H/yhE7Jd1GEMDTB9hq5JLVmOzeDxHBjaYVRRdZUXf2JSaG1dCwzxzsBS/UhSfABoByouddj/IHfBIs4TsqJzgxeFLH7VgEjnlBfW91zzCfwGj82GlCGgzK66Zxc+TnBzviPJHEfJJCOAGk9uHewG1AVgzoSkCTw2sbgy7tbWhl1H9Lz9hGhcWfueIp9UqHKU/kFkokXY8BJW9LBJ7b4cA1KYzYpzaC2dhlPnu4usHOW3rGvvGW0DIFDnvQes1ZYN9WNzSOkoMJknxrbf7sJ1y4aCVLYawzwhG5ml2oTj1ml4/MNYIcDi4h3Xgi2/C479LrfgM2g/7cCyAKh+4OqalyFyaqVAwPx6xdWbP1zzrj1/DhVS+8rE1Zy8UHv/Kr0sJpQSj7RPceQyLwfHvOg/s8W5jKV9QxhkxMReSWfc0wZqA7iIJHty4euqepkQyA2dCtyNoerfCq6KCw3LPnaB/CKO9gw51+j9/vYqZPyfLHWJ/z1BG3AJ3kqjZNapA73GoTOltOuHpSuUtYPuCslxGM9aiz/l69MF+ei9bg4zonX6uQcub7jE78JRZ3VN8GgS3IB4eizet/XpZMFlpkVl5wqg0Qf1sgvN4FmlAG6CrMOamliB2Th6QFDY09NC+Lx7k60fVRoNBZnGWWPWIR+42EaeoxRvkmujNywtPeR8KPGqh/sw1tLR7W16OgNr7w29f5fHkDbOAqqyKDOQRWuecX/iwKn4RWspYqb+xqzDoQ1/tZbf29Q9A/utvKGWDRcaOMGqHQAa57oVb0mB5A5nAjY0nEw4E0Q1FrM6CW9CD+swZHzz0W7mrxqWf3j/R3Cx6Bq2VNIEhSHbteK+TV49iqnfaimeSFLkMeuWCf5moXF26FYTJ6yuB/xkF7ifwvo8+te3Lr9dNkudYyWWokESZkG/SiKx7534L4a4FkuQcnXwutQOkCv5kj1xG90URfqhaC8hx00tXQ887SNn+iRvUuXDqLbWw3FQh+qyMuuktwx285XUI8IMUbxXjDQ+Y6maux0/QcnUMuCkJZOXAWwvyyX/a821LlE1EQOW3jvjRe88kMJq4s6707zFrg+gtJFuEPx93geS8ebTVi+oHpFcgdvvGamPyyVbSasfIsYZ3rzBtKvUFNRxrRN+Bd5idn4UmwNMmCwq74ahd40P1zp2IaxtFkrZwoWwX9GxSPmo6V2QUpwjqM+++xRZBWzJ5q68qdUcRlyDX8ALGGsLepyRM2bTBSrJxiekw2te/IkAe1sowVpwMBMYrPE9PlfQsDbN58BrccfUi+SNbnGnhpHI/8aaE1MPoJxKhTXixfF55YpdW5M/Y4buggpRDd2Ns9tqZt91Za34YpP+Es9HGgEXQKkeLIcxH2P6SbGHnFIgyJqCe6eiAbMvFTfARA5R85PLooRxKXQd2xpa2sqMqZ+MS7pSryh+LN/6DXzl59/46m9vfepL4CpVhUrm/rDPK7j87G0CZ9VYYZKAgSaFrMnNmHwVxlaWn4nOFpT4s9xJodmATH8RA8B2mp0RUTFQXb+2Y/IieM9OQzLY1Cxe9fEPrzhCVsxLgbF5K0ffoE0W1TIrZCZeNFLgD4saEpN+ge6e2PIrmxxQsnz6uju692KgnNCS0GkHGcvXPXcUclYWbSip5uRgl6UBhsslW749/MzY7dQwVSiqVK4Ad7L4h97kld3V1erGD/8JYxSepvL+QJJo3l3ffjt8XRpM18W2MslyPYewt+upLMaFoWwiMBh24AvzqnPPw0qIeF3ruvE8FIkR2Mb82i1EecTUWKrqPjjnPuwLw9RttTxSNaldDAUCI+pGm4xpoI4a8LJ1DFCDr97AKXO7RLlJgrXm/fZulz8bIwODoeb2HUDz6pDZztds4Pzvr3Loowk76PG+DrLUTNV4GSMJc5lSo6U3qj65A5QCwK+o3DiCWdOBzVmNa/6lK1eYJXDPQQYA/f+539awf86os66Jl63znKSMpE3UDKDfT7thQ4OWe6OdfZLNOg8GnWJ+yl7dfWb8JpxVfQYJNK49cs2yqtw27ehxrq3zTW9YjuI16Z53xNDVZ3k6b5XOiKmlNLvh9u8N0zDpf9lqWuZFuLXSiGha2jREKMPEr8UJs5chpOfPu0p8WLXhcKCBX3lm5R2Elx9XLwjaejgrOBHxsuCrkQMO4FpBW5p9/5gdJ5LuaYeiFwC8WyTWajzGt/R/474Q9ztQXw5hbY5z4Dzad2xDSOii18ScXBPSrBq/L8fb4MLVb8nFeXKlC0X7FiceLpcU9rttIq27PKQSmKEJTqGUVZk/lVVgkH+LcKsbo2A2PXX3fgeh5FWQ50r4n5GfEmA7D51Q9GKi0E/u4bkXYyXa0PRo3SwCpYAcn+FkJsmE5Ncnq29Ak8JcxlpGoUnfvBNK2dahToLnzaIFGZeczDIyJa9b2JfbHaNgfxQhFYt5J89OgAaXAhkmSJW0fFndymlFQfq5x+8XqR/X92eTJmDxD8ptHgXnYKaNx3fucYFsywnwv9ouYLFb8/0Sr9xpMdHWWXoiAjQ0PvrFbQV/DoAYaJOxqpgdoN9eSdqWxiNXfTKdo0qjoOvH1ozhr+NqiOVc0Odx7m8ffuE1Nlws3zhdWTZ3GUlAgzD9FLVUVm7NESuhbh9rY69T2HrhICn6M9VJteAYU+RIMhNM+6BgNlEGJDynmR8rMqRPkXaJWMXSf+TADGhE44Eejxt4VsDOzmVj49lVSR1+HKAUsSCqfosrmOVxtijKybnyaujdtRzJOzhhn1m/cfpRLA1yMjMRhwH5vWwey4oyTnL04FKbKo+tvR3WYzD7UtHX1V1olQidIBowleG30R3cWORTshP73qTejONJcCaimDcxGWETi5ui5f5m4tOydetMNjsSdPuazbZgabjMaoRnHJVHBqH/MuhsHkFrN6ZwdrZLdjfoADDOk/BLqhja4/hiC8IYwLejwvLXC6neI6IbB00Q+X9cYr0FonBIJpoML0M+rHJbR+3fPvITTwa4Oi+KEZnjfUa7FO0j7s4dh7l1nArzM1at6vyFWpOfLsxFAAYb/HSqhZx2DKVZ9HqvHH2hZz2gTs7s+rrTnVo6Iv52Go5nvyde7PfEt4D0fQtRW2tqHFHeLCTdwf+ZO/LZgqqJhcw+yg9C1+K0DhSanY/8r2AOcC1Ghy7HLUOGLwbIYrPzrBCuvSuhjd5qOKL8rMAayVEgj97mfAt0BcFc+bhB9/SJSRrbjSeDYNt6FokRbcBwqN/I7fZWFTCGJ564szxvpNPwUDcs0uM9EblCQlIotuI6ijGDteR9dadlNZBRSJmz7L9kJ4VM98I9jyy2G17laEfOS+HM/sXyZGnNJP9tjxQrdPkRpsviU8Mwy5wXtsyJiDiNhUMgUTZvA9TmgaNaQ/9GrBAiy7MGF9i0rsooRsoZHL9R3Erhpxb09sqYuce1q2DLJtHNhlXWs4JWovfp7BA+ylApTzfScKEeRczRMeWPqP/xPXGQUDZdLZ2HaMGZqRLXF1HiQxohhBIAabz3ETfKqU8xl6RhqFrYVq8wHsLPocthAVgER7lQWq7dp5ZP4TFLkUhnYPquG235iyNrfdCsLL+ZV0XtpvtN8TpTMd/8BLgSxb0kksOiqHRPGqIUrZyR4uu9sOZUF458CAXpqk1lmc1SLHy/sp4aRk3/Sbizh1dVKyxq7OAmttOArg8A1Rbf+k8/fpnfsD0V81NVSCb1rA28ZbJW3whbGy+k+IxJeENyk/f6Jmv4Zuz9hQtefLcBqkMXChzec8Khareahk4kB4s/IWqOPyXdZO5bz0tDBr2RtlsyhchD5k+FOjppKVW1ayhh4MlaDLvMAQys4u2D1hVitztESpmuAzPiPm329bsOSZNWwzuvYAWmYrEPDnCkGzKkKjRTNtF2SasoxLEvN5PluoJ/ANJbE18SiHAiGeAK1s1+b3LWnXfwJVq0vYMO60tIxyd/B3dxgf+v21E/XaegQ/xYTLRpC+w/MXN0N2AFUS9g1WnK6bEhxJyE6M6tTjg/SxhCbP+tPPYIx76TqpOCJg5UrG6eCEKy328pYZlb53wIkiqHQRZv7HqYHAZVizduUFlRHMn0yb+qPiP66topCIpN2zcCnayL3OptQKk11B3wUBe/GjQN53YMKsVWOqNAz51Kzp+DnIX7I/7rYIyhTnN4PkqmvldZARTjeLSkIGMjjlanGurY0iEzODd4a8qgvatIaS93ta8qQdINX9tpKxAf5w3Fe8lISdtUe0kZIusC5MELjKAp7pDSRdw3fm42sqBIJag/o+jIYATF0YoH48UrowuWZ1xynJ98gZgMDu2tiiBp5klf6oWIjsHrFRkuvfnHwbGywrJ+iwjkouMVA6KaVzxME6hiph5mu3iDz1qgX+RHaruFRtl/utwmM7WYQqYmQu4REtCKVhZXPoqYnCaFYW21GhVKx+n35djhhC/mhL0u8mB8lPVE3vwZsGCpnbxRSEeJRNz7iM4sAlLDo0Ejf6d8eEdA0BkR/kxa1jWPGyBtiPitga3kiNhpsiKQrf1/EnuGUNm5i2byyzqSlr1s+O1zgd2FYF2lfLBemV8NuaiXsDJgLoep34ZOseF68cN+1H93470Zamorpk0FtldC4FY0oNH0Z3BnZKyWRGsCcV7hkVB4EA6WkYo0fJ6LVfOhVNn9lwC38lad5+p/8eLN4sOSG/iQmIQdDwJd6rwlediX+jAW7XmmKdtwFZ8eDpGmywEChqIsag3+KNilXcN5Lu2Lcr0tDJvxhQxv6i8GVPBhdT9wsJXwXaQ4WvhRXzd96OuZmkl0TedFHS4c567is/36gSsXxtdl61gOnv+jiqKKbcpwtq04WFxyF/0DLQlzQdk5XtRRJbOdZV6+PY2xEl4slnpAg7hK/69FvX1NX/dRW0Pp0dx7e4faqqyS6MunbZzZSoCjMhHfBBMc8ZCqL9bV5YfS3kxFKUvubM5BfU/O3058WwnG/+qvo8+Y51PIyzyptumCaokV7ZJZ09+Fs+1Z0Ju5Bsyj7+6bHY3wpwhMk872JfGU4qLd6Npla8DuGxbvYM8daAr6w/e7pSqOhXOGTpZA0BujIJhhSkcyTWC2awbl21XALTqPZqzicm2QN/pdO0ZIxTICARf54NwhZH6aW8RpxnQZW7pMPl0AVsvQ9rAIyvxMA6Wnv2PNxujCLrapCQYTWukoOe1ZhGxi3NTXsSDyWqtqsZuARgv4Z9B9lImxVyAOO5ak3PdlTkYeWwja/pDDRDSOk1lQtYGiyKxRKwMt0x3EblP36EKvt+D0yqPbvgtHWsQRN+B34hR/qJKMmyaZ8DDGDyKTKKCyAuI/8ga4p9VOLvkZy+cHVjfExrSLepDFwB7EMRJnIoF7LrVjbcC01Pu1dQQtVhAGhdW7hTlptd7hKYG8qvN8Zj8JI9nAK0fATxnhZkwkb+KMSFUCHp/0Jh8T2j/Wi+y+xV44M1tbP84RuhDdanKlpjOO5yx8ZFC5cdsbIlmG+m+PtoAioUv3sncpDAi8MoDaihzgMpUenrasCJXyUGeD1t+vPzIOLoyHfaQ0aVDl+vUgcBDSvN/Hpbi6vQhrmaRisAQy3uWpbFVDi3YspkTEnN17fBdN3SfybfKYR30urHqu2mtYFRnQH3XBLDGI73FQ9TWO+L7GJvdCaNH9CmDtUyrjXv7/HHpQ/2jPcmO54Bp9c5ANB8xJT9x4asGRqbfiViJcfkSlAdgQ085BBttkhFdkrFH9ycPMqyUq16//Kqeb8mnb3qtpf7t6QJifUDm8U0MZBjCEr6WqW4bkv+WKOs9oRt9z+oJQd2AuGAcTzI0FtiKq+wixUtUOOk+Pcl+erSMRkD1VNhiNd435+KQCn8uzUKlzjRofpdnEkBtzu6rwAY1+iPWIbOI33JpHiAxtCEiDdKSkscTrM0N1RUBpS0BwyXh5dtT/ypkxqlg7rmkdie0OZugN1pc8coczUMoas4CnlXyw6fcCP6gHlJkKgfHqy+sQxHk8ivBEPHJp5n643RSk1dsHY2De0g5eN2z/y0gWuOatUpLO2Q/Ciz+UjXGGw4XWAaBcJ4pNs4w0AhMnw1S7gbj6SQA7T4u4HVk2L49mi+0MNdXKOcnuPhn6KdCxjLXiZAy/t9Usb+gG0Jn0iTo0h2y5dDzvyjf5NviR2sx7xlBiNTJUHkBSxxS8cK7IRDQob9Zw5JMfE2egaRAyhnI8WbZMPfrWycH9vVgUlyBHQJurb5ZcbV2su/SOTHldbcRdGFSeElOCVPWnlusWEtvN6aNtHdGO2ShmbSs2OmCkqc9yIIynX/tX7uBPQUjKxRpBnqRjePujVLt0r1XbGqNnwLDt2tRlXDWumK07LG8q5SyrrpWf9CPk9mX4v2gTWBHM7qtASp+nlt6op0APzdJT24cRn20GPCWsaD1QPlyPGsB8NFgKSJG1WWLS8wd4MZOCrAi0MTjxMMd6o7+/Xc7N9fGMjHRcuwSXN5aMQzSdSZCKKBVXHrgy3KMAJJFdG4LvMJT1OUbOyLIjcnKCko9TOGANV6kifLv6jiwA3MhaAOekiXi6yZk6hXD0XPgoLp3w1YlCpUvG50w2HxbApPG7P7Vc2e/U+3bjZZ5w8EtGvZJn8d6FjmrJOLm1e+mVxxfKuNS/N2pWfX85FraiH3BEF04m18upCeUMUnBvHY8svRC6XlrZ1MiM2uX+7eLnydEa0IHH7kOcIazkgyU0ZV7vEp2mZZ3G2qkVhF2R28Z+u6DBtgZh2ED1cYlRxfXnknXcIM6A1rCpEg8UNjXFIQc0ppmeSkyuCre0pqI5QqpF2VGhfKRZnZT7FYrzcD1wJ3WUYCoOZhwUriwxgrU285o8FpqWcj+G4y74lmAjNReX2S4spwB2w9kv7pbdSgAE7nswrpo4yYoMQuCig8AaMqZCurf3sB7UF6b6ZYSSZ+PTW3YedVUnECAJTRXQbRe10Pp3SQYkdqwTrHG6Yb2jlZ+uAXlXXcVpSVpG3K5AoNQ721KYM3Eq+L7/sn4y08VwdE3AUAj/KQm1dEGKqtTW18czwfnfTIpBDA/WFgkzRG05M662nxW0G9L7K+ScMmm15kDDNFvd7tUDyc6jdWJvrQqhW7GqQcpI+4rCi6a6UbJlWogsb1dJP3o5mSccpl5ZgpfTv63Mzrq7oTUGMMXmVY5480QRTT95gfPZtkDdKxOuhV8UEQG2LMdclTgQoVbIzKaXBsMC6bCDiL+GtAU39qTMi/j1TuU+PaO3BKlL+zU2UzROVHB/nRbJ7BUXmyVweeB0p7n8WYLIKp6ab+5bH7ocALWBwZPXVrAjL0tk2/dpqj2D92bcbKPcaMZaSv+PGzLIaWCmXpzJTC6JksTOjL1UqNfj5jgG0nAAUk0/vUdD+SUhM6IMs0yXO/jNB+CQcYRymxAMwvqRUCo5t1dWFK1GcvvcqJRpPLrDdFu0uwU3XOMOutFTl/aBIItYK6NrOSsa7xoYTj0fhi86EV+KK3TWMXsB11fr6JpJC8W/T4lTd+FHGPSeVotiYIH9CS70RO3BbXvbBua5VpVqT+Xl6wvtHtVzwUS8PcslFT6+baifIoXgdK0tb1E3S4P7VR+C8mFK1ahu2MdTis5s7JloESe34OxKwAsrbLhOOBjCNo4JAUe//chZItLbl0DpGvnhMSKD1xMUOVrEdxZ4tD3FkF+gtAG/XjZwnJxcq4NX47E4g0G9YLFK/rzCMs4rWvJIWzrag5Q+93f4aXr3pREuUAJZB554/RYt8oT8E7BCwcZQSsf3C7Cty/08bwX8E45fwcfSYos9CLNo4Ll4EYYcaCkqWWrbmGQgbXx+Q7D9GarBrvSJ2BrlruriUPH9PqO7+fAil/H4FBknOCQeanay+FlRnR3Je8mF3uVjqgPfkao4OokQdqvnX/6gYIc0sGkCpl8lwKL8IPcy/7EZ7IKoh0B6sXptjwPG2+7s+eoJnPNu3/L/Mh1STwAP1igaI/jWqb8ZTLMV+pR6Aj8qgQuv9DI9HecgTnuamN5PBhNAK/AfljaZo/CYhcQZz8tiDfgkavZ6ZVNJVhbcG46XEW0fslIGN97JPf0cVpB5w5BWkvpiTYSserVja9hJVjkk/OiUZ4fq4sQd1z008Cuq8hwTSg+KKUB74IUul+38CHGViK+LMvrZ5Nyk5S+dBB7OHkiCWjckeGUqSiavcCyXsrnB7tp7sNS9chh6AMGbRiAdi2vnODS8cAyccPp3mSAC6AVHKISwEcUc7Xz4PyGyPn6TF7ZiOzHHMN4MZ4lPMQcCsglkiWqB4u2IHBJdnuaGVSZg4ZqFCEISEF6H4xypBKboaRVOlHjQWRxfrzgZ/zBytT3tnwsugs2JNCPRVcTWIU7yrehI0jDMtiqoyotks1c0kKc+DuMtWATBhk/sIvc5WaaYnq1xRRADKPJB5/yUnIlKAZ937L5E0CTW+ghWmytPElwJFXZ7AZg0LdrI9wXOO5Uh5cY+X68L+5MQZlR4eUBUt1fMHOO/QogsjWpqmIFbcaTrz3pVoDGbsz0UZs53aQp8rlqsMXKRfT8UsJxzTt23u3rGLJITjENuKP865F+UlmxIenXW3KjFzkn4qlhh/3/+AYAjG6iqnpR/TgrjDcsSemlZ2jG5ud+grWosLz33TB06cthB3Awlp1KPcjgB0oWIcUrWiTIf8M19oatNeDApaHWS5lnl2mB1pT3taFGbL+5Rkseu9JAzO7CLhOk5HW03HfM9TK/NMjt3FyPqQGBaZbUbPGSQibnBsi/tvYfv/ocVRLBLf9xiLz4aQY0efzPi1B8ROdp7+VPqb+M/XrrYEFQecmanX2G+p38i4ZwQH+9pVW8av3e/oTvn3grcvXw+pSLSTJkTGTvsboiInO7Fvh3vQqyBCOLDOgtKk5/mZrOHrd3i0+eItFhHT4ocCFodabPxUC2Ae5wGoRJQS5z+TZa9Qzqtsnb8r8SOF08z2tboFNbY847Pl0b+6Ftv3xxGQkM7FiUbz4zD3yuAj+BJNh2r9uB4+XqHvf7nntZ/rnlolENgJgfl9Dq3iHAEIk9nuVDXaoXoGvfDCgf4XHAtufw7PURFVhOoN21iTEG4gC0t3lKgbOlpfv9euV7Y2BFOluKGv8zgI5AuTGnldalKhryM91VbIacd3EKchwDdCm9Zh3LLqLdTK03VqXEOL4uN/ryaBjiVtxNTrObb6wU/BQVoKNOaCM5y4Y3clxUrwEUxP8FQh+BFLgM1r9jEH03suaREuRL6RcUCRLIR1yjHOTfKNHFV3gFN/7Tvw3IhdZO8hj1y5wC36sd02w2LvqHIrqAZPsLDz6xrHPsgzl4npMexTq3wiOfLJYrhmUzKSp5wL6ckdRE9oxw9K+pdpFkj0xGNVXxliLZD9hLxtUZUtAVVjmKR+Bha7RlM86QPGqCgBDP8blZze9On/YBh05gKY25ArrbvQi/ZG4q+aRkbCWL1Goc6ManLXHPeG7rhJv/H2M/UQ7iMYgh9EWt/7HVKxrYuLh+RjI+O4a0EVF87ZD7064d/k/EJYB0Ax51L8OKdfZxr7F98FM15ACKeK9QcXxmOmv6Uf4KI9JM5C8E6xv6qpF3ZW2PvHBiQgLQQAtn0OyCBP7gZ4WoadF7XNl4zjGGUUC8hvhhbJfRghA+sLb7VPu2gjdM1wYpWVWuog/UxtAdLm7FYIqo9P/KkI4VGx4rWCZ8/mzWsRg9tvO8SjzpHxnSSutXhqj1Zc3C04CjAAYN0ZXqUWUm7CoELAQ8koLZCn//1T7Y9LPxGDTQMBINHQRNLK+lTyPkXLqi+4F1byO4C82KYXQ1GIm6z8B6CecZ85vtHE851Q/gmfRuAPNd3MEwfpteEZk68Mxe/hJdJljan9lAgEPw6W4twznaM3B+eGr0ufsch+JT8MFX4PzhVQBcnWxAf+4UbnQ39fzYxzETPrSAZ8csxuh8zwNYpEZvmrz8hjPu3Vi6jmKemfoFHlj6z69ozpxPuSYa76OZFphslaWIw9ouv7vjqKStitBKaQYCUhXfFliPvr6wEs5YUAyCBYDulkaW6pOhn7PUNm8Q3OudPSmdeWhBZeuomCWk7HoWuu3mB/zcEFMUbnVv6n1ZsjqRKHAiQFn5dRnC9YaYQgKw4YG3myQde1IDMlsKPbWjANF3ceS4joIwpIylYia0b9ojWTis/xEA9F/G4v8Vx/tkVZb2ySFqQcWqucNIgVIDwe2QWQi+4qtkR11cUaH3l8OxKXcWQ9UVwHLc07hZPNNvl9LUypntkdxeSaBjwGWpnOovqvbpmGewnTfeYr3dswKL5qMkDjRvzwb2NW4JuId+xaPz/qxpfsB7c9+8jvav2YLNrwTeWQC363RGLq8qNtx4DW5QurZ28g+MguC8ApCBzjo7kFNU70jRc3VIHWqfbbKLF4IBWUrErpbHoToKIw5FzZ6YNg4Ej6vmN80ZZBSY2MJpKQPZDJJgHid+WnGEx+ph4fDlUxdMJ6UMWeceOeSFnUM/NOPmr+udYE0tVCgDrfqPnbD9V8jmZdzaNr5bEYLR9zk74sAAPDpQ7VOHtnSukLgeuja8CE8tCmXowzb/U9d+ch6/2nh8DYSdfebOMVSZGRM/fAAVkJOEb66mGX6KuzNgIlPiptEULH5ZFzvYkgmDkzW6oofqFk9WUy43HavO6LW6Q67yL7aoQortdae5QXsfW28oClbuyfnahGgw72aOBGaHecjAYk+3Q/P5BGLLTVX8WscOLiLjmWpPhMmAU00F6Mff2Ei+/tKHobfhZb3vNstXb/vuQ4WeBtTqB8PTmyHRajJZIAeD3WoGDE7BMdI9u5rRIrxXIDye5DTv3d2cYjNbyT3C5G+zLPz0xdVbwlHVsYdI3NYS3EYzPDYJNpgpuxI1ALgCjcXjRwmF2WJZsbwcvxuYaS5if5fTusFONRLjcG8nXRjf0B0uLDKo/8MAB/965WAj/iHgW/6LEeNPyPxWHl0FHMLhqgW8aQALf3b5BNWxjht0hoAmbm3z3Q3aF7Ag8zSZa+XL/dl+lu3DCL62BAOw3qtI40rFnyQmxheruSDmqG2H8wRloUx8W5p8hvIhuR4IM0XhvHn6xIWD4N4zWdBiexAlgvYeDbl/QTHtgHG3twGuC1dDeplw+k1mdXw74HpuykVIoTeZbOekhQXwAqokfz3S7HadevH0wK+05WCXy70e+AzZErr1H7FeJbLGKgfCNAAIrIF7RphzZddDtKR2x8eZ2jA0kS7zwoKeowCcOkji/XSMV5h4ymrzb2TsEE0ILX+0K69g+Qlg/vutV4VZAlgmGTrotkpNip9a69gaAYrjmjZzHDz86FdDHXWG6JhYCvZv5iyCIcAVCwfhOde2JqD2Z22OokMDZB3ESZICzeor2PbxvYiqlrlkZxSryMC/bjLNw5+qSAas+cf76h/LxHCFaT6mmtmi7KizqCOVd2oUfdQhDhVGdf0/9b4QxhkH22H7C59B8EPiopFMcMr2Absyij5uY0w6Sq8P4KjxiH1YuFEXXmMdPxZDe350WvT1AYw01aR08ZtL4A2k7lEn76CsocJumfkW1+bXpOipqWUj2z9HRQt3eZovICjnXV5y/H3LsMRqlA3+CNwLhcaz2ubG5DljVzOKYs3b98u3kbLlzdSu9KO4e1RPnGsfXusK0GcCTOPEMon8o/c+MFJTwqY6vmIwAy+f/U9UxB0G3gu2U9cdtc6uo5qUv0BscV2KlZJBjLWR1uLtXfykZyTRgn9wY6EtKLmKdGqacYBiBdB1JN7krG2T6rh9/Ve3iquNfTuM+mrB7jPqFMz6EW9/MZGnPQFyVYCV8BzGkD0pOPs2EWECNkctNoAxtHb3HPQa0HKBhdeVzyUSnXPVaLIbXVLw98oJHAWpPlVCjie7T642DAnXgdiewYqCr8Yq7KOFWr9yFdDQJw1OUUZpkyxolubEROaomBDNWvPBQMYMcEv089DTer1krpuMU+7ohWYUEKqFx0AqzdgYFQpX559tVT/+ZmEQdH9+DvJ0+z6FedpywKTU0Ng+be3vsa96cbNEr/Bz2KjoHHGMa3BdW2vPlME7L4lFVZZ0kW47AY5lvw0GYWEYyO+aqIZ1TJsXSaZiQabrCjWRBMwzI7gthgfSZSe3IhaEH0wQevjmHu78DXhhY2JRXj5RGCcZXhzQvfKZILaBh30vASO42yx21HrYhLDP3gx2RNEv2H51RtuXHsDLI0sfiVbsCM21vTsizJAIXvFvWhDHbw08r8DqJTAhBUGP2CsROCP4rBFmZ9VRts3OzePvQsDaA216VYi0UqEmUqL2r+I9EDkw2C9xAgWZ26tAHGlHOydZTnz5u4AEuTCNA8x/s0ynjT5cStNY9vUfn9CutqXKMxIPVZ6puhd7Tlk8+q3cXN82mdiYJ3r/FrFeAsqKbw6IVgDVQTPwfWoTzvlvTlUn5p+iUs8r9te9oFOTtjc5fxOM+BlZHS35rI9wLKhkX+ANI7lNlM0r8JDTzSBW4+VxDG2ifw236F/RVvkc2YkdulB8LtQ/Dn4OoLtumrCy3iDhlXnnp5fEbgZcZBqzpHViz30PGzWqkk33DcSs6CL0TyiUcbv2ORr2HkxhHNeiCvnc40dqIoDTMAu+AUBbhFZd8iv+WTMernzykVT1gGT9NSokFhqUho9CO+mHD3nGc/LB5R5G3w3x9VVLp6K5+2SC/JnfoZT8rhi3jf5BR92VlW+BSl5n2mlUodMics5fe1SqrRAY7MHJQGi7vcUllbI914g71t5RhBM0B45onjPpXLofzFlN2bHQ5Xp/KvRSPwYGeYX4l140kOjkflxrByy+tRTRluJWX+0ieKvIz8n/9Uuph0zETP7q920sT6cNdQ2o6myh59Gc9NMo1mtmn3jgqblkJ/CI/tgnXrLRvVGRPGvAxw543t9/FFSEPkEg6eefUfYRvOGegVDSyIxldZKXGb1GZSVlwM47D7tREA1PrYcjR2ubtnJjsfz6cQKwI7sZ/xxL9e29C5GtBvR8dQZ/YoXZovA8ee6RKn02GoYtmJ5xMPu6iWcByOWIXV1s5JBSqgZhl+Z+x53tV2RLHKG+2nyAPpcQR980U96Er8qP5wcQuN5LcsTQJa0D+u+5UaGXzDrhFDQY6KKeCD6EKeBxLRlP179jXtGHL4+UciBTRLgqdqwRXphyfXaxbLf3cSyHZ83uHFoJCC30Hy4lOw9cRpEdHRXJ0TeYRRPlYk0mPQenHxyPgyshLfNGPz3sGVnjM/AY6t/GvH3+EL9qYkZNLIF1rtuEnztRMfhNBamU6oEEo1e7radQ5MMvM9gWUv0PU7l4SL/urPNQ+QwfvK4umcJnhh9kQmVXnlPgugB6u56WrVGUvn45juyBZyIhU/AGwFjelwLpBKUuoLrLVlFfZn6OX1/unARv5vg/1DlgVqrPiOq+63RVaG4msUYZjHMzHnTWMeMg12RKtb9qRPC1uHUdrVADYLJcKFNolsKFdvHw4RnvW7Lc3wUSkYGQp1Gwx6i0pLjqu9giOYrsyOre7veCjhqR+Ajp3J1dNKWd6uohBC3AxFrzA6KCVY92pNzBcY7U30H81xXDH89bEUz0FrBe4BflPpiXOVidNiYc8NdBo2hY10Q3kS+7DSpCE7CGNnD4iQBFhwhfLTNxfwOiD/H0nJknf6gZZCR78aO12Us0D0YWWHA+DnbqNM4vVOJEK8/dMRId7riFLMtLx2sStK85SzruaTgY493hIE0kEVcucfbxjgvyjUyymZRaCP+Ww7k7QUIA/VAWpadPqxkG4F+MCQSsPFVOjJUY850HRWF2/aWISr3PldfUzY5kOEGKb6QlXwlC4lcNqUJrVzPfmlWzocwe5FXsnNafRNgSEdqAvmetZxD3SAI2KcO0aR3BsGw05TdDxC0ErCxP8zq/4OdyKASWFsjmL0SXHw8IXGtErSB4w3cplB7RLrEGvYMm9iyfKELr1ZfREPSUn2nVyyVzJHewHlzvcKVq8iNe9kEQXczVl2RB5s69Rtp01mIGG3ZuGPF5n2rdVN7qKl8VLA1OguajfKNnjz/yW924oN5mUOhrZ4z8qYdO4IuB1O20GMTeAY4EqCHXtQ7DOkOUhRmjnKq1PWl3p5v1/aBvyucAFhf4PFf2TWZLfoWnza2PDSsD0Fkt23UxiTU/1zmz786DfnwoSgdwzzOzzAbqxap7HVffIAgqDnWhwhuJAvYnPKXtKqEZ/mIzn1acBdGSMZfxdwuU/xLIlSwteeBKMp3+k96HrNf0f59JlxIefvVVORan1sFsGsRnFRZcUL5vY5PIR0KUNFzlPKliMre+5Ne+xmNr2Dr6qBc4wQKnyocm3QaGMM9i1uuYIp/OXdE4XBuspy9HfwPahY36mMUfSwl9/j6Farvm8LxJ5Fb5NxzVNXjdF/qVHTWpyrG6iZS2M6zjktm5BXWHGwJI0bxAly4m2Z9JueKaVvHSjMNSPKsDDQPdTIuG/hb8/nSMj9ICQEBzv2dU8x8vXAPHtODLohU2FMEkfbjL3IKueSLf263KWg8sFHQsxOocc9k8Fk6mwatloizXqzEXmVngNpBrv9lI4Uw64OiqUgv22rjG3qiNY3x9ags7BR3HCgEGgYtpQCLUva+LYCAq2xoBRIHoaZAOy3czqG90fIHbwHV0hbTWYarnY3QJoUGUtovvor4famHgXoxWta2cWQd1Z9SnybjvUws/f5GkFTrjJqg7SBSgsxxvPuyy0c3va/KnCD1M1njtzT7JhynWSzUZXoYYhSksLImei8uE1BRdboGYIz86VkepH9fpdhtaf2qwFYxAH6Dl76U+CSzvryO7ZxeFTdJEmy6pN8GMq9cOmAafbpLvTT6mZNVutibZkJ9HcLZQYnEbl10kT+05AjxD8TgYZy2ICTubj1BbmkHKDA7Xz6Uu96VCuuA13oMvxkRi02PFdIBdfETjh0SwqUBI/kx/9Rc6GEhpWzUIl+ywlvI6CEUEDQm5z+q65/KqjBN9DohNCD3rijVmgdO05KLe0wT4ULA7gC6m6zH9AeEYLtgoKqzatoTUKQ1EywoqltrzmCowNHAGfK56yIQSue20qvypicO9r1L2jGNDaIJ+NvFjZu2uJWTXqMYvU6Ts2Ev4M+YzdEEWCFNpH+DSWd61/8OEdsiapm9QHOlacR11Xln+TdeMqshj64RJr58qds70l3tGrRq9Ug+OCS4fEOoXpNtCO8B3fTwU40z1qJSsN4aFnNkKKeYgZOtbmIRdSOXKWEdT7p7/EqTLgxeSMwI04/rxOFa1sabVMaxWN3gf4VrVddrzqaZexgwbUua44OpWAmjnrJq+fABjXmBHvdrVsjGCztaptTSwa2qjh7JypTQOBmlLH3TRpC4DstZwRR6zmqmzAhsdzZtCgJvbuKQ6DXJGJSavhmVHfICMOtjlfXMkrHy9eu1dw4G/NKm7EWSvJTq9zEDB6hspdlyBHjC5b90nYZdopElfP6+zajjT3vw5k5qBp5vcptvggZ1A64oXZwKtC8uYDht51tEU/hSyyqmYFdhLkHzdcH03c/I8Mh/V2+ew2oNUfpA28K641K6aB6heOv4sMbTq/fXeolYSibTbzV0qKB8w8IirQEczf8R72/cjIRW5RSXe+EvM4VgazeABuOcJ57mphB57xp14UpBzpMPyRpA7JcSj2h2DWfL3u/9hhI8hiMp0mbh5bYoBRoWf7Vbdog0wNzbfCUIb9Zlka9oDpJddjudFEQoiu6x85Q710frX/F6EcrjzpQFO6sSVSqEqjjaKSd4YSAzZMmkJEPOxXuOhwsv1zaU3PwH2lmz/3l+xFF9NzwBFC1bCjx/cJlAANUN1mCuc5GKQ0IBG90nupQvM4HQ1wYkIYcB4ubPT2hqiU/QWQWNttn1szn3HUBgugsdL9Cq35iIrTM3Xbwy4Igx5HixW2pkMrpx9S3f4f/H50wwvxL0pJM69ANNe5eMrwmmWanD83UUkkR2AUJ2svctSBlmXoYcYTBEBJ2eRucoA+iBG9DhRLMWik7WUZ5DxpmmZSMGA7yyk1qm8QmspFlrx5fdQYB/8yNlcEjZYmLTMIzW9bsPgZ9bZE9Z1WWlovxjOECEkQ0Tm8g4zgF7/JN1YI5uG4mU3UoxLh2aP+dHoAY4kWw6GnRTvYjC7jUnJVkjYPsr1F88amqNf6ZZShBfVHfp0Jwd2rnBQzZ4CJW//LwCzy2D6OCxIG6+jmTD+CyQrQ7WFp8c8XJsoKz/afwY/3fJ/Oni3xCx0ftcw80GUMqkLwT1Ro+3fUpR2bK1t2RNlrZLHff+QtzCI9WQyHiyK99BNKyEhzUPYMJ1yt0plc8k6HXSD/DgnEC4lbi1S68/EI4WP8FsUR/4dti809Sv7ygVdcWR2xg4es56nmLWlPdEq4griVYTo0tUwFY6C7F3NKku4TTdGalvJ+xXivtGCj049+vy1wp/41/1331TQF0PdIkYNjV8o2hK8QvUSCKSt+iHSBy5J7wMnzFmUJmCJ9tdksJ5Po707osD1gPwIJZ6Adg9bMeKU+7E4cASadpnMECCACrW8EKI7cCPs79ouO+xm5N3RrDFYWBUA63o3zEQzMmtTTiFwU26kZAR/xhX/rwu+3a9q8F7UWFjK6jbPEmVkhEzC+viLlKoNKt2q7y/ZR/htPrRwpnKcPpqoKQLP2l6xIZV9uWEbWWrIAYoo5T31b2hTJgEVHlYp6bStdLpUmp6Bi2wXykP4xLXW7KCrXBToK9GycbL4VfZEwJcN+rcvfwuBFLD6vqMu6SXf34ESIOWT54kHVEkEbqGTOS1dPpVvwIZ8zDGIQ1wcUTy+7owGsHTtL+DkFTsN8tfs3OVCpI7pWUiPyircdLk7guZPd08NdoKubxzyCmQh+xUklZok8NLWkIPCUiUWdSjARy9aoKPYZNwIpAMAIBmaayH5xrjm77wOV2033RZTuLZC/F5xVG5O0R3scYwGHpWQFVtCgIDWaPPk17veDT6p1tTNXb5srW+ACd+98TftBWI8ctTn8UTYmXTKlCnvP1+gLnyYkEiIY7DzKftB+z2TVyInN3KVjXMbsAuMjYVNB+VSqfoLMlBfUjC0hFcDM4OpCNtLDdp0hzaDDnCx8zShXVSbJE84V1hoaq+IxFowK75NEvGOMrKBcX9fGWLXmq8z+rBLMHc8xDW8CGLyiW0ToLiBYI/OIB7IY11K1wgMIv7yo+p/rhJ3WSMgfr15mNdicxR0x7Qn6NsFYAE6FY96HYv7qJwJqMDtn+tSZw4jl1GkHPCw4lz3WWvcWDMPDtGcrp9tWG57YQ4d9VGKldMNAfEFM3XzYg/P8z3OqTTaCb8j9LxaR55b1U+nZk45TnLtYDE3aRGAd2F5gz6EW/PqAO6cnfFfbw5o17yVNN9rKgKRXFLiBovBGXLK3/Y/5smfHmtfQGVLXVLYeAjwrZU9349skfe/+OwtKmp5Oe6QdAZnDNWix0R/+xxx2yH7AIFFPebhkX/uvGhN3QROa+jzPbJpe7ykBCFiihn1plX70e+WftTuCEoTvy2DzmaNKowQtm2PMQH6+StEcvqvhA+o/AR5Ca3uDPsxs+yU9ZrmvJ6+Im3IaWK2IgkkS/0wxE2QpTCYQTsT3JrziPnsjtTAFW3VVf8wbAepmQ3mhSCASZx6O7v3b6mu6QYhN9mWdeM7H2Pve6+Nw+PNVJxARiE9vnbyjYuVJx4AJl86tX+iNFz91ZDjiIR7wx6CpZilcaXIyOuA2+Tz/1pcP7TRh5q8rx7mhqf9l82B0W2xzerOeNm5ibi3a+hyp22N7N6fKS8SIWRxinvDHU9aSYCQR7ZZ/oCiA4wRzlDYbsFbVwh+4rerZQkqA3JFoiTOrjWV+tmF4NdItPqRfCwfef7GL75CzN1i+s18xQYVOvDRlnWJXyuYSEO93O7lVYpmIKFvc0Zjp9KgmiNavA//YgGLvKi4TY3pONtQa2wgADAqOZ0+x5LZMH2AVSBRS1mZv43cXg7UgSC+YWmjV7JZubyIjPhBGcx6lZiLQrPoLbz3VEwnQhd8D3OYjc0GfItPuhOZG8l8NkPTtX5px/589cV2RXfekHEJ6fw1mgtNjtbqCVQ2aKoezyV0GZQod9eqEIVqFKS0iilHThUsXInxMBflkXIZP0TkRHl5U5SaraLLdIxf8mT0Cu8HmqwqM6JDxFplBEfv6ar0GjZSlsbRpMYFPoueDF6Q/wKXX4HjpkAsjbb4gizmmOStn0b1RwvgNOZXhPlB50SYk6109VtteT4cv51N901EEhLE5WhtREi2vvSCcWhNwjF8KCXL+M1dT76MM05o8bvLpkuSWBznp3639vozEPcPTCNrOSeVgcohBUFVbrqgG/+TUx7caB4+yNho9Euekgqu4Elm6/4EBgt6jU5QRQLtKnizQA5iU7Oz9ZuLVLBv2cy2Ho6Lya3ltypF43mRFRZ0Ah6hcY1wAbRSM1OBPRTfefOM6/mHIg/cMc5Pq0DHCeAUYf3RCk6NCMVrvW2h1jS/iYgQvAHZBFjK8J3GhYv5r41HifCLeIdTLRTO3IKDLUmZFhCaJ/WrvQHiIIKpyma10/mc4NSQCPoJWN+vCLUBSZwzD/gtoVFCL79WecbHnmvDwwyZ4NBQqrXGoOt/1oVRUNKUI479HGay5b4cJYSiPbRUgC3t5MhEkgPjTjiAiyaaL4BasCju/U8Wu6Vpmvy0fiE50SP/g6i0qIHexrQAORtplESYkibCqaTTJ8leEXGDqI7RN6AoiJjJq/ZDOv+YRRBlj0yQdhk4CcFG6NkUR3NFO9VrO6h+OmUy+592ZDHDVR+3iMcTO06H/xHZxcPMd3EgqOVWdQoiYSHttQIEWcpZD9g3gHlMeAf+OABwqtSEspkh7quj7+mPuT8nPmrl3iSJT5KUhO0Z+cIQHypzglSVspM4rbS/0KqKxp8+cUUcQtRcWr28sWRfcgLKO6W1KtHD2JCvmc6MpMwFe/p9/YKhNuKygzBrDCGar1SssgOlN7b0aCy8ZIMMfPhEpIE4G6tRPy4dgtcgUrqtCQraE2898hmKk9J2HUFSPR/yRDcatrmoZA2K3skfTEyZR29FtbC768w75zZjlw0VkQUCLfHU8xpkOKTs3B+1q86JkjcofCy4SlilsIwTfEqbQ5fQ69PY297Z+yBTRXASkpvixgP4IhHB+XROnL/8+bchS/0wBXQq/aoWOac7rmtRmYynM8aHB9FFqk5fi9w4lxbfuQ2NMUcqN/hxajJaf0FQrx+yVUl8cL1wQBC0n4nw84pKsSc+oNU//84rz2vfBmskDzXZRcJNl830MBiqv248OXd3lJUgYmItuBY4ygjSJ2cROtxdtu7x5X/Dy7AOL29/qGAYTvoaILz0YPSDlnpdUKgO4JXpJDlq4bABY2Epm3VzGg97mdpV9d9SEnYaT8ltzJOibBo/ITbTzRLsiTcUUy6Yk3hRYocoKR8KxgURL/HNT6ieVqhS61jaeuOZgjtNLp++1U2KjkfjGjAdoM0V6yEyqzs/MuSZF+ngPjBd7DYi5VsyUm1seJTuAqbtxz//LpktN2YjA48HjXI/vuCLFX2my0NpwKGrwyyGWF/1bnmWctwihPrkIKtYG+dqQcKKOla3pJfljz9sla4jUTO6FCZOk8E5jgqpE++GBZpRa7u+eVaN9+lAj398qdlkDJFkDQdPxaVbDd4yZyYqtZuf/DzkiTWtrPaPLmh4E6XAbxnfTyGYvVqc4zayxjYbYokrF7HfVCdtt4gAlo9SsnrkCw5n1MCE4KXNXAVBnHc7O+fTunI7AzYDJfqsAliwriMHls6Nyj4GPyCgpfVxVjdxx/gGrhHZ8XVWTR1BYVEY01bXZD3GZMygfSZknhw5EmMdw40P6grX1PcR1Lp3omEik8Aoj2vqGk9fI+R4bkZ2TK4/ulmp//1Z3j6gPMU3cGmdttAcZZP3t4F+VEulw9HA7t7zSC9/Xa2TwJFIqFYsiut2HwsWpUnJKMmN71TiefgiEoeccVMqdW+tCBGo1sHaUdcFfUv8/l5qolBHyz+Gp03Hi90NoM25r5HSJ2mnt7G74X0QmVavYXAcPuM9Sj+67D0SZXqjh2azCM26YutBPqbH5487B11qL8zAwgGFMHSYayx+n8LYUtoEgQEDpx0LUlzfcIN1JRROCyHBZGtAYWNPZS0wXbkOE7qXx1LQPUgZll7c0xB/TCw7pvZ665N/7JjXECdRPBxNgWa0sffcIE/+xbcMYZIBrz+YR8rFnAKmTfBvisnuq7Ahmv0kTu73akTEapTNtbZq0WzmnvheP5th4D1jJmk3PnF6s7tcIjURPvSGoFN+yWQBBG3SwhlzpXzFQz4utFGVkoTCgRSHmWHK+wxE1TXgoGR2XQZItNkLTHXlMSu7g5neSYpT6sFFrTZLBRbV1Gmr0ohaip6wL092S2fvmp/H8Y3m1/x4hJwQUAvrRhJvIJZ+b73ZRvu8GrFTt3/TEzmaAUsE+28ccDIIW+mPgycttNSiW9SfR19JJ5U3YfObNWjxHLF8q0j9n6xoZ22h01kJXHBS3wqtdSjQ1sS2git2MFouw13cSiJ0JDJ424XQsND1Zr5tybb/FYL6QKyUauHcWSLrtt9LxygIJzKPSyMhFWCe4KoeQrgE5hSj7XE01RzBFo8utY7eMa6zR++TfnMHpBwxmNOSS1Dmhj9Ds8NChpus4q+uqMJ/5l7FR6O0A331XTKXcZoI1WHVRGWDv4x18mvKwWfMCWM7KzaIcoH3D5TXl9emnUI91LVkLhuy2L0cWQ5fCNEIUuWNjmmvDW9jYi+vWa2tOGP6HN9qJ4rHISgLdeuT5l+oiqA/g4IBeZOahTN3Gpr0BxRA+IOePgqI8U9Kd5wTBZuNcPdmrEZftmKocXj4CmveWN02KSC4Kqm5YNsL8QP5iT1OE5uwMo3UrIoQJXsDyJ2KoLEbDTk3H5MV5bfPA5F9ZRpRGkpnUrYB/cwjpEZdCCgIZjrOYB+1HTqdq5fF6BAAY4aMZ4MyZvccZ83HYFnL4Qy39w6Sx86VAYDf0zju7N73U5FBMWhjZPi38dSmWuAVc97oVsnA+nvmjNSTAuBpr52jylHvWZtftSLclB88tePdhhCXzUIWVStYilbVvyVWqmSnLQacoKN9jQ5iakjCY+/qpX/YJhxrszIcoxt1Xj6bBE/JOOux3OTWmUjA75HV2kRubSbO3Tm3fh80MX/4PLVdaIZY4hFlbGrAp+0kmxZltYFkAslkOWfxpKeFyM3epQr0MJTafvJr6EJ5DmQMMJfhKM+xExWft5JQ67NeRA2Q1hyiQmtsFcaVc1y3FsmA0XcZMISo0e/SiczQ9nYvqM1n0dQyugRim5el/jg6FfKvtGWbLzoOt7vNr3ldXqaT+ACyuyiwrKtT16IGvvoPxFZLKe0lRCiVpz5FTink//A5qnpaAJFjz2BDwYeMcSj9Rll39+rGBXuPa8sYuQwej5tRu5ojCKver4Yweyi5gmLbo3Uk8aE07oZOuakSaOfaMXSbmaGliOShqQxh5mLOzllcXkgTW8jj6ssWRwqxprcnPkXryL59sKdGBOkx2OOEOjxenhVPKOtkXqU4bo0PuPnSBNmAv7Bg5YmnbQ/vn2nnR70y9rYnb8zGbo2Ytyl/WuBpzygjA7wSXlvbmLFv3OeSHE6jR6XJDTTSSJS2KkrpPhVABEOnBzOyc1PQxqUk1cHhpOyKIn1wLVAgf16Bp8GiglR5o6heSLiLl/CLXuE/VNWpD0CtH2MKKPDHJztbU/yPd2ZqZ60mfR2g9eM3MDrXqg6cmkKUiQYjR0MBWb0kn1HJpHnMZ6iahJAN2m/y4Wr//MI0kxzMNyBw8Q+hVPE02v8jdvRVGE46dft0LwlT4OWX2xJMpvKf25mZYMhLvcQhzkn5lsS8EsBRBbf839eBdmVnZnZcz4N+oWs4DJTlm7f+JTJyO1QQT+L58IHFo0Tw9mzOYhyE1gyPSVbVoQa5h60VIg4vaxMnhWG+JbdIZbJWHo3opSwDxo13J1iXvbX+Dltzr1h9d3Oo90qgh25gYKfabxCHKX7b1n7W4gl+YHSzpwD8BYvBrxl86rZK93sTUDCkh+NNr7eZTotroJ1KG4SgC1x2fHB3hJDaRrBZYcrJoOWICgb83t/YngX8GMDRPWN/raBQMnzVpI0YZ5PuRm+yWleKJAoux6ktJ2bnRJURTTCDhVQh0K1jeKImQ87UKnPQCAOZJBmoG0wSxuwzd2F9IOJ/vFBqL+tVZ5nrAgpObVOJiE1NzjNBG7YoEvtGo9fwdp/ttG4WhvKCVJtI+bvNE4OJEOys/57npH58FO4D2j+wKm+nWESmMKTDgI4/k5n8p3hzE/JdD9WRXYOJ0EoPHX2Ycxw2w7OFfPWnMEI4MMc4IYU+M7mAKtWy4hxIv/U5U6T6Wz2sLjqutLVPDyejenol95VhkqXgJpwVzg+ItjY2l1ae68dUKZnHUatz22oV1yi22f9ZgdJJZQqQukILTWOc37Ql3aEyH5wu3Ait0yEAhl/k01AUji0WC8QRWg2eAbgbwNL5TkPsY9CrDowsTgL49NX10ihRtPtg2DWO2ATiNACW/lCzSIJX2uX1TMLuqUnjUWWpTbiKz6BjIi3QrkLbyLHUgTdBlP48dYtIxpn512u3DjO8NVT/URsAOpYyB6go4HJK3TBdZMgnX0XopJ4BZJpDpBUN22xlICGBLiVYLwvA4R4TJSgC9ytmfoJNCIGwvkgIXTQA0nrn4Q/DBMN6IhoSpTh5r7NuL6+mLXagMkc2fuAetb5rM2eN1dB1CtWVCFrGa+fyzx0bv2oD+x+CwSuDVTzdoOzL5WB1Uzt/x8Y1PjoFFPDjPdYTNoVarvtPor2ROhAD/Mn8hXe7eJC7+fV/t7X4SsVmVhc4vm3UQ2p/EZKflAjxWi0+WQbKyu0r0nCjlxxEOtu1DJPeY08v5t0Mkj+2G2nLCZ1InMa72W2LDl2vcpfve59bFisMt/DcNne7Ao8kmFQMZn9hDV+rg9+5UzeuRxL3mbrZ2tJDcPqHqgUYWCc4UnQI091FbEqoW5HXC7ea9miY2XQyI3oYGLHig6lvt7EazMcKOJTEnLw/g6WBGKZ/ShcbCJh/sNRtzBmHLvqQoGJqz2ZSI7ky6wZ1q0XO23rK7NHyjP9n08C3/7tauzvFPDSSIM9P+R9e5PVzBL0sOEmRe3BLcp3WQ4eN1UxFqIYA9Tm/CFCjfAfPl4iqmaHt3eKQFbeeeLfyV8QTpl3gTr3wmDLaqF3c4EZThttO/IR4uewkGD8MzbziskHfsAIRGHE02XfukgZl1Nrj9vqijOf68AgsSds6L5uI+702bhvtUy5jE7oN59tLYYDs6twzJC1T+v57zj3fC08n4pbPVudxgl2SjB8tEYUVXK6KWihMYfNRYXALrrgVcEI8aCg6Zh9ogHIEvK3cqqeo76Ryk9O0C/YoUqz81jmkMUWdnIpyZyTDQNfMIqbbWmiSjfbm/+JEmH5lFAhj97196ScblojG7ISUACWZ30O+6wF6lp6jWed0PEnlGc1cs4wnFUGMA0slI1KJ8hlB+nb1c1CKAxhznznUer1VLcxKaTaCPFq8JKeaRR6D6QFo5FwTIF97/z9hI/jLcYMlJJwVFLP/E0P1fKHRYVMI0dresfqtBsf52v/bhZ/q56iHuQ8QuRW/Yswxm8tmlMk3l5MetpHJkZXI1M4S6GCYAZcws0u9AdhwwlFTAb/gX6aGOOccFiWUvfB97o1wGhL87oL2DWmkcG8d0dujNGHslrp3PrAHp3NIv24MWfcqDvi9FVscZTCfaALk4uQkJFLtrS2IUC7U/IO/V4Oh5ytErKcpuIDXqRqaLo/+gqoDgxSgw5hLf4DfcBdib+KGs+HyINosvyoVrbKgHLgApdX5tqwd9nM0NOcny0AjCuIa+LDCIl4bh6a/hVKUPsTunR7jttq7a9NHhY3J+V5KeED5gBfPcawmBozNvRhlPBPeFdh99+Vf+/yAFdER8ynyIIWNL/yY1VAa0bBoky3y+9iQN/HZRvmqgoaEXZVYOiBvz4Ovrh/NtKmlOf2zv4sWvM7G3ZByE+GQuNkl9roaqMaOO92S8nU+EsocTUYGTUZvfwqp+7egf3vCQ+mo/vT1MjF6DDdEDmXdDTuh17kmxiqkPOeeasUP95X3CzePyDraRZPGOEcqiAw/F+keTmoHknRCLPbV1evCN7QyMxaWwu415e+3xZMMnRlmApnLLvHtWWPDbqhfL0j2bFPTGaPBn28Cg9yHdBgRChxf2v22GHtlV6tE6xz3TyAcrAqW8KENZunmByDypzUWq1RLkFbWFXHKPsk9PxLGeB//K0gJAY5K0uBoNiwY0ME9MhUvulQ5KHq+Ytn3OttaFUMd0cd4UrJEobTIsXDYksPJR8S2MB2/1rr6e0JDY7zCGkJlCG9MRnvTKNNba7606u3evPx3crlzzYq0butR0taYr86ic5IPsq796dJ+yJn5Crpn1c1xA59XQg24LGENDj46LRtM5xihl3h9ce9aAwbP8tnrAuFNvNtgd+2hO0CYiTgrnaAlVam69qBqrQ7agDzRws2HShMLK/CySAR7xSdKTLx6ilt3c8S5pDfmbUxOcDghm2AmQUkJLclTR42qg6gPUcDcPXxESLQdkdrSAxmLu08rJotyDqUNNNmk26nVbPqzbKy4QdhCVLl2kNWJkD2pgdLlx4kkOPHGeAEHnVdsIghfT2VgPkX9mTq6n4q2Td3j0gbrj9kwG7wf/Qp5k/KVRgbZoFClDgRJhtwfrfbF1oh1nj1B9dxAEQ953gKOBhPS1Iko9ragiG36D6VJMDQjCq4PAIL8PIsFbYVm19j4+rY5ozPtRgksDLP1qPvl5WgTJD02ZdPpuDBPimtovkhuF9lpVoyjg8hAUw+CDEjpXopkiOuBI4GacdCmw8FdtRd/YlqsN577IJh6C2L+JRh6u+dPTHyfRdn8RmcCpcvQFZEQ1iFabEi4aMhJDX7JiJAeM5+Kvj5rQeqmBEM8FQX9h4ijWXTHkBt07+QvF6pcv0KbS9LZCTHfMTCGh20pbUqjRkjJewJjVI55aApvea4zg33Q2H/4VFIuNB01HjJwxsRGAfXAJxfI1BZl0ZFSGL3HijiCWoi9TkvRcV41rJIiqUodGLar28ZsU/GwOuMiaGC97R0yg1YSkCV329FsM3LShryiOJufP5hdKUu3lWzhfM1ZWcES8PWRL7HLYwutHDrBUqpRDJeJUewdsNaQBr3nH5Zn98y0K66f3xqcEsq1aG8LkO2oRO4AlSMcZbse7wqJclb6COhnJ7Nbr8UzFfuhjLSU2n2Z24o5zif4RVeHW7KqNF0gX5Fe7qAehYwsNMb3PdZwkQG5vi6l6l4mHsXH9vXw96jXr7GTYmjUXACiKZuj0hh+M9DDFQUpIVW3gDo418LauyGl1zalQbWC4fJcIYkfgO6PWriXyUyr/qlhUSY5EIUjDHgixgpzKdvNGfV3h7q43gQiNNEF7uniPRPL6guHo2wRdibHusRQYewlOCBuZv9Pi3PAtVwMEmnfcdEf5wM4B7C19vOWidVfynPUE6nt+jyiOC0YgDaL4hb/mbdecyEcqIqO+zTECGt6Y1AugdQXhKXB+vOwBJoV+TUlSqQj7g8sv+PBFGLKqlfTBeVrfpRZwkZiUcLfW9PykyBno9rWUkn3f68mh1TgyyJE5yWlzf7hf53KUrMaseWoKta16E0Bc+IKHLzyt/A8vKZzfa9xwV4G5BkKoZsbHe9wqoS79w3G4QQenObhXgO7lAapps9RLIYEaTASSY8HAe2SvQicoLB6Sz24X2o0JNWfad2GuioxPaoeEBmIKnaHKJ6xRMY7x1kXRzH3nJcg70Fq3p9VqSL85o7oNBMvyXE05UM5c4QRzKU4ywoVlL7mSS4wNaXK/or/v3Q1MO2uz0u0dcYzfi5vgfAujIupFUEZKtmewyBEdqEdWLufugaoTEcCiIYXjRvbypgUhzMyVck9kh42qNBeTIeQAm9ueUixY+DeuqzOvEZTSjuy/ycS8dZOGFVBvGQ+FU/LiVAovRyDZLJDcto+R1mDdw44sv7bnbPQACK6Uv3NVFw+e2q6YYQdtVySiVbZ5MmruyBpWqLvrdPXI0hBa65NK+7pVgPZa9nuAKtqez3KEQtE7eN5geYau/sOgqjcJdnkbP3lk2yTXIjDgVLDYxG4DWcujIWE9jhAKfytZtWUGx5JQu/YZ1eeHT2ZlFGM8WrDgztbcbngf6A2PTi6o7bSBstlScSUW4LqpkCxzgIoMCSJgP/kkn+G0+mVkVW/cA0xl4jn+E91Tm3h0CVJlUmHC4s4A5r4VoXojpsQg/C1NqKe2ycSrB6L8K6A76UT7XG9TGt6D5I91yUGXsQzue1T+yLaVEfZBOsHEhxgwW0lJWXKk08CMsTDWMVDItkebzUKrj0pvkRLmvkcCPGj8O0CxjAP055wjyhwReCmh60ne5K5GethkcyAPEgEI7uMU5wBis+Owtl9JynfPdb4UC4Xk5LBxGJgSisPVtpyLuNakjp72czgAjiX8jzbx+d+0gh97ddWHgsSU1H5z0s9PpgLKj0xQlY6SvlRAS443PYYxWuh+03xMZVbgjxNGDt8RCUL3rN8+pVIpfTPliW64wcBu0pPPZ7W0M310heRAEAlZLKSspKn2jnOXKVfBmlNHZHUrOmHvVrktQwvJN2URhTgxx0tBkuozJBthgw/vcVVMCTuMBz9kKt+jcy9Z/FeyBN01nWm0b/6wmTT5+VzwKXHK7IsgmDEG6Epc2VgoUyq2nyoAeo3zuWC3bIXluew3Q9uAYC36FeE/aCkT5T2hJ0pcQ5rlf3hBWksDR4aiFHIwDGRDCQav0wX5hSl5D1j+SnH2k2ph1lFzNiAFl4gUz9t4Y0v1356kbLxMlPkda76lzWji/gpuPx6f6+wkzvrki7dcPaWpNd8sBSjSZU9VfYQ9GU5bEehVC3+7IP1i8sOwy+i/Ydnp3DIOShom8nir6l0FWi58kTi/6Pw4kbqqK3ACvCEqxCAT1G1moyz0ifMwQ7CxhlGreZbVG6Mrb2R9jJMOrSPixbqievVPalPWoH4jBwOGF96A4vopt8s5Scn77L2qdnlVcxdiAKtgNZZNXy9Wx+t555DhZMgSW9nVpokoEnao+0hRIDaOmznrzpGBWdgFQF/WvK21Ol6r4L1IGEB7QL8c51380CtUc3UvSjsTPl/q+sCiD5hDLZmOGZ8bz/o0bxs+ylYFgmoNYe1PgehrwPcPXSIR/FSR/ap7SCO8Ld9G9dxYadwzMLKDmCcNDYclqh8JKym3aTFmIjM433FiAjMeUBYA25Aor+AQWauJQSmJVSV9f6aLBdQAkw8fpZmoq/THbTAsB4mOmfjSsZdOjnN1kPjdliZaVvFz+mNXwhuAgF5mFDlk63wacZpUmYLHYyV86+r3oS7ZpjQRIznzIGY41F/chXHji6PYC1l0rWVYu9TiI1Ja/693c3UBtXPmdyEGDxkYee7gv3wVjQrxFGTnMT0vYpzkUjS57kKMkk0iWS/ojdglC/hKCohk3ROpHn4/t+XNqSzobdVTuejFwM1Q5UIAuwsbQ5SMIucnnhBSEWW2PdTS82XZ6J93DD6GChT0ntUZ0foL+5ESi/BGu0m3bBG/+ygQDQyw2JdGGk+OqAuf3XiHrJA1WWWlJ2oo2BJG3ptl9V4lJtPaWwBGyyyZSU8vCsEwYsfZ57gGNP6mDCtMzAuQ/2UkgxKNW9tvJhc1it++iqNlnE9x7mrJ4rKPNy9D20b+i2NNYyd//TxeMVoLvownUwJYw4c7XulBaEwm9kky5hrlt/QBYteqbhLFJqXNEjUpnBjsMnnH56OAhV+p8+h50LUldz9THlaKnbhy2i8bF2VFD5ApjCQl1OYs3HRb9ZsQs+vSkjvERl43rU8T3slVPReKApzZN9mot8X1gJqlAb9y1CPwM420LxaSF4DF8FrcjyfMG3KAIcfpJcU3TKq9ktEFa4HZvuqsFoRfK5w1YZIjy4Sv40pBhfC2SfpzG8F0+tw/INTufpIZxROblzXjZJdKRowW3vvKvcuAmBQn9EZokXRm/f0MYMtH1IhgPa3dsSxBxSbvBcjzwzVRwJPlibN5m6/nr4vAn+0Xr01hiCIo9lLo6wTZ7BS+9iz485KjESem2BrJNXlIQfCQb07nNYFHMUzXxPHBLdqMqp+QdCU6gX9jTMDZkIoRXs1g6yICh4xk9oINUlG0iK+NXNawelka9nmPRNHJXz+I9NsGFplR+L49Tv1xYsJRNjiMKxIa5Z4KW7VV+0YtGwB6rJ9CjwvXIDwCQMHM/fgUA+Z6SOx0R/tYwTxeRbEshITgW7VoRk526jVsorGNIUkj+qQXYde062dM7JlIibnxLu+oEDA2sV6v5gFxtOetcq0LFUlQz8gSrCU/dDpWGHaa9v9/xssCfBLdBWVZjCOY+/HZCGtMBcRgoHjY+Sf7e1WLGWpZJwcOPKVMhCzUTCoh1GLY73RJod0UwvocSNR8mCT5pmAkUBfUu+1Vmjb8xSdze8BIe9NkJ+2Kq/Hb8AlrG/8tXLrzRq8bdhb9TQ0v6Hd8pwohO1XhXG//n7hC/OHBWSxKh6Kj+cAGcb/2B27A1Y8gKz9/j6B3da8BW937/+sn+8cdWs/F2Jdhn6p0eDtu35rIjggZVUq62gmBCXS2zf7yvfZTpUfSmLMphZoekIyRztTHD7O3mjTjB1lAGM6dNV2nyrIr0p4H4Dd0lLp46q/T9Q54R1iArqqkCVu3A6Y2bLsMs2jF/Y269gwixm9zzznlen9Mn2wM1zNR14lXofXbwmm0Eo6YkCfs+hi8sbNyhkidOXAC6yMV+uMJHPk0pIOVeHC1fpp8s5tYQeJKSFloWEa6Ujk0SDviNYVu0vKCR022EhYjSCYySfDyjNQKi6l/Y+euifMBDj/1OxruKwSFZurOgaRfCRfa1Dk+gOUcK3E48Lei2XyqPJUWWZkeIH58CXDwkOs35sdEldA3wFcZSNVjFQk3lX/fxlU9I4tjSXpLv0slBMR8ZIHJWpTlUMs+MGtW47AZ8+oPzdE3RZXH7D0hPhD+jCPFYkBubXdZg40J++Zdunpqdgt3UkYKCovoPw1z9ibbf0L9o+g0cPwOfSDlzPyRopjYiKEPMWF/mzRW8ilgEUPrEMD3AJPHnmMKFTH5cIfDkWFLjrZt9y0soWIeynCugfBiFjLexS28Dm+Y2auZE3EvpqzvqNhbQ6RPzFL59Mex0p3BS08IXrQncztS4qSLoDxNA+9ZvI95Vx5eFAXRCs3pq+ohhMlFnv0AHaewm76YIwgaw/WXTs+Hvl8Rjy5Ex++Cx/1VJVAqiLk8fuP7ZZy07bDljatNt1OtILRxUDSCS3XVv+EXcZoz6ClWUjq5lCdFx10HzFl/tKEV3oBOTGCL98H80qAFp4bq9+Lwct4E7WXNJbTKTyJeBO4bnfooJH6EUIngsUFc8DDkZ7oN7j7rVY35PvrmQCTj5f7k8SIqofN+/jFryk8Bp8aN36VyROpHOkLaIPB2G66DSgBICTgT7E4qntFlzWpAvQosqPG3r5q/cY0MBSvtY/OUp6z8lxqBlGIDj53SFzC1uD84Tdj1/4Z0tSB6UY5/mzMgPlMq2SPublzAp/8AJX4DHLPdLWMdFguLNyRJINLDVglaRzixB6lgcKfb4lxCOllS5fymeNXC4HwxFadj8h4Ctnzb2D86g8tiNH9MEAa0iqAK4yNPUxgRawww6oeAHErPvQ0G8B2xoHBY1oEIskHPwlqgMdMrQ8llCYawBafHIhz+N00kTx1/bpeNagJulYcXHRrBCxpUmUNeh3WAm/xxHj6iYktENgCiRCjSp/6qj7+MoVZk4Fm3BfjpAT8GpIfg3VTfMExPdo2a3hVCLvPS2LJDRUf6GK53iJncCJrTrm1NFfL9EJao6gUzhlsXCIERa210ok3FtDl5QxXQlywa82vhzNhoQN9Vnsa5HV1Fndyv9YEAkUXzOzH6VKTXqPiNtDJO0utal9h/M89DR307ENpdNSWYYu514ka15RfNv7R7MvcyQMXhOcPFToiZghO1jR2B8qR8i8jsHxGyqlx34Dw56ezsVyykknbys+r7LeuvkUfipKyTDRqU+fTazQgDoztsVgfHoQnCzhlERICMOAcBtpF2t4sQT+rrFBttKHQ6VwY6YbE4a4vIDPwySNVFdLoHzSGGLoVu0QvMfELioNsOe+HPjjsqbSkoG+2MBF7olfMmbbk34hTXmU6I4ner+SbgYmZ6a0+MNglEzcVOqL8o4QdEGNsFwMmAewFpS1OYr02qzyL0SFEe3odeK9aIRDZTVxSvHzY0W/QZeVMYNjbBAYE4f3cbeEewkCkFu+MGhUmDlGu+paDtEo0gAj2EpzngbEYP3/DLKEbpbaa764nqs5ZstlSichi/oSl5VTowhd5c3mJsXozDybMThVoIpbtJ37EllWUs331OGSuRu/w0cI33dn9e6buizwlFTItbv9W10QzdWIjLweqozLWChEYML9f64kJW1oUrue+Sr32wkPkmsVb9DqtRsQPqyPQlMJu1a+N0z72ciqSYcok7kDkTOx7AGJ8JcGfl+BqwLjuDEPT9uin+HmtWTF5wxGwDy3787ZDXZdGtN8mBsZvsfS8ApnJ6q6mL4tY+jkIy2CGDPpVX++lw/OroAZbGoXrOjSKUxk3br+3in6ZH8vYv1Zzw2j6j8wlyoe703/vdVe0lMQfgyDaf7DeeYa5mj9qgQa6QIjmTj9l9UzzBt1kwDhyI2WXzhYE+wywk8XYj9AY2/Ac408++iAAlY7gSqnomKyX8CgkzpfhBAJcVnLLzEGRQ5dkWeHiABDEWazHCMST7wEEvYeGd7b4poyZKO2LJ43pDVQhxwba2vCAHidwC3J/W1jDBbhcAlW6XftSe9wU6ObHaXbQvmGQNloF9jwDM+VA5al/uaGEsIkT0Uh7JzqiddUdcgljAYjO1fwJngyXXBKfqokw1UX6laSRJaxRNr+8aMOMyVx00jQ+iVWWLRydi6aJ1uCZn0RZh7BfD1WezoOaNWofr6CVkNpFyry4lGmkLZIm4xqospDfgcFYK7UWTvxH34pKTvzjkQwaZ0n9cbcGtv+LHS99hgvwT/X2jxhxnRcnJdw7iTMji4u3Ta6cGa5sd3L8xdH27CAz7jtx+jWnUf/ehqULgXp2EiwA0y9gktasPlFBCykb+qMO+vHKf1ef8drbN23sTe9Z7AzyTGWcbk2NEBwYnnn1hXBxevvwAWUx7vArgsntNuQody74mhFf5NDxqc5yf42UamBRI2CIXQG+OqGfXTMN8A90tVf9YNsJhO5f8C7n13ZTZwXTH5aGFlTLlcjANSfqJ4sEVIfPzH6fHKgntTB7ydoEEQXXWcY/fv/eIgeKvnUrYDoenzU8RIrhnQWgXIOQl8laLs7QHEyu4YNXBEDn3qWzs3nTtNTt7YNIZ3o3EfEuC70eni6+pOq/MZZc19Jmy21A7kzdxOa7Vs/YcwqooickMx2iRrMFAR34CN6dw9rQ6bvCbHzcX/s7eKGG3DBstWw9oakXGnootE/HhbOhHaw+g2H+w9kfCXnIkUiDw9mNr+4U7hnDO+8infcJjjSht26GgNyBcVCHxgT7GvTDjgyQVuZQ4Bl8P9yLv7afuVtIwZ4UAhRfEpoIgmp1uTdVkJkjfcXtCieV+ReMPVsuJ5ufVoVOQamCyFj3ERvN4a+kO5vDk9bkBioHv7rR/c4thbIZ40LUpgumbazGCQb7xKSFxHGxPt+eYtU8XzZ82qShvloAReaWfFs4bGwRGt1fU+fIya3nOWFSVtA8CMJW4UDnbHOc+inICoc3titcPt5Knz2mzGNK90ZrEZImxPvVkas1WUAFBc1hEvr0I0T3b4MYEAT/ToUUcA3wZH3TEEvQU1cfnVty3EzuT9tpcSvxFwV81hxDMhGHa8AApt36nv34JaCezv4vjKvh5afW/iXVUllFG4SNqk7qufpJ23KiYL84vhnZVj/k7MeVABkjhzOO6b2+N/ABt0khDsmZ+au/29eO7mgxWu0tivuTWv2JzmmVcCNg55JZVko4guo+w9Cgup8e+LffZdM79LeQpG3MPE6NMUj1fnydytgLZlLvMqZttpKFKlf/gez9vImMMVPKkCCXQwQeTQViaRrabHzZTN/WAQJd168n+2tZbYyIxRNQaBL4a1HVVnLfnwB59Bl3vzIx+GbB7+C1PyI76j+GVKBVBoUdBUr5TiHcP7xDStJ5jIoT3ihupCwZZqm8Web0DV3CM9i1pwkJ1k5LcvTp4cRIvESiqL9pfWEWDG8s3kGB5AM+a0idvnyjI/BcrwQhp+kVq3vn0Acmvu90a/P+F7gN99+pcWkzpknfVzHUvKr3bb7Se+oHMdU8jAwWTQDigIdKMT3i+wVkjnNhbG+6EbbX6hq5J36mnzvYdRYvUpg3x5tsMCfCp7QmSdI755Ax2kbTNCtQAVtcACCfalfQe0Zr3kvwgBXhI4eu8OVH3U3BUsjOI5QyJ/FqLOMiwYO9dOIjgJHSxIbmcFQ7oX2a1o9ypnrL1D14sH1eGQqH/wuBZFvRteImSTxyuEJbEMXXr7r6zVNCTJJy1k7iddDL6ppy9MEf3XgfmAEvnxvLeEh7D3pjtXbzq+HWR8Y9DpJXycnxJ26KBzjrlJUtyKB+oc/10BSWohMy2Nb+0GMFT5gjhAdGiRimSGu0+YttTy2Xx0j5BcIJGoY9Vmb74oWhLYV8D6ZtjV9n17nUHIdbqyI1OdWEZzrTXyVwO/XvXqCFIBtIc7xg93BPDITaaxr0XmDeYBM1663NfWrQalfGNlg1pE6YDvIcz6LwCVcmVG2bVzmeWwXxk2WtHOz7HI5Ujue/9e11/BarI+SFbv49IZYo+FSZ094FDC/91i0RHu8Noh1Pk8sPu1vVjt1ZhdFftehtp7O5LS/FqCaF2CLIdPmzrT80/TbHP9ohnKpmxp/BzyE+Pa4Yc4NHzDd+LWnchsg7xivQH1ZUa4w3RfC29l4sMbAJEiTdWkF6CnWytdC/FKyrX30xGvY5+NRmbV9J6gRw4ZfdL1fjoqKe57eBRU/OQ7IVzSVGQHAU3cRkFH8Ud7J8plbgkV8nH9bQF6i5i9swMhHdvqO5SvOGCFt9Sk5HWXGhbhnpe2qrXu1o2PtUEZlcr1D2TpkLMSTurcp/8SpCamYcU4iN54ZO9LgV/+0wVzKwkx+LzFKQkBoGHJy84F/LV12+jDObASTzxVb+OpPsRwlPD7IMvKMVhliiAcKrSBkk7h5v22jtxibeXMr4TSVyJ0gXCP4xPmbiSWPy8sibLHrR+7pj2cl7iDLkRolw6E1V0l9SlDPAWd+DFuEuzsF+BLJjc5+dW+h1ckTe3hRaePRMbYBQOUOZa47E501yLyLzHV3DwZ0u/OQaHQxnNuw/oR+CwqduDuOuPyG/4UlMNaYFPERyj5VByErV6897JPkQWJIsfMrSf4zLtnR4N8yNqBPVwW+vSA+tijK6XQ/HCvBLJSnWG3/rZbVO9G+QJk8hKKTL71ikpG3VWKWCcyD4zlZEvJxEYXxFcuXv304iQwvML5pGuS36vLiwTLDiAAYq8cXBEN13a8ekhIcEaHMu69ZZrkuZjCBLVrgkxnS5l9fXs8kcXGUZsDUDUWoysTtg3wbWoTnBpJBvOqzB5uOcq8qvU9sC/HR4+X8KS+yi42R0XLlde39Us6MMlx/kn21L9dwXwcGdEFxhoxF0t79YrA1/sqCJ1s+ybQKhdrZHR4PomabjU5LwK4p7T0B2NUsOHGNX20eTSdHQ6RGVQmKe0FrfgAJgnthIHQth1TcXOzb2ju7kqeUvd4Dt9UdtXzL7P+8yUnliA3dDGkKPxW60Atn/X7fK1YqGuHIB1P2fcq8W7Jz0LERgVrtu9URkbQ0NPlveNRxixVMGKjUpuv74yABVDI2TGhFI+fqTY/GTCBI86NKE7iRKL72eFRRcoZihRkITXF2jMTmiyRfGyG/hakJQgo3+jkFFIp58cQskcRcKwqSjn7aA1BCuNXRD4T3G65Lt1ar7e50sPEHa1BSA40Wb9p2VAoxeKicuwNnC/9ug/fGQDCoc9ykl9gs2rBQQeILE8gVgx3PcM3e3qkdyqWYRkyydLxtbgFOwjzo/kE3bZIPogjKFhmiPtC4iOWokIEtgW9j+6k0kPdggbzMfSE9WK9IfTrOo7jh9R+ZzvNG0SKZAkGv/LDxmS7tqsaGMc8oc/lFsSUykbq0lDWmsUqeqW/ku/AhtKy+KTNsBDoBYhETvHK7Yo1rz3SLgFoZDPjn/fQNYduBVCX9dbslCv8TBxiam4MQmxNWJcRKLip6mSP8DMSQK3luVmG/qqqjfGU0yOE45wOwg3QqPr6bpPhgmHgb44vHNYbwdk+5X+e3/tbckhHK9jVLdVVwwHGQ5xk8NWTL2eVCwrjsEWdrRHMN3UkqSGhZbOmMOG/z9IjRiQCOeXlkjEyp60bu/ZuhLEax6qVxlIFcf1zZ/lFYHKIqzttbaoJwin0RGbz/s3r+4lpNAun6/gkh2841wK8v9QqV2gLg4sA+IuOOOv44OllmT8c02sPufHOL1A1SSEpXMjILhDu7rruoHADJqT1Zi6QkIdXzdZ42koes1IsE13NQeG1ucy3rUE5zxeN0zX1BjzH4IucOsQMiigc1iTrqT/euxrJ/A30x8FtWCyYLpYNKcyzSkC8wc0/ZMK72hgIDy+aq8sv9+z0/lJRngy2VGNVKwrPfaVBePr3IMGjotNaSDqdtOU15JJrVGh7mFdzs8AqzyX0sqd+Hoc7zV5zaUXJJ6s6ELbaaqnvsa/1hSNv1iCVhQri5yYDHjnEWLgcfvBjcSn0NQsbBDThkj8Aerbo0kj+64C21Yo7PrvO6Yf2ccCt+/OYXyoykIsLmU+e00PHp7BbwB0pj3w098gRgbAUbIzJmKaMfVE9wk5QQidniJHOdEGdvpFlTVj6IFFKceeZtkrX66OLUXAAot/LZ4o5gZyoLzM+OPThMvgE2DAy6f0L45OdHpDmcWh8p94vNJOAZHDe+VQq0lqvHdTdQU4TiIuNF85J+hxHEODQY0hc9aybGVjrUQkwuE56DQr0a6V1d3YwRgeP1g0KKV7gi6SsqDOvFn00xv5+bkRiwm5v0lGw9OYVK5oWIb1+rQ37+1P61XvfmCGqmAeMy7q6M8Ys+BJOju0pSs1saU6J5wmU1Yb/TpBmzsKcKUBc8ADIz/oTMjiWwP1UjhxFJtpWSG0ZSo1LGMgEJ2uGMIJ10X6lWHiYtyxn2tXVj3zrmxJMCvE0FC0IgfilK+jzNCMdDCrnNW9fVeZgBoac6YE1o20m4fdpUi9XkWgJl0X1icD32sjAoy4VSNB+jtDoia0byopEukfnfIyXn32dj5fFbzaPEhp2P4MsM0yLqB9CE0fW7Py9skyNbDJ1t692nVHTJNVDhtVH2Gv+mSHMSIaQAWMo1UO1Zsot79BB/p+kEi8/7hCksQ/XNsA+CEx6HOoxM3Lmv5kHth/2ETg+NhrNoqgenvPSxPjFFYEn0WwhYtm0j2bKuR4V4HtHDs+ZhcVa75wcthpwNtRo1vhcqFZzpxel4HCW8xSvE3Qx0CTKdV+1pl338wWkFzjFuC6/a/0mEGUest+R53ftz9LVsZOFouf1LPKyEVduCapWQWc3JC3SqdhHVF1ONseu3Hra9XvebKD8NF7LKsQ3z/BmUVss9WtH900irrFPM3fNKQ3QL3PTY4Wu+RkCM/+8e6P32acCnjyhbDIbm8g2npjmNbmVtUKQwad+zty2yOFMv2zIvbvf2qak2n1Yuw8PM/DG10R1IQzIHtSkhcW9xQAt6QOuQsW9+q2SF9m5uSR9Ay1A0oOV4CHO34B22KNWekH+knvHQL5ogitWw/3w/9AtYXXonVXRDvmjBeIzy3m824as/MCNuT6LL2YvD5pjrrUxz27EQKHOKORDI+OCBMiL9OEWbOBmF8cIHxhX2psohqXcCY9jRGSOoodVeVIdQGGJA8541axDOQpha8hTAFl9xVezUvurt2dvfweVVxbwcbj7sDg8c58Rsp9o1/JNl7ggtsRojtVp2bqtaPdfK19gOHCDL6+DdaIewY+wPYtrRjBHSb1Jul1RvyV0h74j2LoLuzMt2XvZrBfwvFJ+n+ARnD9HtVjrkBUUKvK3U3i1twLW2F1qpgu1W8Je24RuGI5j+fhzaPJIM/7I04/KXIWrJ93egqyta+ihYBVQXibs25paJ/lA6nlqzN5OOrxxgAWnck5yAm6L8S4CoCSKAlsKqaXmGsF+2aSrMoiWK9R3X7mal7tEIEBxp4Io2EGOBpLLmQ4qPPTKxOfdfpUuyzYu/f6edusGu50Kzo3v4zmZds8cNBfbLWoGe+99tGHPGUXdyNKo4thh/bSj1nWwk80RCa0h/dYSBlkP3ZIstaTv7CzL4FP/3Bhn1tBzKqGS5GjXjHV78EWOuqrni3Ze/RAWQK7EpmobyjOB1+jaMMNuU3025Ck7VzQ3CVug58AngoxP/dLqfY6PEdoVMK4IjKEc8tHdVqW4qZPHOp71+BsRBQHoXXH8BtON1pNEL3M4hAWdKH2IX7kyNorIWEgywL9g4BdlVh8YSphFhdIkAooQjzpTFfq1UBR4IyglF3zf5XWnuSayPbk3ojiDUMU1B28GR4sMPc5Xe5VPbdU0Cs5HiJz2udCc9qxUN1MmyXIqGmz8C9GE2uV7jDTmGRrmJM+Ak4IHrbWs78S3gwelZZBgbl+I3hx3DjOhe5WsAozv7DEeJro84y2wX4NEILWa+5oa1QPex+i2kYqbK7RZnmkoVA584wL+9rCFB+Ucx/Xbmm0ujcYTHHpeCEAVjjraos84auAptrzPXErtj4Z3f1XdWEpVE/H6+SlIqSn0KrbekSs6GJkx249MLY6yvH0ddU4TSHPNsEx50gMRg8W6Wj74M5aYUIsIjeU8qdIqUjJ9Pll4hhlYL0+nnJWNsTxngWogPC40vSX7o6T7AE9x/skFsOibmEQkCbYVkBt6hE0mfI3xSYFiFJYRxBgiiP1TgWUE+N79OUwTs5Xb4QlXFwoMCo4OQFye88wHeGdL9v0xdkReVfJ0ash0rhTSz73hcmN25eSDrtRpTEtNPTqykYijHwkNx6sqzHfBUytQuzc7DfIH+SeP8/Icm5gCZRq+suJcWpestVo6/cOQ3kSjaKhpJCrXRuOYgGSSs88QhLtCSdbBGAKtN8ST4QrJmRbro4ZmDaSil4floHsQaPzgACX56BxxUcr6uGd/MCPudycbbgU+ALwGNNSxe+UxQOZlt0uMik1+FHJgsiZ0DK0pmacLj4ZXdhxAM7+0VZkDGHssNVhYeIF3L8BcmoQzdVu6f57L6kfBNPangj57Sp7T7201sWg4anUn+kMBzCh45DyQFmGC7jCM/qtvS+yIFkAdhwPHlmtQ9fZZiaIq76GPf2hbq8FrXJLhXiE4436GULurjD4ziRGATlYiotm+bge4LWsgFLssytNtvYQ6erTO84H/u4tbMF2cDzt2hsZmp1kez5F6z6NdHH8kEXMGqbbncV9RKPu+IlNb7qLfksYuj3ZwCfNXlEo6LNQjR4V5kS75+jrQ+LLBX5bkZxlGNSc+LI42DacrZAFD1wMtUOdNj5mPBlWGGh9kjpZoe4oVMNIgRt63EeIxveJdvmJE2fHxdLPN8TA4M0WF3A0rVQAygD18Kuv6PrrIgqN7IatY4siLpVU0CRQHUSwUt3HsShyaMehIsYLa3oVUdgVHUGmZYbww2t/tVeFHV/v/yIcLZwfAwmqNufv+0ouNk5cnXIdB58DRp0gZBlhcBDuq3KpvwI876gPP1tQgeEK2Gxpt9iG0UuheRiXKsXeaJXDSAcGG4q1MjcEfsLW2plekVPpGE+LTxBRiyuFJjeQlib3w+G8TsXFkV+z5uugkOsZRAXjS8svl+pH/eiLaRlxxxAr9h/C+Ca87iCZhcd7NaR1YgLshf1AqDzImgwm29G2yt/O2Ft7rXRaW1XTxYC5gQmfCW5mSWWEbbjalYwhHGdK69PtAVFzAI/CxTW64wlfwe7bbzWyDAvHkKuVr/48SuBQLNunaFZGbbQbsDPOu8Uyk6N8gqbkdZThwDNKZbhZ+0VcrOi31KFlq9koGM1DabTIvOrL53rwVpyblMM6pr85bh27U+zeyrnUHfDn6Uck8dnvUXJqMWLVW2/ZcrQC/Nc3wOiVGHI/1igDpt8Z3qeTHOmzam0bRj/VYsG5nT3uZQPOG+ISKa1qWN59xcwwtcLYPRMYBWD+TYsKUfmkP95Ihis4HjLl+aRYmp6dhrKK6pUek2iCGbmA0OPfTfHXPICu0j1jPivm+Zzx/zTM5HJzmG+me58CXA+z8F+yTDYF3ScOwG/DFLKR2aSTwCJyLp4e8Gh8JiEdOk2MsClirtdXV8nHeakXl/B4Dk+LZmqw18/oNLdfW33jwN0nq7xQMa67YCJjHcEcBzdnXqJ3tAe1xbnhZjijQecHjivMXroz29IjaPVQoSSCwPa81HymKJ0EPuVDQIau1ptO5g3u4Zx5U6627vbMa15Jc0+k+84HYCi05AHGZ06zXhNP2ovAAw7PdXSxMGSkPOfsOuDKnCDgIRILA2yb6WIv7CPHh5QZE5PWdBKOlbQNacakbPD/sf8ZOkTKekBJ5CKXec6/qfKNOUT5aJ+8Jow2LPasf1bdKqc4XP84TuX48Ys41v0wHXIrzIn7wdzWiAxnTqSVd7PHAfpCRjsFupKcpW+e1+2uX16za943EHWvZqAig8HEfoZGvWlmwZIvHsdQtHSekXrwMZ6ebUnuPGtuJNw9Fq1qYf0BSaftSP5WL+XTvz3+deZ52DzMRT44Eux4bKuCt0BY1707JmdHaPufivMjMnVxNV34iu2o3MPkLVFnnIKfmTBCS8LVm9WFPVZn2qwZbd4Y5CkV++Tg6fJp/KQLspVE3Sqz+t1H4Iog8l9uIKl6x1ZPigT5aCcpIN4K95d+G2X1OFLh4tClDop/KphKKBKzVVgSa0d116MQUejKWs998q3tXz5wv2wQORsHbVI8Kx0E+peF+XSFMOz4ogxdh0WKCOcI4ViuQ6NEo6Xl6m2b4H4qTGRgvwCEL240rX0V2P4xUqcGevdTju8gS0NJQszUSI8SWFOn9cUy+kHuedsRQhbNC77fKaBi12oiIUrzPBfpoeIt/q9gdyCieB+bjagLRwdMQDi2VdbYON5YdsvOc4cdcs6/tn80299kYxSiiBMkhsRQtMRItfK39YI9h88XEdNPz/6HOUix9y9lHAeWAUntFmIYebzJXTpqrxUelfIEDY2EXfb0+MQ1mmz3oy1jRPiCo2PdqWU6f6HmmqszV9KqM7vBgIBo9tRxDdCNQu0knJpz0hOw98OgpXx3zlvN3KNHhno9OPj7nrhyPCu+rK1naHWvvO3t4z7FMwwCf3VV8uW0kibXw/USGOQ3QVI91tPSEfRr8/OAfUcxyuVYXNGCS4zk8SjAutGn+bgoMhYqA3FQkJyERZMBXXcq2uJNDCW6wC7M1/D6AyQmVwCsGck1P0JVsF8pp5zoMUQkHrCHuWdBOspEw+STZKnvbV2y61zZ+TlP0BAZeuAkSjviN6yjvberA+jfqNglar8TUIyanIe6gWJp6BLrsYlKq4RIqsinAFEuN3L2oCTkmb7Ce/6+nAByL1HdgsDi+Dv2GdDW5kJw+XixATrEkYqM9Rpvf21LM6H2Bpi32flXSLPr4wPzIgD/xA7GbHkMQGxyr8fPwbmc5/CCN3rt+WJMyfqgCyg9ACkmTfgEju7kOI1L2DddKH+hNgWAjI4df0/dD7/1CW66t4w9pgtJCkYGV0Y1AC9juA/U+4xhvOvKUfIxFTAoyqAek7FklyjY2nvuLOiHjwQ6mxX0EiflWp5qF4qTHQ1z6T6cnM0Q3q2HwcwKIThQm2wIn0RNnyWP8piqbTNYV60mn3TtHMFOufPJ8ll99jp8X4jrPsslfPSZZ8ct/sJx9p1CyllQLm1zkvl9VnmaUyUst5oMiKXvjmenuWCTqbiFiA4XEBvHY4mNrljZ2ex9joXENdem4agFgiHJG8XT9RzjQ0fciDtcBUQaHBvbTae5YW0UFueQTyJC3TYSaq1ekp5Cndkp09RGmY1QXrR5e4vU63D3o5wU/ag8ZJIzHyg16ZA9s6IQduC9fji2PHvTjZM61WxUKtYoRRTJqX8M/e0EQACK6N/awyrhbzWTOkri/R1eRfb+x2PqYbJmvQb45NLGfHDwKBHMisdJdSy7FpvbxMtEi3bShinP7rL2fFaRvkmgKnhbcvi0AgYOUhifBXS56Q8xZXpkeuDK22Cv0jiP+1qaw6LCTseyILwYxk843GkrOW6paMDS4oXDKmUN7npTTIskfv9ped6YKUZxYA2q+Djp1qf6iH1aZZUPIRkbpbaTspjLKwxb6YrankKhv4neVX4hE1lImvrZETJaQobYa9x2zc49v48ghJbWS2GHoFZpUdM0EKeG/Tz1gnkYhMIpOfB0/CrZyEYe6DfdXg1JCRaLMOaHYVUeOe8xuHINbhlNPTC6Ly+/6wSNXA2ICNlDQRe8TK8w/epy4fUWT5vDr4CXvUcw19S8ruKxbeM1wQk/8KjKcETECmUTTGee5/6aJpNd+Vm+pWtLE+iE16xbYP/llR/tS6uf1vjg+HDBkZgQT2CG5/QS0Z2Cm5CvXaqH15wDU6mMUgcA/J4gNCEug8lDoIzsqa24jDWwaKcJDI789qcAEabqn5AOOanuxCrV/LYU8084U4CJHfyTz+bKxxvltIcOdipMXzjz7dhCNC2KUFliJSyvUPvWqOhQH8cHA0Sf5iX4wAtZIa4H5r8sqKiITfAFxy+ldMEyrawOLK45yyQvpgeJS4OJcT5/5gbwrUUFavJtLd9azCPFu07NPP1GP4gLcxXsDePfQwpnXszZyAyLBPvI3lvOtP0JTkFpGTRKCk08M0K4a8yvnicqdKFdo8Hjaj3Xo5dVKeOm0yOVpKe0HmZ4XslwX8nGz4d20UvWHk9/sxocm9XVJ80dyEheTeWQdWF+X67dcLJOWx7x1bACgLYb/3oKs0gdW3SlxMim7BZmKV3cA6DNGR2ZlJGvI7UIPswGEktwGlVUyitp/BPz1L4miAp4X8JouaNytCvBbs8wDOuMKFWiRvmc6TC41olevpZhjXRzdUxIJycRDqS9YTjZiMlVtXrYg8nEVBBJ7qyZ77VsK3gbQWB0qcn1wixdOzS95Z43lOCUUG6QVvFlJBtJH+jjgDE9VEO3UvrVkL1TycNQJWdYRCDUfUZ0zfdj2U06emgLteBuNPsfSN4r9GWWOhXYyqFFzVkSyt0DWV8YG/RZpkvbyKrNB2oFjL56w392A+33hfnLBy+c5R/2w8B7qFBgGJIb6yGTwp0jDdGOz6z5Xov94go6glFgxomfHLMpEVJH7KKG+iMGw4HaLehL7EGRzzPQgJXn35KDpHJOgbtp2NbDs6ees3IXRXNyuiEpfCd6psDd4xLD6o6JzEiHJJgbX+KjYqLLOeTShkYbu7NqQpskKoUZjZFDZJNjrtjEubJk2lLyF1L7x6fpMmqDAHc17zCqiZmign9e5WqkNldhPN2ObNQ739jGFhNLyBWTbcPoOf6rsBsP8a89YQPUYKAFmhJjzNVkxJmr4zCt4dbMbEz9rVK9UmgF+NlKmgwG+X+IbpBqW6fJ6cTZO/kLJH814i8IqEoCsJPtOvpqEz+79T6qiBcfpUEkl8JPHvQL4tG12Pr+4eF4FNl3reLRsrD8iV2fffF3iaWDTAIFTqPC3P8MMS9A+BaBWX2hks+wrqRXvZ+leYOyYLh7tEVOH61xxqqIjs+5M0kpsfifNgmjBNwQLpqlPx9Cv4pc9nMVMJAU4OPTJ7T/9Urm/eAjztCYcGlOmlI44dASVllqAVrozchWBkHkTJaHmBkrMuf6ZRKcl9pk45eyufHE0lZoYZnHLv6ne6PP5bfuY3Yl2tFZOFQNlF/q9i5UMMP7pbXnA1jvyFoYzmnS/5i8idaLqO+FDh597QgjO0jDEkgIEZKJ+9pmIdUu2Fz/5MlGVNFjXJ3HAI3tPMO4iKA56mnGRCZvRugYBBJZ4iM2w1MbFlnDwWDmaDM3RbWsDH598+Ndrd+9kN4ralDQf1ERruj43Te26RS6G5LsLqlXTiMo4X5g2RY6wdKuDuOcjE8vkejZFrAD3POYedatiqrcYflKTA4W79taHypfq43m2mzbGeb6nuTRWtDi8WZb79R9TfHL3ZhZKMiA435maeARmBXc/8jfdxbaY1iqyksAmnKvO7kjon+o7ElTxNo8I7puSEs9JqfgUzdgmerAbdUtmJnF6gZaQRr4Okx+OnQz5Z5GLWsMU2rOZ5/EpMTpE2SsvrPazO8SVgJPw8nEYGwMaMG6VNsBEFdjbclmfcwyx0zOSSQzcXKM4a39OOlN0h/0lZHirp5I3PCXeZUxF5Xl44mk6d1ATKnGJVugFOfjKqaDDzzf0eFVZbn1tPxhvyjnNfBRIb14qdt7jdTpPajOfgVnQemPhSLa0GugvYnAwVu2tG5FiW7ATLDqoOI27wCUjT0gQP0MinlRc+gj+BiXhCLQ9GHBqo0u8XEICJibOWYlab2/aDjnCfTIkTWsMTdID1IJFohL1KdMKgOMsQvgEXGsEOaO2Y5z/ckr7KDDwFA4LIsO3EAobTBwwioW18GXd5R3Tpmqinc7WWSP41DMPJ5CdKTR7fLEe74fyyPmbLnuhXPPOlwq4Oit+tuMAjZ3uMW7EA+SdONFzxum1TFMurbD1TMSg/AZiohpWrnC4z0PHTfpfLDQgqZq6CkCkiXkO/x+SULG5shP5BeuRaoDTYbiYs8APk3bj4fsR16oMqkP6nfRk6couqGbybaZoW2KvwKb+y+8TS+SKHTWPOzT242yxiL/cgctTLnhDi+QobvEjzyHFEFzSzgTIx1sOOultn1Q3sChT52DDWBiVmYqrPYyYPqbfNu5MkIrvkTlG+jJ8u6FuXGBi7yjitI6Gj6/2miUs814Fq7XcXSiVXEAtF0lXiQP9BFR3fxk/g9s8zc0JAlGZT0wxJ7NB/YJznEOBZvpvoYRW23QHFjcSbeuEPAIBH5QV5EDPlfVfcGBYRaBpV8vDOh1YKJ4emNbJ6FEP6JyK9LHpDtAUTsSArrEbbs2mXTfcIw9wswV6Wq0xXqJ0bzGUtLsVfv6op6eS3I/Lul+fBWJ3CIUagweoSvi7mLHG/cUFJt4Clw8ovPkJ2Tk/8FjzGn8AcSe36CERnD6f0UJRfiOR73Oeh+NolE/P+AV1QdGS4j2/nrduDYQ24YSYWB+d/szvyD/vohWh+VoVVOY1nocE5yRGiGT2I/KTkflVyXfXhtvyAiTYkrto8noEr4Piqg7IG9ahTmIhF9sAyEqRBqF32d3tv6p5wpDGrATCFrK/u6+63zTA7h9kvctfByI4p0M+tjH51uxQvX2TJFnVHWOR8WVC6Z789FzySWbtrE3m4i9iNXmBm9QLbjRxcpzRiLlz//4g/D8Di4v+YKJMmAjLcHBhqoWZhE9tQcGfhS/3K5Wk3jpQ+Sjb6tb3zJm1X0YZllaC6/EF3g2qIQQrk+Alr91rNOoK6GRcpmo46iFpJz/T2sCO9yafRPw7OJybshzOOvlHeMKM4rklpQeyf3gqqoVrnrXVZk7PrgWu7uPyy0+N62ILTtWj2vri0ECAEEFrBGYUPLLQA72jKWB5gBN1qwRZ+hZVOnb3etRg00J1mWy5PNAqDWM5fDztVyLA6j7/npGgDLwS85wzkO9L3k/asyZDDBayMMyjeF7uXHvrBLXf5xrK/zZF6XAoks0ptNAGIxTFk56r2oFpEc2UCunswvpUqO0pu8NkMQ+ACE/d8FRmDH1Bke7yxmE9KkjEI2mKShSwY5scNfq1LXyJVq8k78aSPfLTOQ1Hi2klgEIbTpYvrTTiV9iwewSvu+RGp1mJG/1cKHgP6Bxx/kceo3LOB/Om/gui81Ww6N7uMmNae0GRMyv1QZQydymhBNlYaulnr3mrmQnVthiL9NZWHhdz83/OpaLplj+xwr0naM7Jxpn/JjTUM8TuzPziN4cVJ5HDPfLrzBWtRJNPn2yHXzS6+vtW7xUNHrGi/yPDfu0L5xwx2RlYpgxUn9G2OSaGJX4ap7ehKbdWdFmGvXrSmT+Wdgdsu/zmsqKry3l7PcWfUOOuUj4Wdv1gk82qDvS0pVXurpUJxO2NEdm65eoUX2PWtCF9J06jiaPyOKQKKZkT7B13lhMYZ3/V9uC1amLK/bo/SrBSGmwaGguSLgEWKXLZpZTX0BS3RDpWJ50d7XCgjgMhuC+aC+hgDlOSFr0MtoA25UFMwI75ELGYHrxq4hZ54uL0yNk1rsHbv4FUDdahCqG92BkFgK/q1ZEDjYVh5wdP1E5bR5zThSkMW43z8KCE6UJ6zb8ozUK0wK1DKUeQQ4OWZHWv7Hn9d1mPj4weKpSKaC+N40lXo6jV8rG+xV+6enrvXMTqJ/G2z3KJi8nghhHBRmOxTnN7O1gpCd6LkURUHzMpoBS7NzXU3OPHoQqbHCRHiIam0FaqK7ZczCbYAKWbk2Obirtephz0bBNKr+77kWpEahwipP/G51nFgio9S2fc3vo+8/Q2nDbCKLxNWH9/fS6JQNxeZBrYOoXiRUA7egQRowusnOVBU9XyoRx8PTnOlN6FR/pkakcTwU9WIyZmHKme66ytZfDNuBJevcqek8/YnqRffEUO/JomZVp2/753bP3tEqPk8MX0iFr59/X7TdteylfKWmXiQUO6A7LQO4awDVIPgDBPfLW8zIFlDICbbw32aLDvOWiBvM7VzC2tbZd971yVsGLPICYRlKI2G/0It8T09ltzjeU4Q2LLEgm5yqfhqVzyIelVPokzZmwh2vTdpHjqhB5q0za1edE051Luhuunybk/9SMRfgWY4gwCblfvC2k8lZBaQYaYWZWxahPotS6oaXcq4t2rKZUSt6TgqdXqm1GnKxQAAqvK2aiEr9jc5yELOSECAnjoBP1xoeWEMPAmnc/h3prSTnijDccBujnN0A/nWjgMieQnDu97kfrLiUVfG2D21igRNeQUMWvZ2s/Qu8yjCCGHw7w5oc4LwUlY/+FmUuC2vwfMC1AQfl/i/WqT4VICDT4kvfhV6mR4UUHBIdoPdLiCB7oOL78mWlMLDWkTexcIFRZKyzr4NOFMfoANTc6ukwHNp6q9PxBkZGN8z+1/9C60npSw51iLTh8lTwug6uu+IxQL0rFy13+3UFUCl+dOotuWP+EWVWslRy9zpKTio+YuxpE1T1XKjp3utbxUkRgkwULDoOIAumPiKwYm3625qHPI4Qlyoh40EBu9jm4xpknsbzf/H6cdz4X2zXlTBBXsPgW7uuXxL5jbXcxYgCYGuBGPD3N+AXFthb/X57F2/T0lBTtjsiKpVkUIDP0QmFBZ2PeYwnyjbaOjYhdcKDUh1GUiplXAk+zpzwvURpCRt31kpuYUyo6gcJahiuyYgYhJTD4p83qRAANr7IsUxbeAtOaKtEyUlCAQxV5QVAkLK9z1lkTrxheGWCHzrTtRTwSRxlfMUVX9j2eix4nVeIIovxdqtC/D1u01YDWrPK+epxuqudwtKJKFiou9pJ5Aaz2xrmzyJ9HAe0Y+jUIzZnh7DFuOxLjXgb9Vv1k+/H7qPTvySjfM5r2BOq87C5a15reYYlK/eq9sMYkGC5hOBW917FWJHr2Y76x+Tjkxqhtkj4m8BtW5uoz5i9iWKCnIsQOtxaJ06/2YWAoGsO0vhHZSlyeYO2JQNEPwrSFUwJfBLOcl1nStaXBuACy/q62iIjX9VuQyEMhoCtYyNNW0jFkdeoNnwR6YwQQViDRWBJWdiqKH4W6/S630yW+rpW8HYc+LJsEB22+x4H/kK8siUZ5hasIi4mgOJKKSb6UH1TAbVn4wLs8k5d66rcVPPZ5n49YaR3zUA59jBA5Jk6Hwdkm8B0eoFxCASfZQ9viUuq0QLANG1X8OZ0N9Sf34qM3HQuRf4AOA2tgNxBruFWan2VRZuXZJ6v+ddDabbtSdUoDd5/yZj7uSR8n0QHkQMf/g7Hxhm2SNgiP1JHdMwzYC9V6+4ujj1tqeDZydPTAfgeGtE/spHYeEaFm+JoBRVkV0A7KRWOuAENH0kTnIQuCuFTOHkYgOeTYalq53Ps12h4SFfxOzn2DTUstHJChC/fMwisQcmVam8S20w2NiXhrIzJoWGd2RqBE4SKCwDwbvzRdusvUI82kGTF6VWvgpTUgFJEe+zs34riOg9cQGFLlq0yD4YYJ1ODS4jZJKpICMDGrOYuBEYqLH3bkh9R4QKMICR0JJl2LThFWmUsptlbcWR8N65i9Rd+32MNYLBza33wVPR/IF2f75uMg8N60k3ee9vNCYo0lCojfBWLhTanoA+4AwNjky7HbvVWo697/rYXvAy6G4YpzTlRIXqc8yvBZi6CSVOXncEAfYnM4cA+LuzAfsTwSUdVJL3aIEoDCj6vVlP8wM3JPzHfdMQZiEWcP72pFnyDOU09oAQicbCGswp/HdNqedbOwJ+ECzA96F0e/EinNFyLpv1NBotepLLxdCtTvLNkuMLIs7IcJSc48gQ8Fbmhm+CXsXJG7AtYC9G4OUQku5AqrNYW8KceXYcBHNT3bQNp+Bg8wxsXjGNH/Ua6ZET1Nergq8MO6nUotB8OHQXPuhNjt+z+e0LDNELgaupT01ZpfvIS4B+b2lkbpXqNHVIF0HPBOjJV1ZSeTFiMBObLk1HoA0CCbF5pHnKUhi8nuKcwsutDuzMuk//aJQ2lVfqe/M81hIWpoScHdSGuOAG+MFvaTg7L0n+Zt80x3so3W0mk6bdA/CcQypHfgvnyktAiwqFLEaSq1ZG+bwAl3k6/jVKW/aiu7BZsQ2CCgyLgTD/7HSuHYiVfIbrX4qeQZ/O4h/wDVJEhN7IFUvq3h2dzeJiNgkWoLVsyKEKgNqikxlSc2xixrIKO6YEKwifjC6/urfSNxJlZp3g1bMdBEvRmvoWO3ajBVB3Nmj4miSNBcGy75zNLLF87eruA1xohIkoTO/7hlr9GMh5jqaZPXl/NLDZnwEslP2LuYkCMk4AbV1BwNa+GCEDkM76VWjp0NbrHn4zilwNwc0Mdu8clQpFTiZg0tpQuRNsNFI+iz2TpoYr6jGes0ggGNvrz+Tuqv2UmH+GByIhWl0MGAIUwLXoa3iVq/9m2jm6sc8tT+Oy4cFW/c/0ewudzwO4BcRd061DpVg0+MzbGKAmpY19fXfcNoSS62/7IiCbBXGDEH+E8t5FrCFW1nAIUKrwUW1r7fZDDufunxDoTfSmQgf67Ox9GcRz5DtZisEa1y6zwKjIaeSrUOJIwaTNiwl7+Jnlwzgdh0feqRLtz8osOAD2uWLMlaKY+/tg/WDmxURDsNL90lYuwjkxQBaz74X6SjJJqwRUNKvDtYF/z0h+0kUAszx0anbhUgYUv3bIgmTRYeG+x0N95QASKpUJnCPID/cKVrR5j8huCJKIYCb3MZTu08Sg6qIdnIzt9EJChIQ/GILVsfIe2AdUWE/7Q/7xM8Jd4KNIKgT3TOESQpfzVhreU8p2IoIRryJ18VMsNnu+i7RwBwIwthEqalZ7g7l7KoPEdUGMo6Hpf+ONEt30p5stqM5TuEbgONoad++/OSUaYAOXXBlYveHFxddb3AJ/3R3RY5X6y3tReYuSOCtjJPmKiD0bKXTdrLF7A/Y5TVbBr7QXGxT17BRsNZQWCZopzGZOg8lVkycc55kgndLtDvS6XGn4tSoaljYKcXfUNcZ6BJLQHto+pQQVrvn8keYV6KJw46ZmaVwoM+y8TeXig55B19m9Bl2PpY9Jx/M1LGNnnZQVIHrrFGY2NTMIutVnpqyX6y8YVPcEewD/N2/RJZj0MGws7/tEebUGVtnEzbC8LQRRtnfrs1Rg9d9EH4bTBjBgesF6H9Uw/fFSv8GAmDgKb3se9suqSy4kxDrnIUVplpBuZLswTd85/iduKB4Kd5lETHyrQcIO+XulRQivSo5yhVCIH35VTL64o103LJF7wdtrDv2vF8YhUJhWupr3MOOn6K0g9JcCU98z5yWpRuQjaaWA4zklimfA7zCF91t0TdCfKQm/rMpZQLERh8VbS8MAi7fhnXnuMpAeDzUrUse3C0aQ/RbbRFRhGyQ4hMYAz9O+DF6fibdJZXXczmZ5wwUQPzblUvy+oE6+6YfpgguH3KGZs/BzigJJlGNBvfiZ87kBSH2PnN4LryGrceN0m98zleQG1bSFN1BGMVboN7lBkQ90c/miCvOYY9nNh/oV09JfrP4wWxcFPFNCbOVx4W7WZunrKnVoGZr+7/zx6hc/ogXpOKWqt1P8OrC3XJdT/gF837uskx15N6wTY+zTwbzR8SqyKhBHNLESBsQk6/c2jWGTR5cI36SC0puMKEaEfyFH93BftqATmFGdmb85Zuqm6CM4lUL6RMzKWtffyncrX8BkinkmAlvVN5Qddq5QL6qgpD41rLrB1JGWU7HEV3M8be15JwNlZ6cd4b9HcaOhZnzT/cwQoqiVd2nKzBkr1bu5QY1j4AL0voNYVYMb9X8tK2M8kTEaTQCnuGBQyrte5dolMAg8c7gjdaLkBCpDXIPMlzOEKSv6PCdHPzDtiro6dQX2+au5z3QeBVCC9uP7VcOqHL3psxQaPwy2l0zdzdcA8rXs22+QV2qHvWe3/Zjo3zNQ4HsxWRJykj6OvxuY24Un7ObSZn5VDf1JrdEeSRqJXDiN0ifWnYIzDdmYeUHH78vgUMa68Mr6qL96UFe0c3G/Zr/6OxjntjGi2JSte8ITXQNsswN8FOg1z1S3WYYCIIiZJOCWpzL9Pkrxfri2jlEEZKOGfVR3FkZtX5g/lq4JerA8JzipGPYFGvkyC3/9jS3S7c9i5pETvUjNwGXfimjsMymq+MHq1+9mpIhbcwZTq8OETz14FTp7OLSnzZrWghGySIF6vUr/4nCHL44rSB8UIfCgDXhgCnAzQx1zUiB0vD1LlGKEM9uqJywDk2UrMrgcG2KkoAtKnggepi0RZ4R4yz6OHrVWbmN6o07VVfj8JQ2tyDGVyekl44S4o53nVdKZ1Q8cbdtq0W2No/+5lpVRwAypmuS9bUqxRhArsRiUo/XsLKJYDR+wTyzuu/OLLXnUsAMXDu81mNTxxW6CtkRa5ZDtaedKg3zgn/wyOmEVaSwuiHLvUNSq6x85kGVNyqig43ooCkv46FAmq37SYU4Nes+IM91zgq0QSr2S8340acWXqpK8z58si5R5YUYpgYrzIskywO5f7Q/amJzx+eZPqe/TuZ/ix6IhkprtEA4Zz1Q0IwUga0r78ZIpYW18neKqW4JrQ5nQJcFkB6od+wrWm6c5eiU8Lx6qZbUd6W+aKSJOlnAm3mR1/ByNRH+zfIxgc6eWiyrf0LFdl/NxaOE5PFvSJSC9FM+tLQjufTRzsxlfF+dGauAo5LIypeMrzEsF+i3NWCpidGtbWngDssQKeZ+Ohtrq3Qq1cpHIZouFVT+DYFV+avbOzTENXtg8VElkuLqX1ufm1qMU2G6Nf2DmxBn3cErFU/XNg6OPl6zxLtllZPVHnvFeND+8mYcVGaUSV8QLCLi8qwBuzvkdy3rHieeZeFXr4y5OvhKYuKUHlVCBrBj0swtDSNgkO2RqpCVu9vXrsGLlFEJNExs1/doF44ibCnK3z5EsVUWlm/cpe5yVHB2O1Wsqm8G6zvdLY5rdMWOZ2JAs/mHU4ixpYhFRYOyZ5H+gpuu2vBswBUsFJ84ArrBekM0wlXZgOWQrpj70PjIBlaNZZkBe0xkY53/KqQa4kcG+HmMdBMuyA+yBtVuvEdciIX2YQil+9eKLtvrqNU1f0/4GNHCmBM52IGDDhhyose+fggIM8EnchgPmZBxBKtmKegtsZkO5MziYqCij4C1JMKCjVhXJQT0Z/6idU+gfMWG8nGSoQ6uSVwTEbXeLwkr1Q1yClaWbP7OEOwys21wy2BoH36VO0dG/r6x/lrUrDEouleARxFo6l246QPh/jJqqLCxqSIVm6gaYn6zSKXPQQAckVVDYQLibbhMWOhmBv06MRC3Z273ff1q6ZWKS30M6wIpS8FPWOc+XtDC5SAkYxL2fEvybxBqaxRdLlnXAzY5AwB4HKO0S0vU6P7C3wBnxgb68SVRpV9lpOYe1kCzPpfhJDVD31iiPFPjObJwRFHev6M9wMBSUva7/KkYBHUchslKNTlkICFbhie4cr42sfA+lWe2sJWufRdQx3UykoAGdVeu3w3GXrB/KHa3BJNjRufSbZbrNhm3hSBZ6/TWMIpiCqrrbWEuTFXPe12Ie6EhJlH7QpAYIaorKet21EubVdp6uIZX9skgYgCqePcUs0cWxJ6EIZluRrAD4WTAfcBYt/L1ftmbh/Enntda9klEzWd+bPHooycn2QZMMAJDRU8Bfw3gynXSZrbId119n00cfnPtAAdT4tvEW+na47vJtmwl6qha0MPSl4X+fBE1mdC3uF5qJWAyMwPBLMdoF+xnVEjYAXaybvSwpBENkcng+S0EYIW7yYyeWsyMENs1KAOejmdPZNtgz0kVp7UjRtmRZprYfoK+J5eoAMoKpmZx4rj51m6bpprKx6KM0JdWctWn7cWMgn0p2GOg8/blJJ6n2ut0IyfWoVrPjA9+SBi9l4vKI/oGda8/nP15Qc38BxWDnm5Ga+M/0hOrkyFp74tunR2Z8bmoFksjqoIuaH901mtb+SnmV5GVhQcLNn46mrqnbTBtijOnDWKeb2Du0HBMQjoAlnT9AXQTPoFZLndIZ5yE/TKUlVU/K9X4qB8sDv5tIk1LeVPE9dvyp9G27tRZyAgpgSwImFDuE0U0K61uYWT6YPVG3ZTskwdQ9VKGLiDM1rnAUyuWAezQA1Q1aEuOIk4BLWzzQlS7TDxcfftB68ayjx5PWP2LYW49UIt3K6V6bS3O3e4V5hgH/9h21CJoe9ASk04UWhtlKBun52wCKJtO2yff/XiDaZpUuorAvZK+GPHT5PjKWTiFgJRTMS7l8xYyzcjM1ONXXDhNNBC7DZiqtOnljgm1Yg6xFpXn0NljxGVBo16gZVKuU8Gs+qGCz7Cmv3czz79n2//I2K2los3UovnNa8SYz7fFYavKDKQbp5MUcMUE7ZwD7C2W3Tk3PyIQ5kM17WR4EVZ/9diPV0JCierJRupprlZfvbjPf6Q6LH4oy1vzYzmTyJE53IFBahysBBStuxcvyrHdG6D0I0fU+DrYIB58WsrVvxrIHc2MGZyQ/W7ARM4mkIg6JObcx49gDdgKT8WTQqohvkdoLL0ZELDCVvukqCuNcKrmJEsFyB4fhbrZC2XqQ2c/FRv9IiUKR9Hp82VQ2GxvBpeWwLk2qvr3mbvqRNPW6fOaKHSsFcxm9xlFkOOLFmQ02Xzh3zLxIfF01tzn15cnnPRUCo4zK+7W1GaBY6wm8LTusC17/AJgvhOamwsKkdyLNng1GNbVgXHc6XN2gogJGeOf7jDOuhGXUhiAwvZtfABEOa4T1yvndbsqEoqGYJQMSJJPe5DO4TDbd+eh4fhCVcpeHty9LSXOsltrx2KWE47A7tJzWK0CTlQT1cwXwf9CfkDcnpw1ONr+/mHHw1S13pVelE3kEikqgPzvEx0IARQAMR0fLramg9UNNUiZlAsTF9UholpLIUvtaUXtZYggtS7prTgZBQ1N+YObXhl4LY5GMrViPgzTquzKQOtiowRKmGG0gh+eNmmjUJl85DtUK1qElk5mfOLd1hSIHExUViUqIeF/h5sMK4wZSzRMUCz4nULFPENNwcDCU+ZMoQ+ej2T2dUukgdOmQ9Gx1TDom3uxG380l6oONTS3wHr8bhQhpNMoZbvWoj0Xr3pIVbIG2NobOonhM5D4M0SojvLdG3e0NtJV+v+5ClqyUqExHSbVxJgd8Jm8JyLZmr5a2/uRzekrPUKOYSvBHVqKJSGUv4pDExk3ajcFS8ZahQgLnJBEP16qXgh5lRMSAphWIvXTB294QxSImjsO1lOMtPyFnvtvMjxcmkBW3ljttjQ8DxPXus73F2MLgUcza9yEfqZLb5Bk0+P/sO0FHMLsY6YhBUHFDlEMSWBnE0q86lPJYeYFIOjbZYmc5muZr1hr8Xcxc+418IK6zJsaD5lBb1s8W3RJKi0bug1JWaystEN92lJHU0bk+KS5XWkcfLhAQa/ozFcjFJ5UZAVQIuaaUHWKpq+OYUVSBYCk9W9WNbWWhnqAp759YkFAnZNM0flEUJOGOIK8SEygsndkjL97g0YOCxndocdIxsYL+2NLs9Rr5GwqCqsWs0E7yHXwxyY6mTMeiW5kl8Z1EUYmzqobAXt4903UZ4nOdxfMa+ut3tL5pVh83OnT7xFafMnTApicyQQN4slk3HynOSrNl1JeB/EV8s7o0dhCzpQkgc5ZKXynKMUQAybmm4egc3RNR9cnktJ3NdOPHw8O3VlR20xJ4ss1Bqg01/Iuv5M1zQJB7QWhAAKu1APjhjRHM1J0RAIobN4xsSg2hot6j5D/SHm7Gypsbni55BrDod6bEFF2LxYY4elzq4epCJhgrNmitaZ8qx0G0JMMkl/BBuOZR58j8uFp7iryJTm+IlC/uxN4GIsU3++5F+sjd+/OJUr0rouSJ8LTBx6qHISLnjkJ0Q2Cf4a0fSukBu4nvhix3bOD/ujIkg1uofJOwbwRgScpv8hCPW9Wj9wOC/XnLZcVS7tYwzTbMfPGJVX5/ESciS4FL1TejIzSwDUXlA/gU69MgQPWF89maz7yDh4sSVz/yUWxSxoRnUMteErQR15ocUa4lw7xhFNNDUht/2KVaRZWF7OuQn+l+1bIOEcjc4tjp4cBnYPRsDKAP+WAyFu6+A2L7Ho+4ym8QV0EWTTMzYYP3IKlqaRY8XTP20bZGfnQjNmw8lhp+ajloI06PZole4ZIAJci7Uiq2G0pVFsG2QoTvxqYKptrUmP/Fz+zEe/tyPoAIVG0ggECmh+Y9PKua/FZhSb0ky//JCB3j/vNQ2o5T9I8mZyhL5IyADENS8wcEwKG42fK6Y9sgNZ7OO/e+MM6PCY0q00Cgp0ypciOwqtMb1U7ti1NpqAkOPVnS3NCrTAMd6iwsevcq0vatltx/N6/Hi002aHjGdcBwwOO/KR4VmtuM11Zy0lFeD6nQXLddYEChQgkPOMEKd5QIe74nRqUcnxUsxFBPAXEOJUzUBK+ih8edDwxbiQA9ElRA9vu0/3SDQYaOisH9DDfBduaQo9T6ldSZs08zZptNcVJb0pnbPCWC2mLTe56f/zMjWen9Op0B18HQiTqhWHbR1RQRVFu3Vf9jOd/GQI8Miw+J1JWab000MQ883803aJ1PEARhK2p3Ie0DQobrMELP1rfj7aL9Vlja/VtLaZzOpzO1zDMEGVSxer1J6dMsvY74JGdsmmk3qCt5fF8j+m1EZAj3rsJy4K7LplecOzLinW27sfVu4RE6gIfjVgsVTw2QWqu7sSnvniizDgM8ykC7PrDfoCeCGMlBrNWiYGHNxtHzzJ7UimIBchC42gl7T0Lnh9bwODvNXceeNDRAdcnJKXkqPA1Ouog7CVuH+pucUNd1co3gnbcKHh4axcVFzKpTN875FQFFhykqNNUB8G5tVwh8V4wnPQL5vm4eFuOKORy7Mygvao88qP2y0BQ87aKA6dvRpbJhkf0KLPw6KpTPtr6PZ7tFUt4rQG+3XowdXxZQMpcLHi25PtTpv+nQJ2a6xT8QhjuMuNy91RvZT449zSfreV8p6ZEEg8dIvU9bbwNA7CL3oRWnwmHsGitDnE7m4qoEhO13DutdGPc6xqsXdmNznsgA5j8KclgI7n3N0MnUIzIzYuxPx5RNuoJWTwCoNLHjARNdm3uqjVM/MtkvGaYH/tciZgxuguke0TJhumxRUThJExYYTpK0M74SLgnr+sj20CETX9CZzS9EI+tvvpMAAeL2MBj4lSBxyWHezT/Zw4v/McAyvykTuQTJFNIYIi7g8iapf3M7srMjZcIadbqTTqvXrymffulgDa99vVX0AfyEbv8Rk2MZ0MAowHP3Btei3FX5I4Fg9MuCY5NEhu7K+G89RN0is4SLtX9WHZ9ZgixhblDJTZc6i4gCf9TtbPKHlCzdnvEmTU6/vdxlRPIrN9jSii57bS/yDIMwBOTRUSiS7um1WmBagFOmWPzyUfND64xwlsX4i4/aFUCPXyD1lB2CgJWKJxL/IPOEvUQFCxgZPebdpQBVw9DNbs9gEjbCKxE0Lje31h9nqdJ0gI2FwbMjDEEF/PqG4+I7ilVsRyDgqPXjtp8vtvqzlLglDH40ESPs3R3T4NGNgWnZ09E9o+JYLHToV0+RRTZWO6iJIlDCHBS8YgSjKEgv2NIfGo4NQfsCUEdGH14YPOEM+zfOsxM7gAlubyLi7BTcSksFj0M8ltIAyZA3XPDuxtEdZVYes8S1V2tvXz2RZ/sfitYHlkMzjHxcgeSZWeIVTMVsqlsaU7YEUplPB0YPgMn2Oj9BBsnB2O2EIJB5ooZuqFU+7ihuSIzVq0uRim0HLCGrhiLnCUue1PZBdaMdXSEjqkqxV4iSOOnXORc8JdyrS6XxfNpL6mhz3M0rRqk2gYjqMGvCh4XdPvbRuVpKvazU2/w+qu3Jy0PtAUt9vMSrwspeLc1VCe/HVlu9T33dmBYcLQ2QqmypYAlyrst0FlfWmZ0BGZZ7H5aOwqbTOExJJne84eneztf7tJ5gCK3x//1GU1KpMo385Xp/WKFNfK3KTvSUgXisBYzBGvaqYZ3685+zLKT4AG7gHFrMGaoqt2df4ZlsUSgzip7mzGh/bcdGcIqSAkiGE5BF7x34d1LVupXuweISfSry0wZrhJWwlCpYHBxZQFw1k17SCQMScMSCKhdGBnFk6sVbFTDFTcoLE8PoS09K5TAWjRX3TevOWswOeJdU76ddZxJaLoEBa2sX3qk1xz91283zT96fgpL3amAx4My0hAmTUt89HVa/XrVv16WeGx2gNN0S+mGgTW1j9ZJIuRIShRPG1cjrzuySdlIux4Jq7OpKLjO0RnlWLsYaeH5oykF1ceviAdY2UJdf6EzVIQyNf2U2GewooayIWiwsadDGCKsMEHYR/GaZTjhAahLZ4ldPAKGpyVG+JoPa9PIvht57rktAFfpAkcMO9aigcjq57QaZ20m/37/L3ErHahPH8semD/mudsNUw1pQU95+xIlaYVJ/gdU1FfAvaQDPpXq1nplu36l/+lAiEH443rbSQwsK1YFZnzRyjmM15nkJZqKc3Ize1hDxgWF2TUklHzZxmTrXupkAqslMhruwClKW4JI4twxaw3KJFQWm4zA0RXYqoFRMY/6UFV+IhAsZRGT/M5HkAS5t2dtJbOft/agk3tOeVemoxXWOpkknEzs6svraTvdzqOfrbe5h0byEs0hQheBnNbD4njgUWAP9FRAX5MV2PAxg20SCNijwqCb91d1G1EomFFOxb1Vr7wMfe3V7uuz0fk6X6uML6RFQgyYZa5Qypa+BUMJ7T26EqqeUc/7wqmI0ReoSFdQpTHJoS4Ao8Ad7OxekyoSsnmgDBcYVeV2NG3vUjCDYBTuqonv6lA0TdY2giWigXK6Xo5zAzjZ1bVCIZmTC13k4XsfxhsiYR7tHEmLA/+Q9WaUVAhTHdj2i7bBHPdvcKs73lJNC+dUr2riA63+Q5YvDAeJ5uZ8qyeNCjHrMknAziRv8BWXu+0M99rN+vnb+e53OOZsfNB4TeaxpMd3xqxiQisG/OUOmwZf32wRyBoBLdMc8d/q7SEjjRDG53/Tv16HI7pGchAzdgMtKFVM6xC7o/zdwLDELqn1fkJRs4h4pFx8UPZVMEf8wIk7KDQJadG5yL6KDE7DiR2LALdgfRsE8hmRpFwGlNwIJOHaaH/woKXK0QnWukx9D3fBgw7Le6y+dH454s4GUyz7F9W+JYpz+Qpblc8P/aMg5a1NBOTgS+ZQ3krdPunNEmDu+pmUi3iJKyKvx5T8aKRvK2Jisf/ERjIvMCFCK0pv2GYIzP4H7oW7YwzIi2I8cj3+OW72PZlnty7eMDKujFZyxDwSNea48nUtMPMdHuuuRcu1TdfMRwvrJS1wIiQw0yibdCHAtNsKwdSuCzwApWkY5iRpzDFfO1d2O9FrtAPxMdXsog1QbIFREPnJTKxNtXBI4i4VZL2bvJGRT6qqsHjYLUyi5ipCCrF8vuLSHfqv2PLuCCvEdFHz6YlXK0b9LXWyyHsIcUrFkVEgD/MzfXpUADlf9Qyhbb3DPaLz89F4jUGrXHkUZmNOyU3uOJPC0GvYvoJGU8jMPVzg+nWigvRR5Q7RODTLfYVAE4ARnTK/RRs8QYAk7K4tvazuj8kjxaDG4loaeD9m3TMCztlxD512x0T2UaO/0e5x4UzXkzPUK39pk1tXvQBNYSXx964Q3yVK5GLJ4LqIOvePpexgmi3UG2MpxnuzsQskQwBod+Xbm9faymNrG5Q6ZaGU9PW8nOBdqeOra5QRbd7yQDMHPoAjc0/90dEHPYP4hDJFj6inOfnju27OIN6kNoZ6TPvFOii4Ep5l/O4SOsySJDNEcOImD3t74hGtAR1GGu4myNn+qL0glvV6hmdJb89gAgXvTKeqnvY61JN5cww6RLogDQOMzueDJukbmXwkV8EBtDR3K2uZi6m1B9rR+4D46FiFLfe85AMSx/kAu5RCknbev1FxyWHLLzJ0suASnLRZ+0pJ2ZpppcoB3Y38ki81q6SL6lzKZmYWqaMIHfvdLYlNh9xTs3wMfGUV07AlMMo8/qvbz2H4rQKthMU8RaeFW68UbDoO5JnNmm2gW/G+OxzSqkh7NWnUzxhURKd7XDN/+e0cfS301kdxcSA7884GwugCCd/NXDaGixVXf1DeVw6L/KLQY3Hl7A7g70dKd3fOe2HQPjr3GcCKxlg37DGp8gP3oVb231HYlj/LDvtEy2jRe0YtJ6+N3yh7+abozniaSDaMReOzo6kqKBc9zvWafhzJW5y7LQX2ILvqz5PMKnM9HNzTKw7QObioRXeRb2so4dY3ataWuU/G5VZIEyWxAd7iYk/xLcdTZMbQgAHOta9vciyO8z1l3HxSg2nu85k35E+YMoeuLiJD4RN2UCNxWeecOFaZLqOhNr4c+PcQzY33did2j7wqBzXns1IsmN/cWBWblG0LOD2jeyVQix773FO79Au/DpHcQxRbpbdLG4Scr1Ya6602HAYumUDMtZI0SMMoLjYZNzqUWao7RkEEoiav0ejGNxnDeEWuTBzx4kO2GKLXERbfxYRbpWCR9MPlbw2RIKSdiaO5hI8bW9x3KcAumV5y+fghJVRbhe5nOYZJ0HQAtSd/BPlsHHjL/c5X1b0HxR/8lvxUSBqt6I+pKmtQMN4LeG86T18ZCETOvBai0SLwcOXeFK+Zo0+B5S32A9LjKaQRtB8Z/XW4QESm6+7TF1wfwzNrDDrdNOVJW29BPsRO413HalwTBF3EUlMDOFg8D3Dd0K1CyauQG60efsDgTfuNJ2KZrVsiwzqaSHYlmrX9jahzyK+5l4bLTtZu06Ody6Sz6EbrJs6PJMX9JMO5JC6MI/uIJBVR6f1hhpUkYjsRZgyREMR7LY1BBIyr/R61PoOhPQhGxROFTEG19ns41fyQ/hKlDeRtQdt071D0CTG9AjslYzO6gn4G5dFpPTgs72OG65+2/eLE1bVVqAJD/5VLEnSM8oMxAtyb6ynfFknjV9vd7nz1uXKDKeaota419K303MKn2C8z+h0UaxhqdBaw/k2GU79q2AfY/cEKH9RPaeBUb490UdgVEj+ucWkKGSRJQYxkg+aaOpqytyaPafy3Bdxlss2omXEWNc7w3VaHz0etq2iJAlJD883irFD6CAxqB7JNxjYDyHWocVbCavQFAJKlmz1JtQd69q4ijj9Sr2URvGFCL4H6SpHXuyqAHx8+eXiTzEG873HMT2U67YMl4Joen044CGz4jf6UqAbcAE0uKkzoXkKNNfZjD8botgvrfCcFWVJVesznDbme44JCuas+GO7tdcmPONt3OCHDymP4Avjd7q6dREZG23+mmyotb9pYFUfo43PBk+HfktKxcb+QDZhAa8qH8vwbuGazTAN/JQsufIoIE2G6Uhov1lOPlqujAC6UNW+zKbt9j+koTRNGROBt9wrJNf44cypzze2XtPNf8oGc3jj+AMnqqvu8zCT/r/rCDU70wySfXCZW1l+twHpR5qWc2DvVhoPYqQhT0KDbUtLKUPvcsDwntqEWZieG7Jvuy2Ki8dW4WGx4ukaNgAjODuPtWBt9wndE/ahJq5YNmlod5mhz0yhNhUFLoh//CJb20SHSCn7pFX68S4r3u7QOcoo/974hfJGE2Hu8OlUukaDNBDqTwTH2Rgu2ZiyT13whPUGizY3vuxkgscw44d+iG3TraME7BK3HPjkhh0QA6J/u9zpm+CGbRNkJ+SgypvkAu9NPLlMTseVCmUEISPqr+U5vvZ3rYIChAtbQuTx4lW5UjwHY2pXRZJj0fZqLFvQaveN7twbqQkGLPxuHJ4Z3SwE7XWdDfz6L9kRlzRSFyUYDV9DbwgiX0sncDTUsKPC1kbGyD+N8T04bDSBisusRTJPAIr3eYPfx88b4YkyAjomgLfO3cm2QQXZ/oOPD7KHSx7vMm7wHXiXEOTHRNd36j5ZJfcOWUw2kxRKoc+812SLMTZODtGrFJt2tEsSVCksnuLUbghOcFV4wHvtVr4Xwxvw+RpgE6xGZtgyTqGU+B2GcD+4FXDLZ4ogPzVi9DrxJMsV1VzylAfTa78gZPBXwaSg/+iONDz8i08NMOM7VMOp/tuGZlmTLnWD8u7nn8lzndy+QmHx2UFp5/pwJJdxGHgSxxGk7l+E5W5BTSEkt1wbiA21V3U+T+YrhkBFOV/rvgn0AltL2j+tfCmzX1W4oYBK4exaF/hc7s8aZtG1+XPL9BpYDvG3Jkb/rGYA7B8AsTpT+UkKR1GbelO0VkGtPjLPcBtdfIkC6GHA+DodyorHzzkf4ngWzQu+JTxFdZLsnKc+rf2PJWI3NvBEmMiedO6RzEL/djOLuS3QxY35z68SvnOL9UVFAmWEKWmV2z6687f583oj+ywNgosFQrY5wpt3FgG0ovvqBYluR4BEQE4y4hpFnrq1rHyuE4O1CmSRQqsknx/3PLJTMhvmixsvzlhXUPQob7hmtsCI1eUlAamoOK0KjDjm7ifvAym4XCZaonWji+32K4rMqfa+0Nmu9nhkCQvwLu0/iJXeerajRu0LPMWANbFx1KhALWqACuL/ZYWn2/N7OF11k0SPSBz/FE9K43l5p56KDS0lr0NkeZT8OsY52eWAeR0NRLXlFdDVheodJg8Okc5S81eIX1dosQ08JlRbqhwr28RhgG3DOcgGFk5ZUEJfrx18sJGK33I1gjck1Zji+2uE33H1VS/ngRIcAlMoY1SAit265oniVwaCuqBdAPaXReLKxqaagmltWirAGpBjYg5LRdXz39//6s8yidcCmfITT2bVmzoTnIqf7EuNf6gpJu7wgar0H7Nqpf0QnyBIXWj5waJ2tKGiuV4i/c/ewP/Oat/M+znbXTZ6nf51GzQprY1C7av33h1kQiCd9XVDorTNHLsdWqRh+RypcajJ2Cs6JXO/eC9TYfg70ouOWbXnfs9GoTbr2NPlvKXYPNBEGZLGy3RrsL3Lks1uO5grAOGzwEbByMP2RpNe/eZm3Yh22CmCWnaKstnjjpEfee4rkfwWEQT3501sFPMWTg3GPFDgIbSsafN2zb0hTyf3MaPoYAXl1+CcapL8lSbilBRD2SaviLr8Sq3QJ6TvHkh3w4YTFTRmmvxRAvBl4O2aES3/I3jkid1i2XsILqlZqrWkUDN5S2C+u2yxUB6Yldu+XmKLcZDyd9zZtPQJXZLOjxq/DwLbfYE4pWPDuWU4dZaNYBaILqeGuAqF6lfi6zGP5db4UmeaTWvV7VLnPGo/pFbuIAaSVOcxig9wvTIOTTlwYLdkPKN6TSq9G5v0SHyE2lMLclnEXop3VK8e3zNA22f+5E+PMEN3iMZaOHlpDnIZtAy+hhrN7BoMm5lnZdg0ED39epBNfcDCWhf1yxpRABdqQIZag+04p7wljGCo9f2Pafdc/2NMTmvQ48S84J9YShrwKRjagEZydFNYbOdMEZnYAzXLQRCyKI5s3NpNqFECKKnnZtg0EmPfkbGEVCfFsIvyNezB3Mfwf+pkuuHG0SRHSp7Uc03alWSwf+WUMKHCDM2jXYTZFXyvyS8BJh0BU6nByG7DFPIOu/3hEbKkLhfoklhIH/e3jpD495aXudd7a+E1COET+4ItFx/hBgBUVfw8OPvzgbef25BPxaMcXiC5WjG9VjUy+kl3vNGOMsY+3671fpI5dNeGA3HywH1eAX7eVH4kpCs+h8cX94omi+OI4mOWv63W0ZQnFzeU1TBoOIKcDfpVLuaU/L+nxlJblSKEmY4NffEZ2UtggMJuB1eS3P6x+sjie4Zsh0v7q0PHWsIHrtpSruoOhAwPTSAXySuOKGnLjb4BHw9D8MVl3ySei9Jsm1OOKilA5iKfg+Uv2CZyTRJPDwGuyUkKw8xRKzZkkUKBTnm/5f4gGTSCvSKWmbQMaEbB+ydWRon2hIMoFcy1hWQqTV4q/o/AnujWExYQTGSgnYgVAHOruOGo6j9WbpxWkTODB3LtNBkKP4CZ4mNzexbMA8jkxHiGjPzn3vle0Z+Z2SbAiq6xGl6abzw6vMdBJ0s3r+27z+esoV6LLQzLeI4WkwZn06+cKgAHN4Y2un3mGZvPn/91qTqdUz0HitbtpUmkFlgGjdN8uGQKBpCc/BTo30cHW1EAZWcnix7TfyFgAbM0KN71PfsCgxf1k+7mkH0s2IXDyB9U3vA+XdtqNJdHP5tUk222sKpO1D/6H/kTf3nvhDjlMxD283No1HjJyqQDaa/tXpBl4ozicOxjWLG0puDCjucIUUTmmSArJSbzuWV+cwxGT0PZuvoTegSPSSAGLzQxxGrgfWv9faMnOBeU4+wheAhL9S6dDHeMI32CL/OqtixIhCQ4OrlC07+SZtbFz25riIrdZeJVzBzOgJp9BQR7pCYApUnvPYFEHmYXf0iZTNcSTzPIm1T3ZEh09pTLppvjkQvJsyI8GDUUNPAsK7VQzMdwZuBy8uFipW1Uqq8f0S9Xl7UzsY2TDkuoaXDnvk30qG9LaZoEaNSMm17SBj/6YyfYbySkdClTxA29FEnBqh+YsJ0uH9bELhHU+C+rJId5i6j13fnYSQTK+E/2XookWwW0Zd+5gVg/LhK6/7jCsHfITVfhOt+ZOv4P/Wd1TT4LLuYZJQnun3u/841HSdpEXG46swPk/uFAJ/MaombsZxKyA41q1gnztBU1ruFV1WfhSadm2mAIjbQOScw7vsNrKBYAdoQ+1ZoOtH2V8/3kR/RM9jv361EQWb2236qsE+//8C7Li3IEHVYEuRILQ9Hu0ZKn6F2lG0/IBWC+yTeSGCmrgydETfAA83qxQZskjWtrm00TykgNDHilMoHEXcXdNOpNGZ+Bg9zGAAsJz5CziaACzzrCdHihbDRlNX0dX6IJegR0Q0tJH7j0piQEcJudIS9MsX6HAmX0HD79/IVoeOLqt50py/GXS+YoZ8Y/YU5DIlUy2WGYnvs8uH7aGBzxiX9Hw9wH1l8GhlNSyKyO4h2StllVfsNIrGnS6pRbvP7gUnlvVBiCl9VFee2OE8sPgbyRr3QFrG7Le87yJskLkI7P0z5Zbhn/JX2bQkInQi+S+KACwfrP0ZpEH9x88j5eKAm2u6fodYuQgx4uXNhBdtx6sttNdHGtyqtlUW4+15FbPO7zSFYGRwfz4j0PBXvIaQ2/lQRmcej5D0Kx6P2U8OHl63VpwsR0D6HLf0X7h5nUVAmenvZnvZn394e08xEy++1eLd0NtkC0V2K9Xb2iS/ouQOnoixfQFzZwIzzrziCE5ut6edqKkkpDoVbE7yO/2L10ucZvSxsn+EO5ilRozQ0SAlt8hOCmSIVCGxq4hdyryU6t9TBpJKmn9E0Z3y2vd6VZK7dHmSfBQwIkc2ot4DOim/9cM83+WskreDT+HTAbrJT3fyFgvK2jFg67ZGLBC+1kFZpkvL3evedO3kensItk1a0mD7jm5G41COp1UfVTG9sL7d5XCMLG09IqPfk2Fm6xBhxQQUOJoCtoWbOltALBdm8Mrew6LB9ZLnJk/OLWq+JX+uxB/W6p+xG/XMSwgWyFEJsilbXPPx5jNt2oPGaCNcj7P6dHPzJVmrMyZYZhQD3ixi0eBDnNKSZMsC+7D0d/tLXMERTF0K+t24QiLxC4/Cj4JqAVG38/ln+FKbKkpNSY5ymS8S1DpGs/kr0bnBTTyE/OSW+zh06m/MgGyRlPvJjRhsMCCObjOBnESQf4TE1Kn2natdhQscoSzz1n8gowxCgKkk7JUWHg2TwABm597EsyjbqOZm5S7zfbpdYUYEdvA7HiQmlZwbQHZ2g5mbgezsgtBq7J44R0kNnCNVsvPpefGWbXVTEhTz3AxdLZvMHxubE6ojZRm4UTT/cjnpgkUOZ8tq5WoP5mQNpPpNlcpgBYJctIe6RHv3x/kSp2ZvRJn0chSVnJwfjHHnxOW0jxMmWYKpXHvVwo0CN4NocO73n/Ae3qS7Xgpxa9a+0Kr9+Tcs/eOfg3ZfvW9owbRCXvx/2ebZYPkQJkosgh4dBMx0iDvWaB9FaRhenrbv5HWz111o2GsiH4fyarZbIRtVAf2So/vFCBBhP2bVWLYLcBR4j+T23h4h8637O/9SuYr56T17YTQIjdwFautCdWdhzxY7KaTxQng/J/fDZMUoM+AmjygPwIm8c3gTtsAiqhFcIfKowskLWlEX7HnoaWMpNpc9JF7d9BMh9Ul/sdScUUsalWahWjNpK3zCTR2HeeJ+o92rHF2Ytecm7H+CD1zs1kpHSb2p2/S6Ub0sC9mlBwxgnhdkgGOSYyGQ7tSTyy6s3KNk9kB7iGQwVyONwZbQ8TzmK6PfXi3hjLK3OVuIyIi7W0D83jxY6boURrClCgCs0vebbhLxGnWTgs55W6JOr10Kj3NA+TVXG79RC0dZVUbx+En5Gg7f1Z7qtlQQ6cqwrdXUK34zN7A1HFi7WxiSK0AXijtPYf2KmqO2kudWe+nYFSFmaA8Vk2ppDN/LKG2EUfSeOWGxPsu3W6VXMi6dVGKjmBYICy928EfN4caPVH9Fg2mPkteO8A5TahRKDwo/tQWw9K7rCHvItZNm9dc9hUuDo+G+tTth/jrwFSixIFNuUt8keJAx+7hO8eafAb74D04Rs8NidaZpWkiWYhDjnYLlUKLih7+PJYqX8OzOGwSakj5Hdw8J3m4R+ACA87z2bBzkY00wfkbXBkJsK/0b0ptMuM4fXVWIHcs/l1lgT8nOMHPqh7BkfamleJaOoDu60kphe7++Exa+Kf60j2LQCOzv0CfAVs1f3al6d8eEnah8CRRVLCzmFfA2sxJuYzUu86l8TGZXSSMFikdXr/qejERwYr81HKYpCdpaLJwhNGutmrl0949IirfMZHhPhMgjeXB9sc41/xcQPZ74QyzpSse7OC/5ZlpAsv5206aDlS17RQam1a+MWfykcwUUO7qjRr/kp1yJvSU3SglhnFfrTbn+2+9jCq+OI88eaVWy37zyQuCcoIfhIhQdzgORMpFVc/B/y7SIh/S2qmaHyrPmkzMTISjOuE9UTC5bTxDl0coaZJ/851q/LaDScKck/54CAGXj5X55/xoYA8G7uQ6c4Xo4z66HJhh0IywoI9W0pjgiK6TynGPLrhawZWhXuTKngHmiSian1h0DUs7FdoyD/idcF7wbw8ma9K5s2Qpl8gcKz8Qfl7tcfMUN9fqGBOwmV+EmW0YcUAy3zpPV2TpA+IDqtAW3nObWVK2aCZwIg/35Oafw53VmEGtJBD9kzWa/ft9biRChhwRicwBOjHnmwxtkqY5WvJYfhUZ9XRIlR6FeqANSDAj2wCE1Qs0rhVg4DU7P6Lw29uaJjENsbnTrKCXtRSpRW6leGFfvX1s3o3OKKeZcgozv7nW7S6PnAfMPAGzqIipUjdKcGkQtJLzp51SaaaLLDWaNIf0JdxbzCsbbk1BW5G2QBj8xudzCSJtWLaQIObiyYGEE8Ys+HwQ/YB4IW1vY1rQUXrH7/u+RwudsTT4eTkcP2y6FYOL5sYPBkYkmwxAkWYhKXbZmeZENAjwBevzCz+330XSPyz7h4A52wV5LS/UYmyW9v6y4fFGGrOKdYLh6xM4TChBjL0A6UJLgIWsuQ3cdf7l2KlQEx7obEM6JzqJZviY3fmv40VogNkMkmVdDazGaBKv7y9fzoxxBxsy8q1hLRgT3ZMnVUtCqN3viCDKr5oFJNadkmeX1fXiFsUfxnttIGWAp0eEAW060XWmcjEMiw5AvdgY+lyXVQdqaw4dIhRMOlOTNdLUbGwPF4XB2yod59t4nSeup+xXCBwHSjjVaW2nQjKXgy8EDmohvnOpHKtEUeXnzeuyrbZmllvz8LAUaz+WyosTOAOHxGecDy62vJYPUmuSidglDUMA7NkBgr6yUJ+3mh+qlxcjX/2Gp+J2o/DyedDkXlre4idOCxTwMCL1RnZOLt/bhcirMo0Pi4i1xPHSsDVPZaymz4GoZmPY8AIvvaCEOLFLJG3aaOorQTfv6o/v2YIXUn8ls9hbOH+4ew24fLJGMiMe2TBLk0gjlKOOHo+9Adrc024dSwvuLiVUxer79ft12AtPxh+QXUvo/j7FYu4benzEiCLS3VTuNoanQwogIzBvFI2epZHz2I7Ni91AHyvydq11k3Zu9TENwwC661cTn3rN8/SfwbIQ70H6KEWEnnzU3C51+yHtq5qjQw0+GdDyxr8kVW6y4FHzmeEXhhk/CADs308x7T5VVuCml+diROrE8zR20r/6uDRcmCBbCqcC2fr1ATJTlptuusgg3FaM9lEN1P/2sAK+mP2hRSZF8VCeQifdwk1FJymBbFY9A9hvPVQEHOADfnGdqcHI6TrzJY3FFT/rBjmMZYEOEGfpZsfK88+4SLZa+IKp6usazW4OZrbCkCGx+xfO7UmkCQrwTFaH/lYmqPY5lf7RCsbWGzKsi+VbWuVxQgI7FfUNU0n2obFJMIwU2hyBxBnFC8CD1zVOXN8LYz8BlUOPywtVfkV8DXuTnUcUUBXCt90sl71ZyxfRyN1/LNvNUbcVKmXgkAI/JyApkfFAC6xHayz/+xToYM6obi410J8jiPPcfIG25h6Uwifu2T6AJrnhcieWaPcUMKd3/mLfxMXmps6S/K3+iPMsImYVvyh92alLVsWjmjzbfv0Bst1tLDDnDF3VnbDcnbCdsYXAqOKPbbQKU/lnEpipVqz5lhDjsfk9bb4E0RzULLZy7WNgBAdxUNqSn0j6VvJElcVhMT3ScgQQReeWOAB9IRo/BIhKmgg1RLiGn4mitw38g3LblNmdMmcI6j7iAXU+fXiGeKMlMJZXPhXjL3uUv3+eLGbnq1LN7ayqESY3EzVI4NC0pt6U4IimpmikEy0GyJs1O0eJy+GLGsUXg2KLV0NDBaQWeZqQNNB+tXH2x6S2rfZXdr6eqHtlulUUkGltdPVaoMjZaREIns4BH63pkLYT3LQH4DPFm9j2/RVnrW7J9vWKfgp3+fW57iIXzpawT+ia6wU/k/kZUJ0OE5/xaZ7r1u9M+2MI8cqcQRd75NFnUCOEg/DOuNrQvh3bc1hy2pcRc3lghl884vtLrDDqYTGUnbl4ZOv2BfC3tP0pJ+ep3fTtFgbqyjp1cKeZCH+X8tpapskl74zA3ejDphfmh+bQx3nf1wWRegWMrVs27yYXePfKQjB0glh7Bnjoz0nvqiXbvk9sXeNnWO3EsMKJR9VXQj7BXag14lQq+UY2f0STEHJroGybdYWvxSDryKapuYQzP5JrERv6bGPZEuQxKnG+jIuTMC2fQf1Z09zsdeAf/khGFkQvKXtECImMgxWKRK+mYBsGwL0JOSlSYP0e+OYU+7JO0Sm5Cln4+lwofSbMbw4Ilp5mra5Pnzym1Khz5QWJ+sNw6Dek/d5ADKckLHMFmevIRly5XREg1T7ltN+BkQsyqqtwOGtnvC5kOm+U+WTpppIfr5OClaH+iJL6gW99gv+FgjxVmowQgusW4UGhtN0g652ptUeiAkpQmUW4e6yvYyklhEjOI7TJ0tSXvJuDaSAWmq8i/PLZCW4oWR9hGsJYevlzO9kPGVpaTh8YLfn7RP/rNArUbgzX1vImDY8oZY98XudOrJuhnZiPSD+1lPrExtt0OVb2Xa/FaY0Acza9Tysu4kBopAYPrldhmfaLxZIjXOvsuvbEpeBmrMIbp4ZXKZ6EDhaYU+RzCdyDTjvaaDx6R7NRwLukh+yrUPUG3MdQOscZGiB+22v0QY/3rqUlmLAwstO8RStwp//J62jkX0pZsWcQCITLpXd3BfVmySErTHtsxIlMe36EkFieL73s9VgVO3khy3IR9lAmdwNcVWzEC0zsno09MEfSUD4Wz3y9OwDRnkHCqaBCLz54dINO2t+zwD9NhsxSbHrCapHp5IZSHe1zRgwq3p+MwhuwOavXVSJ+SD4KzONeLjHR/lgEMdLyDpJ54cyYCn63PH4m39PGan2vP3xbvZJv+a0nO6/T+vuOAx7y5423LZx5FTNQdpkNZJz0Q+v8MwkXRsRvgklpkgoVtftkph/oH/5BKcCXSQpY5Mkwoe9YDa/tMqx6wTeqypNpIul7YhCDeMFvGYoMYb50fcUTcjRNqm+Vo/DC/upT8InBm0n/ghcGRpWrf3w/oef4PDQzAa0ebubwT2/N8geregMaFkHyQKCKWhSWg6aQNQvBRJhhIHCITCTKYNqFLcTjV+lhueDLRvXL2x2NtcQo67L5ba6s20yWo5tEEWAmQ0MIZnBX7C0f+Yu4bCiMyCR25yulkzk89xocvEuEkDXlV4XjOlmvDDiXPxf1w3NgkSPF2VQncCleRpCtxZLI6ZCbtJQ0iqRSkAP8JsLxsDQvhft+Bawm0wEDR5KzsMP1fqA3QybP+HcEJuboUf4TCbg/0q/5PT9AbL8NscI0YwTa1P+uA87yGhAK3282Srk8K8NlsXSi/PR0PVQm3n1YmGv/6+B+8wsNm76/17yjHsNMRJOFm+5dc+RRhVgqqfj2LVVQ0qKnd6Iu/pW2vdqOBwfUdmK1EtmZ3bXbSBoj7NqnzKTudfydFzRX4lZKmgUq1gy4pC0jgzaWmX7cokmYptidD3nXhQsNrn9EMGWhNv8i3DV7mhALfzM0p6orSbqM73gj2ZLI+0Zv/al38D3PxpBpCZduypxEfAnkWTn7b64ACfPMk7gdzQ4oCdAzp0fMB3wVmrG8mbCYLOKALiwNh1rCzQyLxhtq1X3jjiALoMKp/n7I3xjudT8DLE5KG7GGZi05XFySkDwJA5pQFvl+UbjQlo2eRYBMsKz3w2v4OtprRWs5Aq3VFugcIKqAbKHre4FKhBzMYfXLwGCC179vtYxGP0ueLfZu7tyeHR3p5anTzyxxcsLP4zeBoNE5H9eU5TDumTyVuUUCDTcLuKV8ReRjfySN1sWn2ZO8g5lfp9gLd7TlBPzfdI8HT4Fj5ydA8Q0/q670mJfkqeny/WTz0WCVzbAU9XkfbS/oudPC3CHvTWGSgvaTtninjTsQ99Tnf8JAJW7Qz/1+wtP0B0Ru5Vwv8OASLFbxbkJi5wyxkTGpTuJd4ZkzPOkZNTI3ZkYyWQ7OHQ9Yx7j+CTljJdU0nUpGQg8/Xp7uY1SKD3gIpIrNZlO81bmKuOvFkc/Ge9g56DvuY8jZKesZ2Mwa63VSoE57CaiqSK/DZcrd0hBE3ka+V/jH2Bi6JIxv2KSUpimf/xpKMoAgNyFE9DVgOZT27Y1Ooo+ayF09eg2ySQxSsTuf4Fo03TYfIhgkzYiyahozIEvVZiTWzg2ZnjhaRNryWcDwcquCSlBDMfJ1V5dmu4YPhU1F//p1LmIm9pLPGGB/B+ERIGJTYbWBeZ7rknmT32mYu3NrLO2eSqoYTjMtqExDfvO9Eb1i9n1Y2wGg4vu4H1jbj0VrZ/07jdI5syjIiXvfy8d2MDjmSBjqiU3EY2REu7fbgOAhI3geN3GnrY1jZOYsBx54EgAprQL/PHMh9sNvMnzX45bAN791RCfSswsmCVYIGhau5McNix6MChY00QdazT14ByCynZMvseaa98qmFPzVhTrcghUG6yaK/ODMlQCq3iGY0RdsnSZHvFNrcVINMIC5qSQCeSF25dRsmkN3z0hepRUIaivFYHu1go8TqS90xgRC4+9F4qVSuFZN8+eIiSCFchTiNv97Va8zjeiRStOozhdcbGvDIOYC0V5lg+Fc8mNdpj+jqxTKNCZwZt3xyCeRy8vWt0J3Fq1vzMFjCKZSXd/cYo7lSsjms8kwoeXubYMb0KtzJtNv0fNaKHCCzPhnNmbGz6Z/C1o2THIBAXapeSfjZKbzwRM76MyxikxTYGzJz6UigcT+cLW7BxRvKz6dj8Ee2sgLjdIbbic8FHntq4x2TvobTs89W4yAa5AJjSr2EIt/ybhv37rcINTRqOhFDJ8xz34QbAMTK4hx7uIg/spXwlHkA3jj2NxXEXqdgu5ZokVNDsiJKizsvz7CYSmKH90yDE1meZ7RV3+2ooN2JhYCCrRKNxquggmYa+HUlLs70oKaObrfSLFN1wASwR3VcFHGbXoGhN9pcTZbwRz9sZzleWdoJpTLe/8PZwX9iCQ6lnSA9c8MsDQ2bcy3+kP9LiLmQdvuDbQdFHpRgjnYoQiAv9FpUNpHMCSZoyHH0RIn9oeXsdAXEak70UrmPynk+VGmWG1M9r8HUD61t1tWebti8XK1eLKj5jPZa1fPvUFXd/unUkoJGtOxaGTGsxAjzTiDYJcH7e5v8xLkqhYrWRcjZ0KlMKOzC7hSThuBuVbnaQrcl91ThVKQhXzewIX/H+dElKo6RVNVOs8mIJVmsE6VXts5ocAdfFXJacJJSlKa7CUAn0Py9Vz3lwiBXCbPnGUh8TncA8sZqkv2/11XB9+Kt7n+ckKhIHcMYikuUy2bvdcQc15FAWvu5DLbULICMvdzmDbTJcAf0D7ZQ3bIDnTOcj+UweTi5uOUBa3ZrCF3wk/LZXv/Xi1eZ1YpRDxxoPmM0go+vnev/w6M3dbvAfnC+LpEbRNx8iEOG09FA+UnFrTvJ59rKZ+BV1/RphK17agCGfWi2qG/K5FJH8k1N+1a3qxk1/fbylnCdncWc5m8ZdFawAzqBe69QT/LOfuZzZIfCabc2Jnzh1C0ta7Ujci/UN0k5YP2MEGnpe7Lq1aFkiDp/W9PibscKdwdnjZQBt4eAx0gMBNKg8t4sSk9tX8xLpg4fPlVuUkQhvafzmsyHhTxRmasNJ7PsrSk/lAy/KAm2efpiiHebxlDJAvKr1MI+f1mJ9NHrCeQCGyKsyw4gPZqmL41zhC6ltR3+VsHcq+LcvxCS0PoNnJzzx33XB733Y/ui/S5XeG8ykP4OC3aYuoDtaoEvagrfsVZIzznY1mhDejGqLlemyOByD4vRjQxo1FxfRn3KGseh0ro5SRGBx47a97rke8B2N2X4XKA9HQAyaIFNY6xZ0Nlac8jtNz4Xk+DCVP+EaUghO4yj1aEa6VbAf19bW7U2FMWFI3JMLDCOV1JTRgzWaTeHgTmShkHTTBGYpm3gd4jCAgXVe3oRjPw+xMNmmMuy+52oa7LA2E2R1xJ8YlbW6icJnBvyBpVEgA/tcDYYIuO2p8KGHmoPn1UUJiZVE6p+AxSzk/QGRI0J4t4RYulypxQeL3RtY8PPSnYfxMG43yyL5lIwR3ohoP9V6lnZvi1XtYI5y8tYfRype0QOVRZRfyOj8TD0HgB1FwF86/OYjus0RT/VZ0Kf3qVuq9dCGH0bxuXbLJwdFyNJ6LE5w0OFvT/nKJ9Gyi6L2eydqyTff40FlLUS0gAsGM/H/E+iDtCyDzsY2zQCbX85P4U52wXJH6ABYnEiSlVO+DQdcwUd3bGAWUiR+b5cOZF4pZaKwlsiSOYERiqtuuPuNv0uG/c7+7mi0d2Wdv6l6tImV0MUqd7GcUF9q0xbxkauT2tCuMZ7nNtmbiO7lNU+JI695GwjgIAYxEs/wvpS+N7po7shlU0FK9mcERs/tXAeQdD4zVkTxRPrui8J/tqxPJ6HvjIVYMmKmKRTviZd4+Xkb1axXusgen3G/pB7nrreztejlpyebZzqacykR3ftnzYOr0mf7gEj8hYlOM9FhrZQS+8tfBPyTl57sq6GiRdPcpxwlZ164r30F8MuR3nw3GXX2fJybXhbw4wt8Vz34jEaj7LaeUgZ+8za7yX6vqn7U7SucmBP82QDVAYuZFUvquQCcOGf84ywkkKUmWCkSGZmCf6bppVtGKh+9izdu86KybK+o93+081QGU41M4wA6UWZ2/YFIv5p2/7l6JzZ+YujTEvfWBkMogt9orXQnkvBPAYye/ZffHJHUtAa3kfM9x0hP5WKkOAO/W4dky/t28TqtuFWh1m/TAykCzKFRm/yKaUta0BT8mHQ4buitjJWS+wP11W6KZDPP1lEYpoaqOAoEydI1pz72+Isr29lL4zsq4nxB01FlOQ1f79mFZdEdZTesiOuydmf+bPCBEsVZjsyYvjTm4UlQD65D9aaW80benZPNO+ddfyznxUn7ibCXFKXr+LssBNykgUqE2/azMbID0BOga8aljaibmWuZQhE1HW2gFWamf4qj1wJo3LMJaFhvarhgDLiqpiwTUbtejYB77h5MoPssqArxlSAosI/hXIWhPWBUhV0dAlhXqNhDh1J1cU/TZx378DMDBVF9lrMfVNz6YN5G7+b+kydP5JS56Fl3BYJ0shCf0G1VDuWVHSnZVNmnFoEvLAznM7X5r3X8wN8mprGPHQvNIoDZ0VZXbzraniT4/fKW80dpCvyrbMP+MLyI/H6GOTeQQf1CUWuk5R2LMVMCBxWvvJOoaP05VyLnasi6wskTuc0nCwxGQZ6yEV5gdJ49MRxfhGj20nW19e7H3hbxlpnWsC/cqxqweK0oiS0ehAdvPbiqWdaVzy0sVeqqjhRCkPDHyCOQ0n/JU4ZVDY5aZiFt1krgq6lpaSOz1A2hWzN39w8XTTqxkx2uSzEt3vawMffoqUYzOCtkbAuIJ8ZF4t9JyjwPevnrDYmtzY63/AfTl7rxf/UFZzHWqnvQtF/+sr9ej7fVhaaarmOUiiQUM7+ct9s0BcqSfrXEGej8nAcDCoSnUTSnbnHIh3ePmkmWWCeMkXBvRR1PxNTULYxtna3aBYJx9ZuddyOBZGMnmfJQUQvZWZ763zqamK6wtmMMwD3RggzsNI39sXtg4dNbU/vgaAhvm+OawzKdRzZmBS43iyUOKLX3r+7lYNgcUXh+lTaPCtGp6RW/GNHt6OkvTL6Dcv9J/T4tS81GbhmiJilqVtMFq8MGNT70dhcw6/XUNUsh/jGr7xr6359gFzGMT379dW5iynw3LEYMiTxU+5qOlW38+Kn3xUxYyrzvFsnNhu2G2/xJnqeohFG232PwmFyHz90oUDw4BnFRJq2bGvN691dwKYIwldCMrTo3vDxGdffMXuvdmEBQp+EaKfdfwFfQWraKdKiwgwo5wJVa8BK4hAGGjN2oOw+2JaL334/9YYFkfM+BJX4YeJVEShblFYAM3HFyONG0sJKceW+D01nweNFbod+qlWQM0/Tt7G15LZPjoFyIEe+yrwA9LWwfeLV3zpk9vGq8AnrUTpEKulFZB9aDeCfOXbXDNCJnul2/wRieaYKsz+fFo2cvuzk/FSyv14gotaWSfbpRgumSr17r/u1TGWN6hKBuGgiiq6ILqcFJu6zY3z0SV0N5LQ0Fw9/jXGf8pSxiC1jY7eyLQ11EZf7WDrnIg4AbQuZuXSSieCWpBZ3t6cyyyx0SGQbTWNkoZMV7p+XeQwbiTP8krRipbmDpTTWUPX2A9e7fELo81UwNb4j2qXmtpdoAaAoaiKRpttojipoqB+rr9Ohwq3LB0omHiLcSEKPFUiRSAFx8Q14dDM+1C5H7ew2nKKj95AMbJ28PVxIbQjQGmcOjDbmzLZR8riQDjEHJ/uv9+R95qi9FlybJVAufRllUg0WQlN29tBxd6XLDTQnbaGZHoRAG7YPIiS2wE+pegcmHlJVyA2K2TcAFDAB+lv2Icbp/K6t6lDmtXCLbUqUKC0WBhuVl2vL6nExiV7nmdyg7vkC2EO/fXiixKJxfVNAUFK+7Gz/04sz/GznRvmNa8MnXfbnuUl3wkLbEeFSHN6Puy3HSW64AIBjYbv3iMvlJJnUkx3GAvgkPos108oGGP/agXFRzIbv4HrZS7fAkV1LA7VJcYH0MM6kRtIEctd5yb1V6RB02R5rmm50TCndupooRU/VlSVpVni6k0k1G664r2OkpomRb4x7UeGZaA1n6WsfprHQEtCq2hx5+6+QpD6j2juQLZtOPRDqCfkWa+s8HHcQsUThK6gMyHsOzNEeVA2SAhi8GajAMonB3dd6zE9zWFEcKSzh0d6orVB+F2ua+IaBofynCTKdoMH85+ojP+JwMy4BAA39hKMG/xhfVLeizADthucVDviKEjYQHXzsytowB86zEDODekfoqRfR1vNANm6YDW4AzxIes69E70LADSa1phYU94v1VdU0jbc2xwDvgWhFQUQAYLKDSPY5jZvDuVzoWmqc4MhD71ZQWNQoyxSQOi8oeZ+OSo3KIWUY+dlI7sjF5fsTSQ79TrEL++aQzBKiacHkqhJl9oLyQYPP0prkPDv/ZEQa1ixh5cRTXIsFVhlN5yphrttns8St320H4pbQDffbO/A1rW3Pcm1s4vJ851IEwJH5+rTzPO+jLlTxK3RWYhP7QgamRGw8DM8QmRqXpbbRwzaNK093okmFxG+0lzmD2YpNL73Sh4hO92+ujJv6gEY3vky7s6MS66b4VfREb5W/4ecHZVR4vu/X4DRsi/0TQKFYfyLFFkQvYqy2ohHLg5swnmEJtrP+mSnlDyOI8LYXRN5kZJu505pj+MzL2U8sv24gEsPiu4mVry3zLbngJB3kmXTiuP+d5lkzDt0MbbI0frwFsmZHfuv2klTGDw/Hrbxpj6abGPnz4kTJ+Qckq97RmYcm/2ytF68nbIoItzeizGCy1eMq2+MXQoS86Q3sYaxnTRWaBKzN1dnc8FNpU5fLBqCoK/HKJ0GtppVSi5usDbEUUU6VLb//WY6GEDkHKBGro6UwHLcdmyNz2lx01oPVBckLuMPPd7GNdVNzrOl/N1SkFeT9Q6Fvjia8mt5Be2+XP8Yo3yIk3QZJinQwjLgZgYVJcYCPcHWlkIzBF5/2zkrAf3ZzpwNW7u3ed7F2LsHqbzOlOZ7vOy8Xa/bkF8hfIaGkYxK6G0BeZaLn3iw+U/fcLRzuVJWK+iYnMFc08o27l8E07PTIfOYtqC/heCYdO9DNsIcry8kniU5KcSWjuZTGmoCxBL2caxQig/2iAqQvoK9JSA4iCZA3py4wWZJnHj/zsQlO7+njxWMCdZfzIhu+471O5e+FVFsah1XEhgjKwguf+2WBF3XAA2UmYNDrDhiOGvUSnG4z/FIETu+dFlNOMkeg/nrKB3paBPuQ2m53B8WZi6bGGA85vLjjUlXrKXU1yGK8dx5PmHeqN+l9+8zCeMvkRMT9ANRzhoWd2fsiGd2iEm4H1vJCjSXHDAB9xiU3yf8/80+M7MHCcWlCQvZ/46h70Fr7Sgzr7SJyErVR+QtMzQIAGtOZKNdyC0RemgjcJYAI67oOx2ux1aNX0dgCyttkYXPh9QLAGbBONWGvOGShL4JtOYpMv4EC6yKmrNGiflM25B46/U5Ux7gEL4SgZwMKED0gHstWV2VIpi+Dki85A7cPXCu0aHiJ2GRLPIQppkgTB0SB1TSIE81GgV94lZOuV+PZQcpqbM+jsH83a47JNf3jZSKdOSrh51H8HFIUDOqvGtTshtpAWnaaFMuaEFuEh9wk+6bM3w2AetY0eIVgEMS1+NGd5T4DTXZGvz0pkTM3LI02+ZX+6uZxvYvieXuWP/Pw2xNAE8jYOX39VnGitID/lLiVXfCj6iEpl1zrXV71BY+zVVajNMkanztY1eYpAf9BO8omVUrLy4xgB5DnACf9nGzXTNvUr3GVJFznNUdswSbCS9wvM7pOyrPUKUMMH8ZCftQgPB91xdSe409usETxP0jZxp7wKFNzKHex246PVqm14ZJzunyzYSkvpn+K4guFB9TbNMFYPa9UtSCp/CArG7cFV4lwD6IPRP/wgzlCywLGTPetF6JQrThKQgiMp9HdSbtqW5FATneDa9l2z3TfZg4rSdmOLTDbGV6mbSqG688+jcRzt9zhPmmewoMyJMdvp5ZOuBwdrvh4Z8W3XA4WpRozqgJBFC4fmK2wRFsLNxi6Vv59bC30s9faDR4lzWKuZc9XLphUPE9RK5/Xa6bIal14JhZTlCqLXktsjGWYI1TcgjWIXa0odzFXepl9PjCRTB3Zxzb0RI8A/RdwRB8eO44m64J1NGeIF9dN2TJPYw7qImCf2FPYbZQypJcebxUMRalSQIrhutf2uNrfo4R20M/s7iLZlTi5uh7FJVN+LjRHvSK24py1RCInDC1PGA8OKrT0Lb2hLVrvkOuqiEqszWzlekZ3o6X7P3mhX3iMPvoglAld3xevKeax/UbmZa1zHJMWuXz6fK9GOEM3OJGTm1bxj+xRVOqQMj1iqapt97EAKUHVh/Wd5Otprg3WtMfZ29fSuCXmRMc9GxZG+J5XSwbyT+DMSliF9yQQHiuv3NL3yhUYyirlu0X8C4UdhEjEcWRwJgKltmUoo8zCCZuqKtvI7OffZFWgq6cOwz7gVKEF/vG1u7g1VFTm9sR2neYWE8326ijQEOLNF0xu5lQVAvFHK750B2PWHPFDpJ1xvPPe+jaKlxA7gmopgX4EDHoRKkZpXBURNtwmf/A8n4GwPjIb5oCvsocscoNKpJI0os65ApTlLk3okC/Nr3voIpsd25zZQ/CC5FERH0T1kucvfAs/2jhtD77uKYOUswoGTNMV0xX5iOtRsqJxzQWg/sSYRYa0EO1zgetZl41egw35Gxl+ahmnWWin803Ow2jBfps8bvHb315RKMLPhowZDF0rAu5bAsHBs2/lzCw0XFhEzvAwiW4kPvG5BVebmiFj7j0EzEIA7JugZqYlvlIu+dCQz07JYzVqj27df3RHf7bq89zdwzbUJ1wQ03+b6tVfFEPk6riAiOrq6gaxDAgrl2/bL8jpTGM9dMRkooEGetWJlcpB834kMmLhKpIaTmVJkOSy5eaJh5yr6y/qCtjv+OnCcA4mWJntNw6IPW74Eqq27iHDrzPi45vuWUd/gOqBgwJTwxTvb5uacEaRgkKgeNHXUl7wH4VGFkQWcCOeG2gkbjSgJhKffOfyvZcgVmdt7jH1S9IpvTyG1TVKB+MR54MdC13YnSUrtatFzAvJNxnZYmjroQjv9BGTjC6aqzSn6VOQcRRml37WEusvaWZQOvSkIIOv5jlDDQ2mJLoycHyBCf70JE8K8GF825MReyj8eLtHuMDpyjV2zJhd5PfY1PK9LJYG71ZUDxF7cxtcIU+1LLUzKHUGvIA9u/BFfP8bhgZYKQ6QvMpdKW8v9czAM3Drla7/7bG+x/HYyyo3kDIP4iylIQiYS06i3kKSasQ+LdZXvzXWEtU5RPGkJtBvYMRobbsTQjE/hPG+TpfRc3yHay5essH4fddtPcdaxOAbZcMnS0UYfkvQlN3/lOlJ/gd1VCihjaJyED2LQMF+C0/A0qc2OUiw1j+vhyNBv3wA2JYQlufvmbtM5ykpy5RmqoQFlXJ4TWwaUYjrsuI0KSbMQ8CQnMQCZjX7KI9KZ6jXrQJJFNnZFMFWcB0ecaTMikV31lJbkbIFsf+W8n9y2bg5bxXGaFYH223JD6bzj79vyCs+C/jsKzZltlB2LpNCsTrxtrm2Hv0330B8F0cCL1c26io0NfXUqTemTDkFCK4AGnCs/sKeSE80UoT9m+Cdci8jKKeuhmU7hQF8XYKpIa8BDcB9kMwYskwzSXlnnoc1/DfV8fYTVaSWtp21nYTjK1YlN4tbN12t/mwZRW+dxs/34+ABIWgGwzT1DPjEjjSUl09sMs7f/BjHJ5NgGJ12tI1gBKgOBnR7dACS5rm1kt4Im/enYkhUSc0FL8+3mzuqhm48bFoUgGRnkhOP4rmQMIwfbU9tg1dHI1g9bTdfjGSiivT2arxuDwZxLdT9OJNfaovnzyhHS9UR0NeTBOftSgrsyuJXWkmOeJP5ZOSBOdahKr00pqPhv2SjKWSt1Qz1zMGbs5uJmSj3gQIDMTJzTYMKiBV1jxYeDWULwskcmeYMIZIs4sNsNXDMWTqYtTFnwV3Ve32Xe6TH+f+/EFAuwKluqmH/1a9kNwhHwqXpIaNi1zDYmx8AH373FE8SzbqDM2BN5SkAKpGKHPR3TYgADrh41CchE+fuTjVW3rXZlr8jTOdBYbSJt0xfIt3PvS97UUA0wanodroeunnVOdK2mC7pVTxEkMAA7B62Y+X1xYhVo8Kr/WGYULylILMdeqI7FhN/Hm1miqzZUx/rAG1WELj/PoyzKAqCOiX1GdLDdVu72hHPRCx568ec+KXjOA/nJMPHy/rS6lT9ySymcmSdKmqn5QqSAUYhbWCCHGSuAQWIXq9zAUNiSRiIMn4Uw1WOvGgKm00GAx8hbjeIHtpcWOoNz9t9xFfopQwAhpE0NDaLzHIICizW2LzLMye8Rr60iTEM+bbJsl933N6gyHITP+VCP048re1jnOc+0vJ/tP4L2gyWyv197bLN5/7CUzd/yNHiJ6T/Wa0clJHMAUGmv5v4HU+W/7EZ5yNwrK6FUn+UaYUwXSUNBFVu5jjDftOLBdmntEwBYzYathfzSD8+QrLvpH+vahKjz0Xafu29TPv31OOuKjgbk7Bom/gT8cLSXqe91j3lvBbxo2UgkulKxFiSHwMMsnLKOsXugMjkpvOrRUBg1gfu9EAp0/2e7MDjRXFOp+EXh9cYbZl5DYa3WFOnCH2l9/huuh0LnBKvlDAW5nbXoXneO/CRAKGUEZ/IRQS1TZWdPGkoRaM5oJgI1McRKpqmVj/i13RzVA+0B4UYTHT2jai3Jx5lyGXypAaYeKAaS7hjYdFP8B++3bXcjT5kef7Wf4ITT+S1RhYpzYk3tk8oqElkh9MDQfjCju1Wq+Ipit5Ndln7FnzBdPbk3GWGJDKfij3GOvH7X8Hkptyuod5DussJllu1naeOQOV9PMp9uxFQE28RIPG9PwcYG1sup7oRt+5B1Ltd2LG1FVsyTBt+Fc4VcCbklqFP8d49aFvQPV1tr9OwhZ0P/5UD01sqQAF5f94h+39UxixFRcgmIujIReUdlBmja7qIKPrJ0FaZvK9yOwSgNuuwIeGwNqHINChui1NNEZ/7D1GqzOOhLJGETD8J9YyvFji8cSJZ+NCdIQzIcij2ozoan6AkJAzeucfCKn145TsJ0CzDY8RkmwealgsLzfsQDPEw3RfYU+aQFL+1n7VHjdpG5QlRPXJLehlp1MzNDOxeCpHnCzXQldFfftf6SFFv7UAJsknJzgKV7isRFiDzhskrPSI6Gzgx2H5iPdBeJm7eZWY0nfdUnmyz3MtbJritkeqwM0rVGB9qqTqHvw9LCwTS/NSI7Nd9Pp8SYC76m28kJ6Otc3fSnGHBRJnYOotwdMyC9p80Kc7mkpKaoU41XOyL/Y6uc2TLst2kjR94V8SGx7gAhGPaRsfb4VrGOOvSC+XaVtOxxQqob1EGK8J9SICfJd1tWIBOFf21oYhG3e6v+dOm4+fPeCOLuf65oUTasMdfs6Gn1XH5bK/K1pTLvoVv9xtFX945vKwwvj42XRPctXkD8e+gPjVppL3vuROg8zi3WAthDnbn97zJ/DO3nqJKdcMyWLwMb9QEGnMAt8JHiIGSanScVvE0bcQd74uv2uT1rjzIyC0547j8SAC34dbqM6zbukvy/CXJh/M3zHno5jQBcqAu1QDwbBGTZ8edY4OMHc05vp6RqGe00s355Up46CTmER3BnM4J3KFdCfAcZ8dxwQ9vcYdyD7P41OoMg2AeK4+rrzM8Mxhsz2zBbqdNz1hf4QmyeO/LViFOHDnCaWbznEs+5DRVqf5L9cKLCz+3ZjH8EtLM0AgexyVgMn28fFfSp8vysjhzuGgRvmmImPZQZl+Dv3lqTK1aCmGrZzWZe4XMIBB2I1oKUNyGqtlwnIek4/QcpgCYONicrYEnodfDg8q45dQzR7hc666bP6s9umY+cMpNiwe5EMzEL1ZK0TE+9Wj/nDXDUiIhChXhGc2nrXXGda7tcQoClEpkGxmO7oTNqUtArw1k918j7/DZo0/IesAPlZcj+UcrL0bCi1bqKj+DlL2C1gNbdRIvOchtcrHqMQttoigzqkseREkdkO1v/UKYcXi7jMBZe1m0eTMRCmlP3FqHWjV3Grj0UdhbTcgHtfTjavAa++8Vjq18PRMe0X1aR2OcIpGCSuazRCo/dtJJ2RNxOfaZ8UGQztW3lijUfTvmVGBKvfy/3ugW0y5hEKiGdjlxCf1bZaYNZ6YxyzyuCnny4vcwiFyIDFOewM1GwHFQCbvzcP07iqlg04BTbIHLAKSotuhkLGYrRX2C5//PYosSdkY81RoUAcROfgR0y+Z8HQUW8s0DeROyGZu3kTRb6Be8xN5XNqFAB3wp3dIvG0nrpn3NZoDFuK1trp7NEe8bAwUSQpxkx3ksscWinkei+ydbo9c0AzOdZ0gcu0EUj++4WcBHk1GhPBtvPpkgA7EG4oBWgu06n13HsAmPkYF2NWmD5kHTzTgb2ptbB2FvVDl0Egu9l+oMsmRGFLtCAI0u/FmKhMyAqjZ0EKxG+BFJbJLEBfv/MEd98hl5R9iWQPJfLFZF6ZYvpY7Gkgl6iPvPCC1V6rwyB9MCy4bDJ9j9GnD3fiEy9CyUz9Ox2haM7lexTIXYwUvRFO4O8coYcJ5XX/Tkp2P7l7/U2d/ds91ltMvtaEl4/EgfI3zW/Ta7oLWAD8IpIJF1UukH9g0zl5dlbfttPa6c1UuHdcbGtzZMBGzGW0Nbb5l//XnMfFciESvyVeWLSzmKeq8MnbveZME7pWycXmUlmCzmmqiEar5n4xiKcXAkKyFh8s4De0TIcuGEkZ2cbrTHIXrlVu8YR9/O/fqZ510Np65V5IgqswJnWJmj8ME0RMTjE3MfA+XlwJeuyd4NQPabOHuckPpC7m0HRUTFQ5H8Hicz8xyh/kJyF6jDFggaXbQlBx0ptNEqrPjjK/qtkL6mNFhmIk3tGWFwDHsjyBXYAgnpFqYdG6qTsI2ztF+pr5bT7Qbr1AyNLvAPiVQY0qs68gMYfqR9PKKdydzJE9TJbmaKPS0/H8Uvb/ZU3cw5JUS8f+2tG8SvQD55wV484WhTYnXXCb0FKsO6phdRe065SSww/cU8BV0ZPxiUSfPPiDYs3fWWggYmO7zSRZQYBbMMrt73zJEHZgxb/1rRgUadufP9RL2EIAQbSWGzbjK25CRNsbJMTQOoiCq6UB4Ar/AI/QpnDBVbtYlIMHBs/q4tZ9Uur/3pRbD+mB06AB/7hqb7bXKtV/WZJfW2Kmi2xNXzxnQZY9tKj0/Ph40hxS187WWIEZ0sUQM7fhVKXJjCPVLcE9nFiUJ0k9dJ4xfmjrZ5KuDX306yF44NQpcSzpvcVswc6UZCxds6iXvHi664Bff1H31UoXh+s21+74gaoIHlfbKIZwYIoGaOkwQPfWZS54ztS8x/jUzPAOQzXikixXNpCOTUNsEjMPAHWd30kejp+cldhl878W8RAzd212WN8oitjwdnRlzsM2JzfLEE89X6g6h7T4Edbli3hDE1gH12Q6c/Xui50z6MdJ3BCfpET/tcwItRMv79x3Jg/9zI58W42NAca8YdAIs3wxz2bHIvP+fO187KazAN+IOj3kHORmhSATgIduUc/I0aqHd+jLuL03qupMJgQ3mLp41RcSAKNHgFaPRHp0lNQkIG9Uzjj4LBfphfwHYZImuxeGRr+XcL/wkxBQbUR4aVYOAHSgkh/NP0GbkMZesqbJ1iTINT47xOVat5oKTRIPfqG+eX7fKmCOrQKwuachkn62a/lVnpDPqCHQYcqE9fFAQr0SdH07dGp+KL1sMh8HDYZ9XhJ8ZCTsy7UZAv8cxB42We7ZU4Rz5GIcmBQAjIG6ae0VKnjVLxd7ERzjmT3xbT9gechLi11eG3hV74+ZZncYIo0lOSOsg9NdMBubNWVyWUPz/Jx3hCOwqO8blCXFjEDAYlQzW8qAng5ncrMjGDHngxESXQ1+3T7ciwmJ6NTbgJrRmComQIWl6Um3yWc1zTm2AxjGmvVRNSZkVCl7VxoCU28/rDqP/yute/L+SmWw6vdbfOYh1Pr/kSN4bogLftbnyqaZEIOD+wTfran4eAqB5pD1l3Iw969efcUOw9Cg1TWB1P1f7ZuVRRh4HcUNgGFCModQffcVvR7vtioSr7ZqXodOXpjQICH9nozPkBm1gDaSUfB6/banSNf0YBhQS0kTTpYXbf37Q8KaO66fdaKc8bhT7bpIHPvpkTxekTJbFW24z74yAs9kc0mdMbXO84phFZt/L4+F1v1Bp58ZJoS+godNs6VoFPumh/nVXEWH+pI4IYHz1jY+C+p/Gjs2wcfFGUx/N4xBTx+DF3axMjiIUa9f2Gf7vtdpVqJGPHZx/2x/Rtlhu6dh/Sb98s1W1wPmO9KibJs9DT/LYtwaDPSN7jW59L0KQZvCk+xnU+7Z/nesYQR/JPlNKFgYcRj+ToI9hD/7OZilzY3mbBGeTNW4+OV3ki9KRKSqU94U/+pMRm0mkaf0xUr+skDvURz3UJX0H3A2//SFK6Il7L0JcFaXqFdZZxRhzXF/c3SMxK2KI8U/b/kwU7qbtCpY1RgwpW7vJCRYiUJNEE80JhQQRLfkHgJr3+6iR+OeuUaTVjqrBSEJ/iA147YYwOX6xlbKXUkVJSpzVHKmcjZOdZVFF2Q3rXcALF+3/lS4wbCjk/XgPDct4+v+8mjM5Km8l7Jxw5XEMvHG3uuOM3qb2ZeYKk3pSIhGmQ4lL+pQPZ7xsZN9g/K1/BR/pCvxDlIl0ZkatEgvwDfkzQrDm2Jcq7072mM090wtXrGbCiH3KY0lzXxo1tBOkCYo1HwzCrQi/5/ZVFFZo1dREOFZD62nUe5u9uV5zZhRKJTIBkrY0pk2Opa79N5U46xSTpFQH3lZP8zcrwpSgDvjl5j7O898MnHKO0IxZULdTcvXcGs2+7/0qyaSvmtZrKnInj21527tuHFiEOyspsLK0R6GqElg08+gic0wOIu+gftE8y6TD6se9e+NSPt+XhGrIwuWvBu1I3A5r6NGNzZXeN5Hw2rODrNftxvL4Ke/7kLVZlwe2vQqm/VtcuimElWu/RiUzxUkPrhrcgH9jmRxCAhrVcSb0qZy0yfsMpn+/uf52XldE2difurB5PJ1IzM0WoFZT0CKTllljmIQV6u5ImWf5maBnAmackAGktZBfxyWYk+DCI9c2JwSzhiaAEyzTQEEkdSaRKzYWhn9eFfm/ZaytQWps+9mAuzHAckFJlOX+gBXT379V2Zq5YU7EbNdxyRD6dxtiz7MHY4A+VwMtQHIyDZBuTHPO8ADVkNWtr/ymhgEv41hPuhDe+qQEYTbLAA+1S7kDF9CnzjinvblTQ2Jol+h1wdDaypssvZkGSxWZNpXMu9H+35JtOomfADcichDWVSG2JbrgRdIyRtQeSt2b5VOCY4Vnuef7qWKdrkdQNNFJYNb0vhwEIFZ9ThZY1HdL7+62XtQbYwc/zXkFflhozyHoxIr0jRRVDdibeQscAZi6nZSu+PzVmDxg64nSoCx7GbpFgdn7IAeuMlCP6OIIou/zeVg+cWONO3CFO3TJV5cm6v5ufHdxzKZxYYQokhiGgBCa4pQQQKCa19EST245BUFMBnWSYFGUBdioIXhI8kGeW4dB80I4/6ORtZnaHvj7R3/kF3ylbDbmzI/o5pQnSLHEhcXprJb5ZE2tvoXBDgAgQqQKeBwcg8woOltqlCB5QZyNJxCC84/kzpNpQnpCSiDivYiwfS1kkb/2IfFm/R6vLJv3QxxG7E3Zi9nm7Bd3cLTuQiTCA8E8ixiyLSz4wvvMkqxYH+4DcnsyLYxHi0uH6Lc1MgxJv/T9eTny+fJSuq6LRqfRQuJAAbFV6QtguCWZWacCOs/Q1rEVNSM1qEkv8gcAyk1cb1JlYCBLZtYNUwMU9+AaDcVAgmzC+Evomv9OJ1AORFUdPvniQQ+s+zEWxa3IXZGv6ChtvNecqH1Q3eIr9usac6BFTq/Q0D0g+CRh5ja9p+aLLMTjp5puD8eGyLZ6pBSDM+hp24eUsLwtdfgo+EKco7/Kst4p0mvttmBEhfrx2W7PvI+RqJ3dbNb29rWvaazTNeVuySH2UFSMfv4wtjvaLDOdPsRZVpwPMYVAC3HJM1RfgP8YXexLBiaLC9qb9RAADamUZ8twfVUNxXBzd5dz0EqPkXcDUXoxoI612v4kY5M6YKLaq/T2yTb2F1drbM0r8q6MOcb8thXw8ahLIyWep6d+SGqwbApId7Ad7w1E0SQDpQClkqDlyerYfa28VAmtErrk+nYqHH20Vo4833K+2lQrj8sXlJP1+WXDfNEYLbatYtS+eobyQgQAoGP++zJ4KrwIGbpYssBOaQY3r5hSGArZC/ppJszvh3jEVok5I4zAnNQekuc/EiDPcV7ZiiYNDhRmuqvu0HenZf6yLW3h97TC9BYKLE37yLzKIS9oBEpAX3VkTdBoCLjsDQMhFJoUATwcLEU0bk/jnCesNa7Kh6TrXl8QAOKyvbqIqejdb+ZqBfP6B+ReJyOjE/ZCaiLLAPkGPX261Q73m6+SLk4dT8GWYSIfku7b+jlI5zHek1mjqtCUCJ+ZEksQj6eTgnKjbqAIUhAmldPkYFvWnlSIXcOGdnj2J8Q80di4sTy1E5FyHZg2vcWP/kvn0++3dgdxAMAcmJW43yUut7T5PC8x/VfoLNuZ3QEFNhmvVqAYhlOqLCpHkdEtUyvbXJubh7n5z2G6HY73IO1S+AOSCuFDpTEygAtUw5pmNoirNk26B8jO9IKYT1C6xXwdvTeV7xbJMoozSIO8/fYyb0wAICD4hQIsyDfUN+obGUb+pVX2Tdx3YQKh7vITPgahYTvn0rGY2NTVBBL6kfEy9nfrXymanlWmKETO1gjWlM1DWXzjb7pyEI+A5twqAqNcoFhVSpXEiPeurTDf0jMWKFCoylTdEILskJhISGBw1gXyxuHlVeKjWFwyaBl+xHAmyQgLxY3NE9jqg4Crh1aZBYlib4xZF8g1cS/mHZ8PD2BXjv8HzfqGhzHCHlAMvGNXRovNGIowXS8q6Z8BwVrpSoNAItM6sUZZuGBhlPbgN+HDO89xDTBgPomQJva1mJcerhEPa8zp5EJ4I+gaKjmTipZzNzELQ+b9h16Lo9rbsGWPgoMtfw2RYIA00aiGZGMT2HE8NqkmBGKLPXRFRh8A0PdHafgRvvVlY/YxwjdyeW5OCCvoZzPbOgLEbGfrsdakHsTnrtVzuRHEY0jie8DauyuSp47522l8D3uBu6UnBlsxOlhtY2kPgvVcgxMdLPcZR+epJjPXhQDW2cGi22gwgt0xU4PO9QfRMwJvCbh6cD27yIVr5gd3HVj1iVj/kGE9YK+u3Ayucqx+WOCj5S4abI84AuM0xpcYcX/tpj5uKzpllXtJY8MM9fA1PkC1XeW1bDp4JcjaYfHpaWgrwFxeXyOqn419aCqC9KiSsCyKwpzPP7/PECFcjVOs+IferumSKa5QalNeU3F3I/j5Tv4Ae7eP3XmKdr95XtyhS3gY4zCuN+YMvD0YsQmC7R6gaJ+P4cMp9xvzqah385NF8FpIk0EwbDTcLdPTzjDkBMvvg5fHL74AHH57Q2i60Z2n6ZxmozJY+OOQLfz2JqCOjRKH7evPGPsFun5FZCgorBlbwOaT3ilo1I+jTLw/yVb++6iRtnoZAJc+NBR6z9PkVXsIc99Yd6i1PM9AnSeD67wisPK2bKr5Kueub+gBtVF6dZmqfkrNAMZ7AnV9B1G3lXNygal4FX16xGFhFmyX5qdSkvCZsJWZ8nR+gn3TOvIvIqRi7LwblpnjyO/ijOBnxUUpkuEyDaM5ouS1nPEuMwG7NAUaahPWCzuk3rWtq1mJIJNLkEPe0LnfTt/9wMXG8wU8nfWDKYHWyPETukTG+w2q9txt0Se9DVaTkTisvPYP9Fs0y0Q1P0lZYbVe6CfINTV4zTYVPRPBgoNSQsF6bitysJye6Q8uUQzXC1lUe06u4nbkTnwyp8yB+bQr7VamVJxkcxsXANrPO3uJORqILEuG9rqUh9f/8u0rN+oGYKgMZVkN+Fe+V4BXVfPHSxFkZFj5ro3GH5d32NfhdZa8wGH9EGSRamW4Na2uIOvdvVyPh/0uWuYhc+gOaVPxoOzStT8D7ct8BlpH9crBaP4FqbcjMQ+/+D6kVA9Ud2sSPzq7x6m9F2RWSRCBSb+1GFapH866bgLColX7mTdGQz4mucjkCobXtaL81gSgMRkCT3pGRbVDUVmTREw/BuPjZ0Zb+ukYNMTNpClWJR3LacZE7h1Mqd8cFTmOUllz4I7NJlLK7icJXum9uvDYaQ6o4Nr3pYIQwxPeq5tyJ8C0WXh0/+8Sr8rQg6CX//9Hn/GCxm2/knx/GSd6L+0WJuPlfOYTsA4TuI62wsfJdJdD7FJRm8+KeIvQHYD9ZawfWPiDjsfBNtf/ox7j4TQREyPpDhbnqphTZbmA3DAuujMw1ii3k47oxNVBglOlDGZSrn0eLOa5B1fXQXTNNrp1oxPjNcIzhbf26EXqi/vmFTpPt7Xi+USCSONkYU3afclBKPESo4hCrdAtJHakg+y59dlSwOi4PnkTe4psDNAgpmrnVA4mjGrgGdIsw7a4KMmUgqphIFcTthectUBE42Gk49mnRb9LAt9EkY7JPMmHbAjMgzLyTqZdTri0EpWJl31cgJwaxpuFeXEkolT4f196Z89OTIdYtNTcCeTkhj6sZnUwLB5Wydlzc6Y8yrlhgbJ8AsHUWe0Wi15cQ5AjlC5enICq0ANQ1D2HQbSixeaAs97a6pWg1V6Ntx75fLhZv4akW7ooO2zq6WM7FfrhTXtlayjOx6QW6OCxR447GuimoU0fSZqRyKVE1fcGM4F/JTrhScFj8d7+FPTFiXHYQBCtBUnE70+FtC8/S4Lsm/zTvoDBpc+BzOAU+zHuXvofXWlfIjcZaBsKbR7mkoU9k8ujXayAkyvZ72lvyBCnJuL06Sc64yD7fYM5z24Q0VwGlmzt1J/fYgJ50R4nBP4ld/WHIi37B/iVFWCrwGdu7sC3woKGLPj/WMIPZYbtnlpqW2dSXuKCyyoLIGbmexqd5r+Mz/IWT6dqIBiU48NbMjIJoN6JnowiAfv6sPDlXQW49zfFCiL2gbYbYjsSIQQQGSQMW4pWOE+rzXCuh2sbUI30B1FXFku9V44Qrgp9MeXzqDzjCnVuWSopICBHMGGFecPWSaRzNgoanHFRiu35GBLsAPjRKb1sgsZX6o4UFvCsa8D/GGCDL3ebZhChi4pc9EEQRze45NsiD4RCi7k0RzG9enz2tJOqZs2VwKsCmeosxocd+y9auQo7g/sPvIAlEGyLaMc0aetWr7+mvS1CQ6Eds5uG8k59/VAw/Av26sqdrIxwJEmvxOjnzqe1ToQIKw317dNfAmnRLKqIGDM5NnhGJEQVvG5EtVxFdb7e+zoXElKZClZ0JcSv1bmSuB8apEFWJjjLPG+zRMzFO6fMEjNraT+qvbK+eg/uKLCjRSNWFpQ4Zo8pfAtx/OiNceeN/T0j1RNCLIYc6ooWpWegQgp2chI3KpUGT/RltkIn3U0Xp19pIOGoAUd4NDWnoHdknkbZi44PGj72wGJl3S4Iy2dnfDpjZeuXB/L0Cn563ODjnmrHGsPExZzKcLrsEXMUx34hygwypJx6qE0srVor4uEEjzQAGXYoJCp4yOPkNWLuFIT46215cuSNprR5IJNOAtx/KbDqtBCE9jJBUY3qsvbLmUUBgBCowrAOunvcLv6uvMWKEShbH5meKlp7xHYdm4WtUaD1oi0Z6y24FPHeBeEEQNTuCeyPYhvXqoxH5INWuIn11YSo+EKv6n4Y0Oaa6daZTgnYvODEmagd4F6AyCc60JcKv+RJSV/yUL/2FVNZrC90t3YwFycuUTM5wmiTGNc35vrEu65TyvxrNNQo0K6Dm6+xSpRFHUdnXYgeO0lhyHZPfhOC5rcASH/PQfICIKN1CB2O6M0KQwQgm+z0hDzQvZ5RSSSS1twe2yFswKB4lmI/sk06bOEHVMOV86lgSl1AgsFzm4twLa9l1gz9fppep02ys/B5xg2rh6S64s0p8gK0621a7d6B2RYZ9o+ysuSXDlfhbIm8OqJUziuJPuMUVVNsjBYCf29+hdakFHrW6l+6RxYesjfNl84YI8wUiWQNIFMeVlTVsFyNC8F4pXTQ568AVXFHh257QIb79HhrczfkL7XirRxtlJ19cqkldU1PP8Kv0vHTf6kI9qWjAJ1AdSUGJT4qaYVqO7JUE/8TYjrIiI2wBHQOG18HykxYfR1Svyv5sMMgi6WpoDyLSPwLaQoTqzHlwsxeE/5SsiEM6SXk7xz5rYg683R5ka1H5pyddUmQ97dUEk3m5zCHO4rra0uyFOZAtbvqYFQflVffidHRnebmILGJxgo0qU8OEAJRk5pb4A8tLza9xO6PeTPul9xDl1f3MGKxuwuk9Bp7wwwBUSvrPNJEztOdw0ymd4/vwEr+snKKqCI/T6GJR6oEPNOXJuid+2VLlwxTRzGbxdlFVbsygZ+ViQOo1KHdl9Tae1M8rY2BM4J+jbdrO/WxGpoJBU95aFS2pHKFlRb1wR5CPMM9u2ytd+vvernurZ6lBKO2Okr56favkEHIjEKNw+pAAFOu2F8l0i5uH/2lanKZhinkXWQlFFTiKzNshUHDQNLZ+SgcqPvvkxIL6ZyXXJZ9U8lAPCkoNTNJMBbYbXXWnfmogm1V8S6LM7q+b7M8SjGxOPYttJiNzZWAhuqAGdy/iA6h8ao9ltThMRtgeJj9cU9tZnANtudPGcQMSVu0D2uw6IGjJuYwGDN5q3mojIvfE59s47kEudXivYE7TE4K+E7oqVYLmhqHCj+S7z20gjfAaepG9cjZyZcu+Bj4IVqSHpYxCS2X+qDMfKPXk0UqEKXZqa8xIyzau5Qf7YgcvGmxNEWu+XB3hTgSWLyhxt2SJPxFTz/fSvXWqF5guYHpzZsovTJLGr6YnVqgGM3r8It6gd2DiiSk7y/m7BKn11J4c5cipY9flb9m2bfAcCL/LeQ16SAuzmnNsUQPVabqqVKVT6hR+xug/BzxvP7FsV4m/C/maM9CaunbYT6SnUnfpDZ8M/mOuhTLUSAS3jahzXZLLBAPWT7I2qrQE1+6D/Tlm1YFDral4Wmx9dpV/GwClDEbHQ7I0h6TO3Mj+z1eocB73Iu0fJTTnKC/0C1z+CCiE8O2R8LzqCv5NCfQ1u4sZGBxBZ55bokzbTnpy8jGvO0N+ysagQAodVWBfwHX6SgRys1Q/Mlx3cudZ6lNeCIQkRmaUMMzgpHd4dV/HQZbrSIw/FFdNWxz743H9+kpCf5p1CelqIJsP3LQMLOU8vTqh5WGQZgfjtfyzqX9qsJXIrE+FVMmdkV6arQHNdSgI4pZA+YBkXUdSkdWAmloHP5lAFoRkpGWVXEalKzaIdMjJjYNjrZtN4A6uwlPumc7O3d6UwG8fYvfyFkh5gLC4yZ89puK+ilfzUd14DpRa+9i6fG4AjBg3Pc+R3KW+R6t1kNjNFXdf6N1lmNFihT65maJJCyA/zF2Axo4/hn9hSkkiWcr/P8Mk5j0Hd9bSnTg/SZjNFQc4xRC9X3kzY6L9FCKxHZ3D6jvveTLK5l0ttNJJ1/ArDBtPNoe7KO/5uB0uMZECeZfyvr1Wt18eGZ+m4Jkd1LNENI7qIdcujJTPVApbB6YQDGIOvHYCJjgoPSypCSUjnmC5YohlogTfkpwq0fB9Mm+ecJ0ZZmoHVq7D7WIjH8ZhMi2o2i1cFPAEFctMe7NbNQ5UTrgyfmKjkfxkDjD9WrYolM0LwIME5Vr+9QlNDsQVcLImALj1qWYkOgo//po9DEE2Lpd9OrHAzsngU0il1cKjLJ77k8AhM6j3ZAmRRAOL2o/yZVGKgCZFmeVVtseRY6ylv4j1wuULmrl2EDsa60GNVuvAABYon/exYxycJXpwS0OemV0iryI5X0tWhhzBn23SMwminH2NISSXYyfXRTemGHU+yM9MWHjBHj3PVsJ/3uaXSPMe8Rkf6U5+8JJ0VqutuKY94lIjBRvmHXfuoF9LUWptJUgtcGufu/wBXq2g29vpS9mux3Bur1h+NGF2B7jkNMXnboZ2kQn2d/a1T/ba1roatcHccQhqtn/zB5TjSUxm7/az0zoLV0H9B85TiFUoXf/nE4DLeV85Ez4c3PBQFDEhAce1nmfQsHa4eAQGAJUjMiyuCRdb2e27/hULBWR2ToZYAlMjK/37iAJWiNrl5Ed2hT38EhzjtgmIImWruEAejcJ0KO6ruW153Hc8w6lGitaqBLMaV3C74fNVhY1BkHq5D9S1oJFsFnevzsxAh7TYcZJcTQ38mXSyb4hJwuSX4o+NkQivm4bQKL+9s0s3vQDXuUrE9XG7HXYwdzk1UX6ivvXkKYIxzDgWOuBcBPJYSSS6F/4yRExY1Ljqrc5xwPEF20pvr2obkSfKKN0gOlgKtM1ZeSCrPdGBbWzKK/+oLeB/0nkth5M+A6eM+Uxw1YKGBURTjA2OZGnEf7b0d3M18lbsuy38EYz4Vzgy1TgVlSX4195PXj0lMGrXXzUeVxhx32SI+0p6BdRNxn1X6WUPXhGTVgSqbKjm8+CualO3xm1ABwWoPmKd+rYhSKuroNUqWLTOLL5Eob7USBPuuOCT5indED9DYjNX8MUsovChPhF8IAi2vRXIc5EDKWU/4maQdvw8Wt+2bx6CXf5HsUoC+HAGUMXBdXCK4MnUjIwO9Cx7bb0LoUALHgTv6yRc910TEarv/gIWcrEek9uJ1pVL7Fvawmu2ehZgJNevr0XqRddujFDKz6Wp2PYnOqAvvgLInFIGvO2+CEXoGhogRiXwoOcdtDvHjBIQg3+b7npYFy0onCK/iHyGwhr2rwCe/oUKwao4cnCR3eP/91Ila1DzPSqlGYrVNFBNgdYKltQrvKBCMLPwemn2U1CbQhNT2OX2LkH4R9AeB1N9eqCq83vKSVQZXIxM5by1/0dyEYCfkNIjT4eUSQbd2VdO4v2VJRw8LHvZ/AUdxgkA/GDx+iZI2895CrIex7TmSKg6bkYPClZ80+nGdXUh0uQGO+vFS+Pr3UWs6kMtUWQ7JL61nu62TkTq82i3rMCV07xEQgfFtj2MfmdBXVvjbDnwWbHUuIrP6g2UidTdegRSaLwGqgE8HUScPPvMhxehzUJK1AE44do98k0OddUYYjI4dVyfnOdVt1o7juwZa5lHBsl6LVUuzjgn0C8CVuXHlAZuZAGQoXVeVVxjEwYhww9jRFlvqs1OtMOKRTXzDPU2cV2OKgIXwoZRU+Wtmvhn1z3e746lmjVA+RbaXLDrYlLqNf1Ln2vb74XxHKUf3IDjghLRulNdDmhgNmzlYdoUvM+xA3p1rW4tM9vnpFHNWenkZkjYpX5YdpE8aJDN7Q4Xh/DKsneKnnXjzDnkydzartNn0AAT9nkrziLxebFLQG794TI+EjoQmUsLhbHvmNpa0UuCGyA1NEdc99HePNwjFWxb7jcnR20+BvcF+p0ZQ1eDOu9K7mHrLUn7cHs3kjYZog+KEKsP5sp0f4Vmk+SNho6ivEmVLv3uQLa+4YTufSSBiEQN9xZQWf6VrnIsYoQsQWbXa/jmt3PuT89zn0rPVAlA1YGvZ66MNaVeW2ayGSvgKui+EdSwF89UN/GeHKjRphHpWNeDZKo8/qMPoBZZZFKLo0zeDqhFC+QuDMDE3/FQzmyV6OA4hLv4YiamY5H3yZKcobdV8clAH3U9aofxBAqQuMAXj4VoCVEyHLPEAq4+NEx3H6d77gLDc7Gih4+NT3LYp+Q7fqGFzqyR+5GDC1htuAAvMGltKPm2TFTWpsFKd9BymaKn23uH6Ns2QQ5FlNGzL+ajCo2ky2kLuIKuuwHH3egmkpXZNr5zRFCHNA2TdMrqHM8mwmB8hPYUu30E9IiWzLi5rPnBNirfQy6CxLVq5AuRUaJzTGwt3ehrThg7YTvsF1/NCfNvEECeBRdfyt1bcPJBz/g9NsAaSX0e6txkU/l7hdf4Uu3xGWX66Z5WTCQhwozQ4wE7oBy8IwzVneaLH6Ku2WQ+KtI4py1pzuDMEgoh3ysCfYGaYU0OyRyDRXLwyrFAbcvcstQA7oDYbLxtnGOtC7KeRRKIydOdijyZ6Nz+je6/oWnVdQ/oJQZWv2AX6QgU29iZ3+lEOJ+1kjjJNtV3UdojRcBEdlWYfSBjnJg9q8LLcuXR0WxvTxPqrjIDJQ1SrqdOZSdE7OlklI/0OuMK+C2nJSek6l+fNZzl87J1uF92318O4or68p3P8F7dK64+gRljzbeU+2iptFsXPGIyifjii9FHlt7s/OFFr8W8vYLYHX95Zp00Jnl9JzcVFlEvlKxp9SL7jIBR6/pKyCzshHpQGcr2uyC9BemLd4nfM35xP78r0ze0sT+GSmkDmRsQWpQW3bUBBXzj8jEenCMyunQjrAOAkbGe6GOx7+wuxfJcRkzZheAptSKsssSPBrWHeYyu5mWiBYMam43xGwzAJNc4ylsQ73COCg5mW2pXXjgScBbmxMc3+d38zqatYzf8ddR9gGFnujVwdgzoGwiq+m7SZ0QCSnkw8IiPpB00TT7B3BCu8BiDTewRBL0cKiS9ERcvGVP7GSWk9GZpNHepmwymDWgiWZMBK0y98zMJQ7KTrJ6ef7LxTeBiNZmqGtseQN395lWiC3R1uO9+NgmQOUGctaugIOAjo34U+KAn2ozbPQHu+Fw9f4AJT+g+MpZoJ8fzQLRl/RHG8RhnrgHKU7E852N766F/WVZvn9FB9SmwN16KTP1GKiCNi2vO6UTNwTkp4+uNY4t+6ogDI/HzkZVj/YhECEHwpyuKAl8wTW/gY2tsfXApfS0UNSV4O697DgiF8umnpq3KgpIr2Uf0GJnwpzhfpdJdxDwEBBmP0Lox+TTMyKuiKiyZZrxMOUd8q34Hns1p+8uabJBiCUH/6HtBe4BoHAAyoblObsJNCPoUk+DsnV4m6lh3JdLiZ7oPTuTU7ChFm/q+22vKMZEtMfsIT3ABxmPxf9cxyAZQG4uO0zmzW7/1Ya/In2Um2aMDz7TxjHoO7WJr3y9BfqS9oXOB4/314tqwQA9ISjouqpHnqzj0L1vS1czULUoLffTqzlUv0y7hsb5ZihQPNi/CJvgfsOY4SEpSN4OqdqvQ1KOp9Z8sMAsNpIxLaXnGtR2LSQZBCmDjCPGd4fnI+aVm8U9kqp4VOgDfFoX9R0O2uFdTBwclJUDT6C6Qd7RPLjd7jeh8pmXmJjuUMYdMN5ZV/3ZASU0GmN7scs/2wIw1P3RkAecOK+m3pEeiWKBqCD1fwbyl3V5tvpZzg6AtOywkVSzU34ZuW3+Ij7kjuvRe1Lfss1yz8POQmOw/ZeLw47TJ5MQ9VyAnjnQBzYJnnQMJu84UZIXt4iEEUlwmDc/o+a60QEegx6B/Nf5WuQeVZ0FcFZt+zVwH5Fw9Cqp03JhUK3uiidyzfLYcpIAHLJtoL88GV2MzqHeZIw3TG4dgP2i4dJXyhj6JWD8JaadYwmBaEV5Tt3vnQL/x8svP7Nm0ATmcxjafnUFybwtQT5GbFR+8YzwvcpuIO/nbDCYcvV+IG/nVxFCi0+9Kf743ZsDv25GArXXwRMfFn7ZmMicBOdw7AufGJ3vO19hXApa3y0o6bW+TzkH+/VgfSQ25nz6LORzfD/iHGr+7tJ4Xh2ZIoiayFTW9w7bhD+/TnteiqeuGvnStwJZy7ft3DnI1IssI3Qf8X3cmTpQvz8ngNcLmMOvZ+iNQgCQacWcjvW0pKDYFipK7RR4QSzZR+rlYJuc+C6W93iA7lbi09TDeh4jfETdlioK+aEPHM+MyFVpwzKRpYIPwmNHwspaiPeEp2I4gx3hGsAigSNVa0IwVEenOwjDw/WPXhpmwGWeaNiegtERagjEXPOc5dWB++2euiF5XjQtRV+YhRRsxeDADMHsJiswozq0VmM3PJEh/xlByyPQ5Rm9/YdsuuO8CufMW3rZdV0/2dO5GXFLqpFGZEnZArRR3wc84Wz5xcKzFij5GOETu2ka/1yJmkm+kdfUkxTgpswOR10LqIYwhbjcedHiYdnxEW0OPtkrghJ0EEnqL6p5Cv7vleguBl0EqIxk//NALyILVMOLs8Mf/f4IDhGu0iy8N/c1mKEyG6FlgqQl7DZSkhb+XEOaLAhoq7fjJ4fBLEqMalGD66KFP2iZaca6m8FLros1xnncMGicF6XongAR38cCecYY0j0Ll7zBKU7LeJXeCzadH6TJ3+6ZperPaN0Bidh2nn5qz9NCerzmq2spQv/RoAXDyjmak7m7hDZDYpDUnltPMtzIUdfs1MIBIxOlUckeNKXzlS87asXgNqMi0He/NW16M4icL/5/xjpcfZ6fCpmZXp3yaGNdUAmTycEBjfPWAKg/9PQ5/KtIm2BRzKOtgkhrwbltdoVEx8DNbNGGTwYLNjyatA87ZLpQj+E+oj8r4eHaQsLp63F7R6zQv0OHLw5OkDXEo+vlZ5vU6KT3trc00XL+c80zg+5jNkSKvXiFco9/19dauFuop29pvGecEXEeW3MdvDXVgVqWco+aOnnIgS8Z2qL/0N8kJnAD3aUhPBVrgsec1P6NucPRFodPnTq4MVdhq099NoA9LC5GwG5PI8LPh/QX/wynWrOwu07Fqow2gGz/WziWM40yHB637mOz22h+VtKfirgP1389CcouVCzjc9a/U4/LPdzLh4gRu48YHu250oWoNh+0szPiO8aTFcKDngkz58rblc9wLheSQKh8kgwkA+cJBIY2qzHKm/y+sczdFAF4LvyzjpZC3qw8QU3+hr8iHPR1UbUnwiR5LOk6S07jC5/ZLyBIKq/7+Jw92t/dFdYZgU9JCPGxYp5cwV/sOtw41/Va+/B0dBph89AQbnOA1reV11Cq3wGIxKYheBxayWzF6D6emPnIq/qJGkfLCAX/u69d3W2lVPkkIep6Q/5yy5QLoPYJczC/vuG4hvA0imGWJK17D14DQBQ+cfjJPV3rx/5lXhvDQ/sEMYGPo2PVYlK8W98FaeV6Ykli+WxMfUMv3eQVJMTmdYfQEEjmAA+GPmIK0d7O7MTY+IjBH6i+7h1S7CHlD1nGGCAtJpUyxC+XYzC/bcE5IhQZio13JLWQwaD7SB6bIRPhMNVWiYbwdpRa1jksvldJ83NDZKpVZa0UZ1BxEGRRUYeRLFLD0KAgEkOvGGHCsiRTLgcYJahR+g2Dz2z3kbqxTranioMoND4Q7C6kmWvE0ja6kFAmRCTX8NL3xOk8ihQlEfNzhstBd2Kve3BmuxSv9aDyaAkM3u3YrxEZSNE5IfVZ9abXGcuW3uDYQpjZdhuOmwTSk2WHbWdRCFS0S4G6mEJ36GuC7Pie5DKgCt4GjHI6xcFj6Od8kMdSFIIfqCwB5KCurAZBM3AacyetDwKYykz1I7gVRHLovxRtRoIgdNW3CwJ0Qd2kE4CIU+4ySqRzPikctthg8/QsfAAhQWJ1mGd6i+sbO8zx5OSKRMWBiT4njOOv2o/qoOfkgtaAu5KTGHOfbkumTNIfijBLgyuY6+lXFdzlUC6O9G/JBintJ0FPI99kLTbsbzFbHxYBUL3Rem8C8p0sOY9Jkhq9HmfZqq7fLUkcB8XjKmFdDTYIOSwP8I+bOdsQbkw092IWpFU+1nYkaTHnGgynTpggfH289Uj7KzdRSeK4d+lxEDM4aSiczwIYRaNZYony9L7eq2dLMOCUyvqoG8WiMNMrCosqvB+JDsy88yEf4r+aLmAp0WTkHKQe3SJcB3MboA3JuwXYLV9ogVG4fWRx1zU57JFR8UvkJv12I5r8+i1CyX7maNfl7GGqQ/wJkP+7dmj1xj9aVlY7C5OBHnbapqP7itxL/7voHoMaXfbdJB29UKQdBInt/15vUE+pN7ENA2cA5XJ1szwgqxwrvzG9QpkE0sfSFMAXihMNGkzDABf/zhPG0RaXEeS0DfPOPlCucSAODfxu91mge9mAqHuGFAe0Y4BFp2tNEfK97hs5ao5aL2Swltb7qv9qfrnnxUsZWJ4UX6475n5VPPRUGJBLoDAKvEEULaBwzfQQLG680hl5NEyfcxsPPQjYd6C+J80HCjBIXm0Zx6ql+w1FXqPk8IGblxYIOO/bL7KZcQhPL65l6L7WPFLi1cbsjrblcgG3wsyZUyVWX0Sxm1KtWXEDYSgQ4svGjce57sxPXDa0xstvQ/NlETZf/lIM8v3qyuGoAvRVs8AML9QiDDlQNtpHYW4W8Tey4XgPWzct6p2gyULpWOBFsxnKuAquSsO8fu36ITnsDfTJvD1tTHf8XENNnAxfqHcaCMycUbMWhjVdFNTPTJrmKDqiX8Rs8uVFnMoYXZ6XNM20agRRVm3XNIOfIJ+AYTCyIjbDGrj7U/+kxfxIYUoSVJGPpj1OsT0chmb/G12XeSZHHI2CP2kgrkJn0NXYFhklZXj/pfKiLPBbLwT1pi7+40+bdstD5H4z9jQNG27ndl48LDURlq4Y1LbRAwyurOg07oHWxu9fLFmfDuOqr0TTOp3tasWyfYogz7XkKkuSULkdqsgnNC5kpIuDq5aSY/+93veapM72cg3tBq367abgyuPFiYwAmNYuh89xBee/2ZBe5laIB5nfS9mhgl6Uu39MTBfd5nu1e/jJAwMMNwZH2F0bFwAL51NdkYFfzvlsJTS+yrVmlIr/kdwDe9ygRIK4oWY9mETDMKWppOFz8FZEk5wjvC4Lx19l/n7WELgxVLD2r7fPfMrHmBUkJH8aC+AaBG3+637PzQbklwKJdB6LSNWUS1W8VEW+K+B0qOzF56TzjHPmENkon0r3iD5IIUOik4tWUKRZkeR8mmCjpKZp6Qoa9Sxj7DGvA269kNtxTbZzUvKdbBy4N1A41WEsXG2Ewu+Vh/sWZB4gW7CuzmtCSxyDRtZ/JbUOq0I4X95Ja4gs1OQWzYRvEtmNjkbDwGMk+K+zgmT6cYJlRo4icQWL+3OU9fV8jDjQJnE7L2LLNLfvQwHfWKDHuaAUjMal1lKmIbmbwCRtG9thS+pXNnkPM5Xe8MrKHLvJ0276SL2eEHpGSQAW4qHOS7AL4LhUscblSw5+ph0k4ER+yZjnCrFustV0gA7PpqnWNdPo2n7VBM+ZqFImBWb/BOBSJDUs1U/HzEXcN1mLjmbvGHd/yneSAXnmFlkA2WMMpSaztgaeJeGc3NvU5LUEYG8qO/pKI/CXeAKWaKaaV39PFR1cwgrKAV+PsaAo90KjkMjMBOB6Y9UiyZr5nBpxB7a4GiZQ0VS6+qwJB0fuEYidMi1bjhXdDTj+LiIJ5vZmoOZR8JpaI1mQdTa7ENpxzQLmNqtuVvEjE26X7RkqpVstL00HUjpthfw22T6aB7DgxcR21wP3ghkJP4+DVFQV7cnGI5UOYh+CGux5aaPOILMnwu4/5wQP0oeySiwQLqd7qh0KxUxKJuovc2+mfM3mdP23lds0mwiBAUpxVVkwe8M9o+sdwC9dbt7Mu9Nj5odaMEwGfIlPwINWh58apcO3fSgWY7tS2Re7krunwj/uG3ZfOFHAXq4m9/b+Usmnqsf3wTtC88/QetAwqrp1negk8v8bKaUZrFIktLcF3cXyohTSkXm7ZZGfw+RP0Vv0genrxmZmjSSxzVMF01RWVfOMCW6Kj8ILnwQlXopoe+pZbZcyFVS8pV98gi9jloCH1U8tsv30JQ63i5DXiEw9pumi9VRUNHpUvhzhUbb/kTi9p/yD0Z9WCg1cZtj2/3ASR7x1WUOFrSOigEpSHNME7r8OSPZXf+mLvjJ/rwQ5zpf+ZsWN8YFhBkikiTQUNgr3DYpb0g80OL5Rg0y1MsGmaOiAe4TNLU1jMNIDaNyHUDi1x/Q/v4A3UiFHc0+d2mmRiBMH3opCH+7pSKJGZeJ5PpR6/8OgnJuXzDMFNdHMU56jCaYaZl5C6dTQIjcZLOcIHm32cmcNd7TDHKzooIdHllR2jOG9hNEa9hK91xFx3KLs8ix89GRLB0pjmp3UUc75QbM7qOqaD7b9TMyW5ZuUIrQc3dpIfpnJ/aRnJsfBlKsIXLs1sVGnm4TNGcTzR6W+k+AIz7hfbVwFvIAoo2M3So5EYWUOtxl98ZSV5eBKskzWEDjpLzrNJ/YdWs1h2SNPGdg94ZE7Ds8nor2I31eDbBkyadfpjTe8uKQEZHL4RkbWuvxcg13ZjgKW5i2B90EhfRyPtdniOzIn+YtlR3w8rySYoxkXlk0pzLKCyR1vrkWU2BVmRm8yjvMh516j9cFluRxLU247F14WGpZXzRHmtEX7nbJEANZ5VoPBGEb6XhgkBG/1fYylnVwCRu+4SBQqO1gJsKUtg3+ARlhejoLuP3Pn9MSK1e21S05cfrmXphhemM2xpJ0MAPr5guAepgRdHZVTUwrD6W2EWvI1vl1jI1k+H76E6MxVTqizQfxxiyZwHjI23U7+AbowrkM40bI0xNLvELlAWEW9KufMn6FIYdKqKsFvwSm9FpYZzC4PnflU3qaUlfCBjncZeRoIZjexOqPRQrjrlUNjLx43X55L4gY/S9LA5cVP5U8pLU8f8g9MuY9nD6SkWDE0gjJ/UFWg4G4x9tCIIQINy0iC+e5TIT8U5x45eNluPzRVy/qPh5ymmJgI0rTpVzlHcVd6Lcph5DAAVrGKWPaz9wpNb4+iZ9mFwS4jAMxZ5PoHLHwQiPbzfXlKr7sy64LI+SSUcRQQAZ/fwjPD5qrT34Z6bfTXwb7ZT54bDpRg8Tg6frXRFqwg6ML+74wjsOO7RYTUbyJulWFflV/6pMVMGsQfQzR0Ipdeq15ZnJdcA9CxzRC7A/EYz60iZUjZZZIvQPHX/ogEweQknEFJPl4qvQGJiWbhkgtuJG1wBd/CX8xnkitqFMcA6CLAtDRQmJTp6UcPBtUBn5gko2POjx6QWxHCAF2un30zYJoag+1U0fYrL3+0+9b3x/KFPS849yLEg6EEnzWQlPrBaKck/dm6VqUdg0rIWyrFvCs6KhDI/+MojWKY1UI+wiDPRQLAU5Fj6z3Yvc7bQt0Ra+rHempiZ19Z2E21qKqvbf2TDzwCfCxChGiTtL+atA26QblMsAqfQ/AvKy7WL8euWV/XXL7dYYjrcjnovxakt5xJDIK3NeTWeTn5CYWiVv2TX/dYMjBprEBAqOzP+SjKzMgC81+R8So5mWIRYADbxg5+CFnhWiQuWCwjb+tdS9bvegaZAHIYz20qUF8uUs7qV8K4yvL5xeuQL0ZGDP8nj4s6IUbStcYRtI15A30d+WLha82/ERZS4Q2ImZZUyTN4qnSqtkO4jhMaUqkrVwFxHQg5VeKwaXeoD7eTXN/yfiO5SFa9DmolLbix/pq/eZChsfi5E8q2ttAXAMnyPZACovH1j79SNiiIe2YrbePwUEbVcnpFy2gmwHR//lnBf/8XfCZbPil5cVU9rx9CZbLDeFT3Fmswc51Oa0xktRzuL26juBRKmObUsljZmAaz5/kyj7XXkHm1yNL4yBKLTEiilIA/IKbRhdQDQ5F2pF6Sa4mzDGmlA++KEBUhYypoF6FOTHKdQbe6pnNg/Zv13WIUdDQKerhFZIukOPnSWo429thBziHyeutvAQdomQD6nrX48jFbptDIEg/paqo28YM2+P89dIgkKyW0XzSF+sIY1LAzo/Q5uo8/uk28+ZiUVxkMgwla5QbXg4VMZbaCFE/k/xUGXRcG9a5eBPol8o8LOBJtBVhwbJ7n1iU4sja8HJH8zLEAk7rbZwz0k8d8E5mgn3bORCNQWGenN1y7oqkEprRmweIsk+SehUB+YXlzZLdzyTuyo03vPknazW34MssS2NkZmvMj1GNI6YMn1OKHNgKoUKW2dbOahACoR5onqy8hlBBgkwIEYNLCiVifSYGHR/c6NADRqW8ARM5DfkqqATENb9Q2gjOEMValxziPKcO7X0tmOACBKl//W9MpNf9/IgJ3vzhkdTddSecR9AsqEdbmryZmlmVfI/9ZvfmiehUC860WaTrz2DMzAO1TFpfq+3ge+vhELEWHKTm3KDSVqjgT1BEuxOKyDh3zeIBqmfMCSZgsW1rYjIyPy51d7scWw+ndJl6NEa96xh1LuU2CoIMxD/mj9ojgNeaY9sObrKN2w8Hr3ygR2HSY8ht2sGttGNuKS0525CE2Mmno3B/OKpUyrLLIeFtrCWy6xO0qYwOT8dXT6WH84QIyrBFJO3BtJll5fFzuWVYy8oXm4NuW2+ttix+yH+oj6fquUDLqtW8usRDw4iIixes70orC7kxQ8AJhiVczzZfbo9vZzJowGLLFOFl2D9M5B2zog0lKSPZ0s7eeylPJSfn0Pq2L/56jU7LEsm0CUsuVQ8j00L4G7l3C3ASYJJdfyVAIRqWtje7k9FGx0jBCG9Wd4Cd6IHrcABpa9je9I7KEaVxBJlKtz1l8MUS9d6HpCqfcMHs+SSPSbVz+beicmFAmyjrI1pUwSu3t5LtjOHZ+WkQ3EDA1HJpuIIOWAydmDV7x4DY/k7puQPLr1ZROCJjtok1GlH4i/vdMROGu6b1cZbDs1jARqiTcOCMYZI5BCjxxHuEqAhCs9OB2Yfm8D2tLReg5EMSTDwAPH9ztC8V31WDBOsHAo7VpOYTHn28WsZSEvubKoYz+Plza2MMqNLDFNTuTybFr2oxnevAsmvyCJQNfZ8sfr5tvviuxO74AOQyp6ftz9mOLNmPVUC6m6kX/uuXXgzj0iZE7FtzOYPIEPFd6BK9W08tBZP7P4mbt8kjKvrK79cxFMUUv5vonqZM5/Bt3BXEuMgBeeQqTnN6cD0j8h6bCqLzgOHR2M0mdRrpbyV9RQkSteLkPrlZGZa7qD7HRnhpZ5fGj8tCCA31VDaHawasDsQe/EDXbZwzEkV/98z87IOHqJ0py5ynVXoJHCpYCYZrswrlCrmz94GVf2Qj9g7mAUzwSEpGIRWmYa3XKSUnCEflq0JdgF68RsQ2rueZZjTWfNwsDOMunfzb1U9vi7y4w/Ahm75RSeQKG9UStvJXsvY2MlVukRgxqOGY8C8366g+z/vIDLzgfH2947Ssj0P36iWX1sUl2UDLdtqAtsVsDtU3vXD1Yw5Y5eyABZIquR2SZxnz59hC5Eu+o4kmcbN/he9D1yQpSVOc339d2WgJHI8jsheP2DkAfFitQzm6+I4QCxue5c1+ET/+4nvgoR1aQeM1FkfSs8pVQIr2oKFQ+6YCX3JSlYPORunDmOdx9WSjyBJK4Tez1wrzT42Vy93cRl8ER+O/plVcsEzKMZ8ocH9OwV1r05Z77pI0jRGnQDPBtXRfk/CLLmsaF/7R0Vsub3jBELbx+rfPgakOjwOFQ06wBldfmtKLA1aw0DBWJdQ5LMKIci+Y4ZA6Fb+SUUuf6zkVD6wetHLAIwXlZUQLaHiD/kxXLgHZa7KQHhaydFabfiM/0QSuqQFtWL/YvWJVkhMmyFcU+tLX046zawlRuacsYuMeIt2Wy5qudxgHTt6W+cvFGQM+JcslFz2PBOdujK95uuY0kTsQPcUlyzAQ9WM90Ptf8cTZ12TaOjR4ERqDFqCQHJBQRoAnrE1RgAV7s1hSnS3zlyIRaXlpA/9+VTsJ2wL/3EgkodltsWcdoVl+NYVQywGeYEMxLCHPZwGKLbEtX2quhBQuZ4DtyDbAJ+MRV4jk1jkhm085y5QXX/xJXOwRal1QZl2duyPzQcm/vWsjcvsvqPEczDxi4PWn8nPtE1KZdFmVGh/BI9Yj7goLUdMPlFNw10CqJPgFsVd0sSPIXIE1U1bzPBES6joriMNXVl+8f1ExzB0rfB9WhUar+/feQNeKuwmXsySyZezbsrVAxUhxPGQli6xnCbe7vY2U8GT9naBOfCz2Y1F+ELiT0DhrBfuw02D4EsXztYdBVNcIxWIO2b1q3IvLmhkW07jIRygQv5VHT7Q1PcNRBjqtYClE2wxt3gYMBa1aupYPKq1NfdvEFimkQM1Pbcwj5YVgm3P/x2C9fKztOJunzz0G7wITK70LvUOFk3Hv33yKlviQe23MriIRZgqZ9s9mVaNvc5HfYBtE6yrh96wWSPmVv1lETNygx+9eIfUnZUnHorU0Y9cEzpx4AktxrRUEph/0lXidKiZiwXosLyF5eTnVUv71OWyEZY2Nd8DqLCfPRK5JPlV3m1e2qbMcQkzbzkEYdZxB8NDtOIkycNV00uVmvqa8ZlkfxLQzyRzG1+dbazSFviVoDKPzBgRvnEE4MjWj8HVt6W5E4qVffz4qyzF/j/rhpAD5zCWBvPioql8LHuxbpfXsRjBeQN7RzdQn/XA5JJ9kIv7XLXmkpy6jX+qmNOuP1qoLEMeXeKn1qIFM0w5hmiDUFOOthsxF9DiGgcWZ4BfZPrdXPQNopmI4EEzpvgGpIn+Rox4bBt6D+5rdpc8TfAqrXnYcmfDEiqaI7X+8asxGmicT21RIHr4AZe4Ku2FVHbm1UI0uptQl2ROYqssE7/usfN4/FvGp6LWLaOJze6PtQp9FymksTZVBCS+nKYFXxdvEC8FrOEXBg6ORZ+VqufYr/RUO21/cbM0PtHWGdjGbtvWzLQdutYQgdt2J6y3RAtizhHBi7mQDW9mrsbIZQ0Cv47q5OFciQPtwaLDAJlKGkrpvW8emiCPn50j/9lIjcZVGBlLrAZajmXKcfruhUTFy0JK1YhYjANvPC8LLw0gF5YD2mG7gOoueGb3//XZuJz6D+eOqiX3yZlNn3ysS/AcL3Xg4uS2Rdo6NLDDGLgi5Sn/GtnSh7OP3izca0jZUY3MHOTD/4S5FEIzZ2xv7p8yxBs74j3+hHHWMGu0eTYEOZR/9yLzYF1S4ZApreZBb5BppCCrDwlL0wGFGSzXiRbSGnQnEQfsEJnXyls9cSILh/0CdsesnuUBoWhfbVnIGiVJU1PC/FjWl9qyirKR12WHTFajX6tD0tipaDmpsStcqhDWkwvRLW5o7fhQW3AAWrH1Usjw/k5JEPApho10yyVWKv5MoYAF2T3WNU+5iVQMUkk7z4wrzxVA3WZQo11XEhgqFFRgg1AnHrbk7KCeAi4PILIhHNcL2L7ywgLne5dVlc4Mn+UJcVecomh7Ht5669FeKWOqXyjcd/YLU/szsI0vpyxxjWpe6kB9vL/sLGgCB3ciBahuSY38kDLi8+zf4TdzPnKt+wPeRGfUscS4wnqjd49pUmF6D2cx8Vsv5O3iy7kjRdNXOil28YV/XOuiBORS3RxVzFQniu3vNyfar2FHz4CvFCoKW6hRgwGrLRRry3HlUIq1uPiNnvwsb2cz55h5oa7x02fmccJpuT3lK7qozvNECpkAC0pyM/Axq30J7kFtJZ1xDDlDuFm/9/2IgAvL6lLJ/NGJ26631TrT+pm4BFs99R5JsQRpMxeOVA91LH421hLoaD8NR9qQuGlGOHoxchvcKDWw07ejGp3rb9F5gpnd8Gne1uWhCuzBMQFEoF/IdfapihbGJpd5Nng2rBwlSqnct2TD0FtC8cRfkUt8eLeXYGCpf5YjOko/X3EP4XVANxthP29wjO1ZZur4i1SX8bcro+jaytUwVJrom0ARziITuTf5GtoSgKzePwviga69s15gMLRaucms3AbSC+0xd2YKc50AiZmSb1RY49+GXXDuwBETElbx9zBNe+hDrIO6LSUl3EppCcosDUHAzY5165fyws2eHxG/vqp4REYE68qYPFgzAIJx7XJpPL73AvXxn2WsSxn12yUeoFxZ+1+N2EOsYE3C+uhXM2kC6oJkqVdNndMZMoKUAu6DDahI+J/7aLJMgWmBnV+PeA/pIaus8ofkNe73OQLYHUqUaIB06jr0RwA0HfcuY4bV0yQhQ6HtgdBCxUXesz4KJ1SmUMA6NIuzUXSwPLQalTBpcYZAXEyjM7y2AqtiXFF2VyRx50EF64ii6BNWmb67fMq6ImAaSyzMXwmrYl56bH0RI/7maXor8v4+1HuW1b0RsztoTTylvoD9AoIQ7/WMZpgk5wSCTSDGbYMwSWvNJZZD0GAZIuTGxxm57evS+w4tRgM1eNjO4zOoNYlmoh7qop6DC2ZU6M815UuyRqKRTE+djl6vwXCqhLo7edC5C7d/EBEI7G4CqDlFXvpwTwPY9JeQjgcGebEnQDTSLSgrboguDRex30Hw6GJ21k8MVYfXjTe3xUYGLAIqp4gUdn3eryg0Fx9tJ7w1KZoeIASVlKFF7szVxpqhgqFOr9oh5Ny+rZPmDGh4DDUMTvgDVuv4jv5VB/ER1c17cj63oagx2idG0nEA7w/USS8EWkFEHmHWgaW+kikioGOmh5kDou/Uh+jWWWd+MHiS6ZFqBUiQGX53ZpjSVqsRa/+wUqnf1dCYPOE9bW+dfgDjmXnYaFw7xnkBApQPQ9cEdxzD6iq5O1/mD3Tyl0+oRG+NPcOQinVF8wQoVOrC6LzwlqmUc6LX4DtQQ3QVu2GGJ9wzdWZ3zvGcLLzbnjhqdAaifM0CmlXjHj52C5C7YLbIiIE9/3OZ+BqhsWtONhQeQ2Vf4awNUERPQ96B6xDeyzdfpFFv3OoWRqDn6ZBwx74l82wU2el4fkSCJ1WIMcc+xks655OWAPCuF5upfnTNkXFrIs0BUMnrCysq8lOPtGXHAzx9NKhel0dDgz1z6lg2Acb/SAgdwYGp1H14Ab7xJhGPELGOUffrb9MN/ZJ8FPKJfF6hRDdzrUWo4ryM9dk6lX4j7nFlNbfiYMbD6tToOCJy54u8vD3iJJPMI34B4O7wUWHKevOb8ss/c49Q4jHtOtxom7onqKelFtB0/GcuPZn1g2FO9KWDxC4w6MwIa3PJCu6GLlQqLv2RJ5FBgpolTczOYzjHbS+hKg9IFLolie2yuL/njJ7cgU37qcGntmNH1TODOflTjVXjDyAl5f3FzxKtEo0405GeOkdu2Rnp3iiKLLb5RZX+LOEamP8+g7tAqcfe/YnHCnhTzB6XUVj07nVbOsqusGP/2ubDCmyXTBRtfaWaSBXgrPYEbiDKFkWne+W0wAuWHL51eNSd14pYirtBzmGdiJf7Yq9PmTSyBSWtyQvO4FMch27Q+711qJyGq5hXLHqJRGrQ0SCE5hmqkcoc9MrvfvAI6K1jdu3QpSSmdtli4rT1sc8ENZAacASaY6FOtMOYRyAeOwO2HiIwl8sFC1OZPLVKbKyUZM8+yNggAjhrE8BRm3suq7RNAKpV6VwdsxdlFhvNoWqZqbEEdFgmswzCWOpqFtzIrnxUjItaNfBFjypdhhU3svGixeQJTI0DIxt/gX2A4B9DBsAA171LplQz8qJtd/Rw9CREmkpHcsDVnNE6SUPYCt30a5lBdwRPumGkMxk/GxpZoUPlM1fWXlkw74q4gLbpJcTB48s2zqQcuEl7fBKu3gUUy8TjTURkMhYYJM0n6QjkjHwNi0CrSgF8xkF2CvPfRlqUR71P9wP3VzrtOJuvFtQZp/UtErlKAnBjpIm5c48CozT9938tY63+rqH0QNr26XuC1K8xwtrVloU3xWgd9RIt4z9DVddd1/WUmwj/ld6rwh6XgeCvjB6TJldwbyfE1YBjhqK9qJfDdVF1D7RCRxEBYYgHRH6/0b/k0MSPWX1TF3c6soXFk0ZNmkYnEDBywcm7U1DQeQhZ3oMdQUdqGw/atvW9X2VxXl8ODkZChkmfNSbCjE959WrAFuxIme6w3URpP71DNuvJKZ6tMdBpf69fBlgVsumDv4GDzfQ0Xunf4sa1KlpbNa426V7RHlsWbX2Ge+BH5i6ZnPQmrDZoKedbTViY5ozOfylFPxsRdC1HCvXCQWHhQj1gsVS4Myn4iPtX3tvldS5l57kcdrB8UM+L2z4uaAlEOMKaqUHb7jkxeFmfNkJbH6aKxez3/vfcS3QkddSdhL/KeEHTXxnU4ZW1SPHYBDAJeMMO7kv6lbx8Gy1fBu3aFT0gvQDvpAA0LH1eyeCLpFXav69K0LqwPJk0kOYcsfZkb/xmDq9ZVLMlnlHluB7X/NAzTNCr2yVw4b7xfOhd/kCulFjL899M8JAmmiIewg3X5SoyHszl6aQrLK3ZAq7YjwfYcfghqczQBcnSb7Fz3zjYGa1wdd0PPeHmdKPkLkV5wFBAzURasbXY0aVNrNup6nPon6cedvdZTteAgyw3+n/rUEDyH5+Yp+x80XtNzaWMza1EdKzuL1HHbBgxB00t4b76+I+RujEgECs3W37H47Z6oKZTSE9/oXDzpZh9iZ3CORRApyzfe0JhWSmgneqLuQKh5geT0LnhduJlzbdfodXPYqP7AOnnFefrIrc2CAtd8eMUnAXBWhnLz+MFzmjqufxBPhc3xq+CunZ/AlX/qwXBoHxfJZzxMAgQUVcUz5F9PvcNvUK9lOT630eGaYS9cJFvJEXMzq3L601fm/4NX8vgB2QRuehfuKtff2zoTiqeZYNXO5yzaXg84Hg7NAt8pI6ElZM+W2CPSJbI9EKoI58HMtEavy1iqUFje3RjPUegst1+zl12uIywh5D5hM4jHywGkIaV/A88r/lMHFMdFLHpHqFi3ossOTsnCBQyGg5SyRswJy7Ta4cY1hH8zKwjgBHGyxxS2sBIhRJRBNGxlH1sUpl+NIVrvMZ12iU077GYfA3wLiat5bZmWpf3lPZru7H1iWqmXppQ6f9Eiq56Igjfyb2osddfMDPUCAfLljTzsKam/7IP8Pkterm6GonzYtj9An/Qgka8xTIQ0ZqqMLWFrGogf+UrM9IBGiKF/Gfd8I0h4G869sVpMSvlSYb+Z5CS52PQ7pCTeIVhsEHgJAhayBb4Uyf0geIfDLEF0ZEXzqsU45ibPHKYwawjTu94DfduumiFmxuvku2hpr3YD00eODzze4zUQ9V2tj38mqg5UEHRS984hl4xZLb9XzZ0IjmIfsYk9W4SxIXXmFzqv0XjlKweJ5bCLwovo7xSuZTp/KKG3R1d0AF2bX7DLmcZFfxu1PJdsAgHERAEaQyBbvqgpYfgXRzV6iR7rioBkRpPIhdKuyMVD/tQMT/XulK+ngvnCOMvmxBKvUP8pXko0W+AlhkAx6GvXmMly722AADGpds9GMEDILuwIRGhRD9fUYeem1Rk6CB6DZ4y35Uxwd2/8l2J6jg9l/srMv3DMUEz/G95y6xBHg7CdQKOY9133WsYpvBlPaWvJ+FWDP9SkP/Ht0udEKe6JzzgWy5+dfMdbHzU9CaPZKGBERhmC4tizK7Bo8fxXimh0/RhU00bB36FaK+CkWF6HC0eJEnDeM9CeGQJjnpyNmNyP0JV0brdLDrH4Y8DwKzy+PG8hIm8qmUrcdvFZ8jremf7casYtM9yao2bYMaKxeLmTM2k1aWcoZR1FAIxPE5NFTx63wITTrrq3/gg5/vl2Jzk4JdJLG1enKLlyvxB+Z/T3sppixr0jZHI+IHJU//KI4bDWhvo70W/C/92gA9chubjbzkSCkRQ0ZvF2EGFg+LODyd9HHOAy9Jpz6Y83b3E59+g3itWeQ38/B25iG3pWZgLkit/u7bU7PlM3uijiVzIvslLfGY0qVE6ndfEIqmZI2MUeg2CHpk+w82IBvtDhyVXMeqs+WSIGBecOpHKwx4LNf7WzlAIyiLRQ5WC4LSLJHWvNDDKxfKTpAacW9/wsfnmC8W6+j4RudqRBRll6DBDf/aEZZGA3G82DsgsDETlSrFYz9FisI7QLroSvk/qYC9Oqr45XjnvpbZkSwD1RW/h4ZwNL1iitbltRiq6s9mL1FZ8b3qawOK4ypfCg6EY+RtWJYG0XzsSkSyhV4wsJjB6oDMQxa9GvmfPQhacKjYAiY7SDGgPVo7rwLwQoxsrWmCbJdjESLp3saw4P3zgjPq4KBj7fJa3iyVvqODjpFFsIbIOz02HUD15lj/njGPRftcgUZSuyK69QwECvKcFkskQrOvPkYT5+hzHiDA9HlxcaKDEMUXl6W2ayqlwXR8Pzu47yCc0zxHbMU5QYw16ItF7CVbGQTPcbCpT3WNuHhossox/vdY8yHpfRtjkrPvyMtA2prBTeDGx4nRsv4G59m2KOJAgStJAto+3rvWMyXTJMFSzmc3jQh5+gfhZx+XSQlDUpdpltqIBTpU3O0AjNdajoKDsb+eGaieDx7F/S7n90VvomA+gd4V8HAketrqYHLmHW4CM+Z0UpTEI0kZ9v7/snWCTPVrvAlgZr4X0ugd8I6Sd5CHUrAl1Naqt5gqO6L0lrM2pjCg2tJA8rF1raSKuk8rkV29TSY2Yu2T7weTddz5uOKZqaJXKbT7MiDZnMOYf7zi6UGQcfp94mx/XAObAVbq6iFG11dhCSh6Y2LOcMNmPPEjXBeEWMcuvvMedM42xlKJk2BVI90JUbn7hy5+F9e2Xq/OTME7m/zNNCi2EB56ge4MpdtIsuHCirPXSvJ794vn3+tTrFLPIQLpXqginh4qnZx3PENdWOkZCSZRr4+UPesr8HGguK4XfBhs45rxUSYq5YAT67aL8cS9CB/QJrV3xLciQp/TH4UOCOAP5l2omrf/7ktLwzafUrx+sdZIKCihpk5LqDUPkahlU3etZigw+Yb9aLH2Dp93UcnL2oCGQ1Cupelr8+0aOFDQiaT4qH1loQmNeAFd65A6DqK2bW/EiuD3dnfMWSjzBRzCnhfr1kRf43UyosXQ3/OWw1B5r4JiTd1posysy+awZlEbAfuSOzdjX+7SUP1ROZlZnm+veb+NDiPyLsOY9bv52HmD+TcurtVI2geQN0I6B49RPkXAMytVgIud1WgUM1oXtkh5Mow7ZLstv1OkQ/HjK0FdFlSqiXhbW9OOcQE5fH3jI7XTRnjJzT4MEJWfZnaGhI62tHL37b5inyAJYTmQaU1qc0yeLxY8QaUAykGgbbSK7UHiNVfkFFc54LqCnKw7/4AR0YAICiprHYEQxLqokIcs27m3QrgArMR1KIJquPBsO2fbS2KPu0h+MftzG9bBHliDvvx4BKOWa9Kg1dEqjn2tTZCakycord0oI1OWDuLl6wbgG33MiDYfi6L0gNj3JCTxFktaK+R62RrGvZk2HUSicA6UN4NZ49dS4mCix0OT5VqDRHHk4i54P5WJ3T+q58P7uiQac8vcIg6UvjBSZgCPglAgEMSNjtFC+bDebtlw6mR4KxOE9uv9YeXvQrnvOJR797K1k5BogHvXhLKvIcn0YL5xKFaXB+XtOhxZHRf3+0SzkCypsgQSARsbyNcY4+aigMZxblgn6EE2rQqArSvYhsCnRvg3bw5sdOlm4uG/zMQI106V70HNtwY22O35ZgK1X88ige9UPKxY8geMOfIxujYJC3Vpf0WGqh+wE2IdHJ0f+1ONI050tcC+CUaC5gW6ej5zEpbz4QNaRNdsltpt4AzC37vU2gtNJEtfaTweEnejEI7+86Se9Pi2EPalsK+HfieNvN+wsYtuVfL5FLu+qgd1TRNAPAPbLWcaZysBP7Sd7qDgdS4qiKHi3d6LxTg2qm7DvNinYufZrmJMf9PU03lLSBRizR9gITPrR63ISac8hvhsYExERnXIDLl6WRX4cfqQhx2cu6QKvE0Op9y+U7mrxMRgDNwaqhzvpAy/jPMDNwiFSX8ZHo87OwQx3XsW44/DCWFQ23FOViRPVynKvjXOKBAZ8KPMw0Q4jJWJSp6DKAlvfdUMWn8eYkGfNesIoXWRdBMI9xsJgf50huRWkYyTbIIPHUJj60ZFxnpgobE2AS7Qxhpki43NhqWFoxNyw2B6zZzclWz5h42x/QK5pgtuPi3r5wkj7f1ORi6wGiC4RRQqDQVwE1op+RCeC4x+0i2+hkhBoSTd+3O8TtNwSfqjmM1Q+ObbEARBMkMp91U5ssRwDwRDMeY/ZiWUHPbCrEPq24gvshRBiLBarT+/jXvFSsqdsZQvwt5akO4bte/0cW2dXCcVbFoW9VJin+wYvjdVQawjCnjrpH2M8+02QUaJ7tbAA8dclPS2/ZemetaiyB/Xh46tog/cR08ccUqJ+e1KQ/alGsHJ/2v1mSjFxFFzalZtMPhpsFl8psrBtybmFiybWsGQYdjnWx1CXtTUvwUg7prybNkXfHqsJ1i0CUkB8Hje7xWvjJNghggnbLXaGoiLsBSohq/0bRbDxn+7ilNaPr2UoNV9Vae1sUZem/i1WnnTctm9u6DhjWtGnju0+xf3WB8Gsp3+GFz7AvzjceKtfvEk8KzxCmqB+BSpC92yc4xBkspcX69vpeaZMXKGvZE/B/ir8nFnc28EvxLC7WWOf4b0b9cYKmcN/4dKDcAwUlfV13b1sas7E9prrjlWeOkRqVzAeEDILKin46YQb0ghyiNsnvlIJb7rMNXVe1yAbTs4ALDvL0p5XMu0UTpfL5M3tmo6d6fivM5DUbusy59F5rZ+uvQWrlvLLJOm2aL3lc3DY+TsWgwDg3nBSDgo/YPmEU/GZoDOFnn7a8lANU/hVdvJxMxy9AQHjCsT+Io/u0gawW9KrVPCU0zcBp5IzOlArTTI8r0CbRVxCPVfu74eyjf/I0d4G/X12D6iEsjnNIJz+V4Zw1tGq/bAh2WAgTHC2vsBcDrTJTEM7IipOuh/VHP9n5lur4NSTw6ejE8EUZEB7LUsyKu6wAMPoawNVketbAzL8chO68P79JE9qqTz7lPrw/MqJOhNqbJmFIFtaKJ1KyL6viz4KkY6u+UhgP8zDvpNUQqn58cUDDFGbC0oawwXtfVD5MOTUBgTPokwRu83H1iKxZFlcMued705mwbCcLUoPcK9Q9n+9AQdkSovdeoDIQw+CID3yD2ln1yKZsL/ZiXnINb2fsjJ1AZ7hIFYS+Bklq2WRO9XvfyNQFKHRHLYXDeXl4NF6uL4905Vg5QET8DZK+ZB/X+YQIreQ2xcUr4vCJ7fzDs2z0mk4yPpaLBx0w6CD2MWUaX2Rk5TYW/WY5J4GXU3/2rqmfnnE+D8plC5ygQ6fJ1YNDSB9+VD2qSRNR7uLWzYRorDYbfUqumWfFqCpASLP3jknhs6fUQXW5VeyClHZlKrACjymUeWVI8VBi+XhGkf6fI+DOWNNTuQqyQc3UhXHcwt2B7Hc8g4wwN98ntcfOp0H0qlvy9Z4gLeS923T1O3eyQdSTFfC6iCu1s5x+fNNgxOonYiKkHM22fEUYr7DW3H1n6OfR4fDx3b4bgasiFg40AKl+FLhgtAlLqUb5iz4myHbjm7mAiIVQA97D4+dENUwvxxJkud4HDqkWb4fu608xir+nJglA1TVYtg4MsZU7uA57RXlIVwyyRPx9UdGpb4kdgYSJaJfr4xiBPib1BOP1EAnfZSqbyWvQw7nlgkoT+MwJ/dm3u8yJ0Nn0JDvIJwJBwmImniBzw5tXASuPZdMysnu0X7IuWBKdM9cRn+EDzxa23vkqzZ4lOPEp/Aj+lEcmsLJVx2+vd6gCOeBj3lBd8inzWPu3yVcZMGgF5ELl8wKCiMVUbsOGZVLoiekuxVuyjNvyreRGEZDfPI71vhlpXDCHXO4nuF9zRFeOuHPlNuGB6DAkbuoWerGuc9NHV8URVxLPOiCVwNOlN3whflV5cDLwfDyRxNrUrfioVWoaAnjs5Baguq09FWU+pOdjjt6AE48v2CXQUj1Ha8Aku+gXbZJtpctX6T03N+qvdwJd6EZMvUg4Uh3+WzAowTF1Dax4DPYAFoMoHFuW8BQbKi+rD90aiXwnmmC23PlAvFP+VEWEOkQQRXofcCNQnaghEmMHJjqe0j1/jWFHImbXpi5id3+3u4vlSgLhDpMpFspT3LtXGYeGuDbr6XS+g2rNxVehK/2NToXRdOJkCur0r0ouD8BRzXtiZDB37uLinhD5YKq++ezVvEVSV6vVTABuyvOt+0d1XilQ4KZvUNhRLyx7wduVykgtoINEnjxW8HDYTmdhHMmWiXphn2MNPhmk5kml8KuX+4tAvCVatV2K7bbP+CCDM9UidTo/A+hb3AgSIF1dNCsXqt1fjIi3RqapRGBhaFps6l2cCvN8vYgdLDYUS+hGM/gY9j0NTGJ/aCIb5n8j5DVBhFE54qGiDBRW59dn+Tf0CyL5sBYo0HqFBQyrjCTAGaxVs/U7/Q6sGbp5JjZxVo7bm949uhQDm+2DSzdmRbyyCCdNibM5S9BeVeZU+/B1XGYeA97O51wvoel4KHjcY1n/1Dkd6JjGxOzY/cnzTU+JVO1Ri2hACG0YMTjGLh4IYqyeZyi8IY2rjDakkKqmpxbcNHSE8sTSLAds9t9OfAoHwp2/FpyiWzDTev2v6E0AY3XV++iG41d1G/h4u5h3yJgIfUIMj9Mm4FFdSlvmTkIr7ZticmTu4FNxvk2U2cQvajXWFgLeuWweAHhwrU2fMmRewi199acwHBQgvMkWxJi+K5aDvthIWxEy9+HfPs8eSgO+iPRd9bJC8bKW26GE5UjO/dZqWrE0vuwyRLOZclP1atHEJrnRzu6rNj2BNZfy4CXlLfOGTctDoNY6VZoY0fHRj2zNSsI9fxc/oypeah5RcT0DaMqj7TDEe+1QoS6KfKGdlX0ePtUjePgiFPua0Rmm8tzkk59ItNefEHAidIp6FJS6F4js/BE6SNEyIL338gFiMslPZqr62pkkCbnogvgIn0A9y7psqeI/jch2e32GmPyGKGBTabjBtc5reNIvygDewkkogFxyPuCVs9RHpxS5h//046+zqsk6OPn1GXFaMICcwAgtGfc2BwH3JbPWdR3r8eU8NOhvM0uJ2Sa8KH2oKtFM5E+F6HjEPPMagjHpP/9UwiineapbW95CB/PFb+IeDmb9al1Y4Z9L8evq/ezjtiqr58a3OpVX5smz9+7atlgruhxuMO+MjZ+4GfLiJpy8kRqGHXSGvU/oQ6O9lkJc2jB68Uqt2iBtEwmldMTmBpOGOftl8y7Vlj/EwOVG2ee45nfvFexxlMNws/hXsgRNcQ/thfQ6cHmioEeV82iKOfmSo0scHp2CReL/u0jHhO8JUABiCg2hOSasv1Trs0uduaTlSY8un1iD5c4pBGN4NHnuEj/HmJB7leAnICMCinaXaYciKh2JkPqSSJAYop6hSyrJx47RC+EBmbZhe4j1qXibKaTQJCWkQkZhMUpVD/leHYkvtzpwG7yyKmoT2BpeKtCtpvJ6Jp4IqO5NK2L/xQ7cmfHmSuHYnFezOEHLoMs7NqB4XcqtNav1Hzw1YBVAxJ7dY+8FVtG0dxUug/qntZJwwF2BiTvcLObmRSOaAiZ3HpC3Q6Jj2aEGK3Epi9D8DEogbrqeGxwF9N3do+KSWXAVFRuDybxU4XbmZ78CXgOZDUBpJiY0rWkoGiTXvPbOjRvOryVYoO9vzCNGH+d/X3N3uGSyTzjZesBwR4ipbs1yqbAzlpRyBrbD+RFHvMmlr75tlGBRXGyd8KqDLn1DhO+vamQMwJBfHsEPpq3BTaOkRW00XF+EzvjuZ7OfgmQW0BYQLSAKXbSCXqFmRYDNVN6YTiAdMunbPT6rwYuwwuWUm29imRwcYWGIQZ7D82nHOc/YksUXfhKEaj4na51Yz+zyn3i/mS2jBWHiKKwq+9TFahSA3X47pl2vDK6L9K+2MY4YjMKplWkp0L3ntuP9TGQXOhZoD3E5P35L942T16hS2qN0HHY0lsYYShUGnWqOjahPVfM3cZtsdZtQik75V0410ZwzeAhTxZYD78irmi9CijjVkxuHxnjDRMlfiS2Eo8X4J1/baKyi+NRquysJPZmqUYNGNlulp9FGHflRCMAfBKTXWQPGmyrwZ20jv70v5oHk49qxAXiPPCX4K69UFm3rUqUWwzgdyaMU0k2geu5ZUak2TFVtAzAvi6D+O2m5sQP4iz+8Gn/vRgZqCMMgALIjj7kvEO7W9n0xz3rMKr2RD8+vh35fwY24fuZLNh84Akr6sJy40ncSvk0MY3Yv/q0QfhEONTNK9ZgRnhzsqifXSH5U0hPJv6V7eJWUV5iZjdSbldWbcvmLIRwmga2Qvco/anysaTDbxJ4lv31JaQ3D0ZOhWFJnwkXjn9jUc9oSkZ+rVr9ZfhA+4re/G3vzvZpH17IeT5fDrEmFPpsFnl3Et1NQh1OOcJEVfwOKTp1y93OZKhmlUo9p94ubVcnKNZ+rrzlRbXwh4bmhQhQWSYH0m/G+aeouAZY7FvSsFUgmA9/gmsuDyn1SvrfrLi86fNPA9aJFlWhf2G0tbBOkR2nluOGmHZRc9v5AECE9F3RZKywh2447R7DEwr117wP67sSjTvyezxGQO07RMe3k39PGpuGWGXqowmPwD9kQxD7FYZkBuEzenGUrz6nk0fr46wQZ5o/PnEZyZw2782UcwyYXKfLOYfeGdNx0hejOIcl6l6rY+0PIeE3jE71feH/VdTfKCLtqTuXT6EwX/IXiMsnfDyk0kKQPwwOBTEV+mdLT5JLaEb/t7nJA9joXB9t4jQEsKnwaeXLE7lZCDXGjQrre/o1+p0wM32q3lQUm6HIS0UVbhUZdqyE/Fy9CPEJPGERjwqKsTVP2jrBnxhTzvXOOvCNqNcI038C9ImgbCCh/K09kJiRwNa1FBNqjk2cnZHkJYMpBf9wRGuEBn5c5u6QI2LdAHs9fIz0AnagaIfIi4nqxQQ/Kz+aMTrY7aU48vVyAJbK2CJK2BUMXa6lcjz+G2snwpYT9PZPr/eaX6IBKj39s7S8ev1Dk8DBb1/vu2EAVe0aNfyniVQtjBizOX6bpYeNH9h18jPxa3gfGLqIB5DpqlF5LDsMlNfx3QiS2YJ2q/E7vWNx7ooYpfmkM4UtXTru23hNCwMREQT1buLhYbVNCGYV8wgEraC5syWLCM7aG9hf2N5ZODwgO2YxT48azplMWswaCjFHcUzFKH+jHs8Mgyrk6tPn24F1r/bLEMRYWQJGLdZc99+N4VSN3zl/578nMQ9fqu0Y4mcfC/zUDzZ7DrprNQzgv3G0jwpQ1d6fTiR/5eux3ApdONulK2CSJT3iX9HzP1qyDrkdMypAqwIT6pTKGnVDBJxpFo+V7RAB0kcK093sgeW/gaRoe/Bf0R0uExql6rcdPdFQSYHj31rMhlY4Z929xERMBeTUOa7nJRP0adePFAbaFdxFRn1k0Vr9HhBQz7x11n2dDSU6d+n4gN7OCt+Z35mteZBUEXMIWl9qIO1SdwFhF7GTBXgRDvdWERcjPiQuaewAc8SlTNplZsYENan2PBMFKywTQ1OR7fmghKlFPpoYmE98IN2s/KX/yyaFyd4dkrGppn/8hA6So5opnk9RVDjbiifXsiGLjtEsxLGsgBc0kTPavkIpikHyq5CxXIjlvwMPwsSRzm9FVtwjJXGNdKt75ZzyyIP0I002QlhHH4DQtrZCYjBjrwT4GFQ090YMkFheaFlFd62Gce4fC6aHtV68sYfOyS0GNxObOZ2uL9mWX35KfdydCNKJhVNgMBzid8WfWf9k8eNCQMS2r2pqPhpLDo3qHjvEV/SCyWcCU+p0vnhna4gprJv3QfwAxsepvLmzE+M03cNF7kAWNBZ1On3CTJ3tDir02HCz0C4yJS6tUBTkgGO2HT8DlOPxx8j6ZWCZTWfaSC1bmswnN9LXc5iZNurgau+Ov/65KSnWxR2ZwsikMUIgXbI6T27hGN7Kw61FEPu8UiV4a6LEZWtUZ2++hqHug0GvtPRBvu5L6i1nqQgf6fr6TG9jNXz2Td5VgqNPi7RCDge5p/k17uhpCPfjMjan6NiuYdlTrlj2pVDOVdoXOKV+zzO+vrW5o6imGpZIfDswAyyxlSaX+3kTnN4Buad/jYgqRNrAvf/aFUpCx19tmuck1J8JB598qGLGMms04kvhaIA/vXcr52rcdI76Ltfd+RnB2xa5AsQN8njPBu/D8mC6C/RwY1EagcfXAIVUTfgvxNieZ3pBZti45VuD1UQCIabgC4o+htP2aMzp6AXYGYEHpGTiEXpGY1bh9AwE4fZy/01Bxu666wvVbmKlqM7iAagG/+D1p36NWf3OUi5N3Pd90v6Mf5n78ERziGNi+8aE66cg8FAUgnjuwZSN5+736BQdgSvCUMkvQ3nEOBfKU7TST5DljyAEIDumCHMDgzhSyhqAxIA+bCvro+gPeK1saJ1VAvSA/e0T70mEbh55qzviKagObhspAammjMeVYzBTmgP88DNoaCQbQac+k028kk5OahB6eDTvuPTWqG50KGNt9jX+HeowAdDZWPyvcZXhhWt93UL01kWWlfY+DThYjVxmsI7YvsTMZn4Ev57rVZWg18lrmYrrE97H/eysp4yCvswoVdqgaMaSgow9MULzB7gGHjvkqH0CtWwNE9zwxv6V6LUZ811ikMT+SSWJH7l71nyzbucLKf1oApwjESavIi5dwRiPIMzexGhzZzw3GDkhFMphjZPwpzjErKfxaYc6VPPCTN6H6yaWYraOeenEvryi5FnOPv7wREQ3aLc1y6E93SwCtSzlrXETAOMd2mKObRWZngd7rswNxdgTJ6W7Las+h291qb8z4Wwq6IRw6NucuvVrlkYxHv+VKefdEN9snpY50uBJx317N1EnJd/AoKJ9SkxRV6B8kdyJL3dJVdegwCCDQHLapTDzOwZLj6akjvsM3ulwsQt2TFZNSSLf4P2o1CCVabC6QsLmjflz0XrzcMUXvTl3qrkNZzxQkUTVe4dUrXAUyYqzW6uVSwWLlMkQWNf+bCZnp8HJ/SMKO9jSg+G138RnR51m9RAIZQ5hAaJbbBEtGl1hNchYyfIWiEWA9ymCFefzfNhhsASV3/OdNOwScApBduFk+1asGCKTwsmUt+qIJf7TO79FdOGVTIy2BPzDtVNaHPzEe/5FRhq/A6bZ6tUtP8Pa3Lo8qJ/fs1tvoRpotgYI/xYroHsa31Vp7yMLLRgm1hdn4OR9mug66BNh49M98Jz9a7zluUdM1xR+ExDz+MG2jC8+YdlcWFYBut4rEIWtaLm3ZFomeyUvrZRN6dThMGurmMkjETEDxTAfR7uzS3DdBtRuHAF1uSnwKsYfUIsn0RYzgQ1dZa7P9NuY7bh8skU3nel7sqV5F4Se1kuc7kh6SBemAh4rb7RQjZl8ziwrKwX/yXpc1ku7Z1AQq3e0YxxfvYuNVtfG05wdYOU5qdaIoyjak2ey/5dmK0vx4fGFqMMBIoUmlMIRiKK0frsmkk0WpBxt/qBDSOYQ/v/C/BcFAjTGeYmaDyWiAhyD5ndSo8y3bh4FNYqaXKTGPp1aQhJfIQLbQnscaix7KW/OEEp9xz1fH3YxcroU1l5i7ygwPg8/vXpfiyDOsw8uxZbCXzIqGfEvLddUB7vUuUN8SRSmTKfdngIIO/rhCagwWU2M3aV54rx2uXUyNWOqNEIWj0LRwoMGRKzvVVbkPLoXmYBQNpUQToLEtwGUdwWq0//0PWDXvJUylm9opmPe9kwA/720Kp9T/ssdle9HoZ+/Fsy1S71jzIgaZICFhJL18iApGl9nnd2Z4h+OmfPqgPAdCnPGKdfrRtENdWgIwpifPYGYZ1rl2m/VnhV3ZrecP3kd6v+/gbbDdPGC9CmLxKxTKaD5Gm8PyLn892LuI9yNYlWjm2sRrJocTe7f4q4YI1O3t1r5fdAqYeAmhIi4RYkB4befF4gg58z2N96MRVqv3Yil94dADla1whCKaBbWhAusGLqJFQAHPVaBAiBen5f+o3x378caDwqozIFCMPYEvoDbbl+R2tXPEVHWJHuQpVsAGROfCNbx1UpD2jT3qcems7gibAoZ0DO7TMVWFSAUkzxnW08Hmtw4xRlzLG5EU6niaJJKbaad4yZ3nbQUGRT8Kbe86fA41EAmIpjcg5+M7980p1xMUVZf375+G/sIAGDCXxvFmdDSU9yaPnRH98JwqmihWzX+D3jb0qyp6rDB2qHTgwssS7Rycgqy+rdepJ2LaHI5wuZbqgYP2K+gLA2eThITRBD5diVqjvQ5YT8LNEFInSC+CI6OPnA0wT8WjC/EwXoz6CkYm5kq/lFMB8K/MB8QuZMxnLq2UvLV5M/LoIZGY7LD7Wh6PVgffcMd8cmS8L9T4Ko1U7ypbyu6Cn0zr04ero6Kf8KbxZWr1oHZcE7/DC7I06ykkcVuwLNoW+UGCFOqcerchdJ3yXR4bqM5mURAyArVgsI2goKLTKmWpoBOLaeD2q2vo9Ds1zJeDI1bCdMPdIDmLraZ5wwUPW4qk97Td5RXTRgI83BNRyY2XQI+R7O0dqnG/SP+len8F2CSMI4Dc4OaLa8yiB57dYcC+IGxQZNYP4tLZx2nO1bmUyrEM8GHe5tAQcydGG1t6JjtGtTyf2Dqag93lyEebgThQn3BL2vQxLH5bd+wpstBEQ3qBlywlzYLNcolnzDUDrGfg/3fgNOgwaT+WiBkHqX3XpNACsCMEwhniBG24UWF2lrCbqLaCxxRMssF0QLiNVqQrPlRw9SArwGPc1KYCJgrH7OTmko+f20eDmRjmV5aS2rYVN2wSq19rjnW5UoS31fHGmFRuxpQmB8MoL2/qtJBl9dj8D1YGQTToZQon3pxcqZZyu4kRXfoTAegYQskm8xkeSfkv3Iji24VaPSnTOMmpFOwgfYt/PQMexT2OPJU82JvSGF19tncMM/qzySoc9ciGnFrcpPnTE3E7gjVpuoPA9fUIOucPrJbbd5a9hvefjUtHJIXyUQ3e6wA2RL8bStFM1y8YaINPC8z2cgmCt7lRfmCweo6j7kFRdWPV1YpVktMcOcnz1RZ3u83++hN3J88C2RpoSculwqdc2Nc+I2Ni8eZ0mE+EVKOC5uMKDhwoKwMnWAG8sHeKNHfjQ5kuL2pc9N9j73ZN/mLM72xYyZWnWbsDdlUoUtKwW7IazPsXp9KaG6XVX7eNRaWR+zx3FTbuyJR5AZO83PIqStcEGOvmFUoZ97YhXNKqhe41Tm1z4tiRa6KzXB2s3wdug7ins8cIWsHb4/P6JRiLutD42gpocKrblX+drk/jBF4c0EwAVVCouw/Wwe3L4dvrjDdABRlr6bUVFIQuvmuVxBDzlpc+Jr/X6f7P0ARNMfuJeMId4c9F1XSKT6VXFao4p154RbP7/TS+I+SlsQQpPEhCMaMDywyuUvtApLIVebNdk225/MOcbtJvPUBqKi7qVm3KvveVesOxkdnqQYNA4XKIsLlg2J4BuDC+fNrkbSYnzTHLOootc9eojxR2VdxVDlHwfUXeIe3JHur3d1LkPl0cPN17CHLKUw7wTDCCH81mGa83UhmYslItKnXHxSEOPL+x1sq08epg9rQ6zu9nwx2S+WXMeg9PnWwdYiySJNHHtsysre/zrfjL1oz/pHybqqsKvQ8k3Tr1yMsWoz3TVQI89K5pLFWDZZukTrLFv3M22JPapNxPwgk6vfhogPDQsX7Q107gFDk/CJ6VKr3VjCWWjx15+JKl3HofQsEjDWyU4DJdj5bCaoKnOuD00zokkHv82TnT+RF5xxWRQu+37WKUzaDeJAgtHItdiNxfDGHmgsrSUHVU/7Gcy7PiGg0VMSvINwO67hZrfqjO7ef8zuo5R7HdurxxyiHR3VBo4QjvImN4v8rk+TNSkgM8Y2fzPMYpM4tOPDAkDW3BGfozGgUBmCleipoI+ICmQVoLFMAckHr+QEndTdvFxfXzto6/4dkXL2YSa12txiAXSQ/KjCKlv1Ad9gZNrPdCoN8fnVWw04p0Yp0YkHN+yDcVbLsNDuMZ1G01G32talgdCUr0dsEgBc3nOpfMdqnqoQdqf+ALLn0pQBl3tOfHiOGdmHDH25uaEyHjflOHTEzswP1sk+lRX1F10BCmki3Vr+2j6hLeMTgPFm7oKc3hZDm2Dio1sXvaueYgmNmy849NrpBXP5ILvC9LQWLoApEj7s7cf9W5jMOTp8Ptfo0cUQgrv04/xi6aiaByb41MReoHpQdJA+qIGBr+9du46mjvM7pXoc8f2cycdQ9syCG3VoJfq5/Dht55RMM1MqwUayV66lkuWoEmp+rM8od4rt3ux7xXwPtfyGv5E27rZ6g/5/cc8FjOD08BhxXS9SfMSQxqax6da2+OLhbpniEToU5909zf7ZhbEWdcG5w3xKDi8aND5uZA3yw2IgMAhW6v1N271hjkVRitDBjp0KhMdMzW0cWZHVX5YEaLsJSurckBeZRNxxlXskQjILMxFIKRJK2C1kVZWzf0cOtcIzLCVpD9UdmJQpV9okWQBYakPcbpweY6P5OVVe9cf3QRod3oeswb9fkT6bU6ayly3Kty3dnGHwjJrgHyt1ZujpCFdVG5Tq4ULE4e/ttAAmbJxM55hfFI2CKMtgVTrehqkkeEdC3FJlFQsd98wXJfGUhib3lIPO9uAPdivMBxyG0obO1sTvz4k/mrg9y5ZvJ8fns7w6TnvVsZEyvaeJVEr8mPT4pSkpG8bpC23d89LmfwrZBLBXHm4u1DEs99jD6tcmt8lMZ0MgHHJtPLaK9Ibb4pN+QHkLfoIA8tzM6QmrKVkNRY+hfOepDrXjhKiryqbRtWFi8pHH+M4vAdq+nHVFCmvwD0M+r/zrmrXOstfLtB5xbzRsWRPX3ejzaxxgxNPyqd1rwzMs7/7hYZPOU+kwEtoKfZ1rb6Qzwg/3aJf9JSpXqS+Ha0zhSc6lMBjUZ8ftVe8gPxaGpDmPKswHfSZE325Qrwtp11ZIxYOlkrlLPR0dUrF6dFCU9DpjRAYRZtpF/T1zP8wL4/1sREQwSnfwciMyneA7D7tukzyR3et3xqzwe3Op+oO2NR67BwnHJ4UvgRwNrGCMCOTNXZRwJq3Q5weDqJwmMdBgOpBQd3+9hZoytx8YpWyXIslZwsFfMDmf4q2I3KEsBExBc3fyP3sD4ZmW8UqYIE0oWWR/3wjeUr5mLNuXMF2FK9fDCvha0ZWLhZt2m3vRZDqc6/0z8uxIb9FM2RuEsJUJT/cibyn2v0zpCOLxOR+/gCvdyz6UfyZbIxY1wM8fIYUKIq52H7hAB0KyiKVRy/VO9ebUgSOpbgd7mbg6IwFfiqwkBHmvMrepKPIOqMDvG6mmMtaV4OWnmYSLNcOan+cB1SZkrBymN921KbKBxn/8rdvRE9KTy5idSO4JUhr4XdZhnQMGF9eVV7oE0Wo77A8nei6X0O6tu208s7Y+tKdRFPqB+3VmWJKdBjGWRBezhGz9dQ3+sUurcivivU+BpTVYqk9NP2gNRuPs/EuZx7D4A4tlA/7Duk8sqb8qYn2MABR2oftnK1CDr88EuripgiYsdZ3IrioZmfS04z8IA+3NyKK40fevtSMQj7JfJHdwqo5DvW7xJ95Z5jOthfBn4dKUlEcLsAYLtiq6IoHZePSgId3kak/jJkFl6DJU+uPqc/jr71Hp9mylOoncaPwFjG3I7yAgWfncE0f6jJDf7MJJ9I8LXTMtqsRSpIv2OBoNanA3G2SdCFGtaaKrSny6eQ4HNy/DfKb9oLj7xsz7tj6HKo8WNKV3Adv2h+7rkoGFsSlsI0fXEhHXl1C/ao1gSImCpzQ3N0A8Q88Sli+nmBhrqirwpUCsdrPWJv9dmYNpM3mFqee47lxJbrg100cFvRb39le6Jn6S05s96wGerq8QhXvkZS/fL9g2dM9QGkQRqqw7a5Z+AwrbGhzFnWHrF9kUa/PW5nljrBIV9EssGr9O4JhX4HArKLv08WNRUKDJqmpvnVQbWfGWUogmXFwvEJPQ2abtjYuQeEM8JzeOlLPaiQY9sW4bmFCbm4DfMGo2i51ZvqOkRIRXsOWso6TPmvwzGqy23ELPjJ11EIf3X6mUE94EHxPoV3rmMxATs8OoNtl7Qtrf9WyAwpBqmwNeY8Bwrb3x5hWxSQfqQEq5VPP0UE4VSCmHSrAXzzsIMyPfxvNTtORkkgs5I12wPmAqeXAHcXfiI7IXwZTINMgj1deVF3Gd+W0Xt5PmloWTOI1FxsoPti7u2EOvcYOfZoh/Ktp49BnTagR5e1bb3RGyYFo3iwM6mDXA/do1gUjGWahI5Xuu8JnU+Q+Hung7R7z7554eW1mYxQBlPxW6fPub/CbcYFyb+9mPzU7YcAvYovEA0pllMEn8CIUaf5WjizJWr1HRQUxMLY7RD4bznLCm0uHBG6DqoJkb4gWY6ILsLf5Q6NEMr0XDtWtfmg5Y3PtiPAbNKtdEReNuvWxK2WxfjEdM33dB6Kx2h3cxmQz5HosmNeszfmt75eTkXajc4jjznmGq/1Sr1KeRdxTStTeHJ83O8c5ucyDhmXoj/S/jNO5LCKBwkHvEJlF16CD21P4ZHFLfLG01i+svrnziw4JU65TgAporXhx7DpRWggxb/C4tobAlGjFVqoEaT26fQWQ43RGzWtxVKnc2xsBJvRRdM2gSaJs3S7KiXfhsZnrdzSFgE425AIYRn+JTV9tJHloxS4uW2O6ybhZIxFBvoREsEmtx4VULrhk/p6r/Ko8S++MszJhPFIlRk5K4vfkOZ+9VZDpxEWiVN1vBY9+X3BDLW0O4m2Zm4+/3V/viAB4FKF13xBZkJYSiioP9bLRco/NCzmmWTAcUwa14ZeEosiqdD/8HVRTVNjDIWdZLL1kuV2Ifxzjxg53KT60vDEpUscFR0b37LCpGGkQKcmNoq5AkbvbCmEDUZSvXL+OmIb584s2NO9bBUMUS7eMCxgPnKGBsue8AQTnsb92BWbwII4uHDGY/WpPH4CpPOsM2wSmjAnsfeVl6kyFTfzM9jPZnI+u9AhCZetTZpS0IIwA3LznreKiMUGV9nINn2NKrOCx6DhrJ/vDP6LuWUZHVetc83VARj2HJTiVbXyotshj5DrOmEPi45VDPLLft3PbSz0hiJrvOcRsWQNhzDcRT2nuzCJ19kxxlvTVShBeGM+fl5T+C3BX73rvgpEyvNB+ummbgUURB39RzsDa6QOglgOSPYSqVMTukpVItc/diX/afkXs9lOggr8kijwdv5Yf48pMwBc/eSXkW6mBrDW5hHtQGHY39zBelWMOPzWr2xy5KH82c6h5WYXH3Hqd0c/5JYPZGBJz/PuW4eJFJo4QxMH9ZQ7St1gI6jWrNcbxm67ECc7cwXoQrzVrM8qTSDEUpGV2vqVBU8ZRJ6AYrkauuXNoGJ7L5aNBvIJDfw12kUWQLYBr/4rlpCz1ZSn5K5gj1LwIcaknPAUy1qugNCTb/shwvGm7gLquM8HwNdggRjjra8mvLiKeVbqWaG4feFx/xi3G0B32TQxXd8FLnua5zGBWA251aGI38NC1JZ8QO4upXhyXHG3v6P2dowK07yvhX3+Oz3Zq/2u/hezWdpcKZLrvvKNO7cWkKeV5FS3HQhkuWewqpts3CUEAp+h6HFIsTcSn5JLxqxsA2SWQVc6v9HplMrZjCOGk1fvsCkYRMrU5fLd9Z6l+a/h4DpjLfwBQDYureF9aC+ZHuHDi15j0tWQx9ir+e1DDu2r/KmXAPn5YiVn/PctEYxJKNZC3ZQLD2IygK1JM4kT8CSHodBUK817w6rzjgKbnko24ddkWb0EiFpuLzYzw9+kIHeTgI96thweJEFaXAhfUyPwmWxl5kosfTTtY6UfRKt/giP3fCFgAn8cD295z9xSVB27KBNiQcLkb03LHX5cpMWcESyRH9oFYAbOoU5S6bbvg4CYmn2Dvp2KtW0T1xEEnzWg1P/5PSyikDHw8xWeExQUqNTat2Rhl3Hn52BARra5YMKNjXyG0SVLB7zgEcr2Mo+sJtTPUKtGCYm2viRDwIhrxvYKiwV6+nf13uYexQ9H1sLHMgoATJm1rO/JLG5lRFD2dD2oJDNENwN9SIdCL3kJLe1e3C2L7SbHBSK+NNdAwOOFOhyYuSIcKvVQoHpzaEiR1yhAhsdnN7eqkxyxb8SgeBS5pfoSKmy2/hnV9EAuq1qiFFFsHVTJFOCGxo/9l79OE04UXKK2WB6hRQObtNT8HZXJXDDlIbIFKkoQZef9ocrpzy1MiJNi4YftXyp+bS+i8gImA/mslWQ1n8ovvfq9rN0xARicOa/yXLIXy0lE4R9VABroBTT0p+i1aCEdOnD5z7c+XIJuXrEKoP9Buv3dV2KKGTQEWAWZKJ1xZ+CiRsRNtmYyfWSV1sSXmmCaLZlLYnFQliimKkCpQjt3yF4k8wHIwGJbUmKbac/tNKA2Qpk/e6XfRIvylYKb03lG8AFSB7jqAQPDJjEtnTDWVbh/IBiAEeN6MIg3Q7pDyhKEN5Klq9Wr/6K2MYjmne3Z8xxo9GwLi9jAVIzyeEN475D4PksIDKHL1GOzD3cE63Isw2Duj2IwuWyub5OdgqvKk8XV61DHV/nuGdkd6NBJgrRWNR7WOqMCoWHcZapjM1NDBoxbjQSNt8x95vKgT3YYHSiNX0eN9kedvzGFXsSqg5qwQ/5+68pU7a/jhpRS3ax3G8K83gJIerJBXIa/u+0hG48GlNgm8kIG8/MQCI/Q6DqIxh1pnbod73EChuX9oRy5mFU+HACWyBMRGsGfdrQYVVh8vFPPlssJ4rrdeDsFyLTO8rED5TlGG4VG40HzERqbyVdGBhu6AxA3PvFMg28n8YjWkaoZcP6sox7VJE3Dmc4kftau0+NIGvE7nD356m9u/UzXZOfXWjMTTwNoEon+HZE80cnewxDgyLORp3NVLl3f8oKpNLNJ0+rwAMyPSrv18XOMPTKMczAt9IWYPosTkcOu2wQsWNHHXXLCxNg3QFLzxkZ3G0zWCqP9G6orK/8rNj4QWKg7Cx7pa+kkewwif+3vPeDqridIrt1uZH4VqLKBuiz+iV12UfI0ZoOPZyUXo6vX7KnqETFhHPl+lq6G1lmbjmZsgIkgDwC9xer+et0uIxINhsReTIT9t9kwtajXu9XZ+cculMrKJMrmW/++5VRZHaMSlUMZIU/LJH5oXjiMSGB+oZpVX4+zus08Vf40vG6U4nRfw/3pc1r6rg4/S5bXGXZQ1A/HwoTK015VZ53IOUra82begJXH1HC6H59B/9BQImLs524tBJ/aEnQlOxjq0zgRnlcCOi3o9KVHcP27P8n6IrzY+BbXoVlzsyeuonAZHuljiBtHPDCwScKjHhM310RolmG5cO9DD+v/1bW4xvazNUdt7VeLpdR1ohoudC6d5/uCijiIRBR0netPnR8PMf16kZdeEKuMThBB8kDjYYaibTJ/tkJNTs2RG4bFgout5HSaJN3gyhHh//hD1AnHhMXSd679MynMGK+/hAlKFwkGMmb1/3vxG1dT/6tS2RA0fzIbyIq9imVEOjyzU0HwN430P1CKcIqiXSU6AOYifI9vCzoNWLkABYYnsiKESWPEivCG7Gn/0kNndmtNN70Ul2Y6+qnJjzElp7PtduqW0eGMqTf4VJtEtCkaYHjJPbMnD8CRIj+G+eyxieyNj9APm/5/EuGuQ1/6gV6Ubkp57A79bM6HaCBBzm13VEOEQlxAl/s+YEqL/7PSa2bbb/x6goHXLDguXxh4L8wtWNMcu8yZDyljNINsEqRT+Cim0Wu0MLvGFDlqjVrYIKkvDnxsK3w/mmRcOghXhGPzRV5CDFZXKZ32iaORHgjQ5gq5GzVeQIu9bt1GK5fVqIbDjv2B7Qor9VuwPteRnSvNtQ/WsAxLOaU9s0JrnZOOrTYZ7Xi3kIMR4Cv7VwwVm4OVu6tuyuMlYiPjKPhrHKMNlY+YVhbSrjgmqhOG3rR6sNXWFaLcr06wjiN3xuVJ4qdFYquLSf4oenF6VZfYT9F5SWGHXthgs7Me2qmSWejTyawwiRg4gQv4Gov7LQfmg57Cjeh+tDuCIVPGbz/c07+rsnvOvZSnwiBiMeDZOM7nm2Pjs4pvO3/rMFfTtAZnclpy3E81nYBS4HEQgwUGSaUKSUAdwu2QVh9ASXUVc3kv/hvAq74LZjBmExUwhM/KExpNo8ZMDuysbORvtVKfoq1n1hx/38RRkApVKk2lKB9N6QY6Ftvj2xzLUGHbY0i5FuWnxpVQupsEchzKY0DMcFzkQe9TGRTuxYbZJ/R7wOAIAAQIZtvBsgNfF6PfaVtKZM+ovoj+41GXeQhpxfzciPYr3jSxV1bgE8isYsbdzfo4SkIddXAFcwhlVxDofPLLxGM67nJQtLReHUJzGwD7itmGWlgmAwuV1ZTLgQkr1sTwH8NLmpzs/INT9ECy5BaBh6URe4ReZhgjK1HmXz6BAv127IG+dQG8yfbe6mWMxksL8DudWVS4jr5Q2xqlAJctNi4tuTXKyYH0fN5MurSyQtGIb+njY5cGBudNCqszs8WDXno1BGC2EIRqRDK6nfgEpuZjSIhnL6K43L/xGiClJ4nmMF8JCvyZ/e2lhe7g+60v6jHSqdbsbqx+8Nw5LHCHf24nkz/IsmFwWcUaP4bruUVcAekqVFa/tiW35isbHEgjhRsI9c961hNnlG1lHESrO/gxkiVksg38Pb/kflokn0mgHghnN/SmLFQnLVIuHHB/L3aufWNCNl8J+F6SwU4C4XZwPneZpNuzDeD0IA2hvhajYFXI08qEEG0sfn0XY62y70tZlcZnNdFiiMv28tjSmS1wS5KZrmlwkclqVhIfEEmwFPrHAeHbvRfNQ4pSEYzye5dsSo7q9CthLQOvKLhNyE0W+DKnUuSuyQVn8V3rW0thby5oTlgYwph1ZWEbCpiyvgMTY39GH/5ekHODCx/AWpQYAH0fS2AgfTkCxuj0exwRIe50pA4T+poOpQONRH0TATMgJgfKVbN5hpKfNDf68CVRF5z5fiDC7PNQACWFGpnk8TKIfjzNrbrauu2xzGie2kjwYpWWOCD0e1XZI/GjhYAlJTWtBJgvl5+zutGcJqHiKh1nWeKymI5NQGYCCKteKnJwr8Fms6nmoomb0kZ+2cNJGiDlJ6zNQeC+CSF8WShB7aBnIcG+OAtZ+8/UXZnLSM4IErFxYl9lpuEuXQLe8+oOLhayo2pj1z/4zMGDvUNcI26Y2XgHvgqqLXcwjDoaNJriGSx8aeQa4/LD8KiAPPMZW97qftJWB7EZre2kiJWWQWXJ2LjWZQEW6oqUeA4QszRnrnk8V2XprRASf4OhaROhXyBhDpkrv1P3ZGP14p/scHmtO6ZX8k9bECarrmP/mQhmVW2ltxhpksrvCjuE9N84cZts1F3M7JblaQdfnfgbN88ELdpgTzSUXPyka0GhnRTdivN6+QqdGAcFb50Jy/iVo1/xUuKMcB7QqlzTdqX0vZ2UOnHowjHeHOJ2csIEIGtVwSQ4hqk9trlUp8P7DDSzTPb/Cn9IK7oCZoBzpo3Jif0npnX1BgOJRRB+mVgHxNcwb3KCq245bC3KDph4gw09q+OhJzo6xN2ghVboTKRsGGHq4U4cqen08JIFy49HtPT6HvQEXirHqxid23QGGeiBjfU5ANzfOLSInvPQChXAAy3HkD0yg93ZIre0JCiHzOetsTOlPnBy2c+ryf8IJ1zFRqXU2/7PMWEEEfVuweF+ZiTlbt8uOroVOR9kyOYlxUH7Np2JQmOdK/IcL789k58qPwD3BZ7BBREVblv4rgeUtCtWXg8FsMOYDOOWmUg/cY4EPU1sziebMZhxmCJctjnR4HA4hUmYVKJt7h3Cpoxp6pWlwrJkVEQmFKkk0DJtHVEFpVeA9eYxHjUS2H3YGStvnFE0Xe59Vc9n8SEMaYDfJrnwWJz9i8wsjnDJVw1qKqewnwYrx35YHoc/r9uo1pUJZ/UEEBie3dcCivovMcsXHBaioDetcQ3JhgOOGm1BNj+rH64Tl+D4QJl12e2kLLHqt2ndwCodTovyrBl12CCTaGxxaRD5EIxwwJRilxdhskAW/eVj8e46jddfWGasydBb7cSrmjZXZnZkHpxRNF4fyu7lwpSha6S6vdpOiA0CIgD0lmrCSKQAr31h6bMDhlbytETeS5ruwid3G9SBgT6vDmMKV8TYs8KPj7jrGS+YaGpiD5lb8gl4+G5AP15q2WxeJi4VBbGOIx+Wge+MPo3nXlfEZCx6hrk4ALDzUGqf2BR/Eysls4wbelM3FUW8R1LpdNdzZV0J1o0+Ka1AzQgpAHJbBpXuWspIr73tokFHJrjEmcMae2S/lyR6YJxuftqfu7aTUvMiL6FNe9KLIlc+xXkW6rQPnC86Q3MsIvvz22/LvFB4dSF2+GoswujhLbswhPwhu3GpdVm/psNB60iOtVNNZtmSsfvQDwL/iG+69bgTJqE4OoKWS05SPLN0XdI0Z6yP9ijLFqQoFwq3J/fuwxa0w5kHxaXKlLv2z4McRHlWDj4tep2t1H519xnZBwiiDCU6p9BxvZ2d4goVzi1CgzddeVlQo4OT94fUdpdcLbuVnJEfMe/aIMNCudslzNWeVEdJCzfBxzirsnMmVs2FdpSRfihUbhciDh6ltPHtzP8CzeChJlui+HkxSuJ5VLQpqMxNi0C4IUfFLVtuo7AlirFOMUWNXpT9efHwLfmpeVjaCsAs5orMxJvuSYbxzEPk2bQ0jwbSouGFetxuwA6bzXjUB3PBxpLjh1QPYgloukkmoATkeGrSYUYEqVFkaPqT4uRFG9DxL7NSAkXfomTDaih+CbfkUk/HdGXw+Cr1rqPrPpqSsSYkMv1h2OQWoV7jXwT1sS/FG5mfm3DqB+7wiRMWNPqzZ0KyRdmKypboyVHtQlhfHeyp2oT0dBgfUTkwRFLN4ANipCRSoByHVncRYp55zeH9etete2BukQNezZTijOwOqG2xZdMPReXgXPUMlq9PTj9ykNomhHAEOQ++m2XJJHjLK6JNDi70Odng4/PZ1S3AQamri2g5v4RQ1hZY+o7GxzsbANPEfvFKuwdrC3vSjg0zhJkA9jRs6Y6vd7EAL8puhKBSgAtcctDfU/GzPne/CPhusOTN22rbDFYXC10OIAi/Z1oAWbMZw1xdZxHrYkaN5GDyAyEY/PKMh9AcxWu8A0SmoHFpcebPYJ7KlAIdjgKPuqIAUx0UHFoQazkgOFpUa/RmAUHqwkqOZXuk7Z2Kg2bQoABZxFi5d+orsjupQrexy+dLKDWcgCTQZwgw6R1HM2IeHKVCTtAS7ETJQihacmBfzwjOXCzYj4KkLodYp9tRkfsKCixW+sFgDA5FeMmjN6ArROjAhhSlpqMDYckcGXqcg7vx881ijAss/CVQjMvHFFJC8HU538NsO7rwyot5BjBRfsDtFaVjDTjrkP+bVr5L45u4knypmosgjt0nTjoS+6XlODcfR/oqnWYIARG3MfHh+STiva8R+ZszwZb8PfgCzg2MzKO6+0B04SFDWD6DuyjIy5SLhXX3H1H+27LH0JI151AddGmrZMmOIvPf3iXTl5rgtBbimZkvvtzo9bi5sBvXcwApO4Am2cyG/VOFCbThTjBWwL7o575EdGiB8Mn4nzmgd0FKA2B+J85l1CUctMdntlrOpPOpjbRoxxdAgFGHYAWKXsv07M6GATtooGggJM9y3rovxQxlFroUd8lv0BfuLyLLbb8VSYBIbFm9cdSQ7IdH8ZqZPYwbqErDxeOsYR2BJqeh4Ix1byBu3j2CG9zKgUbwN4gNnPGFwXaBMVbNLet0dbU1AaQGl1K4lq/tGzlV7KtMmLdPUIRYxKHmnyJVJVI9CVLkCCxehHNfcjKZfv+bvWskdgIN1D+wLdZ5Z3q7t6+88fF7xIvHUXTGeEdc1ulpErl8aXtQatgINafgkKBWdvtV5gznBOVXJh/Gz/MzBH5xAEzy+N1xGvGnZ8kgmPBz+QIuDvpsEA+rL4KCjummNeZKTNdcfnmTJKfJ89BLUrkJhHhhaICKB4jEhPxxQOC1ECxpMbnKDJku8/piYQWSwRF6G3mhfGevkDZ9iclBG4fPMJ3HT2nyDJxDL3i1NRldzUadZTEJn5uZc3fRufea7fBiovSNuBFHKhoCQ0Ao9oKpD4Vc5M7CqWmWXNpZWcWZEo+YPtfASx1BsJna482rbdrOgZlhcZdMxnDp+hoV0b6LoGqEwapqq+iA1MeM8sAu7/sfWS352RKFnPF4zeygB0Uxy5qNnAVdW2Cx1hPfFLliV9vee6KC/Ngzg0USRK/PeoaLdjDYHsb08xiFFn2iS2r7NIJE3qyPHvIGLx7rt2zD1Q1dElNeWYBc/rdE7TulQriPEsbvI6Upj3Tioi7rpeV0Cc7dBp/9Df4XEkMHuc7On8ZFmxgZH3GkIm/iIRNQn8/qTsEoCowyJ+2Fls24veaIT406SkzDpwtLSAZ77YLR4qjYVF9ulLd2G76+BqXLgkwDciQSpsFSyYVTGU+wBiWgYSuqex+m7h98RecaWTDCzD+zObSu+nYuGoHwUX30fqLlfsyKnjVFPUKVFPPa4EGFAU4fp5dhDYpFRvdqS+YkXc39t57OgS92t1Z4IMcqBK2Mb5bwnWATmCFG6p8K6Py9IKFuF3YJHrDeIW6U8KSKn9DWgrBdl9EzG9oIPlP3KKP4TBIlemr7uGGjNHoktF/FZmBZsLYR0WMkJVZIrWVMwT7LbYQbSV+hRiqrDmegPaG4QzOo/eDdcjK4FPN3kWDdl+ei4HJAGrATr2hJz4MBR7yzc2TH/T2uV6rqhSBcjMk1xS4efNbdImIxaDKWQeALpcOGP3utRwB8tlgtl87kD6wUC4afpcv9vsBZT2fQzW2x9njriydtevUV+i3XVT1xMpikkomoZgZ95GKXr6n6z1PhCkh/J104t8OIfKba/vN88kyDCMI2v2jmpojA2zaUcwd520ftIZqVMyVZDmIXUgMCNB7oZJJi4id5ZpcuWZZWNZiTgSZSorpL2xoUKOntWNy88T+qVCBMYkJ7MXI3MgpSJ7gFCLVIcxkfdwUTgqAwId0C8PyQcz6NTVNY6zUFzduvy0Xc+Dr4z/KHu9Oe9AFHhgCIc/7Z9c4dBzKUblpO90GlK0k1gFgbcUG3blRGdMQQlblUi153bL+v9Owysgf/BtkIBUQMcVdqAh1/jZ7nJAMS5ov9x6b5LxSxwuVtyO/ZGd23n7zAIjOZh9QYmUNWEc6oSPiIV/crmY3yNppLCynM0Q/ND7sED7DgS0ny9mbcN2euutLxX+mLSlgtlYgObYV+48XDiXdL2IlnP3dRSaW6OCGBHQLuldpuql6Ft+SaYKPWdcIvNwLdwwiome79hmsyzpMU3MlYA5sJuc2ixOaORKG0BAGy7K4uG/g2KI2KlLSV+UFOdbNh7MMwg+JWzGtDZVEBcF/u8WIfhc5sffyzBQLzr1KT/YcvTChFKWgF7BV+gpMRK9TTT5wZCNh9kATC5w5sXB/h9Hsin4kpmSt1ySJFvR1DJqMfLGxLJD2xpjfdllhiCfFB5/+QU07crSxBKqKN0vlPQ6pGtLzsXIMHdnbgNs7AiWriIUxZ7yf78GAlpyWisjhZ6ClhymJEWwVAknUWr+qv6iu1OjMoFhfOYfqBIK0WF5bxD3YPGuuyXWAPn0m6gy+uPtAigRK3dZOHuqRut56I+EjjON1SySEVfXCDnB6YclK2mTiSAN3XGTvdE//UzyZPDM+TH98H4Z0A04dFPE5oc8FjhkKbQ3oURpJpDaIzCBuqpcqeIh49qPHA2nDE2iawZVnZxavVNc2/g2AQC6CLGEP03L9HJBWsGqaVgE6Qn5gf1P4bkncYofnZy+bvvTZJ6cWtGH9qTI8wpRrCatldbOeWFus1AyZPkIgD5gCMwHEUlHhMZXRkTJ+BNeq3zhd5O0gN4LbjKCJPoEGM9OUH8eaycS8ofr5sVNiV7+2SBgx7fl1/i9X2A/69lOHVwspDqV8wbevNuKXh2CvfTuyUOr0c5TKs3cCmoGkRMvL3zTkTfWuamxtsLrzTdNKntLxzjC6cPzSuABON1guttUiT5cPUrWTleEY0CR80lFvpAFfd5Bge776uGgSGwcG2iJQkKXs3Ck+dsnphEyDhKSEnJlKXstn1REjudNC1+SWowW1Pb5CuEUSsvheDOJIchyudEpQEF6Ep6IT2n7MTSjQEEq7b4ciI0oXbCAjxCnIeN6FpJA796sGwbnf1fS4hZGWWWEkllWMRG5WqYWONbByflgxwEEQtOL6Ty25QEHsGDJeVpREkYQG3NEVIPyNd6gSQ4AdFgu7DF+NypAIuNCk5WRAzChTOrIdvUpC+6a1L8AWYA01sp6Wphf/0n6VECEGOUF2cmCzmDkbFsNO3ZB5SmYydAlFvvYj2YF4d98Mt/3U1QIipRz7hT9YRoQBNJiWdmXpUh3wYaqDW/wy5gxm/GrqTeNriwznE5GYstiGhfNJFCgKygZA0EoXe5Rsh9cvufQ8Wnlp3ZVbqnPV+pl2IrI495bpOmG3mn2qQAOQaMXb/9alxIHVyCqEk3ehusN2x1ggJMf3htcNGJZ8oIgCjJGg4NI5LbtGIfRUISidKCaIZzNhGHPRogfPirfSeXKUVgpThuLTLv/nLplNjJAOkQJDTrKtghcVV4y2qEUZFOZnvVNDkBb38n6yTZK2gM74txrz8J9ioSQlfWJW2xjK82FdsH5TWXeG5V81VP5DfDlPoW+pJuSScumjQxvXpFoGSkKws33ZcXtSzWTJMRgDX82BVi94zpE49XWpkZ8WdAfdny9iwa1MYz++YzS1a/d5sdGB0arVbjnytaAKPpoj+aTmcLAQIFwL88PPFwudQZgaIUZ4bVRn3H6uJjyVnyvjrrtO2TCyIb44oDRLipUXb3a6raN20w+/KUg9JKktAWGGzSHbaC34+OxjNOxBKQXcVC2Flu1MZYQKYFekol6/IFHSBt7A/CF3Qw3lPxA952tneAJ0u/rTWageZWuBOPGDLm0FVcysmKGjbTi6Sy+ZLCWMqhhJjfJkcxK29WaN0jNbNHc3y6m6Go++aSCHjAZ69GKe21fggyNis0hHmZERgzVaQNKT2g9zu/PfHnBqSChEPjqEFqmS9QlzC17vqmwZyAJITBWXvxB44Vlw7SB5TG85BLleKunIZ1WB2/TvTWnEXopOAmfY37dZiIgBfNMAECXj6WPZM9qYevyTjgpN0Qg4EvbjOrGMzyyDx+oKmfw91iqsr62V+HPGw8D+6IFlPtQi9jIgRcW/lFLeF2DyoOwnRATvL5dkI5gU76n6S87Py2xuv46gorRiIOvFGlvtFey/2Z0bqZEI8zGuKtC5wnr2Y0uUDcNvqaH1yrtWTp1puOOAggEoRuNw7Q/QSkq8Ap1n0LxtMduVtRrK46ED1+/JhY+JYtuYW9F8I/KLlpi2e48mm/sjRC6+LXGNgYDrZljeRIVxUirRrElghh7KqEIcLk64VzvNFQNgHIwyYDeD3t/GBnPHZZMQN+4JHRlWWDIRyWh+ciC/XpC90ps7HsQNic3Xf5DU+PD2zSZlDT0qIa7poR1Qro9L3bCHJUSnUNLqssXREuUPwgmE7f0pO+lSvgyHzzXW+yud/xkJCvY5z5Hc13LmnCydCHNEcbY1KDSnEFTPth1gbtZQJjYniFDikyvX44H9FKzLtlv7fynxOHfOfsjpdO2uWXqcP1jao3p6V6JxdtoIDwJqPtUFAWTwly14Q8qaC6LkbXjc9cysih6FBWQvPjzbxTLiXyV4gzZtzWZHOQphN9zFE5ShP3+yH7Q+nJWQ7+ZNAQwgeoPOrBAi8PiCLcJdX35u+cGYe2/8TkqUiRToQlAMyAbU/5m1/Nhzl6TcmkA4J0M98tXTFGHlsCfG4bPVoeF3MRYRkpu7bQfL/SwrsRSWEsnB74yYxmM7QV33Jfrhxnx7pUSlODbSYsPv/7cgVasUeb6tyDmx3zQDXVaDe3EbVU269rSPL7iHWXhqqVP9IS7nYD/bEd8HMjq1GSVr4VPH7wRVHrjtASDS44WzWL3YITszMkGUD7n1ljYwYWHMxYyCLD1KbNZrMP2kVSauc9pM03L//eFr9ke6dPklaGxwMbOms1viYWj9WZkgtTHtJrpkszsmX4cMgDeoJEk57+tooueOnjGJkgBBkAWmbpHjK2NTz/APLBlz3D3N0NaEcuTZial6URjJgxgRprA0Gr9eFUOmMuvXsz65ZxfXpKEkIvvp798pwR9mpfI0JaMeg1M44XFcM97+W8ve/EZGArm1lipWmFSLH6CzsdgipOCs8c41JZK2Reu6I9nK0plSSQjJrA8cyl84P1R8slIAlffP+YY1w6O9bU50LgZCB/w955onXRWT/c7kNMaxeiJZ/mntFNTkw3Ua9HYpfC01lEOifHD+4GO6ia4GG3FJhyDN9SK/8VpI/ZkqZeNMKWdpn0jr89bDG/g2zUZY89aBxLbQX24QeP23wATxerBm1UaDRnOB+cOBmU3cS99PEq8ZRqfKAE7LnDSEqVs80qxt/h3Yff2dYgBuC1HTNwdM20ey4+7icpZoPNRcZ7HDx40YvLjGTU5ULtw8hw+FeDDwi1+rVthweJ41db9TudDHlDk5y8fNY94Sm9trB4Wf8Y7ECRXz0kPQEgP8LVYiDG7sB4E0//pncAAvBPtWR4GhaWsJI3yUleoXIk9tOaBYWWTcLyzrJvzsXQnrJRUsPG1J8/lNyRzzEc5Uey7qcOATzDQ1jOjIzHxJGrNO6WZSmHs71hfiE7BofEteWBjMJwXHtz28viVAKOwLs4LPQhtUbzm473AW79eIfRfELxPhW6ROcbE2B7JVadJEySG2ILh90qN+YwmyNVdJ84XMkfXehsUL58JLsTlFfdrUHoToma6Tqvq32EFoEX4gsXGLerSOV3S5KYyCnQGOgehfAGYIoyNOMmfoVI/sv+bfLToImSkJprtPIKM3TGSQzryCmN/E5OGJxX6Gb8k9ypdSFgnFv85DV/z12rVEWTr2qObe1X+iIFdTVNhVcG7lrFUyOkmy0YP+xTTzpzDspxXAOkMNasVnz41w0jpsBzppzGlyxGvc09oPuS6YVRqb7NaBUhz8tjlXjEQrGwZLwFVe0nnUGxiNkZLshUAfBhmOk9DcC9t9BrHdmXe6Vugw7a1q7PliEQHFrNbVC9inZqRuiBvQJG6+1g3F8s1y/eKoNaOvbJyCX/z8lzwBi06DzKL7fTAbsWx0Ou3wiHAcK4Fsv2snR353CEqWBge6YcVm//jSZ63bWM//2Uyeuo1BDGSTQDT7ZlJ8rRQg31oif2qfU20yIvMH3BJqFMpnl1DA3FntgIp6/H4g5/fWLyhm8ZK5q62te7LenaisK1o01ZChFquqnI5+Hif16ynjSFhGBUskSJZ7T/flieNKV6LH3jGB97B4SpviJcWuPD+62b+KPSgQnJZzyEUWAqzdw6lg4r98b3XGxjMYHpvu8z0vi0iIE0X8lkPTMqQuTAzm3EFnnnS3NfAfYdhYmaQf3u+ykycmojGPwDwlzbJIHy/ZTYx9Wvd2T1Bz7ery4a3svdzjTC13ydX7oejvrM+CVkBqEBjrFYvDWOmxYJUe9Qc75XcJSm2rZmKDXy0MI+wRPkrmnbpXCef82oshHf9E+dU6iCfNWPbD6ZnA5KqHBvGGp7S4kjP3QCzwhamLB1lGsa1EAlmjDr78llVKs/9dzbC2qRcAvjclW+dMY2R/EaWOYmlJGnPDwLRwjC9raHfZ3g9Cp6xC+4DP/wRVQlWh0C0K46YRkmlfk3piGtIzu6rhMnwO+s9u/Zu4LCagP6vjLGuidWTNNTVfWpbKu/aciR1BHsRZpodSIc/OuQG0+x3e6gllAXjNwC63Do4WrWamiM8+WAx22MohqpS93/06wPt2v87ZVOAgjwY9Bx8Z0yOBcTcuKf4vqw/UUPFkwsZ70i8mNf8NxTUNyyVREtcbJxeGUyoclvoPiYcGkK9iul6HLxoQplXZk6FPdb7pBdZcKorOOLqvBlMhtZy9HBSW8UfhHlBorpQsGvPj4w2VEPaUHRPP8eWEe/6DzIl5iGFrLjOfBxVg8f0YzcDr6ydS6X4gNr6aEDp8OydUOkcYPzXDPoLc5t8IuBpHYJ/UUcYWEvwZhw8t1yLcxCUg14WJI/AoAu3ZIcadX6R3x4o+ihkFGcWMwqgaSEu0qJhMcMzsVzPm1ni1QwNK/5I6oNoL9+2yTSzgYYmaahID9Hhe3IUFDROT6UJXikabnNeRADSQRJCTB64yNqQ7Zg1PrVpYJT5R7jHW/m5KgEgVBjTcYgtkpG+E5rcUXKEl/ce65otzTmWPhnzbM1imwpX+QFXCpaIr4n6XrMu4dK0W06v/lgmmE7NzMo6SX8fRZhaRqUu+tVmqkhlN+id1N/2x3P7KfcuLwEONok1PyCd1M+NL0rYeqb1iV4AuuNn35g7xj9VHzEvy78+4tlqreTOK0NPtF5DNS0aLAqTsPYZCeFn5BJ/jqZULbQZ5NteJmEMmDFCdoeX0XQLKGcC5t+XnucPHYGG8lNn5y7Fxm+6wx/ttcctwSwR5lDg/growpgAjj+jemI6LgLtwRLDAovVlxIQPnXwm00jcn/YFPUNflFbMrW62T9R00+iLP9FQCY7Tg7j21OY4VJ9T6nNLglPRxcuDSpHFpo9h1G/0QmjVnG90xa+cynLhOuYCplStSEPgYegKbVvnEhkCJPjCU4MIIUmU/LNI86gT7Gl/4kT0r7309DJoQkOCwC5DWOOQDg6Ex0tvW+CmsbsikwUgpSqZqL/wfhX8IAajxgeY1N7OuDb9w9M4JGSaorYdzsvASJaR0SvoqUTGtmGpAum8ncMy/xTg1kU+NkM1hTcy1a45u9rcZEK6zosyBnBc0ZVNnA7SEUShUPcMtM51cfjMi5yhP2tE4Nm2MCBinwWs7L52dKVPFqMpiA5oDZnjTyt3i7nDroxXY7QhkJS2Xdyq6ZdlWxqjTNxEiuRz8zYl0kpHbe53Y7DR6OexrpVONN8qEjCsVNVUsP5ziVQlFawXwI9klBj/rlbe8SzJ/LwDiFc6xSE0QzI5QXbnrFRQ3ecO1psI+sfLo86/DF5LCD1/7cQ49p5opsOZWLTT9caNC+DqB0G9ZJhS7uSxAHIb321tu7tO0yv1Ydx4zFKZwbKQHqTqEIWnKJ5EI5f4wOMJe6XqTWJi3SBqf6KcLAnVPQN3Rx/usMMe/9u5nrvPon5b0QguyYvOxjLsjhQXyZggrbp76GEsQCzCc936bxYcQJlUrbdS5L6afRP6HB2Tn1dh13ac8T0EDu2kvLzJnOhXtFgI531dDjJjgOIOQvBL3DW3fkq9+DM4Ri9sUgjbxKs/GBvl+yiBQa2G2CalrJ2N1CnLQJlAQWkIlOv9lpnA/0N+f3Rje4mZxfRH9ZIKKsXWIwrb69jq/4ZKI/W3lqwad6PuLPmkYF7wiQlB4jvIT+Ap8Bx8cxrChbVHOoAQDuqkYT9GA1aM9bafhq/BuIdx6uKvGNt6+tHT9FflSDrvEhnOM25rIjxpNTuWyUTCc0jojJe+DU/Y43v/wfGKjgCDgCh/nk/gxmk5yq3dGvuIQMp8aL2yLbHzYw62IyQJhd/RAj0eyJUAWukicbLqqgPk+TkfZegIChBB/Yxn5xadu+ABCJ4Ok3YOh4thqbEqdeUPNzjdzzLKlvKtUnA7qAdb45t6A7HG4rLlgoq98ie4b5YmnVkzJBGx6yceo6IUNgbRt2WNr9oTRXTDuOzbOtl0nAiA0eyHL5FJLcI1tP63XqsB5GwVAeQkwftrLWdbXrF3+I0efYrp0zxYDTRpzT91rrTcyJXPpCaim7V307JmGpWlqMwW3DmdP3tLnd94FP1kpbxJBnf5wm/7IBOYd5ZOB4a2NCuJExfHBAlcIfFXppAgQ6BNFouwxPqNcapRxfdD5sKFbL8Y29ZCJ3tiWbrAc+6pvaY946yFJHz0Uaq7oBeZXJ8U2oV1z7+Kl+17lKZKNDpC0IJ8SGvt4Od0Xmrw7judnRA/Spo883qaJC1mXKd3D2xlRoaZ4rEhRBdtaq+5QMapOSvJukaMWd/sGgKkrhYwedLwkYZ1saL+MGltm8DpoaOqmCePwczeWMCCFQBJfkY8q8paaJ4Tk9EELadlHPj2v3PaZ410sP0XrUL1XhFkGJx2CV8eEWKPJlPfJE+OBu/EVPz23PqpZSFxiuss+OT4Du0xp+ClrnTRQq5xS4XsC8qhKhKGhVU8/zTERAgDX0Eqr/VQsbtuqS8b4CLLKIrWXcG5iYJNIt4ZQg73PVRUUuh6fC/OOhxFWK2oRO8A9XoIty5U5SdIlXha5twKU+43bTIuHC9Rae37YPTDTtcRzPJm5ThweKtavbNA2/MlaLBzxzC6t8fFnch6LetdYwVg5+t0xcpw3yIm3FNfVrVgsBuNEam+ttLmBOgqUtsv9ROykI5n5k2UudVYjKH2LQM5xF0H9Zgoe2b8jxdM5TydT89E96+aNEgXr4yZmlorl76SAVGD73S/Nz5zqe4w8bRMTNPkd1qWARwsThMJsqCC7SXbZuX/g/tHQJWMfPaX2cHhEbqv106A6WR3fJ3zYNE1W/3rJk5h9dRx/X0l0g5tua/gHZ81Qczk/jel9y7oGOEqWbiqlPl1TRnN0DRh3TFwUMyZk/Uo5X7MB/u3KRfsaT+t6vNuER4H1EypReTxKEotjHtAal0JfB1JKAJqlDQ3TayUZcTflmQIVuTe9e2ypZ+xnyTs1wG1T+1Ls81lfXx07GzYZPNvJBkSVLfcowDurBpvf6tZwAtSXPfhxtSFHlQvAWNgJmVwTte078K9NlcV8VGLPzJmCnQdODpW/Sz8JXeh6EZtDO8aqn9r8bTGOMBpp6ij6VCyQC2/8WNd0PhnTqCVs4uLL036c+66upqNzueHGvAUJQzT00+02jTiCADtdYrtAl7u7fZQpgLkNYurkQ0NtJzIErGWi+UbNCzk4Howq6x3cgvgKIG+p0Njh/yL/Og+nXeZjgqje2D1JhF0AGdbiLgUedyl1sx5lqGEIUx72rJv9RWH1ckrmlr66Pg8tGIAvUMBsO/jD/9YaRgs1xJGD06yPeMLs7sxgLiKfh/GS6F0ZLdrCxI/LQMssEB9Re7l7XcqD4HzN5PJYZAJ9MbJHZYP+uAdMLmy4if4g000uez4VuJn+XMjBGLRSc0p/g6TpGlMWqfT3aOl4Q7exPRc9IqNTxdYscZwPShW5b1lTDJxswB8ISZLozkZBagIecxCb65wt8MP3JvcePaX+HOx5lyiL7Gl9KmVIgj4NWUECYCZCvZIvEDJoii45j7OgYT7b+lAKWmXqK+cMertI5m2U3noc7K96Fw2GpAUmSkS6998dTBIkICKpN/68+61kebajtmxfbhhKe8zSRIKReaoC8wFRWMIwUKLUp3LATLkvTQkA3I9omTHr5t1Zf+aKAr/6bOt48b8ue98QxiRYAPEpd7htQwlOa+ijyoy1qD0sAmewfQ0NayZ5wyHhLMUJx1q2juetKn3w2Rljv/otz/ABx/IqnoPmrUMhDkD+W6SQrPeFYa9kuYdNITd19tv2pvxllOun8QtJRYyESuPcL7lyAv3mmQV2fNgbEYgEMtVQ6oJdb7X7f0jutDh808EPE6Xyk9LG0hFqb7BP8Ayquu5gf1yFj0KV8PUXInhtVJiRAfkmMsF8V6UnP6Z74wVFj7TEuy+pTS+0vRNxQFZn0n43/N8Zs5BzX8AkUKNd561AQvsMF+BhmMVSaP3AbpWflUGnLru3B8C6mExTlGH5cyW81jozG7TBSZBxZjWFugjL30ReIMe6LHoyXN8fNfIGC/cbXx0inuoPjW5W87w9aaEZiCdxKuLvAJk3gYQUnrXNJjXAWjh4q0sYhJLRoHTzAE3n2nRp6h4U4rZWrUGjHa2EofTBLZwENBuuAIdNmgyaPSEaQ3gq3dCyRXSQfyATcGOfcN2+BIIpwGo8mGnLOZyJzgTHNEmIt2sSc1LMcZL1UNpv+vPrRYfIK+iGpGFRcnUueizqPHmbnja/qWYvvSNOdyWcfBzHM4hQyaUPwuVJK7Jygq8QOYHA8yHU2izJqIGOCEV8iGkCUdwvBRQwmKehpfkCV8bjzD6UJc0rwcmWmXcq+S549PlDihD6N35uxZujc4VEAEOxkkm0+hhbVI0/qUrBye63wP553b7gqwEHICKfyzQ+j0Gi+ksSRa/glu8oei+4XsWm6SLPJjRxfJLzCYPc1Qq0yGQketjN9VkdVlMT+w/oqX0GO59dDs0Lp6PV3D/d7uiCHi7Bf39GeCXeApzyyxc+sWe42WO4snvzvLNFbwICMUMF+dAf0nuKjRs027cC+HXxNteII+GY/K6yWc3Ao6hbVcsoT15aHQEmI31AVfOOeX1LStcM4W9hx64kOXlswnDI78OB6rToNXJa0DkGms1cUgA5UgA+aQx7Pa1VA7SmGGuNltRUMhi+UKicJPVYr4UEsc6+ezHszsHFSkkXBKRprxgoz2HGuXJJjLwQcxa9LXuttoMbpVgp7NXYTz8fnrbWxY6P16sv6huGpp7h/dFyYl7ulS1qUjPHLH5IhL0zSA/KCW6rJ6U10SZXw3cmnHn3DeBtkG/93a+HXTfDDQs14HciSbFFEoc5/pFZIBz4CMJNJ+1lyewthDEFHW4PNQ3qjLKcO830l+hgy/B1bmH8skJt0CycIGf0G2lo+VmRSxdEdomqxEKuEoVdmQGNz3nVvBRU4ZcZJjewyLGli6p2+mJYphgo1Y55mpsfv9jq4KooM6zvziyE19YzOf5en/hhMolma9w2BDKGnsdkVaE2sQb/Bhe9smEzc0JL5yWJxkzzFQHAIjwAf9T8mE+mV2G+h9pTxrov9vRZOLW+EW9hV7qRahmZcKHMZYexyIgs6yktvdDtE9xbzaK5w8CaL9geDzplUa234niXXwA+NfnuHPnj1+egTCXAbsrIdrpgcHoBXR9yWfluo2F+LjKIuMWEoF8awjwF64J9CEz9h/ZSGzak8hN8TJDVeS0hRZBoJyd/jT2Mo5EO1Rgr4QoQJtI0k+NceYMxINdKx0SZhDLcXAK4fJLTkRCtxoV5sXciJjtu0t5YCf4DYVRmKNkgkMdjoq0xm1nCg/by5uyDM0pak1g6BHmAMm7YrGZtPI5XK+p5ETpmTVnToJdGdiiiFdKs4376SkTl8hhK6q9fJeNr7piSv/XN58od46pbBJK1o6BByZMw718/k5QQiCaWNr4Ol9si+OpkH0AtAsx3FA3BNEt6je2BBALjh8J7Y4omEEzdvxS1uWIw8g36KVHY1gvkQWaIMdJ4C214JwBLkmVRz/5UbpDbdV3SNOdvR8V459o862RUTIIcgIhBIFYelVkufwulsy4PEli0CZdyswzU2/OnGiqKLSVAgBWUU/I68mLl/YaabMmdm8umTcUD0L5opnjFmowAAKLAF9xpivPA66t1UX7n40OUMoZ5JK97f3TW/Q11IG3D2E29s3VGSxFHJs0YQCZlWf+oHPCXW7IPCezZlfTzgRz3DgOSC+51glD9+M+XM9cRrKq478pVXnRSTmIV+MSPIzpeekEXLNLsTQm6L9EDfihpQSyvvw3BRcv3CYEBbfb8EEy1i1za98y0ppOJrNjQ/dRnklVhPKCOAwZZBhJ0QovlRs6XFGO8vZLUmqKEFoBm8KlERMmLTp6cWxYdffVGFnME0NtKfQbxfvjSb7Wik/ciOe4GJIVIVTl/4HnppI0qS+pRv5W1Wpfk6jEQ1VZiCb0zM4gMysew3EGtSswt23dV8ER/4eZHhcfrwnaRJ7JbwZwqoJmwDNBzKyjUY24uo4EtMvMqIQsicdbsdByEKH68Uo4izqVnbrSw/H83MW1FlCkn8l3RXasSh/aX8CPGfZ0e4bTItLBOhIxdTTC/2dkM8N6GjshjG75yVfprF+rCchDq5M2YVgb2kah6JiEjbj2CILXtOtORC1BZ+3+JCMjoWHK1IpGmp2KB6KxULHSC/Vuio7Kqn2GJF1tvV+jxYr9tJ4pzkRhOo2Iuph8IHtElxRLHmDTOOATQfLKZqup/CWAypGmjoVj3g/pauNXRgA/zdw15/MTx9jW/LLEmlUYBdyTh95USrp4lhbVd3XlwU6JPnUgAbsdrOSZwZNIQgikrdXkzVdICDQUbnJz5Uns0qQerpJFyHa0gVA4akG/pR7abaLngiLFEiALHIAILFnhZiUwjP63qQDk3qZe8Ol8UDthPCKw9//hy+BSWRht4IRON5AeZzDLbYrOo609WQCYLpnnctbTnt04fGFcKdXsvCfPyC4MegLE5VhYfMbCEW80GYmSvyakGbxyc5EG2T/7bG97U76vMM/QRd4Os0NJG78Lo0L0v6mUgWBH9TN8WgvSh4mkytWYaEPQBqCuqzQTr7UCYWthXBwYOf7uY5R11wZ1xrh2BMi3QW4TiTbQl/4DlbKTIeTxntuvdoVLSQHPu0RFHaXIKykUSyvp111Ndr1M0ThonANr+A+f2U2AnMh2DEf+XmnF2hv3l4klwRIlx+5SzFyLY5fZSO5bDwn7Xyk0dJ5c/SyF4hxDRC8HJTCpMFRVWoRTosaJrWmfqwja1GB9gPxwXtrUk3PYTFMM8kVmyonLviJdyj0Y05IwVl317dwQPMg41Rw7r08WdQfwFCKyecUUapZH7m5qPZp7JnMq5Gjql64GZr0eivP2IxHqeZkbpiQ/rvZOirJ/8buSy9g/jK9liUvQtr0qgfQ85tN+hksP2e9XV4jS8Bq3bFFvvn+92CdwqidBwzAu4uyU+5SLT9gCDPAX0JMD3gaEifh0a4jqtZoXJpcxO1oYrBkT3Vo8r+M3f8Rbl5w6U+ZNo+d8nTNTsOLTOYOEDFTp6tFCLuxROMj52FLfBrwBRkrAsb2r4q8Z7aPHJVuhr+Tawcj//aBvwX6fV4k1vbHSVuPKqQDaf/UTy+YqObXQzYg5TkWc5THf1xAkzu+sv9Yu7pnRIl7D+ZlmunL9e924sKKslE6S8Ff31oQ+X0nUvQehg02io7WKuXixcoB6nELssBxLJrSHcr9nYVB7TCC5sJNFiYf397vRZJdbCQHt45Gy1s46XZ5CgctPuNqPlfLJy//YwoarOwsmUVNtXg6ErUR3bgWmO/HneSu24vB2VW+0uR2A79qpvJzijGTB1pAFfX2kdG/nfFQKKNMvyYy4B28lxDsGdYHk0aB/OQlViwc8KTbhyKdH1ApYU50zzEIw+fHIt1LMi7MI70wNF4UzKHWxYLGL0mRfiv+32ZQsnZiEE19Lau3QGEQ+tjMZBnetHVWExi3zdFt9pMQk5tQmeliNJEP7nyUcupCRkqpKcTeN1k5TmjtSBVZFooVENpKp8bAwBucG2xPix0k61CU57cNEUyZkgeSKPZ7TkqroRyPNkCFyT0o+R6kRdkFjVWXaAY+Tu8+S+lA3qGygJAeJFp6XUU4lKqJCsZhMD6IulPWyVP7UDNpVNps4PbqhRw6X0c4S2ERUrTMB3XRttScmbJoTaxeyKa8s+SwiBfuyti9RBJf+0nQS+X6DOXlxhYfbWV2P+uR3qyOfhEvR7eP+k0ltn5DdRk5IC8D4BK+QXw6B/SKakYCAWSPmqGOI01T/dsPdHXOMIhrd7hWhWJLEpftjPiRsuRNU4T162+WP39H3Rs2SxpjtBSE2AqwfiFn4a9qvnamNvGtcMF04l6OdWvNoakl/nqyo5gSB/HP8hqLFOZGuXi6ZYKdUVEmUhigiDDyv8YtxHUTH13RUKh+i9DkcREALPeWaXQxstz7fKuJy7uDi7jF/KPk6689xqSN7xU6lmkBBpVWIxYo5BCfz/gFPFCAuF17Ur9Nb65goPkB9FCg8dU397PojpX98r6J20xED6pGlVOfHvwUi8Yva40NM044praGhJM4fAlxGlJNbYRnW7majhj4UOJxCUYyWw7DSQg36kX2MOfBPe0BRtyAloA9ZQEElBi7ztlZMnumk8eyhOIcxKhR5HL8hHcpTl2HjIM8Gx+Zmmyl3h56bnecsx8Jvic2m60zRErRjhFaCkXkJmGAjEgIunlRe/xUCB/TPHNOoAQh/HuRi65tYv0ROptsp0sQv+XWxjdK7bWQwbJllRY8aT6Q/6KvrEjT0eNNKio5yh3j0VZ7L3QTnJOtOD6sWWgYnMxRZirrVtBpXeRan+P8aaampSQ+HT69Cjh/xN/+Ha6qlHuAKzg1tT5fOgcMbnKnyUCiQQ6VCB8/OqbOOYOla+oIlnDVvfiBhLzPP2QNXfJcupfOBmn9R10XCvx1FpGl1eDdmsRNXeN7J3Xg17tz9/PtjBeKhgPq4m/y5qUl7KsqLdOtitSRIBgUjqo6Ht1eAgVlJm8JiqEHGUuDXeMvt9y5m7qqBUUQPahsGSLFA9SP2cvW9lIc283o80F9b9+t785dggeywMT0PWfrrjCGLbU019bBpQ1Kkylhp2/Xv5M5ZUdj1+aGwxQ2fCRza6sYtX6ZT82/D3jVuv58Wwan2G7qc6o9hAoSoIaoyhY/2OqhSTT5Lf0hU/efl5LbYlUeH/nSFs/BzOlQjpFVkNTgtD51YUpFFm57a1f6iS/K95DPyTmgTWmy3qRh+jeb6njYnKCEk25BwLuz8Mhg9jVbrBqWXjClHFCV/YEYXb4G3ZargSWL4SbA6oaydEMlRopFXXcaLZDLaydCrXV13M2uA0QxF1Mm3wAmA8JpZk5vsGtF6RWGFrrbvwMbOvoIWKjMLrmw7gqxazQEWYbZaOrc8KawdLLYuc2K6OeD7jMm9QUEI7xNCXVMe/0MijZoR2BGNaLDWZulGPcdyP9megDquE2DDLBj2UQCm6dAXDewgUwLF8HeZeob23tCXYrvSBND0t/LuyEIjDvugLN/aQ3IlMaUAuWEx0w+DHwKQ4Adcn2T14aBLQayLv02YIgJpF2c6k4sjk5YP9YghwdW13zstMhmBGaVBgBgsHRUZ7Qa3ZXSTOxZGYuV4FOENqpaXhFmGkZYIKZxfugIvSsoGpmJj4zwJ4OclDu2FS0WBoCKQPyIuztAj6YbDQVjVKt3pAe9xqOjCP4erghbeLWO/JB42NalxSABQ4SbJOmpen5DQJguAPsUk9dUPOPfpGFOuVAwVo5dHX2Qhv5LOqn9enRBsU+vt3SX+Eo6I755zMpiELNPz5mvnAFGtj1UAfEeABbsm1WYqRr9Y7E6SQbsiKwqYSLxhfQE0ZvCu/sQbpHv1858U/VHTbz0ljWrefx9+w/hTWMlsI8Ni/KM0ZWQAa3FY9x7UFtg6r83QHQyhb6twKrq6pOX5+tEvs/IVZ+DX0Oj0vUyPY89/oNlBI6QaUxSD2z5tFu9s/xFPtLH4adtyDSu9ejavVultK3f/9MI51O7JZlKWrmG+fbmfMeanA5orymkJaH7jwnvmOa/vbWTz91LbqHAB36f26HNCgVa8pN8tnFNZv2SQNtU9poFanKvgNWnrwjB6fLZ8mVgtn2RKybcYixYCTICNi+bZB8SdlCl6jqcT9AGSwpSvyxCssmYleCmQ4JE4HWlDH14rzVVn1TLf3AqIhOuP/GYUu413jrxg3iSC/Zv7UxyuuFYcBjtcB4Td00ERUUPnoHY8ZGaSH/LaYLBbgk9le4Gj4km6rkYIf7U3GjdOb1BrLz5zV9MUZJmkm2DMChpg+yUQe4G4ZbwOXUgCnfFblgZkugHhtlyD53ji8XAsORo5y7fZpVjVjTT8Aa6nNP/m4D6mqqmduAqf4hVArhi6IlwYwM1cBpvpXSe220zH8hJPb4z9cvnu6TIiAZYr4SiX/pTCb/Qw7lRNURCVis05GLy245lROXvk5u8w2t3BgCuiMEQPGwas6b8hdin8Df1PhLl5oZpHwRoVFGFazl4Vwjs/xz85h0QVbnrYngXS/kW27JWk4WYR9cDFS3Z/4W23UWSvsh56/MITo0Mqx5FXZzvjIXekDEb47b0cRMowW5EwYDqhTNeLQzWb/91ioHbwGcxW1d+qb4S8W4iPNm6yNwGgsVGLpkDK4VOb+Rb+mJ787OS3g4E8QPo+E5gYGdEY5WBi11Sso7wlm97Y2og4iJsUd/q84evo7w4QQ9rLAud0MwhgCsehebWE4qvl6It0vbRf7qnDt6/w+zgLp6vsmWfc53Uy6LMm2Csvg45bNwZ+egm1+EmxnO2HvppOtb+K0CkpMkaNcp0Na+Jn5nqP294bao4h909HaOL4Zg+Sx5nE+RQUPw8ngjGEHLuyVTs9Hr9uUieZj5gJ8jwS7LM+TDfZl447EGHZ+2aYPBXIlXZdR0jFhQ30I/DxTJPfSHPFC2T+xkJxy6p1A0hVM0VLsycAp0t4hTEA1GL6GLasbW1ZKXyMTcdcxP13L8/IBdS1Ev6UZpa+E1ZVaLA2OflG3ZfDlDNnx7yw5K7YueW4dKLv/S4jCcAY0CnII6cocWc3bmI1NpnIwUCPYeTuivTcB2Ne/fQz/UMZAzMZHGt4pJCLtpuNwXog32pKlre7kYemGYrhTDVpjT7GWxIfRL3m4wZAJve9bK0klyv4/bzklQU0Dk3mDIOtNvoYzsl1pkBYzLyPb8vwBq56aBiQ5ozuPdkhgM6Xm4E2El0TualOnSE0YY8w0iAU0/JMg7dHC48M/D8d4UHdKW4hYZpXlu0+XzJkhRiXOGUOMbnlbXCELMoDGV9+Q5aozZrr3ZoD579qdecR6CgpvMVTPgQVBWxpHbv5/kRdHnjhqKLCmZFJ7EnGV5IoI6ZNqZR85+j4KqzLsUq2zF3spLRzoDTMpiZGz7fth0lo/gx8aUuqec/T2HHD4iJnrZYLkK9eC73nJhi+Dr67gpHJ7iUcH5m4nWlwP6bOeJ8Uv4UALBNKYLVWZciI+jM3Sx86ZLKXl0O/wq3TJOKcKjSngcNRiy3w0pcFPpk3o576lieIpwiMJnd7LtlqUIbEkjQWmIRhSbJqq3UNnRKcZZAjbCou/QVpRyHrbD/5esy53sLc4ieXk/DcInXBcWh6ZoSbwG31iWjS4u1IKwtO+cfxLbsciGOIWeEw8RJ+ezropqpMlEHNOKuiBl0k2+ao9X9uRaTKW6zbxe9YhbZIgVfgRADXOlvmkbwIx5m5Ty3KqS0Vl7pO/iyKJZCF6D/upfnuFQFltTP78qd+OH8AkQnpA55vTDsdNiR9QAOPawfMibRWMpt7gF+dZrJLG3Rf/vDc/9FZVbUumkGnf3Wlc3IxfIpB1pNKGVuM82xbY6d2yy5fAb5Gdxem3VE/smYYBRLyYIKOE7Fkuz5AY+yW9P42C+1PBSztpUuWm7EZBXOX+LY6onjn0bwaPcsXuRxSCJWs8kc47BtKRDrKrQuHRK043Z0SAbBLYZvLz3h3wKieMCdnlcY4+Pp55xPqXGvj14g1YDDKYsi9uGtkwVkJmBw5+vNLjRCG2GiBFt1dDzP4rK9YvVG50kSjHr56OVylPOFVUMs8w1AXAKjeQFoydUTTwtrcXXF8M9oisPlZhlJEYFZmZvjU9XJikNAFWmQsErNwWH7uQWwm46zW+t9l+VOQgESngybiWH3GFy4FqHQ9qOW+V21nLOMlB9LkjIXAgUsmJXglhczUZvkGpHBIYgu99lmXvcMMhUIurkQaudBgf6mleb8yKyg64JrlTYpoiHiHnFXpjxLde520EVsy+oKCfCM4nxyKoQhXUkuAnrKUFI7GtR79dsOy1b4jXx81RFS5c4QOe3GGS3Ofe/jjKjax8J3Twmh0mocwcHuVMGNSBCRAl2TvsNjnY1jkvVFzaB2z/Rj6HE9zyVNDTaNrgCpUqFRrQwx84KA+rzUbQMvS41+4nhbCJZgLnibv9WlvGMueGBR8DfVZ4FUfzlwrYyjp5nSzVF9Y3UwQ52HKsEteHSW6/4SAOYtOqmKkqlFk5YJ4Pqk0tzJ/sWHAh2GxFpKT34F/0Au94+1VA7cIcgLsfjJEuot8ezKpkfsbQ3wSlOFhJ56J0g6CecD/J4emKgYaDWI/lzwIa+5wJ6CC82lGqjtdlqpcZWkUWpZEtJg91AH9tied7WhbeMcClRPZpBWt8q8nIFRa+jr3ZpIU++wtoYy/R8d0JybyxwP/4LsMwXL5ax9hc6N2pSdTfexdukxG0MMpK/HWTe09zi59McSzEPbURER9HARO0Cl3xl+a8CAu+XOEj+sTFNTDhZkIEy0LJ0HIgjrgguKO585gY6NiaADB51qdPzgJU+pL8l846gmfJiTrrUA+2s68FMXIasV/9333rwr3nWstQC+nzlJxe759Vpj2Ix7dY793W+3kXqSGch4SwsHuU1+K9bBWk9tpzNm+VnbwX8cKw1bi2Ee61D/JNFcLhGusYTVtqpUmGnSO40/FVGcNfShhgrIKJ84D83VO0bxiNBhADa7j27TmV9Gqodl56ThTBnXBLDAxeWCjpM01KdCE2sBwek01tQhwlUoK11gE0Hy2hTGD3S3/siCy7howApmJFvlFEMH5fMI0qp5lK2PnF1wIH+Wi5Nz1fLP8YFc6vw47ix9OzgDnKz8fdRTG+FY3I+K2aMbR96HvVYzpSlx3nnHQc2E3eqC2Ah/ezfvhtVSVOSXjtdZ27ZNiaqVJbA3X+P9RSd53HReHwcy1FfAQWpQW3+LGERMTC0CZQLywEovbKgfBZWX0y/AeWXAbjA/GTuvouZ7sZL/1Y32jba0KM/JL1YM4YyS7kSt+Xtg2PkqsA2n4MMfpGNU+6lSdLsj2qpSj85xLM6oVgnRB5AvVMVuCmRxd7a3trb6ZwDQDqCtp1jaiJkGgb/ogYh4K3TwDP2ekAhG+UVpZUL82jBnmcfJ7z1AWLNcgzt/nEM3MK6xrSdJ17Kvt2S4eB64fq7FfOn+U/kQraEgYAfH1V/l0fXIAmo9hng7BiMkW2Aoa4kNezMk3MLHKUUgwiH86BK70lZjrbWWtC7VfdRwo+EPiFbtht6+YJA2pPuVBB2sTdhIDdzja5oo09fziXKBspzE1CbBD+42GeVOLjxsOYyZewB8k/b0KyyvPguEMoy3AcLGW0lp/xN+Miwlvcy6M/VOBqconGu82r2f3XydBO6vWONiqNE4rxNhTF6kuvlAnIYkxNle6ilwJUKj/g5/P0tzx2O5XKa0IWlU9yoNW+LLzVeUR+TgirgJN9LBhMUCI8PdARZqdsML8ZFLfMmokuTCwFnxJuGzZdKbu6KpRmby8rst2UMpmqLTIXLC6GoWgeCG91689T6ue68LDQKcnJKfPd/6PfQAcnuTpHn6yRxtHRK0pHfZrtPKeM8jUgRcE39CNR243dTEteD9yPosS9UHWJRuylvI5DpNfaZFnRhDcfKOLy0aPCCVR2JCK4IUf9j4KG+YcSciZVgrM0WY/X3LUIXBuxIvDq7osnWZgTcLdLJ4n+pw/ucbX4VjURVuy2nS+Frh4kBTLYSR5tSJOftpSpJCmid9yk+epKUDAJOn/u+I5VUfAdjM300vg+RBmUVwFpzlxurslA+dU1Aov0jBjvPrDEZZrUSi1uzz3RgQ2vC39LHkj+v/ATKL71876QMa0xatP9yioTm4rUAiIIF3h/llSsvg23HgNgqb9irYaG1Dv8ir96fz2tZOEDgmD3C5dww2p6xhOhFVWO2cP51VK+js9gR6zitRR9DwjWsor2mBevP8h2m6nhucwgef8GUQrUEuzswtEt8TV+cQb3I/bt3rXDCyaJAvos/H+pX0+ImoMcC4QXHF3TZUNzYsjzFZwooImXEzHCXbuR5E+hzoLmHmGpcflBghvanBrJd7raoM8CHX6kD/aUpSR/4UMSrvsMVWP+xOFJSFzN946uAm2UOkKQq0Fy9WzTDiRsLqtJN9q4Z+LUREWNOtONdbqhXunAtqITb9iZhgt3TLpcSGyuAVdZ+/SBnk6GwhwgDhh3gtBMAZWKYUCIwAn+z8Jv0c/OQQ++x+ZtGvz8ikAVsRIz1C4XrqHHt3i/+oRlwS9uhnnk2wfdTObuh34liWZocfgT42Mx+M1/epkVGyVzKEmqXmoMfXDxXw1ub6jH9YT0lhpInWcxIpxJguMIFug11fqRBLEXTSqKjkqhmx6sGy7TUIUzdouDmdvV/r2tPhJ9rcpP2NQQ6lYI2RfXAdCboMaVDsrIPOMqK0E6QNQM0OTxB0HOlqTu+uoXd+HjCDDHmaTUwepEejmCk5b0RE+G2cU/LnBzC5gosaLFBxc4laJMOeqitw33AUE5/01xbVDXxfHSWZf4bzNQGt+5ioLRuwLptg1yGqMXI9K9nZRh2JHrfmN6LQRI/u7F59fOziuTgVwMP3YKDzr/0ys6QKTro3Bkohbhzw+DiLk4JjfI1CEZFLjlD1JWxgQaWpeNtqWN1DQtB6e/+qHH4hKXE0bFjOT7WwElZS6P2iUhsSct+GQnPOBB8j5G4kkSfpdrvBjUvWgGMsVnqIppBlr6iECZdXv8LyRgc+SlemDuDsjgHWbZI/kXN9q16B3Rz4qcHA3JzYWxSaSB2qwORRbh+WTOX4k3VVUngOH8T5Hc8DLB9CpXeInyBlwXbOOWDmqwoCoerwZTBXmKSQRHMSE6SaHFBa/iGGwJgsmHoEgjV8rCYTLrwFMYMmWFg9HHlieWAebFbPkbHetozTBdWkJdgoulq3magniwLHc5CvDnS9eeCoelM9Q+2ixJq3vq7oa15d+ozPh36PRisYWkV2XrBjPaC9wJtuk02BO519SMmIliCtrh+xQ5l9nns7obrvs46v6WYlBh3VPrD/TxlATJa7EfjpfYl/HZw0IQVyMbfqJRH+mBKLw5cL55Pi7l6jliD/pVgnlc3gXINl5GylZDWqiCDiZycAFPCxfnAn4Mb/EwT68MzXWriz6zWml0iA46TOhtjy3g7SpR2rUKoecVXEEQjNShDuJNiG4KyvcJNCt1/M9xO353Z2TnBZU79TQ7XwYwsuwXbHr+lmgnLRVi0iteChW22A1gX+h+Jk7/vXHpxQttpjqX1X7EWVDx6+93lIjnS8gZoMN82mGrcMONw/vRuIHR2MGJ6xOlMMZgof71ZO2txo8SZjTNq4/VZkJTAcgENHiIA1CXKRXydAhrOI9jv/APg+VI9dwtCaLR9zzvT5NC4CK0mzXb2NIX0f6e2UWaP5t/iLNdXxBSt3He8xCcm8gwlDDxX3yuffx5oNg0k2Hb17VKe63iDBeR/sB/xvi78ZCLzeiwSlqqXCRV568pCVF5YlG4OglwqfWv16Hi5+wSU89MhoY3O7f3GRZ/ZAJ29x6UiSqMmnrJwmrgW16LteB6i+Qiaa67vt8SZoCPdD4V5mgb8x7/Da3A1Z0rRLaY1R2j+YMOpqkLXelijzChOWwT32lt5M8Tw+uWB2KIlOelhRBlnjP6AU2Z+ueqgAciQNRRGgOX8BiKOO5pScQPnnCYOYei7jeXxZS4h0LaiDJYX9jmVfxeizjuoFIdOoRyhACGfhF1f5X9KYdA4ztSuA9w9JLX+p5YHJlW523/x6fEVS00EaEHBEBc5QLGvEJymTfuLnj23fok4FLrV65KOCjqWc/JtpOvwQxpvt2j3FnzrebzOR8KOiVTqa8UCTJCd9SOf++nHKZ/2zPBEERTkS3TIMiGtHzOgvB7mLUj+M/t+8IViQmm7jdWTWAG3Y/TXCdLvKMvJPBQ+AN5y5oBagFrdtMO8IwhKjUA6xWR08IcwON8V/njAIeltCesVanTcglEl5rLNyyG8zNtCZW+t74fn2u3XSTHys4uBAJf19iItJfEHjXrJoDSIAgAldm+Fc63gOZKTOn6bROnCg2fiM9gUUm76BYC/fY0/r6noroytMxWv0JJJUZeqv87i6qo/3qfkU54COhxbBwtd3+fFnXpE+nQFphQYgPcS+tJ5IEyFSPuK7gap09GigBC9sJRhW4D5lD/ueRAhe7KLp5hnAxcQccU31UQTrp2B0edGk5Vg174sZvRPWLJD4gmy4x7yWusD9oa++MEJ1Lk27ceYNCa0d1xyGgbxDVzlDGcn878Cns6ONNYrPjlfjzcViqNeHIjaH/ijgtoJGvF0EhsI8azar9nahTeLbfb7OI4YN92TFquOPc9blZWk8MLsCTbv+EVbxY2eZMWbMxLQADfHCOhsg48SIe84vb5JjXxER4HSdaRMMKtD4c2f5kQOAHTjCovRy2mfcd25WggYiowKGRbV5ZhcaY6i35moI66dmBxoZmvD7YAEoo2Z2S9R2hNHwsi/k2BBFNQG1V5Q6YcReb364yBXvz6M6lkkHpzyNjl5f2jdW5Uwnk/MOuGzAYROcV0hnDPdnqG2AFeN0CKPDinde6VS/WELghCXHSRA0a+ND13V1GtsT8A0iTxZB+qY65lZyYaVG5Gq3AhTRn2VPpNYqV16VZnWr/vePvvPYxeSh4wvJDnUgGb4WBasb3Eadtw6yx7KGRAwirnlJ4hj4JUDqK2dOP6JdgZunOmzqmBPVTHvOG4xgZpMUXpZHcC543FEKjLKqCoMe1+khVhRESLZbLSeF+XQOlkkLcwlUdj8tyGZ9efZMkfhKL8iwg/3+O7KF0ALCNJFm0vnYhGjhC3Yk03+AQpEAoWCxO+rwnbMtZpn2Y4aXpll9AxnrDbeydevvb7kYiGCVBnC8BVa1Un517LwfP3B5+APshmpHhio6L9P9sr34e9YPJk8KHEHUCNMYiyqoU7yZdoEBh4VP//47Ns7h7udDTvueLACzLDiAqvMMgpFNela5sdLJwLoMXWJ3WY47rwuwf5L8iRX1hrHvqxr6dPvigniHKpYI56DKzQhj+PR+tSXDyJPDYm7o2/Mp2KF/NG4GfnBwYXLSSSGYrLz2NqMvL1CK+dQ5h9hBkLifY/59Hmhr+1CQ5T/h1/QDG+k2i/ev3QWKwSqYr+LgWIfyGew9J4+alPAHc41RI9s0v8N/KpjwNMAnK6C+NwxZa6bUgOkXtiMCi70XOR/xsn1dqWC79sCkvg9nMIN253fTp3B5xrORDU6jn39YsLmBo0LJM7LCbjJJ/ZgrKjLI7BL1GopTSgmTw/XKL8nBkKYZcuxL4OpM1fzwdfPLo+Z6r5wEkeIPIOqkzI/2MdRpBXXRFM4FnLuLNS6HiXGyXw+OWd49O/WAn2sx4QEV+fdfKDPGhXjzSTpvMMIih9ThgobNe34d7nCZ32W8pSzm6kge3crBT+uCzs+T6evBcsIp1/XbT/5veFdzT3drbno7p//54t6k84aVMYMqdDO4kbPLOKFW0IM+sx6oZp7g7xpmloplXI/Vx259dKXFOMllmNo4dA9x9JQyn1Xl4TJ3Tv4fT39lYRdXQFBDiUUKq0AVCS4aONOr53OnwdZ8xBOmabzoYecWy3m9jpbJnScTlOZix7pzZu/riuP8GI/GKnNj6thTl23RyRMFwdQ6UUpKrIZ8HD5viFC6BxUGaGtLqodbhSoCL73W0YiRbq6B4eACnCwSFl4t8dLMg68m/W0QqtmiYQF02GNDR5lvEjU0JKvRqDKoZp4FAEB1WXVh03aryTc1lubjIy7tByhS/fpIOoAHhUZCAcGX7aMrWf89XJVZ8N2FrTpFQJ9yfHCI+a/Wi4IHquh2amXdEu1OIpY4pEAJBHWECclDiJ67ye2I0G+I5m6zao6YAc3Sfozp/Gzo/1sDXZfoGJ3NLLskJPV2woxYOjk/NTEazvpK5RLrOFBDnLPH9ePNKZedMqiy+spnLYcrmCvR0efkLkuqr0k55E7PL6Skn0MJXgtNH/E1P7jljMGgNQPXihp3BApntdtiKcOnnbWdUtL/sYLroVgEL2zgDqbQrHArZt+A+kDlwmyZgxU9VvtfKvl33RzwvQw6CIRxziTxXm0HikNEWvs7vZnremMC7hXfvIM8YcU08LOMtB65oKmsWOkQRsGYjnHoDR7Mhxz9BumtueQhklbApaYjnPiKHxhQEVw+tXMrMZgEcgsaxFubk+Yu5Yi2DUQkJ2u25iqSdTEOIWvb/OIw3PtlCWkWfGfB8KlRrf42yyLA/MBsGLSnwftz+zEM6qIeQkCbtbki8Vx79J6Uvgb/hg9bDQYMAc90HixMKE0R3jmnSl3pb3g+76UzgZnPksrMYMGvxm+5zb8sXdBCFWy7ITeMyw6puoHZfjdkGU9+hUheE0SIJYnETJcfrj8PXczikHMyEaPQ7itxtiC2UE9ZlVefalwkKLWZvEXte/Sbvi2VY53pVzbQ/wVwjcQFBOa31ffXF571zaMIw2tkffUX9yoyjlYjWXElDnLBdSpzYNUDGFYQDt856GnpMr8+KFDXSu8PLLMI5PTChIyXtO00h7j7IEjaqa/hKlk9hcnzzpKwzvRWQ1j9Cc2F9XQ3DeU6LzVuCSeMlNBfyXXYLq00TWkvAuK7DNih/ZjjrpY74AjwZqSy6AzuW0JlrVfOdIWCAA7FzRd8F5wnzdH71mPmmZ5uxIQrnaEuYoOjHw5I2JOcMIOGpYeIXT0ZKqWhLqIYurkUgfFlu4OMTy5veOyVcRKmH3Q5800jAQj7VTHwk9oR2DMVLk7e6kLBRg7W3YFFwneF5kgy8dkQyH7osmLaGcuUO4f5W6L9KSKZtWumXOT74GiaUSosYIINVpatOO+K+DQ02RKYbS5RmNLINogMEL39hlzC/KKpFrURzz+wtz44KtIfAW5jIdEMk4PBGnPgjjyhNL/k78KgFo4kVc1+wKLB8hJK6zmbPfberO9tCrQXxwCmvN3+T6FdiI3D/FnB1Mht5nwxUzaPtzAiATsNGy+UyGXT2i+7XkQBrtdcM4CqpDd9RkT79MRS8dnNxFLyJrk1XQpjGeYReivX8Vw93oT9adb9dPGFqatjnwdmzjuKgiZh4Ry1w1Flul2z1LAxNjhn8VGWIcGeX1F2CDgRBQ6kPjY0ACEomlz7LnjZafVQiD1cc6VRlVdxEaw1pseaajzFp+UmYQlPbEMPmTm7VZr6JJ2oXRg0G6H+lxvvAgGYMoBwvw+R+VbsP+aVidPXo4D42P1hieeOmY1rL4TsaPLzE2fLF/RSZBHxdLKsv8YMJfx2JbSwOAZxLlPUW7mKJsUqAZgeno2iK5O7Idu72udcz3EcmqjXAyEAc17eF2K2WOPp5lHws+HTUr/XROOCx/1sFpvJhRdleU8GMGbkvtPmsJZtra3GQp5jSY2hh0qHgxmSKZ/6akD4npiereF+MPwnCmQErH3iLYm/4PPLOcFjnyKFexiCRx6gLPXLMvD06gj/soHvGWjgWgIZGwmQ/rqdmqMFUkd9pl+0pPdvpLmj8WV5JuF+nk7WdeOPjlXAkLsmna9T/ZCK3dL8HOOHU8ra5NINwPZZ+Ftq7+nL+8W3g2s/FRZOlgc413geRkD79x+Hm8JdEVADXNsiIJvDukiYFi0t0bulYob2F6cWOWMkj8OdMlkkrWH//+szDPqcaV6BTgmxGlfcTz3Va8l0b66OabVfGSfsq7E/Pr8E2/LdHyKzDFxcjBX7FDgNM80+PfgNLybJ4KHxZs4ol6/7hcLd87HyNDso5cfZeC6BSeiTgpgP4+LmHp9OQxFE+BMBr+l/rolDy1nXPMGdGZSkwB7vo9h2fd/W4qnpnbqKnzmFJSna9oQy5JARW/AdCGVrdoizRUvziUxYwgWbEVeRtj+GwLJQ7EbDEM5c9v4I7ny7whDLuJ2A96JmlLlEzdcjHYqMp5oyh6laZfRLGEq0nTry/v+gAMY65Cc46gGcdEfn8sxPDWayS3xjnV5iqEDt+/S4VBpGDBV8sbCPl3YuEpRl1p1GCaHVCXd/e65i8bdfv+AVXkQJuNSt1SiqeTcQxBBWk5xGAxiHAZvzQqCRrz4aubUc09bxsiAwSYp4wzWe1aHqQYq2AymDI0gd5y72pr6DbQJzMF+07ucnlHt45Dc/I2CzHL47UV70i+sA4ugNTnvtk3z34MGYm4RlTRBSF1NemMSCdlesEHdTMzoxg6Jb6+Qs4Aghy3XBsGHf66T6i+TmEDMKaaY3K939GXlrkJqrg9XJIeEoeObvhYDht7xVNGv/+IvHRYIc8mgHS/Tf7scXmp+SPddAxVM0oleyO79A0rXRQq3PNo/ck0wiY1qBsBkw4sLeeEsOQKSeXn0W3MLva+SKMT49pDHMQ3oNnirEfUlmp4coJ4OQx/9BcqWf2I8W5aDYJEGABDc/QR191WVlbIUIAcGtkzuk0aqw2SRRRfTYaPy/dlVyupBswzP4h9DydvsgFsWRZbF+QU8Qqe3jYMq8uRaw2biG28kmVogD0wHbRKfeqfU+wtZpSg3N7+Vtu91fmq0hOVQCbBk9BIShnck8x7XS20W9c/j3onzgfzYYPB9udbWvPjPkf1u1gatxrY96l4usT84t61NwLTISs9fQbltmHaihDLNvKDHMryFZOUUyHUlwYbIzMME+KPGO0uFNONs34rahQ1PIRCoyouDoaRRYfS4AOKta9F0ehZ5+SeC76Aa9Z/DBMqXCiJncuoAFVb+rxZQLgry0hZU45+vOt63Ngd+xiwrmCcYDEYHcQz3G4TaNbOxeU60lw8m9RUE326D5uRk+ES44thu92xWrfDYpGpbYCEEAXYlpyl5Z4XAJAlG40FzC6F9CWZyZhphb95RPOKmzVGBny/XFfIQpVGw4T+TdDuWp5K0nCgGAuQ76OmGdeBC63UNinXofMOxlNP5VNfyx1K+Xhe5AftSGqbwuuAlPu4421OmV0kqlqkzJBZkLNW8lUuiMnz7ssyGjpfsyoz3bpQEyMPavr+GP7fhgW8zkClO7/smxTSecDowg9OSsGGoON2E04T0XvmXtrIXusH8hBy5sRjomGeU1FkqaBH8iXMshqSHA8sVWshtyhYLFyE1LUVdiSNQXosNNjldSRV1ELnLOFJMsVwEyonqVlYKR0/yaLoGmw6TiLv8ubqzqVlo1opb8X4YkGCCAVk0ozQisSNtv0SMCbcWWxrHNy4cTvG6Z76r3aseYjt63DLNSDWP+HBV5HQH2b0UFCFDZD2Si4ZsFXZ7TnOlHlMnMqXrt1ohZZI5S0KhIgFp4/DvXzLnGs+HMQ3gNM2aivWX6ul+GEMQNM837RmbAkeokwdDVncEni3V4YgtV2azTi4ODLQUimvi5M3eQCd5qoOI/DZrfLucqwT4KjE3UPbO5lOaK64rzz9KKglUYWqg6749THR9uH9MoJNZqZ2EntH3Drr8ohjzIeBP+/sTKxMpttMNII4lI0bTtPN1uagmKsAJat6bkZvepkwPnVMeoGQxjz4CpcDHYK6yCUt+tajiqvbIz0q5KNpFyZInAeb8I0yAT7l/dfwueHuoxGWizEv5xnRQxi0W5o7PLLTRlSZpD1O0R8zwA48l7Ugl2mMVXUTP87kAAb6gy1G/vBZ4MOXkQJtqf4AF9NICNQ1EI1wOcIF6c7fDMqEdT94suLDRv1qAEOL7VCbxynuOmRQjT2dyMsxeASDNAISkizHbN4PQwIUaRDFQefaTcHIDr/EPrwC7VN1e4vNb/CdqDE7ZW1YWva+6MXx1Q8nKkr3z1KkRUpf2Nxdl2WSik0FKh3OQsqNnbgdb1IdA1fBKJBnCvxGbYqnXcV4BQCVM79zwZr6+oj36xo7pH+6r5DdRSc18D3rbJtzO4+7/pxsc6PVieCVzraP2jKyhp95FvfQfTjXyuF2x6vLvcQmJYWRiA8upcGgqXiANgePNHI1GybfX+P92chUSz26s/yoqSMuajbK+NGidExVpR4P7GJtvrnf491y4gR18XC+hAXZ8kjLMufPXFUK1peNF+A7M+xuDH3waz1CSoFtsy2vA/3jAY9zHBtG+AHoCd1hlk8XnPIP+BTaCWXYf52GJKuAhYWYh7a2egBZ4mbqfoa1rVaMwi7PXXZDTaiC1GUFtzEMkRBoTbvu49ER9PtKGzoVy0ZY31zSovRemsr72F64VcPfXGw1hZVsiKeM/n58Ed+nD4FgMuBPRaDZNgFiecyBddgPNzd0V0GyvXQenXPnnePj8VRhDgcxw8hPvvNKIj7qgCnfztu+/IzXVYpfHd+fSa4dJEFnnw3a+99CiRiCYhTwuP8350UxdKCkwcTKwM5nR5PebB4OhmGlQ6Pp1L0N3Ho7uU81Fl5ebJBf8yTeNI4Q7Hs0nSzmY2BpZ/+X4tdFRUTMtBPWash5ehhjq/0PB9sEO3aluI6jrB1zGb6UI+jsRNhM+HGYLYwFRtAdIbc87nL5EwEUFSovnhm8Jtnuld/o1y0n1yR4nnPanR289No6kk52EkNIVhBjCik/WRCGOlfnPxgP9/5Ecv+DRjYjFfY4HKJ0er2pzcoW2YF+mVCFJmbpj2mYgZniz00IN9truiZWsZMITpv8aayD3Zn0HKa1lJqPjszDWgvtxNmhpL1nU8h01Ospc8PKcaOTXCoAi5gzsZXvC4MX+Jiljnd/g0a3Qapc4xWPhg/a1fK0XZUt54sNHyzXD4PEUFdY0uyAoDU8tjt/qctFDYMyUPQDJetJjGmbLwPp+A8t+vxNytH6q83noPd4iZxLYv13FQMcA7ReaBI47Br0OIgWr859oIxs2jDpzDLf2zgZDkPYDN7U3GnVCOvAzth4qtf33KBUlG6hN7mBv29mW/ABwPESgSk6Ir0EVj48R0ie+4vabgQhVX+CQqmbEXTxpBHmYTz1gTnXtoXzbvDyHQxXt9HHTSTX53jzPLIaqlXKofKVxGmWXQR6VnS0LeN7rcTAorbuZN9Cr012RAxl2VXIry75tLcBZV9zMRKx02s4dfzIfy7ZimqRfZ+f7rN2BpQfG+ftkr4boXw5iuVArLdtBcHJ58lPgOVhK8kaOIzLSBx7R7K3WSILpdSNjOAlzs15zy39n5DKYKs5QTHcOBzCF/LFPr3k/1Jcq98nkBgyB99yvkcPA1HZmcmwjW+0c8SHmqMo+Cvo3ebRa3gpOHcAJSvlhDF/Q1hzaEL+nSwtgMQri1iTgK179Gvh9OyGkHHFluGVmF6R72VLYaU2XI7gwVskMQXokPxQTa6wW/AkRvOhybPt1eGSEztNJODpccrJ3YmpqVYBRVibpZqg8peizehZyu/rCtPBWABrvBdkN9WBSKLOlyQFpBG4Mxi8HhZ9HfrwA67TdewnjbAYTwm0Lmb6AkODovzw/vk90YHvv+ZURI3E4PERVOONfEs7E2hH9XCLLNwF7fvlObTB+9RvQRPpxTB30vvi+aKHbaGBHtmwK9X1DvgyRmUK6O1Do78WYHkwvxfR3XWSX1qm+UtrXBlf0nPRWp3HF4kzUy8kEeCZZmmyqK29Agl67aLFVyDNgv0YyI1XokBiYVa9yP7ytUn91Ce3lEdReyeTQw7zqJ31YaTorgYCJoDRDQPixONMSOv8u+o5jvR/qIBlgafhUdjFbOpkxzso1PrHc/Phgb5gFnqoSm+CXCqX78zQouhuwwQNGLsK/yt0nZgWoNTNRH2IGp3/PwiOy2xogV/3sciscskKn1wDwQV6tJ5qTzjnfg+G9/zM9U3rg27I7DAMbxVY4K5hQj9yquF4iGjfupRsh0WWDvH2saRFW46q5DA3HyADawMb+IjsusbAtpyA8cclYjTd+M5NquPvlw3lO+1yD0jsCdHhDDKmZm4ye5L3xVBVk3nzAtOaQK9aITjAOu8OdIibWjb20pDMfcvrwuPK+/J+k5TbyMc15kaBvrmXOD5RHuPigBY3Qj6L9jevcffYlgWqvjGtQLOuJ9whp3InA0Lq76LMyht3Mqq3u1XhaxmZOGjttH1m8RQpmEzzWnaBEvq50JzG8tHEygtmbd+Qpty8S0CwxmCvsOiFTlxcTiviP0iot5AcVtKveJldGyPbiaFphvi1SPykbShibxwJ7t9ofPKlg5h4eTYGF+9b9VI3lnY2ecHlqwYf4WD0E+5YHCaGv571JPAMNgPcGEIo9ZdBNdIyxAY2189o0T9eMOdy5cbXC1A3JoWagWCdDZWR7MWuNYD/Fa91GZhxRTsBfCGI1PeMB4Ax/v7w/quL+rDZhVJ9rhY6CcBUbGVQr5z9sTK0hdYiWws2y4UBVk+lgRAPQvvrQpgMfW2saU9907eMKNNtCjcx+aOQ5copiOFGXX2a/xJuavEe9Pvr5P87hV1HAgVLM77lD/ufIemlfDRU6qFaGuYLplKKw4rJHRy1M5LqCnN3oL+yVCORblye6xmOWG8ioHK2pO7iLPsVMZs+xz4w3YyESbuxk3FGQMFR0Ue2usmEwnurTsAY8zytl+l7faobmWKASysiRvtFL5RW0s9cKCB26QgLXqzJYvpdz45JRTzeScPKB7xR1fAKlvaomlputSYygaSctOGrVQzC7V3J7LcviHqQqnkTHsgjW4WeWtP0ggQNPhUlWwSI+z2ppBAKLuxDzk78vkXjCP04nOEvLd5PeQ9Fs6Ljtw0x7E/uQroyWbclXRknMzoTeq302hERnt5Bt6mhVahz4WMokhE5rLR+2YzQByMhmQCnJ0zFalfXH6kAw9FCah4qIEEt8vm0+5kBQpJs1luURR1uB+nI387RgZe00tS10s6pge/p79ui1vVqOCOUPn9uXpGbPIVfg+T9Ar6S0gGFAmXOl4AAmDkd0Wge4T8lO3pBpG2436QjFEGgBNZpZL1+sZM4vS2htygaVYoPgYvz5Z0tIvn4ZmWkzm2p9OPkFJSWw1w2bOb9GDUZoNoQeqzDurd7MLeuxOudclcdJgeVz8zp2miL6pa1fv9VWVriBoFdqPViC592g9JyBPRMnGYta7cxmmbD81mQWdTAyzN5dT1qgRblLX/WesYuIn/puJ40+fp2jwwHcVvqHUOIV48BY0V1JJ6WfAIjB0i16tEYXXLh2OO99U/LZqmeZZR0uczpPEr5HdchFaJOjWBH624KMibXrbuP2jZz8zVgucJBZGVBZ4RW1U+rHyFa4He5Bs7WWjMEtbFLDV5/U7UaQ3o3C0KtPUNLLC122NX/lgfunsKrZcv+solnKnBy94EAE+6QlleHy5Xukn5zLBjqq+zdM6bvbcVIrEgGIAyaxapACr3I/xtnh77FZYvVV0eLDUQnXefRZW+ylKTDWOW59dK+CjcW08ICydmm+H7HIObagQxVGEV/bhH2juv8O8LPDm6jADYT0XEdlc1Xdfv4FqF+HH76ZmXHPaMjoEPbs0ZKXMcUzV4cXUDlDuOsDPUfDVmlLoXneS1sVe1axzSw230dLUor1ll1neB9MUue3a7AWQkXKH7E87UYRJah0F6/+JDBxR2BZU8Ank62O6CmeMyGm2ckJkO6kNuJpDT0v4HUF7NIT4efL5W99ogpf50sgt+8IHkYt+YzIqy3gC3bS5MEMOlArY6+2O/+H2u9ATL0+OazewYjJQmdH8SrCi31flHu4UT13to6nER9GDhJAxzREOgHl//36HA+5FDIG4QYP1/O3LcRspl9vWxt6CRdFDhMcdd+KdyYkENdAO5UFiOoupry6sNEIqPTUEfMCjbkSju9Pxb2w0LwZizFxalFi/KCS+LMqAC/pHmIRRq7iFFIqLo2bX+Hhjj0EXR5xeeNjwRQjJx6m+Wok4f6GR8NSLG7LVtJwWFRWHdZ9mtE4h9QREMZoIg8Qn9vWYq9bOPHfda4g/A12LYMm3npDIRpMoz/UBQJJkvcPxLPnI09quBTDW8M7Qp6pbu0g3KAeBl06Ei+12T7Fr/UvAhAiJ24ZtHTKZJwaj6+ue1mbtN6FuLCl6z2L4HM+j8J2Va5MO7SjZJGe48b4dVl2ReQqGT3DXv0m3KgLh9sQ+0keD8W9SeAgPk2sYdqd5KRB+mrEIY+ND518aURvCBMj9Sj1+SC643Ihyl4kYGqMOMl+YsGqUAvYzBy0p3UsAYwGffti9wnY41Ycqayl8CGD71GfPRF3rrm7VaQPu4BondYqapo42PYouLWCQ6q/9rEMIl+jMVWknOPbXzpDSuJMO+IvqzpvNPms1F2/I/iTRKuk8FKL9dwPViLxCixxd/s+Dyyd5CS9a51rQYmNnPZ2oJcC/AdAdeBcGY1gbTyKR7h0r6oI4vTWykpk289bCHWTqbA+uzxA0bLLY1QCzDO3vXlOdOhOC//Qc4Eh8rOmZJGW4ArYOpQb8xEC6F+nfSirs5QJgeD9YIpkyLZchSuUvSCp4+9j0AcDgwoQ/V5Dd4EwGC94gECTqgF/jKHd6ug9zwdXCo8T0WX3oreTSLMa/w6+fmJA0wiNIgvyiB+E7oJBVOIb4AuZxpt2bxkWqnk6JViQPqrISYfxd5ni26WKgrkSFdEqFB/KgIM+PPR75KLHYcd5HwlIM6t5AkqTw88PwGsTtPSytd2ZOrANwZ59ZkPHBtTyNU5jFPl/0yn0J/Tabo6Uzgy0AiB/CI0CDmE4fHWUMJ88LX9K3IicDaiORnIbtiQf74BWS+C+v7aGjfRIpgNC5XUgWNG0iPEWzJUqEi9/ked/Rb6LaZQ1+HPzDVZ/K6nWSqvp+VVuq43q0/A0fif3r/vk0Z/wQzLzOEFLqmJXFbnYyB2XPLafgiWej1vQQQEvRWORxn4/BKvlF8mDy03H9WoK2Ex8WMidRGBcJsW8Ol4DTC6DUc1lsNf8h/RwMUgQc7KLmWQ/WDP+NXcE0joUJODkSpJKBW/GGWmH/b/89riSAIzbO/ZrQRU7fa//FETg6CFOmBGFR75X1H5QR3r/W13TGXdW9XH+B76UC2DbQfjEC6FECf+IiYScdSCXfc3YBpJf6XghcMgMyib36bBCDsnSK1ncSPtXwVSOq03pwrGmgAJvfjlbVGoWnG9RVV74c/otYxHTfIXph2BeZeRkqmThi+HsMaAWQjc85fsWrj8Y1rYyaU6YdytbClccw5cDtDUrkOUF1ZA96zooJW5kM0UVkAvVy0rZMUc3Gw9OtOR+fA5AB13DvdEhAVmKmeh/9a0D6XYI5u2BM9wLpmvUqDw0tOBNW9uvy/lHbjk1Gw16b3ECGbRQZ/M+7zKvOFN1BHoi0b5Mg6zr1M1mxQcVHAbB3qYxVWyQ5s2X67wBypW1MbdQSMv/najnKzmjv2tkKhCy0G/0XOnG3v/psn6M+a2IUJMwhcMP4o5LpeBobPfKmtMNgXqul2Dg7qz+C+OKMHTnUwF8Vdv19YrX5H2GuV7cIY18D/QlNy5olVd2r+5jWDydOzTUPjqLK1J0Bi41U9b+Ac7gWztCNH/FkpMOemvBe7aq8AdZ3Nru/rmllMHuMOxvBkd3hBuLKp+MXhlYStAw6wjxD+AqEA7QV/bOfsJ9OdudFPbLM8TFnskkCHVttE6ivOmDLE9xQk+Mxp0gy1tLpQF7gzQ5TPVgNwTVXj374TW+SnbeuOmSf7X8ZiCWpJPN5VZnfD1cLJ7zbRkWeLuxWsQ/qiZjdUpdu/VRNQU80Uhw+ChOeRDVgJ8MUyPPfIAuSCNmIsiEU5VHF+oK/HRHIEQbz5s9rTdhilabq+MlDvNKAtYPbFYqf+pl43YWnOKVMZUXmxhUJYXk0TjtIVBFkYyYMcUk6af1oEVZfjnX6r8tLQba/z0gQ4Cwr7cEHEq2yazGk60gYoL6qCtEBdxkurtoDBGxgUcUlaGpwrB1Qlp5KbO4kF9d8yo3khFs6LA5T0MD7VJDKIKQOavMz1dpNTC8mHLjJmKQrZm6IVJO1vpVRloJh0i2oYA+t+T1mvXGognEChVJMTqrskl5UWnWx3E4zWqnTDh0yveA7NWrUanuN/orUU3Ek6wfHH2NPugqUlK6Vd8LiAoyokvvZ8Q4P1UxN7k9eOAvXWP5651WimRvKZ3s0vADNAczc/bIu5LrwpsMMfSeaLlB0+eHWzyzwD19P0ggIG53pmZl5bGhJNZq3wVBftCXxMIyHjZtLXDwvhkhRhHUXUyTFFgo70DZIM3MzRNn7kZDBAPQVcYOIPysCvr2gOYPkSnELLJD7lmTUWxZJGvyiNr2X9oS1HcdM868b1m4Tmn3qKT66t5mPprwVas1q7Gf2wTfD17mqGQ4aSexO0QaM0i+l2q/3mbPHcisBGH1NZbVgIH6YcGQRFCSAruQ4zb2f1BOXN/yUfUTFVccnNll3G4xCPFDjtHogOBFHQ5RyTznMGWqkGNGA/Iww+TDU1hR7z89ASZLCQw5CxL+X/gbWotkh/ROjLUGxzkPN8BcRhAC32354mq6YfCbxmJ9dmlv2Lb0h5TkWHi8jqAC+3+nSX7QnT26xnaixAUTV3Wgcdrmsjjwd9U3VyqYvuxgggHh6Bxc9O1lTuVIW76Gb9OIUpBwW0zNtXCJyIK5C7sDsN6V8PzRYyqM81P5o9hsjTY1+d9Ai4V/vQ9wLhQkHF2Utue4nmJqx/sXlySicMRINJ25+DX+cin4+VX9wLnx8PXPy8CKRjV017mrt/SJV+YbSfLcJdqpYqnRR0uJI1nMWhXfP2LBffvYfKOf37ifwNcUBEHG7Y9wfb43kI0KMxtHCpHkoe5QyNJqNilOwi9fYPvGDd39LUY5/Wiq0lM4ZFRfHS1+bKoiuMM2IhqnKPrrc6vnCQr4f7j2zU+vIpYM1bXFCDglIk8lLVn1LjjGXZ3WIXFrO5y9gjHNSQP58xeQHohNHWIw34ntBnB0wxCWc24q2u2uTx5AEHhFdeM4CeEq74KwO6z5RrGNMuPv9fIcGzIeZYDvzncJ1HNBwzU1VyQKbWE7v/tARkINi/cs9zdNQLFREqQBIcBMrG3txTrWEWJaWMEMeK/zkAZD94Kp1OGp3MLO1dlmx/GkQPJoIZ/av3kYEUT7+jMUUm35JXOxlI8vYPpdBx4uHd7yVYt8ffX8u8O4GuK1xIeidplEG5lte0ODft8mt77xAnL/5q3Y1pt66kVY27bwbW7ahbl+XWyLJFijNUB6FTV9UdDGidMQNa4wmDflfucqcnkEckbP6/cOaDjfFQj9mB7SbG1Ad8qu7hBTxSIvOy6fdeCQxZ4mZiWPNUkYf5v08vXrOsQ7lzT0mUMuNNJJZ+55/OZ2cU+zofbdcctctCXKNWPqLnmho3bZpJtvlwuAaEkMEIBJyb7zjTz45+yuOCxWArdUbKNUQrTUsv6d8hj1pqZdFhIcm3IJAc9HnFrVtuBE78w+98AjRLhyNQ25ZhdGUJkFUttiLlaLF25gX+mPRBLUkIKdxmoigzG5vDLzZOVZ5qRqnjaMd8ZQAbUZqe1hidqx1vAfV+GocYe3J78/UEiaOCoZB/vZ0yrJJ5Cpd5i4Nd9gaByyuf7knf8wQnn9IJQgIWQ00SifCkDoAwpN+uZG7wkjdtDgvZ9/mqiCHWQu0W3FnXJJI7vy00ddQnhpiWhD8Hohbd/fCIIpL5YFUFWydD7V8H6SHNXSox88n6Qw3Z60czkDvxS1KFxQo9QRw+3cS829ib2te0YIUNee2yoGNrLr9nlVDFbnoT1L6wajEp26fLcUnasGOxXLXZPQ8Lnmb81Ck8DdMQPfy+vafT2jGPOIQzYy0sgrtQ2zJ4h9Eu5o4t+snK2a+jbQ906Pm987NTfAkGC9C72KdznTacPRUEbqCM5vTLptRqcPh6pRUWf9c1G1++FbdtyJJ6pzD3QScM9Dqnwxhm/iGysdaNCB9EU8WJ7TbsYv/DCAr0buCOhrXhUHZjgRqoWyij6bMSBPA0rV4xSbQg5lqSTtHMjmYI2vTVgy2esf8QNBYtmU9eDQH7rLbz2YvCCg8N0XqNgm6rSGlIO/u/gV1+tClJhWlASdntEG9o295tesuESt6MXDHAdwQh2hsHLaaeqmAc1FzeM7QMBg+RxaDItuYo1jALnXWJiEaZfezBNlhOWiIsMAhvcvoZEAgDLMhrrRLmMcW+Li3NZjhUC0tbyYtvsp0qZXi9RnTGxJq7TosSoK44CBZ13OPpyzGHbzPpGnLAvhMHK/SUJ4NA/tJgeGSk4ff52QMcBJL/QFsmz7yTOmiJtNO4Er7DvdDIdc0x+llDHrezhnoaAtK3+c/IvBz++Huy4eJpZOXuHFU5OY3PUc7gdXRKkhQ6Ln5SMpfLpHYBheZ5/9+IAGNrVHqZeK+ctaOxZQ0HKjWbsxUK1gYLROB2/BC1/wpGS3LEFmw/Mpg/8GTsjZpPtgup2nCRNk49XRros8fTC/6aupefqysqQVtZTZgeLptFosO998mmo3k9eouLkBON0KW8nDUMGE5vh/rGRVh6ovJ0KfEH/fIs1WZHGpP3NMqWYCQRZWAtDBNj3AW0aOicdhCbTH364QtRmf0DGOCj4iYTCluh9o/e/2+NCD8UiETWM48wmzUr5vB8KHT2aAdyyVWUXmP1IubRujaj2Sd6Vl1Ytj0YXq17uMnXu9FDPaJWdvggoB5U1tru1/lhVHa+K56TCfCyEWUBeQHnhuP1ifNvp5XZ6a0sh7Ku5I+E2oF4wzhyCjbHe/DaiDjdxT3MP+drlezpeFHB9qkL1Be73NlW+1TQb4fEAKPrTNZViwjxH0aR1rzdToZsRfSi/nVY/2kDCiNbnJfgrFysuL4zJhgVf4SG2QDjYPlEUs5dpO5VrikuRuL0Q6PxfaWwQW8/8P12rWC4V0qmb+NOX4TDdVZW5NRhy4GRwY5KzE8YaGNTvZJGoHMugdn5eBWIDUPPEFgAr1jYlNfgqXRWR0hSdueAlH31NjPRXDVCXoRdlslTHE90M3FjwDlcREhU0t0JXr938k2h8V8gcUuUgK/i+BWa1oG5UpugheULTQpXPRI2dQ+xa1UqwpK3MnAw8Ml8x9axB99nLLquxFQvdH+Tof78F6hAOY+56Ow9vWQwmYL7RK8kT5NfN5ofyLFqL//MEJ9j+uy1hvPmCZ1w6A0eU397pYlZ7KV5JHHzuyCUGyDpwIG2bzYbgt2AH2a6DvMd8ul3AjL25P/Ol0Au0W53KD028yIZhoZkmgXUKbHxS+khvcw7/2q2eqO3FrlnKuBNEk3COcA/re7LzjDDgmBSGxozphyZjtpTFFy4DBguH0XDFA6SoyYillUl1LhfvCHQsz6QaAuVKg7MCAXb3zOYQCigIxwpL+hhXtSJXqgNPpdJi9P3qt3zQc714n1pRbnaWZzAvPuAzX+yg4aLEqdTVR54Gyf1my8aEvk+l7s2kuVHLyPFiddxWvI6WUe0qvJd8ANuqg+qEtX5e7xEjB/5by79nzOBpOh++yLyAwXs5wxd+hOxrTp1oWSlfsJkjXMC6cqwN8ddzp6CyLNoBCW9d+8NR8ENH8Mp7kXoYBZ30Cr92UQ00qVmDYjPTlKyk9z/UX19ATnPn8Vzk3WanIs8Ib53UcKDrlza3bhgpTKDAp0trTVgwgoA45lk/t2okKWlWdMz6jABe1keqydcjlkYo/QU2fmCmGuTwOzNagxe1UuBa56ZHScdtpB5F1/eG8kAbSTbIXOuN84kSkA2WMiI2zirQLZh1ml4KgTONgJwzGV6QduA6KP1LLvxQVVSrVePt3zZn+JkJ49CIhT66LmLEfUP/RDQq03umwPl1lhoUpYGGt9RjM4BUz5huveVC9UJGdUw+jL7Appjm8fKms5zHwvKfiySEhO62czUby3hzewfYBB5MRY1Ub1v001kfBq6Grnr/J10hTrUIOMUSr1PpZiv+F/+HI7fnb+S02joV2mOl8sBouw1lyMaXoYvp4CTh10u+IRJIUAi6JKCKRphq/8z1Pvqfc8ogiMrxjaBAUZDADSH8n2J0zsgsod+GC36veKvHxDEt+zqJ5M41A1Z4YDLw3sCYDMXxlrCBs8qj6rl+rTovJjD/2oK/iKu5qHzbWVSg8Vk7SUK9BjGmmJb6afuIm/s0oQH+4cUW4Px/QyJ7E0UbOSzcOnwL/UTMpleoOvuK1GuvsVY9Wo82li/R0nOlEXJD6p5Zv8UhP2M/rdLhBmEKuxtM9S3BsmfqFdNpYLe57jAoN3JUGfdThTYTN3jOSBbUBQpUoGNBJT/JMKc/tW4sGVr1ZzYaG4M2WmbExdECo2kusvfPQHglsXM4u0J2nKravGBxbwhZ8zSSp8pO09K7EAtF77ZHtzl38NUq8o7yx2wrMVDmoI9dCjGGq5WmlN49wOTAiw9YzxPS0pjixs5w4VOtwlCgEg0lXCg2cRM+hTs1FmTaGBpmGCR714CHvy0d9/Xt7zEHW14OgmLIxjTzqAXvCxilDscflAUbbeB4vrOSjrDfba7qe/24CjwN1XrlZdeDFDwDmrqgWIPo9cEe2+QZHU00StjX9azlU+MPlVqoEUuSdzun/tP00NomfAF8oaWvYonxU+8pqjW75LgtnGWJUBL5T8eTPaxR0k0G+OxuPCT/c2wxT39hoUzOhsIr3ejTLq4PjbGgVXYReGqjf7LmCjib1lezSgn000kyB9D67K0zhr4ltxosFbSC8zQF6HTsu2kH4KRIW8LDchBQd4ihujnGIopcFKiDRCaBnhMqBPBMOEcgdRgSmPGiYZCp+Lrfq5zgjhVLit8IqlUhpjnVnUA39GncOPyJnTtFE02AS4pUMunXqY9nqF2ZPy5CoKiXdqBh5CvZuBiWQBZCncORCu7vrn9jm8cGjEK4ed9brxjxqlwzLgCCQMsXk4NuvrAHeECEWWr3JIGUBAbrSMevGdQxUAtmz3Ld/s3FzybB010/PMi9LI59jQ/qWzU52Yo+RdcWkhTE8FPpbMPiHFlOEn5QZIghxhU0al/oFOQxYIWtU4LEEUz4hpfYzMz8NrGWWPqzype8SmOiZzzmB+FloM9/AIGjVqxdfEM/asq0Poc6GqyJXxJwIU7OUaWfBLuq03F5bvXEJnY06G9uCkffUFl+OuHGQTtmIXgFn0Af3vabekGi9o8dQXcWBcicPsnTb+ypIX7euHm1wIEIdYYO46FaDwOgmYePS1L65pdWDe/mpaHNl0bM2q5Q/Vg5r1+mEazdrebXystgDwy4Btm2bSHFs/fpi6ds+yARP5NTBBocnuasGyYUkv6Aaz3auHRFXIAiF3OjtIV08nsfpkuO/eZmMWrBC+nGyvZd9Oq48lrH7zEzxdEJBQh0vAEOtaeVJxwLk752Zqf+ZlvFHhD83CV6zFSAOfLZblEiUdp3uQFGy4+NAuEoI22npiX6p7vZur2ytsSbCdsKu128MmxKSF2J1wGUd6nRsMMf6dExf4tL/NAvTEdWEJ5+UI3piXG4fSqiZBXe1hoU3pDX6oBJSq6MwEYNMrna2OsiHh+3lr81rpoJSGzh1Pc1LL+5XHBeXHI3Ty76U9JsyKb6kDBQggDVmmVMNXe/1Q1S2ZppXeWPgmKbyahOVBEa843MFfOkhh9qUuFJg9tCgxXw3ixX78extIpdqA68jNbOpYqTBYH5oZOWoheOKnq17iqEyJqcHLodkXmszL8G6PB3gTkkQMuuvFuHFALaoMmhJ7cS2O2QAyeC8ngBJ6xAH2zCunYXET5bOIrToUYfkcqBsBOcJu5Fd4al8V3vUSQ6barDD1DMP3qNTwb/w5uoVLv//7FkQDRVQBie1VYqqUL7jq1t3jwBJV0EpjDcuuh6etBNOokErCEyoMNWGO0itgsoyFr9/SAv0rwXsca7Q6v3z01cmLypNOEcXAZsrr38TN+FkyryZUlz5MtSCQnzaDBGAs3eTFlutFSumWXhdNNg+dPvvmoKZGMYo3K4LPk5R9v3X438k3QYohQVKSg2Atfty0hBqoVwC1MRy66Q5MN8dWvNktMkP8FXfag999Ef807DWFuteTPy0youeYBkOwg7+ZdB7WmgOjhBumTxFnLEX6WBwLj74y/tGRd2FWGVctcplWlT/09e2SoH/aHWnMC/YVzMbkGgx6CAoq53X/dMlJuTiZvXRKBARg7O1u1kr/Y4uaYtMBIuBDIG0GESJ0axnPaW3WRURQhv19lGSzp8aLeghH9nzmTK4ybpSUBwemrBBUpiBdQxaWeU9nCCu2VTum0Zm+g9h1LHA72mrR9vW7GeL93U26FwlfBbaKOpTQtFqO1jhXejUWX0nfBGtyUbG2kwxAj+m2BH7PnMinRPy4/yFTqQU9wvslSyzAq7EyDb8EB/GgfeQFj/8hyf4Z8OkLf5AoV1t2nARiaMS4sDjAcUeduTCwgAvFeV+m+/tyVIp3Z9QnX2uxa+RFo6oNmuaMib0nMvLC+y4AHQr4wy2VcpV7RDB51cltNq70h3KMFZPhPNrnEe8MmRFyf3Q+Cc8CYdfl7TCdzYNwxhIW7Mm8m6Ohs3q9DdMJEoAF0mQolGj9h3Ag916SFHGqF6orCZ6aVFTzN4Iqw2F1PkanGfu3JNBKMTEdQokCnFzBFR4yRw6Pzix5q22e2jQKqKeqN/aYfwyvN8VfsJGEzA12twj6zhxb1g45dPiczsZFg4mUDo8AjMipOyy/lnIqRE9k5Zb2BSaqLBr3cnQnfp63t8KhIlVVkltkMKVJZAvCHKWrMfsukaNTME3jnI3VtTvY2Lmq3olxC/GCH/dAINUb1uiGAVH6oMO/AENllUL8fijYTSroZpzL79vbJLmjL8DGejdsiscFxbU5P/PGrgYafrpiBAcz70VNw4u1T/D32nJKd2AwFR1qefCofAcpcp0TLIWGrQW+0uAbgtGT99wHsNjBfZDevUVSEK7KLi6vyAkaK8JGBYervSBUlroHZBd9M54rc2aJIlRUAnNfU7De0yZn3RxOahA9NkhiQYDQKCc8Gdq5YqFNj9Np/pgyMkwEbJYgr2XeConumVKXaloSmh0Xfk7FiWzbOMKYPfrE/ee4yZdGP9B5MEGa74mF4BlGF5lZWGPbFDdZRiUxb2zPA13Df7RYG4pV7Sv8aaPIgPpnLgWxG6yWHde2CX0ZP163JSBwpdpowtdv7Gn+rHt2kt4OetWAAW4GINrFVNecqeNl8AKp/cPOSJ/PrWOZYVeeM4TVvw5waZCN5YCd6CFZEEvAUjEXRe5aRFSA3Av6NfU/JLOnPb/XGs4zwZZ0HJ9oPJ2jLaaRf9xkPXA360tgfzKD83+FjlqsKDMRxY4DR4HjM+riz6o3wv8cWSUVC5jl5t3/6boAAXBSHt+2Ghz91E0JH4BGpaEi1Wbr189yxdC/q1drZfrXa+0JQIqk43rpgEMyGpbXkb75zICi5xNUhiCtAwUvzlnWqNCrshtSyYU5rzRW0O1YCHlmGgDlGjx/nawl/EX1kJ4hBR8ULbFYO0TL5vF6mc5uGXmrp/ZH67Bqb+w3rF8hcVxHv5pIsPlOFIv7sIX78Wx0u3MCAvIW5WDq/cGctUbf2avvsV/OWLf6j8G23sYlYTpRTcClZuOpSzalZ1/vUOqk+Ryya9qqxzFEAvSvSXAi/PiKEPKN1IJEpKGd0jQgn7GM/NwR8yo2mcji4jYQ/h8exSe8ZMmDX6g/lBXb5+Kz8lMabzZ4kSgNoQVYB83uUp0r/gBX4DG1z/yUQNEXLQKbQj8OWLOKBeVjgWyJE0/xcY9lliVJYRXnVnBH7eAVIa8feS+2gZHQbSRTx554jPJpUisTEDj9Vw0Pz1z2KGYP4TUkL91MPllfIIJIQS33pzU8QNhhv3N0mAkoGTluPcswnx3C15saOK1Hvut2e7k2LUnSfc2TMwCWARIfLda7fdDQ7ZCh1FIOUn8yAe2oYi8DRjWjvOIEhPu0xhaZo1tYpb09GLtePWcy+HcqRSFr7YAsvYUugfijNrVII46xwUqfXPTy0gAe+a5lkRs3aebh0XboYUORFpCnWEUge44nDLEa6DIdJsQPJq+2fISn7QTRkOm/Ztmz7ZzFbE5Ea4Oqi/FWMw6RADVoI6dwW69zYnc1uHX7yWJI5VkTsLfopME+LrRQqfMh/dYRWPLraKJycPo92vXzdhCpQsX9X78gmduSXkDVP3BuJo9TnNagxBha9MwgpZIkVb2BEi/Y4AYhoLrfoYuZhEn2l2fCbI4KdzLROuWfDheLkvzPLINyKX25NwPadAqzhMv/sgBkBd7s+r/7pjlFDeLB2+20l9Wl1BxrRFtYiHhGZQrIvGtR6fwew68kjd8JUFficMPoAvWbmlyH+XMwSvYZ/N4bGkieQryJWKJbX53PtpRUyGW83iRZDStTlnJ2PKrlh6yjxAsp7O2pau6sh2nmdl4hCA3YVeCGmmtsH+K76o9ubV1tBN6Fbbv6BJtHxZokcMJdFDtxKOf1z1D2Zi1HR5AqzgeTU6Kg0xGWjXSmZIeEHiDZmYmBtcXm9v3i6IdzzOXuuzz0z1YKTRzQ0NHHkRL6Bf8duqIzyemLJk5oAE/zTbb4Y+hnGvdG9PzTalAyFThtz2GEV1kHjcVhefCTEW7MdTNmxtgwyZ0NHX2znubFXeN8WfBvUZzC1fZUAeYH3U7nUvncPazdVNyDdEGf+APTULb7qmKdGzzmVHFGWILn+L+0HnB2Zy267vzu8ySB+0q9MAOf2Ac+0gQsZBp7Ycymq2JPXQBosdtWbVoVrlY1TA9dHikFWLJDzaNznSc55ERxN4NuxkSzf96zwUbTmwwDdNt2tq1HAAN4aBquqHvdpYHAMEqknvv1uu2RtSNpdlXOixpp1Gyp6MD9KVIMMZ+5IZbQMna1iq7f+FVV1fiuSl7IgtAxfcl22+PQdw4QWVUguMa/zAqWr3fBoRms9QcfkoxinPTG2f9LJdoub8hThSlEmGHebtwxUILQ14DqztuOIolsIgPXla6hDTfEjs3dTgqtU6yyxJ966EjCxzHvD5QY5fM65tFLv2SJJs1oEPzl5cH8d04P+a62GgT22CMnK+fQlqDTrNi3IoKMkuuVfjJR8H/mUicm+YRk32yVinf4TEaUEJPxQCl7L8hMCzWKZklXz6NConeX+Kot9LwmohbBLuYvw7Pxrt9OmOtClxtaAWFrDe+YytnbZ2xWp11w4cBmoL6qlD9DzoyWLlqSAArlEkYQSrCRnoSDDCUEHmtoxf//qdLfR2m+AEr6mI4NIERwADDyA8jzROdD+ykVit2X/bodx7ibEUiTFa4W6pBR/kpY45y8IN0xpESGp2e+lJnOXfYCIDUvJOiW90H6h9NX9c4LTnFPxLeLHytRaUG8G3eaQEgETXiRqghWJ0iHiSyzjwlvyqonVNBR53bOQyiedaXPNwWCZDNV/7xBePK9IoXEotOD4Ij2aUqRKN0dAnPJg1+SaMn+uX9f8bzmIQLaUIR9z6iDGQXmB9y7WVdwuuPKEAUEAOgatILV1ji8pbpTOMTkkC/ONXGd0sLMDp45MOdCSCja6tXi9XlSfMlSm/Cb/ic8Rsm8MJgqa75edYtVA4HN3uL1qSz9nEQjmqe3Ns/1P5IPAJbvAotep9dNKd/6Q/7/oYjTIjSd9tXDL5iG/hLYkwOEzCEdjuHIYe4Y+k90NTiosvYC28RnP/rstXAsSLs0lEhUboq6xlnMKXK3yi39PrG3Hq0RCIlTxaolW6PRUa8Aeouffk+6nSQ3jiwk46RY9k6xNql+LjYPdQeFNojN2IvDNo2cTc10fpl1tUmVK+hoiiFSw8P4zv6Z0Poh8sGhRj7qCymZBAX/cmRjSjaRbsBxf+yK5AuUQlP9ulXptDVitD0KtaMIUVAbTBawxKY0i/o9Dy/2dT33YwWE9XHFrOn7jMgA+y1a9RRZqglqHHDiEp7ryqopPSTGviuO2xWP+3Jaf48Tnww91WZjrx0Gb7+5PrcLmT9kXFbKeAp4/A8fK8SwDwZNflDtSSKYeyiHno1+luGBBeRRpYkuVvqpwXLuoGc/57Qmm3QPdHb/GuT72J3QFSNY4V6GRU0O4bAgmhY93MZJqDQOFgjEuP5CtRHoZwZNruExsqm6COu49uiLICxqWB9wKwUhU4oXSmAgUSlO/nEqVfCJzOoLyjcueChpD/MCPKiSyyPDkzzq+jOUkMwrRM9w96/wyI7vyCeEcQBGNqHA2LGqhIu/D1m68791x9+TO4P37mQmBRMyTaJ2mYf8qsVzaktlUrZqid6pbe70oVqi2hJwQmn/OC6Ov0nVubMK2Xl1/CmRApqd41BQbdTNRtbHTxTaEU70wHk5KYNnebVqJ+EhfT5bkel1oPSBGo6FFHb8KjFZgnB/O1HATqmH9pzUUq1nuepe98+QLeUlX7QgLSBydL8cU3Ep6/3pJHPVSxS6fXJvIWA0GaGHQeN4mLA3vW/o7otMC+emYos1xlt4KdbHYzwHqvldBB2P3s9+XkgWXU58NbFjH8J60qYE9FbMAx5j9tGPUNO9oxbhWSHqQteQmGfC/2jsbmNTpOSopayM5fhhhT38HXK6KXBJ9wivNoofix9ogtfTDCOIBWKDl0fW5Xj5/LDc5VdDLFv8zAYzfkVD58qvwIxIwbGss0uUHBbex+SCvbw4PjRXGCwX253Ewqe7fjiiJ9oIMvJTXXeWR5Uucx2x9fAe+mrPiIpLZCsfwJTn8CHJWRoJDA8Mqm6ilN+3M/EmCd0kjuxzeG/xKKgUAnXQkyaZdSF9s1xB/PKnQ9vwoeYmqP17o1cLFckHqmTYOxtkmGP/vBo8yNjGoFU/i020GgHlQmj8HZO8nHJVDlYETsxA5eNnCGhKv5iWbtfP2Q5pdMWFWMV/2SWb8UUXnAGHH60glMzmgklaqzng3RJt1X9emOopnQYvYYaIwTeV8Fy/lpjhFvK7uJ6p8etgxMKmT4Y7JEVbA+loTnWqRydwmFjbqnFCr1C1jeOzsLO0Go4VelOKBQ/hLRNoamfDHCVtEbZdo4tkGabLDrHNiy7pG2B4OcbJtn5cd0hFOAUYtt5gK16uevBImVtt6ByoMGcYjRSgplR4UsZB1XBst8LMmXWy9Y0fWfP97X8M34c84A4OKWvrDTOA5xRebj/tOYZYIR77EjC/OQ5mkyers5zPSiDmwBMXKoaBU8H+e9A9L0HnIGvfvgAxHcoFTbW5bUGejjziTqUpJnosMdGhbNWBaybkYiZpqbTdChcjhnEdB1O5bfp5BRAoRGq20T5jsdvSbr4vtHxZHEM0fYWtiJDErmUrwFg+XTY3vxpv7Sax23dKk/Tr8rUMxbOSTyDvlAEPM+QXuP7nw9qImFNgjFYFUos3XCueVILNQDtMpwou7Z3xqyrzcE6IU9UnkPhq2zjq7GGmWl9rsq2x1t82wIkC1ugOzLoqFzk8VuH+tjNTite8F7NaWNX1WNadqXbsklFu+ZxuDFigocFLoo2YWnJp4Pc2IkMW0x1zr/BxNsfD0k6vsINXB8g7qt7l3HkxECpFVVf1z6ZtuN1CK6wR9AqxvzHDXB9+6Nmm1idGqBMz3MbpveecaA9KdkJZTj38o8enIi4D/iqqWu2PJaNQXw0WnPmWvc2BCl09KSmc9pEJuCtCjlsCWVacZ+G/0X4y3yIsotrp95zHbXfIM2boO5YBwZ64sIPs3TgJ6myZTtOGBebgpgbSu31W5/Eu0uFVBW4uC3ZHluZ8POsz/zFMjl1YpszSDFHdiFclmdvAzHYsoVQV5aZIy2iThs8cXbjVaHdetNpRvY9eZ30DcPG+RKvBurXK59RHfJc14FuGI8WKe9GeHzyVqHv2WGGLesl322DZabvIO56FY5tc/ejEc9T891gtsa7QkpFg4nxvlgJno1Bch8KEWdysyFUqmIJ8jXPDYscbdAqswPlVKUxW3CmQ8LGVPMne2l5vXbwBKu7BJ7SRGZA8oY/+3vAecfQmxENtQp3kq1cH2rdqa9XsLoz/a8tXaA3hk6Rxc3gsMagg3W12Sa/Vu3fpvJiFi0gYUo+7TcVMgvUjnJqn9xR+1xHO3yngxVR1qEvW7jXgSrQfloVHRt9+tVtXH7YrkMr/a8OHxXFePqSLor8jETwAwJcu0tc+vcsBjNYzrE7plzhsPmUZlhsTDdxaYM5NfK8j7v939AoQlJeiz3DCD3GMTYbxL7uwPN3o74XU2bUdyaEnbqkEQxsPgJR1W9g4ahsWLCqpzQKnGI2rO/oZ1uNkkaXo6qk3mBRUy1OYTPQ6Z5Zk8NUQb4GFlfaSJPA7Tbo6BPT+g3IcMnEyfUlnt7r3JvbaZZ4wF2tyM5RTr2SpH9qhnbPxANlDV/ok/vpWLWiY3QoWxk9bOVfZghmB4OrOxByPRdZb6+br6RvYshK0qyiXxh34iTgv93dkuNHfh4wFSUSJfLYRqlkRaSfTI2vvYBqmxo8Ck/gRefOtayPl55T6aTTcNAJPc1CYHn4/gC3wy18+B4nlnMnQ0rI3W0W/lcEKFSYwuOeJk0XzdaBDANMeaSGf2pnsApPLxPBemFeh3OAAiEwf1HjKLGhltWTHmbwzHIdxzQuODx/wl9E2sR3SfvBk5gF2Q7XF6rwOGwaeYfMQF1gF4TtxtsW0NVVUzyUkTZZvcu76VTs4dLZ3j5VlINJxyen3qzkjsMeb8pz+0H+JmEGaRvRkfyuKjvGbqIDKn1blScl0Qs28IkuSnPMMREFLpBfI3O4G1S/LPlxishuxJLS592QEC2R8WZ1bekLNtLUc/sATBjN65f0F1wNck2R7sdj7OGj/usyYTQ3ctnbMwvWEXZFcbVhHYJCO3SAY2n1S1delJDwKTXkv9yW7ziv5nTPtbKQO+3j51dFiwUQIx2C/DxlHxBozaOXHp1Q/Yha6WVFXpr7BEgnudNi0EEvjOTCxJl8CN3TVqCca0Q+I8ASd9RWRoKxWrbVH3HtylF6JAOp3+MkzpDdOoaelheCm8DLHG2JwIDiK3F2Hzr1NfBg5viuiV4fBKFs54gf01AZugisCtpg5ghXrJv7OQ3ROemD1Cm/nm5UZuCnnLhxCEsi7k87cEb1iBAPSj8K3xuWWi/fknZyZa/2uYtR0ZmdHLmbQNOthV+kE47Ab5iIvSKmWOLk0ZWfwsaTPJJWWM8GcjAv4BIXyIL/PuxbLFafZUxUzswGS++OhvNiDy37nZpCAi/QVRotlb4wMEcNEoi70pX3fwKsKm4ZWuDI9emnbS2S+hs0JkHWmuNWKbQlKxtYn+EZmrcBwe9Z5OucmjKZssjmftKc616plddCsgnrF4fGuGqqu9RSQljiAAtGoVVJa8A1gBFm/YHLgd8vCQ53Kl1HvcogmP8YNG3MMnXl211hpDZTpQYFELOexlNcxhWrGrlZYr0C7WuIB3cyTYnD4rAugpv6qxWdGJrIS75i1vEAUub+QmVufozjEkYZd+29r4PoBygnrR95WJBfWbF0/iKMfH6hwSOTBfkQuDyzdQROri+EUPYlcu9r+91qg4sLV2U0z0ZjGAuLKRAiOlVnMJbZng7DvZq4CdoZFWcZ0+ozTE/nbGQPbUZfAzr66wt/FTqpUV2Hbf4LBeIa9kv16OKNd65LfbKJMXn8huuhuG8VNhNkv6gNep26LnxQRgtbeq0Bt9BHTizER9qqlpwq89VSBYi8+0TFBESv+ryuRuZJaPwfNnAz5BbGD0LtxNoGYiIAimRJG/dirWws+SWbQpiATaUvnFmBLlG8eMNRdbuoGhKhxJ7XPR4BV4nUCJI5+34KDq7D8EboT/JJM5l2GWxsbWuahlrnDak/qjfNjiu19Ep/FRk8dQ86IGNd6X2DO8Lgdr8rS8yHHFEyhUmWDXpGiny+33k/yjP/3BhWMIoW+YYV9+xh/EiEPrLN2Nuu1kq7s7M5zWPpUmeqxXjXZJQYwQXp3jKm+1x0t9OZ5gNLx/ulr9l3yK+j3CpSVvIbtzl7ndkvYJGcVFbkZJHNlSAwqmGarC5Pt55nFw98xKMd3byOoDtVotCPEcaHXxqNBTUCj6SPtXSZt7eP+XmNtvI2UxN6wzXopxI4bkgztcBWayhuDm8x2cszeib49nXN4s2gmqkZ490Wz/7IA2iDiELGwl+qpOTIGdSrx6Vve76FTS1frk+1bNu02G5OLFeNyiapPind3gL9/zqZqH3VbhqjwkqXoLrOUl8r3llBpPHCXjuPx2QCK/qGxetFqYrlibjceuQTq0tRNUSwPvOUzaX/fqci+wO5F7qWDiaNj3Sj69y0PJ7oWaLxWL1sywShW9xXpZbmJn5LxRAjDlaHSCVFeS0xgqxcQdb0PQWyz/3o4bpxNppt7juLknmeI6CLjSLQo8txMGTWkfZoHUzPS13GpR0capDtao2bDf97lz+OxsXt0HXJJoV546NX8ox1G/JlmZN/hOStZ9rGxtCufPCq4rnzws4Wl67ZGrHWs2YZkkJa/72Gu+feRdRCed2y6r8MektwdW2TjUcKcWS13oIM3MdBUiFZnlGRcVyk4GQCgRSkLvRdvPwKN98woo58mRht1YMIBAkfQJC4jWZJcMb0hNk0Ok7Hh5KDIyUCpf4QVmSO2TSblZ0xTxdnYPR65LPwDFmhvgwUCZgCZ+tsRTNDaDhysvpVaxbEoa10QTdzInGCFmfGutmZrZJmxDw2dqYpYTEpOYuik0u4koRaLd4/aXjOr7bb+B2BRfUwRd76WebJH/PqY7Y50es3mOJtBQ2Yqc47phKiTr4f385A1th/rBGt4ZFHHnIlGsIQtFJkSLR2V9sYGd6PWW1BhH5uiVGXNCyB6N59wAz/3b5b21itolSv8bUpdEaaHwMSoclbqT8OkBQnn30RnW38o6hiO4BXiY+mWTBLdtVlJIGzI3FQ2Ima0WZLy7wWXTNr32HDD69r1W1MVLMKUHhk/jetzJi6AsyfjQ3fOPTo+zBub94WL74wLQVT/cKJoV2axbiAZ8HSZTXa2bMa4bPDVwRq3zh5YHVMSgeFSATjfB0cIFdg8m2i+ev/IQGJSlGAmJTSziOe8CDNLpeJFjcQiMRYn/846DxXYFiv1EU/rE4wkqoaQ07OD9ys0xtyWTSv3d6EnHUtrD3VG7YenoU7ZIqwiv61WMea3H5OYRuC1dWyDffSVvL9oYhx/YscTa/7WN7vM1aOFN5uPAB0xd8vNfbrHifSGQjvAo+jZVAyMDCVvhHGOHqVMjLAx93KRnyhB8dRPV/LaVq+UfA1+KcRhgMaHEs1OLnvyf3nwSPzOcz5rKmqm4moHFCnTr+/ux51DIXQ4I/p51MMb86a3r6A4O71lFHU7Lq0RCL2himJMJ2q4ir7KTg4h6iZkyL8D+2iZMSvD8O+G7A8owxrQExGeM+wCaHawKEV3YBer3NFzdjZCTZx+UKB4HTqV8bTAcFqgFU8rUY8Isc1Ip8nnJGSB/Us80IWuuivIOPGVZcQEWBPwHgrBPtvRcJXtoiJ1H1wDavCjASfxiQLBe7VGz2NZgjiMgNqA8tAP0+zUxy7c1Ek6RyR9B+v5UI9MteOWTQeYi4k1uM7qjjIX0LpsMs6FF3i5xSarqahuZDgdK5lk6W9NajorixNi7eSdxtHH2ecImynanTNJmZJBx/BMB0FpbeHs4ZcAoDmP6Sxjb8GeWheMSbxur5dpx8vBIGbqToI3ju9cw+vqj6UlTgfAwRI21b0ioHq4vIFCx06ZBmdRmEIVkAymsmsS3e4TFKT4K2ui8mY3F3nD9q8hul6RylTG4Z6NFuAtsWZ/KSImiLZV5yliGsdaNcgYHqgtPg9lFltK1v00HLs4pvkgKG4GZPsMR02TScN8orxw+6/thehUCGLZ+WZ7IO4jdca8rOv+ZAecTyVbPQKHncU2DjE3IrceVrYmImzkgo/fwMXD4pxdWUddEtZPSKNXHaE/AtTNI8oLhof20KqjT9sMirGeZQIcTCLzUttubIzbZLi9jgxFI6R/sahEC8yY3B3rPMfxaWZyxPDrqQ9rgN1RJqtR/WP2rQW5KNAjdFXyBdY90YGLwuHtdjg2BLuxjMPeWkBtzL2+wuGqjz4L3PioZBjv3+b1m397QOlEI73IjNaU8dS1y9/v5bvZ6Niz9jvipeChul74h6QWgOY8qqsvu3JQqTwYBDEqsHGaOrNolTLR9p8WeBpVjeXSFTuXM0ySgWsuU5t7abjmFMVzPFZ22z7j8bs/Niwb6Uy58p0CsQnHAsuZYIsbOkfu6Dhx7w4yy2MK/FApwlDord4hovm4skVKu6BKpYuvjCKJHknbQp+c+coKxVKJEKw1Tw+kPzWUnhabCbA9VbBA08PcPPZsQU1dk4YRAx9r2uBb8cKvgYsuNKVt3rOPa8YKQp9nNsdDYezIFDWIuJG7RWBr8CJkixC6AxOUOI1tfRTU6O1jOJN/EkHQgug1ktjyfrGAIpVRFgclMy/GCaWJ3Oj/+9a//Sj1FxkNbHDkUxDQ0sCleqyuULuPvWTurRwF0bUxxlj3e5URebatX2IkHkZuo8cbm/OrpzwAxCnEfvDj5Kd8RAAetRKBQnGmyJI4G1oWeNR/Irp3dqQ2LQfaTUmAka8vzpB79k7ls5ic9zGvCtaakm6EjEqkHEDlnyhdNcB5db2zQA6slFS4THG+nJNYRdNd9cXcXU3K5pnwgp22Ez9W4vC8Xb/gUc74f8GREBr4R03dRkfUrcf+dvM3jvAZbjpM1DZR0sl403rOSBPrzBDXeABgA0wsfHaowNkgm1IBfHq1xVpFmCMhP/IJi01b0EuiOrKngQfVfUkMZilaufRDY10az9kazkAZTESbHCBHFHN8EDjEN537kyBE38Xi8SIN4hM4Uirwi9qRAbZF2fQ9XetIAOxicS4FN3WnexUtl8sfMQTg2UDDif7d9Kw7pubidrTubEVV+oYN+F2IBCe9ylu5I63ZUk/3l703TQm5un5a8+0CwwZXIh1AMs/50YUcTQjrsGGl9mTf+wQknYzMjH+d/9a9p+uKVrDOWhRXT1nl+rdXR6yDTE11Iy3y/0NxoQWv/l8P3V3ythAP8gB4o03d96AtoquORAIaSmfIWYuN1w5gzl5Zgcbzd/35GOYkqHBtx2DqS611d8iXzCgeo4W6HM9ZWEKmQVTPADIvSIPjnzI+FLNWz+8P8/qJWSujmemA13Rhwxd7NzMsW4ZH8tItEXufmcwjvV86YaK8xC8F/stLSzTPqvWmsUXd2NahyzlOHintLvuE8WaZd11h/wbmzD7E0+9uy0uriei7OuBYokYbMNoNM0zNoNyJ8F3Zeb5p28Go2uXLb4z+FDoiP86CdHIp5YY62Mfn5znzkwB8rlM3A4aSzPvwQ//WnPl7B/qJE+4M1v639dTdu5rjHAFiFFtKNuVhJNRl574l/7dKB+SzQkSXr4+efAKjKFQpXxDs2DKPvFpRRuP1jFT1SbgWpPXsOlXjV1rG42EKUx8Q3lc4s06ZX1TuV/8gLdbhsiSioauZPUcY+XUldb+sboVlcE3ZANWpXyha3CaKRuKqpppUhn8IxqCEWoShsV8Q/vpuRNIzND9K+/lSWEAsUHPdte/ctzRoZMHh/C7oWQF83tL0Cf1QnwM0ZadGAgjEwauuyyAvN70Uhg8KiZoaLyzmi5B768pc6Vxvc+SV3eObYbkgkHBirXXZkW+BLfcsVdDvn6wVtBOJ7hGA24Z7Eu9YZMMimJs66tlDrIetgmri/jRQwqkaCXrQNyjq7ggKNm1SYDYUNBOFlcWOxA8sarXQosV2H0IDBj82LAL+tIZmemLeJQ8g9x65YrnnarivKUmpDpCiBcdmd51CFbIWc6UZ0tABd9Jsivwp0sUyGO4ufPGNr+KBOWzjjGlXRHCCxR0b0V9g/uW3pO+IcFdosCGEZ19o7pA08FIKnT/FID4tmLkA5rsJdwtc6pgQvsU0gVHH6skQ9icCb7GpXpnMZQb5QqpuOg6EmfnlniFYugTsXt3Zr+KTHV9P3UTf6Pup76Xv83D56jfsh88BOEy04vz4xpZczqb0RmQQKnLt46BffGNDLt3kCre89zhdFxmnF20ZlwAYw++32cMnZ/sqg0xJ0cjX7euX6Tz1iFP2kx8wHLHCd+d2Hakhl/CtZ8oPAhd71aprNvMYHvKZJeFmlxSUCccE3gwaRVlsDut/6VaCrC9aRYnKcPu8h+qsjXHNuCTbmwYBm64U7ZXWGssinNWpwf0xwoSw2Gbuki2IFSqjWlfWLQs4+iFv2tjr3H3X6n6cKJugRrl0QLMzta6XXZpJ3vCT83yipnie3wSvPznIQssA1aYOgdX3QnDgwtzxa4ez1476pZIjCel8qI2zCWW1xqfNvCvRnFdCY8iHwAaC8QZvWV4I/CWkntTMXtKI2ycNTQ6rEeIQGuakLYvv//N2G2eptU9ocWWRdh3Z8CFj2jnkNJVDQcH3wsn7dT12Xfema7+lRlyiNuIGKex1UFFpgXgHWUgxo1B2OmrKrrwgTSN2BJclRVdyE71+FU1X8ssRLYUo+1dJSY007H+cUmWcGzvNU0/0oa3hjOW4uNv5A7v9kOm7QEAbuIiRrzmerVLWdpvKsuCYnOjyLCZtqKpXE9GWfxk2YqbrI8lGJ+GXsdChd1MBEfGpWwDN6TS1XDRp5NVyMCUtZwQZ/mvaxYE/HsEUSvx6Ud7ob1dBlLjxYv4EnZpL2iiR+CfHvcyYow9QpNgLx3b05VI1F5QnAwMGKrH1F9FOd2uLdiO9rhNS7lrDv9tBgYCs9exK/b+or+N5p30+gMHeNqHtuzxAwpfHP/1asm8/LuVIsvPeUSy1tpZIH9QqztpkC4IqaIs58ZOeqOjPUyUnmm9oupEzmJudcfyG5mvVANcPqAljGdd4lNgpFJ6e76VfmczIISLrLyETTuVjOgNwOjpfcSOCkYYfa6zDjTNzJZDBAQx539Rq4hvuJnQatyfscra0c8r4TiU67G5GUpwgFPTKKyGnlse53UeovXeA8conu194rr0zm7pvMDOorcKicdsB9Nkrs7dagA1fA2xq4KMSNMkD2V74HLUIkFufdpV9YbQ57+hZUvV7NRp12AB1ZDzPTwrxtR1Q1cnq9nBhPCJYGNaVnRTpOARKF8p+mZlvxAOLsw2Tz6T469zPXnP4rG58WPs0UCFXYA8FojnlpMA/Or869NuhDC5im0t8CJQpOtjYy1z34NbEbLZX85zwGkuAawwTpy4N7d4pnDzdyvThyjvyOesLPd0X1hgJTkgkq0vvQ9yvTuu3aiegSKgESTI2On9KuvFpHPZWAL+GUk2G8ZcT9L4PCq4XZWEDWsT8OYuHPbflcR+0cAH4b8xSRkfAxVle4lRxXQ+VUDCHmh7qqteBMHx2Trd0qAODHJDMaEpltZzNeWm2pwG8moqKrZ9wCdLD3St9SrZMDsM/VsrAxHUmKYqvKQ0O7xQtFYWbNcUiFLEMgit0VD40wLGWyW/qxtZVh3Aawn+hb/w0U0vwwCIiiYDNI3e76xwhaA/T3MhAE19WMk6oi3vNQP9i2BTGY6O8+Eqy3D4TFd+9oR0cXL2KtckArn16TXaEAbQIr0DQadzS0ArNIHoKVr78qRL1XJ0mX79aGY+Z0s1xct868snAkWRjH+6bsWyUfplaiUuQDhBGP7REQdRtT8gOp7gLg9/Drw5PIF+ExcJeo8crEDG1u+tD5Ug8vpZD5dLWU10Fhb8tijQ7m/X/7o3gd9No7qiLHXW1flA9FWgAqilRnCKFAyptlqwQawGy92B98Kl3NfBXmB5huTszKs6mZQ+KPApeWq9gCOtbdF+9uTWjDBW+YcG/x/qWy/V2WksO3114HDr6aSMfYE37KsMIeUNcL7n/xbd7CN/8HF6pN6XNbeU7I9xyxMXqL53SQ5VK/Rr3pV6JyPcl3nnYfK0mEXeNJUnjgZI0GH/AKOK/OjSF7p0xjLiXrFo/c1L8H0my0PSRh1/0cQlD6TbpJreK4N0r+a5gr15PllE/4MbDu2pMS3w5/G8nkOOaeyY3Hdk+BA0Jpg7DP/p7F7cXve0x7kyYpytm7qHkNio5kaa6Vb8GQzsPWmLJz6H05ckwUwrfA4gFJ6FJRMQHRT6W/wkFlHI9Rx2VX8434n6G/6jilNY4B2j0POt6TMOJ2DEuiWrKdj0qtflp2+nYEo5Ih9MSDzxd4EoqTCGvYQekyplwFXtKaaqOh5KDoCrMo/MmR0fpXRD3PtyQ/Yo/a6svskIpkrIQ1d1X+VNuouoRYVqtCl/KWtftgmnIWqOd/JqczzAdjSrk7WD3EVLbrWAZ1EwFE8iLXglFSomUfUWhc735dPuPEuEuTQyN4OWo8WD3N0OB60zQBxRLv0GPK+oQYJrDcYCTqB3ByExwG4Vuo9DfK0s2zgkXsml962++vwupcoT64SBd3U7fnOkSfvJXT+iSFLWw4TuH6SZweXir8gFhsvFxGTOwHGKvJl3CD4Mrc/N7oN43S35jIrtKtuaJoTf42/aKzh98btdWwqcoKLVGJf/sBbaORpfklGiDG1QijMAEceNVFNK4KbaNyZom7rPJzupLHfLTTORy7iptkvxI4P51oMVYPNQ111QlVC2tXhz63skZmlxqrhsR1Y5fiPSfgfZ7skxwLh2aqnEE1Wa4pGUeO46OXU68uaC348qtdV/fLqNk1bd4VvfWjXVca8CPCnDkslHNOSaYwwFSHIQfr8g0hH5QjW0wCuHuhs6RTrX6ZQicpfrvs7cKzHlpcC8OUdYuMe/t4ZQNaFbLNNLdntpZBkH+WkOTUvAukwxw5hEsH9WSRwnjKYAZaaOGkWIDDidvqHYh4mK2sr9OlTmRkNBq/paiFqRYdDrmnynUlDgDgVp/zg0y3fp7baRhDaQQjShwYogNa5haoxFw/uRrbb3Ti55AnYdPL6/EBcmQ4khC4T+8cMEpgUScwchRBmLZTNd2zvGmQh5uZ4giB//UxywyTWuHnNl4IRb8aYEjJJHcEgNyFF3mbKov1xgqOCdtm5giUEHb9GmdhDlZME9MDsWbCusyn4o0zagp21WdFB2W2SfBBtfkdq074laB3RbvPtutevDZ7c9j4c6GyQLLFSqmYOeNPWMa9lYLnrBe0HUx3murtuOddAxLL6R6+9fWeSyxMpxzS6muioVLaV/m7uoRGLzhr9+4b+a+dM0HsvdTYQb2zKfOv23/cP0Oh8J59JReYwAhb4w4kGRwYclGHtOA4E1r/ko7OYYNzYqZ85nHNLKBQ29a0PWIb49h+ddCwz8dqNisgPEu3K6I3CWqRpzvjMlFzDQx8oDDHu4/oL6YUXtxKeSJNqDx3RaTrCdj4ImbMh6tsO9CtUIsO0sja9IhbBMILbPba4kzJTt0eV1daE6sTsHfBCfVNLCW2/c96KRY8RHItoKP0iqX+35PVeKSk0Fz0u+0hIwdX7wqPaa8ZdANzN8XcNf/D6SaCAB4kQOzflDytIhRdDro4DtMQXQE510zD1xzy5ic4phH/j6B/DEMGt/JTRwrHQ0JwgtqbUyiFDVMGhyj8tXl278wRwUKOBRmsuIvPQN9zPB4WvSwMsjecHz7CpafXZqvPz6eeF/EdDEBnifIteZgRcgEJHdcEMHlHUlmjOHC9y2tRE3PFu1/U62EbmmMb0Ot0UfRhKtdVhbZkMRd+QjVh4D6FjD/SiQ8bMTtLxLYR3YnkAqofMO6b+b3kU9rnFh/Yamr9pSrDIeubMguyty4/3IDiC8qRzNxAt3E+ijOYZwE21SmNVVlrg2R8JcwQRQRUUpfOvVMQ+x+tyl3u3YyZJZKatYMbByH8if/XfCafcyjLw/MyQeGcNYfDdyJgzA+2K9bNjkN5XQ0wFiDXxWi045GZByupJWHtcwI4HXnrB+oDHAKhjUAJQK5PziVjEYL9FbsWOyoZLPBij+LMh5auWGP/vAhBFuYAfhlChBVGWcs4JKYLlUgGJ6txcWhaZj0D8FMyfz4NtHNEa+SnS5rG2fy0Kz2K+rUlzI7D5QP14ff7IdAgnr1Ut8Pils5BSCPhBL95cdXo0F5A8SX77z6etbvAM2VpQ6/rJIMeHckHy3c1Hu1aNBQahPORGnyB6eBOrGRcYdXRNuUzOr3khpE9YIicXvTFmwAaZaF6AvVG2UfRqX18KEHwvZ5x28ks7iK08+eT/sshXLIFO9lBCykVhKfNRgwWB6Nq9y0XFnuFuflhV5jN3oqCXpr4DfDqlz+Gx6Yqxtu3LQXJv0LTfBWwCIEL6RNvbHZAAjRvZRUv1A6v5DIs5Ff280p3ROqpRcpDqnP4/rW/UhJj4Jj+y/khCDkTIlvUhnMjaqwwngMEPomPXwAbx9u2bvMqWna5pkR+yzbGSyVrkoUyqjhv85WZqt0f3fc4z21Gx4Dkjxk5fkE4Or1qSmqwqeQsUn6pAdTFmCQpNgoLexL+WIR+YOVPWIHX4X5ImMLTXgPcNo2rYhma4arJZUr4l2kO43guYkoYCwcvxr1uSJChceBD/85ApDr/OT/X3OCTMJFgl4GfpZ1R7WD3R0KQZrPMsh1OBjKXTQFjJ22WzxAfvvvi83E+ngUmYP/yJ40ZrfavEZLvSrpdLZvrbr+HPJW/4C2bt5Jnd2o75lBlg1Q2rXyt9YDeCHrTo+YhAXzlqgCQafBN+29MtaOyyHLPHftUo2Sr2aUase+0vadNSEHV05WU3LHxwzlTDTf8Agkx/EdLxeDzGiv8kLEGgdz3t4Ul5w6rErRDcl2+8ph19C00e0TTUmXyZy3VKQNR29isnv5DErDbpo17blEcJKJguYiG9TlVfcHOJz2t03w9Qu0J7BbRYlwilhCUg90PZdUP1SDxchsoGEnO6t4Em9adBctxr+MJn7AuiWblkBvpwt+vZTFf7qk5cmhKRwaKQNXiPaqp1TALJLwi/xwyGNOCttdUeEqyH+DzkKd4NSmCWh1KPtBdCwHMz1kgjK4j/l2kddpLZF/QwCQPbUYd1Ih6WqxrwNQQ3gd4Y+h65r9M9fdLooDQfchPYFQH/DUM8iK9btTWKheW8tO8ujOJUG05kN/uYv+G/OUATDtRu3T5cXRA5/bDyGNC7wS30s7uoLIIWxcN5/QJzQddDzhuZc77k3d8Dh3yL8PYuNJw2E9U90jMkyrcxN7xZnjJYgfciAf+IH9unpHz7KTCoiSGDd1xXcBPlfYecYpWzE8/pIreMmRtyXwJybZVxDiYIRRMJtkq3uYQsxgQgnbufiKhcZPWrmIcekcdiEzmLgPXAV6IS5sPJ9piz98fP2YYcrTm2oeOLRYmkAP0IDQOL4MBSEAoWP9besYn0jESQpwQlpDkplhSWUxlX3FpH+Q1DiFhusa2eJYTrayBTYBpGY+NZ/7WJtD1fVhqpMfqcuJVXOT3NEnBsJhO3ZXVqYI0jUjFk+eNzppkKWtC8nRdnh9UWArEWyLdw7giqd/YFp1CShiT4TXqjeRkEvl479S5Fi5BI/dI9tfy/4xqeZ0SLAsDRL/W4X5HJqX87g3OZny6c7MtYnoCPd0TuM2KSe5Ecshor1r/kPTIxdvg+9t4B49fdq1Ho2H3jJKz+0KnjHV5MzAb/LEkdk4tuA3p1Zj0PhehTUkc9VXvSA8kPC9c0PPNdZo/6AL7OS9/O5Zczb4Xeq1aYcXgD2bMz/NrhYc93H5/WY8JpbXgDnrhsMNH9+3CaSwtDCDVqY5w35r7gLsjzlH2eojGWxY/fdiRH8zBWyi6pu6ji6J+CPi/TcFTaMs+j/aKCsiEVej2cERSzzzBKaotzYkw1iLSjgT8AJqYti9qzeUdnchxJO3LpNGibqrhFehKXBIBUYXIOhlBlErQ2kRGSS/KTI7WiM6sc8PGl18WML4iNuOF1qEPj+OCzN2aebT45Yt0NcQ+OOSKAeAcxYKBcTTsBD6XP7z5K+oNBZO5kiLO2u1gebKC25nF9olaGjp41gljadAKj1ZPEgZJEQlj6FjcVFJ+pciBRGkvm/kTw7nwGJeNc0yczrbGlW6jH17brs+PiMkAaDtvftnX4KZBrwKMx6QaANf0WzABy/FX9oN5RqBEDczt2eExr9LpozVKqWzg69YfyV9wkKcBPHqKU6mUa8jUPW0bUcdlq4ONvKyAeNuD8SYjk0QHIUXI673C99Wj02klB+5uhlomfRn8bPLAHZkjImEMBaxwm9vfEIlCY9EcqqUlpbx99RPRZt1rZss04aVWaoJRu/Iz58cSul4cJvN8uyN8r2SP7KWvYBVd7v7u2Ly9Dd+EPR+rUDJY2Kz3pRo5xgKkZKvjzPJR3w41Ec0zXyc9XB73UPQjDPvkP1hMDlV6MWhCWlslN2cVTIMKAf0gcVdr6MHUZG8gfPEjCB+LU8KjYTrG8c75mWOdr3JtRZbbn6q6Q9jY3yMW0O/C1vi1fz4TTsHYbUI2dkiILsUyzP9UdhcRkrsyO0sQ9mqVsSerEGMF2NY4Z2DZ+fE7yQIaruIuiR/tiDFgl5W5FZEmNsVMYO7D8vdgTfT4Q4xLZcAlbiSPsaOdEQzuyshXDHlmDy4+DeIWiQ0wkDtmA6B6WyBopkEYDIjNHhIcKXTPT712Q68srIAjEDtopzU0Y8wZjGRtH/fCufmsXPwLES1biKBQFI2A7uT7m3wxZofYsTcBAedwQFHj7ue6f7VP2oAPLt3ac6wyZZGEqEo/rlNOZW802zQtp8rLCyUz1RVhSu3zsBI1rXKf+kSKlJ2IbiKkYxnWtf4UST/xMq1Sa5RgyHOkX1RS5fKZRhxa5j8cZyWHtzzEcg+gAEUvuHLxblfhkEJGJEsNLc00wz3lKpITI4S7LtKba0XkFlszd1tFGX9EGZRlDvxSmnnWh44l5LRzsCKXtgsq3DhKlfi03HYMKuDWgL8Pu988Ew7C0pYko98B5siHWvvPlaXPnKN7BWaDhdH/9ocg7wjymwPNFhZwYmflrbhgvTH+Sfiqp6eU5L8aTnnYemLg6kC/7+MzbusUZYMyfOKtp6m0DwGZlYgZ9yHrD+5h/TDbGZfR+0fCnM5UUYmQ8yydSITu/zL65nUkVAycZdpP5kdi5kuZABonySclKNq1ogvXiEygdwCQ5LagQs5pio9pgdUNu6ZuskYUzje3JZSawfd7N0nLV4GMz4+LMsfWgeVBKKW0c6DOeGLIg2EiKS4iG+kLYv9c8TrvETEQURyvKoGp0KLF0yOXEMk4K/2JbJbb2ZwFRBn8Q63iVGZK6mA1rCuhjtHOl7qNQ2ejdtx2u6El9YVM/fxy/lV4M4tt9kXbTcK7bMEOWw0TrsYMYGViYWpzOAyfcL4ZbVuNWVlZaxQeO1CAjCroYaYpKVfb+tLfWID0ORUxZMKjcbSWka3KAfnFHP3YbhbPySlikSVG2++wO+aDmDYCOWV9r6L7hoUiGz2JsY3HhducPuA8zdbI+9jytEI+SShkx9EnQbBcEBgrTiCSjEr421H5E6urgyXrcxFNjMls4PuHwR6hxECdCV3/dMDG06Lq49EsbktzKw0iLcY40IayC7DZMlGbzWQwwfYdNvkvTE2ODciFaQrzWAF+QqxjD8TaKgvSE2snBVhl6DeiTMgtI57rPxZqodBfaUpUj9eteRPLqvulKN7PITBCx76LMVQvBKr+56mmORQgRKvZgpNpSZTj0atgoxmwVH25ZjLlFyVbo+fV7wvTjm/V9GMKNqFtsgn1BVx9r335nMCu3YihqCR5XV8gWVBqyvCpapzEkzKvgoHVUncOVRCEoKT9kcLgjJiW3DiubjpvePX7Wr+b3ScDa4nxD+zlkgmodFbdt1VHbbpr+8WgRjXVde7AR10Kwdwm07UKH5U947KzHaFerY/UTIjrs3EwiBuNNElWLmGbowyf/kXjqZd+4at/mBj0wYuXqCObRWWg8yXAy6RwXHskDUes+PvVr98LgiHOvxKV60HwylQPG8UhcyIcphJgmd/49sq5gZLIknXv4CdDPvMupNceHsULEJA2kS7EbHlruKCZiD+IFakjrmuVYgzDEy+CIGrSNxUzcQQDmomn/Ik8nNM1+CUAxPiDd9eP+eskdq7XI7cjWeDDeJ2oQk4INJtqwAF4Q69liac0MZfE6E1cbLPladhRkv6L6ajCLpbsYQh/9davGfuKRS/yumAGWIIVCAY1Gmv6RAbsmXrud9ZJXAQ65Vp4QA5aS2KYGhdvy1qBO61YqiuPBl9rQtgahsSjCvMvJHVDcqxz0I44HFKCt0/K4rerYnw8RbuaIwgcBNvtnBdn/aiVOqYvyJSICMNuSDOqqPxawQ8v87en128za+TQ7u5d/Sbb0+DNxOmnBZZ+9TZf/cz4WPc406Jguj5x98Cb+gSdERCzO743ErVlrsASOcqr5wmb2ilp9rek5dhZZuz3xPJf9S0Izl5ncFupGQd2ZA/2OV6Mz3dNilZRTMEbptiJMAgE30KGR4894dVYR8m5wXEkvxy67jYsab6+EFwIS3QkgJ1A+XEDnjuODAYzLuHlUyz+/z6I6Ps09n+HotkIA0sYnCb4Zzuoz9rE83sMjCi5/UVlfYFiRET0RT9RMNlJCfKPo9um8XTgRtzTbCTzNYFfwx20ziDz7zT6BxzZP0S+7O10w+TlYSbBn/F+rWQbTcictGCXP2FEQl8aCbCFCQNUczrUQT4bLYVetgxj3ynjnT1wGb3FdTIFhxWgk6aGSX5MNk6OWJx3ipotoVb4UYVoJf5Ics/vVh9PJuLb5dkpAqp2v8GIVhN5VyQgMIoikE5WPn/YrOa3hSRcH+0cDkaptygedUohvmxxmSqUfSNpAPle8YqTTnasqYgGwJGsqNPrpODh32lUER8sP0uyXsnLbDu15CBMe89Foz1W9gJx6N8wVrp7jMWXkfpMubTZC9htrADfLxvMXkezhV6di+/cM8wAdAsqoOAmVHipapx1vgb4Eg9GfT8BPIaZ0ozSg0RUcItdWSNKGy+plGwKhlMS4+ND09b3xzAdDXFDFN+niSbigUO/KjiW7VjEUIXQIP9kUCEnX6W3Z9O+pjafylzFn26k0DtDT+XwJHny4V2NkuijvY7YwurA7tfyPEUdk8rEEZyhs7d7ddHo/DgwmaFLHgwobJpf5fSDLk5cygtzflOE34O6QCgJtiuoxZaQFZE9pATuD8FGwVbiYMCuBGWBmvj9Zgb1ZkhUlo6Hel8mK86fHbeMAjrFuHO1xxYQQ5MKaixOMy7hgsQPeK0AYhsgTdkhQhLSVZBhQYWXg1d34McOmkieU15Adr/TVINZ74glNytzNqWHijvS6EmFXer8i0js5CgiNCtcFKbL8mk2IH8RUZbvMzFWOoq5bV7X38fjB+jNCIiChvnZbK1GpRt39UCOlBwNLNfNvZsSbCv1nVIsbCS1iqBy5Mw20q0VCsbZnZ0M+807qFtZLD94oXE3KQSjGj6zqqkuGSEr3QBC67AFUW1dwgpkQaWFpm/H75goXAXRPAld47e+THF5ZaeWtdbq8uX6wNi3AU8+TMgBsTinDz0bpNzpMZovpy/aHYh5LzeKyoyIY86Li1w8CEMah4hpW+yBChgK13Jn3OlmBlRLj1vdap2yL6tscB6ATxOMditc1fEHqAuE4MogMURSL5JIKHSqvCO26cPkD83C/97fP7tJh7VpffK16eTJV3PgFXahySKj6rSqM6zSYlKIkGaalVOAs6dVv+uw2V3lRt0/fvUIqXziC/duXZFnCv1Ia5K/O5lgIDS6kW5P99t0FsAL+KXZCuIwaE0J2+3NgWFnuvLeUawk5Pj1XL/UMd8rfM5VZMsHhyq4QTLqgx6FD+L2NNvUZkYh3Y1/GRygBDt6hd8iSWZKH0EeNH5WZ1ivF1VxxJanpGp78njWmoYJdeO8bnRaAoVeLL6wNwItFsYNFo44dPAP1XjdygAuoH+5JBhz2nxFyG8etr0OVHhN9bpUuV8Xb69hSpT+nR9rmcwjLvXBVfU8VCAJgsHjknecxJo+9xszeDPt1bIhQzM3kYkqpDNH+DukoH0bS5dnN4qu6uKp9x4ZOey+oBDBccoRkRE1whm/d7BjK4DDiNKCIbYzUi7ZQxX4YjcIXEiYfmmhqklJTynnLNMPLD1q4Kz1O0kWrSQhaM94eVpOYwTGHfmo4K3cZRT0O0/5xwFrkagJl8rlJwclLurA05WOTPDr7Z2RFyYTXxnbsXdhRObqZu1LmUejfdvknBaWVSeu9JBBr+mEg9uqQPoPYpKHfT54hYQhLkbVsyjKT56g6kf3N+wqWdA7zZgM20fC52KhUMS91+RQdXNNSJcR375BBu0lA2bi2gGdUkl+zBSEYM8asfU+l7HTn+zwION/L4NSX+GN4JqyAipSvbWN82179vgOBMpshcrSRhrxQAxgm0mLKUYrwgZjlixWoYalXTCc6/z9zAFWT/jvWAeMqvcm2FuPZ1Vv4hLU1UZtxciYv75VEecW7VsejSiWH8PX5Sz4r0SPuRf+wFBgTVT552tV7AT28WDuFWFqnIoY6PudL1aj+ZuaInRMp4jUQiwzxvihBG1hv/citYs4XEXLxqhH4fy98WmOn3Wk4pL6u0xUybQs76gWN/1x1eFENpbY+hf0n1DDzwz0ChC7EvGRFqrg5qpLYE1sI97BcKQv8NMEP0Ky8Px8F1LdHrTrvyNkkXXeY9i2wfkLy2zbg8faEgJtqE+Dm0TeB4vABGg4JP6d1LKUNYHidw1UiieZA2+LVVb9YYBS6HPAVrB+kWcbRBBye2k9DHoDb5EC/w4f6UZQbzCy4dCPyf480Vwcw8YjHBuo7RBdEDoeu5yS0o7Ia3IEK8xw3lPdRz13fEJoM0AOJL9Wrychm1GPcj88C38YgWIFMrZ7NQqJemSDYjixKzfqi0ewvIiqrMgLGYcpfFzYWil4qZtO60l3BXADLAR1Qt9+5yoZgFfdio7ZWpoR24A3UVXf+9FSe4ONGcNNlVx21q7EIcn1yYxVu55rZi2Ty8S+9+ia6CZksPPJVtroYJvG6g/FnBDgVAMuirrkvZebqONzSUQwCnXDK9RfcPBQw23wfshNThRDYfoUi/WyCKQlk78lT+P0zOFRQP+etjGVOFzqvSEd9pezqXWuQgGZjIMQ7sibrGorUQ2dCxldNAvl/6jWD4r0kHteQfYe10X6YyIDdENEALmJq49npY+rHpZ+2NhlWhI5Y55HeLdhFdw8WRlAuuLAiLPt0WWKaxgAkWiO09fcbd3h/rUOK8+SHv44jJ+66Wzm7wIFBtFdAyrYnGcCQ8VJXxRIk7+VSSV5I85JdPw1/vLnTX1doD027/vISwdxBuMvFJkKRwbxnqlkykGtEfEMCgspAS0k4YTS97LIiNSUega9Kd3gNKnPIaz2jtl0z3ZDWQHCP1EB+ivUZEiPYDlfpHyKY3gUOJI1cSXmDM7SIgeciqAucdu+IK8aXdrRMd/X4LN2vbhF/yLXxYw9NaiBKjcPH5LrPX2m0LpibQzVJ199OFFOVHqMZ544bOhY14rB99hGnlxeIXhZmAcpIv3c1KdUM+OClpowstn6u90tP1Z0mqUE/PXX0KUGrHr9s98VU1+r3C2xmt3xgudUymVROjO3aeObUmqo32G7vlBNDvEiDSOibGmFkTIcrRNY8QnH2EaxQV90vRTP7j1Ui5uavFE1Y4Tg/7bwN2f1XD3/JSmiyCyFcGmd86VEuqAkR8R3Rcg+qeohR4oM2d5jKhnmgAiaEOKj8mQQwybDv8moTWrn32s7iG91S8rWy8n+PqU48HV7N9ZUf9JRn2nPi4a+vZJrdrtXcemk9fC8EubaPi5EpPAM1Boyt34HmZy1FeS0c5LyU3rJ6sJ0qkrQKrgcwdsHXCFkgzDMFdGt3neJAkBLE8ZfiPCRjRh4C6JyeNBi87m0Ncb7DTjQXog1bG0Ow/cMXsK0dKBjo7NUqokvH86VlsOSO9Rn0Y5TSu1EzcufKIF9GOEcMvj8ScHBfoNMraqpzMMdbKrc/vwojWfa2AuEhbx1u+7lXileSx3IRCATPqUXIiAYcslod1ERxwC0/v2VKPwbc9H7CF/NKYctlXFbgiglcNkimNuE2VJe2Bn2w7lnM701W9K3Ed+cDoHTCvsKcZyL+Z9poBjsaAAtgbm1vlR3qbZmet/+5s5mPU8Xk0zjSt4r7JIT8vjgv/tV+S+f0WXGXGpUqfPhu2sHEAeb8pYzrK6zLAk2vlKFGK32ygae8wFu9luezdtZQvAHnqhEyqEeSte5DyiJoqhxeRsWLiYqAFEHqp/4C5iRvBM8KhWhBu/Ts3UVJkRKudDIDYZQDBjR7sBvH5HCxqY1KSvba38uNNPMm3nj81mqbtsTL8BUJlwtqtZvPikLlUYZUyxlOa+Hr4PzTIuA1rxs1iV5vwaztFDOqBSxKIwYB1nO0Fkdvzmsf1r4EfqRf7HGr6tKjD8DgfBRrwB5Cio3A0sRHCAgzePV9gC3kFas8Jd74SpZmhjCsp/RpwCvssrkzzuvzdYCs9Qi61hoEik4F/7VhMu0ZF9/zs3Rvs9KyffECRgCm4uan8v3oeGjjJCkVEwGimIO8AVHXAjY/d59bK8vrLRhO7dp+zRRwVR4d6+z/E+cHTtFI6aGSiweZPSDEE1yRKUTHAfDoHD7qfC9mq+BTpVrbhAUnyHB9ftpjLku6xYsTo/q1zk9Viv4M7ZF5Vzip3ePai+yhFMEpNdSVJnjXpxzYlf8/UpKzz7Oxt8vv9Rw0QNcB3OimQ3V+trUxwPw19MKf+6b7sJgt0A/exhhMWXKwF2sLM5UqSOzQcw0gaYhkrEW8Sriouida5/Y1sxdb17rPuVKnlCy2gS2BbgYVxkzFK4edRHR4JOPvnAp8erCMMIzYqCcmhL/gTaYAwL5TAe7phd2T5fUMYn+2L10cmf2eiYvr7VHj0zD+aOcPD/GVhZ2BUdTwZV39FjifMn0+CB6/6eBSe4d0x7RaKB6omwIsngJA56JbNJSccGA4ms8sv+ukA97KYK6dHkv/Qbz6E4tY2js5kioiW76in4Jw5oO15ruYVlSVNn/vr7EH1Uybyo0x30+Zd3JqPRnMoYxcMJ4td3bag3TpQnzzM0GF7SkZ+B17wyRLtRExWwxNNIf6mWla6Mzzh6AznDLKrlH/ATh57YpBO/5bmrd0HecKZgH4rZsvCtFuUf0XCvgOPbp8kC2jAILb4EjNMtjGqzD8M2L5zXjIwXM5kdBunWXupw9SJQDQsfl2kwKOHknuUXXfoYy1Vmoo91C0h7xRLSyQwIKv/2hEGG+UHPlYfTIdjLrqlx0RoxOybTVqAvNkTqrMfrrbNPlR/6RBwQeoy0sdW14eRDn5C/fyWlS6L9kwUU0SAGCqtKGefiNls+nAeS49N5O23N6tVxiUJw8GFfOiZSRNvzjkBmWyMZeVT3H8vkmF7ZKWupOFnjfGoNoLwcmq3qtS5w9O1xyw2a09GWvLkSLZuBQzZLQD1N9SJBbsR/HeLsm9C432nw8+CBqrVKrGvI8dQUWTMnM6/MFo6TFP8rDwY5H9f04Yvrfvkq6LuatLX1xbGXpQ1SO/dLwh2uN/fE01nk7cEfmHGX9IGH1t/G3rvjdbQJL/RldpK/ceruEburs3YsGV4Ogj3BHI9UME3laizYyYHkqnpbIBY9/GfctwZLXsmyxTnRHwlPvj8lnQ9RlA3IqPfmIIEWNDzzDzPgHgpN5Cjl9kDlchy+T93I3+eZkI1eNGstp5Dcb9Vb3M4QCxv+IFLsCEb0fJHKtPPeYra3K50FZ00OmqhP7i8+qEYpUbJBifW4JSoTh2nI+CblMIGU+CEHNl10H0GWx2kJER0ZHtlBFjcKI1ws4C6yGA0YKZ8oaxghBHnoTOLLCq8xF6s5sQH+8bmJv49o+8CDBtKFFr23guJM4Na4b/DEA7W7sjxtQADaCQKU6+88YmQ2IoX5CVadOERw9syN38mW/2Er170yBotMlbrzBmthVSkMpY3mfuGzJv2Dqlk9GyqgnKD9XbWeKRiuKA2EeIyS2XpGcCzUU0CqK1AiY+Fn+0vUEtCVLnsywJuClUX22L9E/LaM1rDwGwhHsic1+FX5fNVW+bUgA3gW/jwznIwzwHgpTtEGVtaSz6xBcSGc8mdiIm8YcPst9wgTwYNKTCfbLcAqEi1mGgs4Uy11CYWWeY4Au4XpQJAlVG10ZeMA8pbUsixYHao6hbkFymuUtbT8OBsJXs4GMZ/fsBLdaAb1vL2U2wrn6dqChnX6xcBInUjTrsdXzqlXP7hAGSM6vTArSLA6lQaNSga3h11yzMpTzCCwOj/oGFHMJLth+C683GDrgZYYTZiu9+lleiiepv2K4AvrCcOxSeL+DpbSQoftwyEdJ4oo7um/FzB3++lFOQs/z8bdm6yTKYT6k/gCrYu6/68Kczf7JcDQm76/7/jwyTetvxjJw0s4Ohc37pbcj/qM7y4r4z8JhK1k4lHVu+GWbn36J9wPYlUNwAaZ9+UBUXjp1DRbu5NPo36GzV+ftyrYoCBsa1qeS7h+VXBzZfA1x60G2JtU59lLaTpU8aXvnqbVJut2tgGcJity2dD9XfiAJhfKRYNkcQXHKUwsi9/gpM2VvvuvFUGAb7exfTvICzpPbEe8wEtevBGZ77nzD/ASTilyP2rKYMx4n4rk0XZUG/rsm1rmfUZ2JrL8xBChdN3Ax6OrdAnHpkHYwZHFJwkqxs9pS8ZZIJ38OSbnhHM9Xwj6oR/jQmt4gvRcCgGsvfkpyvQdif5VANOg/+dJEZhe4FNq6QtC4ymDq3VBvyqj+qIJCvPoVSSS2hUcHqbR+XPX0K/i1DPD/VMcPMy+aUfaE5+DH+hlYRtuNlOuD9Orm0oOXWX7aXKQPIye+Dkir3bw4rkR+exdB1bXUGZY2a0bbHByfbJvd3nQxIet4WmjSfV9k/jstQt6Cn0AjiPL5K1cjycmNaq2cQqG39L23KrhPubcbAKr01o04GSBN+VHeY/YK26JeuUi2VKA9sjDlr1CkCzMykvRi4k8jjbDoqcqKEXBOgs1nEHLoP1nuOJMEPdSW4pzoUY9AqObvEwKaqqrDuzEaaPjzsVtAhZSh4LzdGrEJPaTM+5pf+BwhFZb0zws2OtekwEfpA3mmMJD1oxwEt37SJMa8ZvFIBsdQxoKl4U6vC4BiP8oiByL3hoAt+mf65VHtJJOXJAjK0IabvEWNFoggRWCVhv1zJiPeI81BL3sreoVtl2ihBRLmjvbDAIsK5ThtoD0iUm6M7Oyq3K1wHr3I9epfVZagUDQPuy7i+fH+vFwlpNPgpswfNXUsT3UAqs951alGuUjX7Czb//qOZPdgWD2tBHw8PkgGgyshULVTv0s56d89gmgaLMqa93/bTwYtY4F7+BLLcRn3L5FsKpWbs2GE88uSXPx/G6zDH0z3jyaGo5n6Ag9USpdaUSM7vHs4iP596Kfht6uit5HRz9ug+BgjwZ3WSfRRK5YJ86wl7APwQn59MYywpe9gZFPmLcFtpAUJvsVZFx3aqhog87xwpYpdVKVW7xc4W2FELg/MMovl9EfYLvGNo2RxDUwMEf0LsfejRWOHhF5f7adiHyToY8rZgqCXza2fll/CzPMpe5OaZoG5bOxoXhTcpA6CB+PR1fygid4StF7dpH/O7Kza4u87NIwexTOdiVEy4ix6Vz2ueOwYTsvHr/yazfrlycEbW/e7AX8eCHYLAXKLGvuEiqPqgxL4ZxXdIlXultxa0Ph1wG4IWffFk5+vlnIs2MRJdS/vCS+5tHbn0Q9JmJgoarQqlp8m+WjTb3qJBmxUlBfldvODQh9GKJHL0PL6+nb0fKV+CJAo5YbTgGGHJhhrbEABskiqUDbUpuiFWIPHQFcF4p/zS5flGJzFg81XaY3WT+6semEvQSJ0titEgRdYqutl0zEgYkcW4yrWL/XG4hl3Xau8vXYr1hGoHtgsFvGThqNqKabaCGEMmt3pFv9AOauAJG1zLX/YsqoJTnQej5Ng7XIuh2iD4WhXH0hQyOt7o9XTpxTWBTkVHy/Sxxx4ryFuOqddoz7b7W38vKv4lN1iJZ8phPPDUbs4B43BV2IbvfaiMZunKvchb/XYm1pvjf1gIIY6z80yunWKUAkr2ixkanJ8cnvBfT6mmaXQMKFc0dEL+sl1je22Aj2BZHyFEvYt7CqXRjqBfB0j9Olfg51gIYOWpucNuRzgZi1jZtrTCIMqRcE8AECOl+0f1eTSdfhRd+WdzhxXjZQ9qDUdS24DkVixMjCtG1ZCvRs+26QF+to/TUKaqbYPy6I1cW4m8xJVdfEzW1Ef2B3Nath7L0woIUC5WtlOpAR3R6BMM1F4wtaX0z9iiBOQQkp2yw052Po/tPJcNC4tbwdY2MSuAw3yhjaA7RgmrMLJP8oszkStlNXY7xLrv/NYcDb0I72LSnQ6u7SmhJEWn7deJG3LBKIim5GoAMv6kD8Neoiw742d4zT2H6+Q9FR6ghX78rf7JtCgj9FphqBD/Qvg4xAOi5nwzYO0JbZe0jhbQ67UZhjtm58dX38264EOKZuEdCyANBseB5JPtoCGF1vcUqUVpjKnHoHZxappdBsh4VNgFNuhnuGcHsT2vT7ukDgRxMFr7gadGqM4i27e4z09LGHunwffen4UTLsEzABRK2LQPr6d2RHRMWoEzHbfCclZki6CnPn4ikUwwmSPt6VRJTD+S+HjssrNPayOf9P/x7KsQiWOnTMHf2BfkzHsZLvPaNh3/6D7JQtmtuebZqpm2EDKQm0v7Mvhd3X6SHPGKOMY/krlAox1ONF/fgswsOq09FaKZKuWRFIvEU0dW8a+5i/mE/JMdB5pPpqPfHj7RSyrkJD6G2XjUr1fVpeG04BME+5AD7AKUh0Vu/J7aIkOBpSJU89LaSixun2D4D6APh1Be/MWn83CW2juoEpxGXucuxUZoVXUfOiSVoyUd8Nr+zxvHpYkU0mBR6GbmzDdC3pOc+LBNICfihd4srJQvH+E6RdPSHikUSVkplSyyYr0anQ5Kne2+3Qkc9MCOqHmi/n0tTv3lW1xwiDyoZXlkdabW6zwdSCB33DCRxx3Fkmbw5SnpWuI+ZClGty9pkfllHe2LVB1mCFfaVbU9VZ+Yd4pNMGtbfMpjC3sehOIos8fkt3pjERR93bsktDxSKocIafm8NQQTM19LTF8Nh9GIHehgMbUiSCNEt98W1g6xiELqXJO3VyXa+PClGSmzBGKBTdJ7ePgwr+c+MGqK+OcfNYY6/ykr6zacXHxE2EOQf8uL09qYyBADzV7lULAk7S1w1ghYjLPG9i4BLdVh43H8lijBM/FgEMsOf/6bAUZzhlWCgT/qAYVOEhMR3XnaKqeJN1gP5mC8uJaC+iy1s+yv1y+a53S62Gm+7vJJHRqrFl0c3zvDOYrdmp/V8lv2Pjq0C2Ebj8mc2vn86BSADR7gKcxdXKRsss3OsulbXe/ZaFTu8na/16O7Hh6EAb3vpZMgv078HLK9wSrGMhymoAuIaJ41nRYIR2OBcgQTa2NcoF9YkxrOn/AP0y0ot57RgrFCSIiW+bhzS8g2KcACIETrr+5DmV50y8RybPafgdNSOCzshkkf5ncteKKHvvy2OA793PWXeMEck1eco1cQlTHhCoobnvRnS6R6Ww3gAoTAkpORW4KYZN0XLJw6E7W48sg66wZ5xe3BuRLC+YRbV+joBvUO+G5zuLhGeKrf1gi+tkP3MNOeQ/7L+v8H1oEAD58lQqMH+f/EfsWOxN4HO6QLUXvaH5Y+dh7bwaA27VBJhrS3MXx2JZ4yL5gNhl91SaVTxpBeuKaFtamsOmb5cAh+tigA+wmwSPja27REP64E3fRErbwK243SFq2+XlAN6g+qKyuWVn4XWfeES1AnhQKOB6p88tt2CGikpAI5XSyT5neSiqs7hGhW80FJn6wkY74kJsJ81fSZZcwNL6Jsp/3RnXn1SYxwtaySIq2BvMCE3f1izDRXcK4+RyowCr0ArEgIilwYxZjk/+zvA147JyypuZV3IZMXvL6E8D6wEhVeYf8RiHF90XI1LusBl4DKoiFWU/GjRWOoCYxQHOqbrJ71OkCdNBmO2p4leCGb6q1XoYzLyQKqfeucv5ZSmLz7CQ55uMaucw2w0xLp2GowYVyJRLV+jkvnBsyuNYr7flF20rQrT/K+NjgkG8dSjNd0p8Xjt6lvrgEBPMB3wJXTLcCqxWar/FQn8zwt0Lkcv+7xuSVS8sseMah06QEsaG1fgEoh8axwUkLJ4m0rN+mtaCIgDHD6vSypn8r6mjQBlOKTfLFDSqVmkw0AnbuCf1xl1jCVLWqim/77iEByuK+6dryreyOi+tPiGaLqPkd7Uf6wmeouX8ZNH/8+EDaiP02LPN1vADZKb4Fbr+WeKEqPXazuU4Er4zLOapLq0QogGbHwzdBLpt16SOtCnsukHdgCZtpeW4wHlswdPtbeOumdHO0A/cxipgrlCdbKbxtJhm6WMqJKpSvUTuJ9MvSyTVf9ArXNGI9smHo2LKgSJ1HsKU6tm/A0Nf0e2pMHzmenTErQVs5i2b4UJXoFGECmyjtp4UNbQ3Bd60HKCF/YXLoRzJIqHQJpW9nDBslFUXNg6J19swVBuSVc3Ccr4jVKQ3df9/7oZGDYwmVBN8JKHdbELZhcxJ4SwP+P+P7OF/h7VZeDGC9Ci07zx4P1sr7RK3QAJzdwyFAnYnvvKeyhQT3hma71Whuhlmt0tIX4VgOC2B9D8u47Z+PIbkD6Je1ziQDa4L2MrwOh3JQrKjXDLer+C2JYb4L7Pcz3WEC8njwjXbJxbp0+gwAUF407vbxRTD51MgWFkNWjycBuhRS0X7USddK/FdDBRxa93/ddnhN/v5uqoOWO6bCJYeZpctfeYcvMku9hn+UGVdRvY0CF79BxEP2+RAEVTIyAw9OzclZLr0+WbK4HKoNVAEENRN7Rc1j8KJN/KiFzNJnsy03kkZ1VfrjWyUt/Qx10eX6oH+D1A9SAs1A9VmocrRAsYfBkN61K+yGAwS8AQPVfnZD+FSmNFKixWxCnK/u+e3SIY1VsWhgQlxmyq+JE25FrMsICKloQfubxTMAzIL0smxkH+AqdfAuRp/Yw79LFVFkJOD7zlb/D0IFNbYhRScXmB+UiH4i554lp2r2RlAbz6T/HWjo8r3WbmDxBfEadAcmVZAahTH7SYv/0Q+YhfROQfy6bCymeE9ajatNjrrEOurlCRgKKB6GihcdISrN//BeVfNyK6MRUu2p4585dXsGTb/dj2dtRJRw/iFz4c3Cf5KcjXJgFBtMysKyAH8+OIeoHZuciL5e/67bc0tz235Rl5SGwokA7SKbIUI26VV21eAFxHwjn8V9La7r/IcQUlfBvaTxkzgqgE4+5TkAhHrBDWQiDHZlyM3oBL6vBHdwjm7T2IGDz9RXOv8o39NWlkfO+p9hlJQ6yEg5nJOnsTj5+o5IsJQjoTBadKtefHbr6815S/s9KlOITL+wa28HLyinPX/SyHLgEX9FkhCSJ31KuMKJfkQQ5RXjgJCXVLJE1PfzFklYKrH6rZUhYa6u39kxiLAmNa6TS1iZP0Lg18HFGZwV2hxlXpb0pWrRap9EgWRtdFH2en66Pqm8IkdgCBDD3OZiw4ijNV0WeLgxVr16fx7eQ6COPOhTCyf1OrsGqRXhHgqpgjIZIoY12MSPDyMomkn94PJNnuvVVJPffoQ4Sdzs8MEFXunwmDIqZRWm+5z1e8S1qYwSfJApcqabD+9y+Vumu6ZzjhFNeHL8hpPbHj/qOT07b+2Hyd9SD+nxgn+0LbGUnUzQavm8uDAtf/3Wd+PcOub8Ymq8Azpea97JDA7KcFINrQ8T8+752vunUY8ONhORjlTi2aHp+ZX8wSJEQAZFjOMS8gauXW+6qBE+RlXx97XQ/Ax686Ze0jLwpSF7ZpW+b/Mx6ArvF0LMRisES1RzKbu5X7tNK1JRlEspao+S2+Ox99OqkmXI5pagQTxF78i3snO1Bq4SIRzqkWUhs2/PsgSnAu04MWA708osKl/k5T3ddb4iMmFJhsHV81GA4giuPggXSjb6gL4ogqagFfqfIE6yukYa3xhHVQ6y23AK8z3/EWTOkkPSvRTg9iOcqsViWMuDm/zYtVBkFjDAitMwZwX/IXdOB58SoNEz/wjf17ILNBDLuY6grkSLSjKXUPM4u7mnULvqhQz1+WFt4cv1o6/Rp086x43BKH4+iVeSGKevg4UBQrKoY0v97+3XFLgRVM3kSmxFDJfiAxGyeyloM621I6sp0Vfg0vLWtNZwGndcJFwVv0OEZgJXmxFpP6NzInQHU0Q2BzXJXWhTXX4kvRGtM0Ks7rA7CLHSXpaBmVuE1Ywxd2kaY/masmG9kCsIMe+3toZ8IpnZ6OI8Pst6C1OXBhnYnf8RPEJbU48DJQXS8nvkBOcDV4ixTU+4fKagfQKYcbLurg6Ffos2N6vRUfgoQuwSlkjTZiCb07ww6GaejJ2RqpH4HuQABJO5shS13Sh/WeBnQ+cQX1KAAqJsASW6YqErinsrkUQIjYYyDcHqYjaitX9ZWk+9B43iqx+P73OygrLVKkbzHh4955ahYEN78MDKG4YP9+gqT9f0hqnvplLzMRUOMmRPeK/uLu3Vh11jRRf8APaEma6cqVLYnlVYXgeqjoTKYYFS5Mfbcdwg5xXorFYxlfAU1HNTFzKv71Pxs6zDoAl6xPLNbzUPtRa0r/E021fzRt9XsFwRVze4Kbz2jXECGi5q9fDXCfYf4R/nS3WLh6bwIGSXcpd+XzektUoaRh6Jdys09hBz3cFwX7Q6jwfdqP5FlefruUfA1+/BeD6FazpH00eWpbG4CKazXLoPLncVW/zO+ur6Qm1aG9ug2uURO3af8kKwOBFwyELPGf7xvWRcjpDJ/tIxpBu3kfFWkiGAc4Ht8yYyT65aoB4sRX41B1fYS0F3G/5JHk+kSsCeVFRtrMc+bRClDzRNLQNlQngY3SFFfAX40jGz3d3K1qi3JCB/CtK6+ar4cUm7Hn2egH5HEvubvW/n4MX+S/J7HiQfW4tLhtSlYUg6tns6moWyk6Mgs3KF06MRMNhP03D+WZMVcD4oeSIr2k3Ne9wPPtW5Uyj5fX/DSLpJ/8s9zD3nEYMqmWxdvFEy3zEeOytTmH92m6yga+QCofWM2cNrXspZR/fm1tcNz8hxt3AR5sTRnCJ30zZ50mBfkGzrsrS85cy8S39+p6ojFS4wJZrsgFJEAOqdTDn2g5mdbaumiP4D+1ZnNRnT6FMbFRLmFM2JOJFpVSdSvzxk5Kim5OMT1Umbv3zIKcsnNaNJHv+UOspul0+9OXRdUmOucPNtrklD9j3BPkoV2IJ+eJeQvcqXCslju3zY32vfxIkDbBA7BECsip6e1zRqFXB6IBCAnkkZRdwc4PREm5mcRZfrgwddtGvagf7bbDvcX+PKVI55CFeD8VRN8TsAAXFNwb7dl5HhuEuKHEZSDm+42BTzQfndsE0M+Db2CZluRt52BpZxmD1S6kOX3cGiD4yuirceze6CD+Xd26GI2Uk0pBCkRocypsOxensje1PhKoOrx+f0w+VJzdg3ClPg2o4TyDZhgXS7xW6q21wW4+v/qB50ztWR6of6jj1yqAMnk3Sx3sx15vUBWrRmobXEXwNdObsRiyPtbffNKGg6ctuVEz03cM1zui8xmpAYj4GlC3yN5cEJLYXEdcD8+j1UVCKYQVBruXYsACMTkM4wE35vojZYQRm/NK2GqiY71eKvptvJZmb813jNMYFiIy0xYOZjzHyzKRTB89mmH897W2YMLtivkxCXworYCWZFcN+JevAa75psulebd6A7Nl0hRKjPC2ExmvTV/gbs4Tp+JhEdDlkIXoo7B/RuBve7GcsoGzgeiahRoh1WVIjtd4cd2B3QEUL/9f4wNfDx6JPK+71MPGwGsMF1qIrEGE6CoEocjjtRUQT//FzgYGgc1aessFjek+czRoi8Fev2VLo28qm+9spAKg05w8WVD3xQuI3kYaVX9KUdZJbV+k0wEOX1IncFFMVrI+15jwELO1RYuIsrweLRq3AHnGEhZcHrK29tW4m0pABMJv/JQ/am68hvF6bNK2zIW+qO13KDCqx7m5xIw84tO/8W75W2vDcbU7O0GnNW309bAi9rnhuLFToZTL6LK7syjJRFmfu1CThgg3/MoZ4VAjEWgrhJkZPpBh1ararEk3giG/MV7KY7Xn+OGISc7Xkun4sE3iZCO76LwSMXZA0B77LsCSZDWMroUvYoesmkDnObcyEM06zd5AgCztWU3D1YVg+k6bw7FembxBIxiRS/YoXpUKiP7kGBJiAcfy1EsEt7UKsEflFePwiI2uLyOTsuwK0EM7NKMVGoYBNVdvnOaZDkVJC42QJtcxW5LCbiJQTc9YEgcKVp2jjYNp0PNWbGdcT0BEW7i584jGpBFc4Qhr3bo4da7O/Z/CkREmJ39GWRHAo4pn1jM75ypzGsbQnyLveVxPfWjVze6+9z+wGJgq8+8fFG4R3JSZmrJTbPHX6xyYUxyVNbJVYcDPL8urj2q4QzEu0G1lSgLgq+KYde0Vzq/ltHWZkY43CKaVbaru5sRb9iTu1WTQmY+eMuYWS2dxKW9d3h6i5hLvzSbgDVOh1TZ/57b0LPLVYJFNEmvGYm6qYv9b8juv51G9A5o/prbTA34+65Apy30c25sxV7twqjBWsjabcbw/72r8xti5ZRco1XIqGWE5RvVMtvrTjpPCZgIMWeNzhZ8seD2FJLKmASWy73tvGRrwGB4VKGjIR7xUHToNNwvhVzUGQnB/yksNAIxh/yYek5Y6v0TOzVmLytDZwre5wNvZnJDBEmb+Q7kLKDv+QWAAzkAINdoTxypzF7XCubqSEzRkydSD1fNqk87dpeCJYJIc1AbyykSPCsyaz4vXXvahYj1PGE0Rq9C5AvAxnN/0S+0DUTfmtFTA9MJLwZNd1lks3FSnT/Tpv6YM5KQKxBTu+V1H/ujU+Aqmxqold4THIYM44SHDcJImQ2A3Z48vxMiKDNJ7oMVC+zOHNksy+SxahQuqtLCSDbybu8cDFUMJW1IVZzs+SXUnnFiEM61GPaUUfnxK4pJ+sFMqL7xn8x0eqUGSmiTl7xiY0YoSv/SeIGOdtQsFr398i4kFHaZ6pao3hlF+NXAQCEQQfGBM6iQef1FSKE4BVqPqjVQsIE5Phray03PtffLZ4ONA9C4gq/wq6/pgnMfY1T6AbgSHBKOggBuzo/71DDUy/e1kwr2gCsxGzkwXwIpWIldW9SAx0nu2cyQS5c2gL11+lbJmpS9YnmkpjRdQ9xJnqFd5yjRP7XhmJRVK9ICXa967aRlgDUsUELzIzwXXE8hS60VsLgYNkqXT1I/ig9+faLNoQeHRl3IXWJF+ULNDFAq+sq6ifFmPSBphtgx2NOy8XsNivJmMLZV45RYVobR47WLzYNm5Ky0yNSgPryg9p17Rb0hCQEkqsgUJkKae3CmxMywrdgiHAT2Cb2xwrNIm27J+z9MO3zIpLaUi4CcpPL8KIHv2UFX8P/BQSHf+Twl3gio5Ny5eYN/dNt6o1XmkycP5scsv4wS7/ECV0fn7f82IxVv1H1e5UEAv1euheJHXjSn06VQ8212BHdSWk+d9pA4jFN4qvzovHrKbzCWvTtbeVFUIsZ4Gmoyf+e+E1M/oKM7zTKqHPB/lEXY5r88da78YjeKQhj3/DUzb/Oydbdb0/AbdZnarhr0a7cQYrfmSjhT38qxPGFvd3AtU5xfXPebr5EJThqw9N630q5aRFqdrZJcCbN1iFeYTQewhF1MAA7/BCQyvT9jNk4p8q72rKBQLF0SsYssIMdar/VHoctN+wq876dU1E9UF0diaHAArzL71CAjYpzXj+MderrqxehZyyrr++KoIOMxPlp4zCOv/LmRIXJWn/rjHu1rSpolKTFVB+2md+2d8zho6ejeUqE8KpSYI7KZ+XEjQRjUvUdYf0TzddOkefHxgb+BIZT3UMS+GWaNHAHwj8XNA8Mz7aLVjvqdhOItYCIiqT7t4NxOirGap11jCgUy3WbNycN1hvmJH6Eq7bQyhNqGnNy0meNavdi61Lsm93PxfHWJvs0EZF8pakN3TtopavoREJ0HJ4e/QL6GoHRO3g2+hCEFsd061BXM5gkdOCy3wlbo+rpRXh88Vsb5f1wsqJfUsb3zLGmIYaH5jQKMtfaY4ETyWw2O6IxUHHc0n8NCAM7GyQfqZbOQ5mhOO0GE4EkfeeEtyaNIZkwhBezqimMx27y4pEdpAdefif9jSNDotegdPDCEl8xaY5n/6AQfMXNr+ojqLu99R0lb8uK3pBYTJPZ7PfbZ0OfOYkXXtbIsTsvHik8Vm0bxN9pK2OinezF/hDrHTC7frFaxcf9jA05tyMLCqSsNstut2h23U9+wRtq98Jro/zLTCJFCVhHDEQoQRfqiJD40IPPYDE6sl3VPGy2F4rjt01hRmYuC+0YeyGx63PRxFix7NU66CuBPtpHfaT5NFLHnUM5vuhH/QNG5YPfIuJkWtIopeUrJfeKYX6G+S3ev4m3pROnqZtcbnrQ+EAM2U1zFFiubIhdSVd+dkvNHRAQ5UTNjqfudn0OHkPn8GYLxJvS25xQW3IVb+z24CofsXVpZuITSkSak0zscXtZC92OWbwA1fCheTbbOHQYgkcX81YLEFmGjDtiTeJplokpbqVif2uk965gKcumhH/GGE5s3YundwreyeVgtFnyE8FliCMWHRhKHVqEsbJZWGUhTc5AOfrxF0GhehIX/IjyGxxPxpMxw/V/Fi17YTGm+BECFl1+DsIo1X6UxJABkaj9zF359LZ45BB5RE6CQ1t7hubGLgo6hN/ItuOALE0pK24VBtsU5bxVWgwe+BzlLhvbZwe9LWAbRJq7zIzZSaNDMcqBApTmFAqBciJ3IuqZyDf5kj3RL5Jjs4H23fmtZa1/d6XDGZkKPcnGTjQwpUUv2BR5oJTZvb9IEjfOOnxlnmGflJpQgfFXoCP6PBQrL1Rl81uODBmfx3KhSiYMhTflpYPb8ji5TQdLEvTOFuEF/gZWa3qc7EBUGXAQh8WGqEYxI7QUWh4xfLH+BKWixUrvw4xXUsk0k62F7fNDG7V4PzQY1BNHRcdGrbY0tr8odnqSx8PVvwYZfH/ZBHehFIX3Zf75+rv4mHSklpYfWN+mAK4F9LjhHxUp8Enocd8A6IusnS2Ft7ZMC7CfAP1B6FIK8xp65sYSwDzSZllvfEdbrxLZhAbOk7QDh84wbQhBO01YCFroQ4M2xq77oP5MeNcpZ6g1zZ5Xsk0FyqC/wx9+ZIJH80wdOAN8sHdsPnuwvEbBcpnsyoLQVig1vPw7gDd5WjmgEgL8Q7e91ekSiRAiRQC2kp1dEDCwZp/3TT0/ZFrSLc0KSM1xi/DDh2lyAJTSvsd7oE6qGTnfpJVZtWgK5cdunjHbUfeFaYDmC5Ao1M262eo9f5qSMPxjE9GgGvoqm2GJchqvVnoJptQclqdWVma2P64oIw6J3SmZRHIaFrLuY5eteJVIJDu2irMOp1Is7wf5evtVQ0kCFPZo5w6GcsrY9CGm1cw7eAatUsG19DoTtWxxZpFXD9a4XKEVvSTtL+Z9TKzwu+jNgKg8Sd9/BSRKk+OPThM1fRGs8ZURKISIoSQwNvQi8G+0OAIV+bRFMecrLs7VvcAdLgwzgqGP/rcoT9IScucDD1qhF88S0GYQjGZjuwUOMEepC839H+2cTdtst7iNl6SgKvd7EEHrhhQUG1ptROZJVF8vZndaAgGmAOiIL634RmT9hd00CChFZno7uPlRgzTB9agbP0jpfvNYQ1twb5BzKjStOh3WKLBuSikCkoKgP/FBpWGzn3uMG61KCCoR+zpjXFaxiGYl44dlraHkjn4BUijpJ7RSGQgo5nKRNtAAl65zxK7DvxePcdMVKBjy+wsO1osu3qrxfVKMth6c+N2pjlhVZHpFBLs45CYwjpv/AoBrCKC2SOaR7kiLOzaoJIj0m+mmBcxoGz4WS/8pTuCoCRKVgzDklDXnpmOZUpDlekJPyQpWsP1jz+3PK0Sh9KTbK3ayX5ZbiswbMS6Z9kAD0IyPRfcGbMbsf5+p5A7rqqdyGjibhZ+uJjltZpOa4t+X+3LkIGK20BJT63+lSB0I/YRzgi3wLsNrM1KLotaVADGNrWg3rDK4BPh6jaWJXJ4eeuX8JCp9HJVN8p6VA2wG98sNTf7UdQ/aEx8HBqqz3MxPh7snty5XFsDN2pI0Pg44nc0pb/PAIOio0KWQTWarw4csm9Q9ZUqaIV+HNDCJehl+HG+rhBf++O0elmyy3XNpXTw08ypwGFZo5IdJcTvXicyGdqVQG++xzEO1jML3OlMGK2d2z5+RQpJtT/pcUenreWnucI3j/O/qOddizHduDptsyE5EDGn9s6UMJ0F2PEDheeh36nLL3PgvsQDjnMuJEwtFTBokVR817C4IabXu4w9+6t/U6ZHTtcNq4ZRa2ZTqR+G0ekHq9BLNyXCDLqJGx1uqDEF95U0syb2c2sqZru1f5ucM6TF+7vg+UGyTvKim8zdWIfno7zTWHA8P/Q4tyvfgIqH3L6TvpwAzLg7VKndDMrTDgAdKizjOM7jcVV1nDJfpgcdLWne6mrMzEOydfwI4ODKTOK4Z06rfm+kAZpq4Uq4xJ9y4F+U33SSzWH5GYRTLGt5j04zRpAlCEkP2/rNslCQDVTxxe/9qxEyifWLCJpVKL0m6Q18RRHoo46DoLLtKsR0/eO1YhGCjQpVXyZvEXh0hl0IoYB8YUzBygGESGX+6+lCYp3TY1JeXW0YhVdGujt4Kr1aFMQpNaMAqrhlVSI+vQiBO2dizK7u6Sd0uLXOyteal5BcKp1lTGi7WT9bivXyJ82kaaYowis8bZ9tiGgsVxDOLMRwjukvbnUx340xutBaX0SqS4Hw3qtleQZTkZpwJyhbwuOfvuxioPqSE3N/f884buTELrFfeZG8j9dPWlKyCnHjCIQlA+qB2+MTAqJRH7PsM1ECXI1jY067q3nXD+KNk0tm9BILMTZT+nb7JL4lYETpkWh88gPzh8Zgn9pdL26XAyyrD9XDwVMpRmCUxaMMK5PJ0+gwELwukCDQpROu1RIxYonXDyRKdWluJgzdF/3mh7vMX3vlSAKMj/eXFNq7llQGmJkDIK9NklOR0HEoU4REX5YwWaarSlU+Zt9nmYdYWaqsA0APr7YIqRvjFCv1UhJ8zwioJNPj1lYcJ4vG7Sl1lGKmIz9tpog+EmkH+QIJB1bhko2XYN5Mi7Ix85NQnWTooDMztPHE/mnt3Ew0JR4MJR1YONQ92RxOZ5syu7Ej6J7BH25i0an7ljHGcAKjOBXj0p4FKfHfZa6g52Uc5W5aooVrCa4Ertq1lML30ey5xjZLKpkreqgy2UriZ8Kn6FqpBPeM2hwRVxVOfIMRp78yb5RVP/tklUSSxpSp8NLOp/7Ww/uRZeaeq8iZEcYE+VbcVH8PmmhL2NmkOOy04IVuvhpUBXm1i29apDC8lpaxKm00fvlO6wvjOKnH6UEKEbbhADC7g13/pOq0nABL2rRo/jwiDjlR9Q98GnBkP2nTxynT38UYU8nr1lZ9HxMw7dd8i4dzNl7xyyjB3gn5vSFelDzjuGFTd240U8U+dKheUz/tKONdN6jKoFek9CYwl8esneT8ldbGUeChy4TreDaMoxVY6QfoRSPPt8ouAMgts2OVjoBDCqx6qH1IokX9zjpLkJPvU9km6aC31P4sV5xTsz3I7GYolL8Ze718/Ymt12K0FRf9WUw9f8v+0BphYAUjGMO5jEnJnfgSCcAlNF6C3Ds/3OksmkemNfnbemeYJfhpfFYXNfI58enrbnKKAJMEY4i4VdtMgvWLC7D+0emf30fuJ2zkFicNVRiw1Eaz+WfBg/GueiKMnEvW9QTZCjCA6K175ZLFrJVe5/tUvPg1qEWMz2kFQgyUyKNCKhF18Zskpi1jDuiM6F9lpvWVjIejS7pqx7ISRWkhr+pf9Ul/vrveRWkIAJPw606vlc6quOKgkztYNEIgSQY69WqrVLysKF4K5XDJRcSw9UYJGCXvLuejSRYaiQv+HxJ4oLHbU9IFWtN+qyvWRh7Nap2EmG+i2fNGpK0526z4SaFylCeVuQnpxd1zjZpf0Wno6IjAOj9x5/7mFtcsvYbH9fT397v9BilOMYuSFpqOxE6qjepT8felTmqrHJunCQeXHqdglJxLZOPuoaUTYjVyfkehaCXLe//i5/LN6at4kB1stABGtc23dAkdUKu7Sg1QjwkFCD6GFGLCcAICLh5aIbI2A7iKR4yacE3NSTzFP8kHWw2JGswHsvV2LlUYEVfT6Q3WFShrOe8VevX9awXIgbHSZDZxTliLsA6Hs/+tEG+uBqsh8umTjYADBiO7BqmrlCe4cvjS7JvFDz6sY5l3WcunFwfZ8LGr2AWWZ1dc0JB6KVJOSuNiMCNST0XY8HkDpr0cRKM8pgl6RvYsSVDHXz4nKzt5cngBZK8yLjRsMa8sLwZMO2VyFewiFCcLtCM6BHgyD3v/6NRLpIADLrx2224eUcwUrn6mxtl9JuQGoa9mcJtFGjvqlA1sJODHbvuVJ1DgwsAMaudtQvq5vfH1DEW6pfKEIfVOySjLbiaXaxbSDggd3aTUsO3bHz8HASnKfEoBlZ0JbKjc2RpAo659iArWdq83Zme/e5guV9YB2k3VxA1lwtsVa/SDXD63BogZk2Hy9b4q59R67R9wETqIEWIobXsKztp4E8xG1U8XTEKsvti+LA6Dy3wyG6NFTknhfqKEYBVZInvtDrR0bZtdFEBJlVrk/pkdIN0R4csIaaRhgZ5P+DT1KcV61UrqSUpZSUmp5JR8cD81788Dplb7u4Cupku+wvtFZaU8ibbjWmqWrnkOccU6ucN/Oh+6iMixcxYh1kjl8vLAEz3M55MO1bxL/kfLW00HxdNHkgyVJOcdBxTmFaf6XtjNPNZCL3ciReZfzpzyv/OQW9BwOMsRU0vT/6WCBfNVelg9wvawR0E6Ixk4ilE15Q4dri1V87TPqbCxzu5qhIxLw5Vxk9+RRkAk4DBvQFYMcSkxN/FO6DKOPcljZDHrt3i7+OE78L2OjyNoq2V54AGtDZJBYbS8KQ0fM7n3Ft+T/q6k4pKqDRIUyzRMm4eFkHaW2L26tnaYMA5ylOo86whkqn/pLeUpKmpBIulxYtzDKzRNZYNTh2T0osjWV4dIPS57h0p5APytee1Byg+yQUMnpCW5o0qT+zN/QO8/cTbKwF6VFwU7+RBxc8HqcDZlpD84MwWcSkwgrIJJI3mOy8M/jnJMlxBiPZx9UFd4ZgD4NP4VWnIOxU2QOTFVJB2HAavqU5rLJ+66oqnWpi/TYCJwfBb/m+Mb1Q6DVysNt8+kEg2o0b/P5QfPs1WARzJPqwniDPZXgVOl9iImS20JJLkwRFet9toIL+uofw/+Zn1tHvs+Mi8mjwKj5MPhNeBp2e3XUvJjkvL8rNp0htGfOdChFDe3tYOwE1jf/UpAYF5sKEQjP0QBYUvQ/DCJD01RuiVP1a1q+UbiwIpvHQjN2lWCNlzXAwb6ELsihqEinS61PUqUEAEJGU4G+XeHQUYcY0NKRYLWWG+gCCm6LN4j3qbm6zii6ftpZzj6NFvL+fCmxeCrs2D6rfyxwfTp9AWrr1VmXTwxpUYbFz9VpzImIItKXucNx498IQuOipT65Mo2LHVVG8QXNjhntJ5ojzaB8qSbJpRayjnz0jn6UnUXaWxGV3MMD1JZ0x6Wmsi5usyiJer/7XIzc/LwkjLGH0FhPGLdde8pGVmkBTDgUlqKOsdc4eVKTYd6wt/aBUoD45JTfVJPyNe+q2co8+5mdc46MB/o4j0+j53w+i+/8lnVTDLiip0/YKA9Lb7h+MrZRrR3S+xM7VSJQZHOGqyiq0E5nV5wcjsPxX36pYJgSxBI0EdSQStj7jcUn451RCoj5nXkLHjDCI7RsPw3Iv08KVtMHLCEQo9gAkT+AD9G9ZBz66lkrXqIHbQiIuDVwDIl4QwfKsHHw7ywr/j5VkU8VXAkpYnBZkuS7BvzwEq+JnObvYZv1QeJ3Q4pPOFnKtzOHHNieu+JFnh1yFIU8VVBwpy454Yf2u9pTlcF+I5OO+pu5e5fbKm8UjvuklRvW2NOWGW5tCkuUnh6fLma2zPJC599trFqwbeShvCIK9TGpKq8WRFENCH9Vrw0dXt0OW2OnBsv5MfgDiEKFkK5NqHOWogpNSXCIK8Ri57vN39d5q5F6ay68Q8bEp8u/NMrgvYLhWtdgqNdk/ptia4XYb+6OGKY63z1F+02qyKQY+zA9ED5QOyGJr1d5F/gJfVrFIXQ1tZvnAF7Y0+D1jG+SV4LbRuZGZlpqlNBs+Xm+FGJpJlePegfbQQyVPJNFi3sImaN8eZSLHY0r5CH7GelExUBjKiJkPdk4nywoCeq33qnY2n59S4hG1Lr4326TikCXX+nvEwMBHf/LbUJDhLlUTCrdsQQcQMI2FnZHFmfE5tXuQqFtHvSXtlyeBXAKKGn8dAItrsEpvNAeymnD0ds5t+c/bmoexVQ24aVkaJKeFhrGD06G7jRECduJbkuzBH6mOZeOYRnPeMifMNlI1e/EB9yLMHyfrf1PKIsKD84fUBfyc3Dj3XGO1nANYXtyyxiekDpd8FD8Lr3gA3P3LXpKsWAAeg67q8aUbEOLgQVCFGOMrMpB4gAXPG9kyT2Uu25QV7CUwWOvTWKwajtfzv63QJYRoCYFzdtH/peqnr6qum1z7h9VXMYGEJrcC8to7Mvul/VjsLdKt9exoh+bYI+2Apn5V1oEdoHyHAlwXQSBe58S0ta3y+gkqYUZbhkY0oEyHH5JePOq44CVU3QGahLC7awZ7esr9O82ohdtVbcKMuQ6+kfmVVSp7zfN1nPX5vSDZR1McUmw5r2KJAYiVE4N72JZIR65nNi0jxpfgqfPYo4rJOsfaipuSG+v7BpXLXsT+t9UpXJNp0feAQtJDUvq4ZoJtxDesqCO8OrrM3/4UJKk5MIdTesX9BWYKiiRYcnOaa3YkMOCn7zvzlDuLQQuyU8ZaFtAXDI7Y/tsfPy1Ab2VxPd9JXA5AYAxGzBy3fvIDBrhlSLo0h1fTY69V9O0WxpowbifM7hQ8JK+G/6/mfPOYXuesThalKIIzAtpnP/u9aY7R0Y7a2gxPUnGStpiXjTPrCqIv1UpF+2/RMiQxpXrmv0nx7dqMvI8CIzZQG8/PfFw39CaCChLPqLYVD8rEwLQ0uZAmieoAF1l083DJJrKACg6uPVkRLHq+nWEsMp1yUXIiyKG0Mw/orv2IKQPWhX5WZgYi2GANUaRpw05HMtXyF9p49rwSWI5NAdmv+khc0ipAkcnD8TU+eNIomKLMhukLoOWwfrKeQsoKbihd4SpDKfpCBos4Mei9wU5NN3yhqMxxvOE3wbqxVqny58UUshlNoy54vl9TyIZ37+f25H1MaA3PlK5N+7Yt26kgMSKGv0G12eG+0RfyNr+26Bnke0TySx+dK1hvVrVJHWbIA/IH7cAiC0jv48gNFX92VillAnQLnjGU5daZtx6lO8HXK2cBLso+EQhth0UQEzGwKcdMib6AM7wznHCwU6L5mvAtRGBPPzenakgdHUW84tQDoR19W8BpAld2PNFywhm6IjDjwdAa8zHe1Jlf/DZTtv09EOh7BwncADsNAPOUqZ2cmD1VlsGeEocTnI9d/HOt5XXmWpzAYpLgEDRsmbUK7iESa6GbFs6YFVwhO5b2QcVxEZ9TI6uNK6/RcZksF/bac8Lb0rN3Yp77z1sXQLVPbQaaOf90aLSrHD6g0qIKLcbWtP/MQeAireaLp5JehZj5WlWDmmbWAs1+nxBSnq23pZCWba3e+A/Pn4TMUEUhOA3XW7f02HtQBChRcdGTNt9aZViXiEDvJtg4XTXkPIWdkB0pMiqkUYsImucJV6fK68/VqKbsigIPEe4+euI2ZeDuG6VXIn4yFe6mVEPKEL8eDfJE2g97poLwVQH18RwYyqhk1VitXGMZ7FO7tqirPlU01G1kIlIaZQJmxvwQkfKQn+5ZbBPN3RP93RonxyR6PcWICYxWZU+GmIq0V6XjQlbvHiuppLWPjdm/IUUftCL3wQaFBizj8M/gXoVf7x/MrBWVMpI5XzAFJPxH+87sW7csFlE/D6H9hJJOnjC7p4QDlPhGxS3qPoaMSvDe9zebFJTl0limJQYudh2CFIhNy0OCuTWZ+sFojsJSFs7dvZMU+/v1eyXq5h/XLw/+OkpSVLhUvK0yAds4bePUkWeNKX7nnjci9HBBDkyItYJeMpDxtmeiPHjCVWd8FwuLjMfiSMYj5PSLN8OMbHwsB4kz+eXet13xYcJOyp++yO3Es44yX443nCmIIvIdjnm7Fs1RJx/E6fHCE9GKeoKqI9PSIc16pu4hx9Ncta7ywylI9HwI0bouwrDa3G028DP53+93NIzfM34TDQQtR1n35TM1XgESpwZBfJoSjo3pysXXMzOwwd+BFVSfPeJmlm79HVqj6HaICvlTruqzpgj7cvaVsYw0xD9w8RWG4BvYfHHo+xy6G6po2bmcNjeB5w0NePaED40rgJnPKXB2EO+mDkTv0V351uJnl75WIyJHBcHLiGdEGaZpUQ9yikMly6f6k+2KdKeauiuJS/SzCduwHeBEE0eLz+mnGhFcyPAXgCYNjZonXeU3VEmao6OF4oGQEeHycTB5iDcDzwv9cwzw8Yj7D5d3i9re2rZWA+2pKabcvtwmmoTAUX7Nw1ziAe64KSKTnEsmjBxpgahpOhVN3hTTFZPaNRGSdJtvkZkQInptzKgRtfqvQz3oRz0iawuNt9peEmsPe2SS8Ourx02J1gGvKQyvPfIz+cq5K7QQM71T2XxBCGr9n7/t/m6QxmFPJVr2OTDP4fYX1ns0nyqDQaEhRdZwpQZEaFMbCOUpoc2ZJp2UJIEjnqvvLu6D5bRfCaYqHBuIhutyJ7z7oEjK+2GMfxQhHnJyYOeKJKSsj2Xa4IUhqPTXVvRqFfgHlFDZwjDk5mYhr9xoXhdQRLlj6BaHhym0fB5uqL0amD6DEG7BF2L5uPNuDr5vidDOvJfSsgQWnxpHTruWGdZxy7N82voxMFmcHMKMoDk34tx2MqTWCVgDhjZqD8sYMF88f6Cp7AEYcaSJUSYU/s9XTIW84pDxLnVZsqm9Y++Tcp1pPjX8zK1VqKHNU6Mk/nEvTjeELiZTybrc08A4O9aL88I/CZulwEKytdEVADjGhY+34ePhrUuUQy4KIgCmNMHnzl0RS+VZtnHRC7pvdcS84KNwmM1Rb0SegfLpRiKu+X3I4cL2seLehRVuuht8bnZgMQun8gm5+6Oa4+XgGNEu3lH6phd4eZJMesqY/xxeR/89tld+uL1MWY1yWpEPQdeAOFBZj5u3gZ/BLwBnyXC/FRPDQ0Hu4joUu6N7paJfi5ZzGsnAyzX1w+WyMfWkH85Wmq5ljPQ9rleKw9idy/j3XErhXcNNjW7lvP2YxoHYZSwBpEfDR4bHeAqFPKVq7xO+8CnYIQSI8OueukSXs5RUy63P472tN9YcNsDQ7HhZmrXy2QWS1ZXHdR7uO8Lg48Egx+YI5xElqrnO1CnlWDLnYmx/ZEmFYykDHrfmI4QeTQbw5QsAGTsZzA5lS9SVSqD6Y+M5K49SY6FALMBKz2+fijLDsHHzFChviZ2x1wN3gggg4FCGN2UCw4qkfnqCg3RoBo7rTGSFojtUGlASdZuK3HQqYJJE07FEwYH7frcO2nD2jIZxaUxoR1B/qHVJ/pD8w8V/mLI5nwtW2xmIlTIwMG4V8++x8+egCeSwGTMRf3UlUm9h0Z9o2BoE0ijF5HbtXfIYnMtvDi4Bpu2CSMXCDaYV0kBPrI/2AieoJD5ek10AML8ufWaseqsx1NJxLmy+9qWaZhRQLawtrj831OpljmIBAyL+t7Sz62s4XJhzXQ6f7nx8zACgwiLdVzNvaEpRhCFpRdK8ouyxu/ES+C+tK73SsmnhcA/aH+LGom6tFxBMcMHrkEytDF17TIeraqhwDLIVYBfQhC9BUCaCdWLSaEQ6ORU3iHx00OIVXGu6RpkryfJSub95n9FZSmwe4+v+JB8kFDxvYQfQSsL3MjTot58drfz6v6yqhKa+SZZNvlKsE8f8J+oGvGZIGaZeQabAqTBXA8hQCyEKpLIzLnHf79tH3d3FcZrY9Cd+GtEJDplhiPTqngNnetzJIiQdQBcIsITxrouiXzF1dhDEhfYwgi0CJrySPUJg9KwKZcbO+/wkirMGkHZF8dW2/+S2FkkhB6+GBZ693FJhqx0Eb2zb+vA4UBXNPgq0JNDab1Zzw0xipJK21zGRmoJinTSbXm3qA4Ju2dENzE3HSKtitbGISGKvgn027XLl/ZyYI2TGl0zxRXlaGy4MOVH7IM+tNlu4XObSp9bIvJkoaflpSOxlRFqJDGOP3KGERA2exxiiu/tWWZ/Dbc5BXP55U+GJgDdeg/De9F3Ux3yqHDbQ1Ievatd2xNYz6/VUFg/azlg/JXIKATGIRS2J0u35Nbd6hsI9NZgnNeDspUaIfjmcrwPOuP1Xt+u1tlbMDaQs3kqwGJ9wcspYARZsclZxo1n0iTQ6bufnkk8QZkAxFUFBHGDKTetsQZkP2D7fEGU/ue5Q5ESaigdx/+yaCZP9TjwLkvs9EgTDkZFkphx3VxX3tM2vVurBiaIZP0hucdZmaAgANkBRYA+w17FN3ONde97Hb6O/aTvP1x5JLNy7QDg67Q9lB0FQvsA+ID8aN8g3ITacv50c2xkR2OXbP0vbbepteYz1v5rNXERldb4j4a1R6zqW7fyNIbpQgyccZ0g8Dhp8cJGBa2aNCfl8ts6/t5Y04PIqJrktvTQaAtL5rqpUrFmhmV9x5La9C3csc4WKEU4X9wEzOkpMg+XeuLtt4cSftzHpgyj1B+5r0ht4ohupMhEWksPuWJGt2hAdqWx/5BNGHkRVPbPvbIKcFZ1KdYyYHjPb3TsOfgcq9is+D/22//1/98SZufQ5l1ZqgBKxI8ydKKzIs9qvpi173AXf2NsrVecadWSGB0lC5uORbb17ZzfN1D3FNScJniOLi3WUQ88vNmH2PB3NHz1kGrK+NwiEsFOIK6uTUtRc+P4OmawfETK7E03s52EnkITDHx9wPKCqTeWG5sPSsE0m9m32Wq94WZCR7++ynxdxNV3BsnoFJvYiOW6A1hCIDxQ2c09+IxuqyCldlDB5OCV4iHnNwzBfVQSBIJh38xYDoBz/h1N9A9mP1RCP+6uUm4ndFj81ik59C81t+75188t51LviOHsun5JGwjwOyqYpMvk1VtVBuGckUDm9fT4k40jR9+ARwGZrb8ZDul+UD4Ns95PHlrwffEIasl+MPdEW4fCVUNuaAh2SybQc0PNrt9/jK+MZa/B9syB1CMXoSc0UX9RRKQpFEdXL3Z0rXWHgtvA6buVu4K9UcsbBYLjC/wnM8orkgOOKi5mydeDOHR21mDUu4hK57B9b7I7ixiOF6P5JTpVcnmUXGhTwlcgElIt5cZSysw+TXvYCJQVyGp+fRo4sr7au52+dslzU123lgCGcDJCjluQOqWzIx/7wcQrOG3YqHPCx55wgLUZ2qi8ZPnTFubEbXEqbInGaYAC+pV9IxT+0PKxm42QUgQN35dYfyfvcC1y7Q18InUh6P4YxRyERsMwiXzDEgQ5luJFLMgTCIV9EZLC/LleWCJyieiz1Ya18urFfM/+Mn9fdSZReYY4ARQEUBxeb8LImdhFKAFXbNJOAbPDI2kcsbaus05I8qF6e4vkQkVlVsVm0Cp99f+qmcJuNEW2jki6ugkgQq94maH3nX6OFKtCjXajnC96zg8O9EUaKobr1iJcFweLITy6DgMYnjiwy2gRaPbugWPmJ0dSvsg/K8X1k/uJT/M67FxX6RVk2omCAXdIMWpazYgHlhhNAhyEDF06Th6xf5anxMwWTaUkWOlHXCBQZ3lhuHoPHrqsHJkTomSFSY3GqnLSeWWPCjwQI6b7ihYS8r2gXlIDeNi+5+NJhb7TkTq+BJAb0zlWwawSpzjkDHWR5DbT3pHybJeaRQphzM2KLjdcqY94/deYUQ9WMKW24TMyPMtgP0NkZcbW+fU8q0KsPKN6NqVuSuqudNJHrTLHduOmRJonbKLUvUudK1UkJZDXR/XBbwWGcbRb00GTLuwaW0DDHmLrXrBI2flxqxpwOI8BbEx02MJUj5KElEnv8zK7g0T71so8+9hJ5jfT7Y13OfzisHAJUrCPWg3j1HFSXva0pdYDBpKrNFdQwfHPqFZjp6+jxtIw/heH5Nv5B8Y2goDw2MlTOhdFOUOdXDTwmiqmUPM1mhM9PmV0pLd4NytpiX/LFb20bgNAy8Ed78RSovM1XyBvEORwH3lR4v4seq1syz6sRJ8PO/mEElnWcyHmZUXA3C6MMeWZMEHeew4OpDjBsysOStMYLaMh42uljpxHHnS3oOTziQQAgi43V2rfE14V3rbYC9yxeuLEYgcDmv66pJ5f9KZdvI7Rg02MfBwnHcqdkvwd2jEudvOyPu0d2jWSJ8yRxNniuVOnm/l4/7uPKRN4HQLTz7rHj6J4484IyfM1/utQjajXWL9GJ2qlzzqPmHjEQ1ZYB/CpzoZTPA/xp8RkiFLGeX+ROvjsLH2QqnCD5hHs/olTFOmeU662QRVlTCZN2NW7YcdkRnHsuRaWnGHN18j4PpBvKF7QOto+fYS8H4myvqkt1dR1bq8x/xcTvI1PQoK3pdaagvY9KcsdyGPOsQEioBYq/QydHTrjhYWQqfv+YVbQ8Bm09SHbGbcsjDJWc55JI3xMN/dLogKd6YeykajWWOehkHm+wsXoxV2Bu/leklygun4yJo9Fenhfq3DsAkQuRRysXvxHRAOLx+ce2f03cxObPSV4n7zSSBkhjHqp7gcZUP0gBYp0Gaa89tNk7Vnky1AIg3mXlnlddktNln+KYbXllvI1wwUGl9i7XaBpR14tIp4GQ/LkaBvCUPcAZxzlYMABjEeBG5UFQJLoEGDS7jN40LHTlA6Qu/0xK2rU/zwA9UcUoOlY625F6dhRrvGkxVB2bUFCMDEM4iBHWSrot1Y2TyUgpGs/ZcYCkXpcJCrZEVLy8RZKxYHgwx4j4QwMA3QN0ktK/1ql/yf86iAMvplblWvcTK8xdfiJdJu9VBV3rsrUB7QNEu47DaYirdfWDCSG+ZloR/6mEdbxPwJKdwRj3gZi5ikuswZit7Y3UdMsDPH9UOrX3HKacvegMXSZX6IPAmWGq3q1K6mIFvDrGQHV1BMaeY2kM5kkEwmgk/KM0TIKv7r8tkNA/i7oJefbhFtmlFmD0zpxd2jdiLUMPYwzSWq72zgA1mHjwWA/XGUFEjw2gbz3DvaBJc/mP2CCuc+RhUJNAODj7dDYpCYNVtPuZpOB65fgB5lEL8t/9ZqMreC+RA4oLTj7r1DlFnC6sTFEvNhUITBvnmMcVp+paxdOCHvxU/UGNccpGbcrhdnfelTROwcDA6o5QSB0bNTGKZt3pA5zNlbLq+TBdnYqsEdroGSYGncX2BPB0M53HIQyfs4Beas3DJc8f4uFGzxY7XTcwDu03W8PG3imorjNPk94KOcfHphzsv/7PMH5T6YZL4FhZzFgUQmKLUxCsLddBydDE5Zc25zIZxlsW5o82JtxXbrfh4zwiCx7N8xqPjh1QvL2LCQpZ0Hfv4UT0oszwE/tTiOO5O0i8fNLSkPGd9GUwGJHZIBp1hkkl8OrXv8/Cv5u9srePms5WZ0iVobP5RlhT49Qv4Si7LZNFF/W+CWdfjtQPdy6l0XDRmUsLX8CY+E1wCLbAjeZH0b78EFsRBB7oVy5jgGTR9FV8WM1x0I7TSLZN8VgvwGiZC3dgBMVrNXQdXkA5JraCzuR3sCl/0YLKk9X3lTiWnZ+34lpilZPoPpyVDb+AQBKRnKdRm06rpGpFPSJLRkcuZ2F9fYvnsra7pu5Bh5L5uDCIeRD5GpZrpVY6qeFHVbl/t6SDshmHFnzFsepfOYGVBzHaAoupnPw5pAM3TeHb2o5e55irJvGlA61Fq6hX5y81Azmzaq9FwpLMq2voy1jkxRymm2HPA5nlinp8oZWOsFC70m16Rco4uDsLHwywbp+fA49YJAuUEvAdczYY4IfDxgdyNP0rAPLrol/3oMo4xuI7CgtUmM3sr9A3bYqzwzlg3l6wNN3IxcwoMMxMEvr8J5/AvLHMv7IDyohXC27m9PoYgQUEOSO+ad/GU4x4zu2hAJiLSdmrDIOuOhMBBUbfmfoLW+LBB1KJEz04333IK9GWu/BUoFVLk9teZPqmMViM6YGzPpYF9tsoWmDZuMYlI3q9udzH49fAq7DENDW3FrLqy4FZLPkmr7u9pQAXWy/zZHcNtg7/PQLEkIH5QML4tbNir0Gs6IaoqEivOGPgLJgW/ygxdekHSz8Cq6JLGj3gsVuMzY5z127RwtZJjrKf2taYYSUiyukZ2qiwsp4W0iSZgSH+oHiASe7uVdzJeVCu+KxFaXr82IPqCWLnAR2Z8o/EpVB43d74SsDn3GBH9/Vb7C0NsFPcBRFK/3QmN8lrJa6OWlnWifV78z+jxgRG0RVlk4dCb0blF3SbmqnAHOQphDj6TQExeT9FTPF2wlltgnKi7PQmkfVAbkBakGVTFMl/IbJwQtuvuw0y1r63KSUZS5Zld61U/UCq8D/U+oOGKFMwaU7wRGTPlbWPSBx88BSDXiEQCC9WcJVJ3BXhFssdr5BQG4pMUNPfSaqzxLBoBVc6ZwA5YL7IjnidlGJ1qjUuhTTDAdoO1SoFZv/PGsVeracM/LEwh6cO53CgL4jaPkjuAMM2yQ3Y0+czbh6b/va8zv1NvcXNDcb95M1ljLv2L4vtwhXXQTDqKeY1xutp7Ttas4tRKLUNzh9ZA6qSmXoJMtSXgRPU9Bt79EUjSwPVKwtH37vfp+uf2vkjJta2H4oh+QSDSHgTIhwKXXzxqcNfpJ9q7Ct62gjiAsnlfn3rU7YehtcYfJafO+aRJf0bZP16mhUqF6TskM+dAEhfsImTczIfppek1AVUxZ1Rt8WRxERBNFtQEJj0YHxQ1FcPE7cKa/RGrypuFzg2V5atnMoNiTJaEDcEHicZeuNwn8g5EjQiHtL2OTY+ZXHTjIVGME86JnI9Z3RdbEr7Yc4lAi5CqbM2M493kfdNgTXH2u0RdMoDpkUk59g8oPy9Ww0eAUn1WvG279Y647sRWv1tOl+ks4E7SerqR9LKVtPDWVCGiYGL3hbIpx3q6K5CsL2owE2WJYqxsU0QxYywCBQbWdcHrLFEnuwwFyyNlej+RW35TF13tYmbcJEEKgHhDySGkkqbfFnXh+jYk1AIbHxDGZ4xrBP0LR8szgrzLNQttkTxSQEofs7aA5dOltrWGNbjiboPUKNgQqKyBe4+svPYXpwkuG0i0BgiOH8C3ipIepeelEzJ348cfU0CuruqLTKwu0E6jgCyNmk2e/uLhb8tvPCSyiKhmEoY4vMxcUL0O+E01nfs6nNs6klla1sUyRbEF6aGohwYcRd9pjAwsOPrX+9DBxZ2ZHGVKwBH27GVpPDXlIFaf9TM/Nq5dpPnqmXugTFu5/OH70Ri9+l4gJDgypoKGfK7vB3UTX9sVHCWSLBCiis6MEK+93dNk8OuyUp7vklHkSjP9ipEKFEFiP52IkyQgSnCloMhJeLOYUe8LBZL17ztMXc6I0XrbvoA6aYW/4LM9Q5FGbLUru6hatz64EIGHlRFZVRlSYN2Q7IxI/02mceJCoklRsDkMC6k7niWQf2ItKk895Dhat5qHpWyYJhgOHXEDPMdmX2cWZ29WQyRYwKYP4kWFqPQVBprDXzcGSaAZ3DWaypTTxcuVt4EOWpX0X0agsjj0pMQw4eZu0/bQ6g94rl2eox3223ygMaLuYDZdR8xOWTs8bphfoLXiQf/UG//vPkT/e0D2b5QLP+o5tiTBqyG1XgFuFG5VNTGAV8UOdvDI7G8IGuup7YRtNCC/uB3Wv23Z6oaeFw+dBOR/Fr9sdKzcFq3mgNWC29A9Dk+XQhhvRAHogZoNtLjfMzX71RG1M7aus2Pzsp3otoWjRSSo5uq855+FNIh1oqkakAqPVmG1eUU1n6Wi2E9smfvHdX+ErzwCOdaC3xUkD71Lxl3LA+j/Yc8vDt/MYNiNcYEWwt0TF4ah5QIhuMT4gGREXTZKBHVV7qJP1qFDl8iihpgFlo82iPc53wGnCYVrq4mVsdZUVzINAKgW9pjfp1IKLM+tbi3WzP/jzyR+/VYrbMfPA+XSwPFXHflqdIYsTTpJEWqQTP0zcQn2Vro60h6hltp21mSgDTaeBaOFJ3NumcACntQniRPgSR79SXEYr+4tEoon34nRqXC1XSNvbpNhnVHgs19TVvYuIqlhKWTefyjAwSM9hmkEGCAdmqCtmW0Vitd1p7zDc7z1k4FWhW3ctyDUIlHvW115oB5MMe0J/CoNiCE0fbyiaIpIO0HB9NuUl7cvYDzmA/V/Qhd+Qqdxxu1QiNHmRDE8Ate4flS/GdXbQ182hng2GcuCN8pJpEN6psOEqy7wrGYGH3STwXlKMov3IcGvxtT9RgrEBDam8DLnKYlf8uwS0C9NNg5vLW8L0Qqfy6KsibGfD1h3pHGWxLh16qXPbpOJLD3lwPeXrRYNmdDimBQQO/9MCUIG1D4lkSv0XcqJstHNVkrZmqrV3srUkxjW1YlUBGhVsmdrs1ElUyxVasz4uXMzgk0B5fB0WwPRu07vB1+cRnfbwOkXCc8qcoyWAyiUDkZMYcmvCQhx7FUEKDwkROUts8ZUeHYo/Cw+1LV5MlgwkEWMAliVgy1Amnh+GQJahLkYOSU4aDQD/MQH4ev1yEIutJ72CFEfuBwAGuJvkSyf/sqIOg8e4/Wd6zTuOWj2lLmOMkhqQfxT4L+iZiH+Wx7qTjr1MyAzbL/PKc9g1dr5v7fIg46IcZdsenRA1xNnEmoCEqM+q6N/iaSgo1o1a3bLSwLE3kZmRt2rNwlGC0+b0ButNaclXbuXsBA/sG3N2CgIrpGpmL0UxvdESyVVeB19BZf1/1xXH98hn0MfwmBCaGHFJ6ZmVL4f8xVGGKN55KYvlOQGPCGpn81MAHHWkRn1LL+Ln7Cvsa4wzIGBkcnBIQubGmt/AfaaDAl+VvfPrNCRqZ0KkzNtFGJn7YeuI43gMnnDtt+6SGCNdyTBPdPULaPGCwg57hEicCQE+X1ynV6Uhgx7+JOQci92mVy5rUpnYh8Qi+mp0QJ0WeeINdEswFxRh2wM5iXB3mY62u5RUPYJZprHfy33oNLRZFU62GAKAMqILo3MobeHCzzwbd8m7sNY4Z6roup2KvFMUUhL0MCD554BFEy+tb/WBZhtp9jCx/SXSgGnTSzBTuGJm7YVQK51pQ5pLF38adBHh/OF/JYkR9JxCQUgzyIUqt2jjLRcVKyotDfgxOAb/9daySWsznot7QYXJWco6c3JjFB25iD8srXapq1UZXUAKZq0mvVNNoLf+Ytx5gCjAxqfudrzwHeMxzzRGV9H/9X8mb6L7gyFEemCIM806sITcHNYvnjBCcqlp9FS4ZCFd26GkYaLHnAvWUGYMpNQBbtXppDEy5GKU3NYvkZ9+GQnUZFhd3YXE8zN7mgDCeAxR3T6PFN66gs9VQhk5BFi/60V6Otc5XXHaWOP6SnDSf0P3uDfVxqh5TWtbUEdAe4PcwW/uFrG8mfeT5DsxTzml3B6/wygLKHBcYpdldRmxsEILvEWdLEWCWfoNiCdjJ2bMlFfpXaQbqwo/znWQgVF4j1lpNMy9isD9ImwG4rg0Tj0D8gVw7uahx2fzphxp4MbwXZMebVv3j+IGXmSh2nT/fHYmm9Kj6DAj4jx6+yIFsMNHKCY+P60lSHwM203lx57A3xvIYqyvJqdP3mKBmopgWDuqxBRv72LpVzkF6w015+01/Um3vQbRZiWOFLXoxblJhhX3vP6gMBoVkvFUMuFFiC97virH7gG7YbDAxaJ09vTWAQlzI9hWi71GCMwidpLh1utxz8Och4lm3S86Skwq9KOeLbmadzs5XqaXGVwej6+ABV0kLZUKxiaQohTx4FSpxaH4DVMAoiP+yL08xqG0hYMJ1km/YEwneWhftND1Iq+4WL0YHXnzkLPwU4GJwvba1+H7+qiFXWmByuDcihBWAf5G87jWydpvPTmvpVkMEsay0f5FlA2LfDm4PNVeatlkkCN8OcW9AowLMh7xSaJ1fiz7ltU/bRxjCC3+DoyXNpfnm+FDbJTbKSytTB9X6aOVUyRPoNKiRCQYLm2QFfx00x8Z9/jt4+ofGc/fzcaWi/TMWLPP7ddxGwq1n2fzTYHgWSA5RCLjV+YMsNur5DCqqPk4GumPuAf/7K8jD0dru4lymwbP4Q+CwvCYzXaNSmAyKWvHchE4x+3P9ATFmUFAvFDbOkR3vO1yq9YK0vnSCFrcFz9zj7dtewWXsJq0FxtN9GIOBqqns9S/FHhbfc/+FHFgFhtOU58+4uFeT0jfMAf7uvr7Ou+t6vLQsK6mTVpVvZrAE+hDf2ADVifFv9tHDPpluKrISw5TNDbqggTUrWJfPD72zHNPqk05os55d+JI/Kx2MY1ZxpdQ53Vfo2jL7qFaojlYDjWxgvKM4y41kX89Ldpp7sW0NwOaEFR89J7PC7AiOm132pkQ49Nk/FU6f/wcctSHerzoQqe0Z6AuHuPZQJPqsgr4Lv1vjyiDLjuDoOojdg/mvol4y9HBxOa1pV0yx5ZWTSsyRw5xLOJHscbWb7kbKvVk7lfU/tWfy4oaF6TIHCcvvBI8eYOwW4QSg6E7JUSlGUrfC8TW4WBB1rGekUez0p6D9n+8nnShV0cQkFx+p6nxbRJNbheUTcYj2Zlb/b1NX/ylERP1IfbMhvd1wlXHoR6FwdFvagZDSLwf6pPowtO/08i6qJ7pQNjKt7F2i3kCBJ781eFfAq7lnwKa9JoAFmK83Mk1o4H1EgSj3d81jU8iWbHT5/dFoWW3l4dCP/GsIagluHLMfOzOozWKeCJVFRjOMpRKfbyN6dM9o4dyLsvvLubIYm/5Iilgu8S0rAk3bfq2t6PWtOiTPGa5fQ0Neq4lbKdvuyTrnffIA0ji/rTRuFxTme+xHD80twmw1BSl9QHmZpghQ8G3DHEF6xCjioQCyeP8uD4BL/5ZO8P4lVDv+nUpP9KLZgtg4pH+YHmLG7L/mvFqJN9oRur4ZcNivuprDCZrX6ViGWLIBzQ4DUS/CLzaEw57rzs4tHyEbQQjSwIc6NDQ7WHw9bKtKf2BbGG3WRtSSbelndN5dz3CQ7O00M2HLtRa9KlXt0VBp20XQLbZ8sSnxY6de7lyKkZUxYSvMCxvgUqBcf/0UHynH+cejIZFCA8HhjB6kELUouSbgs/5+wGlKVOLI37SlVZ2sP9qBkUnfNCRBQv5omKuRUFvSIfvCrpaATRmJAJS8QePiC2usTrYDW7JwMRdPjkBavyzM8RjKjYvkPlJEB1kM+ljO53ZW0l3ctgyUuiqEwI9+0wV7b/YxttZTzqYHxbkXd4MrYv8RPP2Y7Q8grbjVDNhlvo9bUokJusXYaIJjSYAxeUMdojGwqq/TnQO7+wjvnrivHWR1yofhSzddcWVG10pcJkV9VfKef/1j0kMJVkWn2gIEs8K7NITEW/6pHxhyeLl0FN6gOSbp5fCiGVrQGO1PffI/gqjuRmqz0g6i33zd6fKWIhrD/dMC7loPs208Jg31T5PpO0269aWQTal5gHyXKZa7voERAdZnmtMtKUpXkGxh7wcwVxXsAvSnFa1l0LefWvkI2FmFT5qippdW7ipo4HpxkxHw9tfRHslBvCzL2NDn4jIirPYmCsIEZDPLYxLZK/uX4dZJ1LTGjVvxOZ4eUnCH94WjUHpf6fv+hK5OxXzMW4ODJMABEA7tLlSNAjP5NhMv9p6i++tWakLGLkMvHfY56v0HMDf/1wMkdZaZxKR9MfzFJvMR6eZ7WNnYMzZ0h5vvcE0LqakDWq++87SDwVpwyub7r5lDYTPxf+8Vy9luaYnb8p7RFQ2k9MFNiZ2bwv8tWhECVOQzXwnIo4iqq1DhcQrGWVj4466Efzf2xUCo75QG04UT4MYjDkEsOiIu7uvCsBiz9s9AZtOCxA7L9ShYS7ZlP1Wkhq5KjD2nkdr+TT2VLz7MmsSey7xJhdbACg5qYX8ekL0e9Aji/nradFOj/LKTgrAN0vfvtTiT0Aaw7CAqXoQs/LkNwld7a/KyF/abblOVLlnpgz37W5IxkkTK5LqI8SIMPzSqYJKfTW4Hp4IK1mV/te4/5vF6w0u+JYGBW+//3BwTX2n/+c2ioy84LRebCOiCUXN/oaJpJEeo6bMGhdunN9EEDyj1k+vjba/9LkfBDY8OxVUxZqNbgRSCAjhbFVyVeVzo252waNtehvhTDgGdfSyvRzXiEz3f8te+gMpDEfIt5W5V9NLvBjQ3ML1xgkYWD/yKHgRK9N5egqctu5xG5oHKAROlcOtEKpFeeykNDHK16viF8S+ZBdml0kW6rkpnY9Hl8ZnWyQ9nR8B6pIMp8APDdKU8hAGiZVjw5/Gt7NeHG78oUBV30TPZZeNg9mQqO4u+WIh0KESDVhL7f8aeMBRuy28HPV7pWVat6rcjPSgygzPB2vUWAxIQpmkR7GLmawQZ6mR2IHWRsK3FQSOvfQ4+HfEo4geOhxHYNco0G3QG6SAFt+PBc8fZvHuokdAS1k+WhMHWn153wMk/VwBjd+yzq6i5+IehoAo/ChTnNBvyk4hgS47gVoja5Lq3AMrLdgNvb7aOlm7VRg1Vd1kDEHGUHc66kOs1v7pv4s9zxX28eHMUYCToG3NaVxVk9jutrPSeFN6R0xhQO6ZsH+q8/Hfp82xMEeqNdrZlhbYkigOK8yxTe7XEKukNqsH6CEDsEzgBZYkGWkhI1hYP8eNLXdVCT0C2MQzdK7NmQXuU51cPpjhhfAzYI9u9HMQgf5GLxZA+CWJ7KrCeEzHp4eb1Xl3KDXwakJlmquArK4AOB9Mb0EMPBLE4Z9kxBQIXQOZO+v6RFky1iLLNkgvP9kBjnAP6jhINpYli/mHNCeZbcYqH87nQdYVXU1F/BskzIS5wcACliBSG8DIB9Q6EugNVa9uBCVqRhFtwdNsL8AADl/Sdgy1EV2jGminAyYAROdFwTEsLkHMihS9qhieZ1ykFKLMKTW/9lHvc7elHeyUMu/nGRUFqKDTgKloxjyeGKi4EwJeHtc9/7OVrAxmcKv7qc6GunhZUv/XZk8czL1iEj8Z3IvZJKoQkRDzaIOD2Sf+yt72m+6Df/2csOtqGdHtRj+h6nL8J42YwRRzT512SGsXQqat+LX0ZHzOpEm0fVwHK9nEjPw1dzLAwVvlJFHIa0dZPkiJjxquEVGwGY+k4d4bYctsgU4M10aJg8RldrSU9ro56fVT8KeVpl66m6FphxfxLJesVYdY80LrUarH5WVTB2dgHXHmQ6RNsxmFYhHgpaR8X7l8JYteHyhcLoB8i35iajnX2r6MWFrNz9RzN15PR3cN6zbWrFcKFT1Z9STmLND4nZfdJiOSc0/cNXarIkj5SH6ze1A6AN6pzycHrAit7hSfnoqrEdk27J5zp5LxhXb9sRPPd4KSE3P8rWlLOhA0p91lMAMeU196d39E4EDwLewpWFse3IjIn3Znw1LsKQ2QuATYojXs8jZuUmjNIhrYoDhp1+v+fPS+gIKyj2D9znDtDHK6LCGFlwEQ0Z3aEIR+hIrpWjddBg35DkowgI5HDm8LzUD4LcyCq19GnO1+GUPLBFIRufm36Lgy+WkfVrzA0JwD3KGnWEDu23FCvaRuyeI0SH0ljSo3E8isnMtDafCSGRQQcKMEdhlwm1wVIps7JMUHWJNOeOd37QlKSC3Hv3WAroVrSIZGYvGgp518PWyecsmm+QI8FHfOYoV+zK88oLkuRytYd17fVGNGjbAjTEF6mBkrB695GQVzGVYN4yvBEQi9gaAyQKsHSmDorBAVn3+Gbcv1haLpe18W3rq9Dh5tRGzP7sMcpb/Oz7Y6a+lWtx25SclPJOgEFihmptUYBPhN5qXXekaOWD4VbQq3dnTwdfxp/TVVE1DasNumlePgSm8FK1M0NGii5dbEuIRuukwILxPveNGrjiqqL7jBVc/FgTczobMjFuH55VqDLKMF9LZURSZELqlD+/Eym9HUoS4vc1VzqO4bWqSkcCikLrZGdjoRXZ9NtynGkXxar3dHL/SeJjsWxKHKHx13HKTUD0mUTeHyGvmhJlVpN8w0MfK92HxJgCkooGGgR1JJyZ7ftiNqZ9s7bFEnhHA6LK0sbcrSdVlZ28A8eTfecWljUcs9fO2RW3jEKB5NuQdrrC0Oj6DHgi9xt4l0om1FTZ8kTXD6QWajp/mzMNIjATbC/QTHiI/P19souhVSU9G7XipfMPeMEgDvIRgp/OJmYU64V+yEHHWt4ILuGtEdTV5QR0OspcCQpA/WFTWUdSLfBvXf0OaaIgoJNR8j2Uw4F4Id/ouqFW5ops1iVQCEmscKSFLrWjBbVdkwZSeTLKt2XixTT/v7UB5aTMyjqs8P2Q0iyQsXXIR+uun3408Di2K265s0lvUDcSdWrCUvEuZnvhAmZ8gw7b8tnKj1wvydbe4NC/24m3BEwB0HtbmO93N3rU0LrXOklsBKw4XMFRwAW9mmQ4m0kPzqVAZVIbeMr82b60vC1n9tpJJ95f8Wh80ssCm5M4O4Vmu5pupz2q5dCcpm9/TQLRoz08ucu2fZLy9h5tMlArzGwrysH3NR6awmgpoE5zGe7VmM7SqGQh56JHSOWvEjygHR4VQ0fhvz5GfHc27RTtXY2aWMph9l3GXU5W6VT5MCwB707jnYgL8kpsfqLMmFK6i6F1c+cJrdCatWlMC3C6zXZFmxbjsGkkymnhoebfVNDf+qsRoMEe512Jx4vHuUjEQIU7efr5kNuWLX3ZyjC6Tbnh0ngydBl1KDsq+xvNpuPxf+txqR5Rev2MqmWdA0gHZ5N2T+t3VFLzQRSvjcXeJteqyVyg1dOTmuDRIeIHQ0WhIpzFQwlxYdEDfEXZsTlD/2qdMd8QsrWaUId9hwhwBlgzrh3EvQ6RGs20HNeJ8FGCTUp8yoJzGJzOirIfFlnHPfzlf/MLsd0zclUDJg+ZQDxrReAlDOuktPGexpLKWEgBBs+gM+KaayYfSwPEUAAfLsj6fmhPYu9ikU7opqu0ub/9HbD7DLrWh3ZCsLfD3oMslGrzV9pBym7USM/HM4H8vq+jcUUREKD1SuOwbLlokWUFfrvObws+D2mfrcvbYiR08TY8pkzrgG23KZL9K6S3JfcRjFvDezPp8Aw4Y994D18WMPvApZ3Nz2WQ23lIFJoq+ZOc6oGU/GKdlTI3W9hH2co1VrKke4KH6lmua7DtAsAZDQq7TC5KzwQMxCF53uDvA2gwr4TLZBjsgj2XN56bzlfN8PLVigc4IUuHqCR7POh3Cpk1czmIwN9kZOhe4JGXV9zA2+GoNbYhIKV1qfcHM48bR8Q4LKFrrlbOJsNqjFthfBTYOqkuD8GBm1yLwHtVF1IDmU+VcPYg7nXzYbxuPu1XIZ9resegI7CR2wqSewNkUf23xJ6N0hczvJ+cabziORW/VVFSU6XC3ZGvnqqMkSbvaAWQqgvL4rrX7hAuL1mGQ5EnS6Wam9vkMg9BT7mf7DyJrPrYUxr702sOivanfcTOERhgXQdXKFWVOyFEQao80Wf8omfs6SsH7TRBZw7KocUkDMzJvbKgVE9TicoALseIFEi1c5QU7ElBgkuTRRF3XevTOvMyLTLmD72qldDMc5sQXyXbdySW+PQ8fNeH69QDeIiUOtN4QYAmHc5Rtu9NRNKsXDLgjiaUAJyoZJqwvYCESJ8VvfnIQs2Nn297lys7SpobFm58oMXHdKefIAm/RGXRtI8GhPlgrtTR/5forFHsIm4peyyhRyZ29e3Z8Q80mDP3pTN3qeP81Ct29NdDw2DfFm9IjJ8jtCHSVn39It2etdaxW0igmRvZXF8FOJFd5Fe25rzBW/OCMfV5tnbVNh1MPe91M/63O2y4gVezxQnM5X37gd9DATrwa/ynzY7spEc8GwhOlzyfyamzILIEoqUJv2ot0vTxmvmXV6ObuklFEwB1rHAVsywoE9lr9oe0T/71fZ0G6AE8N1TszBl1qDOt7gqDwI/X8totdsfxc0dhzS0EI/uL13C0HxkfqmhFKhWB3IzdUbE4/Tg3R8n7l8qq3bwvxKfPKYkWFVx5i7A9bOakAtHtWO3E2U43l7c+MpKqnJJRruj+G3Gq3YV+VDryZ/MGRx8HnBjRr8ERmxbTVSJZ8eFUXWpSVF7Vp11SBuC6pX8QfRlgabMp/ehQHmQsijDuY57Jx1m+Hg3Z1XInN5CNeDxZWMF5RzRX1B0/iI+spQLjWTDC7cYgP5C+jX9MooIJVZJuzpOigI0ATlXYauBcV6rdovQ8+hCVF4QqtOezli7ZIWQSxCglMiLHp2GvF3zAx9HP5Q8X6wzEq9OO+5uqP3minGGYoRyJJuvU5sOz44pARVuwhxKt7bCfoPIOpDNNkP27YNM5Kv6UV0ZiqhFJSlLSZhOZEjaagvh0C3DNTdbd4sc+3IBIQHw8OD4goZjFue14thexzWIjCVnd7bI3PxOiVop8XE6uraDX1f0+JPNGyl/dQKDaxvsMZtTuYT4Po7dTnY4TUv8G6cK2rJOQ4bDKLrIoNHvWymsdsgPR91qD2ajzeJ+KqFBW5quTVR7IzYR7Rc6MgS9dTqlc6+yP61XczZb/KoF+wp3DkVILybCznISV+yJAzwsA5SvxrL5qB1Qi1eDateSlUsYMkaoccL3mHVcQfwZVfGFFG7sI9Wwoz5mS/3VUX1Dgru4SdJDTSG0TFfEhYmx11F8mbYbXxUsl1nYqFBMHaGPu+ju3rSWgBjowxpFnCR910ftXraZLglmP7Y662XRsfOehM8OjXMg0UsFHNle/cD7ugLjqLJrTie1EjTmRHcBr3z9XfH/R5md+f4Iv5UvRNahKRqXD1a+xB/wCZvs71/xqwaz9zPx/VfmQ2Zot4SZFpKXWL1Rx3DuXAbUxGa0GvSi+Fq9AcAESNtMLfuV9Qulr+WZ5nNbVhhp6pOPT6VAxbzgsH0nVmnL9WKC9QkLcWI59rhysCxQqwjLkiBV6KyO199jrwKzxtGzpXoAhrTRqvtwmXK4FUAWx5CqCMtaJvFmwu/sMzMT89f0zDSARkic1s48+hFyEss6A+cTAy5jq1L4EORXDBwXfG//Y0xoaLL9oyD8CgiSBcWJlnbW2CqXvNrs2lTuwIchyPmSQsO25UN/K+N5LYS5x15okmuJcHAx/xvz6U85GvxfSbo1xgWwUVc9oSsMvhZazF5tnf5usp7SoGrhGtnOxHmi5snDJDLMMpEtVoIvVVdU68HWv5uCtGYI47vNrkiO4Rmt0JOMrLtroug66VltKNMdMN2sekW7k4vPh3+9mpFD0J8LEL62avvBcTEk8xyimPxdG/1BfKs+TCqNn7rqnM5phMUy+8hn+ycF8egSfOYE/sSd4bBi9Z7pMs7SZCrhoeICjvr5nJ7fF4toEiHZgA3gxdeWefkZ4hyBQeVOW/h9/cN9gBLKhfUQA6KWHKNywjmKMiZEoUbjfWAbMSn7GXAPrqZHzeMd0vXPFrZUssCVexgXJoME3LISKI8orQUa6BJ/Rwk6CuGhdMAcEAqWInidsDV/HtSiV0RcLWGRk4WPJuxZPr4Mcpg1UHXIcK5GJoGp/HDbUPyhBImATJLVg56zibytnjZFbSJ96A2e/DKFcHKANAOOUQGe7KgecJKw71oE4p+4Qzd6t7v1bh+4hcnBPHrw+Hsc7shslkIOPUlnU2MDiEPN2k6V0yZbh5OsoBeKGl7wQw8M/b/7gq1HUWo8KglgbmHOEy1ZAFmhNj/f2Ijx8Du0LtyATNdm/6h2ZzYNd6+evCKks8TIoE1eSKvwATuyXvDWp6qOEiuyy25SzkoqYmQRmP3qtl+pLnOqbm6W4Kg9JORdckDzgiS9qKeerxRfSP05BS3QRGXXYgXOL1Un/lnEE22eUUJCecLHC3f3GT6vZ0W5dSEa+GyRYM9rDfhsPfNUTcddjeMVVSdr50iISpMnxCt3z1dNQfCQrd93ndEmcuEbszQpJu8R3qHNWbLGugZTVFglreqWi6ktMmeMUgmvsRBprEGx2UfQO3ruOaSn0GSLwKzykxLz2a9bFFlX2Vx6IifIkjaD9ig/xKs6Qodf8jomSDQgQxF1wrKzEDFgGHa3eaDn1uKrsZSZ4PdpLTSKGfO4HW+LQBfSCER0BCS9MumEleu1h+njouiNSzQ9BfClfZ3bB8XzTL56QtFSBSE5c7wileDc9iZWrxdUk3T5BHZatyZHnma9xR4JWb9EcwyQKX+ao4LP4Oft4W16PJ/YQEF5KEM1jDVXkFBCARkH7e3F/miCfKvnWPtQicVs8ALJiP90wo47ozyI+LSfZFVQl9VChhq3wf3A7yr8ItqKty32dkrLHtlsYlANcT12g9z2vh8LjiJEimfNp3aKAFlIM+o78tfxN+pNmr4F82nU4+iAeGPuZFGBRmV5x6HBQyD71IlRV8Of41hmY8o0HbGsIaOFhY/hOjaJTYWook/W3HFGGLoAYXr8ckVZsB7lZ8nXPal47Zo0930rEzrg9k5dEW5eK7wZVOgggzGNjF5JJHxYIRvmAQMnNEB0WScheJUkrFl6cIH//OfC5MU2dIh+jkFxAugQBuK4bRHmmhIuzMqTSEUEK4Dd0ivPjI8uQiFah/uHahXWzQ6ZQ6Qi2nxLNVEBD7hXKWGqyB+QGoxHpz8CydC26DJU/oNgCLKlEOvDfa1CHPJu3UurTx0zD4K059l6pmuJf24wxWBMM8rNpR25J5ETnWY3ty9PDjXY2DR+QGJ5yip083hAoMV9wC2vGGYYQ5Ce7mf5KMC/AvW/XPVxizh6DnhDqr+m80So+KWu+pT0umELg3iMN9YY5jXE9FpJDBjOGQBNbkBSAT4sRyMNTFDrad6MkAGl3w1aQt8aJ+nESy53YW8UxZDanf+tHNO+aYrOCqY5Xvyyc1pG391piQyi2kHenEzR+duPP+LUKlKm+/fCALHPai6gfu7+BLcrIy6cyZKvCUVgjF9XquR+DBnXWxzIRTf9hhT/q7hM0diMZ2NZRl5hfIXu3fNF/VeRt/OBH9qLFgVt9GLmDK0rJf+XH7Gk225wdm7SBU0WuzjHB7ggqppWlsC3DWMd9dTwwf+NpKeJVJFrKmor/FbbUPQGr9Xj6w8zUnTsB9ZQ2Auxs2txSw4eVds6Y6Cbj7jHSWv6kbHU8Y5MZ96GWoktOX6CKcQNIL+Dyn6T4OpAhYt8cuVPOih3ht3wvDNTCTSbYLcFo+dp5J+LdMjIBx2e25fgdV8JlvSpUIkkaJ9I66BM/pLlFISRyPAT9KdnttorUqZNv1GySaiEmRV4NfN0MH4HDcU8VDJlCWRbaz3IYk7lLPN9XCsMN9HaQcY/s6+1GBlcl0m9kAlSzBEmizpSXoJvyg07xsJMLE9mOfQFa8n0cBs1Fi9qbEXs+0v2n9+hfNt64uONK2AOaxcS/REJx1PdEB2rVMmqF/vmZSEcn1+dgfMLBEuagVScx+uQhzUqvQyZT9rGFDPMh8DItwx4VGVFIRvblXWHBODwLroSKwK77K0StobBCQ0OdgSExA5xGZYKbJUDamsIv6NN/txL5DDnU+XpDxiP2tbHZZVQVBcdv4Xs+ZjW04G9ukA+YC9Y1zyp0RCuuyTMgfV5iIHFMbnElkfUa+7tV92fPiAN2qCAbYfxU86QSLowV1M40txrpaVaeU9LA7JqtdQuyZthEaZdlOjejkp0qjJ6dxIZAao/7xKWxAgMzzlP90JFzRHpB/ErukO+q5QHeI1yj3P69mo85LO2KmtPxsy3w/I8NOUnWv8TcAmFDdjNSp59J1+nCuMAg4ZZhJLLQHCRN2BIv2UfULOt7lie9oir/OusMBhraNYRPst7IEJiNd21pmXN02sgqErb0XDhTfn+7f35bX0v1+f/2HJbFnHmW3BrSQ4wgcMVT1VG4qpE3oPGi8LajBaESTd9bELVjxIZB1D4X+sYG/8i90mXz9CC8tZWoSe9DgiVb4cHjGRO6ra72Jqk6XCHxswkrZZ/r+5gQtYwhs2hr2fcr2AahhrTR++pfEXaNmUdFD276NHWnKGjv5eujqqpYSzv7tG4c6Bma+XfKQumwt7yXJG+DIerAKlE2el5AjATNJ8Y127/hJrESlxt8mFmkzSVv9IE7wZOvcfqSqy6flMxJjGrvPdE5Nz8Ao8Sov7vlv7r2KecdZvFwXds3TosYfaNbk5KSEm1UdaRMDv+i42B0wdOcz/JwEx+BHrn9C/56qH4sIK6FDPypYRAdmeGbOaY3cH6Z+DGjn8gXUrHtqscc/zE5u1wvp1SEnLPTn5jF7VMq0SwavC46UTpLHRnp62QPZ/ARbNDny8TkwcWoFZ3PZ4Yb37eqJaN+bVL74WBe6wNgLsUhNuO6eoCNVM29cWHqZ5W2OBoiUy9zN8rgdQhrbIcEsom51I9ghxiO9e7BihPLQ0nhpJElYcFjVRPh1NVhyQJyJzl0n2crIiKuHG9D32oJ4jD+r+COfPWmQbJJg3WNgZoNrZkZ8MaCaEdbxnTknpFPcxcRTi6n8ql+T6+6Q1rFQnLTUiif/pVsn0I5ospBofeL2z6OcEZTnFxiRVbATS7HbYS83YtwkLL2iNOnstgnx0pzGl0W26NnFiI+NULcAIbtjj62D1/3kzAgWuX3rbo7Doqz3wGl+csx91ITmyhU7YWPhjny/aTpltyDs8fkXXx6mesb6brKE1+GKVv4p+gDLjbHbbbOyM3B+LoADjlf/T1Hyo/yMELpYyxgYep/buiPHVwbHCT8ycERyf/CgM7+19GY3oqRmfAZKl/s9suOpjdb9pk/zdTXaDx9mAhwqrSqlc12Uk5YEFkF1IP66xzYflDMOmnvuiGf2oYfg3Pg2Y2yWtO+Vuk/wjkV0fy7LRRff0fH00IMaSFWF5FVtPHGjVZcn94FffmStVddJHxslbSmL47zArsellEjEoQU4h8ARyuupglo2rdQWzJ4EHU/gyqRMs2i4AkVy0qJIDaMWlWSxSpV3M+n04DVglYEAE+AzN5Sy6fujnZBdCf6Ztu62IQWKtTFHz3iCnHrgmoajgIgYlQB5/S5x04hhzdZp9OrULh+5IXPFyaZrbXODhqEPJSTTDnQ9+xvN+NPvHw7Kko6zgD1+OYxImJBI077DdSDgSRWzMiElCUsv31EAPwfwqlw9FKgyVfcN+WLRqKCrcOyxC0ja3AWGkc0rJgXZ+KXPfG7Y4nMh85sJnRMDo73RraFFdg4JxU1Xpums4dCQeUKmWSvU/288rWjiSr9OAw6TTr8JXujXoa2sTB/PYmd9d35LWqyedyehygtUVNVczaCMJ3dWGVv9ckLAQJrs4ebPoL8vCBOlLWHRlVL5PPhp6rncOmREzFtdVGc1uHchLac4akWO6b7Jm/vmG+54JixcNJvGdHbCk3le4Eh8ZY814el8Vq6of6lvD4+7ECQIDxUx/+amdm7L4FW39T0gO9eK4CJx1u/1bGT/lG7gqGZa62T5RkGxh9S7ReOt/lwE5TPSq1AqkXjxz7lLTiHqxTeC9z05VMU4CdzEihi5khMHsVrUkbC09LsnEneybqOXkAdrRsAWqiypTLfYRy2RJO5Z9aq4yUNF/omWB/ah8mAwaJnEDbImLmff6K6q8B00OcQWr1EBtRguGPvGVJClaIg8mRya8P7YtVltdZUxR7moemJRZQf5oj0iSrAnqaTQ+Acpx0q6oy9RzIDKY+bZbQrnBVxZB9QnAOWj34bgFJdJ22ESKweswBj9zeRVqZMlAExQcBshovNRJiK6J7GN2R6G+mkBNxKlpvZUrFBnBahlN7gLorWyFzxYnOPAYwBoxvdrRB5Y23ScWvY1gbBBkGTv07ht96d5mkJ+9IHivMIRP9H0zfT/Qr/dDltZgxL9JcmRVLU/W+NaMIM40qYb/PEdlipJxjnCXYHKPK5aANbxDz72+Vp4TX2CFtxYbs+MAUrtxe41DPKCTtOMye9gEYZbzFm/UHFXQL0C5nHrcWcu3tCsfaUt3D2V39C/Fb8kRrgyLs2uxvWgK8UYXzDuvqqp9Oqu6q/kZplIJC8E/RrD0eFzBVsHl4vx/2bKvb0NPxeU5MNVLPN9S2z2v72rwt3+j2hSt2kozhsjcPMXXEFxa8znlyEkUi7Eg1c5NVve8lT34+YYtyNd19NawzLgMn+Ge4HGpsucP0UkVUOuROY7yZaQRlRjLuZsAO1OKTsEQeoH68SQ7PZhlEIhIEnKiR/+2ZXy/AXkIEwDLI3t0xFqJKmMIEBlRohqJwmcewhDp3IcFLP0uS7ngT8PFL8SMSa+t+eHovfs9lOQZvoNvKxbT1CNAg8OGFo+xq/J82iarnBEpiINij5RZaoGK1q5sE14ib7/MBy6Tf3eQ0Zs10koO9jRuyN1Aebm2+3ewtSJpS+0T253w/GHjeRdvKtmrrh5OTXuK37TJZWV/B4ZVrilo0daNJ6etAv8qw5gYQIhPJOA/MGbsSzK+LSCgYin+o0W+8Y5fsEJdcuqLWSw9ueNbOlOr78kVsTawdyBrNGQgd80HJ+6j9GHtYQ4HAJ3y0RWJOI5lzy9GwOjyWaaJJhyMJ1WQyN0qNPDakq6bfXu4YXuOhc/yRlP/DTRlqrCrgPZMdyU5G1Wo17HIsyzxtkjcC8OD6rjV3kLrQgDnEWiEtxGJmyxjCNRip8BXhObiiqTAggLafP6VF9q2OsfUhb8Q2HPb+8K/lpr4GKGeDUjWe9ezlz7zZyjbbZ/gOC+DdZHTFVgX3icrt+3fxvwkzCOeyjwX6D7XJb6w4QnEWLlYTOcn6B1GlcB0H0Wdkbpp4Wl/MMuu5atbO8kkyQ0/mlBsGTJKfYGehRbJyeKfLA+3zT0PyKiiBLi6TBh1kgpNoxdwS80/VfEIY/EOwYL9M23TBG4s7ItQKpwoWBW0C9KNHZIM/Swg0hRI5HC4AjSHOvokTTCfpNgkM9fj61sQSgJcAQr4IKkfcs4kI0O47FXfzbdAXY6KJp0NIvFDJb/s7ymCsPneCBtm+PwiUhvLGSj8JYPch6F0igszfDGYumeNI3C75yCqeVtRrAsw7GuGiPsjo2L2u+dcNGBpWifkNTHs8sytWiDt2p4Z++qeXfkYV1Bkwe7qrkW8mAMyKT0oSlQOr22NHVVeOwYSjhVWGWTT19Dd9SH6C+yS9gvDoKc/lcYCJFLT4mIN4p8lRqeUNkVFNH9OmPpQsa2xqwcvkMPD7LTM3jVDeLjx3yegn/FAegC9WKA60ssZ20G85NSkWVaISUkaUMSAlPXrqkV4kB5WkEqoD8TAGIG4twcnsdLpWCdypK6tysKMBjZlRtCMBdgi1UQooN2aeR2RwBh6MAxkSAzeS3FUXPDf017VEJhs8pq44l5phsNFNVZQV3IZruKFnvpX2H7zAJlKcvmbtudcnrOn4ZabBYqKbwv0FqkCN6AlOFhPtsRKWXAeSjHLxrp/xWxvatCISiSfxMfuNNNwt8a9UOvnucHzQVXQdtKSFQrWMWYK65e9FxpNKkpXZHvnXlY7msArSIsga/6e5+0ku2UUBTOcHvaiKMg53fXkIOSEaIsSScax/lRgIzVnrbXjEJ+D6rsm+93QKxlZ0Ny5d4AEBV/KOI1xywGylN54f7la+PT2nXdCtL5AshVMeJxskyiZdG+ogrx3IBSPOGQdnSpDe2pSl9mlzy8SAsBXAStbb6vVkH3+XZucV57wgpGHAaHac71W+hyrq7SvdcfprpKs0IQ4w3FzMzlJCiV8GSWdIZfPtFb9Oyi2vmTt0HyNksfotKfnCQDfXgSYBySqwLjRi6lpi7pJzAi6MZic4S5ghdyL2B4vHp7pse/uWfN9XF21rR8nZbESNT8RHTnCFSpgdK7O1Nxg9fDt1kh6NRhcOnm5wvyeIhgezFl8uZrKxEKP45HQ24Xbh3Rv/+TRZgSt0b/ayoRDp2Jcerp6VibqABXwbIezjyPlwGxFojgAcSWPcaXgzCbBdw1pMBRQIBGDONiQD7yzgE2IEqpJxNk++Qfp2sGDSH+HF9xKiLM+cOiQ2Xal2+vQ2xliIJ9fqWbY67E8zhAiLJP5qg74d+Fp1CFFC8O5B6r37HF6yT07nRMNLJ9yEzfljlow2srG5EWnXthFz09O7/bI/aYfBfiD5GxZOYyymxvzGlOt6Fp1WNzF4CBNvCT3l05g0DYcE3DX7kDL3l0J0iMKrok70tZHVbcw1uruO3U9bPvDi57xz6O6MrmofO01+KWmCjyMeEyjvLhirBTtJtrFKtXteD+o3zUARZ6TeIm6v+4BdEbUB8oHShoxRMo4tqy2LVtB20bcdr6gi0PEsXqEfbQ0TxBKXJRSLakPIBJE4ca4n4Nxt1i3O1jjkWvvkhCj5p4gHWc5KtEJ80kzBMzAYBvHqZaSnyk98+vLCQGK9v1kCbEc8ON/IIlaEUgAw/d8KTwFOiJ0872tF0sKIMhIMzy3m6ZKEeyjTvZa15U9gEQLx4H5glUkXftRUKbaPEB1nXh4acPXjfRY7ct+5RrPPQcY6WOcWSXMjDV8aGl0DzCFAdIKEt/eg6MhbG63PbUm5a/J10D3rywcY3grBmL8KQk5AtfH/OCW+8IHPa5KwbrO8dTq1TSQpECp3fqT4P7tEAzYJIh1aTWbEE1P5+jB6Qo1l/kUIpaVsJkZb/ln+j/6VRokkHHL7a/zVD0oZ6sJuG03MMKufykPWnj6DbL9x4nIX5lBSEwJkFA0Sg44KV3ZU3rYojXlAVWdjuuS7ybB/9tSJtCGT8OHgocE8hzSQRApI+vO6/yIiRwpmYlsN9g5q8juXycNxaQ4E4JsUpZInuaDY4XFinwmLVH7itH0r2hZ2HPBNLUqRjkNhkTk1DJbE9SHzIZvwpp6F2NqkGRAnn/M4PvBct8A0dfGJgtX8l593GKZLDJ/P9xwMuBWrZniikBLqVoUholyhbpZSWNs6K5IHIUSnxGoUtCMEyZCDceMWl2OnsfBp97DHx8yKe5gIDaiLHGzsDyqyU4CyC780q7CI/3DO+3eFPmO4jJ6mM01nWsA2TuS0GXK2U3gBpBJ2q7qE2bnGV92aWUsE8Ct3bgSeM1FDBA3mQBn0aKSBDzyQb9pF/sidOYd06inJ4gRyrosOrs2xnn4mEghQnXbcETDF1MUTtwhwXn6xTxhcaOZvNLonsuTZo9OGgF/x3nLr+fiRLQvEk4iVELskZjoDyQ4wZb/stJw997exTuMa9xoic3xSXtUpAmtYGDRUg8iYONT2JlsaNOReMjaQfUGKBjZ6iM+qwEqIK7uLbKA5ipNtd6SP3kyeUlfy/+PjVLHg4lVAOOjjASmeAl/hEIWUmOkrQlzfEgpl5IPyYGpAWo9uRP+e6HOTbd8UcPgDvV1zN+g9YW8r5ToSh6hMvLaXQCVKryWK8r1RfXbRD/Yx2y6dlgq15C1NcBhPxA03kMuBER1cnu5oHuQceIi5V6+3ocra9kkEs96rJbr7/pEBGiV7ycbsgCAK5uq9WBsmmrrsSRFJBIEde8oL/Z6LR/36yacqJTcr5PT4ImIftvnLafrKZmKMDSC7o1F0MbZ4vkFGVW9SOHA8mlAQyBAxhjJoHPVa38o6LFVtIEoheWrvhpfacYw3lziA+9lci6yJCTzUc1gINQY8pvgLJ5aMmyYEhlPCkHJdVyMW8Ka0cmbx/C9GXxkqzIzXVR4ZOD9i6YQe7hHEw8X5whM5J+wRzsX/RZvXIVBvlQ8p64NY0y5amyX+oTrOt4pnnWdwoaSZRr0GrrudO/XKEe3riGh6rZ41A8gC7xU8ao6ephLX3bqSQujV5f08j9bFvNaetglD2jaitilWTw3lBC+nCEPeWvxCGo46uD2JYeKRjvQTb93jLOPk2LtlbmQQllMM6MaXAD7a5mQib+ICc8YZGLoEhKZPc/flnpLMYFfCSuA9kwfqAQfGv+58I92HA6DiHEdBaRjdpTEstHR97TJ3BX0tkgNgpTAB9Bo9XGQ1WmYs1Zb/vYxxozVbHBoNZSEeExL21V1ZsZmtA/wsuv0D8tpvvLbvlgkhe7VbizegXv/LCJZXK+Y+BQPvQjGTFz15bUr4A1JGTkgXQc0E5ohzJTaMcRwi8TQwxlO/5E4oulEf5x+wYT2sOva/vZO4DctvThYjHQHCOymLEWibKZDf4sCsXIAUMQaQUpnbk97J2kvtfsMQKDOv7mGuJCKMh8e3Bqi6MDV+MjJf36db2dUCXDxP9kREXBR806vViw70gXscwJ5yGmSs6T+gW3DxMQ9xWOOKM38QoArQJZlsvctSbVAbGHtZfX2zDQsBCXukjvN1TGLdIlBsn2qQbnspQ0BZiOABYpaRA4whvutBvJz6qLlYtM4jfKsgpkCZdU/zGJR0od4g+fjEhTEAucd9uaAxGaSlxV4xwtZMU9DqOMn5BzWbOQGcm/IQvAJLoOQg3xOdv1m6lbCda4izbqzmAjc8GDyQxIgp2Zt6ERU3J3Zn06gklybiSEAFNJt+eRKvVmQPFjYRL25m90CiZUdSRmC8+fOzXfEIKBwEhHhE+Gt9V1kqVTWXT/ovogbdyh84C+PjRHFx7mBS+R+xCyZPCvyeC13Dr5rrynxfXN1YfABodT2ZKf4/iz9WZMA6bNnDH7+qrgGh7YeBXXbfZ+yN7dXH8ZRA1GjmB+opJOiBIwAg1BKGhfk6yBzvlH3AcfAq70LOm1ijUnCxg/VDfDwbOpiSEUaHBOM258ALH8Xv9fSYeno4aiNtBQEeUlgoCmuynM0mJsC0PqzAyH1NNF1FRXkCeSdRZFSG2bvHty6NCHfielXBARQJ/5Vii1nGjkcKJozu2saPYXrgmJlnpJZd77cMHgcee5ZnNz2SY7MFmCpQhUyEHpGhgMZjdyEWImiStYeipUwKkSwkgxHOjlVsN8Sc8fhPrmdaS00+G+hEG0ueCFuFO3d1kKAJLnrmwSZl/FPu+S1FvjoOE+0oDwEvS/yOKw7plDE/BUtVOO9VyA9+wei7X6aIsTIQhqhiDl1guV/WxuJdnH66KAuxkHnmMIF0sYpv9mKiYCP4B5TGHVhKtUEDYttm36Xr1y7NL79L6MJ1MPZZZTz1YAqkDJB1jhWhzMOU2jczDNLDtx8cSqgaVyhXi90s0HQRA08z2lkUiCANmv/qKXpiB6K7zrHPo/0RdLTo73WV86Nn1avY7Xy08LklUmffJ91JGgpwT7zYSjxhXPjBqVZrIh5J50M/WF/OA+2yjqpy4Wz2DH23rejSEFFOsklOqyjYSS4wd+8zhHohwFievD8dhq2g70vMqEGa+lyO3Jo8RIj9AYFNG51knPycOHLNrhgQ47XlIDJw4atc21mvQIjOWjkWsDD6E704+rv6C5py4x2Ehk4aQKpBFRCB/oBO0J+po5ezBLNSLLrxvBASUGIRgyhQk1yBGH/uHEnTWRXLClo7d9Ragl7t44ZBdMHiOGQdZPwW0hOxhTZezu+R9fNZfa+Lrki1kz5R9scG/nZKd2isBZy/PZ9oo4wt22t08PxkAOPoZXB9rije7kdz7y61jHa1FQj6gf3aE/tGYxCWCSCofb8Pp0bDF46B1rIeUMbGpnMwEObhbkcZq893qenjmKYQONBQIGh1BjDxRtVh3nsWj1CERGD7TXGCIQNCxAQ05NkVwejND1dVRKwjhSG4XrM1eeJacK0O71xLCZrBKR+/z2f7FgvTL1JBvHgsdJpc8OPMee8QvJKIk/b/Gi6oM9JCT8J0aftQiUZhBrClw1UvAon6hu1TAD63z4ZAuq1KENbQEEz7iaqnqw/O6LCv4yn7ElP9UA42UMiYl+G64PTmsO1ZRKxyI1gIV8pSN++JoW5UUCfo8UrkJ4+We0ZzDxGgqC4+T/e0vWEe22gxhWtZ+g+XTKAvmPOnJA8TBFUXQyN9MSCI32ZXiFlz5dGkwNK9Uj35hNUqljziqgS6GYD+wF6LDF/bRGCsYWtMkvgtQzzCy1J+zGoc2mor/tv9O/ZOwXPiLZOzW2/oeZxXPDVx5eOIMwl7B2Xqt6rngatlzXrtGoV+RMrVm91Z1pZ8NoLN43qubYmiYC/hJn1WqwB33OVUpsve1sFgK+qgR9eCIupHU65GI6L4szdN5bt+EaYq/HWpSgnBRno5kNNCZzeWUnVgTK+6ooJaZZUXM5wnja5kxaRITtS6vbv65fcFDyTR3yQTkyFDti09646AUUG6LvEEYnuftkPMN1a+/LBh8DAVz6yWxvvXc7o3G2jCTOdZnV+dqWcn3BIr8M8CweUA+gTMq287zDa2bmxLQCq3LwdMw8A+uG5efWla+yLHIuXLIdS69OUu1s2j+/uPCQVf1qMmAWyfPKIhaW7brar5U4vl9E96m9dJOjBL+2b1Kx0LQg0Vm8m3B8KQi41ydSyCSIAfF5X2K7kNFbQKNdt1D0jM653cNVRwOvnt2xpcfsqxykVt47k5xOkdfGN9j0nqEAtTFnuSWdnQFcPASoCj2cx7Ggnx7DNrzdRwRTdYlDOanq7RKQV/v9aBNxkUx+VO8D8rC8fb3qaCeuJXqfXocv15hCYOBOSY7ThmBQ+GhZ5Eg3nd5W2wrjIHxeXpXsKUGk0GdTGwR+F411TcAOeZh1GBhzhIHyzZHx+20erbem3IITubbTIP+ptrQFiDTpZTTQLLmbLdAwPK0tFoS8A8hYeQM4XzexOsXhtp/DR4JEQIsq/GmTW7SJfXTQkvqbGM1WoIGViGoKAEK1PYiYoEcRZwhsCc/oW655iRQB1gexZQXPC0xGbW7leBK7FA443+UxjMPRWnJR21xcFqtt5/LE/b84DfdKhUsdERo3cdE/YEUtYI1018B5QL/T22qAO6SQk7wRJKO9F/pnvlgQjDRIEbOHtAgac/+f14kSpYYb22xVdexM2Eg0mBJnGCK7JnJL05B2pbmmkaRcmkfSc7kQ8FUO88HoyotHKLQNyePcpO/IeB/wSTTskzLPMoxC43X6bna2PGZDSsOlti8o6MhxSQ9Pxr9dhQPADaoMNXrSq1OYBpwOWnAkuFQ5dN5qnzA4iQ1MYWEyRhBSOfOZ5PaydEt429h2A0j/oX70Vc5Au1b6QefDPxw3uejn9AGXWXfAQ9g/tx8fbe7aw00BbzkN2luxQAReu/4j4YAI0qpXFc0JVzCW2fiO9JiRZNApw9av7a9F8b1Xz2xt65i0hRQqSY4LGXcyKWwxmPNiZpjirTb6QS3KMlRRobw71NddWPt1q9t52fAfznpzQFtxDnVXNPo+WcHcL6uXaayN2JE5eoMJCMifuBGZaULExHHbqQOWCK+UIpBL5FOgCpaEQqBqs/QuX7qhC2fS6I4HFYiIiPRcAP/hBw5ja9ia8YmpIItTVx6zlIi0rANp2NfMzQWVY9eQr9JPbrPq32L+lqRRroC0nLLaNuI/RC6GSFa4/5EEd4ioOH5WlPYu0eUxJysYNSXPubltiknD8JItjY5wNr5CXs8JqkR7ToWDhwDxe74ulLMEU8xsATBRiObjTTkTHqa5AvSYHcDhvFczaQeMdO1T/iqSg/3aqJlySgJfVn9CxrU/fvquq96TCsOlA2aMJUB1cVDFCTza1V9kSqk9ZwLvxAuKxat0OU4zwrwoz3f0HZuqHRMLLRhDou0L2djljeO3fZZXvGc7O/At/5gxhqVNICi9MnrO5M1RdGHhWRFKzzgXsmeLJwjh591nC4Cemk0BrKJHNGWrTUYYx8XVu1V/BdSQs58oVxwvRN3Wh+/u0Ui6NaT0Avf3J7KfN0a3MQU+bzuZDjN+fbx5EFjAWrx/Sl7R2uu/mGYQT1w5IW7Azpi4xsueZWu07/H1CWujBkOyFKWGfuG/jjw9+E/GD+q7liSzl1J5yBwaeHDuZ3jtB72zEuWtq4LvkhOC03z4rhZNuEABbdPcKgpfrx7S8WztDSeIY3yDIRHX1kRrCBoCa4Xyxtb1D0tSYRxcEK0mIO4I9PfjoPmMsAznZN9F86WbTZaiwvI73L+B2DiSaoJ8EWGaRcoOLOeA4qybJANCkSLNv921QLmMkAdW7q5cWuYR0OE88W33kUBkovcBKV31Hu7YNp2nepIRA42wl4uSRK64G7BvAMPOcVLDcqXm5lEt9kPrdkfza9SeUsClY/fF50TYrHenSAJfuzA/QtgM6pV0bCr4U1MEQn4jCg9jLNFOC2UHORr9m35KP84cJVT5dKS6scer4C5SBpHtqTyaITven8Fx8eo3mecu+vokC4XT64rlklkohCuBWpFhd0W4nFr3odBckCzPccfXDxh8wOVXhHkvLbcpcwLNCiYBEVLCHKdRzNSXK6t5OamdTzQPalaL83r/U+oZG8+WlOyTkL0kjfHHRnCCiIxbewR/IbLvk0/oNeIlOX0SAcQY7xOSAaX0C+30jc2UGJZmGA0UlJ9uUucoERzMtiJZsd6OYxZWL9NgoF9lpz9TEC8nulFw2xQwJ8+r9m4yG52GsNWO9gJmYtoZcIE9sj6Lh/4nyHVVWnrsYLee+Pd2rS4dYNuwypqt8YzpN1BJO6e8vUNmcX7Ed1uc/ja6EtjBgFg71Aa3AkJDy4wRUIps9O0pZphTQBa6scGxGGjkKp1mfdbV/VCQvw0lFdyogy+UyPY97hC3MulMutwLi/iGZ30eGeQ718FjHwl1Z3IqmFt2Gksb7RyPH/gtUd8qumdr85wP+LbX3qhh1zufKjYdbxTkbjmjju9PYRKY4LWOVg1ebstayXy02qej8gPXsXkuURC5oUn8nJDSqo1AvoDAn8KhwVWs5Z2Yig9TKslDkCZyZDqrEpLgHMg/1dbCl7ny8ZWpsXF9Lgi/M1hXays6onnk1nkECcu7yApogUN8CxOGh5w/xUR4TQK4Qqe09rAD6h3bJ88Bmvm5LhIjtxDmM7pYBhiDaDNyxwzkpO7JSXgN69UmmIwZUiIQ/55lLlFH1V+fyabqYD7LtaqtmKz8Jus7W1fYgscFSoDRP3HFzLkqxLhUTv1hS6xiYagx0Tm8NeUN7QseKPCGgMCvuK01iudRPqSiBdc41X/fHFUcQ6UcKbrS889Peb+8n0IlbRuZP0H7djhQzNKRfmWczmM4d1a+nXJaRitSKwkVnp+BlCpl9FCeVLTPH+jzVHXV3t85u61wRwaUgV42s55YFjEXbRDANojEw1RTXjdh/K8RCMPhd7AfLMrIkGQOHA0nDG+N5F3LxMv3JvlMVefEKue9bbkqklZ1aECdQWJVZnQjIJWp1WFWve6Q6qK5k4Y2eGIp8TuxSRuHj5I4jSlircPK1ZT9/ZjHHS4E6NzTxELO6Pq1rDH+XBfXnUTyxjgohisVgevwBKex+3XFHkay/NZI9E9akgxXfBVW+QylMMzvmv4UyjlzZSIlRyjbNZBKIGhUBGPe2UIvSJcoiJvrBFhUT8Q4RGsW3P+5E2joDvlm3s3+7hocQfCuZPavTOAznCj0AaS8EAKEoX/ml2H7fk+JmBiG6K5rAHhO5QqnbFMcyP1uxOox1CJ7YBxIoMXqpTrc+UFNmj+01CU6Qzav3gYxMzO01QZdlx4rT5erDeWDdoMvwL4iJAt8poA/ZyuNTrsYGvNuWyDhZVyFb0pZYTXH2oh7EEX71o1Wz4hETQ+JOk5o4kgwf/U7wAGDZy58ADgdavjlPIbhVe4erdQyWPZy08yenEVa2FCY8gNtAGvxnWbpar+GrvhmdKvHUwoHMumCAT+LVuypdjRQyxfD0ShM/4nh42MuhoaoDG4dmD9zdRQi4VyBz2YAeotzcLgkWnhHXDYtoGpxmsakCX/JCe03pSV7Tn3GFWwtYbL5EX2R+SSJs4b4rmL69+GXWy9/LLnfMYYKfHhwjVm+mwIuDFhtTs6m+zxnwn/NbHhDY3tveJFh+NS65IZYgYGvoy94mSaNYnLim7zfjAV4eB8OzN6rvs+C39YsYsHyhCWBZZmh3FAXLDUbREJbfLgJecbDQt2/W7+4x1zrED4bo9IRE1Bi80Lr+EN5JcUfXslS+iXU4aMnjTEgAGxf3cMPt2WJc7hY05k52Gt/y4xSuaHHmJ8yKN2WIwxKotA/1+G+2A55wfk7WojswxC/8tAsnmLaVfVvIgJ2AY4MFa5Unu444mSZRrB/3ULZaobhna2aeakOssiuw1AYJH1ENOrCUcBoIb51xUkDGWmTdW/gy8wUwbqXgE79D+l3mvpT2sFKmgDRwptDj4LRYbrKYp8faexFcifl+be95o4g8CZbw5g8a6bV3IKnglb/r+7MCCN4XXoXjvWeohRochy5Sab3ZxTywmg1UeepL2DaKhm4eowSzfj/bcmrTeFihEhsANht8dbytuifT2Ox2hzCQFwMy3hzFmwNOY5VtwYNE+QtEMvB9judSK03y2toJwBoFp74ZAi8mA3Xbsuma2zN5NWmzARxcXfomqrGYblRWFd+donUXl7R+IF1PttnQcb1dQuObN4M7ODpCsD/X4fGQ/zwYhcwq1vQ+DgHWXTTxwvTHGQREvxzBuMeJffD/h0ORUTmmv7h0417xY8zStvpJjaw43rflKmK5kO6oXgq4UZ/SLiXuHwnF8qobbwpap92eBOWrZD75/k5ONCDtgL/GxXaUWPbbcSRHwbdmVti6vr8uadQfRgiLtpuMV3lTTkDe7VQKj+F6ETL70e8A7+RMZ9tF9xcQb87+Flk36e4vD2dU5Thg6oTNYAU/Ui4x2FpsbHJGA+gmxNAn6OauPiad/DJPhehSpRbGxmBPyoyiyhbpimV9S+pNdCxbMfL98lY7cwsuKoIX4d6zVUbOCjYQLduwdbLEf/3IxerxWCW1AVC7Uf4OTVrCZMXh0Z1Ewx4XeoPyDexPs4gZy1rfoEiqUs9mXNrW0940be2WkDHUQceTMejSILYK9/3e72cI7E0PHm9hJHpA0tjAd/RIxWzKQvFg+fdIOO3ZCY3sdUxsbVOMNZdWCWyy0Wm0h3slLJYaBAgZWmAz65PZblOYzZgOuyokMjH69d/CtCcxgjsMy9LMoGywYTB3pXHjt/bpCPC4cp+b1MIFI94fYUPc3lqyCo/W33kwdClRbSVRycFFFyuZ7qciYRKAmzduACiui1DVc7JWory0gVh+rCZJFf5Ky+m7zZSvjUIxJUkutwr7xwl2o8ZH+RQYIrj451ifE8f6GK6jL4jUl5IlPnTdmWs1MqD4PXGHeca9mKDVpECZ4GYfZmxHd0+dRI9bcQ+L9cJgrfAC1/U6RKBIzmqwPF/T+bUZ+SPDbaSBrh9d/SRR7gWdsmtqUsoqLepOYB4tLb6vsd8UOa+GztQBrSduXM5cqIHkmaR5hMrIMtgAFkXb5GOlxER3583Ok2JEWm0uXNTsIq6L6kU8dOS0mcs9Gej4yYF1n4wE1locGqNmDHjB8kxUUA7OVzvJqaFVAVBtY3+IhyWZqbxky2sP3jHmQPt5pW1RrQZy990f9IJW6z4EPD30WX2t1Tuh2vxIQg84+5kU/jQmw1kg5dSkwPX3Jc0bWlgnfp7KBgry/pq5t4gvKNo0JprS919+LjvszcHD1f67yA8uzYpmWqBu9cZ5XHl0AW5yYyHPuQ1M15CZVvDDXGusoiMQK6bgvE6dPDqNXEzOedERhI73owJRbXirLWnIlADQbGT8SsSpKSgsD0jDqTPuQal+1Jh2HvfR8pGnBOQR7LkDWgw9CBmHR+3f7NLvwIlV/4oQ/vIaQ/Y6StG7Lw9qeJpliZDGuyHFNR568gM2xd8hpfXIJDzfVFfo5B5RebqvgFgUzt78LYV3Xu0Q4zwsRsrCThtyP9VCAwmXIQJBEAD+Zp7PYS/HCua4TO4LuAinziQThXlcPzgn3CCn1mg5EPPPprLtvPIFC/9CeLBXl1wRjqLRS49508i0Cae274i4NU3Em1nbcUdXyKEhvq77/B0KhqemL0SgjL+r5liXSZtm31oNAWY/KeeZubh/5KNRCWN0SR3p4Eifnz+KUbZB5PV1ttjOkZgzbU5KvazR2Xwtk7zrTuUczNA/9qN1XqWQDXUofWubHaBA14gz8R5rbB6zrJOUOZL+wFhEHQuMyPLgKf0sOggxofCZrHOZZOilHvCOcD1P+3Lo3Bd3l5cvCDcqDoDPsFhjiO60JMLsLs2w3GTlj/NpSZ0fxcnDoKk3cwg4FRd1xjB+nwwrk4Dl5382NFzK1yrel/IIULX0uF3nWYNVI6I4vB2VM2wpYLd1yRHANeKGcnQdovuS+DD8UC13T4I6cFguojFyC67p3HPhv8wIlUGmdhSlzFnE+G/ew4NiYHDLgIo3odej+R3H2X+ltIzT2lbVktYTtjFImBcJgfIHr9sZ0dtq0Ww/l7lFqKGNdnhZLqC6xEEezSQDjqf5mBncUn6sXhPdOqXlozf89V94+xRmYmHQYOErzEemHZJfcUxXIEaC3UmS0SgahqIgYMCYyaBLJHnpR2iRNdHMT0EWc1QLwezmfT0hCcc9imVrIaJdbIu2yr+C2kjb8ceneY2v1bVVdUG9xgx4PimuFmniHMxEj/2phyOMHm/Anl2v4giQpjj0YhbZGY+57QczierPpHSvVAiSNQTjFLxlraGZgpyrdK7alngCKQ6VH5mk3OL7hBmWOclG8K1oLM3Ysoy86W/VuYxF7VUmRotKPfIJ/vznhXuRwsXye7yyMN6r4SLEBbSIeybtNxcYOTxmLGfTTjKnLF0WIhIIFAy3T2eQdByCTREFaV6gPQOCf4nYzhyx1dAr5R5QYX5AlPbstyUEGq0d8wAToMwMdyHUB6u1Jw7NMWmbFNvZlyh7B8kcN3uHP++pCAAfBbI1wpwR8pXDtZ1ImFT4hvw2uQFtOyXQv9xie+UIGMcuQ+gCBsKcrAn7hoSHvmw1s5rQ0m1gYyembppo69bjQQPJDXudLvCiXuntLQOQDj/reZHLdvkFAXUWZ6mEtstXEqkhCHxcnfzkIGP5Ooq9O4FfUtq+t/HReeQ6XY+rCkjpv7h0nVpiZ17reeSCBgZ70drubE/2UNITFeQGCI9fCyPKVQ0e+c6j/49rxwvB+KXABQkHj0Dpiw6rR4T0Df01HOmeVkrTufuBvX3Q7/hbKBfy6RcF+JWIYeHQF7B/qQ41QF+MQgjT7xb50kSeTpFtzrYBVKvvEvDiBOaAg9TjVFLgcUWq+vQw5vWbje2tMp4xuM2eoZozDSqfFnB+93VoJ7Q40dcanvyRiBpPJlpbYk99nDiXFnyN1UmGbAb49+lfXeBGvmvi8boac6YjrALl3Sj+yebK9j4uKDsfBJb/bn+fsYvNzn69lqeFzin11OPotf5QlHGtS+iSXYeAmrrgUsZpvZB4pxgn380g+aih2t5C06u7ks2srOZL/r96GkBWc6MLp+OGHSi3d1wEK25c0E5ty0oYKQtoPGSuSaz8NUQnVDxQyGFH0W2SCVj/ooqPFPKDw3l7lmjISA2vV0JofSudD8kiefxDZFUoCMNWkMniIVH1hkbAow+BJVAJZrlsDWrEFpIBRHYHu1tZPXVBs1elbCIZKvvFBAfRx9QKhPmClQCjnF4E0U99rfRbfNC2AAFwpLkYqIw5OjZBKiIDZJJwlKVqhF0306jRspEKcqHDUkkhhlxbZa8rT5JhbF1/bavImv1PkRdcVZ29Q94/p2y+deoIh54XcFBMXYZkhcBT4YCPdgsiiRNAmLF0qPwQ0LVdp9t4NsRxpfKo3VKenu7mAW/CK+0KDFehPSvGtl3sw8GIOZX9rosRsbpaPFtJp1PX/2hwSWKGxDRO0cHcdYXXqEEpPitmn6vZ9ixFLM3bRm5xSrauZdSis1U7HJA3WIdnHtZbJOACuf4LPmlapUgrk8fhAktUavKNOST+BeP0hJu+gLiZaTcKFBAzUJa5dzn7q1zqPpJzhpSCHPHqKl8Ng6kxs+TepyYQLSZBNBKiTGT3YmnQXTFy/drP3ViXal6YtxWdc9Zf1ugCxtoW1qoqJ9F+cDMqE/aw2Ql/FwPn/uwKtoBGSGS0XZNhzXYqZ4l4SYHsYZJvyPaiiG1nI4FJljQdHhAEBBC7YW+wTtbQP/m3zsXpE+K/0sC4nTpYHS+wY8ytMWyLy0FOvzS3SJLwpeMo0SEwsFmbeeW0aodJ0UQDNTn0XCU2xMkAxCjd5tNLrXZhzIkJWLnP9Pi9wJi861SWBU5veEKCjIdHMH3cBZU+2l+S25fVm65A3ycjx5clfegfea8gygN6cBuychajY9OvOTgbrayGXpJa6cxQkZb2zW0x9h8bwdkSrCe2D/VOcI7/iXHuhs9wtoOVAgqAJ311ENmtbciSXum6/Kdq1Sq8s+zLHu42ZQ2mpAA0g/U2RSwBTfIIHYltPtkxOaYx6srXpjSp24IRbYT6ssp8+/ydP5s4rCWdd3kLN1sweBZYeDma7j5Mec2bE6lyFSf7K0/fUluEXsRnAQscAtN2g7Ew5XaxpMo8PX7K17xnfX0eAAUWT/UY3cjQGyRYYIJXH0YwCgc8zCEW6GGmfG5ycWQn6WyUzghel39xE1+MilbF7rwIAFVskvyb4n+gvVxWSBe+R4XIZ16PuOGDO9RB/6Aclp4BDeptohQrMwL6MFozdsnATmPz1+lrovJ4HdU66F5RWsvyEYkxx0xwoutzjOxV25O1UgGiiwKPAD5hpmsAmI2AtfrR8j88jSdrdyxia90FAyljBGvbGzAaIwVi4PdbthSiV3TE4M+3eSrpaZ53WX6/JZ8oHd4nchAZSvK2dCPQ0rvif/mRTiH2tVFRUZTEGh5PxHvFHhdS6S+t/0iVreR0RdPyuhIgJAfhQqW/rqnuFQ1gNdrG76R80FELQBx/lqvjtS2KMv8JxX6NpquLrSNN5XgpfrDyy3Sooah3nnenUrBHs2G+YmLSto3OHdQN8pA3kK+iuWtmyclsAV5qUEoLs9Y2pul33tTks3uuplyoZnpyBoJtSr/WYKWInonY2G9dN5TkkxJNrhFtPjxbsaMh4y+gzFr70jpRnPA8DHGV4UAsCeD6lOwkECEUE0fRaRCSHHLVUDuA0Fuo8ZRHDH37eWKxNVkQEbPMipmY7sHXm5e7XtS6dJLshR9XBANhE8d4naCeJJH1k2mmONEIXgDIBZycNOxbCPvfW3bPyrm+AwM8vz4rX8S0oJfjs4NysHlQXJfJpJHUuQX15RsqD29v76+fAi+ylt2n8tBYi5/T8auVfHosCF3Xk7vhxZIIwusL/EJIWcOcgXHbqiAY8L5ykQttn+yks8P2l4FPsaZkNI9C3i7vMomouiRoYCYKbXuzVSdYgB9Xl676GVAa5U0MzDUFeH+zaoOCk8zZoFmr6Mx9F/Ueur/y3rDaa9o7TdPuA2yEl1UThNDeqhFW2Sp1s5EbTVRfkHaxaFYEIaGxmKGGuM9gNFGTUMgPzo+ZZ+mV4QT2ywthREW2ERq3Hou14r7S7OTaFa+hUDaOoFJ7qDJW8rBJtKTJQqYQJFtjmo5wJHckuXYTh3zqEILZIfJolthGwcNIDumvJUBmPDTcG5MOsRPM3jHety/ZTyo5O9ZlobdnRfUMYCCyIBQJ4g5noz0etO0DYxgpLixZkJp2u4gSG85/4lNgdri4jNrqi40ZHst11ajuTfPyXTUiQ/LhV0fzHJLRIdP//yrhOckxdVkpLa5ff7EfhWS+nkzza+wDaTzGdnM3QWnbWC17Gq/cuSuFP7GmiLvwV+sqv5qo7Fa4pUkTbocyDxicgzeH9IdehW1urqh0KKOOIVnvHrIPo92jIt8KnpWJzjmMLDNOHQuQCgFAcSTugCUeTXsvsIVBrFkpHeS+Be+ClHth8Q4Lv3pejkjTlzjPDS3v28gm4cL05eUwSzi50aJRtxgxTNGkp4XhpdUCpLol0CeibR2JhfbQ3GS7NGkB6y6cxfAK6qMgYmOijqeJQm+A4fdctHNJ8iWJKHSZbLVKCu5LvBM3j8nN6MEG9FJuulsUqumdicaQaNviZw1K+4Q9SizSPn/HCzDyMErWiY6zX1JiOb2dIau4nZWBMKB/8bjFeLm7VbLj1Ivbo7tuEwKQay4jtRBAjXpWmlcyOEzr2qA7YyJdR9iq972HjtrHuUlYExeYPOqNJaBtNb5wkK0ODb4UWAjL802rhB84gAUcF1YYb+ybXRf3lkSezwC4kWkUKfqRL0k2BuiBIIPoViiH1EgUKlZr1onG+yK2LAYM2qTTj6YTzrPE1QOosORSf8K2i9mvnyviTsufHwFGaINQbekiiT3U6oG+TBg8tU0vYYE777ta67inX3I+R944/IJv58mFw9+ZSMo1ElMSHqnD0+ezDjYCDg+UfbvrAEBwzy2bVepLMoforGf+3+hLoabCIyHHoNxUVPEBD0lPl5hlMXKCd9l29T3GXP447CSAifXE+VOiuKSTEE30PB4s06pMqR1kjOBKPNAdGzhzVuapG0Vc5XfS618wogP5dLHgQoTAvTkmm+IUvE7/0P+uLytjkabmcSiK6glHG4w17vlUFEtra3aK+NPPrw5bhX+WaooTP8s92yRLU7buMecT/6V39ANIxvPUFqvDg2qjH7aZWxlILBXYAzlwGZEhATdwVautec4hDpcxu6fHnQ6SJe+5PuJUL+f20o9dfBDi/VeyCEa7/OcaJCeGpCDeXiozUyQ+EezEZ1LhxHRV1qnbcr9V2aALNrbesGx2FHgXXR9SlTcsDo06MEg/FmRsUJzxRD+z3m+GsEBGf+M+Jvyh31xi2nqA654cO7446KvQcHDAmtQG4p9g36nVzUBnsvAr4jGofyVwgeTdFK7G2YzbA5w8/WOMkzLPBHtPiuolztdlsou26N3q3uN5hAiF97LHWmiMDs7a2cntzgFHdM63qbBulO5nHGyGk1a+CenKa5HP3JGeQTj6rGwZ5ZFi+cevTyT4NScwhge2dKnJNHFujmEdNmcoLNUs1kFbAdmCqriciceTzvmkJDaqyp1p0q2geC1y417Pdq0wSmrYV07VKARzx5rAZt70YZcOPStUC5Et32C31ke7r+9bjxsy8e2+9MFIiEFIV/6su3snttSEYw0vMFlZVwxiwQQZq2msL2trqMCQBIx0JKKDZSwJ7lQvc/2fOV2f7QqWBLSKn08JTs/gRsZ5siWlzbt4muinoQrEqs2fZh5FWTK6UvXp7Xg1ZDj5cGiWAOYzG1XNqN6euMH5JQ72fZ1sjKUOa8QrCZ1HAseYNKDsLgt6M0c2wIc0WMLnlvB0ZPPlZ8XtyqlN+Faa9dtMR3lHI/3d1DYef9ybbjqFD8Y2QL/XAsxbja4RstYWlTrCrr+JF8sT2tw5xXFgPbKUUo6mwEEuN9SiVlOEocoz6bmCqxeVHsrffvmklmfTW6xu3bs1kVawBcX/f/thqYNTn3VTx2lDcpBo1QmVFuRi/TGRq3RLQUS/O/LpCI/buWoWuFkbklraKpn8Sg+6q5PK+lCwieEYyaka3QzrVjN7ppMxcuENKaMesjW1OBrMVkmX65mJ6ocGfU97UcPme4inNy8RjnBgXI1jnV+WyqkKs2irTH6mnGhnBEN3XpZWe8WkSUH43I9hcNHtOSuVA/c34/ib/X7fkPrZSZeQsJTu/EbFaGmSa/2ybFTaVd7pDHqVLTjYclOlfONaJzu8iViaban9SpxneCYuJHn6U07jyDELKRqDLIwL9XnX2Jx7dgQn/bQYB7PC/m/sZUH/bWD0FJ2QS8plf2xi7qaGV6jEsLqj9fWXTikPr8cx0S3KEPyB8fg73lxzzXaklb6CjKsU8WXk3XWtMLLkElCBvkuei79N3FLcL8/p6Pulc6nnEsQHRiZuHuid7QZcFw9Tki2eOiDkR+7mRBahSToWxRuhxLqeMYmuNzVhtn8oE8fHTzGdkdy9L1PC8gA2QHNlDOITGMvkC1XHzYeicLHRl8Ex6zSnX3nwK56YvUH8Iiasj/brOQ32mmzmvwbHg/auLvZzJrUPL3ge2ub9J1mOujtfu191C8ap53dHVoUNFhHeA9AY+e0NiMKMqCsktmY9aqwfeRfxdNpRoDvhyawSpDxKdobTfojGorTMGa90QOfU0jKIyDPMWZy434LOCG6l6Dx6EQTHO7R7fHAM7bvT4WwtfAOxF+JjH/tkeY1TCdYXUv5vpshfbohLBCBHgRb5x8BjqJ0oOuo+IT8Y3ldbkSwsj/XtcIKkAJKzkqq4WRzqMg1F9BBdteXNemQuUn9qTnCppobYg4LvvYdNWg5j/ghbmBPu5/47J/hO0YUtTXuCkZZDuXP0uqB9obLw0BGyjbuNefD1LugVEiXTq+Hs6xTQd8CkXZ0DENj6JJ9dn3FHv2YRFDOfHjhfiTaRNOAtvh+4xR861NQwFZOd+LupnQdu5fJyIyeIpWnsWdwIvsve3ud2SMkYUC5uUrwsobuZV06AimY2w7c2pA83KTpujQ5Ub+Omk9EK6CDkMVrMcQojrIdxLWZlF61RJIDIeZKnu7g2d7ScmJSsRj5GkSsD/GkQpweqMHHqbW3wnP5OJ1CypX/7aL50wbCeAavzaD1Xv0DD5KglBtxVi5iKQtgiLIf6SqEkqC4GAtnV1oFFxx1VhETAVSvY2F705Ei2mAvwkAnQGfmY6ZFP7+fNsYKdXol9w8HIGHOVs24pJhVRppHy60DG5mF9teSzxW32ZL9Wh6EMskN3DrOKAtk0zORnd70LIYRBOr4Sfp9c6OCZJUsfBxvSEF1j3GNpKzAcRuFaQgX1UvmMmTZS5y5TDh9bCf7cQU6sfteYTJXXDTm1A1EXV/r4AyUXH4zm648KmwPuuI24vnX8fxcI6XBF+fG5n+nFhftBOj9X4RNLyMvmukjMzB9XUhqwX4Vu1G69x22unJ0ev/tWyRydTx/hwtZkWjBEFOTW/FUZ/KaG1eDWvfkb3QA/3oUmyaM7z7D7a420qvSw2Hpva5Kl8dBohopcu+hMu4kj/3LeU6QpZgdivd5QPiun7o+aUZyqQUobLYQTxJl9Cf6QvLFuThQ1EQii470kYfDwba7P5otr4dyeO/Gs0yXytkIEz5vpldz7biw4RwV5P0qrURKtPbfiFSBFkRGkGqmMOioYrDnihAusQumbokTV3ORQ8AdNQvsXsHfVMSwE0CYHGAWErpMILrIR8p7TlJhUMhFOJULuLiBC/amYG3eEwXAhaCe6vIRn6b13rhMT4ibgZv6h66YQIcascp059CMjY99VVii/bO18ulaZHDSNLFZs93lQFrRs66PrBbBnl7GrKlXikwRnoVFDCvWVlqr0hORmfkV4IW7wnhrrK/XJAlQP1L22Ycx3Astqp/rL+Scc0iMRYNK691u0yMhjv/QmYYlUsxjrfUeb/v/ZneXlF+3qoIgI3iJbh4L6k8HSyvLlKfbdgeG6isx1Dw8jfvJPVWfNm/PZxlHvxxyxdqUQNp8yJ22xzMuUrCdgqg5YMeF16GRnXYvVNlQ+Mg0p2kqbubtV7RwhZlUcg+wOPWyBZPdEArSi5cSC1YIdEUnqOB65pR6awlamf4LER4RO7iNb+tZZwZlEsNCjyAMG3fH5KpnYXMLszc5FD0tmU06Sdk1W0JVJOT+wD8oy05/CgEe+w42ogrHip9kUJTYQmPUTql83RL7Ueh9xpMYmI/TTplD/jQfix3wZuR9RQXgNeJJIhiVW/q4YO3oPxiIXHlsT/6KHWAH0ZLlNKoZCMhpbwWuLLyxvBXX33rKRjilviZ31IJJ4y4TDl7FwgvKk/Z5l+ucdgji8U2XXqoRg9wLSqxQHOS5CQfIGXEViPZ4mw8rJMmdyM3+W9Ijor6lDn4ipkLu4kbjbSEVoVb3DAj9lEDD9fOLyy2JVNJf1ROp0H//jd/re7gdw4XbVTN2la9BM+E+AlFImcu2A5x1K7ONm7HHq0du/RxZdhQ+Rvtnet1ecbikoyDuIY4+hYLgCJNYRuDR1AhN7QI+G1FTcpPD2DHRBEJCMwXQsZw8xj18vvIk+w7My3UusGl2jK++vlgZFkytpBNO8ZXNBJvQgZj/jC0Ekp1A0URVX06LDuTqaE4KR4RnTedG4rD7OzI57IL7Mw92syhB4PlXdY8/1Y4Gy3tWdrgIXQ/vDAG9BxpGh5+LTnnFSUC2MQpAjp5rm9lcS8KMCR4qWlTbw4AMqd2Fn41P6BjFqpGVUrPCoz1USEUV0BwJ2KKCJusDdk6qHSSOBvpWAAIINN2ZJ6kYAKbd+PwTvRIs98IXQS0b0IFgyBKJcJHXSbkpzoQp+Jc8vF6b2LBnChi2twQjg8A68FJKF/o2yoDjgVZjzEW5xDUkh7tqMHxuvR6diw4rtqC2GbMIwiC3ePYLPwOqyfmq/P/wttQ+GCBCWcMdNw8c/lJ3iCULoTYFjlYfk0tcseiy47wNd/xNk7YmGw1XevToUREnm5XTjugNom82eIJAc/f7t+a0nYiCQzhxlvwC1txME1+CCvXi6ekcBSPgKRYv/8Q4m0+51W62UqcexYwIz5uO9TI5RJXDZzJ+HeOidMRDl+bzG9EfnphxF1WKS566CcTJ0yKjthuwZedxPn7pxGbrkUfhn9IPWUmbGLk+dRSONkC3mRTC4XlD2pNQydlsS0RFmySzXrL5AIMSHbDd55n5BP1HgiNwG7GC4fMPgPDNPN1IhQsJT7DSl5FBDBkbYf4BYMA131BR50Pf1siw8VS1l4KGfqgBfMlm2CATCoodyT1V1nq9vHAgULASbU2AEeDgs2p+JNy/ek2D+cuVO7TXP1JUbJ/rNWsQYm/aeolZ9YQ1AIqQWUUez0elJcmb6sRcdz4SEf8m1smgQwz92OnPDnChA3R66gxoxtVrklMj3TWUCadceQTwER6/XZiBUBnFLmipJSStLlkO9yuN8i+gHr28wTtmU7e0phL4D8p3sKponHPijxYnu03mxfuLrn6B7V3cGbCA2GElpmTuMme9R67gNQ5S/CcWwKvOv46msNz64eGjpvkAT99GwVS1gfH85lGgOaMwdMzaRr7kWLBtpl75/8CzWu7sIkC8ZiZgY2GSRpdR36hoXDcenM1S8gYeUYG8ausp3RyaBrSPD5faono843LFH3d8aSO7g3nBJ2OuTmzKKySeDuCEmQCvIuNo3M27nTLFtD72EWHEOEs5kgwBo02jfSHoNVPtnVstlkC6e6jdFrRn7Yt/KavZKptGnpkXIXxVTC+e/iVJHrTrx3lTuqEgwth7HzhBA2ZC8O+44Q4hFsMPlWm9QDI+fOSHFRARrIEPM8iYNSR8/dEjoOcXpaDU5gnKR8RU29IFeWOHrylUBhvAa8ElA0WG+zqh9aeKfmTKSs5sJVn+nwM5Z2rUjI+IXcDS3tRt48kb0Et5g/VwInVYfEcO5nUngqgW718OZIuy/7ssbPSWWhhmo5OPUIfFX8Maj7PaM4VC+qhDOKTw2QbRXbIOIrsOlSyObN/gv/2Z949YNsYTtggRyXyTcSvofrvnpU5cJUIXwQWF12RVPqqy1rix4kabIVX4aU9liYqaKTTRqJ9LXRbv+wNwamD229X/+4wmF/W6lMRCIX6D6wUZ1UeQaT/yqO4aXQaYvZAInZ7KoN3wZt1ue45fMJzqWM7YPS8mIC4CuX4LXfpmSD3sj2bPxUxLPlnYTMMxpVtPsXaxeZIgCecpF+dqkM0J+YOW5PXD/MGlES4My/7kTR2P305cru1DelYrMCSOWEr5Q1H8rjo+V250jDGPXQWb8nF7N9XYRKAy7uAsoLHbUxP5jrmmn6G0fMczS4rAJ50mJMgzk3p1Rv1j4qGYXCaXuurHm0giA6T5gEWFgv6d2COKitkuzAYw0uQEvp9zSdFjhqfZJ2wAByqLm9Uuq8/3IuNNZFJHJFdpihB4SV2TLCEWEN9x7r/Eu6elrqlmNYgiAN9e8TdFwowGrjpU1n8Uris4+GjZyOT/Zd6g5DO1SVm6RcodleIlqZJW0Z3rla0ACHmAq0cTyFe+aC82+0EiEyrAkWwoni0cAJJ4L6Rv/Tvr2rHm17rhmeR479Npl7yD1S+ayZacZQ6mUF/16Uqf2yUhlTo9xDy5sDaEkUJDXOSqVSmo9jijH18WLZ2ACEJL8s9SAtdMYljl7n5IRh+TtQqs0h0r7QJd0ctcyvy2xfE4UKQkwrDEDXLHzagv7MxAI7No5CVdFzCgxq93pVSrHGMHSOiJLJTdlvdLW86yWtSMfdRSgHFMc8jPI3dBLTNGzzIX5GAE8IOEdRvOAtyekpWtKvY0vOnG0To8sfl3h45kyK6TckrKRpOE9Xy+KAeqkIyqN/4fAGpHeQGqpXrl/FmrwoXE2EwleuSMYR+BWsbhySuq7zwbESjHbMAEjCm5chgF6vzTdNEG4VORt/qUoZNX/KL3OMsZ5IqbtL3C7cLd6JF9hesffwRwPzLSU+XoLu1xfVxUHwB0+a7J8/noUU/+Z+kiRIG2KVtwvpirstCHd9sC3iGoyRkoUctNGD3D1ZwbUfX8KHj6CMksXVmlG3Ew5OmeW9EfExjUqN2EnIS4s9BsliYlqbI1rXCKhZBRdDrS7yE+P/siU3hNTRkGFeEIZN0KZ4TdiEnTyspoCH8NpZkFFxg1AHXU7bfMjE4/XckGxciVgGnUQYyehon/jd8a+s3P1t1Q+IRnzea4fyts8oLfeKbYb4xE7Lqbi8Jepem6ygYbz5TKI9h05dgifX0BSZ8EpTZeICskikW8MXc43ZCOqA/K0mD7Dp6t8mQYptOb6+0qoUc+C+0Vu58NhkNvEDa4Fv8S0bjPclUjj8Eu+1+vuHEuFcnX1c8EaOGFjxrTpzSbo6ro6HuhuutTM0RAfPcQnQrIQfskbQ+8JKcQibGZYBnSsDzaOlSey/9yNWBO1xJio7qaEZNF212e0MDfwis5qpqQP6bIwzEzV42vKs3EdxGBWLS3qkHbd6jLdVU6hTauT/naC55+j+mdyZYK0yXadmgvSrnwIo0VADlf8MC6fxecVv3KVmuE5EMGi//6gbBFnbsVlZwZKtw88Jr9fktlUpmBwp3S79owZyQcLnK73iWmgZmgxmPni/ISrqXYeCW198MNUClvRpaUxkgmfZf0pNDKVDY8Phk8RWH9b2i1mP33aIUS+ENDkCbblkPL7UjxWc3yL4HZtGJiPjt1JKo6rk13uG6NEKSk/LPNizPXCMaUKYUsn7IlPEHQdjzUzKVRM8nrE/3jYNIX9ikznn0iTpt2c+TnQEVzuKirxeAaGXPOpsckEtw20Ehqz3MAh0B6b6nREgxTE/raKegLP+7yKwcB6LQKDaddHfpz+Go1sbzwOPmcaj2BoHPBrB8Ft4OQVNxsvTQy/Odm5oYDr6LlTQsErdijUULlL4bZ9hlZ/A+rGFJx4W4AMrMr9RP0ZHKehkq26A83fEuFc/df2dgRNj9trVnXyIoRF0+v2D9JA90dfo64JCb0MupeWOCBO8ImZa75Ldb1U88LA+ZOAXNYgkLNC1V42Y6cRBrIss2Oww/r29DsFBp/odgnZrmJgbjd9vFgfVCUrI55nNpVa3ULidz5stktsKkZ1uzYscDP/fWFO0wAauS0LECuOPmhm1nqQwes1SvX81bqiyCSYhsTliN6uc/lL3N8rA8WyljivxPFtY9XPJmsoMi8EgJjSKPbofejBeWrLxbiYX1NNaleuxhfiUE5XT9wJ9hBTpvTXBGND+of59kN9Cuc0KItRRJPa9c9/mNa7fpkxOwMz3cQd5AIoLYQOTity+FWw4KAFzgyS/OzsjFe85U9EausDS0BdC4bCJjNZipcg9mPH/bA4x1YDAXxTyiqoq0e5/9v8tyShL+HVFbIJaY+Le5ACFEoUdAuJgsnG0PcL31lcIRb2v856WJBpb6hlBJUaYE+MZfNscRIM4scf+3L1sAqGmZLfqaLods2h6L8fnPoKTDzM7WSu80Khc//+e8JkmHLbNyb5LS7XyGt5IqjgGzyWzqggE6jrAMflX2A4XK44NMojlWaWcHSAsHNBSuiTL2pQaFI3z1gTkIP94KKFIF6yZQ3LXfemD2kGEjy/m5wrEiU6XQ2yyXD+KkRTAUqjpyD8WMVHkHvGDt9CKPdJWvohmIHpPeFez0dFLrx1L2gICFJRyrsXGyvzBTguFF3sbJxUwHpIfRO7qh+fXzJavVdUw5uw1huN+PXtHR/QgnhO7jANn/Zz9ZUFAMIzYDNNN6PPhTcNrm3DnK2kMWXB1uaeuM/kYHETaeQaE/fRZWEeyrDSKVZOfqrIz2nvjTOjDucYKEggiRBvFQr0CtJTF4OqKgT3saSWhBQrPPIvJpH9tCEy/MMvPO8f2dOlJ9IKyRssPjDV8POOeIzY3cCGUOrtkD48qkWN07Gs4ll3OcXogr6qfjM6gnXZDNQjb1i4c0zzvWeA0rkLmjgbe5JTdfqK1f7/DrJ8Z16nQWUYWJW07q57h+i7Wb8sy46Yp6uyaI7mNbBryuFnehGGw2PT1iY0BPXhsJlY9/XNsrKPODg+ScNQmsTUnCXKpz2mCq5OoNpQNDtz9nH3tafjOJ7dnXwm27GfyfZe7L8oIAVuaJSIO66urZUCWDrfA7M/46sZ5UkMZq41S89Wk1qBFJK8znk6/JVD1J4rML6i3lj5HiDA/dLS9xGvQNWNvWxQVg0uJOf3L+891fPki5+bhIA8VR0Ak9Fx8e8nwrempz0uoQw7tYrpdmmuWffMv+hUAsY/CKpUJ7E2oJ1r1+gmK4AdgRF/8wQ/qzmzVJpfox6WS75J/2USid5g4O6QpX1OhuubMP1LGjoH1s47JWnOLrWchhB4nmJCpJ59ez2+YwaEweeGPFC8ReL00fNUrxV5pu3lEmLJQRP/HcLtnu4Ilfx7lK/V9ClDs9yPCX2n/K/2p8DCzPbOEdrvBFPKLQqBLu2/8bsKIJpiNAE6vpa4WuSfYZZoqT5SodwqM6Iwv24jW/q9hJ1Z7heZTHwFNU0vqrnv33YB7DpMRGci5FZ/jQwkv6d7COlrH5E//7PrFV/ReYmL7BL4r8xNFx2whnaKc5lCGOezY64F8mnRQFGrDJHTImnp3y9KA3hW2c7fB83JYNyeZ+rasxz6/RnPBJmtkZGOdzBztibR55clt4I/+jjlYbx+QjB3+kN9hGSLNA3bapIPWcGXoUg5Di3sRGUi/pe8G+UN0Cf3Xbd3kO6xYQXPfjfquecjj4TDWLwlzy1Rsx+y6F26zcV9XeSrI2WpomKo2LHmUWCz9O6vo8cT34Fp+vD61JwyC6Soc0dyXPiN0b8iIuoPaLcyRJjFZxqCg/xk7dNcAmIDAiaIIwXANkw1xRPYpOf1b6I91DfUbX/BJKkgGqxQnaV1a793wdYfwCzEojcmoHVnDvYxMS2FmS4quLvw7fKWVxEKHxFtSzY/OckJiBjkgnG1VDdagMwfmi7RluRIJyXV7LlLDi0pGDfvGdJN7kUu7MKgTEMFVAFLa/dv4pNROgFmZxStQZjpYwTvbyjMW0M1E9dUb2N6Cv3ixtreDCLHbq+l3CrPTks1bA/6AQ5uRiY81nZxIhguXygMxQ35e4g0c6rBVmDrP3nbHLDwItVLxTZICj8Jy2beij4RqBAVrvJnjJ9WEgPRwKl772Ph2GKyIwPG9bp9/3YG2EmJp+K1tWSyA2NH4T06tF/U7gJs3JhZAVmBULAjBRbeu8uo96lMJREWnaX2UjZM1ur13ciL/QyFcwpLSqXkYhRkTeZFTgz8uTd9RDPBfoEYL64SYqSJVwSFy1BMzB08ZjudFQLuo5N28v4aQx3vAWfjF8j7wxOGtJZ396L1aeVSWE5QvoDF4OExwLmgln+q0habsY0KjugnhtVxOIukAQeQ2SViRPCXOcecKAb8iAOoTtOJO+h4pWHEKn/mWNyDBqCuJRh/joTzKZ2Znwdz6azPnUlwehW/JR4qyekHgAUqFq9i8UV367aFp4v+0OsJCU9KsCmeJ4/gSxCS4dfK7i/1uZqv//wSE1jJvVClhpHjx4GC0OOUQPYtMw+qgWh/HuQC/qoZIyIvCxGYEJAjEXXAP8mA5Fvp+TnsNFt8eUAZOcECLH9ureq01dktAorKy2hclUEtjM+CkRVM1oR9k0gTDqrrHgx+BcINt0UYFYKuzsw+FqgJ+O5qiCklmUFEEMD0ympuZ03vTmVYa1RbM6p9T9qtJClRFFc5uPExc4jWSr3UHNNRd+5qDQrvDzral26I2sNyXYCJleEpVUvUsVdAn9hMvwfCsdUDBL8tPTbwNqmwpy7xrEbXf/CT2QY5IAuEvBOm+UmSDXPIX49xL7pbUhgZOn7HjiKHcL5WemWaivjB9EkxexMKjYBDFN7/NZEPGqZXntrmRM2zEPDWimsF4LHOTw4UFOxr8JmQOV3bAVfpGUFso1HCmONYfn9MkkO8wkgWyUtPxbPbq1izNsArODkClSx/FBaKhJLd/8BSpklX8ROZzcaHmU2femKQIXZjZDDMME8tT+XghdryGDQ9apjZFXIqq5wpUyjwt5vkBT6sNzwigUl6DmbrvSWUeqAOP88JwXSBgr3QQHsE36mNKLGFpIIOUtGeY0BBDUCw4/Ls+ALmNo+EzZ/PfkQS6SgBYPjJ/iDaH2vuQV0txFEmEDeeFD5HexdmGNjxVQxiiNt047xD+ZaaUvVZCgHYywkcXt7fQwR6dyQozqUD9CAKJQjhvMu6xZPGRHtXVbLLOCdfV30VSYlPNMN2ueA+lehFTLAgNlWS0LWkGZNYhRfjpMu3Wr+OlPpvK4zv3QHCvGBQKjer+EuVX/eFLxHRCy6lN9WqS4YW0nkDPA6ouY7eOU1It33TRM7i4ZDad9acWzNMLEhKR/PWe5tqq9a5QnDnVA0X8QZXsZ/O5pbi2V9JSD6ORRaBxNci3++fNEgqT1DXCZgySYqg9gZYXx7FvRNwJryyQ/KSR+eRAhO6qk0rS2DqFcnE4wDxnjUE+T2mWssFcs9Xu3CwC9CEPQcAnILxAJsrL9tq+tz19a0qwu1LhGFKlZ/iSXXzF2FW8lgVkkSdMpvZsQytPsqqcALmcfRRVm9qZPQ5Fzo7l8OjEJ3pv4BHczoJmj77yxy6wtMo3KQyIfn/mRRWToGmdmIzhEwTDk4uyuUpJ1YpY3MT7Q7+0IV5sz9DGXjSOPoSPOTScGWx/ys6BW+oLYaNbZqkec55/PwKcdL3hulFAP4CS8TaHSbyHChEqyWHpvyRl3uz7D4rFwDIfVq0hLjNTaPn/xmwU7kl07Su1SOniBndtMueyr269X+J5jYQzSdvguszuTQWrRheOANuqJl2dohzp5EeWxDtK9kdxovD4GQPjJXlyL3sWI/JLq1izC1la4X5SUXC9woIP8Ot4X1GRUn5vVubKzJnSuGoFgj4vSn6VQ57IS2ZKyhqq7kAXIRhd1M8y8uqmtkKu+AtXnjMCKicQMNIdKWW/Jo6u+IW7xn3TVHm6QN5KW2ZFvFDhVum8Exu/LrOcQh0pZa1uEC09HZfEoX6LGZ4V+G+b4WXU/JgQB8nuRcdvt+xB4wF6xe2byzlO5IWj00DIu878yvGbXD/t0oJHOEjUZsfdhzr5j5XSbE4XDbUxCvhW7H9BoX8H0cDUHKzeRHQSaHATWSYNGUTiyn+HxbND07xcz8YKs+7gZ/ELDLxlliRUPQVRUOe+u3AY5wydF064jsZdOwoiyJttphAiQM8yHbKPghsRumoJdmOeollGD06kaQgDrUxE6Dl+ul2YnvIZhX2GkLmOdpYOJeHCUAXve6nUinoRE9Dhwp9iLHBFqZpgmaoDyq3SGmrn8pVrJa7ilIlVTmKuvokD1Z72b/ONR7gjNXSkNfslA5etao+sV++PFZLURrfUzsZGDF2UUlSJ7cJfo1uUFxCU9R30AjSM0XNHYl16cJbZ/zGszFWfNmwwCtKqjfFaT7OJZq1o5zRAZRSET2/5jco+7gjcMozW8xcTVJDf9DMEIKZOB28oNjqqykdGVXl8569+JyqiPtcOyTlDVASozzeG9swT++M268/bc30Kv7yFrvrXc9FKF3xBHGNxShyv7em8GGv81aefkSU23JNt2u/6ew4DjcJWNNEBcjmNmBCiRHe39gxqRWZ2I2OTgtamysjil4xWELj3ZTv8EYXorBB7GgHUZ4P1WtL5nJCnq2cChUdwZ9Kg9dDD2sDzElF4G66uHcIIAelNpctepd01WmBEhWyzBwL8Eh6GrxkGt3pggdy37EECq5+bPBNJB7AVRm54CIUO1B5XEwINJfl+tE4IksRpRAUxAgkX+Ggp7iSiBxQB24GX1UJsMipd30pe2fb8uTTavjSYf6n+6C8KqZe87CtD4V6m0RfRBmowhqEPo6MuUJQXzvRiZ4CjnE8mYTlbboywX14QNN9Sa4d/Q5rSt064vfL6qbdHQgrRF8cc5C0zaQOk8LpQiAAh1apbTGINYbk53sCREbsVdMqQWa7b9Wjz9EpssJzk30INkRfcUTDXfqEOOxAQFblEDgMxND1kqb5HDFHJNzFO4x7l1ONoIiQIXb6NsmpVC5OSkbxpj8uNfxOfQNRSbFWMwBHIq9bLI1M9vIt3B5fmzXGvc241Y6Cv/h58c78S7wgMJZykfV8BsEW3dgAKPDyk6QHnkLMSSA9oR/YRSerCsUZkYjQQDewtnFLv4+oNJM/Wi9LG3vJ9cwnunS6TgEv4M4UogGvRuI5vt05KWlJh+FqzgIUCisM/etcC7j3Lvb6SCV5DNAhJLzlubA62F1APSJORuPpNJLGksDijfQlY28GAM2yFVE7hAtpvbFeA3u+empjRm0gokpgy9FSCvp4d1L8amfsgx15w6hAdBKU5ucdVn1Q2OSJzfN0ZKMZ9nCNaqBR1OpHk6SzmKigUW9PTHVpXkl8lI6NHov6OTSd1llnsQdSyvberNLK0u3tJttGYC3hkVkdDnp963ttjcHxt6/AXbmA53EWBNcSEToklydhqI0ACsFMaUHOdzzcJUyW1Vgo5LaTcbQUkpLHNiJqO0TMGdSFpoh4FjrQMiDx2KWQb+ES803LyNP+p5HJ4qXotvu6NNGp2QEqyk8mWph5oksOpdh7mBDYkJSzpyK4TqEmz5OFBqfZE61LUmqbwjDEs2KHplhN6bL/vg2PSszxw8dyDRCFexpONnRnZvahRSyOPVQ4L3+uyFjjgSYg9nEflsuRHkyDGE7uSiKuZ9qLfskU1p3e6lhJ9bZRK0x/FsPQIMl7nC2UiWHZRaJBW9IGs9mp+8+jBOqVgk+sIKAVIYXl7SX9wzWVgn+OOk4kMQAYtTr39kbz3AGAvp7cURiTBSfxvEveyZK0+xoduxRgkLjWeeRNZyPYpBrB5HNlMYZ6rEUCAcoweFzOYrBW39Rv5s+twUNBjGEgzfLODwmr3Zia30Ek64oOwNYK6zZCqBe127AOUYCVsLb3czz/QimIq7LBmbkQUrEw3WXv9eAMZzaDDrYrofGjbIxITwm0fHyUrmQVOFDN/lfbCtvJm/20SIWq3aWcwPqlvRXdUEWrtDd2QE6Uz9Va5IwTzr2JLnkKqybaxisNgokspEdqupsgiwUib8f52QFu0cAYuca3HCL0qQpXBca5gU47gYOXvSXyE5+qB4DV4fM1WAqbcpQ80LkkXUVIuRXzYrxFcRkVl0lBdI632RB68k9h08F/5S8LUCNdzNv0W45S/O8xiv5iIqvlZk1Ekw0KZ6kaJGRKoSg0BWwymPvWWMiQIF5QKsdQ9NGC53zGb2aC1cNPI81Qt/KNRjvqona+afism3YOUwiQpd9Fm8/Ek/X5CkYRG9nhIL3eaRMJ/ZIfSzeG2L+pDuLEkHZmigD3l+DRJPyex8JpFMgUu9VIsy+yO/nYT57LVY30TIuAghU7ZM4WVjqoFsyrRwwdy4TO18awdebJmco6XiqN2Bp4vqk85KY1/a8c09JeggJg+NCYR8IRaavNbpRtdwXAjh2IbCnuWJy+DkuhhcoPG1K3dGW7A1gVFs7/diCl61c63v1sNhSDnvw4ZdNbjZqkhj4HWZCFDKvSIauOJ2ZZJpU4es3RcumCOusmBIOiXYhYrU7l6i+VC6O4NRo6zprFGYUDYqVkjJXuUZnReMsZhl3HO5Fp2wQWSXjFWHwgrvD12BoHYtJRKWOyZ0rPsg8jLPnkPpwsqYMVV41KnmTnL9UEMIDJehlOiXFy/4rk92fwI3tLU6sP3JoHUPe3yngWbKOm9eBhJb9zM6oqiaDdMfMDHWu1vPMIqVD+FH6UgQ71SjKUHBrU1sgRSmN3m+65wK7siyEWmbTHr9XzxT966AwIU/YzBbXyjwoTnqFwzmLh4qgnYmquJwqPIhV0VYFPLyOrZPXIFAtNyiVEthKNaqRyoIP03wjDDwpOfDUhXDq1a7StowOCME2v7db2SFkcdGVZAz4WWnTJF2mcepUbdus7XyJtDh0p4bo64AHRqy42j4mJ7U4Wd+8RqPvGDOAkCCNWK3TyXJsMSu6W9XhfZxe/i1Mj66e67xmhiVrxvHz3G/t4pvm34lUcc75KF9P01Ok4T9UY8Mo0kEQZLaUQjXnmiigZcvQcVduPfg6iUBK8fLhCQfV67DuMpvzDt7Owpej/913HZCqejHGKkvo1FYVDjk9M398SEYHV8hY9R2je6U6dRhjCmlGJ67p4qfRtlSd0nHX4z+Jbz3LJfL8OD9ug/0EM3wWJykBSDFX8CxfDWHJhVAbb7CtkpyjhY9ytGz8ae3DwyolsXa+14qta4Sp8VmgYOQ5pRhnXJdVqcpTiWKAooPEZRlm5iptn/mltMujOR9h2eW8ID8V7xUvHkRjlqTCkwmLJ6+eZCYEl2fihQxcaCF98Jp48shizI+e61dekmGymSgz7rX8MTrpQ8GgC17y0//hEaxF0wp+JVRs4StgYDskgGr3WskjEL1vjRjeajSiaMsUZwG9IY8pI2iKRNHuUoe3ffeYbR9Ci933AOHYuumnoqKHGZnvhl/wl5vr3kmPnsundPzOcYPigCiTg/NvrHACXznqxL5GWiHqNbusFeWtu7MHlc92gVe36ah9GhqpLYli0CfvYmL5fPV/mSIxyAnm+KNpsTVO92iGB+qOPBOvcmHTAPJhpQlPYQZGzgLna9jzrIUzs/U4Ydz0xjzHZazcHR8Vkxj1ki+TbmlkOUulcJKjkWD7JCorn7GzgFlzaZZzaW8uBr86mk6OeGviJ89ctvZ5Xfzivg6D5E6HtXiZcWSMWtyI3HkFiOFL5HWaFSWaiseJlr0kzeg8YQynENl4H9KfT7CvTEPFiR8Dn0Ece7QJD3XJOiJnrchh4eS79dD/jSIJOANgyW1KuwyJLy0lwiYiFjJKZ1MbSot5NqxgFjCa3kpFFbnw65XJAwe6MnHUr8jlrbEVux+hMKwoNsX4+6oxGX3v6DIjU1D5DKmLovow+l4yq86jI6z/addUX3KTrlqZruwO4BjQmfgiOs52Bq56bikm3WqUodh4MgfMrUkndQ3w8OIni1qVWDs0Pc0/BgJpvUwZKNZTCARY/2xHi8rxNdqmpq6rf3aZJ+fHaSeFFd7teLJ12inftAIA8FGMUvpdHVQsyxBaUvvVER3AKsweNBBJ8SgUjMPnmiYzqxN9oLvqZaLbdhml1b6ECaihWog8wk7dk5yl/iG6vppSvi7sKA/l6bnYOW6DWXrLpDoxErYjjUaR3iCvn282OZs4Ny0Rwd9NlsWliMkGbeeHqvBgQm0olHkRIQrBNxNI5KRMJTp4c1EzoFdm1jiX5gYTWl8/W5rUIrIPxIfJooom25rA9JVh7ey+b/zmQhGvDv9uKTrm/MTixb6aCY2dmiz9P/Xxa3Uo1GXBE3ojjJa25y0Ru3q7Y0qYzLBqq5i1T2o4c9evN21rG+ScOQ41eQDcGif/+FkcstQEQkbnKqYOUqiRC1HIEYGdjqQtv3ZVmMu9PFt3dMXGlhokRS22wML19lGjDvn7y0hBo+GEMH8iuuNUA8norwBBK0h454eGvxJUn0rtJdCib21yfh34DCJvSaMe2HXQCsZU0Ec2efUUQAal5LPgFJSXQfaicJfNxcuQFhBKdT+n5ZLFO0kvPLUlkaJEpHpaLcQSI/dWlY17SmOuFo+NCDmx7iAek845rX3yCiG0BFeF35llLVSLgkpLCSQp8t/ZC5WSOkJOaFJKin3qikcxZE7XNHR0MJmjrpFf/NRvpdN1a1waKa8pNRlkiPjwCq8Cmz+7h7oypK9Q3430D63XuTzH0GGXumnwXJDqKve9qbdPkJnZ4h/kJmosduVOX6Nnp++LI51zrk7iUdRB7P0sX3z8XasFb56N9fr0YbRoYRCeFXmv1lzjiU0W6sCxkQSo5EhY5lh6J4OrXfJFIlSTbCD9LG8ODC0Y5D6+aiB36fV3EUHwNB1dMh82NC1i211XPS4B1pWVTsupyCEQtkXh83JUr8PLht62AoRtXuY2BGj4rDOADtQ62O+qdLxm025rr1efZdD4PyeaXGaaB+lQu59UBAIe2HPmyISSEWb5TFkTsQNd5l8tYoF8sbHOHANb2H/QjNF6WSIaf7fMjIKsKdMAonCw3TmUHhDpjBYT45smCX+98uYX+Z6kHznz7u5GqKi99Dtzd5VflVDo0U4WTNvEoEclSEHNgMSMg0+/7H0v3t2NfFLVGEuTMOeNb2fVifc2jCySLdVBTL4acj3rVOQibPz/b2ojM8VZy21FZdRFUoRP8TQatl+B2fAxhpkfAx9do3XNpW926Iqp5sl0k1fzkRWf/XIXQePJIIaCF38my9EjBUrSmzowtYBQeZWcIoaeTW0b++c2jsulE0o8M+Drjz8ydIhNt5b4RqHzqhPsnDtK2bFdfAZ/wve5N5GE8VYN4Ik9SkKL1p/l0y7P142TaNJuWvRCh4wrNu3H3Zl2wDf9Gm8rL/2fyMDHEccK1U/LfcNixjvffTSjfsww6WgQ1diThkc5KIuK99u7Q5EXpgOpN7sapONh1fXx4sAqNYED2e5rUUCLET3jWmne7VO75QXPukePAoRDVfXBU2N5xnq3QyBFqT2/LPCmw1iZgJjHbOwDS0kgjHFKrhpCjg1f3Vf9gRbiqnDoi0gj4iWPmnazR6JawFxMAtkSHn9xEWTD8AMRSr6V8mMKPrJnMqBaht9TN5MrENyuplnwWp/OjTY9yW56fZwJP6H9+7nWcovZZw4ITDPbglDUEysQWkGOPB6tcOAIvFBHjvdkRrnUKaPTTnWOMSAZugFURQM++e8YvfNYEik86pJWZd5+4zF+lohLlecBNYvMHfdivM8axRugH5ZUA4VMt2MLGG0DfbeRCr2T9FrRnGHhNl9Z7cnlUvmqMxxZ356uzK2QNcPmb4JAMJmy0xH3HmzGyrWl8+U36szp1PeCQzyvRXcIDb2yZt7AvAhB6kxdrLzEJ3eQ/ny6oN2r9+iLTrpdOFbQO6VTd+dpl9gwj7klIe5OH44P/vVWeltq5+TubHgRevU5Vf9o8S1E9a4BXcAmTLp1goNtOTo7Eee2O/+cCiksjWcSSqFHEDCQ6csL+5AYTNDugFuwOVml79cjRkWnwcKV73BzQEl7QzqfSKzJvWkUPGhLHaOaG+mbGjBXxJBocNoMipn1OesTGwrJOCCR3lJ6SlxfZISfhKJ1i5T8neUUjxTqdn80pCtfFEVBfPoaCr6aU6WQwBfwrNk/jgOCbfseqoP2rCy47ebAOn45Ie67/Frwpm/IWo9fS55qi5hcyc74ZhD+ppNTHmONUHdw2JBbxVYjkOjjTSOdCuJPWJPGbbeNT8cld6E3HuY81C79VeJGnB3PoihaJq2GBpcEwv/dB9+bhr7u8+2rC3ByPZWWek0yJrkvF9uEiOvVfXvEU+PiDSlZMIWcv43gSB//sx0rX/j/JrAp5WpTX5lSlbd0iVUG63p7kk+aeS1smctHk7R+vd4D0FkGq0wQMAYJ+qHNVqR5UUTkvfukHi5R1kJy/p/IhuqqkWz72KG6Sqv14CH0xSblIatKcm516jTFdB/5glGQW24lRUeRI1L+oNz0612LRBJgiU7MSIXM/vu8uaosdjb1rvNOU2prGbHNa52vL3rBFv7TdfQWq5n3Gn2MxV46dbHxL1+WvXevgIwCyV5ayqFJ9wd0YYIRmuAzUthBlYnjt8JOhIe6jMMdHVrPrVMxqC6NoNB0fXJX9kWA/vNli9/+VLy3TLi7g8Wfdz+u9FAHPKaGvFmMKERspF5w1fnBJA1n+iFohCxsRf0sKuSkbf5Y/VqZUuRPsw4A4NqgND8LpObArTzkhksILVajUWYKs3uSP2QvqHPF9K66VWm+UcHvfmfWo6y32okggzNetaZYJKfPYgjWA87ViIBK8wSYzD31AevHA6D54V5AhjP2Wb8IO7DhbuugjZ1c9h4wRIxGzc8PXez2eNAZ/hxk4YRGMyEdmFxzx/FkVMF2whxAzPl9r9xElAlv+g3hS+B1H1XqjAZJHUjBmKS/3j/i48uIGVYX1dxNnhWl9wQ57tS3pvb22t30gk6KzIP0I/Cc14U8/Nn/W+hJ2D7gh+BRxh1BpXjXoPFdj0wm3qOAjTToM6OXMiIprmgegjgQ0OJoDvCiuyEyAQ7kad0E+QzeXoAbvpyLbWkK900BzgvLKF0pv/0IA3TGU1gNaQyaW4iGbaX/7kwz0AGPCTNoyO77eGuHJr2sIhQDawx42IGgtFeMniiJX8BQKAYntDNm89JZMMY+rw6Se/f/Wc6EmLnJ+pueNwIL7eIO3eWJ0xY7pvn+FgcWcyjOsHelWasCLaajXyiJwENMrWAZqf0V8Dq5d4Jb8sLHD6XjVHV+4VUu94U9bd4AaOxKeTZabDyj0qwNZEWI4vVUQ2Dnk8M0kgFjxxZm76hJDqgg8QMd1dzTg5jMTHUljNQVTkOqsgp8KXC+jGGchbyFTS7ZhgqzxzFjf50Kay0XaeikIavlLAMQq3+KK6AU+XXJfW3wCNCm1XMlt+Iu9wcTYdL+1w26lv82IkTJYPzhIN0TNyccJs5+KlbQyCm4g+33AnNXI5giB7ZRDaS+wpZF0QSfK+pmZyVKXD85kkehIjOeXYrvTDc7C7GaxCY46szF13sB+W2P9MNFhtpufHpzYgFnLN3wEm5RoHxQHrlN5U3QwZtRixkaaGSkrR0QCNi3QIz8W5RufSDmPlOUmtSdmhlLjnuXmoIgfUwwNa0ISle1fQflZcMb2MQubprY+WfKIkMxi9AJzFqs5yQdbCnndZ6OYZbKKGzqsPm//k6x5DWjWvrykecU7r4I+FrP4rGo7eNVOi19rTOgSeoK06IwDSYCfrXBbpYkXdT0PKJGUVRt+bN8IKoRkZRa8JKcpch2j7ze3/E0VWjYIDR2CTemfFrhCT3GGtIBD7N51CtKt44EAhvz8nc784AqLyvEWT+grzzfo5IYzY3Wxm0GUHX2j4dDnzdrjdVMkwbvH6KaObGrOs1M08Wej8tsdv+YwLk40nuQtpHmIUnMa8kXBaE0cpzQxsSWfTprd02AUBsWfm7Gfa5ZiizmiRr42LjtAVd7gSGSPWMBfEiobA6yuwhMBtbHluaAjSSzTC9cMB4ssIWMzLpt/FE1lQoHDEe+kvQBPSQrZRUF+J2o7S/k2G3RxFKW2wFgAdvwMsGW46YiBprsH4FBVsPUbeyip6Anu2GJQelj+DbvLq4Q0nLWJpYIJzOAP8EsFXYVncqV8fN6el3gw7OrNr8XAft+rgW3p2L+hsLeSohD6D3E3ujE89B0Mf5+yInixYpfKFi1h2InViPVjNpJfMKQvIa7z4Js/ReJMka/y9zZj8h/K55V7uhRUaL4WM02nWUvszu0VIS1pqElk/VXFq2H4J0wkwuUjR0QQbOxXlAl4wtBH7SybYVrxCyx75vbubgnbyYfahugUPHkILQXh1FlxQrGxJeLHLTe7VU7+PrE09Fo1Jkf8O/9n/kJJwkyh5NX+ClWlQ/gX40XIaMGSgBp0CVIdb6a38nrhwL+2cWpZkhtzvtXj9QlNbGS+dSZw0ZWEU3EAsZoo98/45WeObAILKn4XRxFWdv+4NnfF3YUOWUoSxgTAl57Oq/U4aPybxWC2lapHPxsiQC7wmVFakIMO6ahdx9FZPS3XOqdeZoaYNe8znDkEo1l4PEpwxceYOfpqh23fchG9YqyyWPOibaC61ewvKN22KPgj4+L6+iZqqat/7IK1+cPa2VEaiX5SvFpoYekmpbszCVA9x4jqhWJ5w7EkSuiFDeWo/nuWIO5B8JkZwtfwzfBM3NqUsbxE7NQqboDoG4jNI3wdvI5KK+K2PvNzt7i2WTy4vMLos1JQiFvNTdpzJi+NP3dI6ePJW58QjCnQ31mKh9onZCAk8CdJmxmISf+feHfUUClG+Ix9aC2dJQMEABaZ3IPVtOoSP8qwELH/UvSO9R7OzMp/eL/jbWdUWlJ4MDu67Ydj5bkQZ4iS+FzgAEDkjG2s34cEJ1YJQB4hsV0miy4dzqR07vaesZyDu1n0sEcMi8pqIM7Lb6FfQMreK0zOtmb/eRUKE+UBTVNgoTj72Byoz/m3rIqI+x7wx+iQjyi5h/Ic61f2rsiTC4mhE6N3h3E5kPB2edw6jDiqF0qk9OWbk69ZW8Y2jNxuuFwNgtuTVU7qgJkJLhsdid2vzboJHctIXdU25WgfdWBZbjKE6PkCRXMi5Uxz9xrJ3mpmkV1RlW8WFEyv3XGxxd5ei4K0N//3w6+thmxvB++7kIzauMoKN2ZF933C1otGknbs1rJJa2Mc/+7gtoOQxYMk94Pc2bOPF6l6yf1H1/wsdEFsDgBP1TYXJh1/CZqh2bWA5AcMJZgzj5CEBTFQAXKMoYFbMUHrpcipU6ygKqv6t4Yxt8fxR4nB6+2vdE0JiKNcIVImvTYjoR5mQzlNMBrF8M5Uc9MdNIP1unDctrS/ZvNLDgUlVTn3xHJZdkV/YuwIl4PssuozKHy2Ic/Nh8PeHegPVZBzvCVOdlMqyJRfDrPgX6XQmk5vYFC/baZOcLwjDbZgrUoG7V3JAfhezek4KJWS9lqcrVnUiPoGse6zZlrsgM8T8+4hUkpSqvYskbZLmS2zKltPLiGMofBFgkoel8k9bjcd4K5qQd5wveBV8hDzE8PH0Gw1nCR5uJLBo8VrzbNbGttTWI0K5pASvfz8ilUeM1Fe8C6PtIdTrYeSdGRDnyJ+4PMIdFftM3sC+FOrf8y7lidHGz26Cie4QzwmORbx7CSQkL6ZCnYNQQwTSTuplrKi2bVdVbhtt2TYCQQhE1vVJAjrDkHdmnzRB/5enCtfhJS107jEkfbCCAl9Dy5RZx6hp8AbX5Y6JRAojqRa4MJQjz+PGx4K4/UGfLpwkmMp9QoaI4bcngkK4iYWzXP0z5LDt85zm/iliJMPLW9ZtApiRGf8Ezwax3ySvjYPCmAngce0+1uejaljeCSefSjTEMO76T9PV+gWFV9+0KNYEQqNhtCsR7dEty1CHuAZtAU2atXhk1pmkqisyz2IiA+j6ZQiAgJmqJhd/gOhzsvDDgV3YvnSStankwI9WMnnKcmivXcmx6lmg9ubJfv3O+JrnSK9M5LBJ50YptjfU1WF/gDndUFaHgx+7K12rA4G/LVI9qspcF51usWxex4DQYiKHOJ/0ao23xlO4JBz8GF6LV4SMi89sZfNXeViQKW1TJnTZfe3eF5tLbe71hn1C5lvYpfuCxcz6aZG7vO0QVyKpggAGxgytCupOzj+82F5mU11JXH+fk0g+Wxs7uU/olSQrnf/goLGrSdKEqIP+c4zPcz3fV7zSBFidYzYlPZ25lGX1aDHcsQGVbP+PjOgWsplf263tsxsz1fiQXviMifTQclD5ypg7SIL2MxQgJg818w6LuPK2HR+SwaHkGoN91cRFXT46a1O4qgTVHqN4R8ouKu5SoErAFDP0N1ibC051DPGdory3Wtap1FhjXANHpARmIJrlDk1Za72jMnQjrxW6y7xtAKAMk+FkL4EDuY+wggxmtkxJBm7E7WdTpGdz/IRmj0w0iNHk+IlFSoDMzxAetQXi7Md410r7X0QO367flyllH9E2YRqqMutXD5G0DJWIaXsBMdLkjlJRDv0uI2uW1uEC7wmATKlXOaJXl5TL2wU01172cOc7WUxSHzRWzLZU+9qGEOo0r3FrZPZ+3o0xpmYYpYiYS1AP5fQiPb2o8ccHFK8009o7TJcf6V8230YTuF3z5PKXd0MG7bX+rCPwJxR4GQnnkUwKtJNF92skHmwNALUcMdjRXerEevBlvAiXhEJySGssnuBMx9ht+UFpWMKtdtRTabwlimw6/fVuGEAOSM01+QvcnVABTEXYmrDn0BcTpVqzg3F8eYRByWCnEdjQaPsN96VLDELn7nXcxXzmdl2IpCdYG+824eKu1XJadx80pX7ASlqhWwwrnEKsPBkQOIk9Byh1jQW1qfB4flYZqW4upVmLqkb6slpqC1K/sBdj0oCK6D/x/y4H/arphmzcTqLzFGaTRUpCZo4GaZS/KnW6hPKJz9fP/kzNgOn++DzRbvgQN7QI3BvQWA9pJ325kwUlN274U/q4I0OjOLCsocDgmT7Zt6h8EqQ3bZMdmORV2O60JNdakJRhVSDD7zwFdi3RIZSvYRQRssHFicsxcZxzG/lF0XrmHbMS/v24QCsmsMBvy2jY8YdeENHIiJ0ytyXVHLnW93/3/vbQl1Z3mkIICeSwtFBlbjq7pqFdJowo6KCxh3sQUefAia0UBROYI5CqpLpD314leHwWgKd96Sk1rL33S8qDc3vQmiYUd4vqRG0xZukXr1bQd+FGEmWNzFGIEMySsbJaGFlRaP9AqAPZ9vV4Wxz7UgT6xz00GextmWamPvdA5Y2IDAfjB3RfnpAPLMBu9O7A8oNUkYxO2p7Vz1nbOgADpqzBIg0YtmoHi5oFrbzKxzBrQLJ2rKBmB0Ot1ShD63mq0YpFoEIaNv37AWz8vyr7R4LHiPvx3psjGGrMjShG5tvnk9lEI2fHOK2v/FQSVCyGXSOCYn/2tDEFcAAKmWeoCPckqKYd8sjX/t3uWN28B3wMto1/2QTyFEQWStFex1gp6LqMNIuudYPOnm1aEQa9WTHOrUQI/45HqXRgSNOVun9sfcoBnMg8YtjUnGqGWCwXdbUyKImJyldeYtyIPzcqRL9nzxM9ycYCQBJ2py4WS6clSC0n5yiORnAXzREW2+IWsYywrEuBQ0QlN88Qi0cuimQYsrCfbk4tedFjNkuLIKTSXYfVIqgNYlDRJYqvWmXrTkooA2BeORc9JGaLBxXS+RwGkus7JaUZ3llUyz/6U55cfD8sBHIV8aw2IpEDB+FNFxXhNxUVuJeErkY2t/PwBsSIozhT8GNUNqzt7olpSR6AMp1mxRx5Q9KxumCC3+0b8+MvLkeXv374DsIK6EpQV6ncs7nEW0ldK/W9fW9El6XrSuKsFsFa+3/9x1o/36CFzC4Xwq8b5mD1rscmDzn6Ppw2WhFbM47IM3jHamMb4Ez9uUCBFz2HoTMh5vITfwRVcEv5iuRcPu0b5zXCt+6sJVOy/DHGc5ofCXjHTKLMNGqsDMcv0bBbw65ftjVs1ZR5ZkkskVMx2r8vUiU5WxnNb2uq2dBwUkUCaSPJYC+CdSqRomnRtnU8loPHErsNQBIv2h3pLta3sW5/RaLYtxoqeGb8nzNbHDrgASLtPvX8H3SqKwl4yAvnJM6oCiyKoTUyu/N3SZ+KhO3K5YNlQ3DVU860Gn8ZgMDcTdc6qTFxeTLuH46mHqAEBaHE08pDSsuhVjJTsrmMTUHJyGbxJTpb2Em+9pknFp02zhNWRCcEhzufYw21ElSDTiMQKtfakc8sJYAA+M6d+CvVCZqG/hWYB3MYHyzFsRBBRFePJM9//1//qL0RXh3I+gkl/JYiwq36gfKfcJGJUZ7oNK/zXPxPn3b1LyORlY6+cDy6aMrFroL8SZxMxeH0dRBMBmC6vbzDX5J7q7eha7UuiK8pabaLg1j/DOQHEE/UDoMeyIajQj2epIlHGxNQOuiN7DlCBjs2pTctPT0UdNDaLi6SJ1orbzbNSIzlIQejGwOgt7eLYkCMfhltsnrM5ie5Rfl4IOngW7eu1pATyqoYLbBZSeiP5Sb00i2ziixmv92AcUy7sNIv9ei/xcBHR2V9Hbka638vX1y0yeYXM3a4Gzgg+fKmkjCWaDbvqbOBd3aKQ9z+UbiWELO1FqUvSkJE5i8pvIzuQzmXiPj+ftPgcD+NdyOD0e5mP5N++7SgHZXzAYN23F+9coMF6GwtZ+aHfyvNDu5fo3frz4V/v/lBRkRxlR9Xkq3X0+rNUofu1bMb1oPBWHKDRFlGYnas7EurUCiC8afUYOPbMpcz9tPG/lXdBAhvp92OKiBFep72g3vUNQFz8+jh0QNH34Rv/pRYVI6x2yr7V183FUoL2t3wcZ35u4tc3PBfwSBMlexOdrSbAoIEJHSwUTnwHr1K4KAqR2xMKN36afossCi70z8TRsxQEC5BwJ7OdShMFZHT1gawL0euuRBEIunls/Zq6IMChTbW9xORozKoR3dr9a9O6dHm9CV7UsRK+5MYP9YzpRbwXj5PxSrRzj5qKWsP0tUG1iJkEJyz5UmLfqSnl1b0AwoupVax5PxFMymWzbPB74EIk0Ng+AhV+KtHydB+ZlCUTH1DdMsJI/0Uw3uVhYVsvkQoAQziyHjmO0WXoDq5nT/6aebCuGpUw9XhZMiGOIWb418I+RsDCCBrIC/pAynhMqlwAndCgEd1WgLh2RCeZBL9kCwPNYpQ0SVg78fH6E9DC/rjnxyJSr78K5ZPvjFaQ2l4f+YNOBleGwTyDALSjh++g64Lav/hsFz9wi4l6mW6bn26kgOvTYBglMfL2rtoHhdgyRo/AKrFr+6wzvJ6e6LrZVBwkFXdH6NEWdWJ84to0To3ZGJkCoCBULnj+FZaAlP4XFydetzHqHOOoOMCnxkm51be34Bx99i4w1GwOjL6FcezfloL5+I5sKH+ZxiF/IkqFIMwuUlebm81VC2OfCijyP5HkL/bZ3AuA1tQ/2dgdjg25VDntKtZ9Nq7/r9cGIxShwa9SwRpvlncIRdoUY83CO9KVoLI+ZX/2FB+XCJscojQKaso3QGT8MO6DCtMfTDUEOLnpQmPyGcPOd+8mk67ksTwM9mnhZdtz4CXp+x4FgbwC2eMplnUjyypgQgV1eARgIkJh2yfzPvyYwZB5JcpnbVem2c1ievT7cHgRjisy42xroDWQqRX/qV4r/5CaFvbkpfaKx4LcJ3PdXrvL9eYrGV2EPvLKkkoF12bszG6F0ww+gKmfo3/uMZyxF0pW07nO5nyppZ4ZVK2614xqZZMVAUItveyM892LQ0ZkgIDl615cJQBMvGSB2sh91dFQ9Uevi2IkshwYmTP1GkEZFng/ew1WAzQtNZiKtBzWeiezPZSyatrzRQuoilHFQ+uypRUhUU0kbkULeUuj/+8XhsUTgfhhRys7lf7oS1ZbmiEFzefMH6EwTHE2mN35wO5y+5vCKkixG2cpLmYe+hwOcw/T6ehTfXX7pVsMYh3kL3yUnsUd1ohQYIsNof9FiZsJwF5GDQOvPX0VBsOobM+H9yyOV9NlnE3FxUIPwWQDk+wyz8SRWFMSwJzXf8YYXFbHWcx+NXcSp1m2V2Kg0ZTzfXAJK4ObnuJg4LEc9mtbL7NpPcr6BUb9AUSLHITRwIeQ8bpegcHx14jkK2m/RJbi58uDNK/orckTfgJAT/5i52eEiW/E0prbwRwuwu1KbEqqNHpTnF0HqdHtDQbZ0MS5h5o2qy/F5V7J/cwLqe5PWXDCJ32FgFe8kIVvv1wfF+VOXU2dEhYS9+7TyzOHP2pk5TzcUAg5DZNW1nbv7688Kjyh6swm0h9F3qF4eh8DIjwMTXgQ+GsINsdYsgLRsi4NLI+gLGiEBH2rAiCvYyXDELozab8sHh/2I1Wb9Sak0KuKXDxTeSHjkaXutt56+JZAmzSOSuILgQcHKNlhsRgCWUHVB3jSt5WDe1yP0TeZmRr+B59YfgQm7deyEXgpW2RLHD8Pfq1YmFplNDUaNpTCRZLcR145lgbE0xgJxa8TPViZU6h89YOlTFLVlL+pEdgzRBPbNHL8bBTacjlPjZUyak2uBTJAVeImBnfdU/vK0rzbip14t1LoZFFl7Qxghuq4F4MQjvgYidocQOWOZXx4c1vC/o7tc0g3fX0B8LdFQHKDs7y8iN2d+y5Q7yHJ1e3S5IYzZo4Zla+Y0N/EEjW1Yaeoqq6gFfgib7HT9RoRVXxnL/46psDt2xtzkqWF/MtExtifes2OKfELf3Wgxk6tZIDKHd45RD/PxWEISju/fT4hALCmOtr2bvnhnFJ04wj4ewAktPRjW0XePP1c16CX9rFdjs+XQGiJGqjOKeFD5otc/iW8Of2GjInfKjjfu4Gpn4fSkewjb0JqxhxPGC6zxkqvqv6CGQn4FtT/YX+ovVK8eabOlPE0okCariDPg5dgj+jLqpnJYjPS9V6HlNsDKnTNK2WNR55Bm6lCB5Y45TOo9f7/n8gLwuIswvFypjKat5so5JOM6+nG6j88Ydl5a1tdiC/um90CQhut4gc15PTVzbeLKOaYPGtALNdCOoWNulLA5KniM5YJqLfPTKaIGiMrAOV0/BAYrXknl/f3tkd4szssMK5qr6R+xX02ChFBktCU4quF+Pk/nqz5akVqHA3cxfArZSriMTxc0d8/+Tbd63fZfriUpT4HsRCd7n4p5Lpf3IFDKvAQolRxWjhCkqc5+rJFjpt8BB3RKYEZhRdkaT0ytJ2hz1xqKowLQ0DRFeVdbTLNdD92C27ntT3JpV6lWBj9CGglV3l9rbrF9fRo9wDn+8lxNQXmoT41Uvh/byd/7BSd4JkI/dCrrB8p7JAIffKEeXtNna/NLHvVYDeHKj6dv/q7bPw5bnkwIIj2NFVx0WpBB8s2GgOHwBUMl7VAe5z4DQ+aa0pmM4BD93uRm3vg3LwJn7BQnZSWjx5OVfKAE5gf9OSvmC5vTjxOaZrGYYrsBND4r7xyfwjuBstQafrQUBS+uFgKOiqf3LHZzIwz+PMIyGXnaQvuHPFoZ4rNcEXkDhEVhc2BhQxmFBunC7ATG+iik/YoBZlqV/IJuoWQHQwiN5YeCWk+UmfqiSY1Wb6bVZ+JO/BIE7OY31plOUQAclrd+CcPQUofrmDBRhQNc0Iu7UGpGONZncTn/xd5OPOiTzmql5tqZVI/8uyBzfa/RHouREENx/iGOUu0fDV9tSPxXxjFgVmUUaNl9j70h4LbCvx5VzRJ+6811GWbXYnZR4GJ554yR2/4gpKIzEuWnb957UiQ8MAzIcYAreNch/NhYbnvswKd5Os50tSvjsI4VbEr2ASna4RPwLKHw3cuZZ3OHXPRDsC2AUOeXyYwjsrj+yCVpiKn1b9giYQFMgEEKlSFmZSMUfqBp39mWE0PwZPBGNb4DeeL0FHaJSTdj0zDfVLPBsw/OFBxU/oGwVz3q+wET3DaKXC2Ve9xm88soR1rSEEsreugKNaDegWpZZdE/Su2QE8tYjMKYGa8mFaAm/UjF5LFJNE+K+9TlG5gktsTX6E54uzs/UIsO+9WSAnx1Ja//WkRjPUqed92xhb6tj1AvKSih2mRqzKo1hqZU+v4NquFJKr2g341FENzHoJRbYYR5a3u8G6M0nG7tm4pOixeBJUchVovz969I0+4NynygsmRxCRlwHTuz6eTsBxNn4pJYosZF1kYOYNtb3pLLVdBgcOgGrEGPY0TrQCMqcQGuMnBbDIvmgFRzLgnHnd622CHhACE2lQl/Y9qS6hMRvg3S+sHYHzCYA3TnlBU6sxIljIEvqON/8nFuCz4HAOYRmCMS/lPSf7Ehni60WFIGY/Q9T/l3UZZvQ/0ggCBg52DmJ754EEXHUX37QRqJWrWUv9SDS/09H8xnRiYnO6e5DoCx19t503KELW9STRT0AukBGw+Wzq17MidVLr/M2YWvSGle4/ruCzLMggYOj4rDeoglbCzoFq8LmsDXApcQgchyheb1Uve+8opZzKc9aLA06jaMnWgXDlyOVxjWulHmTDMddFcyADs+9J3LpcPhKT2k9uU9ufKEtSdBBw+sm3h324aP/O/tHl2+YUeOMQm0kY5K81AGCt7MIQrMSCQvxgooR6grT9HH46N2IIFue32tbuF3179TdSu9BMfKIP1So4kizMJdPTLUmYmnNIDxASakMnKa9KAaUXkakX3tGEwMhK+Pi6jBZjkl6nQfQwCITr8TAv4UL1h/jtFKKirzlfe/RYw2O/t6Bg8piHkMzmScJSUrXmjY5ebyHdRSARx7R1fKIjAWDTlTNmASYe3m3ZY/VoU0OxjewSh9Q1MgUn4MWxq8P83dLN54vPBLjmwRUggOlw6UI+xuPnVt9dnsclSpirh6CB8KdHjLTrvqDVvJSVqono4aRc04PimuzcEikRyczm0QTfQhRKAkU99wI9JcaHI+717lfBkLW01TryElxFSJ3e8Bwf8oF3akptRx4eDeTjbnept/kAuVyG7L4roH0F/Ek1/ZfG5monBEDR/Smt7GZ6C7wj16/deEMkpMWRQPVt0W3kW5c9Ngjatk99UZJr0FinDXFpHaoGr3n36DSCamV08azqY1QzuaprB2op+LcMn5Q/tI0r/pOX+E0yP/awbgsNz1XShsb4tiRRmOROOjQ0QwFt2mV2hvW7Cv8CZlu2eB0O2Kv20AJEJ9qij6+6j7ZRHgj/olwAVDohKpaMS3xsccWCjl0NGHY+vNrWKcBMe0XUT3+9JNPskvRFJZazrjOXIi0q4mBUkmoSiupWb5cvZuk/WVjjTny8gQNEDKLBQUOlOcEzdIbaX5oz2jCqi7URmvmVXCH6ub8boaexYLbT4RxPvfJN4NDEePFk12ePe4Zu5uqZbDiEQ6C8NDQ4KLouwwvvGVzAMCa7QTHKj0+S9EXMUb1uj+Jsh8EF++WCxEjJ4XPjIiU4rqEaR8ClSE/lnN3fEwdXV0y3GB12VbGhPmau8k4E9wgXH8AjTF2qblxD1xGFmrkaWZhazP+b8+iZMyQPorQSreuQ5KVqPmbVCcES1yUzXpT0ppnTrWFNl/BiOeuGKZB0dUiGqLj+8XccIJ/mRde7Gpnc8dDBXz53q/+SrJ8/NaplkD/abuXoMuE6DG34iY2ZWuXyZKysJRCadGHcpEzk54URkqDvxK9yubrBEUpuhiVdx0yKeB50erKC4LDxLMOl4PvdL2RSXL7nJLmrY7luaW8hgsfGbG55N6TFaWD6P1zdeP+i/b0hFcABbX/0jRnzq28SRC8lVySBmLEdAzo6t/3fT7r3WWwXwV8fZP7u9CF+DmChXk1gFKuCVEHB29pY+1XPDMdJCKWmGG5Wcgv7cxZ8rGrdxFbnbuHgyHfzlAgFjYQ5CnjTv/e0C1jFFgBmVXszvQbqy7vGiK5Bam/cRlJy0gmmvKfF0hPNa/8j/PafMeWiEecWvy3SNdv78ETQ2MdlZkela59pCYfQHZFDDs9augyPEYJF/d+vLbtMep7wuZlzXK8RtmeCoqyk2hvrNQohIiAbA0BL2u8Z8BpTUQGrzCigTGGnZxUCmcGSkF/fww3wOlK/1GDbCirIZQHipA7ucJKp4q12iIWhjLNhNjUo7jWxYby5ABvZAq908hEf2blk03ewQvN3kJD0fpieEXbHNBLok8nlqgY55b+t13NIWci3Lv0MPNeepz0Yw6YoThmcova+bW4eqs6CIzX61LzRyjv7cKJ+BOhc/rzWphr0KpAyroD/jAu3AYZdZTj5zuWKqAzxu1ZOVrgL7w+q7s/LlxYURIvbcPXSOgSW6ReWjkplOwXhE0t8V5ujtMapTx/xptqdoYgUhRKPrTj193MZdUmyqWEX1at7GjJv8OKFQH8VCi+iikNAsXKOK13od6w6KsE8Wz6+7jPxmumXXadrcKmrgQ+Jo2GQ2Q0d1qrhHmzGoclSxs/rUlUlWmxMgV6o/YoDCsJ0t/abfz7qTLgwPDI1rAUl5+ZrC6Tx9gicPsV0gxUcR7FTNf1YxaNYLU6kOtEwfAdR2HCnrI/ORvX7lO/jy1ijTmRLVSSpS3NtbO60aPxrBJ/IJ5cH2WaAQ8x7lTxndsdZmJ0KcG1na2ZFCBwNNIcnaweKc8pXRsloC6IXddbDZebWhMPQ1SQm06gIM4aCUokfULciiP/DCEYGJkqVvCMpt5pNEDVF69r9t7ZFSlPw5/ucGy1M6XLn/BE4pOffxNavl7/uozAoD8aG/Re9dSz30u5vpu+zmyzkAARiwvnZyoch56MaqM0IugtXHWDhSzsqJxrqxhdlo6d1lTvmNJWWI9/i550ROxhPgV2tO3VVuJKQfXD+W94LsOwFqyQlx7P/1SVE4R9DsKbKCpioNRB1opR5Pe6IOxgTL4tdFnu4d3cbt9yRjisSLImHornZglmwGPmsG9YActFPiqV36Uiee9L7xix4wua8Z2GTC5DFSRcYx6PGE1KwZK+y9ruan2DThNr8Q++U0KkA1l1peYSHAJ3I9p4uwNokcV3ra9hN7WBwt03VWFCHxWTobpiT4Pb3KRlHyzLPvLXLKkCNZfIgqxk4Uzy1O2WLXzIa9Cqbw1JmjKEN65nfoQt/frYBPlnXt9xRIUZ05gAfVBavllDvKwglBDfbaSTyn8VXzkBteIVJW0mJ6mZ2QGzEZdFDBfPmw6+N0nL4pA7bmTwWVuMZMjooSfh1oF4Oa2conL+vR30Ri936s6A+Xrsckpxb6f7hudYR6BrIE8LHslJ7AzPkW/9vd7uvKfEtopTe4DPQqSDeTmWR22wDAZKt8QtaqBbJf18B+feXIUZCKAorfLuejTS4dWGbIsllT/5JIvv7qH1cmhPtLT61mjFOfCyh0iJVUJhYjiDRpbIjNt8LXOOXVA8YYr7ltG2pRDvmQ1hw36yvcJtEQlingjRlg5Vzv+tHUQufkDLzStkuGGCCCoko/HZM7jplsghgqCtPIuKsI0+4GOzLP92HC045LGITtu+kbovsx1/rT6pHlK/ezqXPwh6MPn/cIoUy/g24OFbHLwmawExvTmu5AdTDwJreSfdNLfdqdwucecLjxRQwM/L2iyHV0vLonmsMPTqU/bz5hE6uT6SBsQ2b1CN7HWgJuxUZwATPbaPzAZflv8DCgUqr3J7iRoHSWxQxD7qIpSUFunTAKm+WPFgLSHbDynyUPMQxAkfmaaVfaG6sZTrmYI48hZEZEji8ELMT0NC5/To0vedlVVzcgWO35iDjgaPg9cHjS97TGXeZgs1uBYrwgJFMEOcH+utD2WoNrDFnOuW9xNApqiD1mpnzh//iYTIgI6fPYPy9BUfxB06ylRNZ/wReDtUDVuCtRhm4GAZ5mO1nM3XgY/1HJFrnuTQ7fKu97yHlb9hJXDcBb/5skR4M7HlGY73Iq3uqbQiVHc4wAbuNyYb6Ea1GyrHa0W8Uyyd8yc1C1NuEzm+zQ6h1SHTQw4A6Z8OEWZFh7VhXGjNON15dGVbM6HpuciMEqrS1jQeIxAWqUobutFJkmzOtEt7yCptPMW95V5R/DbGqfv+FsCKSvYXT/KWNE+vO1ORjw9rLJE3/7xRDxDILRH5R79vkclOLA2dKNFdZBvoWYjYwur2jmbmydiUM84vfRueYRucbC+rNuG/lcN8FLvJw9ixg/zd5TTDwFKcxDZzG2nYyr56p6q7urTd6IGsBQRZFYkjH0BrSjqraRZuVzoTWsrfVP4av6VjZWQkEMdwxDmDJ+YjFui3lbpu9/Lg8ATFOfQfoxgYyL7loo7L8tWtR4l9hBdq/L/svyiRVuJlDxrkqjsRPEK732qlKlCNV0XY+HZLL2mE6cGT2PJmT8asZBikKsfZbE8DL24F3Y2jG9x4y7dT36WHROyM2N8XJRdH1awSNpd1gVaaowqzAnX3hjsPh+LPwyh2KQXeB4WIcMM7JfDOK1Tx2BepHApNyV7BBQ6FoLYTTSu+IfoyMyiKi4b7DBYbSE4HLrJgkh42U4QpwdQ8fawKvk6fpsxJMQEN8S7VSwE5nCq2fUOZ9amMXbVsOzdjMsH10UkxbOYHEdeXmoGMvqCu674H94xidvlLiY2qPckmIFdpaLPLhB4aTT3oAWqXuBHdgT0RWMrbzJiFG0AupnL+YyDOCRXDSPAqnu+bHOEg6f+ZwqDL95FWBUnwtBpniQ263T2P88iS9RtIyA0m62AF7T73AWnFEAGH1Q2vpFqSZYnjb2TrDWGRjRjDYT37qfs+2OHJjosQpqCCcLfwrwx0YwzVXlnYkfBMmCPvYiX64W3cYllm3VwQvVUyqvXBQG/31N/kAXCG/Rxz3m/29/n6azWeafXoyNoGjhXY/kEkZcydnwV3ubiNujzAHOAa9b59f7x2pkceojmaIAH05F/gHj4SaQUR+DA62WOciTU/Rf+aYxL61j1EeU9QxU1XE06tKCN1rWHNd3ShCdIZfRehN2P6D8rpEN5dKBBRdrtuvsD0PdvEQOx2R/LFtvz90iEZw6OzG/f4kwb3STegYhzklui0IZ/X8/NOYpRkhxKtYGwL/Za/UR1wez6MTdLyY1W3DHIUH0EWJDMH52+fvzk1R86wCWwVUvPMFyE6VCCFlnoASZv1fUfR9Azcg5pKrjm48lM51+LXvtnKuRlGNeO7x7X1cHEN6791P/0DnPzM1H6NDN1cKIQr+ivmR6e0IPdtI0WV4tv7hKjEgau5AM64nAI4aW0J5biAEFetJN2ddkZde5VSh3YtqwbtbeZlQMMhJ3Pqgn2Rt8Q64uwaVWzs4YuORHz+fpowEHLDkz4qXKaBef8UEt7I61q15PVvoxkg0y2sQSqHzzia9RdbQ7hqSubfA3C+uyrNJRY2ACKrUbICDbj0J/p07dJk+qb+IsltDVpot9Tswlc20uRk5UzCkUBKcuSL1BMPUbsDZc9Hl1HWDI3X7XR+tg4mmOluGe6qKBcUQq9sNE/r1gzjB1iPz+f4bJ04sA+57L5idrRhhX45Ld68eicXBolCw0l8hZzhIMYu3xehh9lBJkO4t5OkaqM1VG4oMLICU/L3xKW2GPeSnRfGULk99UXAD5XDTBuciQnIeBQOOCEz2J1lcLNCWHliojHtnPxl8vT9PLXqflhSYsb5KxhRkeaGGYAN0RZZQLHrdgdMcfWFie6mb4DoXOWtssiUZB4i+NBdTY2p+AktV+84XP7YipAP+c7JvechRyG78epzSGJuKDSpvzOMP0wbruuI/o1O2p/y2PNjuYP3BlUfNd7mH9rNWXXWT+mhzV3V6LV9VsJjFYxEUWxQndRdLWoQsKEYHqecf2yup0WJ03DpwfcVoDSLxCOyqhZ8i12ECIhMTJaYT8/ns/G9pc3uBpPoBCeJiWs8NLigj+K6zdtCnMlxi68gGVP7bZEER9oXC15KtmD07px6tu7Vszqs01BJrGaPiBbBGpFwWmd0ymzlOpS3ZBduzErNYDwkcIVZOqcoIjAeH+VoylYwYsG9qwP6zjagvxz6YTuUI6vzoseVnfjJ+xZbRMkAj98C2cLfq3T6zCQnxvrEfbzUkVFXyZ5IUdJBaPJz+WKvhIBegW5XmQVHBPz9LInOQi47lZotHgMPCPiBxTusG7Lq9XltcXpytm87VdzUwiDxHQJpbzknzgbscAe+Y5hfA31O/8EX3sZoi6AMEFEZemQXvV2TWtrNEzjl2LODJk4ZmiLZR8QaZhdQqzWD5aY/5OtI+Rgjhl2FOAmJ9q8Tu0rqFT8WGpJfQ13fqQ7ScaM6iVS46K4wqQkJseAqV9n+qIH4xz0pvR/Ua+tCKz8f9/dWi2lpyqeo1wl3z+jfABYwc9ft2cF7t+gSjkQo1sHRlRgIa9PJ+U4GgmA6qZ2Um1pNG83Xr7J5QXXJfcM3E6Iq49fkE1gljjJag0FHBh4bTTYaaX35Bmd0d+PtQOPaacvyYUm5ktARtLPhrz70+Z34rx6LDk5VlLO4KBnYYM2MwhLPq2yq2Ga6qPRgF2YR39TSM+2bVQQZY3InCOMv3H/CTPJRB0iLxLbuV3bx4bfRAWr6mzQC6LlZv15/GzgC23NSzwQqHKBy654MFRBp+m05Mrpw66dS0otA7q8Mk/SpejjcLZXJWuuqDEQmEdR9F9gSJoOwlsmoUQdcHQ1Tvgk7M5g8fknqNeq3C2SAivUlERFaoifwiJPWjuC802Yy4ZDBOYGBNLMTYHBkf8jxAizmHNGW3lO4dA2L32m4sXgEK5evw0tgRAma7H9jEqHR6YYaajXPck8PpUk3NtqmzeuwSVoYuExaWQd6JudB4Cl8LqvMbHkZnISQoyZ/Ha6hNk/tge7I8nwfsF6m9oI35z42bKrV8hctSS0v0Mq07viQSsCrxCBGPo4OxSNIzE3lcZNKj5arLcA6y3wUDTOnyhzBlaOvY/t51BvOkkwicu+b1b512LNnUePCoXdkp/h5Z6zVvE9qllPHCMED8YIGOwTMCoefsJgMbTQaL+i6QWwKaG6qnlAA4fllRta6QGX4Ik5GUG1qUNOkpo5sKPikMACOKGFxJjw4gcwXVLALn6jJnU+vDC8bKhG/pCbARbv0itW8eu4Myi+kZQ6xVfQOArYmp7ScF2daLaQ0hWXBLqHMrVKYQ08Bar12t8ydGjkpzluZoiOfScRtlmvsq85iG1RmLy8D9karl48utvBZHg9Q7qU8JB3jCfsCcSCFV28anKEQp39ge8G+L40q35PKcRomezZHoFdpSohv9oK//E966Z8k4kgiFdX9ikq5zCqVrugKytdCEwe4LTyhoeecp5Q0VzzMJOhwjvCAYlvTecVAeOYoEf1b980HQdh8f/BJcRVE9ZAOFSfhn1FWOKGCLyTCBsytcoIVxmDI1dMtJ+7JsalxjlqbFtJry+AlLdVMM/xckJI6ZYheEZ/7mOwCeLFAKw3E6f+/kq+xMLlNh+ibLIEmyX8iTUA6FgvQ2JXQ7D3MfxlFhasa3Nj7fFhszNJCWP0HzZZq+NusToH8X5t0sHwrPLbVkQ9NB7vq9xSmIAgCCM0oO3Zz9jg5Brh8EjHe++74XIX+kDflyJ95UvjEk/hBrlfRMWcoRUb6TKo6vbmLq4yf2XMNL+tDsOXAHOF/rIwfys+dFrRnu+ZL5kqXy7H1XV713kPTA2CIyd38ToBS3TTNJgwmQTzb+fDsDyS04pQwm/htMYT+0FpQraszMJ91bhD7KFDYV6+VWz7CuzXHawFz/yqBRDgrc4f3FFYUfyY0yItKF1ozhGBX4P7otwi0qxfkRiiEIulVApjXYogcfZS0sX5HxJA7rtIveA4eor+OXnvWIOKlbuyRNl87lZ1Z5OrRi2x7amQAsK2BpsajPeyz9S4HfZWyiC49fQt93iycfEZY6sWl5AanJ2wwtZq9EvQRrNeL0ZLbSi3r1ja95WhsWPKjm3SwcixtRnu68SA66leTg1OfTG4ttuHTLCwi8y2HkOUMCS5w/5SZER/sI+G2DJpfJSOXqA4x+P6GUfar9DsjEdSV/wLwxJ8AQTZIdA9cmCK66YqnjNkp9ggZS3idg1kvdw8VZPs1s1r2V0ML2Ro2MlKxW1kKnucpwkR+MHWfMOd2u/h0z+oz6+DNLKnOL367XqniaehhW4Iq4eCV+iGfFotYUdlvDx0JvVL6vlln0PUqLNQYK1N/3NSkkYRiVO04qLLAZ4CBloVFWd9i86cUprCnxvJJzYvolEcAnNq9lw+GAnzlVDx9UFjJG0LuM3h2hPKGb5t7oEKbFtIik5ouhYfMQgi2dfb9tv4AI9PPgL3HAnIjwxNeIZkS1IVlvEGgZvYU4lldVy69FnU0wZje37Bs7wm2wm7hPF4gzqfHTQWqF2y57lJfo1bsncXFpKa523d+5Moef2QmYMhWL425bl2HO1tYfiJSRqADHY0dTIZdD7dKQEd4vD9mA7BObslRzlied+d8lb3WY/JyX3t5apfHWb7b/X/bKoTybavTiEdGR7JW0gL/a07kwYmHYm4T0UsDskMY7W9Qd6VWIq89ZmjtsCrxQphNnmu/b34j3FMl23G5IlKAhvf9+tzDroRYOzUTtll3ulAhvnFaYIYCwjCBQAJYOlG14fDtKB33MCI6L0MoJ0SuFAStNnMcGsesPO+X3vE7l98i1H0GG5dv7IfkFuvJlTJKrgpVY8sib5pK1kJdcQMDD41IVVtLmoH5XKJ2TgqTiAt+OHMjQbUHk4T3DU7L8r/7aZttSk6NeaQsYlt3kWleB9gy8G7277LV+3KlQKTUqAXc1JGhT7JXpqWYPRt5sCtMtMPBlv2QAkbvmUUutLULwfulz9VpOszjsCDxWPdAcOdjPqvnL69MVJ61vyBOKBPKipxOe5D+7+zPla5lIwJ/5iiTqW+snVkPAFtfePEjOkWoKlshLKMr3RwkBpCggjs+XYnjc7MuPUSzbwcnDEku2NJq/asGj1633ANmJIl4qPe2XwpGUa4X1Ew58Z7zZw7D+821FdJ96d4HvKukT+Cnt74gu/9nQKyCI8LYRakKohTX7iuJtjigW8GjfgkjoHK2Bg45uWoY5T1V72vaNQ3235SAJqwYS78FPcX4rrhcWNzAAjzHeCRtbTVE1LtTywznv7vvu1bK2JPDxFouNkRs6fgJlsFVr8P8HWY562cyhL4BQiLimGyZfvS/N7HTrBhM6+6YXIST0UsSaKzQCesvZgEKyB4An/1BmgTiqgw4/0jVu2A+Ep0YuKL6oDRywOcBRvP2B/CUTlgbG+GrU1qOSlGAm1qw5MNKjRnd7OeVjYqj1KOh7KE6V/kXO8ZnraABhegSrz5GdV3zw6tEQNVxF/3DbQHKHaZhjHS08w/OqsAaRIoOTr+a50n8v6bmWT03qpCl7Z6sDpqERZ+fa+0+ZtyPAUUlQvGwrr6xx4+uUhBSjcWEjMOOU76uKU+jCh98jpvywAuRZ8yTcn2xeyfQma4w0w3bu25+7YXFL1XvZOBeRim8tX+UUxnliX5w/2R84FJOCYe8oQE/6s7fEmNqjAk/KI7mrx9D4tlw7UgAYxoHWQRi35DOFs6qVY27WRFrTov4SJgXs8k9q3p+mllVVxSuqo91X8vbl0uoXnXK/1+pYoFk4LB4gkW9pW/1cs5g4eqLZuchVyzuGkfmvqIul4BNmVeTuKTIigJr5BIgcfMPsME7t2e2oG0tuNLLGTr94fLwIMwf0xeiZvbzAHZjufzQRZcu1CJYRc0kbQbgo4BXfTZoBoRSjLE+qoOTbWJv8IRrqR5VNpFvsEJkFadLyJTv869qWM2MHeJbdDlrVNo7HWBnsZo9xfQXDRjYzVmmJz4K2nMMFpoB/03HrPUQ41jNyKAd/JHkcgrBKRyL/zo4NpL2e+UpD6IpxcMqHr8i4lN2DebxsG7EfS0xLaFWEMKwzTrHIqf/1OmR7eMCrky89gTkdixmccx4rSW9Zi9lzRBcUNduFOdI7IA6zoX8vYlnrV4dxGU+elcEl+iMx0N/qjT/TUVnPI8WT35rGLyr9rsVuV64c35CK+sxcN4Xsd+J5PaOgn5gwhweZOWofdP1o/bjexkUXToOhveObLnyas6SoGkB8NflSh12+5wjDkwwNPkQaQcm0xkgu2R8lCzNiwerU9EiJFKgW8Kj25Arnkbpih93A3LvXmLaCM8heFjdO56SKg3dIA/dBD93qACp9lvEFfZQ9LfD6Efdhln397rbfnQIxaupnjPw21vaL6tb8Yh9+s+hn6c4rlMsLamQhFVVz+MXjm8QpZJZyrFYGFoyyoZe6IYuZzKAAxTkD6FuqLX2O2Qry5adtBfW/uHEC5d/YgJN8Hai2dQeMQYIrlzQ5WlBqeuX0Dz+5VC/dD4H6H7Yvk7igh56pZhr0O9wSJklkmnAU6HIG5ZKNohMeOOx6PhWT0vqKTEzlar+pMil6llZuPMlGialoyIMTcVO5T2dF2+Ky0fuvJxnj2+P1CJqmWWFoBfC4MO04Vke0bEEtr7QZX2sFAWvpFbaFWMzbZDy7+AtbFtNXmNDD+kJ/SlgwpR6kefbyWTPFPQs7A6mJyvoMSk30Lru5WX9H74Qk9Vcd0r8S/TFxJ8o3VikJNknOKbfpkeEopDZUDcjx+9cnvzJQP0uo91q+u7Ul1deLNhX3v7zuowKwVjwqmsdvankyzyYgJ3Ud9yLOSF9uW0nff/Ptlr76RGbU/r6rk+FAs9bDtK+uavdP0PHXWEEb2nNETnv/KJHMFHpY3ooubK04AiNxoOOl22h2eNNgCicDRWR/Q7kxedgnLo5BEUVVdf8cbI56Nc/w1ng1suA3AcX5oWlnu9LqGIT9ro2oKrBOe4ik0229MfNIDOf/ts29jgsvntnGkAnskCsxpd6IjnVQguCdTMGs8RS0Xt57jlQdK7KR1/is8vOEbObr9/+wV4BPkfZ0ppQd3F3pQbG/uX96iO8Kkp6JbUTDMkncn2wgIM/1VVls5VftFfOPRRrzOHSJvMUIKOciEpolf8ORJrtSHValbIfYeaObbf19j/p7BNTRifyPMbpVGwCo3znC638WItPiyjcljVL7rOC59LmG0cIaevsLTozHbgJcepPtrboxG6CuHkEASaTAFhm3cR74ngWKXU6x4s4dagmNB302vBh2Ehxl8Ql4Ea4yHiONO2jYmnwcaNdrWcZWyz6TRy1VGkZOc+jDtP064sT4loxb2XvkkZYCKtbRFLtAZIecAzotJ0ELuhj09UZmYWfPQgtLGKxihB6rCltAa/UIkfHy4kR7wLM5WWVSqkQbrj4VjbvIfYVGJ3FDFv4qwJKyO+w8nDHaDcDlQh1Nu4DaUzmw8JIql0QWkf2lkFjkGdP0JDOmNAzlVu0dq1hZuPk2L/g/Y+5IQ9F9Atd+rdeGKd8jMQTG7csQS/8/WVxQAgTOv51R7JtggZ/xz+aBFlQT3EphCJbArDXv8PMe1NqdCmGN2gZ3dmMn/Y+3ASSo3M1Xju6t1Y2y8ZezWXD6Bhp/ERGwNJw68EBM4IUx1c3FdbJ45sJqm33CKrqfCFT+0FykZQ9L9483qdr5x2ICzdKqaAz4F0fQT+iZYclSOId+zYn9Zj+ZLclsPbxrJ/h0alnbbwJ/w5jJvVB4hHmZKDqtFKrxM9OeQFh+PUu8/0fMwX/xuc6hzN15y1ylG6nqnZZndtqBKq9cbS+tpRJ561YGkiDK7HIlz47dDh0ZRaV1S81v8xUGbYthNY9McwPSBN8R2foUS9hE/j0K0JD4CmV7zMzs3OUKVvID0kvruc0iPtkJx2BGijcRDy85ni0+6y7gB2omWyLJsyC8m6Z4PhF1gMrzc2gqgos7sfXEWrUGy/jY1A678TxhdhoQVezWP7YV/1ClX0pABHTPxFOlkq0oTS9+096PqA8UZWHM/3S/1cmdyF3thmC03ZEX4yyWeqOPqRqzaB/WFHirKS6j9ASFSt0zfwGS69jInBKaQA7HLPnsVEVMvOIwonh5OXi2Gcnfs5A98ZBsRY0mHgry25FOXqIpWO8rbye91VVZNiCK5l1TzlOuMdgRctjKfBqhcogKJgEWXii4kVYcxWqHrEICFBuOrp7FcRGBQswFWQpNIEODZI4NFsdxanO0Py5Bs8Cr4Lla/L1XGPYGpYh9ScOHbeuYpJq0wOh3zeGi1NLHyNf9zvSZW0383151jYRXayNRqKSfXTx9nAoouytjDHkOgHhdQsiGBSsX8IPJJywIgBrFSu+m0qAnS+VDfOvg6eiSDMRjSiYj8+iHTBasZXosT/RyEb/PrxvCCMyCKGstx4Nzv2LijlNE858+DIinrJfks15EmduiWzUsb1lBVlfeBN3z6xSBsCnQ7F8IUq+PMA3GqQnwc48w+wW0DVLrWWr0WnLYeebs/hHASZkdezNu+730ETJc2qhkKpABptDMX8RZce7UIpilM2ToGfDTu3kakqrGvpd+7yqv2xRH7raEX4ytN9c1vvYg2pBT0hY101hqLEAYpMoSpoYp+uqJ+c7ZzSD40i0tawACFAQ0Ce0Zooa5dCeUGHeqg85MYW5Lyg5M6ebLgARM7qV3t8x8NaA0miSkI3pE6pZqsH0+7RWi/1pzDwmM1HM5lJWFUpBYwHF75T+oq/YqafCYngUel+xUFP48sB+3YUgyGnOEZUO4qW30ziMfOtNYQyxzCKdc8/9zbpHISyA0asiboRnNGWMXCKZLFPYy9hXb09ZSTioMe5GhtJB4yeexlp3RzgHsbHVGTOmQLKlYjjpPYm3inNJ0XOZjPlAvOewmn3Em5tf2LJ4oIMquSU/WqXpT1Oep5Zv35mzdLiCd2+v653B3c8LQOCglSXEMC17BYAe/7eVBPInO2ZyvfbvbPsIzqno9mPvYrB4iPlZmNuRb4PwqMZiSGAjF+0+H0pGPljoq/0hAxuMdG7Kl5nK/udUcDThZlutbzSto3u6SjC1FxZAqN2fYxuYXDKsdnxPxbj386jqmJgOkDy60i/Js5gIVcASiCUurGhniAD2sfeRH2XBSuNKk3VAlZFE29r3LZRap6gkyqOPeyKa61H4zj6RlncW/fSR1rW2QeUV3lLoqpJI1oyvYavvhXBCI5CcPcMZCsSkC4gB+x8h6vnYG5HyhRRpwKWQxv8ULh6t8wVca8wqlmkTFtOnWGS0zlm/qfx10J2ydy3hmfaNvo1xSK1cLyeEVPp5UJQK+q8Vs05QgX/HBji+c9pZT5kOdhCA863FgxN4lbVHKq110zxLrUrujaN21ETtYZH0VuMNfvQrarZkO4PT0pxPhT6dQY8uBYqOY+lgAT3gRKTncuzCWBKak/9Hz8v52Wru80Jw2zSLKCcCvgy9dBxjXPveC7d4xDtiZYIowaVr4WwQqlTUBCgZ0i1RjdMiqcTbA/uTL6Q2d/tONxzuW8eriKFMFsUKbXdHgYBx/EVe7jjW9/aLkxR+vZd5e+6+dYnGhhvkxMJM/vkhlOoOKzfFN4NiGWAhKbLSg8UDi8Gt+oCk4jJ5IUAvP+oWo/240+r+xfA4cwWiTT8gBcgVx+2rokvIFm/49agKK1j71evNTFD+z7ZyTzMx1fTnW5zgeZBfDrtJ5AGAqRX3mPyvWAzqBaMspaQ0RrIoJVer/nMD09yUUri73kxRCTLyHzawejaI/Eek4BVnTd43DWrmJMze6h755KU/u5z4MKgLNv4lD3TCuAYD/1AjTbVYj7qGtAnmAX2YSIA81T4SY49ORE84SPoKiyVkYkUyIkf/+xZerDrFhAsfRRGUcDo1Qw+ouO1WjX9MIyqSmPdo4xjzokVJRsFCdsyB1RXL485dywnXgw4pUKNqRO9WpM5ZVXWoWBxQIICg4mRs9ZsW/Yl5pgTF6f4vTaNcYS5dlI8QjIbZbpUqhKmU9LN4P89+PelMgZN+IOOLf8UMwQJuvW2W6xgAdlTOdujy2TiYa5OQk+8ZTT1yDaILyla0S/DnocMiGyf79bMAQiJSxgrVDADEYi4Pk5tcM6sEcPJqCiL6oU6TCJgaJNC6MdhQ8W8cBGcS7M9/xo/QiLFvJjMpO69BlKNIJ70k6QZfVlTcA03aXNk1cqFPd3tXYOOs+n73uZVO5UJhoIH9d2dzXuPsUlg3KjpBeizYgC5YDqW6WNrTwNzZtjJUizPT3nHvMtsV1sR3IN0Nnh+YdYZpFUUy5c1eJl6Pbhrgl8VGXKEX3f3zaDtjxlOSe584xe3iJZvnlqxLMGsMziW3isNwJgwZfasfMH8+DldcARZxjLy9/tPco3VJUvyzKd4UFRTfXqLEyw42dlMCR4z79B51SKajUWEFq8eYRDbmeHYSKHkW8YO+JjemuyH/u0XLg6otz+OgeJIoAwCykQapRHVTQwpkYKD4Ysspbv8CHpvqC2qTTQY8BpnLs0y3auneWkgihjXpvZ696d8l3hJRDKwYlxD9m7t0Nc3cc9PWsy6DdMMPAvyc5h8TuLEAFQ3tMEt0gS4e20Nc3GdLvT0kKZdzlHDhu6LJ8/Nv26DbFmrffK1NGThh0bzDKHJcf1wE6Vw8qDRwBU662i5k7WZIe9wWw4sWS1T3ZnyEiYKNzJRhCHn7wuvBWpKolkcKpgkNBheLukLTul+SKj7ku70Ffc/EIamUyZsHSNte7hhLdxZDgYk7g6ouawEvxz/cmYdSbKE4+B/rmBHR1WJVJ3r1+rHLm4OC4nrRiGyzT4pvPqeLL5bjaZvZo8g3xnEfl0z3/1ld34b/DEuIglbD5TKb5N0ntATlei+6lsznr10lhZhqXw/1hJjjJZK2UDrxDcADtZXZRNfcleakfg0eFY63GDqGc06X2UyyOw6kMuqBk1n9m/7mLWTMv47O1h0AtlRZ2KqpgalhNq1SUEbDA/QnR9zE4hPg9Ob2oVzcY7f62NZ0W1NkEo7Ss+N+Rs38vAe1afz7PRsDRJNQQcxdL3P1VGhtBlfsG1u9Xs1mmiS6crdczkADKrbgu3EzzwF1SFBNk7su5Rz6BJ5PD6orfgx8usUx0sOoyyF/WzDXbRrxcW2ev8IIajDaa+csPtv4VLqiqkTbUY+KCeDyn8CRArPgwp9Ysr7e6nKKRlZMy7BmRSiFhRlns8+NZeQ5YYa/I1h7lzChRyoKeUAI7Dp6KMqRRPGt4bsme43joA4rB153GaGEZYot3WhZE0VEGshUpYhdFNILrvcpjf+gUdu0NuPwep73WVpl2MqfIxpONG9biWMigIkyNiclQrteEl9ykxPc0pgOj2ElN6WVjT0TnJbMChK8ZqSG2rgRZ3CQIrOfDWPEv53KyMZWRe3UaH5g1W9iY5p772bA3utWn4DSTCI3EMO/ybG9Ca+8EncGxLVbqoPUmmFoC/jlmnO7Thc2g+wyo/EjmH3RsWT5c0fBGGJZo2MQEv/R5fOTYNqEdJWmBFruN7Q0UJlEV7FXkatZ2VulDaUWLAVtdMVfoV/YD4gtDnlWSyBxc+g5xWeQs7Fo84eG4EZ+Np15hBRWP0useZuRvPx6/iO9DhvkEmIMVsb4KQlBR8oas8TWFC8qgskff0aqEc+VGywYhsMbrJ5z7I9b6PmqeVMC7vbxuGj3MO+9NQL2YogCJGTn+M1mGQ1JOvAJdXobgJulqUqgvvTu7BACAiglDQMB6ctPa2ar3kPfo3kLnamqb7Xi5DOqDU3LVE3xG8vAqxbjoF+vZb3QxOBv6Jck/Aq8RULm41aTF4urvXfbC23oBm6Fi83MMnA4DJeOPDqSNvzU31Gk9jr6lg3pE3fsth5IjMnkuOcPDcAmpKPCIs9YTqxWP/k9izF3B2JrU1xaz0iuZvUMk6e34wTM76Z8HdgKsvJGH4p6aj9Jyayoh75GL0xPXWP4fLsGHtx4bB5oTcsqZ1d1caxrC6ryJwBIygOghvw+TI2gmi8u646sKHQhkL5YrsyJ4+879UHIX+RfWLx5uuAuVqv6byuPFVDdem0a8tTYIctDPKKxPCX0CBAC5nWVPxS0SABewufur1zkAOHkHOAdvKqoM8Wj3pCBsE/8Qm9Q3rpg/Va6fWQaFlmef21eW6LhINZDCiQfMPIFMWFwsP8slh6Xbe/vykSv0nJg7liCygKDWCam5V9fizaxpjDlrw+9BhicJgcXskDTIpeSWz2kntgUAfNWxkgU5Qbz35DQNspN7LnMioZc4jVkT5Xp6qagYPxFVEqfwQLoDn/D2NOQpuCvIiiphIn27O/jjgsm6uRQVI5SCS4rEr5mq0D8cI6iUwr/5/NTA5CX8qr3CxX6TIL9K2XI9Zqh7C22ieh3ISiO0jMxNKq+LReOrrXdAqKdjANiVYP5Z6drzf1J261SHLfgk7+IE150afmHDVDLBBeNm4lzmNtnrq91iFQ3srw7dnPqhHWbFIrkAB1tvKiONUClc2Ck7q5guBgqfJsDdeUTfZj4chOcEvcAaC5yN/GPSgSXvdhNOpZSz0kLYoq4wgtfvseUVEL+va5EuzdBOhkpQGa0hGPrANjLVKEwyXhASGy4hLuRcF/f34knYCTkES7VUJ9TR/UpCKedQp0w3FfP7cCFhsRzxEGeD9RcdB14n4aCdiZOi3cDy9OgCHxH7jDD+VnU+TxToEDjxVD34oOqiPj3RFRsAdy4JXG1zVPO8CsIH0p7W4qDL7m2QdkMq0kSP1IFngoQ0WHW8gfvT9vOgxndUDWQErUyT8JRkzB+1L9YSVkYt0onaIWVRha+KnO96zSw2Eb0sn7K4wWmvos8xvcK3EGPoLP+PV2gAPd5Sdw0g/Dozxd2t6kdCjrpw7SP/8FIkRW9hbR7cAr5twvPTn7/14GA7FQeVhvqnFFseqhlGZLHRFVAUEc5yodiIQpxxOj3Z1P6Kf7UtmYGix9thPE6+LmbsaAs9EmOM1bJbbqMra1RbKL1VuB9d/PeBeBlxx5bDONrvy7B3gFbPI4ZwQsP9BNTRD/3NbnB34UMRHi4pXtCf1NT/UenxzCWx/UjTfgXsOqvBfMDXzHu8g9F/hxTmZ5vvs5gasoXL6RCIHNEW3HKnRIkRJdUrQA6gCsikq+xfJjz4Lzxm7Q2vCAeEn2B1iwbm8vzbdeYUfQ6rRrPQSLrCEb5Tmxjtb3y8q4bl5W5GG0WKpXQm4IqK5j3WCOhdluMv2goAsJ06HGBv9uI580BS+Ko2rxZIhfYe1FdHLYcB41uh1PHQPm1pqKLcv582SSNx6Z/eyrVNO3GtMxgw2wzFCXmkI/zjOxH3v/Gd05becZ+y4WWJzFoPa721QDSMxjIPwx2UIH5S7IWflE0TLtq6voJ8uqYa8btQc4+ci2S9my4lViIi/FFRp7ZZUHbUVLtUONkUFK0w+GpFEhcfTeGk8XL2VNYGpCt1BpZhQodSxsDvL6sDcU1K5r04EQomLVstDXx7ZT+3/cPY92ib+Dxo6RsvaxDFmVLQaLt4owJnQq5oIs7omP7PgrMQlNX3PIp0S/buDc48FrC+gLI6ssvK7N+8JENH6TmBeyT808STgpqIt5gnQVwgvH1Wf1WMxeOg1mJ+LkSMUaPCpRITVGI8PVHe2HA9tBknw7LB0TMdNpGogheIw8nep7ApK2+FRsgHY+Em5vBRaTOKi5aXt0gFWvqcoRTSOWf4znbGWKp0tkEl/TxGEeZ2QdRejyZWZdd8Ua2nUdom639kv27kf9RoEUajlfZPfFet6WpA4QPeBnyPg9JmFY4qdIo1hxwtyg2qYirnl1QdKqCqsbXlnvbfRH0L2g0nV9H0yNWmH7gRzwkyFxWYZchVZNBHLAZ6No+oAooVdaFmF00FKz+WCAfuenkMoGqH0jb6kzRz1K75MxQG7IlIkVJA3bhBhCjSEcBzBfvlA0x2HEnJrYA1f/XSdAFDLjekRORzIWBD4jhOQzqRaYBay5mmZc2j/IhVb4tHVycCgvq9W9ZUns3xuY6BX1n1uPxjSS+vcPkTd5KoUlYXWIIAk1mjCoO2RnnyRcdov1E78HzMOc39kcmW/DGa1gh2CRddGfCJTgwq7urjW25VeXhcwZOFfgBZzHDl82ZM4xuC8ZL+hggExx/5pmk/Krz4SohHS3HWG07DlM7mg4aLf3VJlrsDObie/b1Ax31/bgczBw6wxiCl4U+mZP4z7dGLYW/Jyk/sdQwUOGbePbFZf5RKu6X4EXmG80oGy2fPiP7IaoA1+zWwDaFIKY7udE8+tBCMJpFOqpgxh2PeqXq0cWHbhnX4m3EJwhsNKKuexYD/zeY5YsQGbyh7i8rxkdl45RJ1HRI+aIb00VxFWbRdH648U6R94LjMF+Gg5BQL6hCnLXTRdq7qImLV28Drfs24rNCkrbTh3Yvfx49YYp7CBlUiyy4Sn5CrFRn5dd92IuLtB+NM7jHKGjGlsRKPZD60/jjk1qhZ65IgRc49DNhyPrB7QxZcHFCe++Aj4DMpYo/si+3e1Ou+m4KBxv398E1dtnslwXJMKMPSuTkyF4YmSgs0Jo1mvHKxOfmt/JAQ/EVUA+68HcjkQrBmpn0XWZWNmKst2oyTktbVt/7DuGrQvbIVIypaX/pZjyAp8UP4/sedSCcI2p33uKm+oRsH7diiviI4i8pKsO27PVcYagbWGtnJwfhhTaPqqLd008JBJ2XZ9DIadvkkp9reM3J1PWMUo0tfhp/IFoWlHK5HoNQ/hZVY8JGFxatucZlMxI8W/Vbg0gqtT5GgH2Wp8ShgUVHM+jhG9by97y4ypkaUYamsXGI4my6xVSgEl+G+C5z0bNZeHB/irUQ8nChbcFa+nxAsrHXCcMhOh8eqsPLQLQBVBlND1MrRNQDd85vui1aphwz79BHIqxSIv+GATS5z90A1G294mPr35Z0vUkTXQBldbeM0Xw902XX8T3btlfc8NXNnkKZya/hmwXpI9HvoTAhRclj5TTLBZTMPYiRXfU4ajylkRgIttmh00hqumkEk5QJZ/GshWliYFO+9g6D8spjzg5ui20VkrnJXZohaqCTMv7B2Rsz0s+zH6PeGxaFnj9kPyI6QrbQCN2lp47nM7rekdb9wyXchLhht9VW+c4HyezDVKv/V8xoG4QLGfi3dcoihGB9AGtLaTsItyS8v94a3WMqoXiXu/LD4htoFs+V/AhEO60RSXmhYMpPixANK2yk40QSVocf3RoTG+hbiUmxEvthFa0Og8nJdQbZM3QhpdjV5I/B3kr+3u09H/NHS3zwNiChn97jLgJCMrd85QpNIuNkOPDMrA2WtYWSrHnfKVKUWUPrW+1VYIp3v3mWg0GDxxSZJ+sE97rNCXGt0p4jNeA+uREezdjT5z+U80fKXMevEWtlCOlsXLDNGWHk29mE0W4+u7ApYYUJjO6hmbIaRtgBRte4ES0zceoDW2j63dpgKJCBRwpMxgZM/cnvjpiWVaWYVkN0xOFvlZXytHkhoYSVe51Ezm/Hg9bQWi1pU+V03VVbNxCHFQEasD5OuNeCfPSlemUBb8WcNhGeeHym4iVJ4Rt5+0pbHH1+sfboR/NxK12nkCaKTR5g0+qgIYdhkSyYj0ayMBrs1zQu2Nuo4MttX31o4kpQ7Wvlow5ncpo8gYSecGPXnmM+9s0kxdBR+7FcQ083xD7SevZWzqkTfxDvlBSqqm5VgBqkyY+thG6c4YsEd2jz8zPYfZvND9ZOVOipe84Pb8ngXNZd29Gqo0XODvfQaFJfC6PnwhOt1O184CUN05ig8lnHAymEbIBcGrdGjRMIMIFfgxmuzUePYbb7RR+hE6PjkemPqfyPbEZoRJmUOvmOOS4bZNhl0wBKZgdJ0PRWuB6aQxgWBtiyQZW6rzNioEmehNcce3F0yTZLP80zEhTPnzwCObRn9r791VNvuYp9Pu3Y/IWnj+UHt976bpg+/nfcqDF3MojFLMbDWS88iedrufCAPpf/WthFV8V+A/fyqOtKbtm2L3m0lDY/fteKHQdutgfyZSWTCJqWGE/HnDpaAXJrtLo3L91cy1jb1f45q+HYKKyIp0ehS1UY1v6w2oSh9q3B96+VR0JKn09Dm6B5lF6pjTpQsso+8ddV9GA/Zms8wWgLbZT1EZgqFN76xheQg8N+GwjvHovgvpmXG7UGZXyLgIhnGo7mLCv12vlupFqstJyfAdEfG1RYygk28Pt6dtCfbREJ60ryfI+lYHhKP9zgJ05q7wipsRa52+tKbGhhdGLTEM8/IUsA+JmUdy89/qrWc7XJCNRL5AwcR+IBLmvDPJeb5TxkZK48mXFCARNfemJ7sYiPPDq0xjuTkU+hLQAKXiTWnKYbMrKEWONAkHAdSpnFNUJ4oDexbx1EEPjSzIUP3OUcAsb6VvmpvRkXZ9ux2HTt4Tr4AN7Hn2v02sFgggdBBh2NIKMbfzKAgqU5JoO7lJ0oPAA6Byev+SQHHUJbbrj1v49hM1pp90zUwC9YfgZlzOEguwPjMOAw4MEVhedLoxpoAK8U3ARvkmGtv+7hgnkOlr5IdX2i7VM6x47/hMxV4t2Vbdeti0sbaOTCvpWXa9p0yHfMXCeerYpszfHbf3xrxKY2GgBOUNdC3ftIMGNumTD8oga0luzVQ0TtKJvfh9rzZF8u7Mhu+BO6J4WsAG51ZvfkVeOusiXmtNAsZOgGX/tdgcjZ8R4YPVEJsjL82yaNd/6Wd4kFaZID39wmNNNP3/Peb/ktiylwgccaoqNdqORF3pENfrvMpnUsAW1f53VBzqlpyMCuoIMGG/LMsioUtu7OqEN7rdxzwrmvdENHPhNwT+GYyqVm2e6Qz3vRgiLZwq/+9uQYvJW8FFKrMGn+S+ZMvVW8zkk87z1Ytfr2ZYBHYrtCLWBsh2+RKY71xuSkTfmAkrMlXY0kRhQCYOh0CkQqTbWr2pSwYALhHNnuKE/AIKl2bBEceUrtE2M2n0Xwn2QCR6GsTtZNbXslcnSaoZrUw/fLMvvMoA6UwffFQ424ZpIvgeHV9uSXuGAeexLeCviqwH3l22KfYxbvIjAtPLEQnGefK3ffqQuLKpId4SZkW074QQSmlDUm7HsnukQpQ/0Cu7gYpCER59PxAhTQqsYfsNBg7rIK5R7nqT+3pV+eAkNwPBWwwSllXD7WUX3necNSP66qaOMGvKZb437B5WobasIlaOexhs/+v2PcCB6FzvLHruqI/WiQhzn4tRffMhky45Ti6TQ171is1DekA7mIyK8SF92tn7vZB1z4Mncw6mrWHjhOtGFGDaDz66iFH5UDWpI+8FCLmtEhSVr9WzO4+Lz61SqyK7WpU2zF4UILDuWlRx2F5F97738noJpq+45RlY9da3DM4RC7kWtXjcyF+IVFeRDbDASPvXJkzlzXbzqVrP4q4Ytl59MqyZVBi/DkOLRh5MvGb1TngFzTwteiKLFEAbIi4kB+enkptM6zHXaRYrQ9FK6RVdbS0Y0isfZl8gMPBTskJIEFBhlWufOX/rwFKmDumRhRtxUkV1jJc82d6YbaWUr++7yVGE1/jrkZrPN+cwuMVFoYSLzfNcZIkrkj+2s9UJrIjj71/YI4twVIJDFKBORtWMN9jPHzTntXU1JJlFstVs6qoF+QQQ7bx1ZHjqr3Af+mXfMxxuwu6Ss9dybMAnYaRGHqGwYbcKXfcjgoE7pMkRA8cV+L7sB1U6RCKlGOMs76ZFHYPVkCMAjyDCuswfztjXbczcMXawGu2ExsFTlNSwRLFpFcTubO/TZVkdy5fpn8ibRLOFK7b2xc8XqXPhDMS1DiQIX668x7OJci7KPMHx7dMDh/BWG1ggeqdS7aI5mifTz69V8FodEFFAdw06eAJp0XiUnpRcylBSkLow5ABgrnkqnqT7h5cDhRcjr3wCeMPVPMHZcunBipE8fBvGSef3+paGWc2f0tQ9mXRP+sCKDdFmXhqy+k/bMidN8ed/E3LQOQOj5DoZdrMkFnhN4KvDkx6Cc2yi3u2rl3vcHiHla/ILIFl9rhhsPNDn8J2LY8FvLc0yimCLBq2Ay1cEcgDuggSfPCg0RfdhCCHvqHaCxfR3ZTsqc+8pYciNIzvLfSFwJmU+5vlWQOf8TYfNMaTpmSeTlg6erGIbtNYsoh8SmbB+umpuclWjyfudvXZDKoGVkPyZAgG9lUJfAKa/C2R5BV51sof3XZ0bHHDfsjlKa9xaeIhgL4fd9ydyZL8BwLiRIk9XEz6/nVQC2gpXhGIH1d74wcUJonvWz0hmmSIKPAqN91svO+7qoR2LYVaYkd2w0//DNf18P28hmqF15pfKExyVaFbwnPGoTik+idqmWQamxtTF6wHLEJZuF3n9wNMCUQjaNy/Yzokfgq5wuNTVBKpbBArnJp7Hu789x6KcfWAsFCDfryJZT1rDNWZl465pyoPxRi00UjQNUZLoCQY+HT6sAsS9Q6RMPCbF+cPGUzKmGo2NXW86O1xCMniogRfOEuv3nv+OZfjWKMhHCQM8ZOWp9qrIMA4rdkWff7L3DrxE0WPFyG7hqogQR777m4k9vWxHcaLrAa/p4EusmmxFBATORtBLKW5Ln+g0rNz6VncELds2zhpYc/co2oPwWWSoqhLxk3FCa2GprKiA1jOQ2a3RRSeQ0F77rQoSVsy8oSo7jg/UptPqNZAW8QTJIzUzowWw36Dzlv0U/4cEtahcLcVkv1o/dDf1C3kTMONaAubAAPWLLrL4m9Ebd5XWK6pklg4L+q6O+01FiyqiuypWO9RgqXBHEfrTcir9tEN4+i2owTHVr566lvug4yuIPqcYoi1yxPgyDtzrpsNtd4Vym6OJs0YZfcAGSaHIITZIzAUH51Dyu9kS0/toUIBU5fuAqsUxRH/QKTw8b4VQK2tbNbUtlQ2Bc7Hygke5XwO/3snLdgXy7bwsbb7fwxgMCn4AWVyAZeVkI1hBpD/wejZ53wJm9MIY4kWRDnTPY5PCdikzuxTQrRrvUD0D4CaEKljvNuuimijPIsQJaPIgf2g80GDlLJA7MTOoCXeJsDLexlXN8WIHX1UWe+R7wtwzFZmTcLTHXiVYtXgOkC3/lYfMFB0dZsJ8KQAUE9SX1dzBQn6brypWUIo4X4uypJ3Z4mSKZpxQQ8CS6Ku18XyR/tJjLepPZ6YzXGhFNJVis7fjMrhUp+Ai5pgpDuJ/BKfMqombMz+h50Te+5E7rEEmQLadjGbwseLUtdYfxVw9VnmwyvClipKiKi0fJKR6kgplAi8rpOLfGp+zqmwPOYix+5R+5eHMUTcs40g+9NVgD3kMq1Q4ErRWdBev6OaH6uWzaBjSFg3pkYbcT5YW1jp2LXncr77Ala3FhTYO6x7oVaR3nW6yPxMZuVZfagh41N/JgEz0vH/tOXyV+E0ByqV19U8Poo1j9IeoyWSFs8LGzq/wG3J/BLpVOk1k8C5Z/4p03u6yYUfDe1hJBSnSnjRFNx9VFbvYHHRovG3D+r+gsf/OoqRuXQ3fCsJt3ITqFoKKA5BsJQzSQrCmU16zwfskaVaIWFc1kTIrv1fDXyVSkprQ25UE82kw3ZtLJgcfN0zkNeVAKDWY1yZ3acJVNJKaY606wWBmGXFOfMlkEDNAmqNE9kuADucIyiO4b8wYQ/RsSUMJ/SccI/984nJ5zvSpPxn6c7G6/6pG1D2G5v6lNAn37Vbasf7Dva38i6V2Pjxp4hQ/NpPOc/9sn3Y8hHOlaU/cGR8gspqRFi4olwxXhAUcSUFAmBwDRZ1NLcgC7qLCQTfxeuGIGfe5Wx2cv2OxizFwmPI8ZhvrZ6hL1hI+Kl5y7WOfhIdUQSvM/eY+SIq66sX1w0PmpLor78thqIeK+oTYEDuiDnvBAchCxtjIX9mZNGThIrenilne9PFuHiYPt8vN53ZnBFWrsIpof+L6EUL8S0lxxfqK04YEWOS3iFdtiVHNI5zgGF0FCnwSYpf7/KZSM4MyCNQSIpMkyVZiqht0bn8/IyUc3jh3REpDCgywLRlz+Lf5dZd024pFyLM/U4g+tQa9D5S6OXmgmykuOwgHRbfYHlNoqnij3w0FS2FrylRWFF8Kv/Zv1XRPdz41y+uygtG+TO8TVwWJi+vz/Z6vK2VKsyhfmb6eXEtismHxOIC3f9slgtKWSbTEp2tlvD9Owc85XQrVvDcGqvUzGRTPlqLWUNOD6/zh/hUuXwyZdnd2+LyXTEw49Cx0sjet+c23mDxVoA/t6vDcgvxS0gmMghlAZVymIGKQJ2x39WzrlG+KYHCT5iUj+IXcewpIRqdUTBF+7t5ImnmoPZPJP2ReXQXw7dJcivOal3ScdVR5BiXZOeZXj6GFSPmABW+nXkEzZ4oYcL63O4PpLZaAxo/rKZOXSEKYwW6FsqdKy9koF0yGWgmA/C0PCJDLnjNsWB2WpiXvt/P5CX5slhNCCE4OZViqIQVDAaNXhEIDiYjxadp3gXCjSsNJD2WylOL7wdxaEJQt78f4K3hokwLWVB7oB2nJtYSMlKvP/RwO81aUrrd9wB+W2a5Yp8RNrrzdHhrFAhS3obBEPAilDOfs4KHnZy+rs9Ce7szP7OvwcjI79T7Ki+kuq42lKusWILbsTsyrgMtc8poVCJEE7AGduk3SIzsvysffuFrukKj8uOPpaJuF1YfPyVX/4lM80sqfzU4X8kvkW2cUO2mKJIVHSPNS33I08Gxi4YlzzQ2izIPMo8/f4BvM2HcQqopd+i6lVDMmsBZP1wPwqeUAQmYIub/D2hgN7rSWYeHB413jxKFwA2DfQw6t/eknM8jC7XokyAKlJznIp9qKJB19x3dumbT5Khaa5Qvr7+hSNYT/QMRu79QDw2yP2KruWTXgL8KXFe5sT163SZHzHj4jYWx8IB/x2JxD47S3OqByVlt17S5OD89FhpuCS29yatyLDdUcAC4P8CcBQ80oyt/d1nVw89dG0K/cdT3t15UANt5a8xupqQMStQFDq+rQjolLf2EXxZ2JwTVCPQp3m1J1VtuPeDvmQ5w6VI3Znl1OFgXKM+QaV9WiSo5mO1LzJjX65pM9z/69WABJOHPimytoivTi0sRSb/OyulQkib/eUOPZfr987LXLuk7w/ZbfEm5e3yKsYwuJqR17Cp975kAjwDHRXRp2+TnoiWi2BncZFdqZKMnRsljQFLae/BxX4HTGklaKU7AvJbuOfpwqkXTdFBDNDo3Vvt9sdGpf1RSY88ZlgqWrQ8M3XAwa44tADi2uS5fV3/E/npAaZoCFVn7TW+/VSRM4jcgRi/Jn+UmpUReJJi/xEuaFYyiNBYD83QBEV16pcWp4sJ3NfEXc0c9RDN8Umm/e7gmyCNZS2/652QlDUZnNDST42c+flxDMcaQ4bSIJvjmor0yZjRcg37WOzYi66U9Afl30gQCM1ngzF/siEs1k0ubApJwuV1Y19Gfjt4OaTbvTopnsrOWc5WBq3n3Littlv6nXVAHrFXcz/I5KqCx8rWIYCuVWJLmcpExoOKXeguJlB5Z/Lmv/N87qtBZJKw3kqzT6iGs4j0dKMTNadKQKieIExav2zRUA5rbYPuKvIQ5t2yzI6e+6qib5UY2wi//c5UA8sQ4AepB/rHlhvpFnyTajrYYPZqW0xft0mRXFhdiKssklriSqQq1i/TirDWK1C0cG9+yUjTb+HzBs8moEnLn+iRRUddy5AQqMOAyPVGkbPi2rExPyhG5w60Dj0WIj6Bhd0ybgTRLja2hflZjSDoeoW9IMuTbUr9rein2BlV4P0x9nrxcWl3oi0HcEbgLDjroO8RF2qUu/e7RkME07D1KZ//PP8hykaathY8n6imNBKQnnuNwbzMDWrOVFUtq0NmcxTrS6LGjUG4WTPGfahk4w6N9wIOjl/kY7wAFF8yu4ZXvDZmDe5EZdeud3CUWceoDU5veTAOwqJgks6w/qhkinoSUtBwTUTinGcIs11gSlLDgrAxraurmJNV6XcNSkw5oUp6StYctUHkZ21TKHpLgKAcGGHotSObxWB/KrjkEw5kNMczskr+8ZKcO+IZVA298jWUYm1p0B+3MKjonHHU8UrkUF3uzLfhz6/WHNlQylFRLvqapDi4LpWcPbz91r/EKCbycOobvnfls3YMQ0UgAl8yi4pZ7NmRr0TO3E65F5FZRMa2Hp6f7Q1FTsYVrlOitFZ80zfHNZy8MY8LF6Qo+uCFHlDjxV8aMxBGboNu0RZRHQ/gpIeYDl8+R+UoGBSJRE5ZHhcfRKLp9BwCL6YL9/nRyBmxvB7IkJURz8TRLg7xcnBT5eZFKfJrsjBtF4q6V8iYZSj0fVcoyFdKOxr/dd8eC5j+e2UQkFb20RqZsaJ3JKfk5/XV2MAOibZC8zjvHICOigjuusqGGoJLkozHy3wM/AyoaCSUKQmoq9Obtn17j4mimfqFIuSxx0r9o8I9FrbaspaML0z2dEGFpnRSHVQkmUc8TjIinSvT6qlmCIi7hGdcbJ1EAt9/Cyy8SQy4koxLocySYGWs6XZXL052YScyyY9/kjnlf+7UBeBkkzeqAJmvBSQrzmNth4iXNExEN5opjOpMoKQK4QOLDZfQlXFDXaLDgyb3psbtfQLrwGVF0opLLvFTFcUNNePmYI2umXMqNaa+zO6EjSbvxtM+c5rQsOHfwqXC7Fd/1GRzfMwNger9S9oWxzz8F6jBMkpzrFGedJjYV/jRlE9qjtTyNAKb+DtSdRLt8PZP7+jLUrtlPjcUIZ8Hm9vK2jUxBim5sDdICkM6D0Cj9AlqxWc/NBqgPeAAORPe6k7YnE/lov85qZEuCrYMxb3R9I9YOt6Rm+uWTsiaxtJQDnXLTlFu/QHxc1mSqQR1iEcvj7fytFr0GSrxDnpdDXJEWBOjMJv8T9rL+IAVE3r1N+w4567j/1vqxP+UM7BLZnlooCZrxethlgcCCIwOv0+/KOBmhq/LX0nJGrlW7ECYACmPogLqly3PI2eST6raWUpKgXbWPYi72/rcSLq5CKrQeFh7XCDg0WLMa3U8WpM6WWqZJ73RZ7HaADQNMDUIpNNRMM6nB2teCH2fb+6iHQVngiTMoMT6WPw6SuXptNDv3tmXViw+oTFGV6l6zTQeJnVbbq7ULWOxpXVeELM0cs14gqXy8eCEOh+zK4OsEg0Zs/BDZCHBflDIzASS1xTe1hUSo7OHq+BzdnR62vZFACv98Mhg5SUzfT6lgq/MKQG+9052ur6lyyF99VH8V1XcZ/AkcF4LsB/otfV2JBaTsO3LqUUlh7F5iAPK7Qf1+4JurBszuFydDBiiliokYVagrPez4dPXiX1DbkGNjIclVZyyNdxBTca0nGJrmyzU218T+3tCh4jgKuU1Vcdk6rLM00PTV+Ds0169YNhN19q9r6xt6rgxCDnQWXE0wfam+gmAwgl/VFbR4gEROfDGyPlUTuVDIz4U2pED4GOfDVnMO0WCVFtylwGYDJXENdUpJ3TeLAkJEhuCdh46qmGii8k/sQsOF90hOkS4pFm2aboKJkEYr8H4d2Hm9o2Qqeafi/nypSMrt5ty78FZjItVszHHIqlkqWWWQIG2BvDgj3Q0f2R0u32n5LnDpTAMg8sUY5subzWkDQ6BKbT47pButlKuFOpoS4jcbgzfGWF31r14w8aCLDTQ3HLdX+7PnWovCmKbGUi6Rf89VTwR841w+NwgZUCCuOLwS+++xoMtIWaEeuvw5Si40yw5TrOPr0lxKzsWuOgR3qD+kjqJyxdQ4LuRI26OmHt+LLz1kkY/ZIt9JLeNXfE26yj4C7Fau+9EGrygaER77Xo6ykaYSzuUu7kVWAHntSUEV/um/ih62wK18VzsPuJySO5Qh/qgMa0n5VYfejdwJ7EHfl/wFfvIeeCzGsJA+C/L18YUN4bprt7jTkXumU+khe9DJ5PzekFLewU7eaPSYvE8r+H/L3nupiW7T/5voIO/HwrSKj/kgm9mRjchjFh27/0S5nemuCljudtJQjDzhb5VGZBJ8SRB8l3Ve/xgxAXQtfJpB3SUY0ngnldb3pSfy/cJ/nz5W12z1ZOIbCE6mKRe//Eb9EwWBdvuCSr8H0IFzVNA7WBORGroppdnLeLel7w0adtgZUkg+P5a4PQ6OfyGBw22AHTvaCz/MEAOA4rpy2DrpJALLoTWuqZur+UuXpF2hGiUMaR0Q4VT1v/l7i4IClZeaheFh+M5Mmja9TWz6SZzjsufFY8Yger9NP2ASivh3IIfeA9xYf3GYUIOhmUnm+ZUGPhhiwdEz1kBt14z380rsIWU+Uo8jyZyBJ21R3OfzbXuLdqjYw0VFH8rLkZMmSA3tAykXPgF9DyFU4UuotbZOqRVCjIFmF/ZZSOY8phZW1xbPDtU2pTrsypNvZ8NlUCY8DWvJnCJ1CctPDs0Cl4pLfQKNEDggMxZT3WsmFq32gWgAihAS2sLzQgFNHJZLXfHrW0257H2xhPJQwvfXzgQPxFdZOhfXYB+2Mb3ZEzXHJ80lIO+2gI9amkWyyzRvw9hqBHcStikPo1qs0y18RwocCEYnYppm7WCKvbbDC2luQDEptiO+42gNqGQJAK2/ULZuYwN0kH/BOJxwmNkdNcUYb6IVI0EgU8bwxJ+97hshUw/4RTGfZZxxx9REZwnaRmdmGffVNKiMgJtAjzcqwumsDoo3e5xRvv2zvGSrth0LrRpFMT/3hCMXhJIp3Y1ZL4raXMu+1ZHMC2yCKA0Su15bMM6se44xdguLX+l+XfS9j9kylyi37bXFkHS+yMY+hTZEXvS3WJmxTv60mfM+I++jWun232NjlUWKH0qNxKBsFTH2eMAyjD3p62fQVA/UqB6QxadueVfaym4C8QTGh23MrycU8OASUZjPc0DRTsCA/IzJkOFUaH7slZN/Q0xvAvFS4EVVAOmCsfLbhKeb65sBXzfyjAmut15qd6ZdcLKxt3J3ML3Ve7HCqMO0CHu4JcOWcBIi6A+H/sknCMjY2ycUnOLPIuGZvf53RazBamlN7yMSULmReC2iBFgKMPAVHtt9zPBF2Wl7gqhICxLgaUKI5TrxHrO5GPyeFoicAy02loZcE0agcMXQXJ5oh8XxBNVzgvAu4j8slw9mP9YBN6VLELfgyB33doNoMjvPmfJDNNk8TDOu2mSW7ArFVXAK2sL9TGwZUBjm3qOWn8amx/RObg3RURCDDoNUHTSMFR4Ns51A46Px00L0Ml6BQrYWbGqyAW2tTkx6C3SDoWFV3e1e6KzML99SpTAN8gGZKjcDDZP6HYoupZM6iqiq69qzplvabbbe057lR1su9zk7BF8M1ylhXS147vKCV67qDzIfvJI2Gjy4Ooxza1ENX9xc+kHe46RYBV+h3pnUYSLnAQtBhbP8tYfDX8WVtwHMR2PSyKnbIiouYEVo+Cwy1sSLOWbGKe9angXP8rK+ERoYgeHzLqPCbw6VHl56m1sfJxP7i+K6cZl9j2gJX1CW3Cen06ya1aZdYJ0V00bYRGYRYa54187kgVMEByF2uzH9aiLA56PUjcOZwHBCAD+/UveN13Shs1Yw0PK5Ug1MuhHE+fLcfHU9vuUuM/gwvvDAxgIx9zDujBG4oz1jejhs1EbPE3yZFN1WVwqSLjQ7Nz1jIjFLj3HRi9GYljsMv6dyFOGERluj+OWawGz9PB5inep6KSqOJW+0C8dV5oLdE/grax6ID4l0l1Kd/Fd36OoetHx0cTEgWav6BjpCmV3YVtAQ2ncLFOlaKGv9M9jYh/Ar02m6xGlgIcDaw8N5L4B8o1t4hT/ihOXOta6zytGfP7qw3So4OSaZHVM8W7SlTGyEdwO54CcnzgvlkHzjy+/Yg/kVtS72FGEULS/MD5ruwKfvl/hMteofz95WfWuZmY0t5zMPPXGAwmhhCb2UhwxvadisdgJM2W5P0KpMZA7X0yDyNaipi79GifSC38O/A7jjqsTXdw0JZPZQG80cF8br97X0vCWv3RpuBJbBQ2erQXMvMTygbcaE+mnUZ7e0ynuPclHu2ajT5NaTUGwnTPAGHWjPLpdr4QZvotTuQt+pLF8SYyvagh9jWV7LL8iyRXBRvcj0S7WlSB/a8PeXECe2DTE8FraaNgAEW70pGorUE5zkjbCK8PbOTUiGq+qOD4juskr4umFl125rW4BWEWar6ldlCSIey03FPWgNnnQq1P7eplbQEgx6QsQ09xNl3y3ziXh4c7KIfTSUUgViN3DLYSZvfV7ATEc6JNbsV1nCMjebod5e8+otBptdK19Qv91WwI4+sxFvDV35lZKXyrRc9m3+8RVmhUgcdi5ZzVpv179DYOrvxqvvrIKNq9FfYnDpC5X3KVn0sf/eWgrevd4mEPMFEvn09Z82FtCvjk/CUmqsbrovVWwxnuptEDakxNWXZgWSvOH49nLiRWqnWUCAvqCGeCUr3gKhUxzh//ksClAcLdF4TRFozVEiNIUER3YCeUzssfQkbPd9Pjgw0ZDRn/P6huO+nHXxwvoWBcCopYdcEs/l1XxgMQS20DuvVHQuPOzs/JjT1bOZ4P1O9HINHGAyuyrDZTpQZOGIKzfSMfV/am+lQQxdaWW+N/S4EqhZ/V7p9zzW4cEpx/VbXVX4b6ST7Pkp8E/DPVxrac9N3NkKxsNzKSgr4TnaIWKyZRldn9JwiQar+5/eGCPcK30JkVLfQ9yGgQeNltVuVB6rwK9cYb3/JUiZu6tYQy3i2UM7GbP5wkCKtRFMPepPlR3vZFsiAOXWY6vc5dnXetyBhQEycNpW8bBTrgjvBCOLtW44MMsJxYDI7lIH9EVMkIUszvzh80YYMYU4aWu4uzAjvsdx/gUDqlTBCx+8MpbWTixW8+CoJb+hZE1SLlUSSAg69e2g1T0dvYbqa/tdunv40FBva/s2pfHRCagyBG9Xk1KYS7gpPe2Xz/e3gJuqBinXZy8NqxWhRycvhccL0K/C+TvbY9FhtkFWGkD0o5vBUamYDL/gUz1UbnbKbL+za2s9KlluM9Y/5KhnG3j01D2J7k0Hrc0WQVtY78ld3f2FLcaQDlJmFyZRPoS/T99F7IfwJ3gISc3vABre/NONvux5dON7B5hO1Eski1GCqWoLWzsNH01l6DyujD7nYht5YqQroB1ngHX5sNtBTTdKcULHa9/RcHf5eirkgy0AWaKxg2/8+cF/swUJlnTk0ZVIex7xPUJoNof2+PkgRa7Sxe6+6hjv4PrLKzJDcmOysXbEwftVpCRS4tzH/7fSFSDwFsvoZVU6aTfxxxsLTaXT5zv+ZbtbvTby0Tlp9rdsYXgpP87wEegkC9VXlXVHNbqW02Cn9CPdu4OsC+gaKb+z/EJGTFcrz6ZYqIeHVQoD6lJpysWwNUvGhLA03Ng5T5eWdXSzKQvERnLpq7gs2yHH7B43nh2FGWS3yFoTSvUbMKoSmNitqx4r4+fgmr8Ia/m7A+UKmUbkJ/XmmXbV+inb5GgqT4XXcW1s2QTc2EniDIMrirPH32VK0LqqQ3RUaox/BPWvlzkyvSebdkbH//Cr3R0AKuGwX1eV8qYKXU+l7xN0haHKWyXVomdcad09QCrFjhZMElJK6FyBruF5rVF/RHJNk8MZjIUdej8iU+LKbX4G6nYMNsmj2gAwMiHiPVlEBWTHfiRpoa9dXECLGyXt5KnfYM+RJGeHpvHzCvPr7RDtr9XsfrifF6FKWFMq5Bhcw4A0nqsb4tMe9oZ1n+rQ3xIOJ6j0qQdhebSIYWc1vlpONUaIZFnFHgJREPCQxAcuDL3CfdlYPiEVa8A/aiH8BZelnE1K4oSnwdHysouiMVBG29td2DUkb8cifUVIobEzknWebnehq+6Oto3ceVbudrst/Qs0sQ6mbr37ix13K/q0QXnHDJlyTEAMdUXJciNIi0Putpi7lrwO/G2k0myy77Ha5bDvPQ6sCickRPlQHOKVYvpLTEle7oklpuBYJ2TpYixl+IiPMq5lw6Dyd/d5u57/ot0KDxlVSigM4tlQ5XubUWlMpgFG+0AIlglDZWUdOCOucTK4PHnEA5MXNqseyCrV8mDftXDRAF4J6OVu2ifVathpKanUDOCH7nWS+Xx7dmqJhrmL1bRfH5OMDt260u8va+c++kQoTLaWzYGCkhesdS07V4u39IbLruWMJN6BgN2RetyMOAXxz5CbWxDRAu+AeWDBJLtdIEzHsHjV6bweR9OWFnGGlqkCFYXpbPMiLtCZpV2Xsrh46QIjIXFsC9w13TZtR/+hp5/hJgOtTl11RwtTtBr6DcR4Phx0Q4gV/n23YOkAmHbMrLRyu7LfD457Lub3fdo6FQOksaFrUidf83HoIF6fnCnL2vi5SqWfmaFqRBcJPJ6Hz7wEZKzICTGT6C4ffJex/WpwYQCmCkVOBM+Nt1aaotRmlolifB553sTuy4bdle8mfcCH+8xPvn+vsPMNsS6GWAqTfYC9bVfQ/WMQeptfC8SC+fs8ipncZVf0Jk7vchPYciRVYQhPhtD0EhWAb0xoo1UDD+DWkphdcLha7Et4ZwP89FUQ5z7xV9GSxxdKpiTZZ0HZ3cIFMSyhQ/wuzgNIun5odxY+EWFdu8r6P7OqhrgWgUxNa79oMsgZ5CG+V5n+QBuSoo3bcL4LGqOdl1789AMum1Sn5ofq1EDfb1aijj1TXAGM3j5DFSJFM1EBF5piNEjMDbqji4eoidymkHXTpNaNqgB+MCNAmm+lQjRSC+JJjd/JWXI5FoclQUf1jT1bHzkL8vf6SonoowhZUASvPJ+jvT1qNJTZq1DBw3OS5qBms7xxdBbsjoZNYJzDb/sT7ufsfp5hLFSIijNcdPT+yc/yrgqGgRh7WpKLDjMrMyqOiUJIEm85ayAVIFD2cEnwB3fIvIpk9lrikSfm54ZXig6IEwnaLqFm0nYnRgNm7K6a6mzI+RQ/ZX1uZE3dkrBmVimxDl9EaFZMrw3GrXqOmdP3OezVHS27nLCQZ5lW5lTYQmXo8ciBECKOeQloFm0eGmWRD1TaI2ip6Hw/77XhDuTZV1Xns93bM3jkyqnKCoIyy+5df5GIwdWcFEQ6N6Jt2Fq+28b/eoppVAcYusVJtN2ZEwyqNgu+wZJfTVwkCjzJA2+/RmMk83Cpqn8MiK2TpMig6ai7qhwSsQCBt94qOM3ff7H6GZqOqxELs1l99RhqVI95+8TRB3GWWxMi9aF8dZyagKHgDfiEqpefoJdCxqYe/4sCW05lrw8Ig08alw4ZNrtukn62OH0otxVslGvAGO7RKAED/rSterSoAxMcpyUX5VGNuvD2k8jKZ10OQx4XVNPnCvpUlFneOqjqput/d059fZ+jtkYfQnaMYP+6VP5vkp4wNo4rNHX0BsOqcAdpit+LCuBg0HS6LbJRPfFPJWxD2fug1anXFj+wxoATk7jEFjaFgKydJ0OymRa/JDHssVrLD29wfX2DTFEw5slx/rFRFXpbFUEb9zPgSGgXU8P+E+Uv1uDdxoaPkx31YfD8ySHqfIkBWRg7B0eP62R6vCTM+5LsSJ8rz+RRmIILULxyTm94Ayr1mfHrKXTOVWxYDf7vCZ5EcDMun2nKofKXTk8gBu0Ucsq0e8598JwTkeTaWgGSbSxgop8q676obAnwfQ9tW5d3wviyuRhbHmNoErHm9xDUiQpBMadcMNmA8LQDIOz8Kay29taAV0Ai0V6lZoaFEBQyf6ClwgXurFkkbxLItlODhNwUZ3GL90bTjDNZnvaVIgy2wsaFbJit7DegJA1h0S8hj7N8gGvrftQC2kFKdfBaX3NvhJtrhjIuOTRZoEvKkP4w1hiMB9IH2UJ9zofLBA0F8hyF8cBkYkCoZG6kC7gnCTbIe6nrK3ufEso09nA9RKddSjVPjLuBO0NOrEypWpQQ3LE4nCgfrHPobHNXdn+8HEvJXYyQHzbydBLu0clUb/zJ+nYNpy1aUGUN9PefHoIzIt/Y+A0yN5qCLtoIJKiceO/p7SvS47Rb6UFRNsX/Le0PBLlkOgvS9+1dRPjmnyFnG09jMEJWSAEgxsjs2c9eKQwdJY94eWQ/HoA4tLGSJUflB+0Ue2NJ117OU2E34DWiX6W9nX+uHnHgEUYBTEr7BNCnzQcMhE/ZcIsWgGjNnZ4/YKzvPuIQsCeHaMX+V8ocXdlUwgxL+/ZCYc5re9VRgNGV4s98Y1INmgtM/+1kIRfGKX5cn6ORnGwn5ndy7Cmc8z4Za/+bFk1F2Z92PHJzt54wRKshjh0DIlGmQaY3iuAo/hXS3SVcQyRp6i55+8CF3/nkbJNV5WVIfB/wK58ePQv68t4yXgx5NydOO4pA1QvWSnL+dD3qbzgvXoQcS1vGNR8rK47in5NMWVKMzjDfhBYUWNRJ+5UVfw1Jo2kIKzVZyMWn58s/pGYBq+7YoyWOibTU6LiLaiHMmy9viG0VW22QKjvBQIsr+fsuY+eqN2fUBDes0loXZE+gp5BbWPa+zVoSUnBBr7wtX3NkedAP7VgfdHIZ1OlZvPBqWF4i/dDrXQ3EWA5WDR+DchMkqEogP0H3EgvoFaxtiLaq7ccmtCB69HAn6gtDiDDm7+Y3yECpyoIaDkRm9V8icr7v2lOOIp52ekKTzSgagj9628zYr+PcnXXMokyD3Z3Z9IkRreuow1JjmJ4mtpoNVWocXApJ5nIaYqwmW3ojhzs/Yg+Gw60zEJoxZDcOIizj6QuatLH04tty0Pbse9zqLC829NNW9RNFPHjwaOZB+FGREa9uDJolmDODr7bpEkpodCmlVCjXOc8Zs92y6eYhtPzVG1075b1xiF4FSkz1YLEIthVcnWt20+e19ZORvjzKIcLxqEoVekP3HOBJuf0qyf8jp7cEdu2eF21qJXHLJX/oGcpJ8tnxml0gEO4AVYU94gcyVMJaP7Kw9uKWAiqodrw3pweSY2ejlmef+0C4ej1Xign9WK5RvRYyMRQRQV4JOmBh3uXZRcpobMA/J/3BrtpCqk+mD0a2Pn+99asRbUo3Fc3le9udvc7WPUQpHC6PPaqbmKkb/MgwMgwbZLsx7tX58VtDOW+N3/xB1yCSYHItKxjbcy6CP9o3m1IrrZTyfmec1UFJUX7YQx5LOW7W9bA8L0Ywa7Yv7bRxf0ZIZTVrUX20eCBYloMICB6hfRl8jCQy9OPsk3WCgjwHipNfWDMxI3eYyrK5hiyPksSzsu7rm7LMkoS+NvrX749RB90l/s8ipexQqAnQGgDFV02YvKPVRxinq+Kirqd09yCbep3gVN2a4BvmaIUTuvwEeYbtqMvRbTZ+dlADgWejKxe6Y45aOe7URGLVokLkU4NvFmJcGksfj+LlBZU//f7ZtaVz72Zhnwb5VwtmxqFDZ0jlVVqjd4jCWIS8mY+AXOKCFmAa9L1pKK/85P5x9oed0PkfM+FdNck4OPJt6OvZHic9yTSeFx8r57PUgLe2qPSXaLc984chfM4FltbRk6rUANYcexNtWQuFOrJjV+cyJOrEOj1WjQ89M5kQVa3y4CyqHhHN1u3uqYgXUKiAbUJli7B1Qc7E8v2I/IY9I2W2ubKkCS+p3DdXKpFCaP5oH5RUSrvFvRdc7bDAeUeapgA02bc3FsqUjo0IaXAOYeiL0+CrKSxcEKxX8/+o4EYLe2LQHhTXnLPuSsLn+xn/TBD/qnWzHqUtdTfl7XNGf9ML9MrllCdBzJhIPSt0+Lhfg7WLJCduu//M+cBVbh61FtR2EEgBbdealXpPcA+M/DJ7naG75OiaJfnyJQCLwLSRLIkAX5GHaxrHHYmqkO43SYfep/bpw2jAtyGd56h/6tqlRPBgsrakiSvR61bcwhip6V83Z06avEhO1tSPbRNaiPb4ELojYUXKUqp1z01gLpsdkhubzHj/ApFueW7pGOyrehcutrVlFaxZzcm8tXfSvoQx2NoRgtZptzgMADRv/3VmmSErox0i0UoB669A1smO0elwV3bUBce9o/c3Xp17Osq5tJDY5fZrERmH+Z/ebfMCiovZvXiuZX9RIXQn21qpNyJSVzBmjrPn93Ybm/VkEo5ry4x50WLCfZjsVfieDHszO9azowpe2Y1UKjuAYvTr6L0d3gmrclxNbX6Z/xCiaDfJvUm8gdxMNKFW0lu1mrb0ehcxpvR595WOXfrAaDW9WicxqDs2VBn5pT7JQvhvpZ4dfRoNY7yBBEyH84kK6+EHaUoxLC0huOw7/DnzSWzLBHrTz120vDMjUE38QqRpkZeD3mH39ipeaJypNlDr6l5Tq0XzDrpJS8+K06ZSxnSLuUhTN1WnmBUJoK1alahLL7ALVb5zEQ+ba/irqZK/vzGV1ZR+PsOx5Rbn9wwnQScnaQ0YGMx6y+vmh+gHjI/gb2ntiJzt/4ySC4mcMLW2XICyjuwfL4C1UN+ZnRgBCNoc1e4riKRa8k3E770oJprsrSsWoTscvC/w8rmedV4hjZZfJkrh7WQxo8IoBzG67r6+8ybrtOhmAr+5zbZrdjHHLb2IGaDTsuhzBW9uxnxTUgJ1CdsVpmztArNri40q1osqIBTVJ4v6LncjVpMkrDPKp8sK9NqIfECW549bG0M80Vd7kcvOVHElsJ2EolTrGSi+9vumQ7Bb7Duhhj7k4kmhRj5key2B/rUA/Ez4jWAdjevxDjHSB1vBr7VBmYCRaXYSfbz5F6ewZdGbLAXdGOqyC5axWAf/38JT1/7ZIyywANvJOp5lFhHpCiW7+m8bg3anwHEzaVzuTB94OHOjvzfqwSOyHcA6TOzRpifTjX/KezLaOYTYKnTw/KxlpyVcjiIEFiSpj/aPG6ZTse7uBtMes894DultzKU0kBt8yZ63lPr6Mn3dWkPCqO7bg/8WGmaWfZE32UwmmOf5osmynIZFCPIsmBJ6aW3zTSSY+V4YME5eMPYBCi2tRV4fzpf4nsm5zumJOD1LRBevOuOVgnvPuUboZdWfLf+mCW2YmvE52etE/lqYUK3JX5Gtx2CqxeQtV4J7rU9oDO6TjlcDlyEiqxeuexS+cqkyeGv+1bWAXeeL/Ln120X7HCFJPJzFbUpbSxi0N7mWJWsDWLJz2YFbgnTqk6YPfZY67qSxok4UErMMtoThTI2lFw/tjj4+aHuRVWvGz61I8OvRHrwOhToF0GdaJLLu0yGvcjcXSOtH1FGuoKZA0MeJZ4ReEzRJ5He/GFsWH19dfPYZFjtqUE/S+4tWCyQAtgHPsEJO9B+xiOp5Gh7McIymNerrFKK3QEf9zCsVixQoe4kZhS12y8nzFVoBImJ8pTGuthcA217KWMSnQEd4yutVpdRMRIrbtom1XRo5083grHlB+U2NgA/k1tZT/zpPYfsMoBhwS6EQgNabyamV3Qdv8eTiM9I9eWZPqqP8PmpXYnYTzIMzcu/pfiswnFf00yT08NpXfw0OiPa5uBgerJWfnliJMDGUEQVYxHYg0RO1N/pBTJmcHzO1gAb49q+DzR2aHNMdm5APGaif1ekiymwy1GcHbEHWoIuwawDx4VqCtnWBXDmrGpac6gNr6F34f1oeKxBj4FLeMpvYiUMbeCUBwxTCuxn82xFoYVIeXZ1RtSaTiTPLZZpzgZzlo+LOLNOe8vqPCZyQPLfj6MpK31HPTFWj6w9SixqCVawmKYRqi/ibT+QB4P1mxeI+YQreqiBolQ+UzVjTYD4iCYFlYyEh5CDx5zZAk9rgJEsuea+WcpeMEQ2T7M1X6r07QUxIVFxL7YTLI7XMs/RgJDWSM5Tj3S45SHu85NlMRqYdKqwZcQjf6bp5EHP2wUJSaMyI4E6F7dAdkW+bxnBoi+CnXrQ6rAWWDcI3hkS07xqXyOoE8zFweUsFZPgy7d8RjSLaEmRNy+Nwd1jDW9rbg4s6x/H29W7/KfBuE8B2uM3yFAmIHRYivLA/7nMnZGkCeUfrSgovrrhmJ/TeKmpOCLp++zpxPe/YwwwNAEQXdTK44K/JV7rlOdKrfw8UgoYB8dwPo5UilKth01Fhv3z7dj5220Vk0wiw5Mldf+CKg9yA1DJ+O5LYQhVRFc4bdTDi+K88lZNdEGSlz5OKIgyRxcEjZ20tt8tiQQk/suy8OnTwCq1V0PK3qSOUPF3Og4AcDwf71wlcJomlyWizY1Ibk+K/ApFM4U03e7O4DxMXW6E5c/OGjl5s2sF4qb8HBpl327BXEJzo3Yu8RH832wVvAhe6CeyHUPC7V7BVJTXSiWI/tYdgUry6GwfVvIKHfv/GinBfQtedzpu83fXs4ReIajduUTotajfoesRitSVmdgqQqAOoMvqFcynuAFuYPTt7JXeDd/pJkuUiZlq4deXJvrrGfBUVaf/Q/r6zA/RNtcGj4wwbPOSDYpCgdfNLYtK2KE7ep240l4cgfH7ovVrHlH2A+HOMvuKGYfWRQ/r/iZrU+jbEbO60S64Rz4uetjhf61xrolZKtqTc7Db2m9Z9qwRem5o4db0k9vQ8855nvU9qGkzC9to2RuMUqcS8XmAWNPNKDnQdxCsF/jmBcrfrEaOzV7kDkX2fwHphyEjM8T1KqVLhj7bK+WGLrhl3iNS1QMUBhEm4K4KPT8Zxyzzyh97MHDKGCUoqQXelc764xgGDSKj0HHK2120R8M95v2FxFhvjNox7LMzM9b/xNtvkXadqXLG0e1ipAmknqq6bzJ1T6PL9rHKhgj8ZrIvn9OTkB7s1vfWQ3nJJuu0UvWTI2a9ekFFmLqPiPUiZT1+euGNhgGzuHpu52JM9a+tz2x7NcMU9za263zVUBy2rgz5OcWZM7sbhzJLfiahZbhbeZ1n+eHhd56lL3ToTD3sHKC91WKDs3xMUmloAvxXoKxTugyS9WLnqf9Jhp4xBqDAPjF2MxhftODVevD0vcjTSWE9eJkQXLaQ8/8/Fh6+ShVSMFOxYe3csa9+Z+oWS/DCfTiJnPycTwlGlKmY+I+GRJ89vRV8LtABSgYhGjHOwbClY1SESV9vdCDFYaIO/6kGUwkeMLUzKctL9kP+GymHRlWR5JN8M6HwvpBf9JdSeaTG9oqoIoG/IixzIRRWcQJV2g/o+4i8aXbjNoF4swp4sqfOuwva+qNZsg/hVXjY4J+mrfB8pyw5pLPQ49CUZhCRWj8ntbxen/ls+Ez7SzIeW64vXx+4otteHOy8IuzH620NUmf4WUrKzLiar4SeUkw5UonWrguVNiv+2EwdLgL0733Y3vm4KZplN8IaLoVzOScLXtnu04/izpeaB6pES8ilOmVoOxRqtBW+mRC9WVl2gRcCroRjlj8Y2fxe1b8y1O7AMpwjCf/BG7C7c1nWYfVlTh5hDvN4EG+8xzustSJQ8bTZlIecm9YPIL/f19Ut4XHoLnbJMtcbmCJ69KDKMYg1X8Xm1H2EkqoixpWacgsiLnblbzEQ8sxqFw9TI+d8ab5VzibB2Rb2pOz7f48kDGPY1cD6U0crvJub31ETyRSN2TFer2y9mIFHb8eGy+zYN9vHXY/NFfhGEHIPL16vGatlU52XFI5o/ajQv3XY77UOLoVZzCVqIFcCXOTLA6eSKpH/23j4FQCFin2fwItJFW4hUyF5vVibtn3S3eFZGPE54vYclYTzHmeIIypN0QC4QGpva8cXjX4m/embi7xnJjP+j34h/8TomopXMDN5ojhIoOcLS7ngoSAUq8kBOARgfq2/unRgvYHoRa442hvQXYYGotzXcuM0OvWO9+ay9QM9K3KwRNcLV9YKIjKRSJnhcl1MaWteCwGpWuHyLg1pHDfgz8R4zhDby9WVMzY/CcIT5jDCoIna21CqTFPqpA8p5r3EyoNXI1pH02AoMKWA1scIBNh2jLqUiUPZYo+EL1vS0usBD7Dm2R6bi7AqpE/XNTcBYcZW0YlHsxyXqF+WhtQxNxWjEvRRGKdTBw66Rs6rYLu96cseFAjFgoBYNVH2AH8whfH5hdA2q7RTD8lp4SEcVGwy7Wq/GGfnoOIkMSr5EjjS2hn8X9Cu4lqRvtuuagxfTpq1USnwY2cwdcMYW2i8hqZMp2QemfwigxLoJABaHEjw4+stQRSMsHkI4Q4w1XQVmwj/znrK9idW03eviPBDUGkztS8Fua6D/D099XRpz1hm/QVA/5iRDeqLSsDag+qTo8bi879UzC7NaXORw019px0ON00D0iYjYHdZ5SeS/3fxF5sBwVArB8fDuGrPXGeJ1AvOMf/D/hqyld/wEKZP9ujfh+dUg335FcLj+01V6lhOkVlXtBC72GOrmrh1QouiJDKreC1DXB4QWBqZYyf9HQEBKbXTkJdXzXU79HYF4ag+tW6J7WqJC5I3PDFPsQa/zZojSngS2Ul9cwXe94U70o+r7Dqlq4RUAoYIHMxMuLQPhumknBJDMxTIAUPAzhEHpX9i8w47ZRPvPkV1epKd270468aaWUdjD3OOcf+oe8nWrDCpvftPAUDHCmTvbEFgOxvtjcWPUjg3QXJhLgLrFUxIncbcPiDIAwAtlqFR8QkjYn/JdH0n5FCYME39aQggnzGYKSbicA1hVw9w4a5xZyf4lrGreUfMqFkDq92NH6yoIzXp0mYkftEsBuYvzVwQUzoq4v9rbDnI7xclxy04A+pDDNIPTNf+8Nd4liVMA32TdPH4FO8EZDDFQ6YE/FrEAkhaAtvF9SYJfXj4r+teElvW/balldk5LhGlj+pEvviI6drE2o39xOwahjvBcp1QpguUpucxUY9m1VM52eIZYy505Hf5IxUCMR7qNBG1unYDVWSpGnvs64PldsYdDeFLx0oQT3MdbbqWxIknsHdhRjZmr8ZqRDTVqAXxiIq1YLWIfJi4JyPUVxRjFVXBlwF6AIiTqApMyheF9tVn0AStoG3xfvnOuThJ2gUzezkr6C4Vcw4s/UwPB0xpaoNH2z3gauZ3cqtX9RbEXK5n+GaQo+aYmi4pk9nTlVO/RLnzILByV1XrprMF2iBecS9Go8ge8e3FPEf2y4YeyJyNV5DmmlL9rtf63WOt6u7Uan/NiUPV9Y1gM37iDsXRxhKxAlrGrv7EZxbEwFP5cejkDAYn0uUj6OreJ6PWgzAbxSMGuEJERYKJ2elZJgs100PaivvRjLqqx7ohbcYY9SBYa7uv5JtQNMGNdT85sT3R5wqFYFfSHpuS5n843fTIXuOYgdAAv/jFTQ1k4un26Se4xxvgIuNoeJaj7NAbjps0+JW863rIQB+zk9A/3XzohWdQR4JldfCC3dGjJ9Z42COenzEb+gSYnVovjmFNiwFqGkTnGQ4dlMN5veZzcPvcwS2Dc9t7sLTbgXxcjcI46iieC9kIO86cR39q+mPeLjyOxBmsCWOuXdvhlp/Myv3zxOLcouncjzdmLKpKN4YGY1pg5vsYtZl8WzCK/1dsJx6BGNkiBKRYLYoD88F02224wta2PhCClGxFMA8ULwR/UGnDlPekXDbZnDOwYZclIWUNejHPqILHwe0xBtBEyFJLSSe5yIK7e3IAnREpApKqq1UM3oiqQHwN+YplR5DhKDbhPSGL3Z9E96lbKTrRwAZo688Z3rrIzf7PkxYtDRZi7QKMoWNV1gzlrU9vMb2HBANfd3qeWIaeOtXa/7QeoordCQLZ715zkLFU3ijnL7mi1D7w9ygtrtM9iMxlTQ1FxKoHMC+RanLz5061ZAPBiyno6cLe9iSL5XBrSY2YopYYnM1C2pJy/hie9CfaLR2EoNJT6t50aphQh+xrOyB1rVICV3ofOO6R9019qzOUt+vKibh+SQUX4jus2u9Ha3tm5nfGSLrv20ov0Wuk3ZNqEplzUP4LEXuuYP7K+iBOGrTBM5rPuOXMbIzIOysO8d9GO1WnNOzk8nCNGSOOl4d2hRy+XWArZw2BevOBl50oYS18GftADo2rcQFXJk9R8dcAN2oBLUvHd9FXUcM5JZxSMQiBoflWnDQ0CeMs6B/BlQo7EcFY9OGSdPelmCGdYIz1+Mq1sIzUBTbuQ1/b1iDAL2EhHV0QUp0d/viA6Nr8kFecuMQC8HlWCt9EA8Vt+JZNFjTgO2PCEORIV0laRkT6ow1hQE4vapJSLLUdbZWCdlj0axJKzkieUYgFaFR4eeYBMl8DCpZUNMSZWvbGhYTrjwo8A4DavKYnf0DOwJjFF27eepNO7Th/ub/Aw5sTYSKhVzgdJ50sQmzD21aDeuSdvCO2GjGa0wnHVBubkv7BxuOUpqnQek0JS1DhhSSDd1cD2XI8WcjZCu5CWejfHgu9/jE+UkIITvUx13Ov6DBd4/U4BvgCak87NhpDnKhey9esagn6rJ6PKlHRyxB5TX2uqdYzt26KKtNpLErIzz46Yq+mzhJI5fUb0xJnIJhhSOpnuR5lDZMqIgIbUeF71x3toZKTzvE3G45qmym2+tnM/2D+1fB72mkNr36/oK1xCgVU5NDTFo+PhYjVkZxWsW61UHQtpsyIfdhbvjjarm2SyZUNUp4df7hMLsoUEAyVnu4Rpylc5SRcyQeDn1PML2NIWlrgPgqmydLLfHc/tYtcBkkcY24FNgYtaCOZ/7xqKwGQa+Dr//+C6gqVfRukEcVbMpW6UVysDFBclWzI3bPjkUtKXM8JAwk3seZmUw6f+jlShUH61kZiU8fcmAtZesOf2yV2mxhOmFWqvIBm32SPTyWEwI23Chig/65CBMw80mWMpJKPYlPmIMK2XHERDOda2r2ze3sXpomQlSx22Hg3tunm9cP6TVes743unGGK2LzP9+yRZcBtO86x+E6IK5Gs6nhvrKlwqarR/0Yr7hno8FWh9opSU6N5PxDkIQa6ioy56/O5ldCVbMPuVjRs4JQaZF7zEn4eSXMkT4GP/oIWzskazXJ38beiBmMar+ssP53v26cJTjr8E50LcFVvD4shyzsjwWvWCQHUyd/CUzyrQEtMQpiv7S9wxVMRXCdUiDf+/rITgCphzKjjRkhetQDyxf/N6jic54fKOBfW2xhzmCyqIuh/o2s1C/PRQDCgesmHFqyvX3TBI8hmwnW0QfoppfWteq0mExE3h0GAZ4IzF9xrSTwAzkQQT5g+/qy+zkSxB1KVB8s6dzOuMT/Rfbx52lr4NFx5IrDXJXBYFUJIeBVkp/pGoRitmyBXQDmUxiGgyyRF6WklgOswoZ0u5xUFkrQya52xZLCF2a8nRq877r+5N23iKICdivygOy9iQkcSvahbRExvf4XP2flANXhgZ3T+6Dqo2uF2rPScsMat93LytPRHxKXOevtBdn4eaJKEzOdvCYrDtsdofHp7K5g7ZHfE8KTpjm5tJdKl37KwK7OoT8u2SzhiP4nYa3fPaR8Bp/dy//ahP+K0TB8Ia45Z1HG5gFd20bqAD3sCpNs7JA2vGmsk9Oq5Vzj6bS8YEmN6NO7K8Ri9AjnoOXMz1aDdj99OGNO9M0dyJGFYMdeWtqjTIM3pjd63foPGDfztOjsM1C3D9rEuUMSOopeKsuH4GJxCYgSu6RniKokdy6LMJYVTqYyVcOPQoJFr6KT8ihPkVGiRPwbG/hsaVuDwvHm+0zxOyPoC+qrwZzdQLyqBmjPgEqG78KaSX8XgExUJfnK0s22K7FaiK0qVaWiuyd6rVTldszHn7kDCSXEHnWPhyaHI3dLc1F09Az5M4vGZMiXjaAmOZGqzi3/WeLufn1tMkx/5HT3lw1wYYZGEFsjv3qmxmxfMsfSmD5d3FvP5xbAuqzGwF3FOvwMi0HKQuGa98tmkSbARuuQlcYEmhm1DhityLX8asvoFxS0Oin5shccro2KTaHruaq2Q70kD/QBhYN+62vnSeVqE7JyaOxzjilnkwd8qjhI3fPW88DYmUkIUbbROTAiLBGcw+1f1lIydwPPShJhpHKiwO63HSQUmb0ygdCnS6HV2y85xdtinX1cL616DvLSl8D6ScgiSkMBzoLX6ozM2U/ebbgKvJ53xh8NiU17aXJUEzR0u0m1DBYQMMNSf6Bl3xb2u8mWIjLOSVoyguf8x0kE8zpZiDIMmR8XS995QDwL4bB173afbT9TcdFtQaPj++iuoNFai0H+aoQue6zX+wLjnOG+MzhqyiO04GlOH0mP/R3ilfVuRFa1kbuo8CQ0dbwCax8ckNw+fKYeblFWNC/0iYJ9bA2s0EvFl1ZOYeGq07V5PpNYvglTU4zS/GF+Rr2qxk2aBVKEYyY9CUk/AS3KMZN/0a/YvH8SKnvnM8+vLje3s+XwtRJmAba2t/uWECDV43rcSS426XRQ8ks1cmdw+fiYS67XvO51keozpMo2I9Lly6hgfdYTyuiRunE9x96K+ioc4VIhKxslkKLJXEukiGCeXSBhNApvPIsSaMCnPy2qBlulKB2uZFYhw1uMYhIELyWnjc6X9H4vuYeSM3gFWt6dq9e7VzkHMnPBKV/+ZUO9DUH1Qv/fq2n3pWgnWQmhOEeFRscgQlLcwhLT77kirx+xQ2pWLsUlW4phg3hqHSov9B67Fwjpceu7OXLZ9IwfZvg4UISJqVElBytuJsgmrvO4ikgF12Op3IKjl7VoVxtSgylNWSJ9i3tPYUVBwOjCD9g8cH3OoKl83hCz/Kys5ki0gneITqWmdZ5WjfdrcsLswBpYcUnxnxc09eZAMKs3eOfw1mib1u0KaJQfv1PvHGoZqUsyq38g0V5odQDevKKpMIgxvsPIhD2EMHJiiIiFErkVI9TpJTjNdgkp5mf/VkcImM3u23bmGmtp4y40hQUc9GWPYxC8GqJ1cE+ieFWT5ljwRoo3+wmTb1GFaBPVudjdN5J2SB+D/WdF5H5DXwYECB9j2SpDjnkyuQuqcUJgbxWMjtz5p0zzPJK0dXbdYGzvh2pFewKG5zGjdn9ZK8Xr0jp12oQSBplcEBFYC8Ae98V7MwNIWPs26+uA/82FsuhJ494aIRn5D9OytGDFElB5KdxzylCJqheaWjGmm5FnPOce5FlyIyXiHYgRd3+Hcgo3VzWKnDZ4C7yJVliszQ7uqy8ecuB2YCio0ttKaFHHEawU5LdRAUpIhrA5ywQpVDuk7wJ4t59ttVDBYGA6FDXg6hpOnpfGeZ2f2Rbj+SsIc08qhAIceonJn8RTSswYvE+E8C3IGdkJI1kftO6x3kDYjPJhaGmIPQRRKbV6cqWC8K4Py2ym391ws7ZrQuJcKP19OWwT7NIHSVLLunOia620MDLEGq1VAHrMGuBvr/A/LDKZc+3Fcv74+oOFyfc4fKbEeOqKEgVGNyoRHwtJZxFZXEQ5+i4YbF9WbZHx2NkCEb7c2l5oedJyOa7iRwFIC9bCBn29JJEmDUC3ilEeAGpMPjGqEc5QqN2xh7rvSBlmuOUelrNyHRRevSwahy2I7ihyDfWBKSu0MKNq45bV2NVNRcYyncQAjU/i5CkYfSyRktW067HN6/lHWGdfKwG6YGdfcDfrZxB4qh4hgupy3yTHOfktdJTvMyPxw/NOxaC+DtRLGIieh74WP6rdGbadFQPD5FwQmIc6UmKqsVGgUFAxhtm2xH/d7WkkDU9UXJ5foYqNFVKWyf7JbWAGdHvOlEZoGIYjKlSPwDD4uXf8pnBwhaEhuXcy8OrNSE4jB+UPEyJfEG0vPOAkxn6KD9LX0YXCpJbt2X8McBo1zXLk2KgPh43LFBkJyB0Qnf7Um+ZRi7RBG/YpXLiPwRHY7OvvCylFHkddKVYPTJWnPgxx5F5cU5Jk+H51OXs1iLPcTBcJhB9TUw1555z6/2i1I7u8oUbVrB1i1KfIlo30uwNSaUEMrgrtddd/Er08oTB6rDS0whzmGB2WIIRL7+UC0TBInNukDkB/AotC5SPrwzG79OR6Tizx3SaEjGjb4D1mCt79hhFTCTsAsRN5QVTisA7P67ztBOZFztpUoyxOskuDwRRC2HQzhHJniecHVDU6ex1OIEa7CS5I2nRqM+78RiUjIz3IQVrUVlTPdS2rNPZ9ZiX0DhytrYXhi+u6hZP4nGA/7Pv9nocnsPY5+cQSeKTMd7KqzPRwSTv2R+lAuQd6cQzp95dsE/MTaTmOOvI/mgp7Fcdx0/GjChP6I95aDyhFCWb0tRsjqOeXjfiULikEBoVRpuYKatuII1s82i9eylAdX2cRZItoX5/ONnRm+t1YEJn//wEyJPVcRYa3Op3u7Ad9l1nPzp571/60rr2kDLWEOiJp819gsyrELGMk7X/DC/nQl2L7DgNImHZ2Tp78D3DxLceFZdTuWgzT6xP7Ljq4cSftA5BtIWx8vQt7+y1FQm3oql4FrwGDBZUpCIBY8xmBm04O8C0wlyfl0PPz33TDv+MuErGvlmK5wEqy0xhwdCwdpofPL+fNz/InL9NUI6hyk2vjT1xEJEJ6vg9OEucl/yRt8iCA25phn49OjpPyPyQqy/z7DXeP1aKCxCON/pzxNCOSbRCtv4CZJZkqorRZvcggPJ/WTv6MvvQChNt6IADmZdxfpMo7JFJiwMOUqox5cYtYlQ/w2eoLw4tw9wXUKMp2oto2dhEWvsHnpxG0ko3Jh8YLYSfy6wuL/NOOgdmW0BCJqwEoUUbVjYy7KW9LaLKaRO3VmJ8xubNknoiQZzOgLA4gQzifROeg6bwqIYAPoH4lLcEWZqTyEaVreOYYC6imT1uF5+IsM6uIW2Ah5jIeIWT3cxa9abuU+gDkEVU/UBliNkSP8p2/wnvdr0ahj+2QyIGCZmm2O58s4E+BCkZ4PTHJseWyHR0yK14rbtzDj42NAKjH94WqmxdZAWtwcnX69/W0+ZC2aU5fghG37PVzZ65A426kipjzlmcMZEafR18Kd9sdl0JfvasT9xl1tg2ZHue6CyD/zhT4zO+/6Gk5NNCcxf5FvuWBYA1kZLGlt3EtVcE8HL0VK8Tzu66PvVtMzAiPTLu9UNf3VsIpUB19heZX8jcGjp0Sml0nH0nVzif3ibzKZ2bY8L99krjIr9jxNbDtDc/nhICvfwW/zWwNXFd54+X0B83z5w1whj2xLB7/Cowdp0HFimYp52ywwkTj9F5QcPTAnK7ZC+w6+J5VTigveoHoCQATr8jjW04AbXa7/B6zSo1bEL+Ex67J+bpcxE1GyaqY9Ii22pwsB6wWpO/8TRLrWKJ0cnMOIuklRmwMCJdnaTsSQxyr9IGenEcj4T+to+FN8SniBUFD0XPROmJ89Gy8RG3rTTbhB88+U0b3CFlw79pH1J9vEuOD04oivDp8fuEClaandvx99J+7Idu/8X8qSlPY2rDdT4jXd2IxgsMhk9AXsPBi5/MOe74oBKH6FaljMwGCceuRN+m/YqIfp6Pt+C2QC2XGFheR+oB9T0XFHRVTQVAhvM84zQsXtJTxXDim6Nrw9VziPfmR3Aj5O400Q5xdQRJFrqqeKRgOE7eR39Mxzo1a4K/p6XN9FN6aAd5xk9mdIGJaBOGoUKcmba1aQLFWfKUTQ66iU7mwM55DdnlXWpZmee7pzpCW4Xy5UvjgNlzGvyJeaMA3YSY6Q7jylvg5YfhN/dBlAwROsCTRXVQ06jum7cWGNpJWwCX4hJADl7HuShOYUHMhIITODt9qA8/IxekpEgbHyWGHgxkxYPoaFCu7rC+VIDach/8hGIS01OLcVTwB+AXlSU0TcWfSsJvmoF5rF5UiU2jnlhNCi5piC5xX9YS/aVj4kKa4tkiWjjGonTszU9sg0Ns7RGGFiUoLKRQrzTWp8E39wcvaG9TBa26y3LYzu11FNC7YReZQH/LC9fyhsotDML6vaIgOpk5SDq/OJlSpX7ZfiuuJobttCYzp5RQTNp+1F6XZkE8dp+lZQfOAcRJgh3JYFeT+NyfNwGAAvKU8rSdLoN7YPm5/5gT//Dt3Q8HxjM7EToKyrSjuTuP8L997Yx2cBA6RFoL1ltFpHVVUZHdVnRGQjyvTpECSn7hK6ecFshPKB5HV/z+p+hPAivYd48HfPlesfZWPoGmssHIGL7mrgOeXLaiIMWlDh+/cTBgyytQk0Pj4xdR0JeC8bLPuNlHK01vGsPZhafwjS9O1Icmy79AwF+4mNqhYhkwc6u95t/AtZCn5K6R5zY7+RG2zn1q7wn7Nf991jKihTQZiaKCBV2+O7UCzroxYMFlcavUuKqWvrECw5eOxT4daelW0kXuEwCMv9eJNN9nMrDQF0EXkaA77MmLDfZSnLlr3UH15117CURIlAZIaufIQ/IJQfnlhU2IdcfPbYm9wcjUboyMYQqo/jSxadvG8f7v4PkZ58MtbBBQg3SvPTZYJrHAvyfhPgaQRcyaYhJc55iSSTeaBOTn3iEFE3zAeCDl2IX3cRhtDcRlikh38eErDiuJJjXDtRtfQvMthfFo/etXJxS3molKNRHDyBr9xs3x4/w0TwxnWE0SrexXRrihWTM/x4iRMsCMcKE2JeMGs6OOhTH0NPTWZC1atkCJ0+px9rSYQojeuRaCDRPRzN7R6DmbLlgEJpAyD+rgLNpngYHr+Yw1tq0d/+A7bx5GmqyMyEEgVKj0Hx/iyF1lsoiLwnn3nXjK2yql4QCggJG9BUasp6pf7I87vvTZLFmMerDz23vV8s1f3/UzlqYMMgGPmC6hntlB5euQnis6OuVfHGqoM/aTcwLX0Eo7kgbl7PibfrxnjqnE0D2ui6vXmPQK23CDxVCcxLmqmy7E7I+5m7nfVVlXV8he+aX5eizUtW5/G/al/49BCpGNW2dq6+fJRczZ4b+43aAf5AOa+Necv86HiHpafvHZs4m5qW7yKIOWRjIr0XV7B2mhRJB9hxgeIOnNEWVCxExn3V5+Dybdd/wQoE+3bNT41yOi1y6Bo/g0QYM3eSoVi5snrqIz0p4749l97px1y/gyfx2Gh0s5cPTzo4MH5iQOhqa2a92u8E1cOos8Df2z1bcgGf/atfQ5lPAG0qUPy+eYPoxMUjaPKXtBblY8DhAjJxSW28U9hK+uKU0JZplBf/vFpfsE08cB5KS+VWU7q+SL467FFvCkvBGe68sVgyjPUzfUAB4ALKZKh1RCvoeeBhG3VDt4c2lhaIAwkiMjLMGZ0Ha8+ag/USn/XVfaD8mEFbbyIoCZ9IRPw8X3pon3duChKgE7noUy3WaSMH/+3PPD+JGbbObkqr9XWZZGiD+aJlnK6YYgL1KrasDchdji7UJnxqdnJ1GyvOqLPR0/0sjrH6b2Wqk4/iDFhdTbqjClkEnpNWdn21S2G2+ZI470pivOOm2vSTO69BXPKzhMwezjnnMUBtTQ2J/qoVxb790Sm7/Vi8NPr4tVGhV0f2+ErFTrRZLRYVfBfTUWRrrRXlCm9eTZ6eEQ1Cy8BZktZM5vpNzO1msXkgiiDItJHuNdAj2ftcxQdcmtRexjJjW+caWDzcZFBLlBIz+BLNhdGMDWLr2UHtP5ssPaxpMVzYSK7udTLrWiW+KTTUGUOE8Dr+Gmxt2Pj18AzNbN3VfUbFoDKZi8OFjVaKbazRYU12wQ+vVIBrunl0VDVCw9aeB00SgeSD61jFuPTkU2vmHclihSMSHR9S/rCLu0JWckWNzfgonQBomWy8DK9dKx8fXJ5Z2h4TvJufuXsebNWA3zCxHQVRLylw6bsabLvKHm/khVkV3K5ihH1BgCC1zrl1avH3T1ghmfJT/2F6w1U87ToTzIufhPHdhPfOR8y4KRxt19kcl25iiGyikIjrcKPgLeQdwm2Yd003CgJXfoWM5/crvwtCalH0TD2DBOA+jHlLSE8Lvm2br7mhqPEF4KfENQQz6c5P2K0chLyidakH1B+4OMixFw0Mb8sme01OpTilts3RPp82tGoBOVQmz5DJScCJormhwzy6qIHsvizrOKzK+4i9DKqlITPD0n7/R11GzZCtH0R0m3zxPFFEt+PWqRZn7nZsxrZQSXFeA1iXmYfG3/F3GVJ6dnNspo/f4LW+QBCyjnV9dUEB918WeUl0W4VkVdA+1KP0qYAy0BHz6oC9OSZT8ZVLStufQxGTpxwGYb20A5g6BOViYCiWG8GAEk7zndv29gLJ+U7asqrswA8hG9+GeuWjsx7f5mTo5UMeXSCEY90/aikCX0zXYh6VRal+DMhiy9Lm2R5pLun7M7ZUIv1Z1oOHJDdzXSQsWIpj6913LVr01CUSSyxDMqA/vYnZQj1U19XpulT4+1J9rIT/kC7hE8HOk91P9xZyLJdE2aD8q74pLCCFWedpM6qd8xkpD4meOMU/6gM3HZwjRDxh+yOyT+BbPOGxKA+xSlnVunZ65HdZQhGr5iQpiStlUzvzd5AD9bXrDvYD5+LlHzVRCpUD8LXf6Z1Qh8zBOMOmtTCX1SDmxEST27OfSyd4p+55Z0EPJBljkUrfs9AmG8jjlM9fF2O3LFjqJbhqIjtO7i/yZMrNVvjAlnuNVZXtLy5DDahbABYEpc3GWKaeZWWGSBDbEBbs33Q60PtoA4Iqzlq278JujeknJ8aevng0Unzrqr5mDw3o0lKwD2cAsNNzEpfLoYZK+JrkaQSp15QQCcOreadCHWQBixv55RsekcFlUCFwET/L6Jh6aiXSlGkIyKziBYLFFD5f5DWitopK7c8K89YLynYwBC2gcHfVIJrPe1ZzL8KhqxUJaIifTrd1VxM3fzqg2xRPr/dgMz93ROAE6LzgZY8r1Dc87U9uSAfs+DI4v9w7zMbY8hBA3ssWog1tcR6sl0HnhIw1kBjTfh6rgftaObNWXchAKQpmTqc2lpgDJptcYAxbZepQ6XckDITds1SWWzZATIXLXPbtJn3yacm7crA2Am/goQAxdj4aBdUfcUp+tcCcFnoyh+UMsGprXqkBmPOK1d3+g/mT6um9TtG8fyVKQc4RleiDFWQywN460w2+6DDA/OiclsADFzfmgZPTOfiacVW7u8tq3WHxjEUExyzsZjBKdd1B4W8lnKWDBRqyJaQijI75++YTuty35JvOOBHdIBaUYg8o+EJVWRM4C/YzdXL+c+pdvBtx85cx1ucw+ZmsbvBeM09AW2fmkLw+90iNl7K7RLgoflVrt7Hu42WK/lSJ8jM1TKOvRQZWq8BjWxNf8m0pYc2zWBCm3Q/sojlDAXS66dUK1CUrgEikD+HYg/6Qb8JtCWFohYf3BHACt6RCwPj4tqnJzvgWXaavLksdxOUSmlHRPMBnVIX0q0kj5QP1GWfvw5JBaVikPXjVlKCJJyzYISEsDfUHhiW8V3yaeXePVuv8UmxugMl3NTt0kUlTRxpn2EGesyIo8+nevu+htjYbutLzj4+X/pVKXXnP96BoweU5SCV8ZlMiCmjQShV0xD8EoN/QppHdDL6jqrjFTMfSb+dhwEFOdasSlGbZ3m88FVz1sJRt2wCVI1l2yLU8imztwch5t8C1Z151+HH74tp4WWAvgoQJxzvjAZ0iTYNSYdGGOl24fy7Hqio6au4loc81LX06tQtUCocXf4Ong9/E+byy6UorWYdtO0voOUabItJ90Qy1v1SxgU1LZ/aWb2FKZEczLsjQcHwF6vyriYNNepG0/6Z7mBPadmW5LiXnVh/JlkG4aMRfVAYuhRAp//4GqIBVQsg8VEwG74Txr1V8WkaoWwrRJk1beX48uHxMOk9cAMVCZ5Actifcaw/OBATt77KtPKIrBJ9b1v1Sv1E9zV4eIOdyyNItpZnAHxWCDSU3xGJbChYb26PuhhicDDtIXEWbKfNEDwjzal636WtQeRGda03fweptgJiqiU4VuMJoQKgQ3Q1i8wSuAFfEhvGv/EGGlZdOnnyn4dCvliBi0yFsA7PDNHDO/inR0jCxdhl6+M3CacYVG8oBPuyiNV3dFNe/pquCsSymIkdPIFUeLEc0v/Ez4aEtszVIaEAwpY4UDX5+9/DHeM//yk5qNFSBiCsxZG/9c2mexkZ0qmYW+tnXWm5wuJh8GWFpcZdgczV1J+eNPram44iFOyXpdJU3hx0MGTCTP1mOVfTw3HJdbeFm4RDAkXXIpmy2BZum02WYHjzL/oR9RgkRa7fvIrQmYD7imcX4pzW/JaiKTFQQisBlJ+uYOF8iiImfYEHKNESvusnNhWhxjJupAdaZlenHbwq2mrx1VRf+yB9qX7QoooGvIRZjqpDBQe8mweowi1XBg7/+QDWxtr9MWkmND494/PVaOjwyDjnJSF+PmMHFT2UUgAfxVPyva9DsyGRdb+ha59N+OL3AUZR0VbcKth00PFw47V3LU5OMdbG2A6iNO9VBtBb8ZXnAcLwf91P7XVVmz6wpwOW86JD2En4P6piiszN/xPqud4Nx7aB8M+QaYxr5E2lJg65nHign9zLQ/I2UTMRX3QRf7FmReVvkBJNU4netjh7GJAbAoIWIlOZ0+pBIi3F6crrraeApCnz3LgX1hc+tBMEDjKGgG8cW6tZjPK5hmLBb7G+IgwR+ViJx3mdvqzRhETyI4rKtGF4WcJ4h+3R+LL/Nc/kB44DRBqGJ6wN5N2POWKzUsUKAa/lYJZsqqKb2OdavWIbOvsU1AG5Ki6W/mWG2daKv+CdFqV3sY0jMrg7hRtDZOu/XhA6V5kw+i8BA9s3GVhgp2HeGvWz8Sj4TqJDgfX8UF2iDX+zWU6aXWuC+z4Q2plUvkpFzm+l1+f+leNozWKAmIBbVguOdz/XBOhaxO6NmiyL+ELtGV2qlDYxqsAQa0DCNbN+yUq18G/p/c4KUObUfRs54hkLuuoYWn2apAyi3BI0CDDBYNapTtc0uQfoIlE1A1MBak33RJnByGSDIwmo068RettdB1KeYuBxptIQmAdccusKxvxraFrvfRfVOHkpe+ojP0yHv5VsT1eQ+q/IdmjZEPUq0z+8zNMcoiggz6sikgfICzrvwhbilqNBkHjW07cTGqTk8k+WWoESfYNzojx/EeRdPodpYjxMVo2JwH9dLACKqQ/jE7Clcqlx9M9+7dd5X//KUQ4EOzFoPjyGH+VvHY6ZZJqRXu68v/pCOe1O+PT6HSU7mi9NgPh8gstVwWTc6t6JZBKNZCeBSbLF2Bzw+nVbLpjb2zEZdE0Yo6KniCN74BECu7txSu/W6ztQqk9jCS5pDFQZP/3lXX8q72K8BoJrKb9wguQPEYeHlwpDOsRD0HL7AEkIOR/AdGnxRt0XzhcwUwawVWzRm+joqRbgLjv9hHC796KZngZmBX5xaDy/7YnDgyvKmflxQ2kj2P2/Jzf5Y0CbnW42TQ5JKyD9yGpbg6Gjr2c2Dfht2KZO7IVUt7kzXINzSGYA5lkKrkRDq9Y2xGf+PfuqsrXFROhO+FCpxTzBzaskYpYREtIOtrzcTOjajD7SAk/GQD6lefmM0i/CuH7Jg/b3945bDn1r2HrnNZDR1PY1R/Sag7oXrKJIsKOHWSov8YN3vXTyFPlx+1zIxi4pG7n1rwcIeZTQkDKumYjvJmUH8QHX7hmDkB6ptQTyyvhQ3nB0dGNAtH4degNZKbS++p704Sf4DLTlTZb6DI3Odxz7cvvk6Rk9aI8WAs9fyEC1iy7Zf7hSTZdxYvUL7Dr83aW1qMwBCBf3NROKFCE8kCb9zdIwjG0nCzcrES4qEXQczEZ0/wgHA4itI+PlPA52H4ehxJjq7yCeP5FJamcxupHPb1IXSOZ1svXqgtYRJZhq4rLzX8ophYerEUnE0YEwv+V/GEkbgI8WLa0tzW+CN8yQwu+mEUvUYgR/n+i9YJXx7rdXRdau4xqGhJIYVKXph9ERtXodMPmvwWK+leYGeVtl1GS1dB5rUE8hVZZ5XL7b3rAfPQVYg+z1Z9oSIoy4Ktzd+LNiSRcP2kidQsWQh29utbrS/MOYMaspoWxZwi/1x2Ex2Oo60MsiD910lYKbv461zAkSkp73T9F8OJIMZjuiCjMm66czqzysV8XIzv7G19gyjjDeHcG5pthNjKwLabLh3cbClMlt6cD1o8ZZ1pAnJZ1u+5x+Sdez79SUDi9rHaFVkth64HaDUirbRSS1BicGy6XtQ9i2ST1UDPonTfjsr9ZdaCGWIyp+Bg1fb4CpUt2+yES7bqe+2YZ4/KMGy82AIEybdYLOvbPrp5vy0bRL6Phn7iU2QiOG72H5r2gsHpuRUSGOYtSOTexOi69h0rsE5qr5j5279SUg1N9hBELoFi1DVgk6Kz/Twa3iMang2Hk2rUZpgNlHsAxpE55j9I6RW59SViSPFnfn9EGz6B75tAd/MFVccoRR77LKoK/g2bZX2wSKm3C9IzPkJEICT/Mf+mPICU3Qb0FsJ8TDU0Ei9ATkqEbgBGTpYDTmScz2WL4QPRpShSXjFvVaPLSxPbByOdzjZOtZXNmAM27sSa7oDgyAbRsRmLknbFO0auYHvolHx7jkgiqcL7clR0RIL9dzD/E6XdYFZE3r3bUWycfoor3uI0YV7rO4bqVEbR81bbDpgnPcZElQqanHZPaINTgLViXRi9UKmyASX8srVOQaoqJr92YZJo6f1+iWkqyhSEc638FOUr64BsJ7jaXuHkY1tCFJpS2Uqvg8UdOX4dJC2ZkBVV5bi61nDJ5JbBeLMQ/wlhzDuv8UsEB1sOrDaVtObh9ymJYAF/sFVDiTQ/KW9GK+bH4hXxdbXWHwaQC7Ef023FXO1eeJb5sJMe4vglP0pcXg0zrTlLH4iZRKNXe6Cci10MRU6Um+4bo6eAvmNB18qXjj4AyI4P/UOhEwkuTapKhCwxWlo/dtMGwRJwrdnk7QiE8y80odMmPnIwhtDSJiQZeuHYJYr18xgRvQ3W1X9PffIlLozI/uWK+bwTYWnZbnQ1jufO9KM/EXgQsrSW5OoTWfMXquMvuungR31Io5Oy3nisxbng1FVDKEgmcVcOZfrlCdj3rI6+yCyoBmuFMOuKuHLQSqvTuUk85lfLQ5WXL1xJY6OoOGNyAxixJxWwj7mZ1/LOXW6L6ldqJPschs3tTVOTVfNvmwOkZ1yUUkmQ8Zahk8LeDIt9UtqBKO1786uhjC+EfVvhwtLREAH4Wq8CmXvFMWzAxJaNUiLGtPt7pfpBBJQBh8j5ndtQ1haeb45gbpaGyvRo89Wq41SYfY5r9h2TU7k6Ok9mF5PE1XGE8HzRB6eTLu4pS24PZJgdokM6g1WzErdNnsJ4eXP9/AMAgJxKxQCLNcDB+MjjMDVxoUt0PxKADkflCVppmWua8nD3oZb8LjmERGMuZm7WFZbxZOEgW2iqKz0EJIfbTswFcTUlwFbuBTFsQhjZRADNjcNxhYUsl5S1WHktH/4YUb/tRM4dZR7Mw8M6Hh2Y6NUaUZe/YKuHKRztyfYVTg+qRJVtYshqnGYzZ91Z2fV5Kt7qs05LCIv2ux/4P5G9hV4+O9pT4D3ivosXK3NUdq/cixSNTCw9ZTkYGvirYWgq1xp3ehGoIHMRd68a+a3hJr6Nx5neqJic1WF2wRvPtpDIyvo/yQ0did6q7l+YcDX0MsB7VzcSonSQs54FmxOxzuChmCVpWU3xNVyAL/oUKF5/UKWJcG/06qjdjfa7lrhAGvyKjusWHK1l+3IcXVr5QRluoDF5G8+NScxk3ljSfirPW7K8kIdEFEC+HI1RwvqGSGahshZyRysXv1Q1POeyf8CW6OqUblA9jqy8nnBw//zc7SXTRn+SuWdNS5b4JZzUpKayT3bbbWQmLUYlmc8/zDlz+PEji7cX56uYwvGdt2ogsrknVqIpb4rNi+DP2Dk5yT8b9jGDxtMDQDNgdfW5GRSxiwCF+oiR2X0CRK2hoUIXFC4EHOUiK06MXENTaWoEUD6+EJTcDZasueIyiIBR2XhOwtBTEf8uoDGNvru4Yt4n9qdPnv9x1pkJtyYRI3UFl1HImR8pCasRPcQGlFI24XYwkDw6F+4WlpxN3+mrmxAH4nUNoC0RSJQK3HJD1vQjS3tz+fkKGDK+cFfa50mdEov53RFh/yDfgjr32mpu/Um/E/RkWbDnLhvj2xh9KjO7PHd2HHoLrlZx/6jep0uuyQ+IY2RLPSSPzBra3/hShL6A6F4HaDGt9xmyrF9bN02uGuWp+ro9Z5vWJHtnt5WU/RCQOByuL6pLWfjelCfmEA8SI9KybVSPKYfuGrGC3OuSN46uoAcIcp8mddWO5zFpdWedQoepIZOmtiUohPiyeX5bMNmJCPVHKkPvPC0woPLFajB4guL03R0pMY0NBZ3fdlkmD3DNlYKrIhA9EHDMU2LWN5bD26f2E9eHkaom2Ko7GldiD85i1fKTSw/NplcPp8S9yGIcIot/hHjcGaA0RJyAQNuzedPgtfE1tGk4AMZ4rVgEsiQ/yT6230MhH9hJm1ljvm2xgRxqPTVN9qwgcmWUTYfVkzfsyu9ssc1IuVKwAld/2wzuHFw8RGbNudhTnIw/WJ7UOAlwuzETO4pLOfS4Yt3byG7EYIeMeDtq8Nrqz0K9Z3v4rOqRxsRvuq23NgAiJzZT3yq/kEIUwAtqq9sdKNg7VR6VnD7SFjy0UCxjPdh7NjXM01la2jy/XN9CQhss2pQZV5QUlprNNaBOpNTkdp6tUfVuDVX5xlb1RjaqtHytR1LRwmVMmhfKeatgnZblFYz2P4S8iL4FY99bIGVNEwBWhJiGJzoj53zlvedPOg+LvAjGvyN20lqVcnou2hL7XtjHTGY2LWbkDZsWL6JGOqcqu7O7EfMwlQcE0TVGfRG7pduM4u+U8vRKhKPys0EMjbAeURog6tuMjXdqQRe1zQCFa3HGTTbvaD5jZgRt58LemYtQYN8UMxep0nXbpkiLJ/kf4JAUQzYy4HtGzodmKrTICaDz9JUX4GlvH48zqb3bfU4AZ00WjLgCulwgywtCGTUGUSH2nTZ6RLBCOufhuJ0PGAImYGA5jKJ0fxzObWUty41DFvlcWUcWBDDqxIyB8q16HrXYHXxc/1pFA7AJXDeUq2FY7MuNb6sSBYeS49gS1+XKFvy+6vhmrHiQcWeWn5MpCeuYnXFGhjEAd/VOpX1beK8SebMrVnFhRjsK+WrSNX9T0uSFQsfR+66nOuDs4oN1AlkDqJRvm0xMc2w6JQshg5Y//h0GBE1Bvk0SEVbBN3SBd7Mw76jzktxgF93StF2SHn3HR9TDMkMvOESLHY72jHK6uJ3vG7F6Tk+O45PoWGYgPcIgShd55e+I45QTv2X3tj7k7MXLqGYJgYK06Owlbt0u2+2+9ky6vDaZ5E51gIJdlJPNzFl49umF4pbpYcfPeyXs4p7HmexX+UtotWgp1ns4ZNK/io9cVQFxCS3JVLI4m0EfWaHjZbKj8C803pv3e22vI4xLWRjq+wFbBuQUaARingpAu9iJkZpEOakQUw3XgfXxO4orx+mIz4gD8BcBtdbEIBSt6CmBxoUaUMsLS9cmkpyjG4LrG8aE5DrSirNnXC34kK6WReV89svTLEPHHe8fo3uGC6gwsgGiAaSwH6zI1ERfq9mqFdjFXWRIe/nYOYM429p42cNyoNtipKbZEEKwYa+6LGhLlasIFFIG9LqFLSKmpkJ4sKlDN0vahXJc4Z34jZlTuYBPIA+5UMQPfdqSA/OH7QlxA6rbCWBTh30uRCSDV1vbh8BRaOonNViYO5RCyAoUetJX/22UMTQHrrLg8dMnnkrriZ6XlFCaFwyoGzlCWwhIWOhncatDRjbiVnWVKVE1/01Gyr+b5Yv3nsxNL2tViVs2QW79oUI3VWo/w48ZrrBmASBOuYtk659zK0301AvtKVQOmPBFCtPa8y/StS5XfrNb3tltDNm41ts3tUUFLOmOLueDvii1RBJv9Unl+2qVScUHLkvj6rSY+xqejFy7SEob76ASNVoXWHfAUEHAJd/yEbxvucBUe+tYJINLk9a+nEh6oVf3+I7DLYAjJYKRBn5ITiZ2g9vbgw5eLZcwri9T27W7PGApkNDhjeGbsAKOcMv34Lyhh1YPQjNVp0Kt4NA2dajrfOOSwr7LrndLspKc+y5WiDCDPllOFTS7+4cM/aNJ5uzrIyKuwn/5DAiG531wvU/Ruos2I7VMzkVaSyNSJsbiwEIRyO4UVij0vyMzRDkkJx4iUbPOCasfWZW6KdkLswT7T7bzYv1eYEbRKTfqt1lrn95agy6UeI5gQeDhsnqbUAg/QgVldbDMXgxFhPH7GC4/cVi1moD7iyx+Xop/6Yew0RhGhlL2em9g93Gfw84DyHMgCscmX49PdQOQpvZe8hq6hjqaHfrJDcRCy92eYbCorRvAOkngL8b+s6GMuORZEDgoIZahB3kAQyor9FADDtS8LAb0+XMgmKUwwvE2B1MSTBUKhpqHnTojEs0qDYMcXEcneoKk79uSr7tBq/c8jfCbM6nfiJL6F2v3GUtU2AEt7uZT5TgkOWYu5f0NrtThNR3nkdrvMlHoe8/3TJ47PpNh+izc3Dkp1IpuTR0rYTYfWmelILF+WD83IWol65xk4Y8nO9HiriZTz7vCK7gdExFRwrGZIGrEAaanJdbaNYwmN7aC0LeH941d/tl59RrRwDEKnzd+XuE+MkFFDe8ECwqp88itoFapZv01bVUXDzvR9UeWg3rZv9m489LElUCSTyV/fjTjPOQtRehMHxXMXjdhvDyoCVYTHGHAVSVhLzbMS3lXZuw/MURGFLPjYdas4XbiVb8Pag8F9Qw37Use121ROCC5K+ZlMIEjDrHkck0N2gZGDvobYv4AlA3UjBxellggnepbOtpOsLp6ED7Za2+nWp8RdXvY7csOZu7fXjVy75Vsl53Ekkgf516BUtBjmir9RaYZVy6Og38ILLB0tPxtHF6amO7wNpLqpyo5wNHJ3BsfSHmJaw38ZLsz7egpMpLT8AjOGqfxwdE2W78Dp2mL55455zuC3iC9Vq/y3SrEWS2KCM2kahbGmbOeSyW9m5cNCP0t2ejtxnrV+46FuXjldkzFrj6kHZrNZePE8XF1OaIDTNMKCds21LQGQQm1M6pXZh2tBqyIsI+TMJuN0n7INv0BAjHINS2apSWU3kEixdpF9IXuXvQjFn+vQ+3myvhmYenKONRDf2gZKcEBC8gIM5r7+vMRBM4GXCwNOxuJZA9OaSrPnhUK7QIqhQ+R15c9u6iajkdfHOxPHYhXZW+q3H5tEqnvu82mtWiwCYaC4h90zOTmwbGFp7tje8ICVA0gjHiibJg5gg+wv0iiZnoEdY5Dki2xM5KJJh1E0PR72Eki4l6s9iZzr+TcoxwD/S/1N1qq9zaGmWnLmejgHb8pNOouRX0fX78sZnnB3BIJ3GYlqTqGzfxhBz8OLetO0j8r271QgjKyKvLsAp62/ufSRttqz9djMd29Hp9z52+6aLaHTupeaT86jggCFOrXu52Oepw2ShCTyuETA26VfMYSR3Xs7EjAlaqsn2a/0qKU4B9u4xZy5mP59cXL1wx8idMrGUAeeY1qUFh+wXNYlkyF9I0HiiDXcdsoUN/Bv+lXudjn+fLGy7UpsESng1+y5uiclFh6Ajpj2bPncvLIhOifwxdQigaA33kyoOxe4CVH4JawkWO54BrSuPwiOBLCh3shaT312jx78bp3NIHcKCARSPinxW8oFHN04DknLWyfsa+5g3aL3vDvxiv8c/8i0v5EZYG8oJCTKSw147lEd8RncaJvW5p48drOZBtnTt41BsVtr35wYqW0gW9cYLGSNLSsU/pyqYPjMYmSzKJg8Z8PwNqulLsdYnpRN288QVpd8AAiWJ0Ki2b5Db6/Woeu3R/6hwL6ZZM+dkk0OenXmhu3qRzDIplbuHSwRWUV3Hp76yoD48QaBw9Mgp4o8u8wBINKBOIcSEyIBo3zq9VdncjxHsRq10bYUxt4ZYIlarsDM8MriziBJLkpkOP9ADr6K1MpL+4qxklC8Fp8CLmaE5mon7tM2bFezXjFGPCMBSgvl/94ejJPKsj1HQKglc2L46pEO+VpG4UzHthiZfdBUkqhfgMqlKqujDUNtF4TC/ULncmDPCgP/vO+Gri3W6okyH95trUL3q+mgN/xtZaq/i5fnS5NC3w3UsPX9KYKBzPFcyQ/9UO4Ym5BlbBCFAKaoAA0FYHHe7qaMntezvoPR+buNT2aS8g3jsYZx8vt8FwBcZAjx0v++NwFH506E3h0/fNlvzUeG/bu4wFMHSVRVRg3/LPMejdAsakmBw12PdqrmLWqyqab7jEDZP21uZbXYpsm4BHp4PHHjLlhjWmvEe62CFn0csP/1IJvyTdlGNJJHF0BHPJWTir8WSYTz2M26Aje/dKJK5BIQkMl5f+LyR3f/nsa7wzl2pvwwLEoFdClAOJ3IV8j18CxWw8L26l5TpsOs4JT8iQz82ECrB4pK47o/V92+gtcsTgdrT1G9Z/Z/BsfmJ1z1xgkJU6vCe+cZvfUCowHad9UAbCI11fZ1EE5RuAG9XzqfxsoHUt3P35VAyUfzMaLljicrjMf7hlfnjAEsR+CNk7rXjUAh7z5serZ7dn5yJ9t0mOkOckeBtkTnur3E6/Sn38pSeaeHNtXipuMxx1mIiQYRFsyq0E9xnqE9baGW0mQosNWr4hckY/YeA7+JEiX/5XFqvJh5T7m/ytY0jv4vSdqjO0IObdd6r9GDo3x5TiqdqTrCgRGvBeRu32a6Yj5fESSAiGWIBxkxa6qBVQ9fe579yyKFl3Et+Qf2h0JQMiWTBm9FjW7cu5hBLYx2pNabkYV9WOejNY11sHeuDvDVnANc/qy1snPRPJdVhOUElchvyA4ioIg3QnuuM/+WKrWialPAlOfinz+4Fp+bm68/7uUxwHOA2/DATSrwFfPJbUxJi6plC1ngAp82FGKixRJ/DFOnsJoR5L+OjO++8l2nGEv68NreS90Z1rP27kS/cjpBD/qxoVwgtvwQ2qoJZ7QAbfazwoTgEYhFIS5JXJchPU7aMAGGRE9QEFLVnlRAHU8UiLpE5aC/q1nBO9yx8+K1162bN6omy1p/UEE47bTVix+C0+h9AKJwu2bDC1NhvGAiTm5t6b58oFErAuUZGHvFbkLJf+Kwy1g6dVo03Yk1NRH3t6qt2VaA7wS7cZpN4CfWE/PVoVfkcbuqyhKNfBsHncPfNMn5JMIhKXXOqfJ7pJX84q/g11CYn8323MeJKmevOaIHdaC0VVYcsZ2ahl+6VZEvrJPEZEd+dc3BjfS429aQI80Mz1zZrAVZcweeHZUwM69g9E3v7GkhWI73F4MS5nWJScQOM+in6VqFepTPWoH4ymGKpyB2ddpU/+N/866LuhSsRTFMKhmowxGJdJvoQH7rp2ZXIAzuE4p2iakhvIZssw+FKaTQQwF+jAJvCG5B7ysMbByQfOyTa6ZH9TWu3macsRdOBDrgDMAnYxRSmWItaB7yZZS8r0xKWgaKICMNDmVjriwggg1LNQAzCCP8oSjW9NEUX/XfUGOPZe4IT73tQnUwsUXXAHP/rnedRL2P1pYJ0PSK9pSAxr5j6yGA9YcVx6QiyiSQSfm5RROFrc950NkTRcnA5bVu5FqX6PAGC3TCadxIWaUiZPBiegyrWPkSlMp6s897tYteMccYWWCC768xPBovn7hcNEWkfx4OOuu+Swht0ap/aeJfmrQJzuVl+LiMKX9nsTVx3Ba1vNZ+RP1iAVohVOTiYvTEFlRGQHuMSOuLK+cz3Sg3d58InhAZZKx7oS3fTtOmUIbpMELAMlGUVsKbHM29SxeEk7SmZMyVwfBHXxYz+C1PKybKNgxU8a+rdyhFcqyM7MnsLjRMOEzOb10zedSsvanhwzLuQsvb11l4wS2PjhOZZoVgjpYG9IgkpFqJjpPMPpkopdqsyVQBetoVhiCGRrtyYX0rcSl3nZSvgHjog8xLUkUObKQpVv1lEo9EkwjwEXgiNXUgaYX1+u2iuBZS+fSMSVzbW4Ipu6KhBHFutYP0GBfqWgi7YMEwTH9gohLr1CXoEqbIL1n3rlLSqAeu55yLFaw6fAUxkgkycISt+991/Uh5sUrOS3SV/FGnjvvkhFlyEvXrgIoMb5i1ANq2v+EqlI7w+ngbxwA5G9i2E1quSQX/M+1N60SxB+nNMU0qu0iiYpc44bOjVafd2wiUhRO2/Hw3ZS2yIpoq/iDUESWw+a3zVOJU2w+STcQb7IktWWQdjrUk3M5BCXj8KldB1TGEBQfELSpoZA8dgWU3ur6qbnprKLMZ9hvMZ1TvTri97mbO2QQXVHw5qd+TAU73X4JCd3BrotstP5Rn3k6Y8ca4wYcB9lgVnQIuAbj2Dnd6vilyPvOlCADnRqHCMZw0Dx+1l4DvQx95LLzX2zI/9npyhFn2YITAKXtQWPQCfJrZOQQSvfmDtb9XJXopclMjac/Nixldie1nUvjryh2poBLVwvjgbUW7bhottNOYAMGfYF0L2tR5MNtFtGxzhTm/xezpsEUqzjdx/xyE8smMVL6tMA9YBbOuupiVl+xxScPO5+lJZ/n+7Y9kiEcaMxBmZ3KRWk1X3VqBWeYJC9LHI3HPVcxfhsKpvxstH/NleLS7yCNDm0cRCy1wm4NXnvkMVYMCLFS5t+0OmAmHBLNW6VEgmNJkCq0kfgbopV/lNNvz0bA3Si0jo6TDYGyAq4iDdk1H863QwDyfbhvoRO8q9Mhb9qKk+WLV9dyhoziQ+H2lNFVQi9gu7qmOfOTyg6/x69BaXf3cLWN/AHoywoYQX1yECH+2CpXX9SL0vNFLvOfitjx+MZd2kTn/DfpBlRGE7vrC9+SK7W63y/FlCTrz073PT1Tr9MZ3KQoBHuh92TvTocbbvFUqwefgzxKIel7wbAXxcrFwlXUCFfEZS04XwcJTLydZ3sPKM28RvtyIAes7kpmN/jqpsACePbCUVxEKjd0tzFYekXktokWiVq2IxryB+MKq6EltSgyHDMMZJsHPY3Vnx4iDQg+VrReihQo0sgLmN1kV2/50d0eSDc8pXG7HoiEE4jIlPW+FZGeZayn4CLnO938TvKlDvgFESxQQZLaNd0nTbucFDeC1WGQxZTuTbBKK81+S3dKTneWuhqea94NeFyb9k7YBMAtBZtyVgCzaOi/OXCI0iUrHyNiHORFVwuq5B6fXnGIpJl4URs+Y9Co5/HkYayqqclO/22OOwfS96RqjAzaFyNfdQb7Tk6GMnSTFJTz0jbwyFfORO+Pb0/cYYaEd/FMSglcj2xi/nZsaOVNqpNRZ62qmcTkW7nP8MQzhANQPaTysJTEJRGYf9fWt9fGpQGewdYntg4xhRxWGc64BqtpA/qOj409ENsrGtAQwLs+N7lufh4hulYURGNOfyXjttG2iBR72EzOFsr9b0W91MdFD1yR18ksr+cGpFFvKzzxvhtHggM9xg3zGzb8xx5paoI1VO/HFRgg5dZ8JQOmaT+eni+KC+ySuI1v1cer6pq1ecgItp3gVEJEBaDAk1GHNmqw2kX6/EAb9s489pmbZIcHmiVIDk9buGeUMspOQjvk4GMsNCtbiQ09Hg83VczEfeo5N5i68VLNfBZYHweZ7exMRwij8O5Id+btWbUS5RImj7S3f/mVDt60AF3jmIj3SQZLAuRmFexQysMYyrU8lNFoa1kgnZHy/aJdczGaLKguDMJ3XU7kCTmIW2usipmzsDUnqN4fDR0rj+dJ/dpd0lvZKBJIIx6LKTT7PJf6vvcjisZtRCZ97ksH3D7DvuyFmtx1l81BZJoiAeuDuXbx2triNrNgmRGN/QXiu27wi4avD8jkIfZCOMXPVbtyE7TFr+iQPBS48DksPQq4eTNJ3z/G5cxKwM3Nj4OyYuNF35RIlrN6utnN/HvxGMci/odTsMj3ZL3n48G8alHLigIBrY/AizOqbrrxagYkPYRQkHsO8Wl19U7L7XAKdSy5eKZYt1Js6iNe62q5l+010TkkLBzICyU1pLsqmTajdlj5OLymPkPg2Ft1wWRof+/cRxTAiY+Bsrn6+rDvmHtA8cy+Xne7M7CTWhH049isQcaS9+8zcWrHgtpzGCIETsf8/8WM7tSqUHcFCpLgeYxOrtlWc8eMVnuL5LOzqdkKdRxBIhhIj6g/y5ogkL+sC8nTfVFS2NHdqSHV00D13eefbCO4l8tmlvWum92aCd1gvUOePJzCVqQjyY9hCtTqNN3WagogaJGWXjGukMFdU3DFOSW71wqupT9aGqI/oJ4oCZTOhuIAd+URJgVoA5xw92n84PBoqx7mVirtb72gm8iPP6nWodwUi4XdNN+UsaijctmhkbGt4kR7EcKUDccwh/Epq0yjoRt6SVSXGzTu7PK+O7rZlIhCKZzyGmNOWUCUcWeMdp1U3xeOAPnBJ8nSMbYyxd1c6QvqaNS6uNBnynS+LuQ3fSidNIH9yMrR/3qjzZa4jUqlCg3SaqHAITQKLvnLCKbFETcr9o6Q1kUgPujMN+jcvmumS3qggR/ViDVGj7/LvPYhLC6iN0Mv8lrd5SYTgVc+Mqw4jse4ZAbMSdlPXZpi7tam1XuHtEEitr1d+0yFmbkAWR53sE3ayz6yYVtN4CM0JUaI+gnHE/ne1UkLiDpwtSxEyr4QZgDUQYvtqoeaLV1Nj2TK2TUO+KHzP8pCNO9+S8oI5sWCd8qcA4Em/Y6OxbSsd72jFhBsoGyZVWNZgeMwudthaLbsSppAcG88LxPPhZQs6+dI1ieWanxfq6dWXDzYxJpvOsfQk0KsBqmUNP8zl6o3MdSPwezOLnyLV6qkUYgA5gbhqYuWZwox7Yybg6LZLvO5ogGDZeak+ATSxgGwaB4ZI5TJ1MQK8U2QSnqJl5X3vpdGiClj3xNhH8KykzCFjSxDYJgpWQXfnQdXpqBk0ieIgalqXghckq/Sn2soX1C5RU9OiNXQs2qzNJCe+hvjn2zUYbQVeE8veZQo5yb5BC88eglowmmhJVuyOgI98NYsRndhwYG/WByrKVdwc2rgZPy/fZILEZTLmcAhQcCkg9E1hQGniffwTMOp3ZPcPHRmyYK9R/D+ZTLEYHSmEaT/JELghrfHSE9kctseCpJwkv2lVe7lMqEmfl86jTTPGd/YSDh5JB0NaMXOi9F8LeRHxoEtFsirTLprrFR2r3pFuutB1cDV7sowiHPS9dV4wy/npoL7G5eu0bxEQVCkJY894Kdhl3l4eutipSod69z8fGJKRZTFnz9R4I+uzTBDv/R0aoPIfGpevuq37njh7UHnXmDS1O5CMuYSJzsTEyItMnlqHw7wbwCD8IIdYIC0s3JD/rTbLFHglww8suS1RBhUITL5k9RweefcKyPS2mMc0fSqaoL8jnKuVCB6pJr52fvxv4MTbWZodek7XaEkHqtogvz2VZCmssB1hmKCpTg3RyyDCO4hc6BgRnK51FF13hN8JOKWMnqgDzcdTo5l6wUpD+sWrkJmjNP130eLylNspleYEA14GSMo12+CyUke/FuOuea3hezWdBoiITuw6YJfcvmtMMSNdrzOx9CQRxBoo++7hs1Wz2ngRKB3xsWtCp1epXTIUm9pPwWcd4X7qgdGe19s5r4/fft8MmEpmCdAFBAL7Myo9aQG7ql9X1EzDt9FlvTkrTIRJecBYSwewV8zdz5Y4IKIjgNjqMjsMoAQHMzo0lhZCG8IpxTbGG6ivGlmlW3v8HmyaTNPiMFnCPbLtkKZ20ZvHSJ+/X7MY8kw5iuaoRB4Oj6cOBxQjah5PwFCULm9Gk8DAlH4ir7Ntg9Pq8YbforeHa9v2uQGVU9L6kt7V06nCL7fxfEwdoYZ+CURJpJ/2yBHh9t6DubN/h0d+3yOjkXAchKoDrt7fShhk1amcPDIezMsjJG6Sw4HJ6qfzM0EUFuS1Yw3MN9E3elQcvWcQFsPqfRuOKiGf9lfJQpp8DUSrKxPo7Trq2RUTJMsLUFRKYmmxel1Km4heHc/sD2bcyy9A/oMWCp57w9Iar496u67rYR8QzEt2WJf9NSvX39Eyd6iLWVmiVS6/OuSrtAc9uWQdDIVe94/LkKIK66DaTdXoAQtaI4QUe74t1F/H1R9zcS6bn9durrf4VSuCEBtm7/Mtib8yhlHli4HjuBzDXOeL9P97fIRO0y5EKTKMNJd7SIvuqW2LoWUkBXu7Qf1yI30LyLjUBsIDLG0v6iss+J+nYrD6NNNd/yfqy+tRTs7l5fotSRUIhV28hWjPzRqaTsRxl19RzRKoWUIA+OLkEuEun7blFnDYvOuawpIQY/eZmDBWzssp+7UZwvRrpiNTrcNkA4YV592OK/Z3K/AtTbdxTMqXO1/FvPCl46Ejhb4KY5fZ9KPBJ5hRaWYZJLPWipQyYGLm10IC3eYsW92hXCszsE61IjVopFOEBNWQZYBz/mtMKNPrrpdtYJa7P6kwslWT72zsWMLkcl6PnjhUXV8buqFJZ4fl4Kjf1zOeN7oRJQDTFtuG5lG0baMriqmAgD5wjCzWt+cNsCY+b4+CK7MX5sTWNZHB6I7eLmMw4tCM+E9iXvnLiFOLAl8NqG6sUrKfA9o/dplOfkewUOkp0pFznld9LFwGSXEIMtUoskHdQRe5rwb1FgEb47ElbKdsiMHb7X31o9XrWQ3ovMnA/AtaiI7QCi50wLNCJo8L4ysH1bZzp7j0GzNBD8TEFoQ0IqhQ3MGXgxR/Er2ZZRUejR1HvvXJoUDnM6LxjwishxM6o7g8REt4Fy2vFqCsd7sSJoxlDCJnGWRPa49YF8thFjKWj2iFxrv25F8TvyVogPVCTVYVCKy2udRTFURj0iswhNqjfBRA3lVNmFEHeAlR/8FmQH+Pt08BJ6QV1h7ivlPtEryxGCBK8UaeiCXK3mOPei/QefeYjNMsHfG+eA28ei4IqVvm2ulUktGtmdTCg0uDypCSgzJ1d6z38HJP1foku8bITXpf/uo/ZW/M/GOJSPy9ypN9J40w1qZLS5qjwtymy8EQKYZOmRejSzg94iNxaHrC7uhdbF0PFvEFOElA6VpI3OYTsEgu3G1IphUYxBJgxPm3nnnp2C8zSdOyMct1j+5e/7osESlz9/Vb+VK2TllwY28wLv86aR7QB0O9t2iWb99dj2wDcdzlAj8ZjAu8ZtFGRPCu4ceppQ7hVEDuMXoAe4OLdLUqkz28xhHcTgx2HAbHfBc4uWoaHh+4VxtuIaE1ImpAP2NGv0CYvl5LXDpfpy1bOiNn1UWhPUi1jwMoa5qhwhi1wHkqvk0slk8WzF8reO/8urjWkbQYFM3zEd1D+OQZbNOFTGoJ5+53ni4LshX1l8c6Es79Y5jBmZWAGLFM1EY/9xIu1q0KWgz1YaowqrvG5zCrY1KmRC4/Q1eAcM+zbYVzIOPwNppg3GVYd85WSOYv+ijfEJpQEGP+Qn3/AWsNC3rIQ63Crsm2PxKvXvuVdWYjYtZaOm6bMlms443y08u4u9rZ3Oj8ZIHNlRxq+McVM5t6zbWRkUVq0+Bf171nOHnSz+i5maBMwOClFOmQAt1DT297aMtgaWCG/9MgaJYWIoVGsFEo2cTSKm8iB4o0UlunCUCSijq+M0MsM+0HgyYKsUBvbN14LtpnQEw7lXxQXWanxHndBdgalb6YIPQNUjnXfty6XRzQRf6WvUWsphxV+dZBC2qIBViuY0QFcZjLNXl7kCD4qjo9QEyxGSMmY9PcEld86NkOF9Zvo+fr56A3I6cHusDx6fEAwYtbVeUayNBwngyw6/99qO6unrnnI4RDp5+nmaKlBxWJbLtLDkvE9PYftRyJLEHBJ+hdiHBb8eoMUgYZBXL4JtvhVBtv9ewvxCzURBzgHxn0OFDS5cvtG27fX451j4M+wjiUi5Gx6TDcbIAReJPCvj4h7v5hmyk6bB5+dc8WbNboxeqz94AZfhTPAOelkq+uahqy3inMm9NcpdxDB25RZGbSwJ2pRv18ufdT/VKPwSp4auCxQ6t31XSjvjNt1js7jQgX21G/1kLWMH4tBnQQCrZXyis6fx8d5dMcoSxN4SMEnPRP8MEOAgBlXckQ6+hK53tvTKru5njisooSDObNmauh1bMQ1U0dDp1dQugnhpREnzJhdJaNvz8L8RusWu/bcSbl4qgKeIcBR16IeUDaKPGCpkSIo9swtlDqImnV6yb2aY7k5B9fTrfFdJ4yZr+21toOxcjzct+ZKgItWUdTagQczcl7/8wrHBHRES1KkugMEm+3qzOIG8aZ8s6wp5Ko6dYs+okFK3fJYnD14p/ImgGhBrEM66SI1qWWPK3dmlV14kp4nD9bktqhlrz28KhbSKZwmDwta3FMFOm5miZgp48JI8eSWfBJCv5G5yUe+1tMijYKpkoXGZ3tkKmJX2PpJrXZ0usQoVdp09ea76qfVjQ+8rYXpiSusmEkbtECObaGCfNsA3X1FGMQyzNXJHN89vIdMWfiUvFOQkfFRICezXZalsL/4YMh3hPC5P4fgT0VrX14kG/gOfEI3Q3JcBVAefmAMvwYraX1lvW61P+mYNPNGXeaPCtXWqZs5B5VAr5aM7plEQYL+xwFaXA3RcLpDCKmdbxAthXskN1rc+/EAQRM78hFMxkPXA29rda8au0gUdldkvXniVz4yUjm0kPCiKzk2gO4eOc8Jum72Oa5w+9qbhhsZ9GtyrhaOf7AXlnYPWC1SVLbsBw13B6naeYo19z3fdgWIZzsb/l5ZEdM9l94jY+/MFjXY+jgeU1fNZeeaLhhBkXsb5vUEP5L7uk8xhn26lK578HIS15IxPZwFYxyYUZn84EIkcCz353bGb1D40ePxDm3HQtKiqRE8v2VENWwXVhjtrA5Us4zDsLgnBcsNvWdcxiOAO/9hjHvxj5GoLStXUx1XijU9AEJ9Kq9gPD7VSims8zUsqZ4+cLbGIH/53fJWvOQksKocBgL869e7hN5qRncYbsAKsbyx+mE37dGjk2k/8T3QVwAQ7Ru9b5hFjUlstcmZNe3tFJRtR7J/Iga/JpDSWaFmQp24Dvvg7h9h1KvekAK0u52n8DPtOtUhECPaa5qTRkCf4gdoFQ7kIPUX74F6XVNdIBmU5H/q+W1aRd6/JpayaImJyizglRYAK0VueBCHVpsEHitTfPh6cIBbSnDr/a07aIdUhAozNh37g27ZxPMD+ux6QmSpFJlkHiHGLs8Y/99d2djLBYswIYERNdevPVV3nhn+TOEtBA6b6WGbI7ZD/BNVoIKg354I8b0PqHMb0IGJ7QosjeaGI+e23wnVifUR8hyprPoafXKTzbb+Z4wKA1q1fQRxP/HLzHYbgvxMFBXOKaXcEnJDooYwmx6Y0Bc9TmfeMTWCOWf3dp2ekXVcvaWa3CMENuihvBv5IxSw8/toPQ5Zn+xW5RWi8C1CgC2pJIU8DUrjC1JBwWHXXCB9U3aMVTvezxHxpZVgPQ8YJ8LOjwfb4eBUUNmjSVb2gBINQTVFdPxlpwivf1QVQ8goQbM/WYZcIBvblH3Cr+bJ8eAUVd/nPFyXS+LZSbMmMzHfDcJ21w//1B8pEPeah35gnMqOjmpP4O1Qpqjnt7orbFYVkiMtbcRz9O2YKKJw3FXhQLldzq9e4J8elGzW22AAf4mSzDrDVzAzGRjb9sAs+3HcCsZubRpSCr5Hr+AXS4GPi93MCVE0D8zmXtZrdVYkXhAHN38DkOnXdjSGTo2LSjKkylD7eqkUwljfcxeJ9k956IK9Bq5opC43J/k2KP1/MFuGANpHd1hhzG7dNzt9+/T2sQV7sSlO16O0QjBj86E41BjMuXYamXJ3rPoWLeH9JCdod8gyqHNdLlOfKdjpAUOmR+VrReGJ9a7AXCM3Hs2BuJhpA6mxxts0TmJMi07lhV1FV2pnNPgjIDzmhhpqhQnCaJ1odwB0KDrB5Tb+uKDHNpqE0f0LLn1dFaKSpXU4bpZWPh97Z0R3LtBYOPQhm3pWuwuVrZsCOv72cBycpNaUlICQT/GS7j2piozD3fZ+bjC5r/7fgxxpQGrGgpAwJi95acpoMITf2GzXp68XIJ8odHHiJ5Rrkphdpo4ET2p3GlPJLLEx/liY0B1PH7cg1RS2BRA5FHI5nMytJR1RppqZOTRxWz/nQ/GR7SZQqnMIs2gdhxts/0tq8Y88NNWFYs2TODsWYe2uviSWBXAa6bJW+3D+VAKskeiCQLttJ20AfEKdpSwy/xMwi587OGq/R0z3wfZXOoXANJmzK+H6MGopLh96bgQOO+UePSp5iODTskfZzqbGIojZlA0353Isv5Lm4ITw1Uzz/O/4KS/Ic/Sp/kuBJvpYKQCpuSU5aJ8ehULAX4YB1HzqJ6LrKsT7/55RLZuHDr/rKRbQ+p1Lnj+eGBVDVo/ebAha8IgNSuvx5zUcgAINOJEp2HL+DQGjJXNI7yj2EqyHTdD+APsO2eMGA8rGfn/RA9P7myCjDuRlykGzz6UEIsogT5epCy/bFuFZwkxLKSoA+d7EKw2sbD2k1MCiT+VL3/Siv/S/w+0KZ3K4wMBJlbBrytpPQBGnw5JYcbp0rHMYVNeysCiv1XmEnsi7ut2Gnp1x2X8Cc8163OS0G7EeKXDTFz6PVOE5lIhcTXfGqFyrJ4Lpi7rBEN6lxcospFgajE2BKTJcJAlEFWTEGL+uKOVUCtXT5Nt5DIoYXVMGQcgGYuq3U18CYlFAjKJ05ZzVpFtt9XNF2oj3OaRoEMMzYkcr8WJ5TppiYcXFgsytoCEKJnsD0QAw+byXsdQml2zMrmB95IL5u7QSXBlKWCDnNO+hqs22y9xXzo69Kl92WkFZNgxJlA7iNNOP0hnc8VAn69H30zBy9CpRhss8bfyrgpNwWGFUBSShccUokUcafm4z1VetPt/Lq3c3vJEX9zJfI4FN9Gp/SEIyIYb/OcICdZ2z/UM0v1cJVz/5e6DaeYgSDZR+llr6smowHptxbdnh4f4UAcNEnyyq2COB51sR0QSrbNQn/Ko00X5zG/Fi8hyW4bWLGfpBEy6oEqLmjANhp57cw0TbdFMan+QsMmPcHyGK44N9DWWG3aK5QzUUFe7Au+UjGGRTbyeASTVtjSRfyqOvwhQqOHX5Zoy/ZnKdEXyMl5SotwQxcuRw2KVFytQYKjnwfzcnEV1YvdPQnCZBWPEfO20zKujM99ZVZY2f1BjM8SsWE/iM3KVye/PaaCnNEqNhvhf4zu4SOth/9F2We+CFCydMm+fagh/zia4CRtBfGBNZST3/FCiYo6uEcHZNYKwrP4Y4RF/LJQ1fX45fb4vw6zIB9jyne2cizCNawQQOMsPOUW+/9pBoV34nOM3C1l5D3fGEuC0Cr2Kj/2VPrYz26AGn/POW2r0aj5a44wGXt9rBcaFS/eGchI3At8TXvAP222PtINbMhTW+EQ2stuFUYj4fdPErlbAP6TfaoIeVLvhPhL9YS7yDk6+9fuK9apgdfNCgvrCJS27DhzJ1AqwN6u82+rxPUP9lmuTNnb4f/E+qJ2grEKOtMFyiEwpwlVTA+v5oCIJRwnWkyMRK9UqurViVxz2pP5NQE5qkz7gHRivQILsgDveOelu1pWHw8CW+1LKq5d+0oGsFnLQhhW05VemgJcGFey2DxAtAFE06qiKgzfqArWK+o6aW5qr2TrgGiXqLjkZaAUmypqx0ZQvu9Yr63M04aR5Xjj87qsaMXru/YxWMmfkky6aLva8f5yNM9kifXsYcUTXJqydK6RwC8bZxX6WDcSgg6K/lgE/zJh7jWlPk1sldE8xGbSgVWfPPanUBsVp9PEl+7E1k0uGNU4qpg+dO1Qe4sTY/nF37+m9UzHZ5OthfKV+JjRWOsGE1l/xPAZapRRzykfBLgBLLnA6G+++a10AuVp07rG8+KragpDXLYZN1UumW0CEHn8yHqJPIC6BuAs3cE71+qEm0/QcTWPhp9MlivlZMMsfedYvJeV7HJ8mIFtCLI2Wyokc8K97W6ZcbnUfpl0ohe7U2G/kz0d8k1BaPaYnC73P6qbV+zHiiOzhjaW2034tU2qkfZxwBmCAg1KoXRFkRp4S+xyjsRUylEw1LV2EhZuz6Vo1tz6BLME4/qV+pe7wcOq2tV9DbGjZpZM4BzoxW0CWprgORiYknJJ0N34B3Ss2VAztOISZQHLoRCl53FB0A2mGjL6mNyKWDKtuMp4QfWvar+iInRlL55pL0vayho9zci+AyRjo8NFfS2rZvIDJhlFRlyWr7j0az3r+MZLLb5F5FE8XWWlZZVEE/EXW2qFU3YY0KlLnizoOsrSSmocRBOR7CaVrjqFlFQEv64+PNHSbCmtj8Vb6IUvCTUFrY0TfQvTlovTkrqHR8JGwTBkiXZSjFYsBQAi+sdVGSq25Yskb6maCCxw5ZUkR/6f5I9tkLLkxgeSlYUj7pVz5vSVy6aWV8pF+jlV55OQuuqlBKfjDSOCgjjZoORH/8TkOZir6ryT+acPtuMwGMG4a5jpwaR56Yk2J8PffAaqmggLWjVonO7fdO02Vg8/UAFAGhl2u6mjc3uZb7uVN36vR1qojLL/JcwOHvClbQhDR/4JPToMWyfz/0XZ6hlo6ogIL4CHfwtbwhNHFLeMSLk62ohhZC0n7U/qlwv07YO4HPRL4ZA8CSvr/eumhuWqv4ych9HTOagx9RTuZaGHUwNp8BdQ21ctV8xiHYy/HvUh4nwRewlZprGav2/K0CRNiSVTQBrAsrbDR4vmNseGCgSuYr1w+f6DE7lA1KFgWCDDXFR9WM8RfneCcJH7SXUyu5YoMgdT/qbfLFzs8mutJ3HXWZ9cOiQBiPr//qBV9FftRgY1wGvXO4PuhnpWn+qCooymc0H+AnI/6QaySQQ840jeyejbYtmm9q72dMRuUjLVCq4RmUr/1AulpXCmS7IlqPqqsFp4mPzRPz8kDMxrPUU3JoiMATPEU9QUtGlsajUjPnOJmVB7H8UZwSVvB8+zjYmeQ8vny8cFKUXCDB+18uw6OsbieRrk56vsVvQaYU9ouJvT1FGaSiT9TkQtnBWMv3U9UMTthKL82Ihf5lOeKeheAuFOf/7414UgmNKnMGSkqt0GMwquPDhIstag/0UzHTe63gVM8xtIHiMTuxbM02NTpuHF51ogbHVGnAFN6+vjxDuShOm5yyKSqQ3Wq6TMaP6gHRlP6UaqCyYMyD2w5shkkZVZ94/8pUDqAsuXk4UigDhCabL4jp1K3FGsBk93IOAQhejyN2mz8mthV3tHbJR3XjT1JGjYSfAcoTsfVOuqETkzQ+f+cHZSH5BkmFJzXG6ULRuThc3s79ytFL7+wU+Sk85rbX/C17OyLs1nLICYX3wJHTRD6Dk0eCDpu4+wqfhh092hCiE78/GBhkZ+64Egs3N9aR0mimNKPVkVLHHzxafJnVv7YNXbPfs51tTqY+i9Nn8b++8PUsfEAA+6bAJfePX5k9kvi00ORFPoZfSFhRFDCI/UqHoleafUShWfxD33nNYx91DUIq+RQmJhp6ungdm4loaog+Ccms2fznHxwu/oVjDny6DHRCLoMFYBLna2Sg6ipMNu3/3fx87mClGoj+qdIuaFTpXqgdjP/s/q7xiDSoTK/JfdFPD2NSbeNnGqKbpF86f+bGjKA0XRHcF3FuN3+9j8BKsuVFzv5YweStJNBq8ZkAPzUukQOcgREHG2ZatS+oGrGviiFuitt7axl1rTMvdsABqF735F6hE/JSfOQ4DXM6Sg4BsBm3feguKVxT1W7PeOjQ1SVEqSjRdHFRjejjTOvUBmoBps9bqr9CA0OtD7bUehlbW2TjkE2azLji5J4O4ZvNO2rCnsrh+F6ClY3lrq2FJmu+S7J0GIZACnBObK+0gwIgeU0+WgVA8gVvjOYsm6vTc1lfgZITnYz+7pjMsvIMl+mBWEUBTY03qgAuE3PjKL51RUdVlDIaJXyY2N4kGABtMaMN8ujusDpHAuDXcWpa5beIl2lEFH/Oz9X0/982NHRmVd8kQhOSaptwHD29jltFCU1YJ0XJ1JHrtpXWoBYay78kP8+Lhc1iFFKLhw/BXXZetO1pDF5HkWKCJbprm3Wntbbf75InAR8gxe6439/nYFelXQ6+ubWxVR+wc1TtDnfabLh3QBr/m8Ya8tDDaa0Pa4SbUWlyIr5BZbAYz1eIyJbb8m88pu021Vlc941zvqreYy7jC0aeZZmkyIw0rs6I99vKvU1zkZa8x4Q/kduZmGlcGHVZ0jUjnlL/VYGY2VfCQ2SuX4eLAL91TkSLC7FbXwpyZ/hEZOTR5vLBFRQdJqjQEuoeIo5vXMqwDzpXBALFwRYPUZKNNCCcSZEWin89VuTC5wdeMOOB46wb1+C6K1v9+5TwjWgtLtSktjxJHfMAPaH5GmbluQSjeSGwRScclAGnV/HHx2+PVYaTNY8Gm96WGjlimuL3yd52D/d1RcyiA5b+03mDW1Hbvy1AxmciSmKBDH5RcmZCQaK3oKlkSqMG0T1h8W86yMFHAC2DbF3JNHq6MNa/h3PcbmWr27QJCTFkBf6sg0D25qutQg1O/RKMPVDN7QyNH/ow507f2B0gBuBy6nX+azw2en1+AZUiodI6XU+BvQkCeULC8rmHE1BZw/p7w9+/IAFO9tYV0Y7/RRYsAKQBhO3XRPeNsvIIQpv3tQEO52e17FNbLcvHQLxer7m1mAnIrGc4DrhXUK0/LOdY1KVtQtx4t/snasYbZUyx+i245adrsb9PIPaWFZ3hMuejDqeVlG4v/IJFSCQreO/+jTYExT8mA9LdS5XX4qZez3atPRJUNM1ncYxCMGjTFfbLEsO5921E8VB9QoYIUu+e/BMZDjlW6NFd9H3+0flOnXn9iXJJ2tGkZE8LI7sXa+45YusfiROLV6r1pkJ5d5jsDqqnDSgUehhnBDvv1jHu9l4E6uVOUIYqnundOfNdheTeom1vipzzKayD/DssSgTCfu0xrj83IMd5M7tQz30zGcehj8cM0Aw/AB3BbNgQRn1qhC8V+XpfkebsMh8JIlM2hFrbY0dgzXtgiJLlbNekHA8dE+319B4wjX9+Qo8/0476Jf89igOGvzsgrnXhpvXjSDRPe8UJuzCR4YmuzZYzlBOJjeXcNZORFZSKUP3M9e4zCfguzMsWXgbPfK2XVDdsDpBbRBvD9W1tJ9CoZ32MU8t3aNTkcrAjPI7GkFbprGYG5eIZA5L2ri3hlU/Ri+ciAwSUndZZ0/NRFWvnFqj//JMUOZrIpD9zQEhjZ6qHQIiMh59pLATPRsG2Pp6vKTcZsLLHgqZoGbJW3VDfGmETcQ31UGBmV+9i7BjGxQC0GWUZVGDU4757IRGh0c1oPsplAgbIE1mCpdiEUpMcEsmlvuYkkxCIy6GGNANkkUYLiSYikUy60+6Fp0znOhdcI6qK8+0LT9kd4l4ZY59AZ55d/RP1ln8cbrEFXS7ReNnaDbQznZStIHEDuhdTMcN+klTVgIL1iR2gihXJUHdAtTEc+s4M6aXQe0ivpDPYDFIHZrQ0gT/F39/gTXALRig4uHCT7lsyN/Lv1hhxIOmL7CeSd7IC4FzEv55EUbhTL92NdaLizA3UXtSd6NNo1uLIW+Kk3b1T7OBO+9YlXG9sF5vZOmdjPmGj1a1Iy5qfFS35xmsHKZVt+7bUa+GiwopBYVoJGcqoeTBxKUgSbbwmLopna+4uup/2GTrNZBL7mVL/qYNwcWwy1+4f41WrXRr/BXFWWoZUuvmhYyPDQh0f9bPu38NLR/2+vXvyVhRBRur6ZHD1Wo2OU06/VsXQJaWv3rDhwSct2iVYLr07mJhS2naONtkFqz27TThdQ5dlLQ9UFbVYsWWhTL44jT7/gTofVC4lNNtVMbBHNmX5+GAeTDYSONGyM+QIxCVtMwjyWTKcjmrY4dC50bRTtEAeDTAZgouR49+PVQtEYquP4e2DF9szWWZkMU+DOO1saDMsfEq+MdQhZ54NridLYIk0Y9w8R4yLzmjzozkJ7HSdGDmV4rLmiliyMWq89d7v48oZqudVNlITSBVku8XbpmCvTByetQPFLCswNNE1OFjWCq2d9nRXMUBgOgcY9dxnH9H2v1GBFLCOyhjbnlqUD0n9f3oAfzK+KAzoZ7XJ2DrQJqeX1J1rTwqGLw1OHE8XO8CN8Mx+VuKBHXSNLUE5Zku8ye2CPkHfOc8RXSguITvdu7HAEwmsgK4KKgv2UfC+EVRDitVAndmamXvOICzTgequu2ePpvftuJdDkQlw2FwahcKiaR//UDMeRJBZ2Y2py4aOQ5z8rH3eJJKW9cDQkWpxVt04lYlETNSNzOp6ii8Dr2KuxLD5PY6NGGkVxKntWKx9Ftn3DoaewLBYySHSeW28XCTEost8ETn9rIc0caDx3tDpcQVLJE2lSP+Me+oCrQ+KresOsSTg41PkHHy/Z56ysuA7LJoiLM6v23X351fXDr3jpo3Wf4yBlyNQ5SRe/BubdDh/n2BB64b94bBnylnin6IynWDBrayTaASoaLQH2EG4kbpCMYtmHFAmqKGTmeQVhC55EULmTYtxXvh+e4fEBWnW+W0TF2xIBpx3mUk6MkOu8zzZgh2Z29Tp1QtHRoeGVdTZHXk/AUBSOT3E16pNRPVK0DQUUdaEZtwu8dB/KSb43nsn00vvSskvxe3+X16tS3ZE8hEBWxicqn3uSjiO0NRFaTRK+yf4e/MuL2hrH5FKz7010NoWJJ/WpnTgRDDMoVlBecxKrk4fkjihgKNHpOECUImAtHL8hLjuoFHKqxscXUCN+vXmjNilZb0I224mmCVwNfHM4VQ7EVzjf+RHS4HNqCr8kHZ9Y/YR/SEYltS3SQEhdX06Clwv4CJotBWMeun+klNZX7PPGWBWJhMrncoXhs/uI5eMcXgRSo2RuZ+AlaOePf7tqE5D/oTjxNzVG0QvtPA6Q6ycEecyjV1K8P3kascYwL0kmfdGPZqdJpM+5ED1yfmfS8tRHiXcoH0yL6hdRwfJXgt8zAJvBW9m34Oh3C+qK4QM+R+l3SYqkaZ/3tusPYeP4C4gplYKVUGKiABSMtZS04jI0cj5/G5brPOZz5zv7YVwoMAiJHdtAJnRhTjliShpCZ/iiV1U+52fUON/ju764oZZ+5XKTHBaaS3/ryI6eX5JoGMXz1Ahsq84+7U++QxyWs/X5YUDYV+J8PrNcxYD+hPEqnaw019a0a0g681EVnhivXEfA2/U1X5eiXJ2LJTFHTxPba0fLUVdiDI44x3HyZ0BXkrFGwJczzo/Fze8DK25Zdt/L6YpBbTJ6+M4iOLMiz0UMKMGDeNnYt3E9e01Ps4Vx9zC4OIWPFdkXuspvQFnDDTUbi56oFxnKkhigx7nTVgBS9CiRlT/6V9OGBTCZoOI/QfNIesOHDD2G5otzRCxK0YFrZ470WS2fPyL2fsbJgUF7w7SA17nA0NNafO9yrkM2tBWQ2ZxmL9yorCZndcc0Z9maqfYjAjXEAJgccgP0ZI9Fbj84g7wcshOEDngUoNLkgH0rGS2jf7oJP9Mnb0HYGFtOvIh1MzBd9pKD1Tznpf5Y8CoE56CG/8Nc0DnrQUW+xVrJjX/rLfStCzSZ18K8EnprkIwLxU5DkRIbqcyPFJaYlvsaWf3/7N+PCoAIFcUMPGAc4g0csQKqDjSKsAPeMk0vEpDUqWRBrwSvR7oba6t2ilPk8JuSnpFofc6ZelzKo3CXTAw504K0/PH3xRijwKwx2QxN2Id/OE7fRTZ+QpwtJcu1qcm+52rRhSKKn0BokCqrlaFzeaxaGFdlLnUtB2/oBa+FpXv2ttCJBLY0/0QvnEo3u2tQfhvOStiV0jVxaDh+OzhKj/jd9omasedVv701z1TLvFSHOahwLX6Z118w0W9k4/BFmus8N7dxkMkUkbdAPePpNDY3LQ/TeNNbJKpKmKpZZxAVFdrCR/FsBgtYMsVFEtijpN45jsj0/Pzh5y7IgEk2JnNbdgBac8bbtcQSwBJ3RFZtwH/Xo9uk3UykDuc4mBnVCR/SPWw0LYLMoWS6z55JpAbdAqCkG+GVMVZRjoYikVQ4QbTnganc1t9cutI4jg4Liny8tDHq0POf+rj/R+RmiZWlCpqDZAaNuWQoPEWP7nauG+202/6qurpcHZbBaVoQvRuDR2ktvXC0458A3CCiErB4IwzR61OCuGxZSC1cne7PDc0r14+E5KBBdmnMBm2inVJalmlaUX/EK+wR1d3u4648rxSUyCyF+BykXYgGNp6Kmpfyj5m9aKBmAiDGQtlKiX27peliAMrUKic8dbg/0crssH3UfpadN4Cqhyj6VCqEAB5WMuPNTrfcbWG2wzQojQOfqRVSJZU6OBdtkFISAgOAs1f0bpbescdBxXQu2uaFezgrJXX+AHoenS/jeSQhmcLHAndG/dHj5+u1FNj4OCSAhc8PxOnA6X9G/8ks1lMu7kDwXuy1Bm0GjjciQIScfk/b717KR+EUwWKIRy5voZCfJs74o72pw2XuBsn5wqpl1MwQNbEplaRrZ1uSKgIdRZsp5LD+vsJagREvHUTvf3uGzh0yBoRgYG8i3XlDGKN6BgUvjRF4LGSy034XjZd7onxNxh8wBUTczRphi2HAY7dnWONH9TB9zqlrpvhJQ4LSFU7vVLKd+3x3RPEOXUunHHNaHvv5mPPH0WO+FA11anRZlrzp/b2Hbin6ImoZwajhyu1QdWgK1FoIiYBTKnYSlsEy/Xf5zom1CFX2lUxeX9KoUZ8PK0/Q8xN5Ks66hDpGkGIwAUEYuud605kYC1xfsr84LGRc0lyRW98DgxSpUFJkU3CiWLy83cmxq7n8kAE/r/qcI+F7eEAWRUJ8ug9lhcjqbmFNCeVW2PMA6vLz4rSVBNLIXyEGbaqtJwKyQv5fzUWP9T/KVuRVd1fdG9gt21ACKsa3ZchImIsHJDW/PiPQ6FtSyoVf+24JmKNOvfjqvajz+SJb2+r/2Yy/+ZzkJ18CJE6fhqCzc4pKz/4e/zV57LukxUz2RJsJAKxnCiZw7DFT9kyPwRPLKH0UWIoa8tqI/pCOjq7N/pbMZtrpppF2pIrKwZqeAVF4cMsifAw52Wf9car4eWMzk2fcqaINR0mBGaZh1uonC07haMuISDkPuUvBBHbNgnJY59qpKNXcbr9NtzrNzrsKd03xvROI0Pz9FckbZAHpgtO68RlQzoGenx9OG367AQeiR6wE50+14wuCpgduM4+OfM3WuWCgKdsnf279kH5v04cvaEOwl/tS6PrxxazxHl2XfSFiMYihCt5Kwv7knk5oNW7DtmHf4CEwi1FMkrIalgqBOsgrBmT9B3WcdmwMb/GVogrMBeSELK44zS8PaZr8XkP+yXjbAWXQaK5jIELWqEbT8EIurjTQ9jt058cR8+tHMQgsCSfQ0mfbIMwgTEPVY4cnqr8SEDNsUN7LWu3IsoepaIoVwj5S7lYp8CnN4y0ZhBVQRpqH9Z9xPpzQSEhg4zBgoiPVvA7cgy6pPysi1RCemt3UNDRlPzpQT2bG50KOvhxgZRGcFcWIdOcWjdraXH22mYwl1ndQax5orgQ//iFq/r0FOhtTGQNPHw1+fcuKUwbIiGyqjoL7tm/aocgYIL3F8bAEcFuCv8hLGNWNtoaCJG52areGOkiKFu0ZQ1R97ozThP9h4N7WixHaFf/LIwX0mhRS6o4P3WpGl2WAzwErBi61pzRg06GZu0x7xw3Nnm/gVg7tYkZMkHIW01ALZxFze202unCsiCit6niAIrtx0e57AH+D9TlJvOsBMywHHl2mc2IsiZP6nHO34mQJjD7XtW6lQQ0PTXDS1op4MjMCbGagZ1mxyywkQt4j5jFqaEdtj7pUFjXX+JVPnzcirHS1exueiaasFsjVWxzx81xyncEalX3AHGx9a7VxSvzEMIBzlmQFhkCOv9Lo+TtmNHa7GfW8XT6QpFUNxx66bLIMuc8nDmMXAJz+cDKlAq5/cRjUOPG5a4ScTuYuvTT8Qnk6uZBlKmleaAef2/eny4r7VdIa6cjAwzRw6DbiV/wyOlESk0Wzv92zvxWHIu3DIsMpflajS3EhR3xAM7uFGHqHAKMTo/oSucPlhMmwPy1xBXmGdb8YLkPexDb9UPeX00G8QRxSx5ZRzyIuqULk8mo9wG5EzbYKmMwF9QAe7N4rRLBPcr4fA+W/JS3Dr4rQrhlQ7kv6VaYbjhI3/n1j7mEN6uId94TJVYzc4riUGsk850OBKt3NdLfqhKHnPCmfMNS6YcLGia187xF1du03U/F1imcu0QBJeBCAcgbB0LC9M0QDfvOhRJxLWjkkgks9Ujv4mwMOAOkAGnxE4FTYiIWWCROBcYhPz752dbAyLBlmyebuDJgcr60N60xqukrgLZhYVnkMupUCIjmEkihYUsyRfpnfP/tY8CJY/UuWKvd+KGW7NWbSLnRztF9xg8i2pncfL/cHTcSl7EqRdFlouQdOwHUDvVD0lLU2c4apN+5bsyUc8jsFyFeKVZMWc4uCEi3XxTv6bOfmFwf/MgVZItVAjE3SIxOv+gyYHa08Tu9/3bb3kZpd4abwP7uor5CptbSUVGYvRuEV/MhqUdAOimBhCzfRBVOkCgBTLi+SlepQVB4fb3ZdQ8jXBXyTLb/BHdbgEMFJxVN+No+oi9oDIFA+uXd+x97VsZMG+pCADKksP3BT19eO8Pfc1u02aXa8HjQ/hJiPGi+kd3KTxduseKE5o6dmbrWNEyhnkjxgk+hebLVEl/cqVFrcVmKMbzDFx5OZ1MPCy2C2lhVFMAH+RSHJhcBcDOGtxGvI0TmbBQ+kt6M396p921QI8TvG3KQEpXmL+vHtWYFxTBJ1wJN1dvcZon9Gzc7bIYF5+YuecGIYlXw5DN0l/UXlngbWJh3UVEVkaS23bGExpKuE1GYfdE75+L2QyvKV2NNAk53TqPSa7RqwQGOCPv8uozPy6ixXGQILU9/XD9BnyP9cM0mXAiGxApppJDMN5/jU4yAzICoizoxZzjvyZg4y8ari4hv8ZnkL0mrxv18Bz/oPfFc78kxZji8Acu1FJ9UT0JY4hrpQ6PfeONd6WJ4sMvtPGSGenZMdytMe+rYMZeIpiNDQfSTfdWCGwMSJc1U19mr7xmGIlLykCwzYGx3eALJkDkHmGf7IhVi2NCEYuh+XdA9h79aYVMnMRMHf2ENLaehAY/PWC3G9QQhm7tOeCFhOseDtF/wcfbg5Ii5N3LbYj3fpUnEr+3k5O/26J3LtKejr45omkOl39cEmZZGMw8UURUawuKts9XEIGS6e43I4mINUfKJuKM/aEz1gXJLXyBdxxDpUDJaN47MwnOXPVppEVQFkLibTw17xzJ9AEYeOmDEWMrqqD4hpk5tW5DNA0VvDvpId4B/5HMRdifY2wq5xaNVKL1XY2qSXKNKjXJkoIa29grPkUqcTpRC1083YGpSY1gEMQzfPfqb8TfPMnZK3SasNbLiqd1Nm3766z0jI5SR7C36I8otqbgbmDDW+CzUkkXpWzg6xCwT9uSWErnvoTGVNE2SsnvENjlzIu0ewW5ThS9Y3kwMIh796y1jMvQDWxs1chXSeCUGsE/3VXEuK9EKcfWQ3JO4SRuPAnR+gZHPKT/8DbZdXX6KZROmztvy4HfU+Okndw8nVryPb3/JyraJ5I6nsrreYl+3sPjQSQykgtlwElgOyyU79/jSalHrlMJLU+rQUMkSaAOye1caozu+2Q6he9BCNS+8R4nnq2A/LT1hDOc07kXeTbxqQVugtarVyv4FhPxM34J13gV03l2Y8Iju3cYfTBdj96+u0F0Zev4YDTUuUBpmVyAxVY9ItDC/ERVaovDeiVdbyb/D1uiGDW6v3oK8+VJBx2DBNqf9En51/gVt/mkRD/vLRWMFeRypta5z40FMpNsXdA1wgcCjQbTam3SDx1ArbJWWpF2EtSHq8NELoyWx7G0f1IIZLxz0K7C5Il4AxKZ3DtTWVYgNpANNK3RSYCMHHwcLRaMoqwjDOJstl3XV6J2L5yEU1Zo2wqBs8l7YSApJaQDFRdiSFa6g0774o6NXUYSVww5xY9Tk1R6CvHyajAcJKhen1cV+i/pjuIF5XJXARKbRHvIVZ2VK6D5Frdsjy9wyAT+Hn8FSEMIrB5Q49bQyeV99vI3vLSDeEFhNp7/INTqwIQDO3gPbOqTm+D5h9JwzhuMN9ttENMJ0Ji0HprZIjC9X8KVcrft70oxwbIJJS/QtvFv2x9lEkNF/NPRgCUpsxJVbHpl+JD3PH9zdyY4vt7CFW2sgmwj8UW+SNg1GxBPv3hAU3nmFg3eFkIEQdRqUzELBBDd9G3VQ9M4OttLjNYEPyOQJPeyoW0wPef224Wl81bUgAQSAh/hW0IxcRjz6cxdAZ/ARmFcQzaKQ/BYYHzhrxlhTzsvEOuCJjsb9iMVen+VQwyzhQKZD1wluaBn/5ElF0aenx/7u3O7kd8g3rZumPr+CmwN7Npl9G/eNWZa9hDGCgPGeuQBTGyHcMxcivj+03ZEYmBpovOX+CD9L+SKMeQhq2/d/MTovmu/swMavVHkGzUvjIUv0T64gmGLB/oDcnzOZZlcEab6kb30dEDRyAbdLIwL9TQfv2yJJmhEoiLeob4XUkXGzSwThVrnD37H+nc+sEQDFEdY2smDS1SLH+CXrVPb7x9+JFkU6ebRp+ySQlsQML9z2EvDCrIa3A+tIebTxwV4gL6GpgHFD/1potFXt1APUAVxcGmWyPReaSI4JfvGxTCqKw8w8BZW2gPbc+pQctZqmF19u6ggSw+flVNv7jK8Em3jTotTkWpSDNsTxRncmIa/wh5xYTJgYxRz7Owl2lfhARRCS8y1U8vDdNMzlND/9cl4opkD5OZA82klEXwmwHgpNZTNaScJR2PhAtOCQITghwNt4/eRkiTDLXMAi77p0s5M/YOk/s6C8WZqPxGwg9DaeIkpbyGR9PftVqJ4pmFutM2xXHIkrIUto2sRedCcYuqzhBxKjQSixO5znw9mP/xOdqqMbcM8YlzdHliZx13BZWzDri4MgrULQehroNrVEc0iIqItpq7mV8jSuWKEAkwKRSXXZCpvZEWer00YuK6GnALJvu8rEd2jYoMfH8jGiyK7aFmOPp/MbNBjarlBmgkgRiaTu078bZtUkqiVncf7NFuJ4O1dOhQBhLkl1KAQAVyx0IhitZuz4qrQEpzPyYexlxv5N70eCj0AQAuwEgRlibzV9cNvcw5AHIFHwMrSEnfPVbYpIPh00xUV+DOOgNEA/Li/1K4wKOiAUGKaDc4H11XDWbB1SaCZegpmBGW6NCFwRpjlyZHyuu3fnTnPx7nzJbBGq6bFtfZHC+WiFv5fWrzY8W/h28RAiV9Wd1V4LQoLifE57MTDrBePGGQF8TctKaUSyIYfQCu3f6ZrOuCHXynbjYPnLInFmEbI37QcCnaNArtCToTTF7jCb+xF5eCRRrf0H8wMSdqbL9ZmiSCab0LTxdAf3lmJdtcNajF7qCXE2R8SCnZGhCi7G8WZIK9vtNU26Uw8APW0+7Zod6ekhxpz2kcSeZlIxZu2OO4C2r03Vbe9mCmuW4948FzdLyRcodGaIgY5RIjX9Y4NXG6kGWgonR1K99PoQFTdai/32OEMBPXze0z4SW8Z+xOS3zC+lJPGdaWQbIBCog2FZpaaxuYgYMhYWjhLbh7nk7WqttxOwkJcI95p4xe7lZxFeeIWgvSGvdp9IG17XFN0gLWg1n+uR1JIUQKy16AXxNubxFzfWhoeMSoE0AAcg58wUTEgo6dOq3KJ6oIHpAaNaP706Ke16w7e8f22/LQ0TyCruH4NAVM5O8Yb2fJP1glTxLHQAanfTBTne+h7WLEe67poA3G9F3jX72c15q93dD/lzE2Wnk2N3GgMDeQ7ftVFIrNM8D8bgsO470bBJh6xoNcx1wgwriepnTtd+b4xKIWDn57Jp53z2WzcFikazJMQXUlkLj1xV4SKw00U3qZr30j9YE8hlCzKIQG0FHb1ruPXPdGZoc2mU1T62yCm4W92RR3nXhplkcQpbMi9bNjFKi8fvaREBarrQZ7ZgtdHV/6GPde8WkInowo/4Avz88/om1Zo0FMI52kinDZXjFsCh+owWO7mKlJAZNwZsZ1NZs1hc1aI7gwo/wiL2EqGe9aZHmYMpbt+vP1+vfJLb3Pvn6kLdjDOc9AI+MYIkkyMUSahYVOQVwPF3LKSw5smVnQba19bYspct29IBCAh7nPt5t562JZBVR3jXX3UzAoTHiBslLTirFjZweICMsBCdP028SJolhjiO8KsEbKhS56vOEMUFKMZ4MEa5rK+PURBv7rBa94qUlx13Xt8bHfKVlq2F36KYUb+kA3elXYEPxaVabwowbXNh1DtGY4TeCcFKCOvTIqsgLIpjswje9Rl7Vbm8SqvkjfWJhBHygto7jlDMM8nmC5L0wVx0P4Txlw2eIqyKJFBM21a+7AQ/x8csf8+escpKJNkvI9+hOrbKkG+TkHYPT5W34eCNm15igG0mCIPhN/FDD4zeNkwvHv4Ccgdpw2QTbEJpZxt8llZSxmEnCn6IBP+U89RJATKCxcjERZrE43RRIQFMUM7ORtOCw89Qd3lnfNe4YJV8O2wjb3vORTgp5KXEtxphg4itvX6u4icLChe4UP2FtmL/ppNzkxCtVNEgqZsKSGRUYtKjipVbzm9egr27+lX+uOBUf0Addl/rSSJ8GNg14eUTNT4Kc4JXEJ4lf96z874dOmO4ZtPlEL+GdpcUyP3lE0oXrja2q9ppuUmv4OaNmJkulhV8Zdvp3yFBvqZjsVWhrc3Wm8CWOey4pkFH2M2yaEvNuuWfxKUVtIzDh7jlrsI7/TnSmh63U71cFOlSmRWy7/eiOxjtGZkn2RqHFNwDTyJrEK3jHA8zHV9A9hIoKPAYNxCa0+3hqMZffzcH24a1s1z2lrorYP1ZV9cRC2DXJlmUfATjy/KV4VFZq3vB5Ko6nSOuTLB1Fth/+7rFhmv6fLBUNhuQCFoH/axjaW8rAYtehxUXi9qoLKioP4u2pb4rvZxgHlZPzkIDGhvxGAEq3Xo76IX+Jzc6eYRPK7UB6795wPeyyn0HyAvJc7eHkrQY4zAJwRG6VoPThYNr2WENkNtVkO3Rof6TwyKDqMoTYaRhCjRqFp3mq6tVLpYBb5GbKjlJgAZ2NbHIZ3FJD1Ulsgf+FAF7zycUTuYWdfQw/ACJ1iRz+HkCJddx+Kzcj8n4uX74PXrcNJpOCKMv45j8ygnjdVdEISI99N1VL+b29asuYtWlexhOfVlbhFmqGUn2PM0pvF5pCw4ByWRXckjHtMF/7/gEkvvhF8l+Z93LUBGzfM6PdofLwc7lCzp4/iDfOe+GZ5XbEbzi1xUdPiEQUa/1771q8QLC0gMt0H3ItOEywpAf7s0MOI+pMXBy8c/M9N2AwmFq76g87mSLA3FK9DKYe1OL4DidYAcxvKUa8m3tBADwgG32AXbAvM3P7eFFFY65Vo/sLY2j6OI1+ELQpskskWoSkMF+XLEq7SlIBU5vKecVX/7Wh332uIX5dL7Rl+JjqP5qAvEU0UXxzmzRrGpGkDqRaSIyLqb8nOR0ia63TRVzEqWCQJvCK3vVaKPP/42BWKPNjJS3LPnSICc61gZoGU6GXVTm2Rx2bC0Afz1k9TGeii0cXfbAu9ShY2jACUC5GnW1qy9a3nu1jS8pF16aKR6Bqpngl4RsXjVADiPB+ZWj1jZXt4SRymVR/IWwMbLDQEpFGgUpwYzSyxh+KdcEsy+S0m/rLcK+ndOtt+QJbOvx+RGyPgXJ/V98vSzXCp3slSfRZRZcSg+V6/gVFTvYc5lIOHRLBOQwzOGYkVpRiKnfvFDBcISJUpN0L86vqzYEr+x/2Ykd4Ww4rv71VvxCFYtR4MCTbAQMDzKcOJlHhBJ3bbYtAzrldn0lGBwF2wWnwK86Gb/zvRQ4l08qlYlug2vBTonAtbB9aNVsdTvIGhyEmYx6kUC81/CjxGxfAAcvlYPWX1gmvcIztDIOYFyBXFZghwjWkqyE/uvfjobgx9dIWBU8Sd3BHPIqdNQ7QQI+P6ro2JmGeBy/kzHqVqeD036p2iWmvz0jQ0O12r5NHic3sJ1Jo7CVv9H26Qj4NvSbBtYTr0l/2eqmwR6EqobK7elk93hh559LGFsyh3/21w8m5AULOinteQ8COukCWZl9xmKLuCIwWmldx+id0pkNHQrFzDHNyx9oOxH3pDOBAhbMZzO1oxVl2wBJPaBzvLLtnjnrShd71vWWYY4XnTER1qpjhQ/AKRlEYNduRaqxUv7VS37JSvkAuj8pJzUvsYK+SQzwHA01WnBk1Kt+KKoDrTUHy6+a5JXAFYZeXTUbnPq5cPs0q7yJzyPM8S7twP6H5zlLGPu9SLazd+XP7TG/h7HCOLEkZZQaXilRcJYIygbpBdFUXy9Ggp2Z81N3haNWJa0xkoiKK5yr0SOu3ZG6C0WlgQ+3dI8KIwhEkOP8WNXMtI4TKR8CQc5c9zgQ6yDJjKNJIzGH2vgbICMXOUT/LPWtK36Anz2KpwSXtqGBcrc7MW/Z/fenjWpgFAqU8K//FLb9yRfr1nP/6V3B4x9pZE/LaPF/2vwqXqUP1H2S+Boy+jlpGvYnEj9NNlF5WoRcHhVV3Dwtbe6cYrpS5CztxfIBsqvJyNQZevr+QbKamcaVvc9lpQJs92eox2YwNW9vt8fLqjrI/fiUIFuNx47h9uj/Yl008na0cfUAJdKs70KxONmufKS5XJRmqDkKx8OZWba+8/0bYSQiRzyF8CLzfbJACBu8Uas1tQrzcZU8O0SrQPHmoLn8dklyY5j/RocUWFhRh73NtVHTkjZhBYGEzdsnYpzPhV3D4IroZLvEdjApBjFKUUWIJWr8I8nqnHnMitzoPe3Ntmg05oyhgsGoM2yd4XNpirT7d8vY0y/ZKOsJEftxgD/z9JSlNydZDD8NVlPU4nu/b51w3HWK5Ko9jz6smrqkz4Spm5VkOB4EI2wSto2yNDO0lCc1/1NSE/dBiu2BQ2gMU6cd13jeqDwNFMutqGmE50Gga03G2hG62Us/ZFOwuYAyTP/FwZwCRIctpgEyzGPwpS36ri6SNDSMcRYfyznwN6Y1fA9DYNzgOWJJsjI77e+1ajlh5gnltfx5LC2mqegiB8IshZBSBv1SEd5+sF9nhm5WXtxrShRXJd7vuIxHQleoPY7HV3OgHZTfiai4O9QB6h+s+o7Pd9BCBn97nqMH983sTAZxCOLpLbQxTxS6MrlMpl5q/WfEswekEvrN1YrMYEnZhDjnXIukwvp5/MQHUj5ykE7rpTPj/ck8q0oW3A8PEPP+2JuoF4CMqElXwnjyUhfsAlXYHeEBv8+rGtW71iGB+53LBZnYEnx78jXKXOgpmTjp0OlQn+gh4aAVqjlkTXdHwNvMAXbfQFVOuWPfoH3gO3NRvX2y/8WAdrRTeWZcmnyaDMMBmp+rHUypCTSpNszo8jXbsac+tFpiXR4F6O8vPkSoMDxtr74u8iEVSTWw1+0A4nxMOlCorQbjIFtUwqSAZf/HpRjGM8VCwyCAL37kc0PsCrPvL8qmvBa/N+dfPAd2RgyMzgorkG3SmM7nObAopr0BCdk0c/I+HHssN5gAbXfVLQN51Wu3waiq+M8sxfgDKO+2sEsYLs3F9ET3SEZyx/9VNCUoj2poRds854VWvvw/JkEBfbwulFApoqZwnt1tK8EJ8AL6tWNhEaUaiDiA91U/HIZwReIslaNzXtpnvRhqboiFe+4o9SAftb3shPV0S8Eu19KeEu1spNCulmclTeEOqIURr9tdgUlZ8KQY9YBC51zPd5xwRcznWlWNPmPoFxhDT+nqGM6dFG+x7S5ZqxbyrzHxQxN3TlYdN9PjES1SEn4SK5zdvK7QnQJ4kBMSrfolVItDeCjabrLeaXPwjEo9GAM8NRIA8hIcITbx6geCeEo9uOBqDVDWQ+sg1c6vJkapbRZmLn1wxfiVTgLqFjmSYGXGKOd2MRJaN9yqAgo2dQt5cXGE08ch4G5cUEVRLs13EUAo/tobd0ZuP/5CIYUmdUTNN2Ty/Mp03zJHywK4MCC1zil575YbbWma75B7GPqAYJWgBRAnWXr3PzdME/Ke7o8uc9JuvOTndE61nppl1YNW7n9R/QB2yG6hAB1c8CznqFtOOxwxm4DapVQR1jNMW1tTptxkdckfvoaafKybnPXllSwZ7FtgCW5JxOua/sLRDpf0gspXoS+IN8O4+fWRUQ4ID4MlUM+6k1FWcCvilUFDobsyD5o2IG7aMkAmXoan1mlcBY2rCUxcNzxqh3iTKCwUEtd9kvVM0Sf9XswB0MYyC2qVu3x6MefZDnXLc4h5TZMjPacalcR5jjsmoECyrLMb3cerXcFfmfOkNse8BmL2lVY4eksYttb3uCzTJSM5m6HVnnk3b9sqZw8++gg8fQrX5SVsFRpR+j3xWpgouSIFt4sG9iL6icLBsi4Fz7xb1R69oc+r/rc3KHbFso+6wAB9IXXnRD4WfJ0XhFWU+VfR7nES155Yrk+FDw6xXlwLd1OcO6rI2818VnSfUb1Dn9b9yoV+5ChAFyN20VHsHXRBWy8PdcmDWK+bUfrtW7RVYdBnCq0gHRrnElqymLraE9hGSRqtJFwRDxZUmbMpdz6l3RFmfmvwQnSkrCDXTgINLHqmetxwEuLRlKR7a83bG+W2Tw6ohxtW07M7mnoy3h7buurOSTq2NGxXCVdjLATyXd6Y/yyeusxxQyPR0lxbS8qbaF+uTgZYKYXiTTIMMPypCCzoyFS9089s9cubeZjziEjWUpxgm5vpYqu7Fk0CL7f3SIn6wc1ERbGYefhc40qtA6FsCOpYXqPIR4ueFyZ+mwWdxJPkelBzKu1DS6vmnJslLJnBJ/a8+7G5QdlXuQ4CuNEVE1ApSWE8BPiGEJ3F+e/HFRf4KBg008q7le/NrMO1tUuXs4/zFAlLTInp0JURX2ZGzYsDUMcYHwyIQvhJhfq/dt/Igy6ZNsjliyZ81oBj6Wxf1CP3dGUHKPidCv2cYYEnTuHdfC5vN7XWIiha/geH22TOm+noO6+2sNBQQVxvco4rHSTxi1oBDHakvNgDGG3hLLQMXk23Z/feJIVArDZStzjpTtY5i3uBS90Q6P3zrEYzsC9e1UDU0cJtbSZcEnWYKTqFXAcWxdGNGsqe0kIDdTNPpuHJJmZkd2at/dafSJgKEBCGC/blMjxVAkCUYHb20XPgXIHVg+gq9ruzo2eGt5t/T/RwNRu30CUrZaOK+oWL/yiXCrlOfshRClsThFQAEdBrdVDA2Lik+OomanklT++v5M1b8sshOx/VTMmEPYs7Jk3F+90dktVGHeUk136iiGJMn6NMlLK2ROVKiuBvzL7JAp8ASUU683E/pyt6LxCkcPY+gmYN3nYqf1rpmewSA5Mi5pzaE3CoxzBSUNV7CA9NrPIr+959k2CRY+vp8gTnJoIkQbsy7vYTNL4A5xMqla8gFLAFqmpm5HfJb8CzaRWMK51W0Yviuu5sBgG6Vys8ORok9efJfIA/hlXIkmO8XU6ukUmoIv4cWcPB66wDA6P5DUKUny49QnZh+oRbE0HWYOp8iWs9BapHOnO0LakDgJjwW+W3rp+LwOIWiQUuBzsboArK6wZTH3jxn0SYmwsN6lcrHGoT7HhTLg3oHN2GbLiubhCKZv94mwEJ+0AQSU4xnbb2ZxZ1BusOuhFNgB++39BDF/OmJPalxd0ZYuUGiJBbtJe1QfwKfYrzdxNu/kefOOuTH7ZZ8Dywr9/YcY2CdgvRiGItyGsD2roBMtVBnduCcVWtagLNlhn/6qttOIVmseBqFTz38KwcpSG1QcF3GvsuJuAc4Rd52KK8FVyjB34NDmvbnbJvDa2po5KgMXX6vPKKUkCdtoffQ4o9KC/nZBwMnsw6vR0G3tKwPxFak2ZCAAjYtD3732UsZC4OmFs8qhOqGlJ0z6dPUvfL9i6KPmS3kKaT8kc52/53/kSNSdIol5wtN20iKkgpG4AluW0AAZpEjXOr0UWTN2hAOjkjPSdgagLCNWEZW20E1Go36ZK0BnOPTJ0auNb9zluJno34VRYxpKo/cIXh8F49PB4F6JKP9tEYEGXMdwCdUkie0SkY9oavwzYB58J5jUDCxfzT5I76bPcuSnFOArAldw+ko1SwWFYzdj2yNmKjpQqsV1GRHxHJobqr0NHj+m7tDL+96t/jn+qEd5hWxOqtOboCWqyIT8+9tT4qsFtkDA+FFj+2uMLgt5+sbJNX05vWSWt3fxAC3DJWpHOvFzWUxek6BXca8+JMxhITJkgLjv8tQWZDzb+T7eT9yKH4d0/bYKnkO1eDajR2Bo9MXPKSswNbf83U7av7YQuBqx3N06UT5ifcZhOEWVJedYll1bRJuw50/Mr5ICYAoFUniRZZ0nNOLjnJfpGVmbiMhlUWCfEeTRu4laOTpuajshLqrD+7l5OHo0A1aYDM54LFk1rKrmfipgTDXNShQH3N8QdBPJfpr4kTWXjSmuzhbdXrZJ9kedf8sOMDHCO91HU/jDc4dUtx7C5jOk0v4B/fPNJGpFildCb+rNjSoBAT9/xYVNLxhd2a33pbr1mTbSc8YddLws9qaCAuutrb+K4cv+vEHjwwxvz5fed8VQCr6uEJsL81nIznAOp+hLIA2RMhPLkM7lhTD4vp+GEouvwxlx0lmxsclMgcoE3jcmGIbhW619wRylatPoZ2mTBB3AIZtiNYlcwCH3sBXFkI3EEQ8rglbMFcGx4B5KTVh+1ZCEzmFeCODs49RUPb8s6SYO5RCk5a1rZ6UnoZkKItIrr+7Jketm5jrlI7f3046AhYwYaj1xlrbvMh3afmEjpjj3h8w+k41MVdLE+YD351NveXYw8fXhIFgQtlqsX3QH3Ef0Xkda3N0XhXJ24HoKbnCECCYShOv6L7FXArdx5Uv8/a1DLAwO1O9SPd02A47h6fPD5GUYvr6UJmxS62hmeJzm4SoTz3ATW4Ofy0tx/ko/YQ6/buToGr6xK206ZEB3PRrIiXNNM01Vru+tvmhktIvmOKSEc0lUpKrz821W5J0nLGWqV7Cw5pU1Urctcgc1vwNmQ/8tDiQODgrlbkDJFIbCzeI+PDaxDuU4ESrRPSzpUpQpqgUU4s7EzzDBfWhhVfSkXw9OPq8ELxldFgCwrZKAVC4uqLxJWSY5NCd8sEyZt9JiHs3NyR5CvchwsLexi9HmhRK8E1M3loBvxpZ30MHD4b16daKgVpUtLPSeB8jySXFfjhH2rHiSYSeH7muEdyWfnq17L5FQX2akIUe+LthmE9q7YpoDO8ZQd6NIYSjkNvOk8R6Oj5DlYPUx7iE5aB9pPsqXA2ZYpXUCXgC5Kq0s8brv98BaJKCxTZbrhwWhQaOyPXSEBeCWXmzu/oRDdPkyV0KSCqpbRRVRC5LgEHomP5kdDG2z3CegmsZCcdwE1V3SgWELWB0D148ZR/O1L/ELWCLZBPaTmIyFPkME9z60GK3xCNz7KqcKZRklBJo4A/cAOXPjoPn+5bYB1HwqFxCTkmS40uAlYry1J60hPpbCO/6RSD9XDndPrHAHwJQdvZ2uPWtk1zJD0cJNhkrEaTOgnnNTxcx6VUAomh9JV9I1GTJ/tN5OpiUzL72ev5yjhpHene8PhVnPMuUC0SrY7QEOZYAUkQ2/fLr6Fla4ts85QmttBYCBtlxYesa7RFe8HCAIZYy75CsRHdUcDstjMMFAfBUh1LD/D2AnskqvDz00Ety/CMDN05D287NUbyDASr4AmYUtyZ/Xk9p+mjmMra9j0vRh/OaoFWItYT1sWK9SSL5Z9+4PM3UMtZhEALhmDBvvC1qbrIQRtS2WczEC0we181qpIRyHbsPS5kz7n0zuAJfiEdBjngBNVVbx0kS8I5+dQm+Xeu+6FOTbqq86re0ZVvCMnWyzByZqTappptJ4KAunWvzq+CyOo5Z4Nc/4afDeh8UEO3ye37GkkDqv3fP1KcICZg3e8gqFQ6rJBOmuHU7PvIVVw8tzitIComC96yFpH+aP2StnGu+tKE/6yEaTaBy7UZdO6hECouhNy0SwYVQ8J68smKrBHjTILjQxu67TTiqliMvCjx3/lhStmQSkNpHLV3x6mXgVpX49Q/9uzwvET5HqTA5o42cDFTcKBdorqRIYE080aN/CpwOGLGnG8sOSKBauXA+CoPdjnsTHELWYVkq3Zcwo2Jml/3tchU6H9lqAHyX1/YCGU4CM4EnhrL2TVUElw7g9/Hnz4kjkwwLyZfEuvgNevht5itJOh4h985DsAuFJjeDF1cZ3MFXhvx4V5GOOX8CcrV/Wsf+jjWSORbAtXUMm/AqiB78ZjLZrBt4XVp+T7B4tDaeaehYeM908Wz7gJLrOGwaM9IW7+IZ5j+5JXb+HlGWr65+kKOOyK0h8lrduv03Z7uFpWgJMv/qw4RUmRvqs0jW16iE7ArVujoZ8Ed7+6U0cJdX/vjN45woaecp2RdHu3ml9oPcYidgW4ihRXOqgWe17Zv7nxZCxMoIBfKRDe1teESDQdQUri3aKMCsyWSiR+owI8gmsk8/OoFCSvNMHFSFz2UnAk1T8SJZWv00r5pecLleU2BZjgQpNUQ2aiDdp35lATNgk2t10Ir09eOjtxpcFDEuA/oyAXj9rdbl+eqi8a7QrBbNjScs/c0W9C3MYCa/7crm75oox9SfYC98PuJ1SOFDPxFDpXmGfxqpywNJOodjKchnZon9vSWdnG5Lcv7rNORIpDQA3qBD/SsBX4gwjbCuapmB6HVJsaWLq/tIr1TIX8DfEr3TguBUJRl9X1XAat5hKhndhxtQ9y8dX6T/NI89534MGz0T20Ue4n2FEGn7GMKpwXc/dSQKAWR3fQlanpCKYWqhEPO7NGIwZwWKwQUY5tZV06rBeF3fQiRt+r7o2A0z5+1yhb3j9FFMZHq7PQ38i4Oa/zMJQk6qS38AZFI2oo0gi1tT0DZb9a4oS/Va2DNImRk/N+BQzK8Kd1UO5uVq2mpO5C29Bn4GMNge9mh5kvnLI6dL/k9zY/H7Vq2uO/i1gkQWdsGTGH8D5SNsFz3lPktKN66uxl+pV212sPlX9+cd4RKKUDZ7HAgBm5bTBnc4khzcUebiSuWq1E6A1Q3eLFPET6SoU7N/Cpbg+yP2H+TI8/Q/L3PupcDXAqB2qJDkrqQAmhcoQxer5T/tKiQ1vQMl401J78aGVlIs54Lg5NnWs6oH2romzZSTDtbm9iRw06Df8B3sjbuDrQL3vLG+PKzlbQxGwKsmRn7H2cCHX4Luo3FZ97Qq/cRYN81qivK514upkjNuB5hjq/8ywF+6GSvMFBvgZx4LJYz5SaFEOjNZSdjEmvPGz3T/bkfn9PL4SX7g/a0Cf5iv0Y7CKPxtd7kkkBKcGCuHWcOnuJ+bBgAaRgC/4FqYR4knALyw4vHRJNWkioP1D+1vphAC6psf+IFqIr068PT36UQC3urL8Alx1QHBp2rrYn78uA3DodTuJCL/im10No+OUJ7HFws4cqHAY0KGlVddwae777SKTZKrFZdkDGRRlR9pB8/RG1MMT0Kw9RO+Jjy7/Nxx0VpBf/2UILhZBABptMNZSUHWa3ZUJ8dWSw9C4fLJDyEim47EaAqIGS7AfshB1MdPvlecP4A48+pBQI1ouaBeZNlA0UMqUzypePHdKj0sgerdtxO6qZB6RMVvAi0KU182lUTgcs/oeeYxxYh3AxOdGwW3cxGy51acPuOgC6MFVZxdoA8kZqTDOhdUuuI7gGQB1I9TG/o3hmk+Bj+QrUwQk6j8TO1AJRTgdorDt1cwiJUgeUdJthJgxRqLoQtBdOXQsDcs9jkPDqTXOBdlOJy2W5+v9n/viBGEvjUJitcwSBwTNDz+voprTM7wmYUlSNdXNfTzSo+UeCFIYb3jPy1ZLunWRw29c35VjZH0gnidDkd/fW2/VDHe9R/3ZzvDBuIg8h2VRfU77li+9UhSLFMW8rZPti5zgZhHMVhR2cBycXvM4KvusMghAFla+au40b+Fl9m4gvL8eGbLF8XzrsnVeypFHXbbks6sIKeYRmPZNAxKx8yVWaF9LwzBtHXlKqR5dVfhBbFNbiLvVxyf5zmLE2hq/8XJMrsiJYjTipuEiPA5de3VVFGZOAdUq1ksU5bvyKnZXYoQcLufIBeQN/Sx7FVnsa4Tp+HXGuX/cP7RWFFL+biGbaBz+ONKS+CekcZym4MperCXQoXt3GLFrYOoLNdnEa9miMVJmBQior2dCT1ABYiHxlRXni/xsgRlJbXkm0p2KLI49sEbi1Vdd9Tn0OshjpiJ3NEiURhetOUjiYnbHRIy1T7gluPgAZZHmbQInoxRMdHscWTN0hyP3m8mJ/oirbPyJ255shotZVx1sVfbHz7YKlY8gvSUcknlGbTQLoC7ryMToj3sILjRi0cVIztdulfRvObMMGJnjE498I/TOwd9NBtneBv4CqMxQvIvY9pPktenzf4T+MM4LQa4rYFYzGhen9tXqov4Cw672lpEWuk8P6PIjCI/gO++tBH2DzxBEI5Jl/lIrx/lBuTW6VF3DOdVESlo/MaEFiNjHp7rMOPCYceoGydV2+YlRsSQy+tgnQ2N/DAaqdN2CIWPXuqaOeNiLleKuMojPi8wmocR56dllqhJnsnnCn4ePm7kCwF18QvIa2jVc1E9ra/59ik0rwoPMPFuhSiZ1pOzSMfWPgqkC5+MEPLiRS4fTanKzZYwk8NpLW/B0mz3K1tgus20LzVUldoI3rzHguatv85MTtnw9sa5g0FkB2OujovMO+pvlZZTOF3iZg9vy0NBc0JFI6HBDXfPPvDpUHnupzbKHaKbytCfhyaIeOXFiJ8wQdxD71+X6NCSMSVT1egYapkgWpXMOrYLd2EyREEpneHnmGPANMeYc0r2kevm42LavzWPv34KlY56WRBFn6dYK9JQiVUiWX598a3RR4a5jBaaQ/8Rwg65ACMd50uJ2zo5NfnHOy8CMl0ZKFAjGExEvrr/ABubKgDAFXt3CnmrYK0ny2s9T9otjw681HhARtaF4SuHMmkXqGE/bul1Y17gImrRti5bCQvFgsZCqC+NBxVO++sYc6ss90PKDpTjmwJk1/KtHq0TCX7jaXo203bxiOU6Srdex7bkqVSyUlI4qgchldW2Xni7rF4vxgCVXfMvmIE9acEaVLcZ47L4WSzHHUw+OJC8sp+Lz90LBKXAnLzam48zi516vtFGHEzWtLFYQUJur8p/CNOde4zvXE1mKk298DREyUY7xPb9cUA8ECL3/VVHlJ7SDlZ0b+s1a3C90UX3BnRYdopC8vb2/RjiqLZ8jl0O0HyFuQ+PW2/bcDgVDr58wq85qJDf7+QFRP5FdKXEUlIZrTcC4BZmt2SSiPypjtSqHpXBOH8g8XRXEFprKP668JxDB2hzeQgPVA8yNwlSub1W2LScvGERyH4N8BN6ZqgKDSzoZok79FP10XSNjy+yjyk9TUt3RRnTEs7/ixbI7D0MBAMQAqWw1S/PgLfPFbfA35a2VhvtHWcOTtQkjIGmeHTKuex50aNkBpIp+t56zzk9J4QjD9Oh+wjn+j1YYgP5GO/fOzPf+iRzzr15x7I3QSkQReGxeW9abBeyCiVbTg4Lb2Fyf7ksLt6xu06avLiMCAJ5j//kLfrliyqNNPQjhRTO2ZLBSwKCeTVMnD5ui2FqWBZ8XJn9N6X1EFLhrTvcZSzLauWAJSdgUlH9CbD0Q5KvSj18c/AEUkjMg4Q111X7NvMiwfpqhsmAdep7II7iAXUnKbSkCvesfD278NrrIl4twWO8MV7RPWq+UBlda0GayLuQCrCpL6Z9DhMkAJmDg8IB1qPa6XPsZ+XDs7TsI9KI05spm8JJFvP+H3DpS2rqhTxq3NlhwIgBnEmb1SkWKj02U7UALeTfn9xpQ0eH1b85DrFtXGwjj6kPksvuj6MLTOL5Lc9hhqe15kbJrQPtw0L436NWZwsjiNgvUiVKihjuEPq4YR7kjLCVy5bMxSGIf/xksSdbnO2rXdWf7K5zvTtq0QVs9AzckfwHL+u8+ISoY4YgMFspZZnb/EYnW4U9DqHQRWTYiq4rG6smmkgdiJwRHlPSeiGrL353KwREnnZ0KteM0dlNBbCX237pgV1Rt+1xeMatCSpKfeFBsEK10x+xsacuY9SehBKCiZEoXdJZ2AbJ+n+p3O24FRVjA+a+zuWGiWnAZ9q2OzQ8abd5OZ9sStnLHKGluYN06Ym6gnJEKaogq6d/uxnqzMn0F/CuRMppkzdppuhG85h52ET3W3T+osFZFudqfaN5KAouaeB/ATn6clicEi83nwK5p9gQqLVGs8xML0vkGg1tZThmCRu7og4pgFIvSElUrrNK96HfBYbx2/g44sSrElFLcH9yNQbN2MVWqGtJYExh0WccxnD1mDaFUIGklODinkrQSrHStupLHB1cLMPpT+FZWciCi3bW0Dzdntmnx41vGgN6266bf7b7VT62eNOh/JvX8+HfDcenyNjnzF6wvFMSjouhECwkjVm2ZS7EIwwoYPakhPQ05lviBjvGPsSuIVi9J3LLO7Hr6boiJJq/ik7rms/36cIZpP6mImtOiPJ2bkUBO7fLBtTSVwe7+gAsTo57R+CFv1RPW7hjFfUASZYmUQb+FaFr3VOJGnM5JlayenuI8O0vp6J+UXneIfs2/j48PSogeOm4LgtPyT4iTbuV+nWHWNvWAwkOggpYVcbjbOOu7WnZCDDV1Gnk+P0ULuN7gV2GZnUQT8ENlA9zVpKyqi8n5Lq4Bnd/hKht6DUivWuVtkQpHX3ZWJilR3Q/ZRwV8XlbhLEijwSjMZIA8QNuWXpYWvEfaHHDCwI8/UxHYiqJun43aTxKO6P4EwPUajhJxd+9qk4h+bAflHLGXB079M+Lye8S+NCT21puQd6FciAbi7twDtAbddfyUx1aXhXDghLfZi5XQODuyvdwDLd6veyyAgbN2NJwBb1Gr038Kodbh4IgUqVyvGP1U7bnhQ4w48zaDZPvth/ygzYt6zJBmu0VxhvKcdbgo4bLHILsDivHeF8N6S2L0I4eo9N8od03HgDgPIHFlkv5Kmw2QJaEXn0RkbO9HXvNAGwm0WjELas41Wb7WCRFrQeHU1kru2YGgqVQRzFW5AIhikoS/dTJLiDqfivZg4827XPG+U2l53C4uhAiNABxmG8hfKYPw9/mOVqcjYN7eY/Hrd7JzzzqEuMuKrM535nw4lPQFWB7H5uoTozcK8yLva569MDBDKVFNvQSVIqLhmMacfOXAiQGOFqV6QREGieGnYBV51pV0sU4foLxHZLGddBxd5XK8RHJJAaMbzREmCwo+2GZ/Ao1gRGehdlBsoMSQnfberGNi57toakktMWFtVtMe9sRmBiw79fxkuEdXYX/XE11vXDcboUP8HW8pp5pugxnh5sVftvDR/7GWY3/sK4GpDXwHuAYYFAA67/d/R4cCdMcGNhlYTWmBv0Elfs1I4j+LlF6AhxxUcXS948GYrTX/6DxyG6geGiEYVSI9xRSuDW6mt0HzO/uS0/cF7Ls3OOuMOi+5ekHT67mMmcznRHvoKDoR54V8qtyRloJXTih+8mx6+dBhOxzQYm/2H9u5yUwtrjGACANvD+KrsNs6TRZSJ7jG5z3UuVV9aywoW7Ho+0OOGbtMRGem5dbc3fCIlaRWJ0qyR9+PVjmF3BUo1ZntC+yNVTb4h5SGOn8pV+otwNxWXK87lxHIRFdXb2+bv4c9CrEBDvVk7NbV+q0irsR6IvnfUtKMtGDJ/zP8jfdUSBxCi9MjP8QQ4+TLXvld3+Ez9e7oO94K7JVB8teTSsazC0Pt3PQHZvJvppFTsi5whi0RSCNO6JIzD7ZrIDkIIiDuTcg1A+q7zppkE+zs0e49lO0ZC+nLPeGxZMk4YFhy9I+CYTxNyUhYeb6dQXRBxCHd/eJWqpP5rlkUL8JLbzdqCEprEU9zUspUyut/fMMUexkAM/dciuXoHvFWeLacyVnSag1TDPTIG956APLzojRpp5v/ytyqCDnuU6gnyT6gOlWvVi+y7NJPn7m6ZAGY3LF+XSqwpi6tdVWX+i/vamcmr/W/TDE/+6V+2nA7VN6eTBiq7JqWZrX9Ii5O5EBW1PMRl7rMgt05B8qDa1EBSfNmE8opcGmIcBodSxapI/+7Iua22721Js5zymalSa5MQZdJfNbSxl9U5L6KAQzL9n4mSJhKZh8SytXnMJLOHKZ1qoPDxT3JyYZbwM/EuFQy0mpb+WkNOOdIfx8K3VbK2lWKCnQvr+49iwrAM/QMjI5PmUWEwyTfPAdwLId7Q75gqFQX8DhtpiHdOCjOInzAJ19UNbLITTevaS3wkCsJhYM1vIJ6Qp2F8gR8ErVTcevl7TiRgs8TBfb3oCxP7zscfyX6wKwCMlhrxskd6Qjma8MMmhdrXKFC6L2lplMR1RSHgwbbOEoAF5iA+TK76UeZUtef0ysVhiMfz1/6tk/FeX82wFqKsWqdk3YVgFqj+gvELuVKgmp9u0OapfxjCgR4CC/372sbfJDhbZMIOCxweQ0bpRwQU2LgcR+IRQ93O4ZmsZqnJMNYFKTMh0CPD1yl7GNyHEpxlJzzdiGiFL34b0WNwmNSq1zM6e9htJjEo6UxWHIxmxiGhLq6/ZDgrpsFViLfNtnI/ajMBGGyH1fRafN0+KtW3eDhzvs0KXGBb9uuTYImxVoc+ND8kXYZ84EM5H4p4e1yVWA45KPmzkI4ffTY6eo2DF98WQWdqXliZ9JncgF7PfD9+5+k4J2Nng1DJG2l9uAN/svJsce37a2KeWttCu2HgZkbtkIyV10+rQyCOdnraEd/3ttyu2iFwyOItjPADfYfAtWGGNmDrX9NGSw8cbgJgjCQivInWL06sFknJ3ulicfwUGZeT5gUoCpqRjuHGi+Otb/cft4RGAueGUqvlrYn30aNg46+o8UBm/fqTJTnmEGGbSuGgo+AyaEFsRekkfvOMnmDIWxroJO+vPxz+mcUMDqxAbl0EZCiTcn7kW+LQ4G1/qzbCfGZxqTtpaw88S6o7M0HTv5duUkDWtR4nPl9dv0ZTLGVw0Ki96ib0WmeIRn9n9kURjD+D10dDuVMttRSoRO80t8iI0AhYbO4nNiwctMj5NZ6Ue4AjsXyK/5s1RBvyOitE5WMubbT0afjjzORR6e+8EFr21aD3i+H8owVJcf35yd3VpjxZ7TBg1yCERJFszo8uifdqkS/6782r7EoGgWlSo3z2D079pBXNiH1x4gfqdqx8ROTPIS5llXIaMZS0IwOpGrWaRfA0i6BcpQ+vJ/olJOMYbscZKK/JVkeJPQSp8tx06qX1D5JZkbX+yE69dt/E58i75UZVeNckFO8xpKO2rvDqge7m6NMJfx5pDhEW6PfZ52/wXHQjRpHrC5+uPrLA8VZnwnDAPfd+d5fTaO1t0AY1m0ip9N9P/QhZPpNqsmN1N5V7izgEi7bYFq5Cy9TIzbDR2wyWPqp+/H5tiQgkvbjv2cEjv/XCoMGCmsWe71Vrttn0KcqoaKNTlh91qde0HVEvSlEuCm3KYdyZI3zDU9wiImlESgUaaUsAHB7HxrX5ajDx+oqMzeIcw+lOuTX0ZwBzrOy7aybx+oL8WuobfiUMgxX4B6BKo5mAngrA4hAhEosUXlX34fJ8Vz3ffaQtjkco4nMe7tB+1RyWNjpn2fFncq7YPansoE3+Pswaaql5m6cO6bGAgf/TceG9TP8B+e2FfHyQ3x3qsEWqZGQbYUx5HyOHasKYpvf1NBoa8a7s/y+DQh6ADIgiolQ5Qbsw8bVzyyaMQJw2d6b2MhniSB715qwhRvgRocHTrrW2JvA9hbrDhksCkGRAwqOwSmUqmKyk4dym4PcdECT/oYi0oyx8hHQ1D4u+uTjMkca4kPL9CEcOcbdkrIZ/X7LQBamha14i2PYKKDSDmW1mP1wUS0de9YTmbUUTy63wVxn2dVpcrRL8JXSdmhgd1P/V8bvc+fsi+DQcUe4GmfD429383d339G14YvGI1BSUV8aR7KGy2WoxwkvZVM5HFO/4Vqof2Nr8nqIBIEiavFZ1HwzKAu0liYhmSjaXk0dvBHFTeDS4FP4KpQuX3RpKwMfPPIPk8DsyE2EUKjt8i3Kk9iaBzw0LAgqzuaZYp7q8yWUS1NNMtbkP7RpLR6+U5hz5RpJNMyxbU2FBAd/HbRq8WBBVlT3mLHvmRkWa8UnzUFvIS3e+VJzWNCrnIYi+1ujBEVwDzgCpXH8gVOAnHJY9iYin+1OEUA5HC0/kFGIezC0expqb3pHKIVLNrR0h+ZlwXBHcla0T17W7/wTOU4nd/CgOrEQURif08fmnHErZpanP0/dAEBKWu2KEN6yhT4m8IYf/CA4vrsysfLybKvI0Vz7gf5zBx+aQMqTKJCiXhjz2Y+wnFS9BeN+u20QCeMwecRvreckD03WZJVMrEfFI0Gr65kwt5aY0cQCqQvz4uQiVgsOme6FnM2EXDuD0FhtpwCaGn5AFFASBjwqehbkDpTQ9LI2xYGoTKWSJJiVEvMWe9QAteHNzeq+lNx+6XWIpOmUwlFgrZVCOYkIMQ9bUeJuwVYP0moQgL76Z8JhshIkajMEFdRg/cnPqjLPviDO1ky6sqpfTy0K6mODCdP/nl87Ki/CzPzwe1PunED+IQXK+iVko8FWSESLwndh3cQDU/fnnUNaqlYeHI55P91ijGlvhcEqL9QGlM3w6oWAxGFKSB4AEwyfDMIidDso12QQMWY/XWKyAJ7wYiQ49Z2urBMQ14H/b7Nw68iYgy4dkZ2A7LZFttFi/kRLVBHdHT7JwQdBzjdQb3G/VMJMyrb17SmUe7QYC7KfiWBcJ7Kk+BCoiQQv/PEtNSMlSleOVhPS1s78PZ95cULY4HE5K0/QbdyX0mdgZJBYtd2helU+5Ah7GXiHaSut3MTgaVAdsNkY1eZ3rLCiKAc7bBiUoOoyhK1Knxt4e8q77+fh4E4btR4+0UmMUhWfnu3pmDge3QMmlkDcbDRvJTG0+jwsa79LIbsZVg7jcUPFRG0tR1y6mXCAC9vkjB6zenqvBKUi3lqlvpnVZIMo7cNa1bjH7Xo2SRMEBxOPG8z71LmsjD3gjitcGX6WiokkrFEEoq++ZSfRhLsqPUF4BGtVxAP9mmHhGDskgpb53bXaqkk3ymEH+xkrVPSXpACbw6gJ4pKL43QDdT5bjk98i+3uLunLpFyRtZWjfRaxVyi+b/RLSsnSD0qAI6dozt9DTmvqGqsS9QkaLukG2+0F5Vd86I46PNmVu+viZfUhVJM6UopRIkNbOqupdw9rC9cRChfFxU3+/z+YKXxPTJAqpSY13npdX2Ut54BP89nLTdrrURx/ZL+hwMjrvOzniOpvnO3DKoKtSK4qDEa+lpMK82wXlKxOXR+P0r4ml6fjfrM+mFzY1KSn5BP3O3EGA8atYds/Vr7KKI5v/V23DRJrt8KVYKWjDglId8VcBptpA9ueAhWOp1k+a+WhEe6ePVF69AX8fKw8wJsJBsCu4PlsxDCouEMqFVGKZwca0IltMgxGc+ZtxG9RDEjEUAj9od/+moW3LJmvW/7xGWp43jYIyUg7PJAxOOxKCy9U38Bvx9YTKZKFC52xt2C+LRq2sdnUFKjtKD4GSCBusth3orF448HdSKf06oLq+cDgHx78UpsZ9ZddR/H0L7mXchI1XaOHzV0nnTJZWuIa2UrmVBLoVfXq+YlTjgeG0gM+L6GH5ivY2jHx3pd0+IWyT21qyjyOi/FeN+naYD0nr94+/KRExpaBbMCdH2BCknupSo+nB5UqeP8r7oO3MeH0ZjnflGYkzC71dnUQOxUF360JVVx/ZKm2daKVkDdl4EpU2ZIrKl8CUI9KYcmD/DhJ0KXO6hzDaDE+OtXZtIa2/vrsVUmO++vcN1x3RAqWatCvqQgc5ZednPpfx7F1Iosu2u1kAf6QOA4vX3SQkJTdbtIBeQto2fsA39+998Q8Syl248ISQihOexV9rOBpnSCd+y+ofKKmvnrzK7Jq7yqWRlcnLDyMfwstANm7sae3eBBSUb3MJo0+BAMFG+PyG17GV4J++BRB28syp9Tf58Xgw1vjJ9YujIKnRiQi9OrpN+LaLRu/PUHbl5BryZZTPOt9tR1iwiXIbw6o8g7ezY0qB5c6Zd23T0wFFFg+DvKqrDtxt/WG45EI+v58bCJw+3cGGRbMxcByUIGELZ1G297iUtZ1ZbVYOweXDCGThLOqP8cnemtNWM35fEB4CzfQBfZGVes9X72owmDKDOqc9h6SV54F6FvbbcabsaNPaILrJuKKLm0zkiqS3fi8QhmB8VoZJ/Uy9DLTr5P0XgGkJLJNTJM7LGKlSRJwyJ6Wn7M2rYwvClWm6B8CxdlWTCxAgQg8LYXRcGN9a8c9W9Al7WCy+FE8OLvz9YgcRrNQaL8uYkcaf5NM1/Eiczc5Xwl9PHm5OLj6RL0vIp5EmE8PmsRu8OYALWwwgjrygATC3NHGr+Xb847kNfdjvmnvgf1pfm1aksK1Ou8HRodFy0qgXgJUwv2VrUBBFq+R4oRTkKkmtnmqPbAKpYmngNFkS6YwoUsND+qZ2VVu2zm8YUj3a4CqG+5wyMN2B5G8e9O4yIHmCWSge7ryx/4NGxxu+M4ZDzPC3Kiz3qJuupi5ehVDYei4xj348k1R2vz/nR838SfZux7dGcoMAW5bCEZP1hLA5Rz73D8/n8MYgwzkh0gk+4+03fmcKFgxabbuX7zI0FHgGC0jWQzbe36z1aEnH5nXAIX7V1S1AemkClOQ4NKLtI6g+hBTuWpsbfRkxQ4VTgUy7p7d+rkYTzxuhO5G5/CqKiZGRel4ASO5OyFZKdt0zFI6CZM27bbbX4uKR8wNQ5kSxmmdaOFQ5xhf35Ji9Kd33uyvKi509Dz4vPSgfX9qsi8colbeBkmOE9nOWDVP1vQ2UfYlFcR4xAt0x/FFCLapgOJfQv15kdPlsdEAS/p3RfQ+pn771TRIJD9gHTGbVwzpEmnGqMm4fjSHjOk/5Msnh1k50hNg35jVuXittI+LA3l7zvZJnBfRWQOOKDaocq8kpFYKPDzUTQrC/IkK1WLn7jxklu0i5YgaHp4JJeJ5Sg1XqsmnfRAPN4BHm9wNEAn62dH6DZ+WngMdJIOQ+3o0frV6XxnDa4Q8zFcFKSU50z1tBXGe/F2MacyKAAFFB1StbjfRUz/cGsZD5Fz/pEmuQIWaCV4pkGUG/t7i1aDnUM3NHUTVgOa5s/SDLdbF3efv7Ckk/FDVJeB3UWUEfuCVbRTnD4z51RpUXyoQaTNexKPqrK9caYc5diOxxUp0kE69PiMZOnHtRn/lj9a2RujkFvkCHulIzRscWGu5SzV+rVSOsgT5vInAw6/kkCiXIWisiNfWiP+t5NSM5fqPjtDeYy9mlsFK1lNcBeA7TXu7KJvf7C+uqWZSRidnhAOPCK3lt6kp+ENG5Bc5Tk8CsIw13Fwlyd1kvrFPa/3a3/yzVSYHMFvI+lSl0HOIV9OAsLTHPi6xUBHlKlvuT7pqvZOlbhqHYHf1SE2b8+sHJwuBZgH3vxuRr2EikG2gyXUBBokHyx6VB+OBNpDcBMQlxqDkmRu2+3l7zkBJiiRviPYwf9wL5Cqhn0IibWcAxhPskjC1v8OrzW2YRmVbi1T/Os8lVAu12EOIdkfiJI9MFV9SjxOt2wFCjNkW81Ozkz/7H3VE8angQb3oac0vH5DQVeGPGFOa/9ILX2/3f88vH5M3EwBnaRhmwDIyZI6L+1HEwFcKGEGnrq8l29J+epgk9P3OeCC1pCH4x29zGtkk41ZUJ2VrCjSSj0SVjWZFdAuEQqyUO+M9L5+lGpvYtmwk/qx5Db0uF1YKTx9XKHl8EKAJ+4V/qRjTs6bJ+dfR2pLjk7mO/RQulGhOPx4+hxVk5UKIt8h2zTRSI46iVZLVZVHUxWdbdBMFGN7GVabSehYDIb2eE6vN5YSpV6ZWUfbpCFEi4mCm8m0xW0NUa5u9J9QqLAfU3X0jdMEZiQlSEABRtRMFcX3X3+0eW6MIC6+XSCrsU4vprDM3auoOr73RD0zezfFyBbFr3pnWfq+SUTehh67iOI+Xv/e/SIA5X1JMd2RfbaEYpWfbF2fgwWGJikenanmiufV0CwlMx9VW4JJHNxU1DSrUv8YQXN/5+eT8gQ0sE3WuWdoSPgmwJp7ZVTmNR9q068PqkF9By6LgPbTi1vJZgLLOZ67VrQ7oGdWIAHNXdBEM3o4LPZuXKZrKiBasFCYQj58DqNROtGpvBO/u3GPqrtWo1yGuK8vyAKT2PraT9bAlPg/TLUrmKvAEd92BYTjfCY4WI1MTa6vuIMA7FryZi270+I+7spPHaNpg8+dTF3Rhgi6uykcM+/mWvHWIPBMxmTAuV+PTOZ+RK59aa+7+D95k+kKUNeiwTwmIQSnAlFOvokqZWj8tWjme6GYsM8PkIw9TvYRI4fGZeyZSjK/38Ut+FAx61wq4TSiClmXTAHTPgzvAq7K3CoBSYTEMxA0izcfbIFHYiU9uqyBgg0mTLevgyOMGe+2mN0msoWKeHB68XDez/+wv7ZMLeha8rQYKNyqVrjNoajedngRAs7xib8WSnOTbP65hcvJxcZdd6fDnA/bSab8bd+MAhNASrXcCdSOWMmokvvYzYi7700fTbwziHjFwIq8R/BY5utXSoHmU+Dd3nUMZYFt+af2ywkaMr2tou1pAkmiibdzDyyNd78OWGrs4M1ttBI2DfaK38UQ/RZ4jH3dAWOxJmE2fax9Z/GD1ghGTk5DTKLc/mKOkH5EDi8AvZKsfT1NTwDHmQ1JeWwTcya8/mIX34Rp0DZfoDEMGXNYXJpnn3QkhBnwKqvsvSZm2/J1srouBg4mcVsmD1CZGKK1oeO16QEPWxicXPk1EB3Tz3QtmenRtMCQpLsx21k6NsmzOE+qcFmtuUiBHOSRClq9LIvYlJqGgFaOOA1CeSRq89koKIobl9CY8v0s6h+oNbHunih9pXscI7BGWGAdUO+Zm2vUQDmad0MzjfVWh/7+t4EAx5Wgc3hACfEbUmeBz3B+Ui2QEZzapHw+vgOhoggOYyi5E2kQzW4ym+KHPCbjljScLdKARvT/6wWTqL/o8M2Il2mXuV68ompGYxfVZWRq/e3KHkTsO7ikv3O3hhmy2Lp8p9wdKBgZK0f8Hrwi1In5wyj7Eid9IF93RNuyTvICcEn7rAhKY3xTBeo42SnQkj0fOkx1hVDlzEhcb1pOmxEoyIWDnEqVx8WHC9rGOYRsGYWQtg+GLkh0vx+uhdiuuhMWOWJJCqVmfJZDp1+soqy2wHTRc48wCQZ8CCGdqeSgVWMaZH6Zvpodhf6bskWqwiECIFyIWWWcmF6wXrBnnS128SxZ1EOjPP5LAOQYWHiUswyk/pssPJjpSfBya7TZdmJXBoaiMGkK3FFu3+xEHqLdwdvUy/HFic1JD1+o17z8W63a9dZ6AKr7a7IoKVMgrsVITHmetBJDAQ7KKQvsqiNWTH3C2n25TWrsHiQJHOx+Hoyw4UEahXplbua4mlp9v+4ts8/n/TKddK17WcdIAH7m0sbPrEASLtZ7kriDBq7SvPCINYU3R+JV7Uf40PohJBmZJ6Z1vjFw+pBfFraY8wMkFJNPQWq2ynpYb4/FeiwtVljSQlj7ZYFUFPat+wo4ZS6LqmRS+jMA3nIkqsJlxBCT7uP3uxkXjRvTU9MP+ShGzN+WSDIzGG7ZiryOOIXL9nCMnjbQh9NOm1BPWF0VN0+Hr6LHsPYjpAmqjMtjrL+iq975LpDlgre0GdAF/vEbFPVVJP/UnF9lf6il/u+sNShaSKazNjn+xqdGu4NkC8VgNDKj5IeSCY8HXcoPTuDBMS3/eOdxGSs/AIcVTAC0pGL4lznOIbmgMcI404YnAjYLaXvtG5TzB5AGHMlYl/zBBMLB6lSWGGkVe10hRcN9T7MfREkosH9jcjmlWvZby5C/SUp5+hfh9RbrZI+DXD+NXgUUkWPA/a4bSN2uIDNbgFDwqpRPJSeyxEwsN5QukEaGlJATUOPCLGIVJRka2m+P68gSzR6VR1Adf/V71JzeXAb9lwmSU/yId8YuyqQYY8GwiT8RNY/wRZWD0cbfUeVX3lN6O980kjggstIwfx80XGclzrONNC7g6lY2278w+cLbJzRtDN9GPTv7lPidCGyFZN4MAz0OG6HAjQrzIxgmR6m7k3IgrPZGUdcUGmM5t/hF3v0K0CYf2KRZGmtnyx5yY25+fYsnJj2ge2R3o161SLZG7iu8WEGzUkSIRrr9mumo/rtGWFodiCXb0ifrtMEbRnKgcubEjVc9Dq6qMGJZ+5PjgwJjpmqF2U2ZgJ/vK8fMZSs14u6pqgR9tXZmOxF8sl/2HZfd6Oghk2MRU9wEgOwmdeg+wPcUCCQK1/6rABq5XabBVZlTicNIrHQJpxFEIprFv/wOq77eIRh/nD0kdCDZoTyEF1Uf4NY1kpZbyNXt7NbHUVoZnhdrEVQV9EgFxhpnrCgVNlQCsnxSs9t55dQtHfqGzPEKerEVNFckb895Jm8r0JemccY16SO4BaGbCrkX/+vjN/eoGBSLsSKzsFRD49KtcHhCZC7MyRQXqfDE0bRHKeKFTew0XfHk7NyBvJI7qePrfzt9OQjyywZhPpQYatwCTivSHbyRQaU9OKS1w/F18beHHRIVUbB7V8wxeKP/QMXA5pMb65NOWGeTZEhQ6Kcu6ZxWD8JQCAHwCR6ARU/S+PlcbWC5/2U4cylj6qV9Hj3kcSerCBL/Ezn6zLLtxNbeL2wz6T9rMwLiGCUU0dyrTChqRUL/o08csEdBXk0KWxQG8tMjKdKGaioh0HJfatrPnBIWMPZE9VzVdvd7zn48ZD9OzYc2F0WClRMH+yH+/UxmZ2csFSmwFJuSRvfVpzD74bN0ZJ3OBRn9AajTuLkHm/cS2qzkQJmQGgTNoygLZszfFY9pksJDbPrk5IBWObEXQwiXOv/EOYpON9cYMBcx/eD/+ACoa6qizt6Kjz7L6IJwZ8AmYJMfyYDQk/L+nde2+Daf0zryGq6Y9lYD3ojuvl5qVlg4991FXZUWV2gGs4cDSMgX58AeMetydLDOsfAyBw1q23pHFV3cJelMDMvtHF/Z2hPB8dkMxsmKhXV5CE/Bf7Zi65P5WTV4+3+Ti7oa0XGEwkr/KQXu7jku/SvQgZ0KpVC+JBQu0pWRDD3O/d/YTIoeAbGQVidsIWR/uJMQGq1iLwrZWOd2q5j+H8eiB4xnotjmG3AdOTu9THwUlMVsqG3d39bHHA53pKbvwYZEFztpxaRXmybFLLtuQzHhJ51Su2g9b/PkvQxJJ9w7DuDmzaEvbCynjHQRgPtoAttdy7rLzeo5guBkguIZhnbnZSwTElHvet6qq8uZcCVcRexzZiguItQZBYPoqTt/DZJUakHRst0sixnjZqDK8ZZmiLqA1AHdDTYYrGa5wWSAUW+ZA7ADEONVOdac8t2NBJ4igzVMaAToIXnV+633MaNi1BnL9ixx8s3/wkjoto90t6uz7je4JhWT2Nq1pZZLZljaVuWLwTUlhcWWiWy9ftX4QlGewhQoaJx6dzOcx9pKL7goSTp6+FrdDq58rYwLKa6s5Rf7Ml8MVToUa0/cPkdEnXmVSYPNVUojMv5JMcgJHrqqTxtk+zrDXY37IrslrtkyiIOzl8Fvxgsj2CRVyADgXQ9eg+jxs16OKMD1+zklbro2SGOIuBHutdo1f2P28wl0xdiNyIIUEJAGTpe9Toi1yzF24sbxK91y0IGzUIcUNK7qqCFLzsEwWxQVLtPZtP3zeDRgTgNV71BiiyCXnMvRcY8tgY84sGb0rlotqquy/Pxh6o9QxSIh/PLwpm3OtAl7xm5aVkcTWF6fD8Swq1/c2fmHUzFDb1WiL9RwndZyE0nSGIw2PA7Oy7wWrP/fHAJhTZsGh22CKlPrjwoKJaLvrdy1VJ1kkF65hdDZf9Pxi/hrRjHrGZB58oCEdPkKvbuDkQYgcy70+r6hUa6NyGkpgAxjtl+BmGCcBXM+4fY2gOIfDapfRifpfOXtrhJzKK26yYjOEA9KgfaFGnO3cPkg5KUeOCxAaW3VvF7pkkDd0MVkQLkTelydJ1sbZMqBCr8wWOO+xXo8iqix++V+tKUuT665LD3PD/K6cRkU4/v9mly8xnYD+WekwR7VCl9+CsPgMFOXrOOdbo1QqVbU0T15RIzEh5bj5q7mnhAw4mCA+u14lwoINHlhQM4wHGYKkoy5lOKvuN/LuHIglFpqCYF4sTqPF+C8kkKG8jvoGES9nkOvqkPRNnzFpYRvFsZiMVZL6Y85kvcEipEf7P/GotW4fNbl03ibHsWObWdsHhKb7rplKgmlLMv5VfVBYNZv4y6v9lzivSfnph7twLkFHPdmM1S0CTOZcSvXjQsOKm7ClpqqD4qjW5N/2ZJP8/BII6MVzrdB9G9k8PBZuxHSbaocbJXRwhK1BfytreOotF82E497sNB++QYYO+sh/u8bSQoue7edo8IwcCyPK7O9Zj7FqbePnv8tl8sPtp0OZ9Vpg06hVjVxvY7EmF+lg429hIj0ui9ocoHofgNHAN/L9GqLRNb6MTq6poqGYcnTEGbazbDGTbWhwibdlVugF/5x3VAJ3/7veDHIYvnVL5+ZTqUa1X7ogRQ5+W3S6lVsc8uCaUHVF+ibklUayZ6wr2mOFHCjBYt+CZ2iRfoTlsJ76cVhduY572G3wNheZMWbkB0x12fqpv3yErHJ8SBC4ah3gLfIGewYEtubY60X5js/f2eN1+yVnublg0tJGB8gn0yProdyTXcNWa/SJzXn8ndMNLU0Rks8GGGa3SJgeuKZPQERQQ96+75uXOD5UB7hK9yD4FCw6y1LrsgDtFJ1SDGOpp32rz/bF+hm+n3Ple9qS/JyGHFN66kLEL0Xy+MwTko9nXp5h/6FUyD5Hg74P4Q16mY266J0mGYUuth+hg4hdvHLgNwPyjF8am/N6cAzZyLpZhy5q8phXk+KpV6ihSjJJuxA7oeo1+1H8kCziNV6IZKH+XGjLyn6oSTFtlLB7Ay8wz+BPzdWB3gp/bN3ItH+TplGu6tKPm8FTgzzTri04irfQimYKWqKDriCKdW4Ew0jXD3asWaVRSIYhogNUFlcoiywEmW1mCfaZ8GCCyJz+c1fW8laUQidMcsDYAqXEfsnFwjo8Kxiw5f8MUu6DeapNi9yN7FWHF8cqERDlgPPMXzUyPSdTit01Wn00CQ8VzyZDf8NoWn6G7fURNehAErIELwCraLkG6T6FdrF64o7Ts0qlyYSj+lD/NT+AIbXkIjGvnKVEqS4CG48WtQV2P7r+eV9db3AYhU6nYsXH6vm3RUogFQQoq4yntshYW8iaJtDq/mcNAHKZIhcJIDbvvVVKmbYX/DFMhOWDTagHijt9uqA6snzgvAJz2eFgSeF74w84bGMudVOMRvBjYlCKZXYNS/Pbqd/9sQ5amR44kCmiEHHhCwxPjh25iAJadk5Nl2lr0QqPt0tXqkmJxBwYUViBBz2mcYjNNG5Aiwv6jff3QAoA3sjhDHC2HKelK1FWS0yd882xwmOU4N5mbUSnPoMgDABsV/Zmw8crRDA690Hr9w0H6Ix/SCKwx9VKSUdJT+alKAvUWdEiHHh+LhnJa0fqRq8VPbIXhqsgE5VQPsS9usPOv19jq/lTR/rGRbLhIFr7jqW/4ve3UjR2nla630bAf6d73WfqL4maEeMnG1/fliUGUHMJHqm3Xv6CgjsRzcn0o2EOLlJRxOHK3N+9B3pYVQLPd/XpnDQBABrnwpueNK2ccQ+KNgGjjekp2hfKf/A4w9kbpIv+un1L7bK712KQOis2g0PdvqCMu3tvpcXwhxWvms9p7Trk2WfqufoeFuGgTjXuWm4CdzbjapiQxr/Ft88P5ye7hwnZ0A2vMKtLQ24mQs31YfMvBykRHOjl1aMg6ZRSHYPMsVZvbAePn+u/pTXVImpffw5mPsxoZx06YyWKbQu2kp8E5LXfifcAA6GU7AUOMieRTLP4ylMCXggWxb6ju11ejLcf6QLZJ8YbsM4caXvlOONmYBKAeIzQGzMatg2Cn/xa6E1UQ1o7iQNfMegRftqHcSdRJzV6JNtgT/rc+xJUxW7kv0KM4Z8elmqH7vqQhxy2Da3pHzp07TGK77GV9ljucQAiRBuOHoWFSMwBn00VRMNj2XSR3gmoLhty6V5EASUcHQEUMOu8NZybSqLxsTfaTXuelyh5acrYYWMB4H+Ya9YhFiKyv+brPHAtWndTgKn1iidymHxwtzZUZGTQ/txPvp+Vk4nZxNa3AYHaBSCFnsBDUvqc3UPLA+ir1DSz1vaO32dop2KNa6X64G6tSpcvEbu5E6D/6lT4RBXVIYRW+eOwaSoifFPuqrUyzaV6xtgWKuEsQTMlbky4z0TDrt+GmLQL4cVOhrkdhgMbFq4e4IFwd+tDWuCfMzoDaB046koVMxdRUs6S6HJ7JIjmp3/HfqiELbYPCjC8MKz+nD4IU2WMYXrnU71Tvib+P2oGdIO2FWEhR5wAArr+IrJtKXCFkIxr9Y/dNiwJEYOwhMr6aaYOeClSSqHtMx+IhmL+wAt2Tjh4iHOyAcgC9ll2GsQ+3nsH1npoCIb1is1+q1eHHdKmq5yiYuuC5gFbASH/ghSkbzR6icZcSlpEWts7DglkQyXRHGV20PEAtVntwkmGGrIHQZ/PHG07t1RCAmpRvi/7tPd1yaajgDF0c45F/9zNRpJdcnRkITuus0y86CASZ/vFE9dzVL3vFMV7KSw3L9pYUA2F5CUQhuN66UcfnMAK2IRBT6d8r2Rkj3N9ik9IdqJtbKQAiU71aygJ1Yv7VYJ4xPM6xXdIXi8x0v0uyFQgIMFKCexE6HJeUjU0b5/PEbKYNQR2nvIh81tuxZ4pfXXuY1Yi+SZMHJP6KiujyQDx03E2WKma5yrWmmV5IJqJ964abH8QJbkycyzqINIdLgXWD0Tv2oP6l14zgfBRzJ7AsDxlwtUAT0B7OtdbEJn8MKGlYdSXoOXVavxObAAX29Oa+ZWPVIxpbgt9voGzQxpsqk1zwqIr3TcnKKApbRnHdioXkdfoqQwomY5dr0kQTq+TBpcbisZE5VduFJiyUtBtaCYorjuS5BzFcYY2fBgFlJmtLrZZ7Xi17H8Swi3ZabSiJQJLJCvlwXit5/+Su5Phtr3F5Rbjalv5i5icKBlL316pPoGiejNUw5zyYBgFGbGjprRDldKzwVH+FGCPiLYPK849/RCKDcPV8qnDqhCd0nkXqAqXNo7pa4mJmxdFD+biMHTn1Kh0Uy4IrOBuqeKiJBcosUaJk3ibT5xjrhKXBgvGnAS53YFyR2bCyvu16Peb8Tukz2SIqFiP0lhASeLzBIF71HyMAe29bsPW/JU2WJeW+lPFbtl3dXdHOBqh+Y93stsZTvpdSr33TXeITjBmOSmX65zLnhfPtNFXqOfv5glAu+EKLtKP8t6CjHC3GvVNEkrRxjs4x/OWq+izagsDJBMr5F7XSWMuY8uDUi7CJ5BysZPTK1JxbfPPAhsMvjCcGgBSftxVkXQJE2IGrSlYw384vxAcqCjBh55GKfYcTRNpYKjK2XIBM3xMfcXjQ56wHAo0Aev00aYADdvhhZfq8C6p4WTw6sCWu8GBnej9Z1y1EZHIxkkQi11mJNecHEnRDgHdxqsI1g9drRMKryEPXSxJ0p/4SMlX7Fz843BANUmZXZU8LXj90m550F0lquNtY2x2wmzkOv77IAAEI2TGfhF2l1hSXTDavBw37HWJ0S/opMgt1wuDjtz2Cu2RyQSz1RUxvw54BE89qyKnXhCBDnZTzyoI3ap4hXjv2r/sazrlPChm8mBZFImyNS4t5gk8pwOzC6qEa71RMmj+UW4XGE1vd7GUmrZCuPaAKdkPw8EjDOEblrCVDzcEFsKewVucuArTzgxJyORFjF/pnJcQsEHC8/8zh9cq8ZIZJV2T/rHq41iklnN5vLUUSgMlBrd4LU1vlE2VHJY7bGiUo9suV+B04P+WiN7FhpSe/alezC4xQoy5oYpBVCUBr4ljQuw/VZuuY0UYBiKZWno5QM86l6dyTyc1t6ZWj6M5f4eQZiCPB8dPkVArCetY7737rNsJUm1Crj7GACN2nxznHemArWMgmVrjq7bE7ys3ovsUSaJ4Ii7jsHEeiTSjk59ZINs2uQxN8a+F6/X+hhI6ZH+XzTcLXKtuCLYW/QVa1XJ6gy8ZG8D95J7a73ekUE2/HjNzwlva3S6A9p4ADFBsNDAHfh7+JV1kdSjN89Ri1YPDKhn3OUQEnS+5zpC/rM7G2YlDIEEsfdH/xK92btj4fJJLbtUM7eDMoTQ2zGreVVHE/AypdhdXn6r5SLt+v49DAno1jfBhvScF1fQrUPM84cbjFUaiRvGH0j5I59kCTyQV16mQz6hsBcXHP8nKL3tctKyqaX2LNKyP9OgxDGEDWVMttQmJ2F/ywjl+rodcDS5pRJTNWtILLLHBlQmp2vlMMgKsSvFQT348GSdhCXNjA9FiqVZu1U+Azc5Qmsz5iGQVTzu06YrzPFzpjQvSQzqbU30B2awPkUqNMz0Q1E+RShRvx/5XxS957ayjChfusO3YMYsM4ksGimBqk/y8bsdoeCgxUMQrTfPrOBn0/4DRhNOBquVAZQIqFXpagstZiUSqbqL1Ul5m+ACRQWSrtEnCsc54mXa6o+3D8U29xk2nGknXEYKhEw2pD7t2HBzB8N7kLVLOmxcyj44ubfCnX9N7NSiEghyUmNCsEmoZcU+NSVx68b3RCvodMKN4beBdOVpAy7ypACvOPok86PdM/KFp5iXk3+k/K+R4YNCyopcNwkIESaglZezVyUOjIXbpHQC46IchJ88eSP5bG6FQtmkYY44i2LBCyHR20x3AjbReWx43Z4hgp8yE0Ttz1puuWjb+6Y5JpqSWuqIh9Nu70/zYHquq8aLM5aoNnKvrP24QbG/VVlnh1GrPfwgRYIuIs/Xa5ix11PGcUUFdDaIEGygqkg+0NA5nkbB+A/uE0wLRzW98gt91T4QGcSFJ//nvMHCyPvK/CRnfrba3lraPbeREMtoXNl0gWl+jmDce0Ri/beSNQ8CIdBDYiqu4/SNFSQ+KsXHE5D1vK+070SjIW5+MqBJBPH6BANT9j6UgiekxTAFrRUQtjxcf6XNpVU3AKfdbvW09egcfoDwWKzHBilcpAbLvBTqeExCUR2OmsmVJQ8ol7Fzifn5nb6LucwRWraTC23OIosPiwyj5iD3Q/eJiNMZF3/baf0COggSNXx3muOosaHThDadDo8RXN2IzETNNWLPUfJmJ0RkEnqXqcGHMhFU+8K1aG26Oiodh4Hw83zX1QqTYGNWtscNLnbxikMivuQScnHs8B6vUT7v4t/E+xnGqiq4S7ZfjXfDvL0LXAJOvypiuZMz48Vh3HaYicaCvRgzaflzgXE6MuCgpLxv60YvJuaN9WCQW0a+kF/NSvwHZ4A/lQLuZV80AqPuHcPM2ilm+ylQHsTbCjbUVkABUmtwYTPA58Eb/ICjz5zd80Jhx7SBDE3EsJLwXnVYaqZxDhVMeUpcnnrnK/HBZFklRfOFT8XowB8+7pdgp6qu0rf1aQsKaHyWL/LvmDvVAo+MLxYXGrtINv7k2EAHdWOpZ9czpggZQk79+ZJLYaxTXVlhR7ZmvMoH9BRDlXZoNTl60r2sNtB/Gtw4y7qZxl0zs8rJVg7GcFxd73omcEbgi+V26cqFhMZO8EGAOGp34GlaCNty0WkpeDsbOWIqkucMWiE/Pd1/ZrN/RpEyYtq2CA7K5OrujDbw2R29QOFyMTkL1FrfmtWyqK3ix29ILH3XBaRd/pE4pBQ+gJeT1usBKYrTunyiDSxbs002K6zTHoMVZlCdXreLgj9rdFILE3NSHxtZQGA5AvWbcJ/r5YyFrhsZmPaN9oDC8vzvvk3giG9W0Uv8VjRH9FDEIsaD/bxZIQLMFmkJY/cWXa9cVbx6fH/CK3RZ74lfddSrU817L176H2FAQbMNMxJy7cQm1I3W1BfHl6FYaLD3Qj2Axa+5KY/xIiJqIvNIXetBV0KwlDEDud8DdJJnZ1IcBRsBhDgUS3p9OPNvrDkeO+h+gW/Wv6QVHrkZnEer2yo7Z51tNASXpkQuptbc0r/tkVAUhqtAFo8RUVLnofpPgfRZ5DBH6pQOlOCwEu30hoUibUBmkj+qsOmIrDUTqNC8qam5LoU265PmhVJJPaBB0ERiQW6gn2pyHp6J9NTO2rFMVYPCpLixioq12dug9kloNGI7jl4IAb1d4sw5nHfFDHLI/SQ6mzfZuR2Q3bpfhHSOFvbIThuqbgnyFkfkpj8Rds7B5fAiHkQHunlAPFUe4qpQwoa7wtWFyUhA/bvO/cOPqEq4OhELp3LaODWJSSRows9T0+8g3MMYe+zX+TfFCBjT4BQGoz3cvutt0qn/NrVHaESg+rxDVoTvhp2Ni02fECZpdp4rRRrWTAZGNaTTjH26o5BaoYwj4vy+n2IkSF0iuF4QkKjq61uLp4ee10YU28w/NgyCjQDELLRt8PnoYzWs/kPefGTU2mPbxSTzz9mIj3n5sM7Dla9ZzZGPlIgjhshWNgq+24GK54esDDzgSPrpmYoZBt/M/6oIOPORVAWXhn6+L2uRnLJIuM61WUe9pMXRrpbFjdSaSMWxKjksqaI79q9fObzeEucn4EIZd/yz+6PnA2vHEYI8Dg/oy+YmCFClknzErOiNhrd9KX6bMggwTpq12FzQjZrLzKElRHSGZeHtjRm9MHSPY+R4jycPpVf2f3qGFUSPHvHN9iOVQm/Q8FbyqEVorBKyPxlNyVabLmsXHjO/nv/mZB5MB03A1/3saUBOys5cWFMPAT7mNCakWvCNNNhaZjW6JjbD8ZU4ha0/lPGNYJTFCeBUVEguIyPgYtRM8VljmH4FnH/OWx5sha5+bU06BQQtjRpaGIdC6JCIkPa1EATUkUxiWZfPzyEx3KFj6W/KUUnEX+DVxDLuFZ12YcxV+ktgnofFurgnEjSj+XGj1tzuaFnyss14jyZNGNTAUygq0bamNxQgX3jk73loOW/4YkJuZXi/AYS/rUzk6T3Io5IdAfoSkXsXdjEQjviR8v74PrABBezic3HEM8z3+mNLkEadt1ijcXQq2PxeocdmVe3YVTP0Tvm0UdTAX2m04gBEly+CNxhuvnLjyuodS/Lwp16bKTPylMSrGzzTQVgTLWzdhv3+w4cdc6+WAklPmi4iWf2i+dvJ1gAui4KT6WEb2hFkWEByyKp1uaNRb9AOLkBm0XPdynIwbLebeybPl8wJHXvovZLPBnhZtp++Q5VlN9raffDvFoE0lujGlkzLPNYouUVcs1D3T1OJRwDu4kTlqh8D3+EOeqm8MuBFNUm88PILDCifT9JnokrlLlUEwrVFMaVyX0dlbZ71phLR0PvyNkPZh+/jZ+FFV8uIY3JAP04Wt7vn3XlrRfMRWaBZBZGbqtzcItZF6vaYpRIynEwarDqxNdbNKk6Rq0jYjJ+UTEIQQki+bkA0KW8fTg6jhPfE6zgbiv8XnEYxSvHZ0opWbn69M6lTvVBR2WalUtmFqSd+qcdhNVBPijMKG+GNXzu4Sm09tNcFPwgILxqUfzQqfDfYk88i7bUl9I4JsOmy5bmWWIf4RwBbb7biinbHnBgBZ7KwOtK7vZA8VA6/gHKclgR49IlmH/uLCHihZkv9uT2Olp9l4/NyhWEfGWDGtqpT57jxPFklzn0FdNO+azCpAKGEiN0V9dmtOCON6SaES2ctDU9XVnL+7Cj20rDGU7OwmSboDUymJKPNyaAUyrp5ZBo14J4hjyw1QYg3d24RacnHe9UBG8OlDmsqoDdPnkadknWB4PP9+t7/bv/YKFRaNKIdzxUK+cm2cFBAUKfDF8qpCicEcRL7BMsZX/3ebVWyWRrBotiDe6AX6O1hmUWbqoN5xNxhVuNergbeyjPy+KKPAkwDxJbKLgdOK5AkwvDEGU2ozbKOC4HPZLIMPXJlj6j6hxKy460ZtUu2VUKkftxkRPt1ZtjdmN+9gTsu9uhayTZlbPVGHHK/W4A/2ZcYIu65dgu5Y/+jE8PLF/Xq09ylRT8AZJhvxeX2paNqCiWFfkWBw2gIgkxBhcBWrtnCn7lr57xKwfCG4ONNxncqMEWNHBPt4cKTssTk3BNLvNdm5WMJpMQgINfjE28r8ijyQ+S0YJ5t2mTauquOHoQzaizUr6hLmze6mVObo7YZtykxhXML3hF420KM4CYV2FfqpbFlbv4tXpUQziHeg/A7y4dXCWEobl+2Bq02bsnmNPVVc1ZiAexwQ52+1+48US67D/H+HaLHQxD4G4wXiSBzPriPJ2uuCAY3k715qlIaN5V1LHjrjS9kP/W+KtGX39kRpC/ZBvPBi9u+y/1p0ASdBjxIcHFGGLdudLUuY1HY+QgAuXtyrZZGsuc3prdlpT5y9xnaa5X47BCtqhlriUZpEM3r1Z7LrPbx4YDlRBdg5egwwi9w1j4retIsW0Vkyz4WTnYaYJzuGEtpqE68/ez+3/rjFKzWoMS2/7nUgXb79yRJvXdfxFvxiTjNHOWrVUt2nuHcuNa/lJJgWVCGkpxa0847TQxNJhfvEUDpro4wsJ9m+XTYblf5pXnlKSUJ7xoUpuhkHtKoBR4W7vZ4X7p8lI5t5FTXXUvpwhXzC2djzpxl0bl9y4qNl8PEkwObQWuMF/hl+n/AVSH79DTPUn+55ohohn92Tq02xs+CAnylOb4gy9SBygAsVothSzwn2iySP0Q/rh+xi9m+I3hhZkOLATm9RZROGIPWvujqvr+K+BVDes37zPUUHo5DeKqZ+nA+/5OQqhpHs7Gk3dZCkXOVVnbe/BXIogMhRND0jhgfGDJ0EgyTK9//erxMQsHyk4tz5bdY7HSUU18Aa5trvUaLGC6gM5UkZiuuMAkUaFKk0/5VExR2030b5zC18ZnUh41PcyPmOoFPqQu6o4yybgEm36dVbWAGFYhDC30GtoPY+UyXiB1ByvHvNwfeAezujRzw3vbgJEye+h2xLsb/JXtV9aS/xAEQ6y9/6bwWArqKJqkxqcWLpCSDa6zxyEYiMON6/2gmsUdM2cG36vIRTNU0eUnP5IsAohcdvvbfMLsurQv5iC0SumKcpr3QPug/zxysIx8Qc0Pec48ewmmvMepYx9JfmQtyjznmpIdEhA1ikaTEifOE7OcxfCUVH8pEdR82L5QsmJyJQIwrtxzLypgFlS+Seg1UrBhAlh8nIC8hiql75bzAeez+T8gIH04jT7ZEPkEEE44b+LV2Ys6pLekistb9vfoZ0aS7BOHXReGxuf3Ajwimq+MGcgj/5DpOMtM6LC2m6PbeAgNUj6CgpgOj2f+bdWC9IYf6jl+v2kkh7qNgHYoYvgO8MxgGE5jUe7zBSENBaSXn4YQDoJU1Gw7DaU0CXaBwo49kObiz6BAi3WAmCPMjvNGqNpurXGPNBOjkEiMS9S0DyGL0pZCrVCP1lAhhYX5agOf8Ak2R5I3rh5BGndMasqTeRObZFgpu679LSCefQIwGyXibrptCkYrH1dGk+g/6RPLC04UgmkPNkFbIHxsMVKXPvh+dADgPBcZYW92XHhRvoIA4g5dx3dS7f0B1ZBcGEqGPtmWGjUE3l/aQyq+TshjiJTgqog5mh8VUehpMXfK7Rk9q2AZ925ErbXG/sr5MpSnhRGuhwD5AHtHrvRBbw5OeAo2Oiwue8qTQgBeMLEx5LBPC82fxz0kCABalYZWi55z7LueJS7F+HeBYFyp7yW8POVUU9AMOa01CPMWfRDcm6ECM2O0LlhxwnlmnTU96RzZNzbdE+JocXQH14tcc0N3jOYtNlJvo3DEtXt0OE62rhwcNjdsssiBh4eX/yVraezTsLP9VZzRxYgR3I7lZyw7fcIyx+RBXdehsT/9QBgU3VAsXTZoJfymndNA7mU4LUqQkJ6YbS/WlmuUctrp4pTUgmJEpiQWC7NaddizaTyPHoCZATgdOundomjgvBiBn5yU5JLJ3+lmh52YkxWrQfthOJ64rKxEDT3k3yjG/Xe1YMigOF26g0BhNmu+1of632oWJ/OKGQ2xLhU5/WLMHgEIePrPWU7KC88NMJccxliDN2KWdKuZLhnXnEMJo9/0NC0xNlkJB0tB0RjD5mqYhRaKHUwTj4LSJ1rbDMMhwQ/oFM06TUu0DryEtDyIuRk7QYo+2v6Kzmoxb0eyKgxlw68aIhICbMpF622Wkry2CjMbuApUcezoATDRmrnWaWwSTu4lsdoCF5IblzLpGJt/Uq9uWwcVwzVzQpmvNbywaX6kMQBu6Nxt5ZXnWU2c2tgXJ9YuE/N+B9MlUeD4X+katDumP3FbtHlenV1wAv9hm4un/nKVgwOLiKtm3YJVSCR2sOYJ4qk4ioq7PUMWXBey88bYMQVZtke39AAPyA+kyP/po/PEGfhejWlN5FCCcCXnvL78BktyA3A1kRiBb/2qfgTM1WaUT7u1DfptP4lF6AvAo8XekM41hXOHAfX3iJDwhGxPMc0olfdsczQn58yMeKBrfoNKOsoUBhytjFzdJj6XoLwUMEvqJ8fPA/ylt3JIqgmvKZwjq0Fr93pz8qXffrzi9RICygNzvjbsxsSvc0sqky9Nzn0DZPjk8mh54e0y9P1gpq7ZJVJi6WLty1iXV40n0GY8924sCCgjSDVGv4zETN8fH4ZYs7xDiAkCYMj3N1INGm7LeZ3H6RXEjyRFGuTNPXcGx70GDLWq9kcMFfhUi6SS6lKsv6Az2WO+6DaaegNtuvDjZml/gQtwRjN38/LCgUhz5mvoFL8s/884tx10JIYx1O413yp23iGbD16blt8V5m0OdFz696+x9LnzzcFnxwZuHvsbyk5vFXfin6nyAfpu3kphBF9CGdizAK6rA3h0Pi4abxDmAwgow7tJgeodVo1AUdBz52ezUPxB8R0vcloVqE4FhpCFBuI17xSmbRNXSIWbhrKYhrzbMho/vXlL8DGvDvihUxtKHi7AI5CuyMl97qv4yh7Aphyvf8npqRyFCT9YAEj26z1H8Jj0nP2GjlGDVkoDwRTyFWdXFSHnopjQPOhrAJXpkcKh/GtBhJoKhyWZ9eNkBKt6UW9awoBwFeTe1pBoP8sERCarFmv8HXk+i9WBUk3qxLgppu84zTujE8iiurCzXAgygWRGbGOcWcOS4Ex3/7bsr/bgtgkhr2nMHhc4jjYBNqzOIlMXfg1lirhocMJKdiA07ExtUrLEbNcKuikRupveqkfJjo9y5i68yKPuQ3UduPJ8xXAJoSrFe9ZLdPmeHRI92DplOf8Qf/ump7r7rfwrzm3R0XzhqtiJ4KGRi5Sa1rhFYM1LiYc0jMwVgghz4ro5G3wOk/599dmylh/DsNMH33JWVpTqMsTUzLGF/s3GPYTMeJZ/TztFka/IYYivF5uZ4Ut7swwiRrNVXasxCY2ZWSzjmPGoZ8IeOaHVNuLBWRBKzQ8VF+HgFFWPj2wBSdLkjpO93IVtHFLSpOHkpWuWL3oI57KslXjGQBuH3ajnuXS94n34dym2O0K7XqHLAjuhK4ZC1L2YBl2SHVnPj5qNLBK7ivKow/RL1w8V7EdltTit1gU3Ydys0lgxy5A1tsqDbKK6ifqRRAzK3yu90iGQFPNxhtENQmwmGxb8+2DzY8bIp22PnAaLj2PU0MErcc+EFFZlSBiow3KHYCqLw1OqEcoUdmSWZsy0RLowVvzOZQLxaRefhDAHkGnmLt9bjuThcHMNGeWLoTqIH/ozwPNJgqUk6xx7V5YMrSst+rs+o1xpSQPA+Aiak6UfIVtInU86Er99oVAKGfpSgtXBxI4anIp1568QT1yEwVnsWGklCNxWajTBTPm41747Qdk2qFISNzCQEZNugtJltT2KxhcOyG5Z8UmViVtEX26owrSus03BYtBKYTKnQIxX3MbM1VHTt/PQgMPJivjLXEQgl8bvb67qmSyAnhfdiiA9MqA4E2PaVtozZsNbMBuC8Am9gJ1Rt2KQ8LpE4afni9W42JQMxsftVio2a8MM4F688h0c0DNwBVufaaU35Q9Ha35FACvpLnMlJvph28HIG+r/XubRzkg/alDUWGI1bTcqR0DrqGqs2dpO18AhQ5GP99/HOnQwgTmzWS1U56HnPZu3GS+s+2bCe5Rh5RG7SY1Rc/gjBy5/NHlUR2Eiw3hLX1IuA62pNZoRdaursWuRuTW3Zcu2xY3Y6yVxxsAD2Q4eleHInn5KDgPq22/Fn9MJAmZz06JDpgOtHpFF/DcmArd55UHzAGTRudF511F+nu8SISzzI4lFVr9H0J8DaLQbsfL96St+zcWpuEd6jKl1Q3b5vCro6i5811o4K3tCespbwTf+MMI8yY/dfc8LwRluPkFNlE0bgUGWBdNinZozqnR8l+gQGBOUU9eHtJzI4zM8720VNk2ltI7mwUEi9pjY4wSlpLVRCAQkJVVwdFEbGv54jSfY7PSLvUNxeBeUb4C0SwgAQ8oAbcJ7uUGuvKjP2RBN8uHogKRPA6q0pQSIGsZ55CDQov5mHutSjoaR0poXm8uCfNd3guccrO5uDz9QBg6u2UA+N4H88x2X4t29m/5aYv3/FHDZXLbJMMKk/TZSh9sN9F8q6qTWwpTr8ftrRLsk9SMHjhNISipSUr5SIDFvZ6cVA67S9lU7dbQeDCqUJlB3nAGP5uZ3n4mpjMB5DnRjaqiFRWZumWG77sl8SEB10gvIJrzMSKSZdh/6gTVVgoavsztn7H1K9oIojDmoAcO3NvrRRiyotM7IsocSHNd1vQrnIxLVSONbMm4CRTr7xl15SXrk2yOTN8TYdXRo8MXvd9d21G2QGJv0t5Xh9gZ6VP8KMZqgj1wRMd8VBcrwa49F1itWmNRF0HCw+JbZCYRSjJci9G6smMAYjzh6RKNQYgxj1b/sJzv/L7IMz5eG3H0cpWtXsJH3Qugp5G6P65NdxSODfWE69sWpBFS/mLygBMsvj+/LITEaXWgKJWKEO5LnMILq1jdCI5swa7kFTfC2sLOeHPpXYA40qU0yleeUYY6Jmuyh5E7ANjyCXdN0nJfa7WiswzQjfqIREMbYFGY4iUsg9NxQlHOs0wQAbVQuN1FymuvoiEpgZzGqmhWe2Wb4x1dJZmt73y4g4ckNMBAlnndQNKqnsqGFHnZvvc/VOI7tf/nJYktcXVUrVZQU8jKPSHJALoSmS81LNBxv4jqya80fhdJeJ5jau/iBRvEOdDfwpcBURbFPOLpvOwnV0zopJIwIgrh7VkcQSBGHxS9gi+en0XPWoG1GLV8o7Qvt41AIg9vyYYBy/QMEBGoWTebTxxSYs3hqvGXTNUuM0kZAoKloHHnLLu7HuNOViMxNTHMXjRxN+XuYCHlslAEJQijNbnQcrUXhyin2CC07U1mzZijI3gWFmfxV7hVc6OCZAjVmGjqABdTlhAkuxr6gRGtfXz9LF8+eKFP3jwOkiBrLLbhpN6AB+P3NZqYHxNP2VCpSFK1xrmZjjKhQG+cjejFvfsjj0/Nvu5KrQWW7KGq3r3zwsS0UsHTOtlEErnFhb917n7mUmqZguF8tNRUPRt/Qss8ZDPdsbkKaGUNh7faS55Suq9K9iJZwfqo4JSK0Gv4zyiGtY1L2wxU5KMiZTsbQNI0Zw/9gLzxTmHpmrISsEadZITooJuv87K8nm8EThQZNHg6re0TDWSVmfP2FMcGvXxS08y7RJU9B7przsL4jH7LkBtAqHdI6ZjLcBWkAvmefEANh3h8uTdMWHfVMR5iex6QyqX7V0lrfejMNwUdeUR5er04FXKiZCkg7LP7AvM+FlB0rewfhMi+Zl8EZFmAnAuSOYQqfissKKgzYTew9VapB5XqvNniEAxoVwAvkjv5ptzu3mvY8R4KFhzKQUPbjnXClthnKiJ45Rd5/CdAAEuNQtlEopT0v00R2LbqU7I4s3Xd3sSVELHD9WZo1v/ownhQIur+oXquq23z24gFoymlzFTShX8KK0I6GNG5IiyFB4SbQHOoygQb2OV8j0PPCUXw/2CPkLMM+sL/CcNzLnNYhBjYj+5m8om4LdTBCxfab4TS39ahLy0AQSQrb+AkaPhXIuhunmKYLrDRQCeo+GQRxsAHTMDeCBYyw9WoNAAKSUvPhiwJ9ZHJbn45r9LYh8igkRADNFtrJemeE8X+4U4G+7UxZdfVDWNS00chcDp33JPlJKyItBr5T98YJV8TbWAnrSyenkRQKM9M9ossW0dsg3bfPh1ejMBhUYfLpHUGaTG8CW4GbY6/1ptP0HE+WR08L9nVkclnLNUxvUPr9CbDieqJNHp5Z1Ty6qsMdpWa2M/Zi5P6LyGmX6UdGhQyGBHOW/zTY3DVEog8iOCzTw9GPhQDQLlyTWrjoeMhcgaXprkBkessipkaZooOLRQEof4bJyhqlMLuC2qWijPvkG8ZzrkGfVwggTl08T0ymzthXnnoNIKrrEutmai7RovPeNnoAXN9vB/DOJScUhu6ftq4+EIYb424XGDSjBSPwq56ycoFrByJWQEMTXrdP6jemVHxu+r9KGpKw4GRKJBOiIB2v+W0XCCHUwA/0Mc4UtoJiVRBHWlOheolQaPl5nYDSkZqQnVSyrLgK+VKcC/o4HzLYFXKsyjL/krJyqNt6RC9+P9nvJZTiu/Ej1sX4CNV+h31napR1E2Toh785aVRYjm2QhaqnhV8nrkHpsird97VitzNl/0wCmk27NjZBR+3N7+eyl0yhufxUiBiJbVdBOL0u1Ss1TEhiQDvvKga5EowGX+k1+e0jM9/Sr1+tiyOlNI1xvYdgUjLhG8q0aj+ncdH8S/Bjk6J/zbqGjE9HWrcAKqe0cyMQcg4atKX2bdn9+sKy7ldA9tfNC3uUs6TAZv0sRPhsWEROJiIP/ayZLEO+YnJEFOK+rOxtyd9p24KMUHOf3KKQJHMO1G4WtKgAjePVETNMjze/xqKFlT9DrxcMYT7rurDKb9KwmCwl9BDKCTeR6MrE+cc2z6Wtg7KdDzBGSyIbRsgOYcrBIRcuep8Oqak6uIWVgcW/rvCLqjJNp6eQhOszsxKvYoGgYlDc6iGnlvnNsz1x7xO6YuT3X8yGW9v258iyv0gzUEwTWv2KaeaR/eJNe582SeszCgvMIME0lS0rwNgDfyrmcBq1zqk9ACKwoegw83UT3FFNpdnlX4tel54cAI44Hf/JoEHVekp6txKz7RJaSGG4g7w4XZpSMwfG6BhxLKVDqBVnJzxJAcuGhPeaJZI8+tjRQQDlBrgqCKmrzb5mDc2qRrdeh5UrgRaRB5w2Zj2ZD4km1Fsr7LESaWFvbiXKcXUOUfcc7uXN6nIvPYFAwQErt/l8jlXsMsaphWt4+km0JRJ79FJNssaSBVvT7lbhNhBPSzmMxgAIzzj+AnvPAWHStYhO/vvDghuZcfR+o25dQ16LqcEY79F1vdpZ3VuPdXKfZeSO3y358++py7kfjbHTnlW73/VjpFgYjH71zvvbssqRuKUKL9ECDxL/50ppNJ/NKTq4sX0pUDDR1y3ERFMyBsoVIjz3Qlh/9cwnAbHpweM9fn0j1lpBWIM9bL1kI7LtOv4EeL6/jwybjjZsTRKRDvmNghU0w3ygJCbOyXzxKWzBacU3t1CpiSYOjeoAaiqX3bIqPHVGTzmuiX/YZ5xctPc7z8QOZik7S4mUYeqhCTS4cMMKB58j1+026WC8Z2cnK8lmFMi4IA/lVB3jmgWPJC86a6GiIqzkFbP/XzkeL1aJjlrFSNYqqy6iY2ImCkaOWrW/Zhk86IZXIU9wPZGDyzQoRnyunmlSWB1hqpM9YW+gxURJvpv3M9a6DBSKi8r+CX4hTKVTzT7Qw8TgOnvhva069W9kxSwqhObepks3Ux6Qd/XLkhAYofWmfNvka/wX6/5PFY9HXVWWQexwkVmgtpS7HsL3cuCPVlJdZLecqOiKPqo8s0haxqE5cLDsgAENZnCYQvrSbFJnKnk/me9Dg5db6+6r2uyzG5krkB35hgOmQ1gVV5BMFiO4fcvhNstXUb2BsLuS1PZ6UkcKxOumUaYAayhv5oeeZWjOr3yrC/NGFXD+PoFxs9Odg1m4AXcCLe3SwqhTk6kBi/WOgVjqQeEXyv4blChGBqXQZtCNJDfeKhYiSEOjDehS+Fz6s/VAhDdNI0V/rvF2LZq24VvzRs9TopiO7v/NnoJGqOIuO4jcqAaeWqPEG+60/l6QjExl+TK/n2amr2vino3aEBpGVHh1lw8eDx/IGOidDKgKD5CeKEMWjOwqBZTpBVX1/vo4yq/hsREx7PKqrU+OrzQST8X+xet0QYjPIph3C4p3zgFyzCzZV2crEfQrwjfHAOb7Pt2a7wZgVeHj5QgghGNw/8XJzdwAMog4SxoWRmXoZZfvYUxCum7s6ifQDtqhCqDK/5yWcFoaIoIz0LRerrT355GI2JEENDJSUE3NCZZF0DVzGYvhdhWwxS1EE08Duk7vU87SK58nu5CHXDmGLUdLnef2VhLpNaNC4yXyHsWYiBon4+S3Xqkv54kwUZ/TNrZdzENgTg/rviLJKEe3MCMTKcrjXMUGXjtCi7rU5OrvpXS9Nu6aSld3nTLMiOEvvXUdLsZqw274IaxhtZLLOXgii7Gcc5ZSp0sd/Wd1Vx0tEflik1P/55kcQc9ZnV8rirK7LxKN3a8Jf9MU2Oj0I02yR42ilVxG/6kmX3zEM0HsBcr1Im1Nat3K4I6bvFEb7Drsc41bwiTL8D3lB0zcNqM+CmaKTkP65AbrQ1BrSqMziBW8NRTXG5uNXQ7nhXT8LIs5zarNnbTgxwH9axVSxpktS+bLjOkIU8rzqB+dX+yW4YqDBU3u3rP3wy+5epfOEjEg6bjAyOuFnch4hCN2kowL2VAW9y1vWHSW+is398LgSKQ9zlljeHoqHJ7po/Usogd2PEGh8FzlF2MFL/KBAp+L5DVD4MGD+nqJc6vgUMDRTaq5R6H934hRdUr+iXX+2PVINFw3cGTUBPfAvqdIRe5JgCbf44yfr6CmVVskNE84bdQ3Har5UqZ/22AIeLd+nfSe28eg0yXbyGvJsHrLZQTgvFR/pGuUp6JHin04o+EkFz9p0P68ih7WMUjRS3aAXy8pEY+Dwdca6heldsSxShhq66mJrrIU1B+Yja+pGOGJitTkIZWcsDfGWrZGH8yI5oQSE3fP9IfXb9mz4ROYcXMKLXow9q3rlQIaocx7LzFmABPjtMo5qg+f7Z1aHtY3kgy33c9coThZ/ty/yO5I/hBNV/KYObPM73JocKPyStJ2fNwIRLpnuEW0OFnWrAKboDGvFbFAgR3o3bplAQqRpkwBH4c+sm9EwOYSJ4yEiukhd6soen48IeYTEI8MiVQJppelPR9VMtoGnZEEvj/U8DQTWG8oT9+rUZ8Xy/+hphZyoisUaoVu7i6cKCs8HoPaHU/IWWShDXdqDqzsz2g8K8W0ZMQ15AKdHL8vtjUwa3glSsVVSZH0RjViK0/33MsPKhoOFd1WrX7r7lcGTDvyaucGxhMRfOe8DU+Tic6H3tqBZ6dX2w9cbt+/fdZgdURPhoePFiXSWhTYBWuwIkWUrEXV9+x37ZijsXcIHuIuKeGvAz7kUJp99mz80/3QkGQyLR83QeCynQCWOmaAsajG/cODUSZHBhWH7nsNVifr268vxjpqCvWjlynq5nWNTgDokApCpw+7QFOHrV75aJF7cdlWJ/lw9rDWtss+E2iBNmhugGeIVyIa5z/OUmDvwtAGt3S7k3K+ojrByUpAHRqigvXuzOV+Vz88bVCsKkosnQ2dbU0VqDYyuZ8lDeOpEYoVE7NJZWxF2EKecPsYSh35mLkz6KF9GoqX9BWP48jHW5nkuctIW3oHJQkLeVSqbVKx7C4QZ1zvGSeng9Cd9qeVocHgwz48zcZ3f6gNjOPgF3IcZCnTVqjvDxCj62nwRpk106O7O8N7PgB0+TFVZDHUc4t7z+Mob0dHjZqo8cuwHWUFmppb27IPPeLGuqFg0MGjwd+L4UywTtFMNRGB5GfqoeXAq7LYAws1LB/svy4Zv8X3ptCuFy9mTXlIcaGXAc7HDGi/yMqelZHO2SaLmTrxV7yfLokqF9oTNi2sAifW65GbUqOg/gqDax0Wva0NPeG5BBw4jzmLeX0nttQNS8+aeSU8geBVyqzkdrRVUVLKWz6Do172Zeon6XHbA+I5YqCgQzUbYjjTzq4GRTU+yFP9hM8NNICwblYoJ67Z0qf2qGe8H9RZqw5mIILMZFEl7jYzbUTyMRRG1GqO2d5KnS3Rwmv5pLq2dyD1ZkOdD/5zDa2wmYYXEXrYoNaWrdUTeQMPglvbuKLwZO7S6jvEzjeEBaEBTeu0HbDvZ68Y1qi/USIJkUMEWJ9xZ5gTYx1tkBSi0rqRfTRunSrLbyiI6ywqrg3YjTs1erHTDN7ceKBnxsR2zgoObPb0QpHhrjrcXnQi2tkxFxvGHtav5vNbMVXpFMP6s61BQ8SaCepP7t0wfEODsGRqC6MeAsSfGs/2U8O4lpgw1Ey6sVouBnqBbNmmlC0U78qZuRzSwtQ0i0OELRwNGGj5Y0LtfQG2rKaYJ4JOFd0ZbJSVwFzFTm5gSbGLUNHv3+ivcCXWPe84EVlk9Ik/pd/JoQTjnEpRRJIKj6TqAUp33NxL6Em99yeBp6G7vvFvyyYe2/v9AZGGoxA+v0CLqJ2bN+3K4WjjRSy2SyxYqcKBhW7nrdzS1t2JsNtDfvKzCmyJz/FO/cks/j/wV4/ir5vayvzaBTQY529RIT+aAqkE3HEbdi/0h3GOA1KnrArEywSa1KnZ7EjME2G4DJwIx5Har3vjdHJvKjvdUOQtGhGo9RlJIwYTt+Dhb+gSixFm8ifBdD0tA5oWala10pNTDK707sO1NqeahU2ObqprOlrW0/nG3iv/wh2aSXDwOB+1cBGZhcRZjiH2bblwMfMfnpXiXxZLyScXIQIqNNtYtalrWGRgGKDOSZCmn0FIlH6CKaprbtoAsAe58RWZjLNKDO+cOsfZjJZNJxzkQyBypxA6Booy6H7368Y8khkacpJLKVgq8ZmskUzG00uZhuEidCs0bBfQwteeuGMxOztPMyxHegxvY+awh829W/QFSmg9gOLvaV7uwqNTWK1unKn4ioRvG0vNesLRHp4NhUYWS51MSpQNzNKQgaw3Ku3k5yeyX00sCHMB3PvxkSwNFhXDixWXkRaz9WgDxQZxu0G6TuNhA4M8BPYE/lJGHzNtpFma/8liEQKEz9R0jV2ok761Sh8NjBw/4UgvjPut1119ltU9e1tO8s4YDUsGHc1rgqHycirZShqMFIGWFYZZ1AIXtLmANoSkgS0nxh6aefoVrWDpjgmCPBOsMJ4pXdYWT/j6/CifYlRLFktOnoOKDYsxCL1g3QQjpw6o0+BiZMTUVJV9iLYux4h9KjLYepJCqt2TJka5qwombnc8pA2YSzJiIIDBXNdBMd8FqFoq3uE8e009Yy3oZhtyWBntvPhpg+vozGjV1jS5VhkKERg/qwuRufV0cQx2XXuNJ6Rqc2pDU4YlY/qUjI8dNqHcIXAoUQlrIkrX6yOUktNEvSzPwk1zZbqFzWqIk/W00t5ukkLDh6ThjG1Cfwjp/pkllwnVZhDY0pOzxqHLzOXsK3nkSDbuCrVlj5KNBHnDDzjMLy/k8MhO5Tt+YIwbT16t5Bo1F8z59BUq/uBLvx9ipkTpAUMQVj5hAIxDPjEXNjaApq6AiPrmqmb8T3sbFx6QlxAcRF9yiMm/nG0O51BAqmWsqkb1gT2duBydK/6CEIrdeTlK4WHuUd4Tk8DeEouiuuju5+awgmFE+DgKLKzLsf1x/n0pEcEtQilSHLgbDzQJ03vClxpimeLks3OC8xEB75KufIy24vkdEUHntVMY/VSU6K4SM9pXmgyeMVp2LHRoyYsEqEqFrOJWxLnjAqwYh/FZx2cSvJcoV2hPxC+sg8l7o5ZYMmbSHYctzuBP5bsKT14SPolgQ9UE0iFtKdkDw7QG6LuT7eUkau3NBRl9S0ZDvYzXDJcc098u9rFDy6UKLqHheFR/IuFtsfNJmT1i5qtlBr67s5ucui6C1ZnjOg7EUAD62wmJs+2qbI5AidFJDobHxib4BJGDTzwF6TA76OcexbPNVe9Y2bWwrJEPN+F+MSeMGw4cCj/F3q2zzrLuEUAK0gr112o+AUGVRYCV6eQ5jPa6iX7ujA8imBTMl0UNruZxanWSP8w9sNY4PU9EY6esTc+xyHq3FoW+WHlgZ5yVrziR96GTUPusnKfp3g6dKFD0TP1+EDVqPrg3RJaDeIB0WvaFQYpxYjY/gV0BHcZ/pGPAW6zTpYRVT6Fy1EhS89H2XH4qaipKorDyT4V3UFCxfZTxrZMczW0XClk78Z0pHKsWgaNdYIJANguT9mM2kipU0cg6GTiAVbUJtnlTz1X/XtNDRDPQRh4lsKqfKcIIJTwAfdD+X8Wca5ANg+QEmgI4Y1jnE46dCJMXBf8EcYMgEPyREw8+muXS1OCsZNEWLEJ0s61aalgm/UrKGXCf+wmT7HnJzwFLny1hOnGaXIqSotkP1aU9XMMSYB0WF/ONyN3WV1AvuPqVlmIgPwTmlljIud3BGZqiqA+12l+qjA69DnCRXfgWlajxrn4hKZ9BRAdryOHtLYf9C6dbDShSQxW74DGTC39+5eNAwfWPKjgkX4s4oYdF6aTNlcDMahtYUdXowdTv0f8GPm1H3hYcCyUzQLfQnWusXIpaYxTy/tBFhORvn9DIG3EBVH9k6aY6r0O1r8ymICTRlUDXsNVODyYxpodmkWgK5rV35iG+Qj8utzvDqKvvxkbP2mcbG/e/Bexcmk1TlJu3ELgIDMy0vC9MnH+E5LlTk0TZWubdQfVV50yXEcFr7fBszJbJ9M8ZfZVhhbQdjluf1sXV44vlUi5f8IxKrBwFWh8e9kyqGSRxgFdAKUv55xXWcXTrYOEmNzvF/63cUosh72Z59qQQmv6U3avcjaP9PEmx1Gd3Dmp4ljgKhsEsQqSq8BPBxCMqcQVBESIDq5yYWfTUMrXCZAw6yJZF29v6FtxRqrjD3/47WCdqoh5SVuIBBBBeQKI+nsOnVxrdexwluZE5eudJh2c6AgVRSP13FIRCl9ei+dEFTYGkxoqBlhvzCWeKe0P2xbKh3yF/QSLyo06SnqnfPXkgYE6G1wpABSC0L4mJoLnLhmqPip55SF468tCa1WjVfrs0m80s6r/P5ZxE/mXNLT58uBh2UIg8jN5y3LswvzkE39SuUoq8rs1JDOdcuRl1Xor7dqk0AABGpJwQkIRlyX35WUTrrLESypcb2MWRUsbSzdbFftmgxXfj/hUqJ0rie39TBHAWq7+MfZcyg0C7vFlBkUyJHALVQyxD0ElO8HmNyzHve4dCMIK5tSI63HAD3qiOsXke/8IYHk58Cudp1pwH02BywWI0uXUVGlpsQED3R6ipExjp03KOlhqGLhXjUjSDzdHulKA0dmg3HSV+1YYmyaAnta/83AxSM01/RXOpJsCMvfxMpbrrGCoxEUK3z+Ti2d9fUwVKu9qebQccM9zzDH1FP2PYYNRnjIIbJGMix+sXU2wam3b075v6HZ5GgPG1o/XMGqD6ujSXDtWGqIoluSn+xkQxmLvbtXBOHORDgMfBNUsmA3WhLLcCiCED0Tcd+9gMPhvLZXNm6sbOhR+kwJXxKA4m66sv7ezRC+lQ45ZSKd5z3ogDuzxJg2i27OYCm6Cg+/3P4QY9hbBbpB/TV8Q1BwEt8gYTIQoD9SMkWMqby09jSF+AMO8k5HzDqDnSnOIGfQDby9RzSvw4j77nrWfhMZr1UKvDz13C0uElqK5Ju0WK9q3TXLfL73AkagaaakcwNUfTJaHj2JZMBehceujTuQyD2TFZItMXTbt9HluTfpYEwgAU9kUwOvqnCMU3SJessm+86g/Rlfb96fGwzavQwfQAlkqYWcF/ZQgrjOnei+JSqRDZ4FuAd28bPUMcgbdQjxnm4Fs8xFlux1lZxuUGm9ioJCoXAv63/d7No6clW02FN7H7A1iwLWFgrll9yJyKKduksk37JDJCfuNOa74afPv2+DjLl6ItZQcFeqpxhBpqP06Mn41w5WWHB+0ehlxh/taMqVnjOq62CskGn+JYzTwlnhcV1hvHuX//ofbTljD7UyEMb67aT3WDLjaqR5TCm9qXHgQu8snB5F52fIAl4D0ocI7+tlNSgNGmN024xHtH5SzzEjllOrjFjCL/FBqAjbOIxiwm3Nt3Z/tutm8y4NT9IfqdeCQe8lBTxDffmauZrPteI/6IHSNY9p0LOw0Nc6OFJYm+NkWSRqYHYcLruBSdr/bmxAqlZKOvc1IHMqnX0MrpKVE0vv4/RIFoXas+lpheP34DtAtG7WbH/J0dzU4nwoMn78fnTb8LXwAHpRR7hWX8zumDiul5lS6EcsqoDSH+kphay6Mlht53mR/gmdQzpNmgsILd4FP+xUedurJp0R4MEMbvo0BoJekEFST6uB0qEChDtilbmAbG6PcZ4dU88Sv4iGiEYuD4EYvSZNXl/occZ/Qk5Ed7UZ5zb44YBxwLYabqNTgY4CyF70W2N+fCUfIx79atTHoHmd7UgDJKTc1pdnUFAHDc0PIrxmf4J6fU13WgBBRSQ5dQfbZwsoHtSECnB1fEP0VITho8YP5zp8CUH2NQtROzyfJItARJcneDAQ1Y7FmPv2RuACjSlIvZCHVieR9GKEnOkQOrdlJrVEoYQG5WKEShuslgS4u5cqa06KdD8JAPs4R6wi1EQ2JffyRlYLKgh2EzG9IrIjYHYtNIdzMRhSIh+1pZLAYfNezNdgOJb1kxtayRIFej9kk1ZaBM3W2Vr6BrUW7cgT2OWHUiX2w2TjIpZyPPduptNlXd1IGvFf4/HmBfuZhoSewQ6GP8NcZ0EY50we3ZMOlR+LuogxgBEAjvIT+Rk9MtYm7B4tYCsMf8GJMaYxMAEF7W7hNiRc0bRGBFWV05yZ5ZHZljTUIfr4Of9XDkPneQC2G+vbAd2IqWMlVMbyF3mJtknKEa3y/ya+vnBg+vjM7qDDplVAzjv6UoxU4ynJaQDZmzTzsv/RkkT+FkpLf5d3X/u+c2IFOS5BXkLq4HEWjsYO3sEKav7etZ9prJop5Daiw7P/SvKIVtKjyoA6+AEvxZ7HH2IgXxfJFeVp/cO0fvzqJOGqv8UXT25oNOYhGOfUwJkq1YqqBaUXBaJvs2ImnFFVWwm3CK3805npKuOlRyyZv32gds6/krYsEBcV2mY/V0npiRZAKxa5zcy9IwFxy9bu1ZU/cF/vIhVKeHLGG5yg0tnXbM+z4FSvjq6/UElWueSMUx/HzZCoTE36/DtiMnUmvPGqIUEixSQSzDZEIdnp/pNHvKnzA2AaGp60PvBv8AGgbgZw8vu6jmM1y+IwVEAmnNQe4PvycbxjgPvgqV/aAmeTKNmdwazGissPoRCg6KNyLUFtpK8sZIFv6J3VLkaO0LrbFP/otCSApmr0wfyXB4DobXtvJQzXLHoX6dTqJU5gd+6su+xbqUbeQ21FGVegQhKw18K4l8jDq6wZrZxDCQgnq7FPzCISKKXCCQb4NNWQs5KQHlP3ozhB3KapelkyXZYxWlccX/JyQui/gOsFjNWos7NPnXUzv8rLftI6OZa0YcEz6BYWdYiD9mBBKg+51u90N6U5VVFU6VEx1ubBrpO+wBSSvXhZH+uV9d05FxBEDOZ/impugAh/iOLNGH3IEbIykAORWi6+4aqwK6VzXt9rc9PqlBD11a52e7quMPO1av8Yi/KcRnGWWZmBx2rO7OaZYUS715q/PEU1qjMwjv//5qywGOfr77/PWUFjVQHv7DA9eWGR0DbYe+TviaLT1H/M+bKTXmzYlucntRMDL+6mLopMw04VpZKxNsuGmPkXeLoNRcrGNE8/6Y8VGyoiIRkSOX9P1LXI1QUsEostyw891ozfZYWcC/Mcnokml9zDbDUo5FLwsrvpEaSXmnnG+wbcZ/xSB9ttmVRisfNTMSm3KUF1VH8NRwplbBM4LL+sSONOBJSbzVORtoOzT+Cmtv8fjUDciF77ZC0iuZibdbFkYxdKmvyMs9a/d1/F8YGMxNgW5Of5R7XTNZuYc9QyKoXv6glmDfXqzo0DXpPBrwVM1GpxWY7RldAzgb9kbRs3RiekkWb6BYAz12rgpDTu81LGqw0gDJP43n5U69F5EzpnEsG3nZIGfdQjxOil3D2/wfbbpigFmuu2z3oRoF8Cg2QY6iMG8R3QXMtNO8edvj/PfVUGAzXoZ3c7soTZ7GN0DZ+ZfCOEQkJ0hkUdsHOXJgGbhRzNimxQikjo5iCTp4ed3PnUlyaPUjgCaaNgv0TgL0aqSsY0DbN41kaSHjHNLUHEAvPZ5Ik2/f++TykcCtMbFTe3Z+4eqClomTAoDGDMIObMHsjPWhxUvWuFP6ONPB0uZPwW1b0tBh7dyvE/RtxZABH4YvtGoCKVy22N/iVZIA6JOu3k2FDbRn4K4QTy2GNCdyZfrvg+n19U5q2kKnbwOGDm6k36veJkz7o+Kq8OY0rp7EUQKCKYZlH9xyf1dqmUm0MypNvSbTCfccoAZxZmJv8JSOnuqwfcRhmXsZLMbTMcu2sBFZPpLmVrXS5+lMGBg89wBuE5JVkrb6lQTOYbz+ZELWij97cR3Fhv6WhcJAVAOKWEKtgsG41tMnnns056Hp4LENCF7cUyqHzS5PqmBBTqLOgnIVUW6kVGlYwNgBD3uKsNbx2Azhp5N35rmsMoJJU3uJNFy7XnBaK4WXBfE7Pjw9+5ZwOu0FlHl18bAy0k6jXiqd0A3dfiO43LKoukclDCttRTnmMlWJcUtLSKhV4RQOGBaQ1h0AYiKTRPa56/+SG41T7KNcDb8X3WMApWGXRotQlVv+bvDRTGEDb0XE8jDgSUlq9TyIGVRkpT2yooIA3gO7rQiM7BlTOGoDvACxOOUtcGxxZG5qFOTa7UVfknLY3M9NkpgEYCVSqi5Hw129dRok7855UROTDZqzUncX4TcxEr5bAVRrxSPmzmMDu1/aESFUmCr6QHq2PTR6D5yOH++8H5J1BsVLEzlhom481n0EX8PuZWYHTniYVkvdPwuO6W3qcT5SlcdV7Lk6OLLAzRWAQctUexsbo4REw4x58vG32L7WpRy109ziWdnbFvSEIe/IL1tagpL4FLxurpvjBU0md/1jzzqOLmI4qSSp3U+CbxQIyhyYEWfgKXEfj41NRmdS9R0tHWBF2DwF7UtW+gtHq8eFHOOzrQsi1jvVakvw1gGxfd6atll6wJq41O5t+CH+fxp2Yw0Cf44DIXNB8mqScPBKl1a4BN6osre7RWQ3phT2y6xpBykmE0RYDgGR6hB2432qrPeZN0z+QtCoUtL+NUzeTMQtQQ14tomLb2LUy1jtCncSwIwWBXACKFTY+exzrjoAj0MYd1dvDTV5l/Mhzq2q8ckdmh05NgoscNaTiBjwjdXYs0q7TR2q2zG5UiIcZswlksG/ly9yOaRp1yxOnhmR0QcsKHY3F/PsSZ39e0IKM/qAHp1hW2y87fn0w7keNASy8RvPNa5caIYTPGAl3DA8XWe+JClgzmuH8M46501N4KJG2L2u9s7wY5m/SqhNuxQUHvuH5OMw8SLMVc5FRwlBzZxzDTh8FiSgq/ftEl3QxxUMfM1Rw4ctd6F1o0/Xc3J3R82PkG76lZxjMpfbnU0dklYPjAMqUdUsUeDRjVBJkHlxlo5bjdoC7Y5yROSEZIbgjn3VA6lM2lN0vLK4YtjnDOzrfE5KxGT6eyQRjTH/W1m3BUe4EvQlNPWFksDRo6AYgRiXxhPpOTmqutsgVN6g/ynB8yFO2LkO2bz4WH/xBYq2oq+kmhrf+f6766isH0ybS9RNvr5vRzUOIVlZXECLfEQi15QVkkQjFu6g2lEfbe9dblcIr3YsPlucdObHWrhLcTIzX6/l06wdR3Kwxtl6eh7/YXQgUnIpxLK81HX1Kfx+RYYf2QgRvyg80CAZtkLhUfyxU83AEJjbcUiNpWNoDWpQ+qyntGYmtSHqIYkMidMQulYpkM9SPrt1+S86OCOTSCmiGQh4ff0yHSBsAY1nX3omu9rS5kIqATBGnCg8BIg2OrJliI0x5LDjp5gxWORjP90nLhCxVtNngD2Cq3E+8aw4viWyXCyUoRYtDVXC7jdbHr5gxcU+0vQyVKbqIOrhMtA2ToWum+5mWrlY/Q1+DXhR9lkACROORnKK+D/LgU73CDck6mn4+Sgz+EO7yz0vfbYs9F/IGRX8H89TOnEpU+kZSuNoXdVFFOZLRxerdld8uROHSbdeTQ+KVIuyqpZlGVo96/mZjHnBNg4L+MJF87U89nUY+iSobI7looRwd1qp2f85tXchYm84gSbQz6nniH+/J5ZVNru81S5N6FKSxXEgrgqjCJtyGjYClQa9y7EciHYlbEUUfQ2GW458MfQSvmZjlbB+OrWHrCIDgHsngG3YAEXbxRhQMIdYeqtxoRZXTqOK5JSHPOGrE3HpDXj3FvdCID6Uywm7euO/zKlzYmlzSIlRKn3qUyA6+0Rn3mrSyF81KW1LRh/NyL6D15hZ4iTlcQQ9siYow9RlWKjeNZdY3t2KWdXoUzJ4o1TZz5Xv9UW4/inynbCn4eCKDw9cB45Dblh8jwKf3HuROhz2O+JEiM6VQUOodVbHVnMeWdPTutPYCwIMI7kbgCDmhHAt3rR5I8dOXEx+15D93eBcBb4F+Uobt2s1NeJtJ9o95yvCyZmgvz/Yufil3P+MuZmJkAqvsDyYys1Z4Uk65I7efa6ZwHLrc16osrO8KvOJVaHn+K/QEh9geFsfGC8OmKS5uTbyhIqqH1SseF1Gg6qIG1Z3nDP+10KL35zAFPJJlHJ2UsfsSRVUCHWFPV/TxT5r3ZGuuublsXpIUiEwbntyQe1NzkL5erpBh06GAnvof3xwGZPtEe81144eurcR2hZJglzPywFyxxHptZJQRKGRjl5XWgKpAaotYK6LMg9yM/pg5GV1ZNSBp8gi6iEZv0XVW/x0HcHaQx7yRLhSU2i3AazQqVnRI5vAxYvfpqEyGL2d2axc8XVXNe+AkzoBSR8PWrxB4y2ByP7VkDvm1eReVQqCIXG0qrVUJxKabKwiuOt7mXmZ24oK49ZemgJJ5c/jz7CLof/0l2oxeOQtX0D1QKorjo5u+wvzwXKvHr6xP/eoOP9el1OeSjTEuE7qNpKeqNl8jNwuHczqweg79fGCy3aAfl91m+UXO7xmz8KtPUTg8HlWEq4zFiH1ccsyuhBijCqyli5mIs4gWFK6qRHSzew6yx9zAMrVlD2SwDy55bBPl17TFD+DJfsXtl1vM0wAPSvgtcfQDGv0hKTTTHbQ89YVIB2RUlwTi1lhYyLOgOV1bPqTMB4pF3hLE09HEW+37/P+jk2FSRCQ6HuKm8Gr5CTtusAEyJqDeF7g/cZM3814ThA1+fvDkUgO2b9kdDsi7BQWLuALJFeGzgA3v9Bt12ZS0lJ7APA6Kd0t+RH58OYJl5gSxrTVLgC2Ud5Kp4UxXVZf5pYWRHlHrRBTXvfzulVAft4F9iTMqGtby1MQ0cGIMewrPEuAI47fBykULO4n/SZdzjBwy9giWPX8dF6ZMg4rn+jm9J4wWCTZXxkKaen5zscH0zxaqzeyhKqNVHKlMFE01oXwklZOBP0gA00c00QTVUZZ4omCGGERV35cDlu5/X6pI7w1cy1zyPQJITNnKtQH1fgnsuS4I964rN86p7YuXdQmq9dl6LbUkpyyErZrh2XL+TlYgPlzN3pi6xc34YPiwWhTO0kIQ6jMfwFdrqhavZ7lLBF0JLxpwYMeHOGMGd8QLac9bOE3kvtoDnPNIw67DOPbJ+6p4yIbGWw59MDBH4akAEoQIRcUJDlZQztj9Ub1ERxEda56eTcjgwYtpBY74+1Y0RtiicjQOnl4sM8AMKZMTrx65OztFiEUP8e/YsZUwQPKnE9fA6gcwEmPgcLY6MNgtcdnBsHLxmg/vjDZ947X9Vab27HjsvQskcH34k5P6mOkpyLhAsw/ZyuVqBleGq0I6b3CnqvE78mCjRB7vVijmD+8AaLI3c583XqUO5JhSWGETY1qBeHi3Kt79aDbzdhFTipO4lMfTTUTiIeIvnOMVkalY0xN8j/pXjNSykSixfu++q7Dd9sVmfNEoocw8BlFG6sIzy0xIV8Ash1FapZFDsd2Asb7oN4o2wzrPHRv6UKDnIqxzT0uXYelNIZTXwCddC7OVIyAYwVSvmUob74ZowzevJlY5iYhWbHrKWc+f+WxG+kXjpglEgg2dSqe//+XmQkBptPDsuDRYGSbHVtYhH5LWosZg4Mjhp1S1GCDqNIfSVVHYMCJVf9Z01scMWslIeaWpzGdGcS6DaMVMS+fTrbrX3jq/NT7Reb8MTHSx9QKbCac+ceN31zAKOpkGr1dZ4ornmIzEzdWYFEuV7Z/fZsHltFjAivfW7MjTFtvgw4lmpxKZMFWev7azzkZwIBJZ19X8g3AXJXgCcHNkPyi+EgWkvdt1bGWs9if/fRM6JK9KfieK5XpZAJXFrUaWzuLwIgZ1ItcG+kLr0vXTtGKR6Nk/y3MbA91AQr/C+CMLHiO1BPNeZivnSBhzOtI+MrSNGTmlN8amfVTaV55mv2/9Tk9dW0kVEPp1goYhiGxXtZJEeA2YnRhkW4NNvXUyrHT8rRzxip+hOKtvwf/cY/M7/P7VyheQG0oYFVeM6S1zpHIo3V2wbECD7JZ8aCAcn0QCMKwpUl+rZbdzA/WTKXfU4LaIRh7AqFcyl8guVmLzI5vTGqVEG0EpuPAYfCuTB+zgQkrfq+bCgctmekS9LHXflXNpGYIbSsAXAK3EHpFrKxANW/NkGyBvMhvwJSd8TpGCAX1RZqrcCmBDa2LXZ6rYZXomLdGkioNDWVET0BshoebaaRTz2UN5dTdSqcra36U7U2YUrSTIQQNhL0tLUlWmr0b3aeStSXI5UfjpeY6ABUnMpWGaNcyurmE+xysBiFoI3VU2ubDyMiQZc1+nKHFu+oAntr3g7Q6MbHfOqtCTpcu85m206SeBtyE0XAQrOWaqvpJWA7AJk322WGk9dHBivh+U+5VhzXF/GpQK4kNhzZoBX51s/WHXgXBDG9tid3XNlYy+gV/kgkcEFvUcCBiBPK4/r46Ts3FLhjMFLOvh26E2/SDO34xHFM9UQOOZDyb2js3Ma13A0q8AEqNwUSYUU4uvuDuzbOQoJZcl1mBmqhJGb6JSoEQpCrTccv7eMdoOyXBQDKqyIeb9VAI0XY9Iy8ueDmUf2RvFIIrmftap8UW0GUZnCbd2LwADucHC7ZxiGqWmfJz9VlsJamvHdoT0DfHgNTxOODlnHTSBz6gce0Ryud8yjgPUBVHa3cEwugpFhCoWdX0zzsFxepZ7IdwQZc4ak7urDkV81p1h390V4orqJ7Tr/ckkbeFgNmDn4pBx7JRRueSxCbLEkp81lfOEMazd1FF7RvLgXKEpJcSdhioCAVB1AvIanrzK1ybSHH/0zIHdBeh5G++nYA0g0/sJo136j5xImPNJCKKhrWvCOnrABXZCSTPNXLg315JmUJOIKyFl7tVOdZGf1pMkUYpK4RzKL7FKh7rej8eAT3pMP8sWip1qAh3QxW5YFeY3kxapTWa+kwAfdzH6eQXSTthVX9Bi+aDqYww9x0QRDmmYfGwsYad2qJUP1zl+UPn6+QWff7heVpDRJelGdw0vB3Ct8oa1qP8W1kZvhmmXhieG5WR4CrI+xMP+JgEsvwZ44ozIyj5HZC5wYHUJxs4AZcEza4fKzOzqFyXDr2caX3NxlfcK71GUZF6tFGeG1tMcXq14cEj8Nti7xoOkLk7hnbE7irtgcmeTepaCVpNezEO9Q+4DxmHUN8Yl7MCDEolSc2i6tI3bDeRMMsYuZpsD4dJWHr6yxmxhmlJinyPqR3rGgH/ubY3XuqD2HnWOfGuaC1xkEsz/gcfZdZVyzFJP3qRydi7o+WOfY4Ru6AIpVO/4O8C1+84cM2+js/Ky28MYSmQ9wbepzp/G4194ZOcuFpr5iZDWs3MUSlJnKPDMJ0HSEMQvoeRT03iC7EQfAJDhGfI6hgURw1ewFzQweD+o42nNM8eGL8lVzt92ZmcEb5ZBps6GOtLDpmE5q0/BhNAwo6cQ0754CpmJAmHWtDoa3bmXc6y5f6PoAxWwfp4/K7g8Ky53nFAWWn9Thp/k2c5rUnObApgY1ITdCbw0ajwpDezYpLEsy/QCrW+lC0HxSWVFoUIgKRM49bQWNQRVkYYUhZP4ZrhlQAvR7zIARdSbP5XM9LVJFsNYx9gL+CxwDNBXdChNWu5mkGtrCpXLFR0gGy2R4ABEsH1OH+ir4t9H/w1sXgKqZJ85Z9D8BTQ6LjTf/4ELBAD7+1tjRd2mKCq1Eo5kDdGbG8GeF+Td7xVrCrm8DZVqs1rdRhCRxzgiUHun9cpv0Xrf6PLsrpD7x/dgd3RuNgp26T+rJ6cRu2M+0gAaZKJgPS/kPeHlK0gCyCVY92SIGAA6wEDYUw23fi8VCZ3AFSO36iAgoyN9ssYu5hbscDTgt3JzBX/Jc8P1VezmO6lWvNl0gGKQCiZW1bb/VMaS1LmtqQquopB3fRm0V20IzCqlATWWX294yqnZC8+wxLAAwSjIGV95oVmuaRcByO5KWxB9C7awB7QrrfsXV3vWGbDYs0Ye1dtmPKAy7e5srCOeLvPXYtCk9DNP1zzf9AydI3OSeJZ879s9avm/ZKyRIe4/2cajYRZf2kNj+v4JWNnyPtTJsBrps++OSghJeGxgaMTN2GYAWaKm4ZcJzu1zZrHjUD0h2QTgCl10wbuc1Jdy5bWJxAqEmlZaOAQX0D/FD6mIUwB3WMrl6kKP94an0jRWPQajdOSJYbRlElpFpDEJZOdHmQpR/1zXnt2WLN8ZO6ocd/ymD6MvN7eLOZWvh2zA5q90wma6k7QvpCvz0BkB4k3VprSXiPlkOPtx3R1VJ5cBe4Vz0W58tTHTu/jCZ10Yu0LJPJTeGuSE1/+cVsu/GU/HEI2+urSPlba0vbxkRvFMMTxak4ppbWVwYsoXvnvsdYYxh3EymrmFrR1yz8xcjLABbDZt0+nf69IP5YP4KvMSAcMLtpobiCCFDbDiaAvs8w/ldoaGJu0ZOGHbYmziOFPqFHX7VpeF3QhMxFCKsjU6CVtOLEt8UYt2YQUjrwXDKjNYCt6lN5FMX6M5Qlii/Y9k1Gz0j1HLikS82gl8ecF6eflj55oeInfjkzZax+sHVn3vchQhujY1Rjg7YXTATYw2ObZfBgNRydCkTzgb150gJZguaqCJKxD8ovIvv3j5rprykTXCi8AoGA6nQB+EGPfYrA4NDKHiMe+hLZ2bDGshCPMZQDj8rkDZ4PbAarXMxuSrwvymaUHZUfILJsaDgyML7I+JGi5GSc016ktdnq71JjDjogkeI6vzrGobLXJj66kCk2+cUgvYxiBoe+vLai7JnB/tGiOqs5/Jca2/TeP1IGCqfXobhlyot/k0FoF6ilrEAtDaY7ABCmuqZx4hMfU/BLGN3PMMcbiItKCftrGephsuILfy37TlPxb3RlLUqVoP5j/gDsip6qhl9GUhVbvi65DHv4GMrSKt1U/CHUE/bBJtMQaTzHx777+kRfhzu2tZnrMdcf47HrCRcUMek+nyaOxoRAgRje+94PHd7ABdNSXAKk3fn+tw3sAnU4tmaMOvEOBfJi8BxslHip9K/vfXupM/v+C+ZYqQhXTStT63mpN43UeOyBRlXEap4zJZAO2gENp/PVngGY8EoApsGiLXEIXlr2UuvCLg779ZrAJ7vTF8iW8AMTTfBJawL8k58f/Oom6CtfGXMz8h2YrX8g03laKkuFQmCXdSaE85YHQJibajpp3fPLvbJlhsZRbI03+kR0wk1RtdzWugVpagz+g0hOCqbRzCDYWVTjZDp+8uj4+LgGpgNqLxeiKOFSTLpFlHLioQGI8bkebSKMZft8zG0o06OUdlsRC9Gdkzlr7wpzXXYijAVaaanFjMyE3BzCfJ7adSLTat+6gNiS4SRwPsXe4y0oLLH9w0IPgFFXIkMnE2nNQVuIykaoK187+ZGyBaVvuyozFXv/MCej0CpJSL4R2FOfT0j8CYbfhLg5XcO6ftvAVJk5vl0kmop+hhn8N4wnauB/iVZefJ+TkqAg3B861wHJgtuBODxsV+sXv297WMgQK1Xdv6e7OpuX8x0Df+AgxPLcj9LEi1uliCS2OqQtnLY4MVaILGO77g2d0p2LGh4PGVo9sqLrRiWYQi5hpxp2ioyV3Bjoq+2mgHI6b9TYoyv/y3pzR8u8xnPKqhA1GZ0Q8ril+PVcczw3TMrmdB7RCvBxrZabG2zLa6sOSpcPt0nB6agQ73EBIryAdYFcUzo5Bos6OAleXiKSL0jVJ7vvBhsAcxfpy7xSzbZyFlUthCDIZ9lQBNO4HpW9vhRif32Z10t7hhrcPIehwejF0zxEdoov2FAPgweTUJ5FLRQkrE6XCys6hLWksd/bsnussiura+iFTuNwyLJ88nV5+RUYmoxzNVqZb3GkmTMnzdn4OkcbSB+NVB8eZzIu98qiwkci6n6ExAaVaTEOxvJagbCdaEh5ZzF5bPcpLPmBNo+aqC1u42XNQwcj8mUlSRQEqBVY4wbvZkdssZZfU7TuWAGqrTfVymPL+KxCq5sOf6aStqw0Jk2xflehm0Su7lH1i1sgfQER7UCRFiSsS2MFX9TkYSN2U3R52Lc6kUwJbtJGFyHYsDIAYeQlK2BKyQ2OaYLKiUKvY5wnv2CBelD8iMw4siAae98N5b7TUSXyJWOui3MIRoMYYfoxRwkE1GeKAaEVotnZE8ztf7tvHhWVwJbWPY0y9Vdydu6BSNvMIDhwWgZsUkINwUEuXNZKSPgyE/kzofo+unEcKrtdENEID9C38CbnKOGRfHh6qxy8P8vfqrDfapnVzc9HO5hpV5LuTyFjPERPA48XtVFG5MxVJUxxVZ/sKjhnYGTlsTFWPSO1nNuG/YRJ1L/wkHAHqklVvfFrn08Z4mnlR1lVaC42P2BAs4r1M0iDRIdIJc2uVU6NTeRR9xukHyGYYC8W3926La49k9nLXDhjieKSFY/Drt0Lmo/mBval8D+rvuZ152cZzU+sittJg3tgg24R2v7BHw8RyciaRXpcq5egPTJQslMP3WbejVNxLlByZ6JSIrt6UwQOOn4tK++2TzpnpRGY6zMSCk7wmXTQ3u+rAAkhujw8XwAxpHzXo6ki2P3bVOq0AebkwtX4WDxwrrtMJbAuxC2nukQcba2GVzeaTk48YWAVZL1QeuLhH9872/rH4YFQCgyeXl4IEGT2o6r9p5xMGsOdp3S334IsuuG/QraVPn+++g62tc3Gv3GcP909cSRdiZXtCfJwJj4GsrNGFlzO4Mmm/p1rKZkOEjudbPMXvmDYLic0MT3WKnTQzUqdekhgHLKxQzInzCIj7yGDlZutQL2M/CwoZ0TJVyI0yyLcW4JR7eP30eg41zXJ/dBipK8SQBMHnoPDZGv3XCLyQcuupXTe8sEbdu+GXfi56+5cFjSLfqm0/B38o8Lo1wAVicl+BSJNaaNkIncHDkTlryGFsCRC3ws7beoePl3xHpAi3mwlWENGYiDgghqf+Op4kb20e5S8CbmnCwDs+dU4wcQsov2dIRaDo084i2q/qcQ3UgA9gBsnuB527Cqu9tvTh8/Jkdi2p0BXk8UR31SktPp4sS3DEI+n5tOTDtVVpltCleIYEUEPCfsfTJ44lwpqp4TFMJWlNejc4Gz3RCqRhmkPK7YxbdXMn0pXW74H1ddPe4u0vJuM5vnBt8LsAxrX32ijjAQ03/+5JZzCJsXdN8phEt2MHYpIcIZoJnT7ihuI1Panp5DZywn4+h0tbxzbI2Ib0vG/rptZ+4nxKKtXYlCN/8fliRufOAqe67knrQKHicf+a3iFbqTMBAgqmfbYriemdjCNGWrb1DS02lr9r0z+WC0yjcpeJLb+XvwNki8rs95+3hxJK4nsbWbW8jqIQqfiIHfo6n+KoDtYpyI+zVTwJawe5/IAHOXrhc/q9shY3VN6McWAkPHWVewEju1yT5SPwpoNVQ+qSJUlOfMtwToJXVzTL9ESLcofLv1zDf/q7A5BnRji8K2oGVmxkuF8OLRyqy4cKSjWhL8LDvyzPHpb4k/A2c0eHMotVtFmWrMYWgCbdRXAE3yd9dv3zo+/FYfstCxKwlkInOAY7Xi+tA2aN9/AXuGe4VgA16gq2QtDlGyvlaZEJkvPNOfXoOeD3Y5qug22uYb0MJaCm/9SUa4g/emoYizQU4FUIh1XzdKznQjs6DdVMTl2qmx//BpFOlpYJ/rsIL9L7w34OH4/cn9KwFrQ3ADF6pn4iz8IsbQoqW8jNmbKQ0BhBtfotzNkfebk/2E7Et0JHkFRn11xdJiJwEEzPKDt3gZN4yuOYabMQc1YhcEHrTHbbRMNufxV9mFKOcSa9//hI/BNnUVXFYxC4PNM8aFKXdfzp+Lzi38rL3dTc+kOx7ZR3iY2+3tH8dRl9Rrrzd7B/1qlPJvLgU/nCCf2fbCk5NXnXVX4YJQ3URDnrLR564819oVWLtbUs3kX5mouiRZ6E6ULuBx1KHckpgekfwHqvF+7QVGdOWoTk2BVe05faW6rDutgDlM7i1ClEwwb9DaEBLDVRTLTke+t1m1K7qXenYS519yHY+42ZdlkSPKNpF7+XEW1jNBI+9nc6cEgofFuNul7D9mcirfug7/BkF2etDmGA26PUKnP2rxGH1XBC+uj28VSu/dsTl2hR94ezKjTOvUwExYKmWo/Ht+GAd7bVS4GlFf5X17X4rsyFBXl02APT2jygofPPJaN/SMk0+JfG/OeMnkM8CkYe/ylVcums5HBFS1KNp7/TXvb1sMvPdI6MTfk7whoXVfhECtXoAMgWt1Qa+5usn+6TNhVyt39YNoZmwXvkXt6PJUnQ4Mv+11ran2TASf0Bv82r7pa9BmLzc3qp14nxN5y0MphyOJ2QNKcHBsruwobI5jRDnsqLZT9T1XNnYb3uSREzYTPWSOmoOd57GO8sQ6BHu65UtAxv/iFVFfpj05SgSN+iOrfn/fD78LKB3Dfu+Xu2eLbmHFjCQGkX8zgmUSX8rZILTJQ7J78Lu6JJHa2axbA2QZwl9umWAx4+qUdQloka9m8xLuaUlutaieyvQ/FQFIuzoCYSwyqrFiihT8tNXhneAHfK3pS8R3/4+UcclCXYTYe8CMnRQ5i1n8m8ZYUkiKBCjYPpZ8EicVyuXj3eWGhmN/Ns9pi71UofnX3mbV2k0oQnXBWWSOFpLEq5ktj9iy5rJtQ5rtIrGQBNgQSpYgmsUK1J5KXQRzPHTWO1lj5nBhgVTjLCp7f/KXvQMH3+kH7QfcoLFO0xuOi9atxssFHSWwd0Vmpz8NRe5GMUCjOegr0TkwjMJVoTo95opfgrnflv8HoBQX6mUmW9qx9XbD1pTly7oI70NgQgFgu4J6fhtLAqOk7n1yeTsidQ45TI0K2xVndXD75cOnDdSv4FnEdtzBCxinheE3w7B/0Z6wGh8pboZ7dB79YEmNtOILJaVw1s89rpWhId0oAkxI0Be/c+I3Wbrf9Nu4Ue6L+07wxy5MidQs0IS22KT2iHpXhY7tz8FSmKEo/vw/+pcva6uRBqeLEil9N3Xg0oIRQFXsrfqD2GhBH2IedHUjhNltlglaLxAVbrkV2t7WUrSYRYHAiTUbdL0YtVrs4hOXdd2dzD9yCbI5XMozUX5Xf6dxqObGLeQox/JXcdFaeqLLbatAeYfubr2kspZ4HAFo6hkbwMbi2ThW4+P2g8I04qRgQ51XXeuahi140N4/o5+U95/nUdJD37//jOck06tgGkC72LxjXklVIBEvVTkokg6+QVEWcZC27S7BImr8+AmQYkv9Uzj5PA8/5vR5+wF5hWRNk9yRzGp9Jtbzi05ugfjHQDGh6zzZF3eMaYKbfsiiSli7jl03lN9k5Onk0WkXl/gB9OwD6Fk1dKnDBhZ9T3LK7WTYbTdi0p0zIQzLPL1RxCz2SvJleWXBj1cmNPxGTyIybV2c5YCREgyc/VDw7MGG3FsSTIsbcx9vjH+qeKZOD/9x7NyJqjt1a5WSTsOPU3lBQqzuOEpqhQF9+hLQefPkCMiO4dS+T9enxKbpqtU4jCOELbDF8v3LVPSM2aAsKl5SjstHzXmmDwfK0bZTb3fcvv1Vd08rmJdDngd01jwsyJnVSU63sfZ8dsTgLGzbZ6jBIKpqLTFxsE5VaW6wYqtQsOBhZDsyxYIVDgWMlr3d1VwZVkrMx6mmPRzRrV/mpjCIEx/Mn8r5kX5EyqOaoyt3wT17rsr5gnuEa7pkIFcxwp30xTpcIZ+Lqjj9Bcd8HAiUo/CzF5n+fYe9BCARWTbTt98ult7HZHqSjGNtbY/dB+eExoAAhNMfoZeuozTisk9lmPzYHrvyVF4nI7EAUaaeVq1lQhdVM3ZizxiZjPQVPp2HN9ILMsgHcgiQs2Li80YYNSQSbckB22gdS8lPdr94nbDnLKSMup/juo73EdUQsb4pZWkrofpsvfU4TR9WH2yDel4A9u3cvdT+Ecy6EQouBTUMm0x8Qvb9czcLWelbnr4RS8QjkiPyHGK/fQDvZ6teT3GnJjdyDC7pYyxrSw0Zg6XeNPaU5cNDYpADkxXj0UQDCBHHhfmuZVHP13MXSD4IFuuk4siuQ9coMhOY9OcG7Z6zBxk9YK4oHt3U4VA29QXysB3DaM0eFMaz8M98X02Jxc/kF2b1nMR1CrW9JXpimARFhSuE8KcwE9jIPnAJPQ3OA5BhKR0jg13WdmyBSzDd6LtzVLQuKRGX7wfxNMzDTLvsMZXXDX1zkhLWG/56F4LUjwvLtNw/jpWxvIrK1pOrPHiRQl9EowuBBjbKqkYRU/z+wCgBEU/reFU4UVAIqBBFFT+7VY8pGS8t1ejOSatyszHAuXYkzw5DwcO2tCNbq3xvvdX1yYrx3j1kQJ2K+P6miW3Vm4gjp89xxCJGB2YQ7kDp7E84pa3xpI7U41INwzO07NCfoP/q3mp7T8qWLUZg4sGGoW+NxTqd1AXTs5GF/mEF70ccDsN9MA2ZWIpKSYdh2v1MMf6eNMd+YGDS/7luSOZSUGj5shecJo+uex2Z7KcAsqy9BLFzzrHSSO1NZPQpB0t9JI39CPduD7TYRt5lzxg0AneKQaWIltHR0RwpB2vznqD2aa13uZPxDjXA94fHGo6vZhzjU2HkpeH3NtKr5cuM4BKwXb/wHpWPuemksIHZHvR8SpkkXu2OxJp9+6eRKp5tQ8q2TV+6/Vnh1rKUUohkf40Rz0f/fqfiyAYSHraxgQeXqjf6Np8Om3BfcsHejZSwVrU1lB1tsbCnOlA/5cxEkbggG3w+LSYIY2baVvUyZYteKgkaYojEEr2tQ26BuPP9/Uhv32KXnOCnSKcsy2h6E5A7OrCJhMtpIzPhGGT5nHF4RNtXmwRRSDj/a4VA/V+vEItnnGvaZC3lzlvuKET4dl1dN2IgIPa8q/QaRntIYzjIQjdXECRPaku3/wy5VacB2k+26pc6TaKqdU8oZLRRYb8s4USgWsNO8qWcrFqCjwaNrySvrmTmY8eqad2G/tUNWho+U+UlTY16+kjyQR+/dt3azmT1Wr7ytbzWe2GthQwqkw/MZ4LYIHm9xj20JfuYXfhYBizoea6vUmLTT9fabCS5Ww9qpzLFUiVITY/UFw43tG+J64WaSRKi3it2qTR9BphhrKZ+t7w78AlBRvQXVfDBee/HlBe0Pf1Q9S7IF2MynM8f9J9MlGvrm1TseJt7lbmX3NAH80ZSj/QnIqapT7MU2cTVKgv+PMi0xMrk4LNPufkyss3KgwtqmHYb9xknl/9IUmiJsPqwJsvN2BCU14Cqp3YJ2RXdteVKXyZdx7lKzLMwzW0YDB+APwpjBxuSSv7LQzbEJmDaBl05Vbcz3+/k+qAlBBKFP1Crz1NbDIDLBa+5+0nLf4G3c8Dpxi624qTFJWHtGqAcukAQZMXTZfmZnmEnpQ2mYYvgegp+nd2VNmmX0Zdi9l9TjF+qS1kW+Kr97WpNSIxiSmDpCUA3L2hG5O5jcUETEIcoObylffmfL9FCsMAaqzpMFq/nJT46Ju4eOGQ/YMGjWNhxE9YGDayp1KdgImwAHPFt0qNzRhfvJ+/+qHRt/QPBcSipRZmcOtgEWd1lFpBTbW+190a2ss1zbBso0daaw09Ylkws89x8CkzKokuUzM2ktjE1j/2aVWoanSnRzBiIozjgtVUXcuBYTo2oDuFNiT3cv9YXSRyHrgBk9GbhtPFJjAqD6gSpeeFPLFkydYxelili8P8ajGDO0Wvndsx6pArZiWlmyr1cOCRdRNMscVgxRtSlE2XclspqQOdt9Om0VW/Kb8kZ8QmNB0muzLwIUoWAtslcAXdwL3+wwSTwdfHiOzYZqxDD1dhCrio8O1JOCTjPhoyItLV+326zQz4X+cTk7H8T4OBmqUtlKCIl2anNcZ/rDrtxN7cd8DRML1w6+R45iqZZVNKA3moroxcbXBXq+Yzl82Ui/nitzCauKZ4KQ2MfNvLY/IVSL6+orF4J9SJ24t+gBU3R0UMdNObHgbAZl4uufd/f/aE3ps2ZOyzFGlayQoc/70xChEnv+UL7pGgAzCHwvWVO7JUW7EOY0YtRB5FLVNwSEFaTe36DKJpGjDYsgDGPNuzGcpj0jTY0F5j80ij3gCs5zvom5u/892ev9MxVVlWC081yVv+0uGbvte+n3o2BFvnSBmXa6FkvBEDlqoC3Dpl/MCe+zQlMa9fIUmJTo+I0l+KraQHWx2/8r0YrsHg8Ua2Nv8zQ8uA7RE94yK3Jto2mzVxxkARsSfI64IduEzuYt4JmRXf70Vry9MjlilQoejCfyKxtGG9ukxjVq5vMC66CAqm4o8LPECzCMhOzk+VXNw7MhgvrM6WpIJkNTsbjdexTcxgMpkD/W1wRm+GOd3tiP58LbtR9qOnVM8WWtyCAFxJaw5MJJma+CERG+HjKz5SWqfy/qbGFcOIgc4vc5i9G+8sHTPykow+e9MYHAhr9KRVvRTjHPIygP458FuvsUWtbz3iLqFxl1cCtqSkpCPc6dsjMHGk+l1tPv6jw8hPjm1buEio/x1tiayr1WA/6Zn/zb85YZfbTqHn5iPQvs2lzjUNkKwO5tacdYUhwk22EsB5n2zY8L1grBm6sFZMlT3Tq7oA9jt/cfKfbB26BDwVLH+/gTFbfKvXOiQyly2wifTHPEinwyI8WqCbONiaOEh/8CXjZzDA4KOPfzQa44W/gGmgc+fqxMqQWtmx161KmUrIHdTaV+t2ij6UqVp31b7WSLy/SdiptnsplMsrzbm503qNDrObwhruSqfrgFVacpBf0KDfUGSGhg8uGCRb4bRgIVrq+Y42bxmsojJZ1LztJg26/cOCs5LcucePIw1XCLdhPdwx0UquxGPklrGnBtLboOtY33qkcjnIaEOxHEiyBMXBcjEdEjCLeEdQTaE+i+ykMNoW7eJaA0giSV8UEByUqu17GxN3eWrQNtURwWn4y3ccfd962oH3sbe3kPuN1kBCw2IpA/vm6kvyrfnMZY8zj7DfVkA5g3Kk5jQ/BszoMuuOE0AJRl+YRbXMiKleHy5B716ThGhb7zd+Ncdep0eyei00+VAuYCLaMIS/FYlz3JL54HY710Lo/9TKBeMILttfoGp05md4ROl1VDiibIYsJXzTkTmOr+DgO31fUUR46xGKCquXzNbaGmoe9M9qWPOi4QZguaKJWt39nMOTGBfAq4yqubLF1wSt2bNLQYhoHnmQ3v+nfV5cqtPLwrsXJXSSzH7SuDa+uNwauVtR4DAWP5Dv4kR7B6DicSDsJBr1H2/1n6QiGs5EsKWBOuTQ5wZ40KsPc3NPxDN0uWIA/B3vprhcRGylZ8lHBrt7zyiNMMhkj2Kp+rMjwE3wDNsT6PHZGb8M0QZUold+D6HgN/jQCE1mmGCHTIAevE2QNo6mIZhcB8VSH+vncfMphemDhRQEuGZFSXlfgXh5YCr8GYcDHad+ul87CxEGg1S20UPmAAJkXBDOaNBzOAjsVE80Z8hTQX+53Tj4gwc+XcmxZzLoz6BqpP1kC++Sy7GO/AWQXub8sjpwO+JxJKRgl6qukycQ7KHMH98gms5DVKD3UXFo0Sed+kM/06rAIK/7IxUMTIxFt25JYQEhORvp9ZWMgaPH5XLRWUXot5FOUH3ZiCopKIsjXXXBWO8LqT2vAs9IcSTByA7DvdSAxeR4BEF/rKkPclZFNgK4oDhKKXKjXwXQ+PZg8d6OT3z/M2lpOP3m8O2qgo5SOg3V7HOYhkbobvNoNVc+xUzNqevtbpxp4aixxipS6IhraFxgPD/+M11DwOlNNpi0KhNjWRBG+/FtNOahiLK3hVdTwx1hNh/7VSoZbWG7c/yXslwhBw0KaHfjkssSpVI2veZbgteRINMr4jKShSSVCdmndEu5jNJ9RuGq3QgswrkJG+IEnhhSApL04RNCVXgMpoNiY1UZRmkoW0SXyEHBvL/QN1+XjKts63iFUbaFpfK9CUYNuakIPq2NMixinHhXZ33OYiKLkQ9tV8XCUKo0cZLrmXoU92dHzvOlygcQkbak25GJHQaZgs988XWYfxDyn8txkKQfBtdsghoz0VEfgJqZ6Ac7JW2t+0qMDeitNWuotGU2SmqpSTVgqmpv8Z8njTJXjLN2sbMKuzlMzAXpCZyfRMUCtOADA55EroiSeTwrqCsEOBMXi0rcmLaBtreAnoy7sLpjLq4D8o/42EK2vm4ie1zRUmxxXBmL0NtjH0YqxeZY6bJIngE6wgjD8bS9UQ5KB4zC0mcIyc10r3MqgRfAXMtjxTqddbvAvRMqdPOjMB1NMT9DfJwZasQAUMqVmrN9aXFa4v2wdLBSe4iT+kyrJX6uJq6+HH4YDQAlMX2qUtN5s1ogTWzS1zops8XpxDYo/Db6TaJFzdDbmIfa12bFigbH09XwDxm2RK+Yc2boiJv58yEupmoiiJMBJLgar5QDXPCiCsco8nwYs+szAqyK2Wpm55bmN3WQ2aVh/zW6Px8+B2iUXSbZy+WpN4Z4f3eopEXPBuX7MMBFcl2NvQK59WzAQCONYvyPViJceK1Wom55Va7o4+BRBTHqXtMD9y693+jsxyc35zMB/XKK9SfGi5+BFaLBX4tDMnAuIzkHCY3gpjG4JfzqRNJ18qMmg6KhjKY+uWaX6XHqncc87SaoukDnEjobJdWyIpIORgVq1QGd+qJOMLhhVv1GSxKqapEiJD39sQ0P9heJNapndwwr2sIggJtwzrOjZZABZBhgEJW1GR41GqyEUeItCyHk4Z5pdArL//UAq4Vd8GiE9K95zhMFP4RCFTJJ5LN3RaQXBHyylYljKovSPsUTA/iW+vxsWX5hy4HK6osPhqhyN7fscu/I/KbRE/kLi8HLPG43vXBMt5IJ0g3eoG8mwi+KnLGHA3uR8iru98K/IN7Q9ULUpIxXsNHN4+zPwe41wLlKaChpZJN93nwbtV5cVkYEHu1I2xjdfav4hZK/+62BgLFLJ4ypR+pPEHLwVzTFPl55Jp23APe1K1DqDaI11zNMHOrOi2Zfr+JHcgohTJPUW93kD+cMgP2qpqAYF0lFoXLyOboIPiJPVkh/B1Ll4KECyAxr7tRinc3u1fios2IiCf/AGpYT/nAADACZWxkKv/IXCIfO4HLIHIwSfzBRdeFpDP7wMy6L53uvO2COryqlat203rL4AbOQHUO0Vtt1iszatfwm/kSCX1YgelIXW0+wFLm6JisdvBEqICBuJPGfKLDDHF+oAyimZlFV7tsMvKveeMmi0aTherua0EkcM7CNXuFa3EmhjyNa76x8m2VB/pSfuDMa8cpEUZa4AqqklShYvsZhXrL+lH9d8SWz3aPiTbMoSQk34LUM7YapagpowK38KpJRbbyRidM/XWjvNnsiVmX0KZ9xmGxw1yot+W76hRoYu+vyE2iPobsUrx1grSo3Mm85a87+tqLf3YdVLL6yC7KxPDopuND9E0JHKt8DGXtxQWql9xkaxdMmQZyRSRBQRtAHVVC/9ghGt7TyOWJbiyjojqgegvZVF8A427i6oviAkN/vhT7gMGBeZo72kuvMYc2nwXpD8ptPH39GEmyY3QHylliZpPVCHdG7Y0fmkrki92+4HhW4yoKxSXDvjEuZRNQpc9DkoCHkBfdS0+bec1qFZzWG8JPR0lUv7Jgs0WEtblU3psV7LyszELmzVNjzgvZNa4hhOHNS4E3Fau6qcwNRHzBc3iazC7OOeJRAanypXBJeuz+x8GYJYyDoc/FaGXGumZNw3Ik3Mj+xEiYgI06MUjHl757xYD0WZoSwIT+mLnJUjCTrL3m4NVP9JaVSFDv/7MvRnIJ0SNAJ7P0BN1d4CeYxZf8L9Sh6a0i8hrNHk7DhkDKzUs82R2afq8nfAJ4fkk3SqLbbFn/yzCYvoD7w694luVEGRvjyOspNJvLr4AL/uVZd9H0GC0ggXtUMcXYQtwiNvG3Y1L1AecCOqHwV3gA9rmRaXCF7KocaKxOqHaJJEmZQIQb2B9YC05CSkk2chl4i2XDWq0UA7hUUKTvw+P0C6kF9ti/Yuux28egJU18WnO1E9y9cCCBf7Htv4pCCIMTX3UaaXm0zL90oC1QVcSSk3RQy3NDGSilKIVh2blgzwBP9Nwk93rGEskvifHEqhixVBUSDrGz4PM5W4NmGxosSCOdk1gDyuKAkzFC6VhAO7xh+dcnbeBZ0BMaVbsKVQYty/c320gUa2z0fPIVUAo5OFRUWfmJJQMEsFwPduH0L+0LxWYWLsl7X7+qPCQqW6nj7B4LC5pII2YaJqArX18Hxpt7k+jIOlpDUVKpdp9TZdMz8a/wZ7QBI1cMoeTt6RlHZqD3QCz6ouSmEAthMs5p5DAcz3D6CjGFeM6TdjVaIzxKO0JG5yvTzdCJsIAwIrhzb6tnVSraRRe3WKQIpVoGCxU0hIxKr8Sr0t1VHGdxO/J3jzVpNUfzJ6osobHf85rMsQgsR5wBxE85z354zy/a3i7b6DMAL9P7dcKAbdMysgtlCSEa9DrEdTFKjeC6MyZknrxOyPaRd7IttRG9My9DuIeOQMamNt+o/YjhjZ+d9Jm9iET/MX1EbfLmUAiwk+3d+K5tx+KGds9vLWmLRJvEAtZpj9cCwzhdclenwijJ5HITRABlaZWT9dfHI+VQ3dA3ZnOueDKPHLy1KkcPBtiMWhO4TjODUsSnOsio9qpbKBIlpCpMjG6hYOWbMlLULcrSX6zdAX962QN+JVILpkweV+4ncyQ5WQyxeKeixIw4lETDEmxIl4dhUR2BtkC9/aMjswSivb6o+cqa654BTsdbE7Dsq5b4wb7K2KlHbUh1x57LnerWq0Z2KagDSXe10RCvDb/NNUwSrpU4kknsCG768yggJ66PKd++aSFEBGmKqoFR6m3EjicA7+Vn5Yorzrv76e/ERMOHwJBSNgaKLA8WFjFn+ORAE2AzxBxQcShzRZT/I4T6nhowx9+4ujyfS2LG3EwD3BYEae0Oo1flZ1DU12/t1AFNeHtSUJQNoo/5R7QE8COUfYXiKrsQpOqMxqtM01U1MLUXiK2z6GYUTSTfNsCLo56rI2jN0ILYJ3tm17mvMQXvfmD22WoVerOzNt0uMcuBWrgxC4QL9HWIi0S2/Av8jf+Q/paWhKHOI72HndaAYNJCXjzjzbUlwlZpNFmQ8WtE+k0hzRMEO6beGN5jmQ9uRoVR4yMVI9bAMYmTnmMnAhlumtjLBpMjJWdpYpZGXKICi60ye6XJmKW68Dowa7VoG2xajuMMH9ErRaac6RsyvjgGr5MIPc8g11sfuhPfbwmp2a9mNk0njOQOtxGHmD7+ISVs2ryqGk5R7KsfZIzEIc7/v0WtZ5aNae+inLnWXJIPcKL3C9m4C+KTgtkXzK0Ve9TPkRWaiDrH8RO64bOEKF2xDA5PL1L8tDhXMop1cKd5HMfsdffny7+Poi2Ha2ZUlc536FfxaL+LSWDm+FZI2FXpHL4+xDIJ863o5HPEiVdlTpE4GL5qJn6KiYTWLtW5ilJleJFkWV1dOYMY0iuNabEwxkDq5UrJN/J0i/yDj6fP3wx4Wa4iH1D/lvSFVcJKSPPbJHGDbKBJyDeY2BYKAS+44y7cBl5j7B5VpqoiWfqVbq0ZCM/jGpV0Q16R9Ps1kr9Vx4BTHFINdB8MVvthYpq0EaTznGkWZ7bO39rkKqMSjZoJToedW9qrhONpkBPjIVQUv4DSaP0WBKkfNdpHYCP63WtwKvQhj+RkyL/2jGbD4B61Bj7yls8CTLpXCltvJpH2HV51wJAKBFdUIw4cOpL1tTpBP7JTjAoJgMNzbg7obRARSb2vG0eXkTi8i0Qnv5qeyaAYu4ty4H7aICOj0cZa7xYcmRY4jA+ekkFF7mHbxW9bUV0toUq+MGlmE2IDYfWn/GDc51gwqgRTbGc6eh2dPMYnfahzOGWe9H/gQU6xdXpcd4bvNZMlj5ktA//hfHkhvnfu/w/pR9Kt9RwBYd2MUXSPivDYdadoTT7rffZUrUDUrKwjJlA/vU0I72iF9NlrVKq5imJCg4Q6ZYSMFaKOSKm8wiRaAoSznCdBp6M5qQsBJlGs673OhC6odOULy3CqTrzxfWjS/sLIvzfRcSfpCOcpuzG90C8QwYCvjEz7m1xFByvTdG1ylUb6ZGwUSEEnwAZMe5krXhQA30s/o9VBJ0WJ7eUOtj+JeKlQ5gnYux9T6MuElHarP8xUL1oy/9pM9fXpCX0zu+S/wFvnF6F1grqY2iz1AYYFTYYTNs10JyC7PaylIS11J4FTRRWJUwu3jSSYcGuZqypw1n+fM2U5pIJqPd1jYIOO/i7ddStYt9bq5IBW/ywVvxQJxrAApVIMtb3pupz0L+m3ckwK8k1H1Awt4ESZvvIoxJ65oQFRjM/63BD8Syq+LK4dkrIdLO6+1+zk54YVBksYE7l+edVQBCoTtgu/XDDEIHsC8yQE/JvvANx7IhcVDHaFYmSN5+2V5YOhekJKMQLVdI15w6sKbkchvpBAIxjMNsSkM/EqE76T1JxVzymTNf3L3gn3att9mZn1xEj62iWOoc7/XkDE595vz8IbhgiDZYhLTddzbb73YgMsX+7fr14Dl00hNrEPKX3bMMGg+XhtJVQPV+i7ipIBwfVtGKW/5CbWlAMgEKmz/zMNlG0pJEC7BVENS4F8Rxwb4BNObsRa2yCgNXmAiz7yRiUiAABR+qg1kyih9EgeDzKOpXUFX2JXGah+aDV3rCf6csTp7drfwpjAz1B5DnKtR5DMsSNrWbllClwmJxjFtmvYDRfggieibRI/QT5XTw6xI1KVjvHTV/SYl6kLUB4WZMzGyBwAT3/vigMoQ7w1021y88La/ESfLjhA4CQVw899BZXMoaS4k8csjDwpGRj2tQuwOAM32qAQYTcYY2AfcQzSqmDhdFYYbcjco1coW+JiCGVPvTlM5DD0+iqdOtIa1DSKGK8ybdmFdO786paxwsJJ8Oyv6S3hjSzoqswMqaaTgmy4HXx+7bz4CrwQDXqoFkMUweXPPvWAO9Qy8DyUtZaFGuRiMlKmbMiAV/DLf/qgisqNfeny817G+exCg0yoKCWmimj6bHszvbdW63PyDHpGRywoUel7XqUyHe/5Ns9FVtrZEjCpI0aOPxgSOBX3/xCzoXi3PKM+9iU0grSAgUcoMdzJyEBmvoQB1EHYzJPXqdl7i7fMM4YPATi9n0Xh8HS8HxVUlil6A7tmstaggyNHq9V/LxaARxgN/h0LYNbrPNB5sTHltgO8TiWi9JVqUkLWZwCqgqA0wQ/B2Cx4HMBqL7a92CUPz73ChqGlTPspyDYysYv9b2DgFwGznFLzBK+qLnMlJeHC1qgR2oN334ofbrs+id8j9sDoXBmIlLUNgyq216v7lViBpS1L7EaVCxXb2Oj2kriKp6Vkdq0WlR+aqhtyuH9fN3jnT6VijYBDDYIOZ3lvDlrf1pXWUFJC+jA/uT5bGTCrhLkUoVW9kizZEdiCNKqlZI04cOfgvWxZowqAcr2FEp8Iasf5FGrMBSKJPXx2nYWbXRD0K5JEeQ5p6r7aEdzAh0unNvtQRc8kdfaBti5/1fAsDSLpd0dSmSB74F6mKqZJrJXy9QgBm3MyRtZuFOL9e/Am8iYM8YQoPQ+Mi/3if1J9fcLJyg8bfEbGfdFhdrYOtjKX/P7Sa0kMJVAl+pq8fyMdiTZf8Lkp3ERjf8HQH0Z3wZoB7LzT6gk7gAzkNRmP6kmBCWBuHGwYuxA7uzZ8Rz2sGoVIYA+QcVw0hWSRhDxaELoqbtWD2qgna0yCKYoD2oVTb9iVrsSWgohmHn3z/lreWjD0ykhGBPWnOJNATQYf+puVbP8/Ci8rSuHSRGjihPlYphryviTQ63T4o13T3xpg/e9e6/C7k9+Ng7mHZsbMHN69W21eOmtA38yzOHRcdxe++0Xs2pHFuuErNcGxRrVficsOVCFn3UsJsiYFLl9v7lMAodbS9SnoIPlSazE92LcLXfz2owyToDwlRwtFur6/xlPpd+K0rhoauMGszuIoa5EW6Eqt6HEkdpDROYdLX9bq5NooqRvF/qGJkaPjxqIM/U7iHpXdcNnffpqNwheYCWzQxpRbL0121s0joUOu65mW81EouC4/d9W2Uc2ZH2owbIyh1GPYUJ02eMsAybv+q+5n7O5cC67hQ61PN9N9+3TS+oX6w9Noxu4TFJMbAjHxpehQwZetYY0r+Pwr9zwAZNjId2nZ7dWCi/97lpalV2DCoLZWqFsruLWsKbjOyN1hiyGOMNyNlQ7dggUz+lMK4j77EL7TlMrBBeNiB88ujVKA/EnQHaLabzcJDuUY7yxKgWPjYDKs4FFelbbSTTs2yk0zx9RDRx6X428obqKjdsTEexOXM1TzcTT8PqIS9VOMic2t54YmJoSrUot9R9oH8I2/ysKaHIV5HHMfOyWDUvNwOb71k4ULNeYd9G3fsFmpOd6VEqAzWmVtTidNacnnu3FxHZFlY9S8w83HyaN7nHJI5vmyXC+DxVXjYnnURkyzAzGEQ8ydC9QFXEC2QvIlmMAyvCcE2Ax7bYOVZbtrlmkkW63tp0l6xrbRdIaFfaaQQtRDsMsFtLfiPgFgRrEkBuobC3XMPmoP9VZdpH562tn6KU8k2vYNzjINAMywFFTQs7gon39jAAjgPskjGPGuaL4sIwF3bCXBwwgOyZQmY5PCd12W4zyWjlrTq8d5wJ59L4JJu4Mz7YRhFTi164VXD26yERg4dfJDbnJU+aXdnmU71k5JUj4BI77Ri0nsHNmftv2m73KNXeXNFGk20y6NjvKiWCrA0CkjFfSGt2kkTq1qT8bN54AkjlyIHPm7zCp6niYDdtdxuMsoBHy5N//o48BP23kEKc+2JozUX/5yScBWALyqoI99RRQawtdZprYlsxcc7HVZyAt0bdl063aHo+azblQjvxttcmUSSH0x5mHasUVxzdpZ2NcpVS71UF5ijuNfiX3OYNOLqTzY/teetMEHZYSg54BNYX7GNtysgRahmLKEPeN8JNvjXQ2MJm4xbjAmFFiwHli9o6HrG2wHRHalHmv/tlJaxJTJ9+kzYKzim8lk77vFf4O+b+qNep7UOISdx7StFL7F7mynBPA/xAoxof7IiqOrKvutvr+Y0KcsBI9rMm7Kf0K5HXVno+DRDz5XjuW9/efcP+jow/Hhy3iNim43OYKlrjYf2VV7b6Sbg7oDzpfVQhSlkuymycUMU+aWo72DTijVnSbH727c1IVC3E1cGDQou5WzGHwMbCFnsHdvYjIRIu8zbS414xI/+pqyUUlki+KEnu+V68e/IJAM2R7DINrN6wK2WiqqDbu+jTsw+DMG1OYSswgq7ITGYhLeuCH/Kppx3H1nun2gkfcR7/WdjpUWRxVmCyR9GHKgWV/1Xp21RDElauoRswDwOZpwBSivQVQAAaFczixIjHycSzCOo0a9woCF5StpdryEB32CkyZjqaNTLMA1eqQOnF99MACADRiNJjDa1+ghfiYAZCo9TRoxTWPlBZJaDJ64LcrL0z4XBMKAU9Cl+NntnbH7HLdIWXwFT0MAXjLzh61MCyYGiSMart45N5E2MeiAwCX6Mla50tIJCWy6xwfB2+wUGhktegWnbObn08zo6Z1RqXS7MetoIZ78Y9ltlgPlxmAWypvM4uFRdDAh3LGJXHRnuxEIk5KQCVsOpX7FogpA8gLs3hs8xdXFimrY1zRiqYxPgDE5PINCbQAzHiOL81Ri0vdJ8extdLEefcTPI7voWDlRPUG/qeYcGDdk/CG0IQNHmctIJTNeujMHdK/+aQBjqzIGWJpx4iU/3Qhd5Th4VXcwZTcDBXNcfmNUqPl4Kg+PIDRyrLr4TZk1kw+qR6LQhM3oyI2pJ0lhN9Lp2dW/lcp9Cc+JmkUd7Cjr3IhPKk7mitpOG9OzwnWhx6r0eSWxOY+uy9pHtP+xGYdEk7sNo14c1fTIHWPIfQRi8QlwpAe+mWCXi/0I2anMS8CqOjUwssO3y4v15KYmdqLSqGKawdmhsqxzMDLIkYilnUUdM70rfrxl31bawzEDig74ATlMeu/MeT1+LUfc5BPvMbqa5DoibDBRHGE1VD6JKB6byy0DmLwrRI26++NJ1UnnvTFe1N12cXffyKVK6Ecaa93yaGqZx+jKzwXFxvLQpLN74qSgI/iwP1ayqrB9aue82La6uvjtY99CfoBfDCcNRd2spdM3kjW1TCAPMvRBgoVv8g01/qLZKajQVwg3y/L8xyXonz5ojIPMHPOg3mgIAdNsOLFTyxdrhO/a5Yo+k8fWFsXs1vgqQI/LqZE+QTuIIpiBEL4tCR35++XWk5SU5sn6nKpHvWZrh3pQKDijNDzYEhojg6dgjOaZL8gOeNXiJtuE10V3Bx1VKs9SQR+DZE36NKah/N3xU+QXs9jOYFDCpQba5E/0jdmS9uwHMzuLZJFor12smK6kYr5g8fq2JrFHChMWtHM60bEDRlrfXdJrzaJv4j4w1spa9CCAtTTbLnDFf3FfHr+MzFGtMHprekVstleN+iLLAQTf62DWHAV+vIJz9s3g7wB43UrPOfNkIdDZfWwEki81PLmOtUJswRPrYqoPyxDghd1tgQ39exD5Zqx+THUzcDtpNpBzigORzTcoiNJXTY57k6pp7YuPMOh32p+ksIOTMRAQNdgoPIoFPV4PP6JAw9ErlwR+3W8Zc6wCBEIcgPNPJQekHZhZi8ZsSVar4s3UuGNKx90WeUXtCr0hgHcUwpJUGvichHtz9FJ6PvR1OKRfqkkKutZIIgDgVI7claJD9gdGx/IjWM/QdYIocl/TzFvusmYMDwVMPABtLltd1PYppk7DDKsWNoQn0LgDdPzsdJOryC7JHnSXW4aIyjde+xAo1V1HxZ2PnQX15+RGsZgPGLGpdxcHq78uLmhPbSX++ME2lzjTraxK7zfQ+jDQFcHQLzI+n8KMS9f1DnUYUva36Du/ZuqtrWxIyWSsg+GlmW/5pBGlrzNnpHP4KQ1uH3pJCdKKdiA5Ov6jCeZIL2uV5cEx4KcJj4OIs6FSN+rgaofEIRaJx3ZdMy83PdPVvpo2b0RcyAC8eN4K9dl7dQslAIuoaUfiZVwSVN1MY9pK+n5/xGPpo/2nv4ZRfkPVcQfK2Hrf6NA8f2ujPgTCiKU6WX/8DOkOn8lYs9rrxRpJKLyPLzr5BhvIh/9vGOPMgU36vd5hYjYPipOyuIXf5/jx/OAlJ4z72Xmh8CBeslw8Q00hc0u9JhDV+nrxwUFaRAxYjsBpVrboClwgDymGwWzzN594PxsRRb2nIOp+bzZt7CawkU9aZWPhNLZPmkAf1zStE+4Qot+9segiZfONkLDQDNwKsM4e/Z31YLy4IqzGxIG0BSW4fpXi3GRgkYRrfwYwWwRlUCvwJTXfwvfc67ZIBUoUgjrxpIRnsvr/v98aykMFfC06QbFO5hOvh6AZX5oc6gA7fhN0qrYY06JLVs0Qry9qZcQfyo6NcHVzhg2eoDMv278UN87B7ePY6Cj3ULcuiGf8lbOv/R0IYQDOjskXwqRljvDbSDJnryNo4tYqpUCdvXqv1qJ5lBnlR80tlJwQhPX0MpHoTaGvtw7YLvRYZhJxfrlARh+CO+z+hM0F3NW/vnFgMprCaisRyhTPJ96TZCYGJ3V3IEzGZivaPoqKC1iW9q4rKn0NQlNdTROF9v38vo3mImImR++RUnBY2FnXhI6knaM2qYpzg8ycUjlgRWgDZS3UrYs+EFopFkVgNRM5EYExvDDocc4ZWiB6l6hPvaD2IdNzVhhAdlAJt23t8hpQZGTtI/ahhIZDCmU323aU79L2RcQJaW5xbJg9tzx5NqM1snfNT9rI1SHjNZYemt8JbKy+b5xC6zDHanF/7V8u3bFrsjVodVkquZ9QjI42Y+/q8gHS11J4qyv3bfAtm962eXzNL/TrQfa224EVFhK72J2RfJncKddDrufODTGXdr17kkabCVidAk9qJd8m+vI3EnbcLvUwCY1PNrvzsWxDn+TTS5vSBNSVit0yNC5/IfQhU6uOrbeTRhQF+YlEyiVGLSOLwgrVQ9Wc2nNt2Hm3JQM0HgmXair+t/n1uXVbDUFcxq8YGSb+cSObtyeAMBYVQtTcVIsQ5uVVxwCElTmgAxBw+hYLhvCuFlqB28lP+IEsmwzKG70Ilsz/g5Oru7NCzmympqsf3d1JLaTojijMI/kArpT3FN7bCUSqtaNKHj153ECqhi/K6egqYwW3CtXOnHuYzIHWawogP7aoDLjN60zT1G/IZGta8ROLmEZbd7gyY/0qg55wwhp7zrMCGpEFKyj4NsABDJkXbJ0uOMAf62VuzxhjShEb4a6v335T4XHTHDJw8DxSNTZRTAJ/3A5jki9Q5iSmkJfw4JfR3oftV0vGtVNPUQ9Gxm1LBbYbDCe9HyXpM1J8UfVZKwb75KXmRw+98oxVsvyi4UNuEEfY2+BH4hIpms8RhTdE/kegn7F0e00tDrH5WcKvw4yCjuUqwA9iAmZ3ZMC+Tx1hx72gIFih7zZxwv/KFLO1qpePPr+mdom/E86II6HKu/QrmRTqibUXUqivUOBVdzR+ajfaUeDxUYq+Ad+kSznIpqOp+/MNhepP/RDkOz8xrNhJfNGhpOAkbed5AakYxok02Y9gdsYyUq1Fs/icZb1E62qsbEhdm/0wADIVh+VjEWgpnl8nJDUTFhL8KmR/EpYTAVOxEs0BCtCURuZNYNmpqSQBtk94+f7a3nAMXJY56B8cwi1PcScV4/yWPDp1ITr7Gg2ZxTkFTBOAgYCwM2wI2SIY99eyQ0TwEdY9Q9RB7oEWZjIZylPFpJ0lHyqfvIKeFf4wDwXQSBcdl+Higbc8DeiCj29mpJzVPMkDjzxOrabUutFgRbdV4jYHrEb45uIzaZTbAcvcjqqFyxiHRUyJNKJ+yCdEYzj8Hzbbd3R++hTlCzwEFoavZ34TF1wQlMGPhV9E3zPEf+WdZhVQKz8juJ/1fKXQicAledd+p4enCk/KAb+SjPcdyQXW2A2S7tUIsoCcOyAY20CeI/mS8DQ1MR4ZPnArY8prGa2Xf4RzGhFtr2CSJjyQwoRYN5dMgLYs/AlSrZMiA5GF27gWqbQls7pHz/Zlxw4k2l9Q489RM3baIhubxeRI1NQBNnjE2fOSrWQ6R6lCIV/GPVqNQjFR9wuhPlxhghoZ+czE8TsToLlGSYqnheo/WlSoec3j5edB/FSk7midRo0QkvVX4I2IOL+Kq2vpKLumGC1j57BZBuYVt9CM9Bqei74WnPqsjPX4ZXZF2CuRwhH8IkyDQD5UIycy39Y3uEawZW4T7nYqaNXfYZqvjEnio7HWr0Reef6GXDIKhjD8BmVNqZutWPxycwC9PfggNH3e8KpUGJkPzvcA8HF2cUb1B8h4SD0bxi2W/vwBOaT4iB+GNIJq+NgTRux5AyMUgUb9QCKtrva5kveTxab2KczCKFsxlbi2nMHt3UCDuoe4WAxKCNh6aF2JONowSyFl22Wi35oHYhqkDIDSh+t4japPBAaPeYHQ5AwNgbmFXKOUg9HstZ1511SiyO0/kwCu1Uw2KtK/UTnArvcySJT+rLiMAmoW3HmfYw2tqHCbTb76mGyLyPIa4NklOyMaQe2cP8TQE9illmXPgadmL3WVMyueREmANk1gO/WRGYCiOhRlrEVTjMJuKVOSoHV6DFmm0OCJXvFewxrhQGxrJwtCmb6WOOJC13/VN/yjHsV7l712RzGq2xDfYDAgu3SlVSDFYQ2Am0gs9oS4iFnplCGMK2DNpr0ic45ptnBePZ9tWf721khf8kdQIe5wXhEY9+0EVGopQOQpsSHh3NUoEthlNet8Y0pg/FmrYi/GGChJu7YqBTbXXjgl3SEp4HjSQOQaUFQdeYIFKlEX8iqoS/v35/LYGRwqQaBKx0tNW7TsiFex+co5e+Kde9om7EBIyOFRISbdx+++vB28cfRFyLk+W7/dBXwOnK51PzubJUGImCfZzDIjU7LQ/TUtFelbOdANOg6T/UHl1BevcRsaf9xy+XirL4bc9K1Y7BLlxVu8t7g9sD/53f7o2DgUcjUD1hAH4fOZ05QZEkkUXh2rmKEZF/yKPlV2rl6dCQi8Y5wTroJR/fx1PF66cOjxsE3y/Qk3dtTsFfQA4fc14Oz2wlr5kDMn/tEuE3Zgj4Oi/14MMPnw6dSWWyEhUrIIxzS327+1UwlGp0WOB/RqcngkhUO4ipb4eMJSLViB/V5/Z2DuF2j8/nJPO+/M38SMQaUo7mC9ptHZhGVOSnm9sfbB7IEzUPKoyyX3aBuj+IDzeiuzs5yrqy7pWb6kRs4ibd/Ja8G4NkOzHt4wHR+p7DwvbAWEaBatw2Fdbo/9eiLjqK0HYPP/9F2zPmv8DhSIhcdlqmACBJyp/EJ4zO1kxZkOYRBHKzwSUwTr5mYIPwr5eRgX3+yam9TpWJLfZf3Ggyae0kvNe40oRpSgExPlZnIaCcqhQ83G8n6rAtalyZxpOwgD+jGiS0H8ZMW6IWgU15oBnmyg6zFQk9XShxbpY23q6DOMyM3II657GiFYw0QLGYlHL0oD/MkiNShlHLl/X29r0Qo0EKtLP7pPJkMBxTOYtIWO/JgNEUYJrOZHF1ppDygf9zp3teN5f2dD3Xvjx7obex/SEYzrLT0TatVdm3jserk75blhjsay6+7yobaMljz8G3b7ULMfCMqk2BAh37x1nesR4MF28XY1jrv+3Uj5GYzMYXg3lvt1UvmFvUoOlgoXW+Cz021+xjwTK8hx2aFf6p4h0ks/3J+YtFq8TYRG240sLC3r+0jlkEyryNcARfgF6vNANh+mPVMLRoXMTFR7F1NZfg+AEBQs2jn8vVawMSfvy46Iz+dVgcJtOnrEmhmVPszzSrnTsSa7wYeM6mir29CGbAeNkA8NPHHIr1kCO3vSIm1YGricpXMctOvkaVfg1NbeofBuzm1M578AnozHJ8Yfz+RYrlF//eGhU9Vp/ElkV9vg9zYijrI2oMSPH+Mz9FEj8HZREzk2JD/G0AsTGvqkr3LbCryhaBpJQHgpIWiAZmVxX/eWneeLJvU4gTURMSNE7RJH21aSPEIr9UqDkx0hPivZok1HY0IqnEMoDduEAv7/9supQ/hD3vxCeX3agg2Cckr8MsIf/lVBbmOZdlBKxjhbJ/DHZkgqiHrlbCbmyJKgqZVNBp/jwLEOcNr3IVizGUNm9eZUKRr4nNyBezkCcfNXuBJc58pQwo4Jyfj/gOQK5cKrFxsNdtHeyjjMnbq+9kEW8csy+1z0PunYRYYHewOAsaCH+XkDhlxVbKJTDiH7pSFgW6vc8ctcf9SvQVz+JcipMKgUxfzqZQ9HDSgy2lLpoILs44aJOuxKmyXXgM81hybwpoBwIzusKolv3sn2vJ2b9hWBIf6+Qusr5+/Ky0l+uMyukfTFDiI020gI2WxnT6ztm8GB778d/W35C9Rw+S1qMeKDJRWnBhxmYlJEH011cN6PlqVZvln7vu6DAlxW6K1b2gthPN9poLXaDcIpOwSn/BVEOKsxUZ59bqx/QGHPc9H08WyE/j0jPX7HK0P3rr9ga0KCwkQ3Gqo5+MsDMFJF6OkUEp7zly4jscX6AaGGk8XMcOUmzpYSrxVds+i4XsBGrFP8Dr0iEV7wU7RvVXs9Jh5dXzOFALNXYcpQHJlsl8u0e+bXmNOvr9b9miUzkMCB4IhgenKv+kBBEIlchRVa29K1KowRuXuxf5D0use1oQw2m47P2JIZfJWlmGif+TxuKWoc6y0y7X7fHf2thsg0+UPgGmN9oLmxi4r/GZXjC6uB1sG8R4LdMSn1QvpCVe0IYldlvcKpCitqzjAyq2I+SLbwIf697g/M911ojYfwqv2Qn7/5IorOJ33kltZakLZF5bz0ie/0gpiGkDb4mtIfObvz91NJCj2dhVnSfZTWascoX8jLbE2ljw6QjHj6cJnfoQcNOifLZoJkwat1CbHTwsVTnyf3DOx3AZhu8Ww5bWkXTt2vWtUHN6g1fJakFVQf2xepzb8mew4TNb7Ndda56ary7HW81XfQjJC7IIy28manpk6kptJhD5ho9kA1VllFy7Hc5Zmxf3UpPGFZgWou5ql0hbLFAQ1jfLtfTzeK0uuqZ8xvtHIOSL4a1j0lHUdLngnLVeZKA+gopp7bdREAGPk+B4Ihzoq4d0PDNn5j5BhPd6+xg0srSDOGSOOp2T5EAoBrT3YsTGpy7eMr4a7r1CsjYaTGfIKPbvtzQTsUupyo/nKettEXWy4UowT9NqIyhF12ZpJXPrMM5IOrO/w+jncFLkzQWnputENrBZNl9XU1sbAjncjElr4r/WEZl9cDZ+XRUh85TXNXHPkL40O2MBgVFz6uujjYCN58e0rXEJx2PNzv+uHa+wOD2dbqrVpHHvHur1RjLrSw6XplgGn4q9uOpursIwa+Du64v16uFMsOqhDvsbjnhoK9ARGenynPC0nxVXOeCWBNseh3VktM17aLjE1z0uWX8LO6QsLULGZxnGlQIjNew0quYe7tBzHL5456fnwq7dyQeEnMSN9HVLxyezY6XepIBvQTFBpJTEP8Tb9c+jHnVJFK+jPxa3HfZ8DbUUIzkvpL9cdNTwSFRviBGtGWxqFeuRy7+RJNTZKoMcDanj9jyEcXd3DzpApXYcWB9VgnzqVS5PHapABnMrCuTj9g/q8ZQeNw1IVH2t7pnnaTdRWZNLkgyMWKQOP9bNj6uGpoTiTNtp7LgVfp1fTTFvoSepczfhk0yQaehjRYslLBHhKtzqG5WDjf8L/0Kz0WC2sN0BaCJNDPLZijY0lsMt8MgOcgtzntNa7fSwp21eX9rcY9R5lBGgKTX4ITU9J1F9M9G7oK1GgsbxGaCLc7zL3o/Oe/cVbmBC5uSxU+vZKaI1LT6FEoBIT6JIAdnb59p0woEZsRzOl+SzdU1IFKfN7d3jHoF7pFe5NRX+uKODnU7sCDJYcK0r1BXsqp6g76HrWKRZ+L8qG9omlsVi0u0Q/kK8wErLUBuZuYjVDwiU3deVm3H8O7zTKUmTu2xcO9ODoolLTzftEazSQ6k39ayGZGk8wxPhKR074VKOO7bLsx9PRMIB+iVwxBYnyX85FxOecvh2e+qN0UOILJfYakXTSqKdruVPxEH8bMd22Zbv8S9z+bPnnjl7enAMSe0ABmEb31aYa4UXpbxuUE2uqSECgD6PwVOC1HXXQFU1yVao7PweTe8Uq1lNWECkEz8w/o9SbNKRQLXTSB7wHUIKcz4hdqf0dtP5+GTeAqRetUcEVt5r3Sg2EfAbwZeXI5wgz9VgcgEOqqvRFUqbTjx5zfU4r9k4YDnCNjMUpFrqv2yzamkis1nidin98iKneF44wpS0Su2RKl6NA16wspiWlSkuYJwtjhY9c9kNpKR+TvgP8PVVNtKZnv0Gr0qGFVv7AIzwNcK5wKpzNVYF4bsER8M7KxMmoyc27X5cPOsdAuP229W7e4CNEf5H1fx7VwgIUxNZULaaRgQnP/tAL83lVi4HFxBnS2CYWUiDjY3ftIUsTVALPtshYspI9kp3waXJ9UoiPdytAixL8bC2741AUV96zl9j5I6NPnNwVEy1KD2ag7wcZsyFojxlyyBfRJxNzetPOkwup6uywphdheIK23h7qxJsjrjk/G+ufhC+12kkVmvypDteIMjpptAzGqiiswsitf1ZYSF4vh1eEYhxfHW4nu2RsmfpFU7aIvOMA/zLGF1BiIpXtLEuYtMGljtfmqjrEwafR5qP2d6Sa4g/NDCdVZ54FHVXiatoklMitbAcBZDSd0srPCS+2/BPXjgyZgpqMRjUP0QmkAUbdJvlo34Q/z6HSfJwE10/Mc8bodizc8gXvb8wSgGjk/z1qYLoEBKXnhpypbivkSqm42TpNHAevge36pgc/73zxR6WdmSZAPtBqmeGBtRQAIQQ2KDYjQGmnqqNjnfA2KrZi8E9a+u35KnlJ19ZlofEGSWNrhc37RP/i3IUzLkyKOe8KQNQnoGFFuTxrcSBd9C4qztPnvjOIh3i7zhfrmmc8Qd3S4Xb3Fg2mjM9nEP8fj4Q36iLgQbuDYntWgz1V8feFRhP5vsvfi4/l84mMoxixM4WnKmE75lsBgfZi9GRSNMFmBe2XLsYDyIh2tcN9s6+T7sVSpSvxl2XpxNmlxz/WAKI9cCRLxH0jlPmsNBvb0FQqvImXRVrImSoBEbjEouGMGk70RS8G6QbXr99jKHTQ+VL2r27vhi7oQQanQy+26esp/IujPlM/qtbvdEB1y+fQSvZaBbiVzJLhiUNLlDSihmssRu3X2EUwCu5onZSP6NW36/SqYHey/R6t9oY5UmZx7o+EWBfA34BsjpQ8HknVIASvH2l3hMqzsrbUuxfAQBWIOKE6X5Nt0I3adBzeHeiEPLsTCLmfcOI119wfhPNCA5Jc3+TJ2HtEE7MMcRPKdsWr5mTWXqBiRehKH5u+Ve29E/+/BnoYlbc5yVKP95K4inQkwDZIEILZjiAaKtKuOnJRI2z24oxkEiw3b80uGPfFncV00CRD1jlvWray7ucEFZDQvOPOzBsyu3bRvSxchyjc5w+jXxy6rL1sqMj0XW0s2TNzN103pZhsZRPUZMVctRjejlzZCIdAeIPnN6xalD3vJjoOgP2oqcDJsoc8Cne5QDuWx7jOiUvtJRk6xDq2iKU6XOsYJMboeQftWhbGEj/8ylrhPNZ+K5nAb0E7JP3tnEXSr1NyyZOgnqDS2ioDRce2GZTE+RoHWsPZTjmzs+guEReNYZbit83c2uybVjW9nz0w3zDCRvT1wyqm4LeYk2xxsmH04HY+Pang6nRavLx74TbX7CEfuJs7RUiim30/Ua5EjWDps4Sz9r94z+WwzfMSicHHrB/5oYJU2ZsBtx27o/IoRJbqh88B6U+vOXYmwMio6ucXo5SQQ6/IuBvFyno7sjjeci/J0ZI6EK4X+Xf77HXWphiYFlDTMucnHVOOxuMjRArZfClvPrNxz4Y41wWXKsBQiql0vLhiye+u2umsUSpRaIqvbgddksDYRJ7iQhJCmhjW8ZqctYGPsYhS5y6Q7QS9rvTLhesyeGHMsLO67OhuqRMvSRowlKDCnryqTFaWCCXQiYibeQjz9SsVZZYUEfcIWuapXOePDE+chpwO4N85WOvKJINsKmUt7sZ8G+ervF+5E0d4nIuTkMu6Lm+L8AP2Xdkv8kdYXD1Og/l4IYArM1ukYSjdLJIfuCxxvWl/kb8W0PDmh4m1BFopsh28s6J5mSMW0Q0IyDsW5VZxUiZeA/yKWMXvew3TfRTsXqvsZJoCyIgPZtbva8G5+5wxr607ElYLirEaFocldLvDcqLElbRkNdLf3RLzpJukluKfkpAWpGzDZeAZCglmvO8LsA4UpdMUr1eHGXCvhqBjdE3dEH9ydH1omqtBTfcliv0VUuCXpqxIurOtXwHcYP81qwSDibfnZ7jhokhmynyLnA6N8OPGFIP9VdV1glhxMU2vHi2uFUTa6GKJIjByPt3+CXsUFpkX5Wd2r3zy1yLmw8DXZdSXrC45U+AhWcu3/sluaZpDdMqz9GBGG0ZH1paj1xVi6ytLXETVCRn6950IMDQZoebrftYkqrV96eQUFOZwokzwA19VlioI+CKp0UpuKP1tRJXQvLuEhMVw66jkf98x2Lsavma0mJXzAQd8947swBeUgpQ5Q/bHnAXeAYeu2C5Uys1FpXvv6KPF5kZ3QkvaDJ0+nnlkE1REedwLsdNU+o4UmXqdbWZAob2RYTWTP8eDaMJ+73yo1aWytdaLWGXSCyokUIWkHfKp/rCnNGaBGCJedSufbQw+qm9O5kpmb2RXG20sQw2XNN+1cjp4YaN5AdScZOJSRnlUmBVO8dB8TL0XAg2u3K3IyuCtw5TEs7q6TuS7BRLLqKhLx5PA6mIa4HiVnELSzk+HVwSFGwB7/jp0Fxrg0bHw+AJNbH8JRjABzXhxLUo166tSXukS+Pr2ARD1/b92EVAgFhkMAkHFRTjntt7jIg0fE7TX/4XKyiU10akkIZDM+6QuJ2KNVZjlU8Xg7xJLncvdwVYex/VFJBTksKMb03UhhifyO42GBxeGRWg+JtQJ+p/vnd/XuiEbc0nr8GCB1v5Hz7VfEWwE47V1484balqCFSD5irAaTY19W7Bd7FvZ5cBwEKTTU+iqcpNeZY/R21fbtg3+mUJbrJ1xEWlOXTdERUmujxrA5ZwCx/5Assz9nxLOpcMccxjbdTKQkRlvnr+tJCmoQkulSzBoztzr6wzjq9sCvRbsAl7ZvA8vOvCWtn//rEgEX16wi+V5Sn85qtoaDeXF9IhRMoEL84z9W0x4Xq54DjuEh7JkzjPDjTP73FfdS/oRSVCAZEBILadcRnMpxuqDd3L/VW28URQk5fC7UiGIQ6vq3ZVQDcGoZIK6hyrJ7qTJFa/UwG2F+Pz/TJywWgPk3iJdQYzdWbfDbxyURqoqBY1WCqDN7yiJi1/Mw3laME39yiO6GfOj3oBMnOtdTvzVxaIlo7HNY0TXd1Isnuex2ZueFkSYJVg48kB3veI9Lw0GNIKvpfBhFb6jl29Zj3f+KzpqvhLDWQ5aohHDHqZdcjkNxsgCEpIYlrhfzYEhAq+ck7bCRq7P3qTBRS/NKs6+dP8G69NX2BJcqxT723zK0tZXWVjcMRdy3Zlplh0BzDSmwfp+aQ0htgxrw514BCUtdjqJeTyRsmazJA0DyS8Ptm364XvmdxIEAIsjCBbZP1zMdXOCo+zC9aIZnOibhSIQ62Rt9FvG5eXMTV/cDs0iNDdRbg/uuf7ur65sYPwjz9no8zAB594oQuWrf9ulw688WsW13oQ0xHA6t1eeosdIhXqMeoomYQEh994MfrVc3V1dAxPEb1Dyt91GykfyHygYlJ/W55YYiByiZMzwBdjngpwhCY3T43Us9rrcUT0IWq5oy+fVLqJHVnxaTKYE30uFmJJFlXYLDKsHfBHmU2lyobEYp2aOVJA+ZcGeXOJvF9A5p1amu1fPxCytR2bwL+M8yTuk9/ssOft/tER5ySONkXZiLkx44YClEYYOJoavZ3G1vEfwwFqHt1NrLLCQ4coS/AqMGZh2T6kcQDIuwIHdeFDr912wFdZWa1oq6seD+044pj7PWogCHcuzHmIOLtRyA3YNWXhPFvIMyeO27ue9AUDmTsgh3ZOZhj1H6kX434YgKKt0oLFcUbTnUyn0rmo3n7FTkrD0rb3Bgsb03b2Xe/gym7+aKOr8yV8izx+iyGbu0RJ8ehcYavaeniihfqJEX6u5yOWpkixyahFaDObUrb72fK0a2iL1K/QEaWTUKedmhg5alFOKMaydn5pZIP3E/xjOwnXCGNpy3pSHBCFpbxxcND+iXTfY/Dd4UJJviKHF9V9lXm49a3Q8DA3xOewnzgqVXQ0QW3QiYDGtMaI2LT19JpBFKLKWCRb5nK3fY+QD3qGwquSYlckn/KTgjLfNhwyYkv/M8utREUGxdKIoi0ELu7IQ2yVpznmg7tcOq4yThVKoumU/SULEXqtyzoMNKMQI0BCvqG4FHeYUU1ivEx6zEmQSZlAYvZZRgURXoxlhhPYFr/3Za+JkWpuQW+3GTyYEoVpvYcTHDq5pQOEsvwdze0Y88MKtAkvyH2bvMa1xKL4tjJR7fvujt/ezWMF46+ca3XpqZzAp4Bsj942Toh65iMDxW080et4W3o+1lJ49Vba3B/AZpPtVx2s8HkVI5aRYHl40PUPt68MiyFBeo/qLTNdZpMa8U5P/SPl2EIRs1zJcbv1fUczhQLF+sYaAKGT8LFYebeRhMRbGVdQDqKOIj2DnhY8aZcl5895cUeEdJteeSjZwLIUlAisuJmqVnuK9axI6C107r5IJ+ynG6YdSYkAoT0n1tRybPFBkK0/Xb0Zw1crIIq6wuRgXAPYTWrXTVVvqpkIGrReSihhBaDtEzgtij8IMj8tYkVlcn9FGNacMdW8Nlwwmg8RXOabqFCFB/jdesVVjefXDQhpVrBEEJF7T1JeK7Aud4xrIFUBztTIfyyaWrkYAYZbSW7riR6TPwsV4JxxmOoJMvVZp8km+2a8Ky+1RgkvXycuzxMwgZtEN0KYSY8bzgiJ+kv96l56NaEA50aadryVkDwzeAEeY9Bb55YSLdDAkSphF5sPT2P2nYPMnk3cFCG/jdLNf/Vr0j6/KaGdhPvHkiWUSTGiajAtzp10ZEa0Ywn6sVNlM6aWEGdPU4JwCyfEaLOmzH5zVheifnubQHqaMcw2eIYugvrW6DakdvUb3Za01rpFYagS+0jsI/CH2Ml88tTNub5yDgvf5OSe4kVkH7EbtOJyMOgwLLBI1iKrdJLBzMxcn4ADX74HVzN0BUDbJA/v5Mb64XN9A9W2l3q8WUcPiipKcjDyaRdBqhKM1VxomKfRFWW7uGj8HXMw+cKPQbP4D8VIsuqqts1L7fTw4yrwelB1hLCXIX64oKvB8zsBALbdxexXY38o68ezW/W3FdxUSIvGYQC+aAFAdS7TXVd2nzibXpKX3Zw2TAA+V7fx9sfwDCEWEZfQ7HU5ujtBoc2bFOYROlihOOpf0Ojr2CkRJ2wjSn21ctfSpfBxSYlQ2ReUVbXmontSiBWgAMPAGCK1Agjh+E3hQqsNy9mDA09bFWj6Ys1e58MFy/xRt1+QRqzV18i2uJ36XqxwlrS8z8ZZG0sEwRO+nhFNxfGnX3CPpy0JtjhgL7gHNkwmR134SD/TW5WvM6fw5e39oM1lTNO0LniqWTh6TSUc1NLUcgvmYDwHMHJyTTPSz4Qs7oONepRnEFR7XDeIjjR/8sRcP3fuQ7+5xhMD9nFfZZOyWc99rZ5tfIkPlo9ezh/DuPNN8lRCEnL0vroyhBcEIF/ExEfeJ3nx0PQgyWNd6t7FHLpVOB6uNfeCUlo2JoPXPpzfpyp41aRC0Oyf5xJKCtYufQ+T55IUG3GCZVl59D0zIqJA+OEqsR2xrPrVztqlJusuAonBRYKNGHUuzT3Mk7NpVzA5iOjOsNK5k2rdUkEQYwaBaWeAq/7UVA/YdxdnLzw/YvTDfczk8vFVY+Ng9FXhvqV9Ar41RyapSurf8iL+4fV1UiSJCgzd/47ASRbrXVSgUI3va1lt7SJ+iiqIr1DP6XFeVHgbi4MwgIf/Kc21cCEcawFYGJOv2WYRKjT70gR9YqVVkOmU7l7nnqq5GjbFTFCKkj/RPiNKke6oyvAnl70fKqxprQkOEV0JNi59HVXiHegf19a66P/k9NEa4Gw31SsEkHFF+Vo9qUeAV7ObkXY4Rdl25jLltNc11i4u8rVOGeMrkrSpp8JMbtKXQFSdq1416NoHlvZUwSemvcoxNvlnPJxzn0aQdr/8ZnjLDQYKV2DP6urybhPVLq4x4gdy+gz6H2tJ6xlrzAxu5aRDUOvNFKpg+pvUZYzNVH6pWjo2Fk0cyAirXLWI3tWriRBEFu5IICQjrnV5e/54GfQu8MkxawvFOBF0E9ceZfB6SntdiE10B6EOhGhlJcG3JsdMBhlda8SOF3zyTdWhu7FOfwopXVA6etQHqaOe0az7usLaD3NtU6+Bx2+/5Zy2JOp2vZhDUvpoH9is9F2PclHAwBaNoGfbceKy4i/9twOlh3Qjxali91VLewnGVyIn1yIyLcOpfo99OU44aFK1+DYRopQC/ZKHgqhvS6UrPenf7bbRpaqnf+8XXTcnzJCZn4JRyqWsW61b8MgXkvf020QpfvhpBDMIHUYu98+h4NcFHDyBe0bj87VEqh8KJ3oIHsGxNINgebcgQhHPgr1ZskQsNRXz+Ekoz7EF4Z03bLYfO5NLDiGTALP/gbXpzwgHZikR/lECkjf2koJL2JLLEFRIlrCZ/hlVvdoB3cpihWC5vKzQ8JSo037hklvOYLG6/oppe7wXqP+AGeSVZeVPeGvCk9f7O31CH2EkZNycLpdD9BEy19Acek1AtYAe8my8rMJGQxVE0A2rf1/w5LsOxFAACRV66CesDIApFIVaLUizf1uSjgbMDy3mNQe6QJc6GtA1QgmGXq8nVviiQXX1erHGcv80hbi12t0yNcKLxN8KkCMIn9/6jg0O7Sf3ZCIj5ENgz3WH2IXf/SLSzIHy67rYSXr/ukyg3pQwzgDvFrtPS8FRViu+BbH3rBr3+fsJ/Wu5n7CqPiV4FzR1cF/1srFc322DcZq3EJxw6DpX8hHf2L9LXhSqBMDfQyIhLwv4usxKvo1Qzu4twV9qhyGBq7L0z1tavTWnPiSURWfqjD3kLI1O8kDB+s0PyYFDzkqq+DzfVJyim/Faa3FlE2v/KYzHGQ5+gX2zCbnew43RfdnPJS3lpWdsUiadWMlY04tbjoiuEKyhLp2UKuMM3zOk3VCRnIFimJG33W1xfpIKoMkxx4x2cXl3q7pz74vNaGuF8D4WmMV3Hic76sX41vPWK9kMcGQXNxC1hafUrLbUvsIjfs+GcXO8Z1TWOf4HGsGgOONH/rR/md5xNVk0lD4/z+uO2C7xobEFqMxd1pTCRLW4XUUprPXK/OJkKjWQvj6Kj9TvG8paZ5yBCmBUwNAjP89Ew1FmuHfkzJqJdyZBRfNvnkAQmRIS9ArrFw7Xb6hG5DXCzVFLoSkKtRPXgRZ5qlfuIjbp/Tz+bUEB7YRFynQf8MttPe31641BaKzD2r+eEsGUcTBRyAF3unD1OLS6zupwtTCrIUkZXC2Tc1YD/7vwjpvp1JGQA0FZuLI6pWsHywN+xc7eWs89s6ZyZIBVpYsuW0Qjmuqvu/n/ekAYGIRA/qNsMTs8McvXOd7CA7TypIrt9l32h2wEfBmwC+KtAX8WsKJJOfFCJRe4TrprQ48EA40epmglNE0ysMZVXmYIgwRTqTdN614ih2DwqrqJ4djycz4bWDb3c2XR7DE+aweXxoh62fi7puFPYag+dqobrPb6QVm28aTCW3CpVE+2Hvq5JRi1TZ1OoCZ0aI6+xRUW8LfkuDoWvjUBQ7Y24FmyBeaVV3DNm1dVof2O8GDzWGPcxxRhovpYJtdNY/6xrdnMVbcK+KReva6T2URe5wIKvNQuf/ly3sD3EFcn3xuNX9yonILDm24EVCjw1/P06YeNeU9HbVrE7aMbt3uxGCERnF+rEcpA1Gs3wF8JJghtJJcyZ8Inbxm5XyNRnzaXMvyEEvlvW82n3O4HGgyAFVCvbqXgHNTN9NFR4JqADNSi/aBdY8NA1IC/dOQ7nG67vKbf5C+BOny3+G6SSuQ1spDIB0HcjuqWC69qLoOxwxVK110L4HQzNI4//U3ZQ9lLv0CFvAPf2+NBaF+y+KIt33l9qbvB3Zqm242vQDLz591ByIRVSxlh7aB+TLAslEHyZm9GNnKUkH/4DPOvOxP0d9dTUspUGfbeE5H6KyykBhUug65NmQxT2drISGlou6HmX+vcmBmH9YWISZZor7nUVzv6megiB3D7rZPUV+Bprwz7pZ6cHwWITpciXgZXt9ZnGgtCxjDI2eigjAyZ8BbvCWXNRr9c0cEXdfL3tSq/QEYPGDKS29CbcZzMzqlTSO4skOWYACdabdplYh9aZyAWd5f0EBExxJV/T+i/H0mhT5JfTO2deVhVveu3ZGWw2x2Beeip17ND/obtyyQr/8Gn9AN1rJmDoxFFE5qgInUnt93oTSlf/EgSJWY4/eLeKEDcAG//wlu2gE7IzCjxCr6cySX3VSG0+77ymcisldEedoKoEeKHVe8rQUCRvLr94QhWaZnpD7Sk28gMv/M1/pZneXL7Kug9b/RxDeqcqR+jbJhGGGENxBYjuRgYzxl5ENp4AzYJRArMm2uI+wITaA44jQ29XSsoZITYGKT0yCgvy+yLbpBNN0hiOv0ZH3/4j7gniD9N4ga4bYTIMDvc6okO9MyA/Bedpv98nIXtiiyf33uDOdIUVpp267SzA/rWLDV2o/p5eZWTG+6jX+nzvCupvoQqYU/ZUs7Q/c0r1luKsVTFUtHtjDiyaJETG1FCNG0zpNOVaK1mEOPNbXmcrTtIPhs1IzOV1Lx1lBSbnuki99TSEMijaQ4acq5Z3XsWxDQqKqKnuoC3f1qZyIbacmYFuua9tIQ/c6CLN8ZrP77eTntkrtJ0TdYySUxje/NUG9Xv6Xox/NoaZvdEeTBLVfQyziUZgROCdzfRU1n06weTUYk+CvWPW7sq2iv2a2LeTtWpoJCYMzZRvYQd8ltzwTkRChp5rU1eNiK8AJT9gjvniUH/gnovFq6MtQjNbtFF3bxPOv2nzrUg0bkBtq1IC6ByKSxrwbux+Tto0mPNIgQGs3Bb8INNy9RiE769xUHk4jFyt81jIIo6vAuCgHGt/sIr/E2tX2+i82rowJuJfJbhQOFx1/gz1k7VLmVufG4KJKKK2Tqmz/ueDa0Kgl/blslzRF//j8MEEElo0/yiXyDRFLwNEMI2Sp6h2el1wgNJ3O1l6qANzlfWqdDX4P6jrkgvjyIwrK9BrO88wvTLHapZPJlU7N0NHzMAPE+BJEXyIQbTmDlUTWBcisuVbw6fNjtfMVnk5WlMHD5SuWM1iETseONFTOGCJpAR6S9o6MomCRniUobf58JUkyWaasVhGzrz3cuvMrwQzFLVPFte6p40CerqBMOqldgxOs84qar+r8MmDGGKQDXi1WrCBYYbvjh0L6yVkH7MkwRwxpysMOecgJtk+B6TdHromypZ8BOG5s0+B4lbPTISq7G0rIFwoY2dAw3yTZKwnSjbfbuqtOaG8ur7S4GnI0LRui9+wlKvu1f1K9JDkQ09h4cJEBKciQ2NY3QTkqbB/1hJTrzmUdLJ+eJnMt7kSVINbcVYNP2eUw02wRZL7Ih1pstcpmRsgILMsdLbTwxdQ4m8+N/lsYTjigm0fzGpKVdf62lotGB1HvT38IKbairYT3dMopu9huqh4n3Wj9wFslxtNZL6vUt1WBpmfEacyO4CCrn7fjH0ytcIJ8C76U7uxIqf84Xu70UBz1WMPixq14PvOZaTe0FpgmQkiEfyb7Hum8KZerUEV33ndI4416pptliqiTlOHx8YHJzOPEfHQmewMDsCt5qJTU3yJefVU3RUZZW9ACMl8EVi76rcxEGluCYUpbq89wP/8U0jJomwU+XrCp7eYALVL0ipor1e1UKzZ7mUFaJvCgYrJHKkPhQsRgUDjRFjd5v0EumD6cVldJvTYF4vqzXdpJXx4Js87RDgXNRzlK2KdNzvQogIJd/5sgmyIPuZRoe3bLDe2NerxxvopMJidLWet0Fu9I1Meq++kmXJmHFIxvMHk0urUscruj2o50t40vrwP4xwMJkAQGwSIX97mC3MgI2aNfpS+xAg8z1O+Av0H1XcIFqqeWwybk71UAWqImOFnwo3+EFeScBKnsJxni5TTD4yo+YUElu5nJQgAJJBTg9QDC0dAFRaq2T7odscgFFjr8u7yb3fAFyerlgOfF3WrYanNHeRikMTfjT6kDm4gmjS6j22pVWiMxXF5nIpU/11F3JtKgzEtmLifwtIncUkZKwCNGTzKazoBB7eCKox+AYSqB+h5/VXAobiQRI6mPKpqtuyyRiXcdRcd6v5QjTEK3z2G1LK4cHL41KPtShbAM/waCdrQ6dXddM/WvJiDZ273JxPbi3zzVnt/m1djoRMQqVQQRd1r+RW5QL+y5dWLr18/G6tAGRZRsj6Y72L2vSmPvLQr9YzPi4mMKrcV9nfVVajMy1F14dw06XHJ0cFPx5Q/J093MT3RjCfhlA+Zg5oK35IoJpmU0hAWaVAh2c9lMnU++fnNC/AGL/GitzwWaQL7AaU6QkDTuBNdOwF/Hg4VF3Esua9uNHOxt4dWNZP5jL05AG0Y05UnHEiDivSsDcDdgJU4eyZ1eR7jsKf+klFRC21JDIVipbVOIsUH+zDY3hgKOG2Dxvo9sLr8cLUMRzbJCf998jo068nqjiiUMVysKlWLA18gaNOgAVEBLmLdUkkuGVYPZvd6QRQIWZw94JZuy0JaVSJG3JL1Jobs0zs0UJWwMqgzKGUyOFTdgd8Cfg6Kx1HgUgRAVkGNi/sdS+wfT4uDRf5V+ARHZx9OFcG2vrWMqyouLdfQXAXBbl9fUdJzqYSJjsflFvlHl8aHmS/XNCTKhfVB9KfZyfQrDSU/CP5k58phhvxSEn7wYNQu8vwB5mQPECxwIHdPk8qQQx//Y5lo/LDyEfjKkPlvOKZC6xYmLWn1iVL5CpZsx8XFsrFII4k/FxRbh9M1wxbJyttSwC2XmnOQnZ1ow5sGGyl6M/YDUVdBk6XkABOcqLknsX4CqL7qVLYDvBE/YGCPBlFvOg3FGIuZbkQmDTJExDCXI2Ju3sQj6Y2kdbxfjldPlWM0wBPqzv+QSwP3EuyROQX9CThfX7wuWCeOQFsTCAOJpltM8LM7Rtv5ctBvLVVtYFXrX3oJWecZ5vnhYC1iIiSPLQ5VLPTH+DnMZ7mUw1/Ag6zFcUW/0jERFWnXt6f4XKtO+c59MpFNqdjtu2/fE4fpy9wtvAFs1332cVU7DyyFiCma57nxN8QzVODy5JnB3hcTTISY6HEn3qwUy5xXNASF6zfCgEoUwJdQ2c/e1VsTfTisTbtyfUv6V9GYjmuCY/sYfvb0qbX+7vfG+XeLbZUWXQOIa2dsC5+vnPwpYm7WcrROGTBIl0Vfs/pCMm9ZAYo2LWoRw4ENxT8ILDiZF4o3YclZozTYf6pmlKR8kDuunWLw5dABKL1bevcLBBXAYK8B+DFrEAEn78fAexqp+VodaFAfxSF5jsh8AxNmNj0SQWjH9wITzU80cphmDn666eM/wjsbEXy4y9ZP2WzbvzTo7IIVrUSS+mv5iEtIRgjy+zsstSqvU6Qz/aCYpp2RJNH/WCgDdbTnC3bpcD+ESVSWWLf9e0DoIyt0sWrLSr7PjieP4fYpeF2aOAL1NkKARLL6Tb2N9IQ/U6PP9holK3ue0cQlLwBjo6bv0bSvklz6loNJp7Pqp1nLxEVil9SHue0+WN1wbFoXkG7ZTNWmk/OEGh9TjaoXCg4mAhkWVxtd63VcgYCThZKlNlTFH8HuB+4q05cVxntCx83SEHDsiuXCI13QUpHK3dIVrRpZH2e4svVpPtFB6aPtmcmim6/02RbyWzN/tu6lGaZMJCEfi4QZ2MTuiw7PkYN6Hq8hr0Q/FIxctw0TnwGxGqB6c1GBuHmDd6+1awCtQK+hUeQvD4ed1crexvmQUdhSRIfSXvhYbvmS/jdXZcoP8BaI8S85rKbtxba8B5wUmfDidvjGRdIbNMrrzPIeOJhrTlXug3vanSmu7OZyZaAM/BLe7dnDQxMomE/7VNHs1/tkRyxaQGeKnh3ZRSbgnQjEZ+qhHmIXZAfJm5USEUen2DZUxi++0IQHrV5F0Bk/WzBUmeyMvrjyYjQncbQhMJQ4Hbh82DNEx+BlLS3j53Egln0c3BeG0imVMvo85NHTDgTZV7gb2RxWFIV69g64qGa+eKo0OFrQpqVfMuqB36gZ7T4Ez7dzfMK1T1WPNGWo0yln3QBGdlgyUnhCbVbsQjTtB/+zFv22c7OFV7k6Xn34ZS1N2eLg7/4tcL2s9uF4va0IDd8wKIN3KdB7W42UDMjdv8xJZE19vObo9SBLEJrI7mA4leGaSOoygUfy+FwbwgJ5xQ16XuXdGzF/M+uWguboMZa+aK5SguVZGRcHGryT+neNXC2CBP20SfOzV28QumnCT7Kf248g3daliMIQ8kCyzFQZ/djy64Djq5cGJTTjXc10uM8RhuV7Sy3X3wg7mWHomkfKBCC2BuaAvuv7Kl0eqfFaK9I7MpqcBFmGZGPE86bg1aBlzxFEUGflzkYS2C8IJePpH3NLypgDEF6VEyr7jLoLHty5gf2kCYKHKtTjcnPwhnRFNac2N1p2T/Zev9V92JMbhoGKS45+1yHl5faDamOo2FGyyGkQZrZF+KiExHrHwPsbXMlaUZoPU4++nEk2bTSBmYNjGNDVVUnbC/F/Xx9BQXvFmblq2XQ9Ts+LJWs5Oss7A3NIfCoBdGR+bIOlwxFjtsK1f7gb3TNh4P/6PuBrdpRYu1AqeoUA9iVcn8jy0jcDNjvvVtlvAwIXMVpQ+JfnLjqhu16aIzmLMc63JCZ+MH3FkiPkRwjBVb2cPemNyw2N3bBkfs3e0yg+uXkGn6pB17j1rEXKRa28EsDSw/KfE8xleVtPMYZFo4JTeCx1I9uFbOb39IsiHek3vAff9mwUbNfgw2P+c/iiw7DxuYIT/BmCpjc8blTyiTllQaHY2rtUhhX5A4rm2yOzjvbTbi69ylW787hD4K/CxWlcC51bDeWIYwwRQeefQzcejbNTZ6j4GKtseIbLLqxBQnUOR+mtwOcD6cukiYyiTdHTH45UewxOu8H9oLkZrQeKf39vxGIDloRO+Xi1CU6K6gBYzFBa8e9/apluFSpap1zETd+UybsYs5jQ3z0j9HllLhRlyXr9uUiK0RyIaeYnFHKAYrlEGE5XfueStYarmiUg3k5U4BKCRlW2OvaIy/aRWf4qxBjVo4phD5CYSx2HV439NYHyIZMVkOvic8eQyXiomq8N0U4F7gjda/hE9j9CZ6DN9ouXD8O7npynn2vKJCK652919IUJaZf28MkLgwiO0OlK1YCNiWlUGL5V00ymTm3zvObAboo1YPpdpBqk9quDXub2j0ixAOR/fabVvEeweTWNZMz4/qReWMDebo2b//bQpdem8Crutq4Ym4XXGZYtF/tQTEWxo1ySJ8cKX5emhJ9OUqVYzUqOQXzRRqyJZotrsueHyoDhah2N8TKJK8UYPPFlPVW0WI2Oafj39eW0SVuWkOEwBWxp+NxX/coyQ77ra60X7M28JXL/JhXUOiafPidp5ZRSNE7SCIoK52nQFGphM0KC6EUM0bajXP8NhDVYDUwa82jiK1AL6NF2nnEclMzHNiAD0mHKoCslmuL45nOE62RnVfnW891wwomk87tmJSeItJHnxGfKRHWvjUYQD4TIe9/EPQeKieDpA7WICHCjOiw5MLVzsrBhxQ8s52NmhZulobQadUAht0p53aqR0cxLUHLFGKnryb8f/JaX9KTjejuRwy1vuChxP/ur4eeYcZ/gd3BxoKC00k3w/SU2LeNcFP0QHlcptIj2en+EnA9UXpxNrWmzI047OvNzjNRnnzzCfn/Wh/gdm9kwkBCNerl97gWZnCa1QGpw9PDK/54NnAwFb+oqcQr/iLM2XZImgasQCYf4aIbirVKhbEgEXkbWfxKQvgmSirTHbPJh9RTTdJ/QFS+fdaiyP8UaKBIkrsgeknq8cVSz5AODN8THj0NQcg2rI2e+urC4p0CsIUXqPv8wJJ1SqEgQuEwWsyQy5KYbE3e0lL0rykeFjKVUlrK7MWRLo9gh1xwhSjwoMhmZKMBnbVHF+JCostZ2N2kSmrnp/rYVulZn1/gVEOfbyRMAGThHtoyLXwyiE8EGCXlcly/CbZaeSkMuE5JNMoVMVKV2wvXWm4R20qAEg2vPZ/5WmrJdFBO6Vk4c4J+q2D5nI7NEnMo8BPmzm5AemoUjc1nJUrOYsjwZNCDuijVGWGo9LMvPr0MntMhO0/AIzCw439S+D097Q4J7YJRIMT/WWvQ2uOLo4z66e9dEmkmT2VaODwpso+0Cqb+lOT0hLKq61abnq9CjAF6eRZgRRCcOWVxBT4z9UUqcfiygPl2RaovvNlNK4UAlA0hSOzF+Ezu4stbKds9Q/Q8padnrIrSkNQ8+sW8lCNlbiCwgW7xolGjmccCsbmRyMoeQWWz9Nus9TMomazsOpKQumMSirEwtG1Qs3cFkblulib+ZxRQuinqBHBw/zzoRDcRdwwl0KZ0IdXadN+6M93ntlU3Xb9UyUBun8FWpjOFiuWpvAsbQePpNq7WDuZd8uJvlX3U4Kdyp9Zt/tErB4cCmNXnjoXE9lwWVm0QuZAAQrS+6UQClT+fllOrYrGeJFyil1fH4qk41XlWJjHSdmBSu7HTg81IUO5DxsM8pKhtb2usZ/3W08sDghnUVCnpIkrlMhlUiF7eDBtRYgL8Lxg1JMv3/AWvJ6ouu3ER/NNpWBsB7LjyvuEaUTWvBtlM1nmztoixsbr6uG7Jm0quqlPGry/8+RlnXmA5LxzMAr7W4OE1f4DgjieLlt4VELmh6YjTDjuWwiUWiqYlEbdEpEAClPGi8bZK7/RieNnXAwIVj95QNE/yqGpeZKDsoNRDM20+q6mfQkuWfk8WXbzMt1OY1loUkKKn1jzyIS637sY0FBRAWXtdtc+spnnWtG/0x8bG4FGXNyV80pTw2whWnXmIAmPWaOeT3rcSR1ltI/oAhBAunX2eQrO6Jro3vdW/EkOmer2tzImcj47uUP2KiZ6XNl1HuuoGNVLTFAp2EOVV6DbT5fVGZHqzTTn3qvi9HauG6dgBbhT1X8+ArkxapGQRG7T80ov254xYmNLft6DvCtqp8lFwxu4NmdgR01MpKSksRbXzkB5Yd59kSCI81sber8qDCe9tvZ/CwK9v47Abz+S8gii/N/RtOWGwXhFKnYv2nwwQLWsRTI9STdinEU9dBj6dQ619NrWfYGAWrZ3FXKg1T+e2m0rs1FskznT3ywsOiLKDv7pPuo1TBr8cd25rjjyRi1E07brcKrPlchyINHhdc5fO/k/vRHWr16k6DgFp3r3M3y/Nn+C853xAxYxSL7e02iUdN4LmSyiRqZEm4glwuLDq79ao7HtUeRC2GjhdDd/GnQZif01LLZnxxMK/GseKqMbYIzVD7Bi4y6n+cwas/YB4Mty7/hRqYKsAkJbd9yh/s+ba5QHblM6s2AqUXWlyavoxQb/776eDZIHXJEiYcuEUg1EHqPGaLeKKT4gUjSAgRIrDhgzFLAyZrLznVznSMmK6JaSdRIZSwUxCYMYSmO44l9yYIA0qQ1e+U4mLfOnnns6ebvy6SdLtILeHwWZd1twRirA14b1wsX8yuzLZegGpGPFENo237GkHL1+fJjCHhfc0LITTwTEEUpsfqdjNI3mgYHi1qlYc/HezmSkzHPBFzBUkEy5O/0+r28BAS7QDo6ZFu5np8nrHE1RStCOwACp/s91B2++EsBHqdzEhe7CcD39+tDeqXTCoPCiiB3ACuaJuBGaV7LUCNvHe+CJATD2+RYBueHXeYSRgHFYdMYphsZMGI70gTRiQcUXzQxEkamGXHlKAAwUeRiYMyKvinVpB4q9h1gRQpsyHPtGNizrt5mdyR9zphXEEQHzcBgoYkxDjEXJXdkKnQ5N7Pgn0NRgsPQnoK4/u3kezbDeuLroN7oyhPc1XZj6hUvyixcN+25sEosYSWr143lMs7hpsPQMxQpNR777S+nuW9T79w+jYaAMIFFHOZk8zjqKSsfPY3P6+czVHlnEwpHs1r5b3kqFsIU1K0ZCAoCL33wNR92sdTllWg7sS9XDd/wuOz4jZRHyeb4oStDTQetUuvP8XSTS6Sfj7ieLRPwLdej4UfJKkKGxdKGYeVsFKkbnkrP2CRhFpI7tK8BmjLG8lAm0tScg8f4y8eRtaYW33mXptrQaW7E8x4hcGsVOYAKjI/QXIUhOHQtjjqE3isJDs5cza+HBi+BjIQpLDEmF7zH3xX/5LO7/lI9u4bpvDbpHo7UNbdTkRVQ187Zj0K2w0fY4I/0aw2K/zHNfU5k990BFRVLkPRHCxWRAwd2ZE/Zjo/nHe/rcRQC2P7JMJRUkuyNAz9hMIAY5UlHTeznfyIgCuKcQpXXQuN5LH2kArus7mYhtaqDeGkKSb3Dr4V/6aV3gV9C0OLmdpg5pY1v3ZpEAqhNSTVDzkgA2uRGeQwRjhDwundGwBGr/4EnsA5UX6ayENjV+AXDEsMuteCE5y9UgZRHZA1KaEjolVa/BUmvtYDCtxxc8ICfPagQAf+NcqOTMYdfTHe8OMDFzozmFaKtOzPLLNDqD3TxlzOpsigpLti4h2snwdapb0XHYpe9mx66qsF0WhRkqGEW73zJ/Hm1+hzh3B8TzJ7WUnakmk350aGsLVR6+I3Qpn5bYpBu+nVSJ0Cxd/i4Y6D+3y3g/vmcmJI5FAmkfln2uJgfNMzsnQ8G8tbpmqprcXhhrHFR3Iemz6JTR2n/RmcZfXokYmS3/GAB7eANH5t+dtUvbhxcm1CF/poCGvrD2JmCi+/QLocnZQNr1kUPOot5qaKDIRlk29BRhzYbvzWZJyMeoDfPruBmzqefFR/hvyRcrGE+7Uspg11Uuj3v8qQgrrkn1eS72KsZ8OANszHohLa2GmR2uKEoP7mdYhz673jCpbzsE7yjUCAt2kYFwq5IhzeAupRm3rv7Y6FzwOupJTegyL3xefW8Nca3ejS+tUpdBSU/cdwUpqWOxYzkYBXLl0cY5/tFvMz/7DtPu6anUCgmOlQ5w70UbDpUYwwo3DWaVKCnziULyGgSgh3qmo8i+7ZG3IknvI06kFDcuuKHMINvEMuWLVD7T8nMYJTNOjvTcNGg0euoHXeua+Rv0Cv5PFLFyNg74QsMrlWdEhkltMAOxeYz7HA4inrfVwQGCNMad+KdEDsk5DF/NA4JeCPAgh/JQpaOupBn5IpneX6E2LWqj/tpSqylBqBSnu3v7pTRdm8YNsbZTvO3cJTHDytmT2lNBoD8EzA62V/3po1zkMBaIi0bcOlZvcBgo67iOF5DMg16QQPtMWnbGZD18W6PePXQcNKoGIkkBryYV3r8+gH3cIfqvxYEvX2ww2mZASo+oB+gI5sqsjwQxLTpNYyCcZ+DXGWM7m8FVKTYiL+zQBtuPMB4812WECxE8McDT+UvNUxwwe0SVqg2T0bPDdWK26GhdmMxxKR07+9BSsXQsTzYIYj833MRxfTeIcOxDXAt8ermTi9dkojux5A6oVfYmU5eyIi7hI4eW+myl3X6Pg0jW5PQuCEKM/4Z/EPP5lvgt1Ph/9tDu8Ecqbo6EqA57NKj7MzYeGjXBxfPP9Q7Id6k26U/PRAYrSpTnNvYb/905QCLf+zuxAd/7WGnJBKHhvXitJZumauH+l5VYkIY9Ctx5FdtF2k85vsrUMyp9FZfCj6vE3jyCDr31DpdZwmG4PWkyVnkHSx5DRPYEjeQ8Cv5EU1RDTPM7jkWls0D0LTft3SBWMlbyybYBaZavTJB8Ntdvi+PSxd2SA8U6R3Xl4sTFkPC0qlPPlFsMwqUuTsHR9+YnVxiXPA4J9RID4yEgFzLcoIuRNnkANdBgbhfXa36/AIw8onizFeTbnjTNXWyDEdNSp4gc0aCzYtbQZ7aW5bLpaNAXZX7zOvswCwcMansB9BJQ6jKfwjnHZ7Ghipaj3qs4yEMxmS1t9a1kkZrOUCXZdv2EbXya9FW8mYKCkRasOK733uT1ZRQhAgUASgXSp+Q2FPCFSQGJsYULtG/XmbYY5J5Su2O+H/vsC3My10AzV5jNds2y8Pka1rlmLvDDUUnDxst9G/Ex3Wv9nCQD5G8A7hQujxMwz9kHiMoQ3mIg7JfFKHraG289UsPCJ5U+/un1cRVhclQShKq/3TY9jpIFO9JsstmqmBVeDlLV6RKneXNbzPn0ZjQ/nQe70ZK6yA7VEgIP9dKCfR3aGVapZcLKHYmZhwZwLJcJ5PzkGnnfPIb2LAliZmQQWBglgkHmKJCydonhx7iAYk8u3a0LejC224FjSI/IMREnFRs0HTtQb4S69RtondRd5akbFc4v3skC3aBBl38kUlkehCwIncWOlfv8F34KxGHo6t1WFzzE3tvvqaJWRTBJ9/SJ9h+SeD+KtWC/0gJ0MpmoDM+40YL1vPBLH+OlYbmTyJHRRdmxaLyPyDic1AuEFEdEg5AkiazPGkpRBgr1nX6R4ypSyszcKlI2GZ1Ny5nEzr0fVPl+SAkWBDNvFBp2siU7CK2kNtpuur8NZU3iCs9nYm0RRH5A+V6V7lmhqBriLA6aFr/g9xIquL1/Z3FhmMeXEN1Nyd9s4pNU5eGR3fVZYH5fl//vt9wTJo4SCN5JkHAug8hzpkXRoEwP50NTMpXbvm8PUy/WR/29LF93Joe0R+cKuU9fwSSEQKDNBnmVz/En51DctpNobIGYweby0YOjn8fZPuXdQ/Rf7XPmORBHenRCm5VZBxevqUE3qw+jm5eCqVeCXzmWByFKYPULEAVlY5gUvzRMuYN0hYTARqpaKmG1hTDmYni02AkFfDcezYrhOO49UCGDbINklcWNG2LsE/kSHj7fEKKdcBf2NRbcFpvRrniOCMD67q05hMHvBXyu6IQgXRDZlLbVWUDEsfuktUpggjwfefOlF77aPSPMGVwbGSUPPGXCSLWS129qhr1r1oXkTls4LF/SeQ6COeN5l48X5s/6UDCyIMpl2u2lzsFjX4ckrZN+6nkE25XWNWDrICvDw2jXEjHEftvqAySf4ls+pSoPSx2UPtRccTOnSlwQAJyGOzlVrt1/mUJlKU30QpBEtdGpisuvOk0DTTFgl+236BEgXLkszF1CunKZTDj2fzltoxm1Lvv998IbnrtQ/LvbzAJpHimqarwu4cUP2PbQiB9GvjCTPzUdsICRyEeLA8Ulslh2+LysBkeY+jmsAX+Jsc9dqFfHLqsM82qoPCFFNiA7FGtP6KQQFwHiebC+Ci3qCE2LpGnaamPLGO01EQeWS/L2AD09ixaCGK/7fEyTiToYWnY4+0Mx4YH35p34g7uAtsRA1jfedBwWIfjBsgEgR0W62qiPV+uN4G/pb4KzVDP5RxypdiXlnCvyC3ZRfD9Wru6QtPOQuuG9drgCwuIlia0cM+ICNwXyQbYxhOVxduAQGFHbXe5xqESD0LEz1YyNWX6raowFuZj4o+7mObdlrqsf20R0dRnW9XYegNPjpvzc/986/QdRlaPrt4RVb2WteH6FpQen2mY8DUCxwexJ03hrJFfA64aDVdQtYanGXCVUADILLF2cUUqZpvxMmCBCj4YlRd2X+7Ehxrw7Vb7+CVCEZue7OCGFDRTyQyrRhBtyi6hFtsPu/VK896LZWn3H4K1KwqqHD7uOJj99dLGT6hQUkZnL6ORzcZy38x3feggwC8TztNmV7noURHaA/psoSBWvheK0q+h/75U+MjWvGQBYiY8vRcdjag9yrhH8LruwPyonf1uzXbCsbN4N5VYenAAa7/CyCCSEg3pOQCTUkU109FdBji7Pt2Zht1CsO405A7VYIwToH21/rU+oyTLwj0jGibXzeYyPuhb8YRazO/yh0rA99go1aQ3sn8FIJ8tsBlju7Kus1bI7lfl1Fq3jcAkm+kjR6HnIpsxknXQdfQlTIOBNXPZZMzwyCp5zaahTwBG0dwzcMu7aqgOkgyfUqXqmHPBYaSYXgzz/8xN8tElFjf6jv0gLf6Crt/tJhrGj1v8/1U0rmgV8b9ngh83nGGR3mYsPS6pGT9QyobKF2WfcR6eCz88bgNK3tQuhbc3toRpuULgrk5ZgIWGI0wsa4O2gKzuzC8ojxqcfZxqRoHtayWTtjfSvqKUq3C7UL2M01dqZjXN0mjh5jALvbLiGk9e40IQxL2aM1sFjQhZmJQE8ugdsJvlE6yWldblLWHZW2F2B3At+IBqaytgcac3RCyI7Swik7wIIegFiYbcmAc6RhRTiYHvPF1qHkhOL903LX5dlJ7jHiJdYer1d7XgsEsvGq+uIhv5fsQt2+xFSTcU3Mt2to+ZjgwHfN+9qcOu3h5kTkjXTldw55uHRdwBcAMSvW9NTiZsCGrw4wHzVlO47/taXvBCRcOHvvROU1ICwgxX2R1vJFyFIPYrh9l0vWwJqVlKk8ZVCfAPJlrziAar7WzzpCEPqvJ/IDhnRQoNUloS+T8LpyrNQRz+qHmg2XGQY+OFZmhQbGkIpUWLfyV+Qkui1Uxne6w9frtfnzVBsDdueFRJ8N2fgrlKfvIwfFszl5pv4yky73aNwbPloRMzyNW25pcAGQ3XLS/uIAaYXXdfw7doqiFK9FWo3P7OSX02T2KiHITARdKEYZqcTq9kJ9PRKvjy82l8L8cMsQswG+fuR9ve1VYKQHBsSFbGG0SCTwSqKmCDdOfS4uHDZb8cA6VNBIFFgvOPedrA8rMCcWxmxxy2c7ZpQc0KLg6Oo4YaXTmiiInMAYF0ZY0/v66l79fHwbtJW3bITNrZubI4wEx5HdgPtXQCNXMN5/Iuofo0y7/kg1Tme4kMhiuRtKfZ5xDlV29fvpSELz6NnOAsOvTXtw/0oY5pwkW5fWLLMU34hSW9eK2U9dQgE9VsT2+fO2e4prY4hDmFvpC9l8SPoMyr8/qYwsxknENaqjndN4st81CTz9HkKU+Djh8wJh78clApkOHqpwFXX3vyo5dUAskWDr/4dHIRUFc/DSmqQEfpqfoSU1eqGPBxRnsou75Suc+9E1ZUv9hTKKnILfxBGAY+njjk3+dqJ49hMUlzqtrolMSMhxjmel/fazC1Lqt+EtJIK+rfKinlRUFp6edV8ZfQg3KwBruDGi89/7RjHg7knj/Y+ztAPvNFd1nWx75BdoNtPntvyZSHf0mNhch0fWgjClvQLfL1sMWm5M8tvN/MAWkuGOjmSAc0KmPzPVXqUqKaN5ZtTOb1H5CcWPwQQFeJlvoBbLsKwoplmgNbqAnqtFJdaxoLlC741Z5VjRE3O1TLQ4FmZ82RESi0+t8bU6jAFarbHeDSXyTDXtgGALo5QTgFq+pXuQ1aCc+m7pJqKf8Gd9iZdRkOfYYQdpkFB4zh1ZYNoOzfwxU4tU7nid5S2PsLJUl6kvU6qR4aVCnih1yKn//hGSDDhZNexdPVLRG2/rajmzOLO3ib5FI87IKJ42DBOd1GqciuHz9npOO6GpGCm6iyrMMzQKbXIO0gMg08242EleIUwfmVftyE9oGMH80YHjwbMtDzbm8I+hECVKF465uVJidoC7TywAITLmrcjN6ImmJIGKGxnihURIgBLxXOKxBwrfRScS0HPyriw5kT/h8mO5m/vuKyEnI5Z1Xc+Yb8XLrqpm2FfAwhlDDEmSAA+nkCVIoXHtMy/YPARO0fuLnQ4M6CmgpE53dyKeHvF+/GfQUcxA+3BtwSDJrTeW0HCLSfcSxsN/rnhFWad6YOG/7QiRI+841P8rljSnXGc7ZF4JnWtuSGJqLRDCuBu+Q4a+G8kOE+BhORPOuWSD3CFq61vWnLiRxiS0IFNB1wFPWgITunUE9Jhy4Dkp5vpcjh5tk/+lDCxTFJ45Axozp1QYqBenP44UBPl2NOSa4bK/Tut128U+mcno6GSTpDerxTrl8Yj8sJ1Nhgcgln+2tnBDh196fjZLfv/vT9jo0y8l97eAFlb/EMa4YJZLkkEAFwGuqRYR3JubUplEkpalH2qYkT7Jg5+Zx9T/qKMPR36EnnEt57noWqpr1O5luAtuRsJh+Gfgqr543zsCDUqWDDkD+nG01LR3ufkm77M9verLYT2xvUQ9ERbbBnYmIwcxrH7TnLi0ZHQU0GlgWb0V0wy8wTEjtn/7lFVmZ1Q6PLGZNTvP5LKpDAS8ljOli5Q8PaBBCjx9mD2pZyvq18NgnQby0CHnam9rtgEQDJ6ouubVHKwSl3p99Yf334amrpO/jtFZIBg0awJMLfeezUrRHcUIy+3mU3kHOZs5NAqAiluQRBlR/tIN/pQKZNu/0NX04e4WcBP7RjhXce1+u6MECTxwDUefpS36NejOd8n1V7OPHZbMDzKkk4+Oz+cQs9ks/0pyyjkjs9SaJosG4fYeoz5dDwToqX5I3JKkqbmed4xcX5MfId/9Hp2PC+Et06VxlK2MMQzelBH6B/pICkgrsxpZw91gtXWqFmG/Mu76XSA0MnBhfiaCWuxB3AA7WubOmdE/XFmrow3f+ZOgjzShM8fURrJOmZ5OyanJSNod2ETKtt01z7Kkeqo3A9f3siFrcqla2JuJse9QwP4bjRpZ31Q3NrEIfft7k4m/EOjdpdgfWg0jwegfsCiZ5XbCaHcB0+/EyBTlnwG4md8q4KgtyBCNOMvhkTYn8/drU7MQ1NkthJBZKAGHT4xlPsXkRjUoA9SQ9PXgqbqHJnnUyXerTgHfSXuFsEBY6WSU1tDw+ditCIP/rTn9mjLkghDillenN+Kv18dWHDxuu5Lv7JLNVhJNmYKyXt7Geoq02OT9Ag24uvE1WuY8grpcP/SiADHppMSgrSlfYVbYb4HlASE6LJ88xLr+OzheuqaF2pm5l9A16uqw8dK93cIKiXXwvFXseemzo/p2eQ3Fq4Ico8xEpsYTjaEg2+5m9GfVLgvcpZuGqlObjX9tUT89fI7s3JOdLLIlu65VyjmTkxnh6z97qYN3exyj6rlZaNuCY0tbbO3ObdAtt7R5pfuhkKRkSA3tltISsq6Q19pIU7bJpYgdikHnejwIrZZDwtAVDMTfjZxtY00RuZrf6QeDj1mm0fPUQqG8SMngaI5wmN7pDu6QTjpRUrKcco9PIL59/sXU9yP+ijacjcORAOjnKEhMQjdJc+77fruYwyeyCV0EFcf2zawZ38KC3xOY0VpEce28SjtRi0IXyecVUnpT818skRqih4fkLWwvHgQPfKu6RmWUQ5U/p0IbSMgwDcJl4Nn5MgC8G/doInLkI55RBSNTamOP45VNVEWXSDNPXJgpa2kmcA9+GHiGTCJSUJag2t7Oorhy4SZhmA9LmIO8WZUN1g2+IoG4H71ETX6hTJhqiu6yZAlIDJMLp7t+19BwxSY2/xxTVS2CVGf0tiGJ/JpDRw6nJmMIL4AXivrle6caloW+zGBe6L4AB2/+p0y8LjDz0MvGSqdFHk2cNLKw+ih5bCFUbY3MsTsyShC9LeVdHZLLWYJVWF6ksM4H5PlQKGAjXABgjOeURTPRGfWp6cQDLWa4kFnvYC8ccguTYKXS4WI28JVCT9Lt2Y2jQT4jEA89a9azFmjnxk8nY7DdxP9Esjg/sI9cA6TNGCBoSLxVxudMQwmIUwws6VKJwW0NJCsW3YHsjiefLxtNTRrtj5AWRxfRizB5VhyRz94YU/cw8N5iy4oj8+vVRWj1wASWIzFl3Vr2LlFdt2vNNkQEmG9P98co4y3pXn16c0wndHXOC3G4f9vrd+0I9nx3bwQUuk3VCTB5224GnLNl6/MIPeRW3wdIP/Lu/XSaq72jbrGEpVoruiOtr795QivghuA2DQ+4AKJN0rs1M+j8AtufqQcDrRBcRF0x6YBB+SacxN63hd8wYhZoy1ou5QLZV18aEpSTOOv5vQw/3jmxl//8QoKxqK8nX687D8c77CdYTU+WFOACxXOvn9hugar2+sEoyj20MNBhwUGx6vpbogDMnSjsMD6PiIWKCM0TCRUUf9DtjqavfenuCkMFA6EmHm9F9hq1hODBMy20WW/3e3EgThKLic+yLA/DtGEmlw8iQ1wgMskIPyc+k25wbyEJgfZCMbcSyTBb+ww5lvGVFILgqc62/qYplGUjJcewgtsECQI5B4JaJmaIbg0eUXg7WYIaiAd3xd2DUyeLagBMZjItQQGtSPFU6MpI5P+oDfegcOdohcM1atCbxInP9DN9oLZTzgFD2g1T+KvQRi/jNQvqkBD4OxI19HFWF+HrQdaYlApAV8zWP882y0KhFi4DhAs33SVfbD+iokNMJoqaM5mHFAIXftdFpJK9bjkusz9PVNj4FJNeeQUkAqKlcLB1OaT89tfJLtqhrtTeXR4lZyKgwk5HMOmbtNd+Q/jAkKQE5guYE8pb18THa0xywB+q4v1o36pOv8L0UZohHEGbY0qDpb3mrJdJSwBpRNnkcUvTXgZSEhoj0AVxdZbxcP0onadpKFBy0EzVqh4YV76F3AWhbqbfBj7nyUJc5MXFBr+d+4xBHn5gSNxTD4EvGXI4kJD5q3fpeS1YUf0iBh50aTDad7+YNAdqy5zUZPQ8bsPovqFaAAM3NKEkzBaKTixpBgYw9X0JlpPSb6+mvDFzQ4d2kkx7T5Cn+vTePelkLkOKDTKtD6oP5K0vt/En3QIJ9sr9MMhk+6Jg68YLtsVJBma/Rmu8jUAMHaki33EYJq5mLBje7o7/RH9yGuZQkG/seaSPvMy70BCnASExfKP1Dd60nLzhDAhWp9WypkyVm8RVlssAjyZNCzZnFjehZdh/XuDSCcIqxfVobVSuLN3nsqpgRzDw72Wka1nx08FxpaoBctOCgWpldCbayK626/1mVrnEMdOVp0lohxpQ4eXLxIiVXb1TpCOOdH0Te1x4k1xl/uGmwCq40dlO1ov8XjN7r+Zqtl3lYNrpX/mf1xh6d1SChnf4j2CWxRvLKUZyNU7P8TEj0v8ADdMcQBsaOt8ykCYKpep9nBuo6RtBYRQzrrhB+QmFe8R1GXwJoWPnf7mvbZ79Y+UBLGlEJeYPnevTxs1Q7Z7ECUTdgTovAa4ZVupDy75TAb9mtvKCYYFFsJQbNyyRAp0pr89nQsR0caTQIRAAZeHDmtuMb8vRQBUGUMPFKQJfHiE1TygJAn9zCJ4CRCDavLwYWHkrTOtw7bveA94nyVqpa7rBa3M9CB5Uvfd2ir5AY0v4kBaAyA5RQXs7NvQFrQcI021E0S+PuzBLeqd+U7KPvZBmAU9GBW7allKCNYh1fMt4uYrG4yRKtIp/7UWpZKhv4Hz/A942mjvTiK3WRZHQSs6u7gKVaP71q5fJQ5rQQt6oldYcew6ukgiEe6/eWCCN2l1Cwk9iJM5oaWh7S5VFg2C1JX0CfOb1TZmBXGRjdU1bitiXhk8aWZmkQpiRVeypTvGSdEbZ+xMG2gw+53o6Wqn9b87i8uKqmqL0RJlVrb8Sl8eIlrOn34wgLkM5eVro4LYYTx8hChzm0eTHKKQAmg+T5SfmXzKX3rmjRDs2FA/UXGvfTiOldrHBnEU+d71N4KBIVKbuU+DsZ8O9SnXajllr6teu2c8ImYJaR2cZyOdAoYzrStggHvUusWIxwdlWVRRuQv6G1Co8Fx7E4GKr1yqNZEOHhGDBjUcKCqxHuaC0GkBXNSGYS80qxQ016Y89Wog/8/sCjep3aJOMdAhADeRQ3VX9SQEa2zHd7FO1YBdpkcWdzO8heiiHXZb3UBXJo4GY6WHWYsD96u9Wq1GRT5axJE4zGZYVGe8JTHzsLPBGYBd0c+WyL9URijJQDXZBO3m7HIAk50B3NhY7aF8LhtLB8Y6Chb5/DK5EFNUHm/YOmHuxtIEkqSR0vCtys/lIf207vbtzf0RFlmXEGGnlpBKdGJ+WUNivKkamVNvdJWGs6Q+YW92fI8KmW4tmPMgBtml26nJsjcj1SQ9x0VyC63SUw5Zgxt1wKWa1NpTnKQQDswJHIJrFBF/DD5D7DyCbX5a5FfWayLpSLVnm2CSDk7wSs5We0ET3S2QbPQ/d/KjQe0NXlaP6vZM0A//H1v1dahQ9MDwA1Vl4m8yfaXfmgD7S+DjFKtVHDJDiYCpCfC8AKkCcHr68eB8tpUJ46VRm3UbsKeUgAgbi8vf9YosMzbxKYma8nB05dCdDzQ3vSPP9eQtt4ug/1mdo58lY4c830Tuq+lUn3HEOjSQCvFeRpU+W+DM1T0+hNFyKptijdtKoK4zWJWioqPsnnws/r2GuPNwzfaikngw4opLd0kMEa3osQJLlyJp8ntxZEUkgxMxNp4WqaSLCaTwWfqZh8Qa4p+x2HBy3eUQQTZgBlrXWblQwhjzfQ8Bjh1xr4XUQgClvg+4GKD6PBErmucoIF7nIOR7S3DqQMFucAcEscItLmDRlDmX9M6Kdt8CsV0X6a0j3TG81VBrSG/xihqNfXLCYT9J8rGP8FtyE45cH9EXDZuzjD1lycYd6V7txmXI8/zPoH4xD6KNYMGWmWA55ukY0ct5w1pfaeBbwQECATbXwfO86IGZ4er49oFZBb/ifB9QxkMoif6QNL+ODbITLbiiyZqy2pd0u3TWlRXw7iShp1z+65I92eh9ISKs7j7M0BxHAjvt+95xgsbUOoITe/qOoTGVD2gwQfZ/hCCqzPa5Io2JvZAO0gui2xEN1FRH17kIS4D0kyoJ7GAfxmF2RmZIFf4ocrn3NrE9q69BXQ4Cn2/5mnRW+51gaxLFBrEWRfU04oJ+lEuyF9ACuWlCn+hh+iZc62BHM6exNkOgk2GSjMDki5R8Ud+++tZWB+kLcDD13orM8C7tX+9IYRQpsA7ZBPYZygLQz21hp+cpb8ux3TKn9OVQMH8KygGGo2xch7cJCNwJmBaK4iY6sEn+sx9asBur1ItPkQRTEGWyFH1/K28gWEGr3pGen8W8SWqcRMtxnhj+CRbLmEIPytLu2Uf7itM8xKqQ4eCKq1YKXJ99eQ0UwGONkGFV40vkdHLn0fMdUYEJoH2pm5a5SRdRfX8RHj5byEgjaZxg0Iv2otiKI/joO41NuCI2du+mY+jSUMgUOBVk0V4R4g/xgroyFnioD1Y9odg96x4eucjGvk2CKD04fP6Z5CkqLXFAtPVjBNCmI4cJZEGaASv7eOmnsbqvaXEfQobaVaJ/nyPcySNvWBqCg32Akybdst4Jboc8XdOPao6n9e9F3wsDFqyUpD7EnOjhazaIfZb+A0036Z9FTbulAoECAUKbx7ES7Oigo3QIWo2UyA4fynKJ46wfhWgnrlbEMM/Isv6DNOILNanZzI8Nwdbb6U+SbwQCn/vZfzeekYz4s36AQMnlC1RgzZdTLd3uD6ECBUAMzfOWI3DUN6ba6m4oyp+QqlOirbDWrfwGi3oMgRQaT7hO3Ti9AnvlXxeWO94T+GDLbP74EscWYGwVwdn4rXoZCU2zdHJg/jWf9YOpZ9mPNv5xCfQ6/0B5QxdqhQQVgk3khHlX7pcciAJDnfNikVa6jJVfKGtLtAI4m81lwbo0loulMqs3ohyn4Wkz7fGyYl6GmZHEZv3ZAJ7QiOZgSUmvj+T4yMbA6HYqf1v3BkpqjROooP9n+m7AgZOHfu9ZmMi7PwKi7Z3HwZ1TeP75BCEWnIzOe6wbfJ0lKU3gDXbLCzMp4s8dC7GYWc3/iSdrhviPB6jm5Ewx6Dmo3JoiX7oiQXrYrflj/63o+QI/2L3pN+9kKNtHCq2OSzixgahMaJ72TthUiZNWeeWGVNZvNzyMLNAEYpZ25Yt1RtvR+fItuMv4bUlHfjXnqrhsP/ltV2Ng5PjCkoXaLc6X8RETi8FFcgszVS8YQAmuyEdRYw9y7ucKgAUP5Rfwj2mlLze6ufvhBdpvk/AdXMM8lUk7PVQK1OvkHT98USJnyncFq52zpwaA2JO5szkD9lRkbGS7DpdextnwS3W2jDI3Nk68FgbJ1jaLABnxrSzQHOl63IWeO06SnsoLZs3mygoPSxs4yFNvrzLzLLti06Wrj32QawQU7Aq5u20WWfDVvXTXDY57ASh+4J7Kl9pyhMm61GsOREcpG4GHYXFpib7SGeeKvws42xc00cUi1xYQvBGB4lDb1B7C2B3xtUwpU8BuMiRcUFMwyMBMjEAeaeb89gZJappXU0INzTBq0KJ4ApK4oFqzU9j43sYhFjBk8Lf/dVdjWqh2iK5/dax9wofQgIcoIatxiQPPbkX7qwviamC7Uyz6AqijPnnVIecPND7P2SB3u4wqlhpi4zW1wKEpknIhnqP12KhfmoLcZhqi0akJYIrHluHx5OCgp/toJp0mDNjT3+6w0gKsyht0hEHNZgDIK/vZsgcmvDGsMlxIXnXJCKt9LDlzMvTw2tw9m98we5kDs0eTTqK0Qr2KcEa5sTtjwS9slgrk90cRpHhT5eq/C5TlDGdcdhKlCsewoqtOSg4zscs002G2/x2IVBTFKE/0WEqh5iUeelIgDHyRLgXf4Vo6udZqDkmSp6WY2KoDnPxere9GynRUu+dS8p2tawnalTSG62v/wugO+D8clwC5KNUFEqELlQjVhA+zORrstksZ7dUCetk0R4LqY0/J+gfrz7vl/K26LKBiD02OhDMVKkG8XvVA5V59YHE+chjr2oW3M6uISmOO2chiUJS3wa9YbkwhsarbpITciUjmLOqnjl2Ip/SooISEHKnGgHa+O5JBBadUA/3hdI/tRSjp22BdXdJc1LkBx9d2aPEyvYIWnxebvdFln9WP5qA6FyjVFfZ7w6/lvxcGTCLEJ8rAUTacEKLTRhUlnNmCpCbLq8v0xTmH1OZUErHLk5sdpMeyoTyD4WMEgjPmbK603qbTHrQVQCHvCcnaaeGn8gedY/WEk1/T2pSd5l6Vd4/tws2bKRtXVGSEO514x410+GKRr64CnsCwbnLEOYVDMYzkm5uzuuFDgeD3x4f3bBdJ2JlfnW5hFJL1Q3I7Dw6xM6Sh8NQt7SuQIR2lxAq07ldrZhxJoJOJWPhDd4GtJc/6nhaEWpQKEqSZNvRgd84CZfvOOURNQWst/y6vPMSMJnNrmfAzhv4PuHKWrd4tvnLsfIgPdQqEbq85ARarbIa2LslM02iFjwMS9UH3PAHNB6Dtjaf1k5OaJUi5cWXaueuTBArW0InqYVrXzX5neZ6aIdf2vtj2B61eG45ymzxAcJTSkTOR/DsWPEx/XqUg9vVPv6A+hIciSHjUN4KXE502lVmnDvawoNQO4J0EJSqxQ77KtAoHyz7G8rObtlG696JyRf0MOlkfdWtyTONXmSEQ9IyOi0UH0j/1/S55yeRfE6KDED82IasGjYRc/svUD3dvIMeYAogTyUpfnj/MEw2UDd5TgoqegtkY+dYU0L4oadxMLj8Gh+MgSw+KE9Kt2JAJnO1IzXuXjkY+aciEFavqQLrmZbCyZcwiPuqXP8+QfE6PxbOJN72ruqFuJ42Ga+H1sfG03Hc8BDEnrXPX9aKJb/CTo+1FM/dGqL6TfZzkYKN48B2cd9+RLnKo5dEmdKfX7pjRZvh9oZwlnzA79Yan7mlB+ARhrVe1XMzHRMH/k83+ZG5oAmJ6tX8WVFk5OxeMPWEvUL+G1rKsDmIFscdZpsJuQSxa7rHCgeYgfzddGdX+YFRVgXjyfwbeAuQxPxn93xZKkp3QZ3z8jidk3lxr4slIdZTA9SVGundyBv66fmo6zRlDRg4EwnHvfqOAJ+efWVG5eQwKymZ+RjHz70U2WiYHCQOYKPppCp+rSY6cwFrgrUhvsIo/pEaKLZ56mceMx7ac8XN38xprYFkZtIJSnNiG30LhA+4dFmwRw0w6mt6JFL1R73FeD94kOJodZsa+dyKbJN3fmIDurKSP/FtZdzgJgHB47RWic8V/P7KfJA3eZUaeuIyBgBQbkHJZ84HISrtOcB8yjDQyIbkXOWZ0uhRseoxAaDkmSRZAj2WGjOeRRaZCINf4OSv918jR8A3QtIrmNBfFjJzylxY/gq01va8w2AGBIgHby4x8VgDI4EgBfxSxaw4xxkLB/r3gY7S3GoklDOdReNoET+5MsahvZgPWY2p3mHId3gSo0rnL/MXvLAWB6BiFe6Pkyxt8Zb8klMoiwKP7YNHILbf7WuwaKwiMck8m5vyx2rt9Y6yoggldyqqwckOi5Pr68xgOidCnDN8p92nvevf5uoDlOCeXThHQ/pIx+/yNdk2ksTcl7WDPkgh0GfJeVJPJ+QeFtl2X6MR6LKPrF7CigUedOTPRl06UMTF0aGypb3K8vOFkP9neY/8tsE+t7rG8XIhk/qgyN6vgMqB3ZZ3qyQavelHr0DwM7hQJo8SX+Pz8w8l+OALbQ840N2qmys2/qEIXs7IynRraIkesfOcaGw7s5zYF/PFPiHhZmK0rTpTn0SZw6OWDDspsHtf9DisRcDRPoupiknc+lcK9ow9MQIBLdoQBhlPDXc+AeS63KL3MGgQ2udvcXUJUAjSGRkFqeVy+VRyeFBMoOVpfHhWZ4cweX3APsXHUHyEuZSaI4JSBOUJWmx08y74ajt20K7dLjgvoPilOpipH7ZXOAMVPcuiz6mebIgZAC6AG1o+CyJLUdB67Z8RuU9gkZ8yO8XRB9IWepjgkdplXSXkuOyGIXd13K1i701NZ5FBVYOJpEeQyv/CZ96F244j1NLxRWxmrdQxvLjCam6Xm3UWPEMMEfHP+wInC4F6dC2EHSq11TadrY+6Tbm0WJZQfQV4/B2OHPQWkXODtTtRxFk0Xouu4ilQ6xzDSISCHJGkzWZTf48oON+dBbYCB0Pl4GKliI6P1Fh2Pekl0u4Mf5NiiI3/KRh8I7lSZYWbTNEZqcr8RqhZJ+AmSFcHddxfgB2HwmwxuSHKy+xrRF2MiIfNlaIoUnOnzWUVBjEmM3O6heQqT4rSh51VFcyST6AaZZdvSRzwJA9sTmFT3VwW3tJspu+1XSNGMJvJti/SKFt7b7k+lFr64QHdjVmt6h/nxHSkWpX61nuYJVyAuQYMJ0OsCZaTn6nYFhkNbQzeGMetlNF9DpN+Pi39WifWyKZTn+seEACzIWOdOvhF5pvYQQrIAMY2SDI/7qQOcx4AhUewmuGChAaZ7F9HzljoqNJEVjWMpE9KaROOnuCNWv6yVuq6bAs/DqkiAAy1bUQVurDlxS4SVr1+mwzgFLviJQ6EPCIqC/bKqMOn7Rr/l4+DJGrFn2BXMSgMdfL+7grrge+Vs8HK15mQqd6C7sjmkpruddV+2Z4SRnv1F7czcOhwfLjWh2/U+rb2JMkIsaI96kawNMwqgwhoyvME67sRg4+7NfegTszZWYy3Ur64U9yeNzGq0Fu9u01hJ16HiyyueYLpq+QPuo+6/SQaMojq0y9FJu2xyWINQvbLCh9ACzh8kwT9Fp22kFmzGW7yO6FLPPq28SxKtzSGLy0WfaGpt4Oz0rbMD0rFqrQD1qtLyxbG/PquWXZjOIkGZCaeRxFpMOPbKrOFrF+DlWU36i4STWYWM9jcNnawllhL6yzeA2FQnm3D6pfMoOd3G2vh51gTBPnGLRM4s8xo3gkFaQqSQPrsPXVAHOyyroLSThJZx46xe/6Sfz8vDxMmB3e+OrCGdK/5ELpQMEXTE47Iy4oVF8G1XXnbPGiWdtNxoI8MGbQV6tazef9KmStcTiP7hykw0bgY47qYAz+0F67qqTvcxYR7WK4kp1SwdzTpOVzPp0WjQe9toQEfrglYN8yujUOB1yGhsszACqwrmh+bmwTX6mrdTuYODcyYCRtGMDYEZSoVTV10jSdgFYYQCfbZKZz8WPJXlLlksBenAQwPY63kU812Xov4EwFQG/tX+ubW0ea5HmkLFmbIfdtpyN50HONi7cf1SrqoSzl6AAPf9w/FB5hcXThkSwqTv8corF33TOFjbuQwwvsyJy9RAT7iFVvHI4Ys4N5Roh2FUkzadVlrtVJdyB3gWAT4DHwn8GfwQ7n44qNQ8BhTxtU/LaHYScKmj4EMtHUn2wPGCVSJERlfQGH3V7DCpGVbtgH7ZpB3rMIhdhPC7lMb3z7jD7XPtTTQcreTka6QQTIO2JhmZirR4w4Mf08Vis2v+BJTa+H/g5uIuHTU582IE8aXaPYOVcfKTlkKuYubWKdBZdeSjEbX8BuQWLq5YfELVkDrkED6u/Iph6Kf0JlSHMZCsH7VlS5FZF1MitfTxwdxoh1LEdGXxs1/aihIbxkdqdLnSreWC3oFHfRhsRJFw2Tyzmr8fGt+tEzxlxfrVymF89QssQrs2w8l208CzVcE9k6os53QFCT+7RlEGCHyFgHYRspven+7XpEbahXPKZ48M32+8WG4t20ilxhhQrmh+MDKY1G8Ni4B+dVVyFcAtpxBidr4a7Ot7HvESTImmBltZZTPO9r4w6ymZc3Kg0a9wF3ENpIAGV0EKyKTLfdNCD6q+tNtYHSGOFvzRLAyGkP+2e1C9eQ3adXT7QBWAD28KLQnVVePIKaT9wKnnOHsZS3yaOlVS63yjREAFtjiRXZlPFTLc7owyEw19Y+Uh7lzNHiMubWvsFlBPRmJKXpy7pBh9Hq06lib1yI8SY2CCdj3V80VIt0S6DdzMM6LX0vxFDWu3+e7QOBYDusIONJVPy+JtoI/KsdJGit583DO49mcrVcE4FdfOgCasI7Uj+Kp5hyXgMswng2iMtmf0lAHXb5rif8gF4E79fUQ1n9qTAo6xkFeWXFlRQLNmNXprUwj6ZGU5fLfNM58lelCgfeNmB5ZJV5VeYDYAWDMjIRFkwHzrrIX9DqorfLSsECWNRtRvGyx3yKK9UgqG2ldg0LqdfR8oCu/h5pdlPpDSnkF7rBrgv7DYyPGI6Cnvx9z/WqtTRI8eqLfi1JyFq8cUSLUfEbxdTePqaw+YmadQM0It1QVTVAZGEOyncIsnz0utH2xYJstF3HkRNPa6H/LC37SEpyoKPQpG1O8yb/iU4gnr6SYyReaU5w3orJj/UL8Q5sQarPj2KMVkN+GcLtvx5JZ1pgeaYA2ngrqN9V6TZaugyly1OwH3U4RYDhhx7Rk/0krTAiDDSbFMZc9OQQxbnPVBSbSBHkxFAW589ccl7Hf8ITUB4D8MqeIj1Ek09j+WWD8bdqsz+XyPIOw1bpNb8JJ8h6FjhM7fEHw3fe1523f5LZ6AbILTzfkCwgeY0fVwDXGQNa5uDia3KSIsOLrLUVxmOgfgGQlXKNPK4qiqZm0F3Rxs9h85o0cq2XrwVp9/Rz7PJ0IcPDRytXduuy/q+NnRUCSyizTA9eMIrgUm/wzt+OFTNKJ6PTLHl+cNtJpx5Mj2mPONQWPov2lPcH8Az3f5hfasTC9Ao38w2V97BVjASxUcJRQsU4HaYfpmnPXoklgSq8P1MzLBbr42mOtjAcItMaBxuoiqXerG1P2GQH2IOvkYS2rq9iX6+myC5eBAxwEoH7JqSEYS4l3YIxfFq08LPnd9x7fIuajfx9BoYDJY1fKYZa/dA9zL8ZoFsM/nIDKZvAcCPzjeDKFmqkgD8Az7VJ/J+LrxlyJzHMIGsVhv7/wH7Qvm8UNq8CgPLXYCBmGrjoleME9rWpMMctbvBQX32cLJ6eDe541ZKNvSercKRrzqnQmuAAbQ/7IzPcI5X/0EX0ae/GGrSlBZCEchTrKlnhA8QLI28kKzz29upmN+csTr5hx7i+05egcUUaP8PGfEBFraxpcB/TeRqjxDl1W/V0YhI4Pu1gm7MEuM8ebVO7fjAUXH25cCNGTyWshiMhGkkQ/HZ/TQrZv5wuGVHLMxG+223suD+tRPkOdyoHUxaKCdJjbuhC9/X0UazkJdS8oyOZ230sH3JlUsSydKj/8JLtaJZS8eu6mya4t0Oex3MH4f3vlMQ8oL9gMHxOwCjHigaekj5N5LR9EBh0juRbJfx934OnUyp0cidbT0naIxClpP6yfSvtArXVmWjHUxWwzjZsc1NwRKeXioFmc05zU7pLBgD9JJG7nLtC3YI8TJyNuhTRs+89KPFW7ZtYs9dkVy2XV9i4zBrpW57n6L24Br8ExuEz97F0KuvW0sVFpkB5L8mdg7P8ksB7h9dAsJRQOmMC5QjXaLaOjAObmTWM25kzJVuemtZEUHQu3lDqAgVD4KreASFgv1Ed6ReZg1WQdMAuCIHDrolrKDl0FRxJGepd186o/i/UAremoIyc1bY7JVmETKm3t7CxtB69z/gIjAHvtCHHLlieyxNhP/FWxuWWM6t52LtXugaYn2hhnDvOtGmY/LqZmF81OxilBUH7ph1XPe+5iEdq5+Y7Ria4Y2qOj0xByWZa2GR4wUuS0YZJECGt1Rm7mcfUksIStsAvHoSNBMy7RX2t5eKokCNc4Xi6JB9iVGfTu8d86u2lwValghamTox7nSbsoIJ5/uWZ1SkUCzyTakc9fODBqnPtchfV1H2JmDl69vYGK3mqBSO78gp6jdcXKcIL/6kaMkGlxIrRzGuu2YaopoiHky/S9RMsqWTRqAxfMl+xahNHkH2DUpAz8M0BEALe+lX275QqYVFCLH7WDL/FsW+FhdFzkMt6oUalh1z7iTCL5mU4Zaxjr9SEJSXbt/f5VvDpKkN7w0hwnGDTRxR/Ma89NVXlkTsXZ94lyjSPdUWcgA7g1DwMVXrILNooYSLv/vv4DgrsyL45Cfy0PKjN0/DOZxVlR/n4d+OyJDnPs81BvRvqDxpTpq5iVEnOIS+FLYWgZXcYOgaurOIfha2NhimR+ykdx8TSXcp6pynqLG2pthW9ln4lEQsEYi7RsTg351Xr6fdDV8lavw9JlIfQtsYniYH381XCTvvsTmx4KevzyMfjbV88MVz02LLYTgCRr8xES/6usIYHmRREnDtsL9nc9XKWDOufnoo76M68zoNjgm9BjvUFhD6jgf/x/Mph54kCGt/9zfkdzRDabpG6rNTGljtPBz3MB3kD3MNHf2mhLGBcA0axPI5g19OkVUmg/vc+q1Mn6zxITKY3sbA9T2ymfrSQywLIqTXISwodpZQ1FOp/WF3NVaKJam09T+UBgwXdmzQ0ciXqEPrj/KT8a3k39FNQirf13YstznS6V+X3M1BXln2M5dLgRYH4XLPBL60cJTsi/0/gSwe7lTPhagqE77QnSyTh7QGxpjYp6N951cuS5ZQ55B+uC+SC1MW52svlAi8gs+BXYHYEHptq5gofFt/M4ooHZhCR8aX6AhUiFNmkVDnBqSugqJ2jUCF3zL0Zylp30bkhzaA8qO/QQQ2Uzd+OU/cRe2X/p6RxXXXdNJeiZt+lb78l6bybijYb9LgixPwkdMx0OfxIu0fMR4OrlucVNIQIGflIIN50mdY6/xrFlVMz/vKqdnaOkCyQXLX6LLC10otbJi7/EeSx5Uf2b7gf3x9xkFUKo4lnCeu1gfrHGLyHcVhDWpRSHJqM4+7QEDqbHqcTEym36bzws9R7exgE6SwHlNvFf/GP8orwfhIZoSqeyAac74VHonwYsw80+YyR3L3qpxs3ZEddWQT2C8TG92xYnR6zU0O+wuhGAbC4rdaj9mTxfM0615utRHtkjeEeS1fTDS4OpI+TowGkyZD83uC1KBa1fEkHM3FgV3cvb3ndk7qtoLpPBIooYEZ6Y7YXSTpfP8eWF4fZr1j7J5NrdtIkKHtOsYVj4RvNIH2bxQP1PqSer5wBCsYbXpXF4aXz9lpFfcHtPW1iHqTHFVQgUSvZgKEXsyIpPoWYIgHnWOwkLG2QGhorFQdQlmUXo1Hi9Hr4FxrY9wKfXSRDIu+iRZq0Ke+jBIff+l9y0uLIoZeLSLEsto9Y3Rra+Ag4M8U0j5kM9jTKQu6U0KN1mNabWjHMGbxRHqqy9VPMcgCk644GgbGMSdr+H09GfrmdP+oeHhuU4KIXc87Q9aBEXEV5pg7qthf3MX+5dGOlWNek6ogaHh28fl1DE1s0/J2H9k2cx0a7Xvh9/rIMwDoW47U6WEntNcxcRY0tWORkFPJhxZoxw8MuY/CughUIiqgw0vtQVXB3DhzH6NL9y1iVw/bjke/y+Rf9kra6+T+aAV4QVwrraeBL8APy8RqHb15AePZdT6jMfDrv36EMh/ZUjYGiYKCNq2YKaLOHjyCtVjjQcnA4FigK36QV6uBUSkDOAJNhuMi0rTOkkseymdPKGcF8ueYrbLxEUPmMTKDGhezj/hY371vysKJ7eijT4t0E3olcbNgi/9ku8sWeBNj1Fo6a8tmqJNgX6rwCEMMmVf5wEEZqBoWdaGd0wRATHpMxnQZKyEEo8TrIhobjl/nWM47kRGIqDtzDoMihIg32JgZsi/SKz+URJfeFHtaz1mDmIpSGCD9wPXMPuFrRbPIl7rGJ5E/tmKBRNCAgcKuB7QIojNiQ4P1tsDDUvz928DnJB84vpFemG75FsK1NgBvkxlGIfqLHcr8wUfzhe79EW4yN7fPMyXd/e9lDcodFmXc3popsXJObjrgknopieUol7NwYQv3ri6Yu/re+C/fJtdsaK0AYqvmBfgrfPpzQkSj/f1hqYwZm0y0G9dscI8gsPPCbnw9NhZGhOG+Fav8eb2dAvgjlFx3pDUIYDH95RgJGLGyr7HMUFxxkL/2nnJvFRdpbk/DNcHvhdPPClImXcrp8GYHsOjL9NRsyollyfMwUJiOUnedQPSk9LleZoYZPRdsrGLGq/5T7vcvChOPra5JzXDp7kbKuUHXhz3u1IGb3QXb+3HE++8P8YQ0IAyb9vTpu95Q6cUDBoCJ87o9qQ9OtGgELwhQwW8bXkhv7LiJnMkhuKnolV77I8RtPae0vRM1xZ5Al+jVfmOMEEM26I5PPsklZtytu1TV9YoBzUt17b/nE8hhA2efUd9JFPdUGLGS9TnELNfoEmEkJ7cMh4EMWLkZOJlI4T/1hZ4EW4FvEbyE/K1bad0TG1DD+2asq9PIWV4ib+qFIY42LyDOK5PLB4J4bYlBrXyPCAjDUvD/n54Lhc4apktTFfQD8bahMFJ8XnEsGeb+t7me5pJ3dwqckNhZou0/k+jBBHgHc8NKv+Jw6baE/RKjPEbK8/BUHkFhc+uQJ5n/yur4lVVwb1/A/QkLbi/fGpj0hKOHEXfj+D30JUWPlyvnII3XBigCQJHwlFlHtsTRX5BBVGBokRIXEXBFaHiGdlb4THhulWalgNoKl5qIJUPHerjn/ubISE5MT/aYm5YB3s1Mkit/EtTizFZyv48x2dylewHQHoPMY8I9eL94XflR6RUW9LKn0z3CDR8Uc20/Ro3sqU6yLdqQdUFSdfQ+hUHOsva7u+2NqUbJv8jWj19s5ec/w+XQ+yTgTvz9pc0t14oZpYl6A9M6ekDUGgj4L/GaC81O0zuDurzbejEDY2bMWpoKeQ4ZS6fWB5vmrkRXVXxXxFoddSZmsAOyHyod9SXTQ2pYAC7VBMFHM/k47/6klRnRsNUrSfOc5t1t1YyKyBLH1vqdg7YGBmxwLD2YYzqMVr687xyy/XB874vsGBwoZFwNQE9Z0kAzLp4BU7XUa/tD3mFwZHOjk9ElSQHC1Eux/jsDtkG//9mEVV54Xm2lv76d8aBdOZlrgHK+UEIlKSebkOtaNmcEbYbO+zEx2bmaVnNwz+PjEsMwXzSEaQUfN1y4/jvqRlXfVF+Nj1RQzfg6Yi8s8bK/BFpOCu1ZxgePgwIdmS4Lm7p9vwePBtrzYMK8c5T1vYZePEHBsIolDo0WlN+f29Ul0ga8qGpsKawGd6dQ/7Olli5xxmk9gOOXqK/xMPJbL6HcmjwQ/Oq8BvzDGEk5MoL3kzEpcIVAqj7GUEBlGaNnnnCOMMG+8DisLUnNOu6dTj2upSnMnKCBT8Qx80LofMT29Qg3MpnHe9XraVQSyGfhOqj20NANEe9F+VkEhkaEO2VwVwXAHwJ5j8lv4DjPE/iUqqDk5EyhOVOXyU2BniL56ADb3zEmgd7A98votDaHdeqXpNOPXzWhsS4XUaLKcltwSB3IumcLeX8XD+v0Z9GEcJaXQfe8dZN53cdRwOioab6lfmjqBxieUIRB+Xp3hrwMapwNulRpkGHHpGoXi1D/UmUb0BJtLSnFtEa8n/0uPfZ5BsEWS7iVzPs4+i9FxUrKXadVeYitflUYP/Furrh3CSfzUD0KJAublS/otkwXzwFVgZuzLRwbwJmAQZfpIBI5xnkL5l7osHWWBd2SbMe6zalNrSYlwOI7S6TNEuVWFxBtyf34qY79RrcukgP0o3rqsgVcCiRNdD+prgJgUwbddB+YwnqpmbZgyFxIRX9n0k+1HhlriI7UDanjB4Fk0qC0em8eMQrPGPO7P3gI4o8x1zJWfrJDDPhpKfbtAXAWendCJD6n1U5fCP5kyJyYVxNve9lYago6fiKL1r1YGFVYFwGtjDTblBI+3t0OvLy5UFliepNr+MAydNnPUozGIld+G5eCYg9hyk27chbckxn9CyM+pvg7VtrnlPIlU1Pi4KyShuNwV4e8fJbMolRdB6a7jQY9kZ/e56dRiQMyU+y0oihftnDiHWAWYY2Y9rWAofjFrVIOa2D0Kdi1S4W/tj2yfLqTtadmnPECu8XEYVrHjg3COWN5ZubL8Upc3x5F490l8bt4dMpWX+6/cYoQZaPREVUZ32XqdLEnxXQwlkWN/vGO07yn5rqFs8kAooIWqGFRFDblUDvGPaJ9RfcdsvqnJKpIKW3StSfdWvmw851TARAb5pcuwm+gpld40MhCxT4B++s+dM0wg5SQEZdttUIxm42AC8RRtZF4ZPw3eTQuICWrU1zGVUOJ3PEp8FaWPicNBA73mlQCySslNQHnXpEyY8OY2WJRdJtzTDLBwiViMZ8ma8tLpsMXC/aLU3SX+iXew1v+kSeNZrs8FnjSOfG8SzCEVhRGWDzthJ93654kI8QnSbTpxdQIHD2br5XKoUtS7AgM8Xnx4Z5TOENblOfj+tU5ETxijpL10JW9nYb2vMRiEIxMJ0rvcYU0/BcWKPcOFtkjSdG5/BX8Sn7iu4Xsfg0vWg3YPKEpNfI6aKcktYZLyrxffOJoomm3BNU8W8qPzUp6hGF74ZUOX8l0TC2UvhmOQZy5+rKxYD4BqtQC2M7OgXE3KZFiugb+8lfcwo9NhMaUPEEiakuQntnwgm34+o0oEFCUUdbO4Q13iNmGSNxx1MujVJ8TeQrDcwi3K0T+QUaxpUjMAlZ7W7p/DwbzKPvmNBLZRRBN7+sSQznY2KW0ZtAbwtRAY7XjuX8LMt+2TaoG/iQ+xqTJzQefM4/JJ4Qvj1nOtN3TakuNQO2wGn+UIhTNbZ3CLihUNEdW2DpVOPBPRjioSefnpUF7eIlFutZAdWZpg1cGg5+G2TbjfhqThnm/0Uz/g34S6YbP95L4QzwI6B4GOUVt6b6r8j1XEpZeJQAwwbqtMeAX7MkJeev5udUdMrVmRupFAGBNkjtRupDXgO2ITg+ceTT2yHoGvu2vzTXi5vSxC1+fSiRswjFQVKNi8CkpIcBLrkTfVE6ZNcxO9HY2wSdez6z1ohf6rxpHSoipvNP9Wt+n41dednKHdatJsTvv+rfU93Qe7r9C+uencR6f0BEVz/KuPTfJ+RLpIyXmZeiGinOutnJAxNDLSdj515/8wrMwiUcFc/cJeYwuyQ4H39REfhZOa0pih1XATc9yHYVGmafTP0pYsZVej4RevhcTi9nVTx+GJctfblits6z1OKpOiL4oBcAX4ywfJH+ervteOXvOVO8gO1xguaSTqA+BXny0a8uR/hXK2EHOZ2Ny60mlhruB/gsoJkraTGuXbsVQQYxKoNo8MJ7FGnhyLGovUvVSoCXbOv50rE45cbW7wVEocwcgx2ABy9IHDeiAHyOL5S5IhPf+RSufo7Sl+nIzzL7qQPvhejmguiWthubXuwtD8/mPTE3ODhtAUv0TxptfHokYNy8OJ4kVbcoV9Qcv+/ZAWdyTAhaciY6AIOVr/fp6ednWjS9Fd9i9IUVsZpPQv+dN4m/kxclLVXd5hOVS0xikvl1K42PsTXkRggLgF6Ui7zkO2QDhT3XjTl7JO1nMcMX+gEu7i3jhLSD63zAJJfdaxoR+UVK1ckjnQ070VNHYyCitJVn50TdOYhhd+ufmXoeUnZJjJVW1SKi8eBypiwEwiKw1uqEqYtP59vTBQnl4fVkqxIoE6dqzC2rw8VGvyCbMure5t/9v2Ob9MlpH9kgOx71PgbXKMlhx/0YDcN4lb8uHaV8MGE/oCtHLiVlQk0hx0FYYtH6EK5n8Wn1UNc5lpyLtpz8DShFbmrlGUO2R8yIlVuhsDul7P4+93Fd1sqswBcy+lWBmJ5DHn2Hq93/4isBtURdJoB587x748mTzmekXAclY9l6IdXRaacevytn1Jz1PqLYNEwEENhX8ufD7kjgV4heXCStICfUzFPz/ipRD2bOtvy5YSEJcPP2PwvcGk2BVqjnJIK3MP1j/adgClNutaupv/4zoVGDwNbK8dMq/KQ8NEtVs7GR8p0Yrv1eadJ46hSJmOD4AKSwgTkIxDlMk3xAXeg95fz2HxspKuAvzaTBPh6Uq0AMy6gJdI42JQfvNNd+cmzCnCcRemcrGrTwLTBax1M48D7/l2Cn1+/9OZXyTMBRIDlFMEa0osjejmZYNTY2AlZapgQ10BL0yBCBBl0fhu5N6spwVuT+nDQYShxAG+p926tv/Mf64yzryi+57bgyjVPNLSMDpStAVYJmQ8lav0S+/QEPcrKSXEUNvXyH+wQhp4O7iBdHP4Hsj74C5LuEzL9hIC4n/9Hvhh6s1CKTAkULKGdlQiIc3HosfEh9mvIRWEP12gIzV7nTV5L0bn1eqcbFc2Q7+qEE+OEeIuwfC3kal3IMxAb5MQpc7XMvmLEj7C9745FVAeXB56yNNhzUE/xuy7iBLFJenrpV/4IiobEZve4khkgJ8rFq2583Vq++BlWbf1PxE0AmD/im3kGalFDE11oIQSLhaEnLUGKsSCxoC/4qtFq/YgkMSFC8N+Q9vtdt4YCssxJR+z5eaDdR3fe0B3+/MkEnYCghSvjCtl4nw6VZl3L64Q/3wW07G60qnoKKswzAyMjEtGY/zltHQBRBlJaHmG94ZOLLCzsWKoseCxcTqkpFDkW6F2PB2GEHEfr4EmKTi6ZbOVkZWxaCI4igkP0q3z2tZU47ojvGyJAMxyweK0fucjgdwYddrulRFPB5E+Dgp04YQ9fDaqrGiyARuh+UcNAC/arClcq7d7zCSuIxSE9G0CC3KrGjzXTPMGBfOruuiI9GNyuUUA1NM3hZEXvvapp8CgVSLBNDEQVTCFq34IxcwKI0FDoI+66CEDe37r2u0oAcwieNIm83lmmAIFfc6xI0ihxKBP4on3qoOXWdMxp7jIFKPZqs3gxLqkEBGMH+lE6lxVdu2tjK63jgmLdUD6ylOTRm5+vSFCUBZ17YsNIWugY6l0atgESUbyQl7FyTYrzU4CKZr6XRYOcKY1uqeyJsUreYENjiMXX+CXkrr075aM3MAbugzzzyR2sUwD6819esubnveKBIUqaVEBIVj70fyQeIKGaNCovtIcQz4ZQQXxofOQBvHFANFKrxyxeJM9w3B/OK98IMfFxgLdHy48ywrpdGjibTGOuVFZERmfwvy1Rk01Ca1r1SGrzv8DVgmLKELgjmJNlhUCL9JdGwb3tjZN/fR9Z0pQUue7GK7+oEbz5Kxu2C+2DfAjfvL8Z0EQG3ZvZe44/K4bY0uLoX3gOVQxuRRCRjxIRsAto9qKmxFFSGPIJNhPlcuIhPEgEABBj+xMckhNMNIDKmDtUzMmSbsLhrXXbkzazU5dbgPm3OQ8YHaFG4B/lwLNFyTF62iJy2X1LaAbW6W5jthCJ/alu836Sfd1gw5zKzpOcQ1/rMnjEBXkB2r9prHxLi27Xqu+m4u3Rr+p8lxojMOPcFnI0bjRs6ZooZRYzvDuY3u2iIEznOAbgiHO1rhAunBZbIThvhQFM4tuVNzx+h+5lOGRaS5DXSpQe9dxNgs+w7YULLGS6LrmrfrTrH89o9byZ59Iv6mAFAVqpu4eu+KojW1QbMvwVeBaY9HPWAfA+wYB/xaoTUxQa6HbgrL/mK4XWD1D5J+7rHA4ss/Yv6YqZ4snAz/1h0p8TohIAmM681OnySD3P/KtxBWjhSWF5+xJ4B7LnPRRCRIwzXuAyaLld4SfuIKa6fcJfQXD5GhVqDOuxPUMahklEZS0YPcB3ExRfI9jBxKqT83DzipLh3Qk08SqPY6MZe1Y0NXDtrrKa99q4KZgnZNtmLa8XgDFORysl5ATHMb0JpC4cMVAKoqndQjQFCG7bSow2hdFa/5u3Ev2T3lYHmDnQM1E+JXn4TAxVDb5wf80pF4/OuQmAwkZd7Bv1iFcGbAlW9bUazv5gPOJptRVYwW4zd/3q0Ig2Ynuhimtk0+BYkcQvTObGvqGWC1dBYjccSMqgNmKOGU+ocjhl/BzBrmUUkBwxJ+H/AgXiyZPSbPzvNE7JuOmlzawq1Xox2ROoEw4Isp35OyXEf7WqT0f+IUW7jZfFyyv8HrwDdXxupoqbKKhqHmDRoPyLH81RVy2i5u9rx9VJPzZEO/kRrQZGu8JMQBys0xz7P5H+cOMQAfDL1JdntRmHfwM9DlpVy5PR5ansu5qBoJ85PzU6fjtjB7ItrZJ4bdRp09SyvkEwdPuyoss6bStTY5//XlgTycNsR3i+ggt+6FouuFXusByilzcGfJHJvlbq2RSI5o/Dx+gH9LMq2M/q/ONRt6IzqRRvFlg3Q2QsUv+WuPRGJl4FrHOS4xxNfu6948eO7XjszW0REdhA7V/JVDNBlS2UNdwqAC6mDcqqqblfT9bAKxDCAKg8/sE3U+nJyUnI4DFHCKOJKyyg49tenuy7FRvVubftHsiFlT2KYZPTlKPvEjHPu+o6Z+hbQhY2NbOfsBwGtV3WJQPpyy6fQMSL/scuMKp4bqEhCQgUy/RBeUtfGXfwBT+vG4P4DF8pSKM7lO9b0uEB1+5dPzRze5bZeR9qrW1xc4SpSBrnDhJCrUfU4lGq/JVYOMWDKZuae7LQPrIqHZEAUBBA/6ubDdHRZtUgh03BwC/hf6u8yXqYGRRLnpRu347pyEFLl3CkEE2ym9mZdjqcq8zor2/9cvbwxtscfBCgekR8hFPr4n9Hv5AOIk5JbLRUvDyuQMawqiSVtAW5yyXC4DA6V5IW/AkPk0Ya1u50IXmXA7BSn6mWZyX6JkHYflU4cbh74VrTAOiwbW7/bP2V+zEhiB2WJqYAJIceIv3Q0SXoFaB+fluTbn8dH/1XhGRYRUBoNOUFw0U6ejQivDUdOr3Gc6LKaQaaagmKi0g86wMTA4uwQSfFj+EaoElsyy89Vq+cQqAmRMJpDAI6NQnOfR4Zz7SWB6XeeeDiOjja4dmiOVV4yeoTLmkANQU0DhgN1j80bJ0oAIcKoVaE9MQ0lrt3MCrK0c8UABLMXVx915DJ4Nknn08uoHkk7NDZNUZRD7PJGb5kbQEsmcTFTzTqWrWE+pyTdrqPGaJaskyZHIR8btwsKTspvGlpFlwdUiCja/idDp7fwUdaschgV1z/3RhVGysc6ffu/Moe7z1KHiMf7l8wu2idx2feZD4jGyvBqaeyM9ePtOwVGo+qm3FwsA247DPv5ir9t+zv5/Yyxv1u/PTNqthWlLVugMq6AiRJ0ABSZtwoY9UV1P6fSX4/dSxRnMwEJKHKoaSdoyCkG6P4NDjWi5Qy4o9ZWCDbibvP+O8Ve8F/ciMnL8s9jqutflv+HYncE+dOuAonOi6ee7fulFhWlqBG5Ujjfe1hueSIX7VsuhzC6/JpxQdN0drebStfgaXCcrwI6FjZ6KHCOH8US57F6AQPWaZ+w8aLeuI7IJDjHUI1IKZZRvT7o0TwLiYVrk8NnkFluySVovH7oYow0aCHiWZAl5eKj1ichvaR1qNNYZvUkxMTRpHxBlieEXcO1NIAL75SlcflEE9KDu5CN8F2UTV/tpIJExhKzxA7w2WMF7TzKQ7Be4nIqW287aESOGitscl9LnEZX3TvGKW9RIVVQELvyoFUrHCbGB7Woq5O/5/x5twMwhOC77/vZgg7D+fRHAoN4HprU8WBx2ndJmRVXWelNlS3WCCkgVXQolyRxNqi71mXmehlJfMN+vzrCvwLfHOYeR0KBgdoEX54RiRuojSJrL3kECf9od3SuSmHFmzpPTmHxPo38hXjei1xZcDUxeY/Kg2pU9suOHnFTY/BpifxCNWPsl3QSeM7EVQiioOeD22amOYlELhoVosLkiRWybOxbc7yzlIfUXuN35M2/OqOjTn5NnzqLk4GFRsja/IpWH7Q7CSDmERxR9nOyCZV1WhP87MeNXX3gyaRLxTvxAoUGUSzzsb0f97YZRKq9V4eOi8kXuiSvEn1NbV+u+eIuHxTcXj7euaZSGOd1kFu4f4OcH0v6nKg/pmoTlyUkNBbL9SfqCR0G3hjGVp5JYlhuWoEcxhc5+jjDjp/7qWObkdyLZytEpV8GzUTX0zTJHOWvTS5+9TMz+mXgP2PH1msWoxrGaPacpet/a0nOHZAB9csET+9uw1ouIxwmfDEoxDCxV0Omq99jQC9gvbv01EtEcfkhwzuUEdi+mF11t7BikeyZCF784L/VdtY0NqR++ksfsUhevrse6I1prDvJ+nCSLgaoFpms84FoqnJlFCvQ1wXsqimGvTAwHMGUSPGpth6VChc7p8S6TEDCxAdeUQ1/MqmlTjwETOR64JJ1i/U6vl5SWDkEW9SpaXdKEqSOMvo8C0vQzOyXO+rk+aDXWEQhwDG5YKdcIOcamOg4ejeKDEo2ZaUKOsi0SPV2Z5BRmazKb2JA3MfHJIYEKbd6Z82KBxZtwe3t13cBi47kdK/qbk8KxSbs3eNWg1NLjf+2HysSFs8QPsXwciIy90hzMj2K8LuM6TOX+7oJq1l6f44hHQ66cuLKDKuNcecvkBB0A8mb91HKiE1H6yXki56aGNYpYjMgOEEnajZil0kS0VAd4VtGM7YT8JYYWp2xP4YCHLkYx09L4jH7yOuZTIirlW+EfjI0EmYRfndXhhCUxVeS9WR0wijOHxcgJmp21eGztrC8cLtOLX9CcVoWFXPsKqOHycpeydMYWTGCkZeDKaBAZmv5puLElzU1lVFUgefI+dLt3o7SwwgfsyiGEAjiP+N00/UMwhC38gvQkyOeg3uZOaQWxHnUEbKTcl2TwY5A9tkfv/zVypTvhXoAvBqOH7f5xISGOqNKO/YF3dyi/851jYTiaOWfj59geeJx9OlLvd852rBp0mI9ooOu3RPFgGVU4CgmvTlFe/o6poNJvvTTiX3cVx+uMDFDYgv+FmKfGPnmFoO7F3rYWXKN/ZmsCRdQp8bKsDocJ8U5ebI+8O9g8eYLwOg+YeQcw/dIFWx+jptcwUSskyHSFkm+Sk9sewLYjIl+6rSEJ8MecPA5fu+QFyXG2QH18b/NxzToQzsj5/vqb1flY/KfaawyIjUdvEfWkfwO5Tc1C90Qaa5eCloyf1cHGCpcMMhuLF7c+k0vvxvzgK1PJgcZ7AxSJMeO/q1Gh031Su+OFePtuK1FYM5sj8NxSclTYycamXJNkm7ceBHnIZggmfJuQDtJeHensFcMfbVZ8HXPWnfNHACwZltPJQz2juFZaeyDtEv+y90oXuMn59uCTGcOpnqGG+4tKNXoOwqstrWORsKU+eHYdRSqXh4FGQX1BuAXuhaY6rzFWHTMu5xVicS+uNg/jJloAMIEEohN2EnAlHlro/NTU2mZwwrIExvEWu05SunkygKReGEOziyO79YcIa7kI285ZjcHvK5nPXW8YAOYYNyUuASOxvqJ82EkltZeuWiBET3v5FZdPgV1mfY0l7QzsNp/uxdzzp9l4c1mrrJumCIC6HkmhkMJXRsBT0pAxmPhZEYdPaC3zAxpQ9OF7mJ/mqe1+IL0wOFMUfZitqEXDeVXETPUBboMbU5jSX7lgVVYgF/Z1JmV5OkSx12Wa6BKUnUy4mTBKCfHfjVgiylMZLbB5NtLZVIw04aZynaiCr5hR6jO5aa3K+ivDrbVh+pHKB1ObVfBNXcZMqkeEmThIJZsWR2eNSyhhiVSgDc7w19YhW0YdMWyXJeZIMWb/37OsusFGtKbEZ21D0oCRwQpZW4BHp2Ewvfj1rnzimRpAs63UI5E4kjq3eAKl772R/h2lyFV/iEx7zrz3dTjEq9ltTaPf0CvjymxtyYjIteQilrgy+Owlec+bxIoruHh9n85T3d7qMyj7ZICu9bYG6IwOhxdO5msBnUaWSjfQ9FiDXEiwV4WlnkEX6hDOVMd33kZouaC9KHTCbO8iutzy6pZVRM+ydL8UpPXu7rYiamtqA75G4wtXVcJD47dOS+qemOUHQpSzrC3gO1/hc+6L0gZRwvBD7ZQOTtH4JF6k0rS7t8Jhf6SH65KuEsJrDi2SUQsXJ83wIXUAR54fMvKvZuEIGr5E2fUvuVZ1EiUg4rMmAQZuOi4xBh5LnVFOBeElhpeHzuKtW4tPppuigAsQvogiErUFwEGi7hxpLdVelbHlUtBpDQOvo4PPmqPkupFTrhy/V3X8TXfYPItcmlzvwxDZlf6hZlYQf7bL7Sfq/r/Af8+ZFsHak7BwpjdeByMfOpPgy8OHSAAEBW2d2w6n+UWBA8Y1orTIaPHVe1UGTh71nI/1jyMlww7Bw7uRcVyKM9sZrmaXNOyJePLd52Dr95XFiFIEmgIZBlODiibqCV3/uBPTJIXcSqeDVxGYrH5kusJdaZzc1WLTHNnKL+etYjtz/5ep/TvELjWY5oxEyXRv4XpLCtpbVh6Cnh4RsjHt6q4Xlyv7UBuJalvykcjB6h71DJvC9lypn46bJxKTnUDoJzVNY4YwvxUDuTc9S8S/iaMua35Wktlnfrwplp8Gu3oEGmLpaGlYFb2Hhg/mJLWNrm8TWa3F49mi+JeJ7wm/arGrn1zzdoWzVWVstQN5raBciS7XhsPTNWBYUW6i4gTEv0QsblWAgCDBLWFkpMScr/0tLtAcpv2RB2JjBxIV8a6OePGZiZXTR8n0qLDpbH94LAMcWzpU8w6e5VvqwbD3SS0RXLKJaAkQevzNqcz6QQvhsqfySs9/vw5jjxkZSU4kevmRKSMOBBGRo7NcEC4ME/gjG8ux6B7WMl8y10vbfgN9SJoavu7EjnyFxQ0nh2fJBqy/WC4IgIZxVInZTZKbC+t9R5TuUH+xr7UZbcSSiikkSfbWk0mbho4HSteAz28/qR9Ir85XlHP8LC6TtYKlW0hpnBcYkoJTrVC0oh5v6ZPd/GtUsprwgJs465Xa6bFsYC/ggOXXhb1jt4b0EniOehTxGc4XDeIKBcdjSkTNSiNrr+NowawOtj8BUWjyzCGsvrTimjs/EP0wvBYq6Ue69Tvk444jqB/OXWe9AwU8vfQmRGUNpwLgyCOJ4Ayex0Bc4Nm7qUpTaGhguui2QqdrFbTRXzNc7g+vW+lOWGToN3x7fMfbcldyQPMTFDR0NKSkjxGs9Utdsldc5zE4PNjyOA9RmAN/XLV1YwHjXIK2eY31MAB9jHSCnBhfVbZw7JlyZO8IWWyWwdUSlPFVQvT9AP3ZlKxvQmnp3RG4dfVn9GFmWKD5cRJ8o/UeWZNtLqWkysQqm68IFFVNCAh+AwAeHdmnfvLsja1vuc0fbu8KXoIUSv4dvBM1lmkmFaI2qDKLWamE3nkI4EePeKqD2L5Ewv7VVfubIf3jcsHULsQtq8meK+2RE4LCukTbo41ED6rYSzOV8TF4ypUpHO07kKZEKW73sR/X6Lm2YPVGt9Pgi66YJKMAEFnVCxVT97/V9Ex29Gc4qcbEK8JejCjKiHnjKBrCr5S3mZ3SEGIS+qoIqxeC1ETOmR6eBmGcbI28oGU+0WYHWgYJ8eGgmK7EkZIutd9T3BWh8JOiDZfm081butO4+WomDOyWVyIGAs+i/76nU2C5Hg3gR4eNxb/nY9K3s5T3hwisJ139bnDJDar22xlBO5VFMXS5JGg4nCnRwg309VtUtGNAO04Prhy2aVpSBjoCG0s4KDg9094xhMpcZfakYKWS4IwZSuIgQr7OgdjHZ47jrz6S8ZLnk0X78L3wTMIGCicE5NU+J9Wuh7BEc27Qv8z09UO2L1DhWQhBwHFR7/QIPmmxmKcqkTmSEFQ8z9H/vyksTJQq2t6tPb8fN6XBxqsBZQ+i7R4ts/xs0THf4rTkLHXJ5ghnxKrwiTxwtK1wKy8dl3wr5ImRhHnrhUEbynh4vtF+P0lB3zeK/WL07uNeYkUFY7FXpIzHo8MCFodfvYd1QIF2ILlhmWRAq/OmGUxcNeCHuPHhPKE9+ctvxoX9w8gZ3rD6JfUOPWq+uH5xZEID9kgcKlQn+qy1YaBVH6KYNb1Va3AQ3INQwPTdc6t7x9J9aR2CRH8ptZ0xHu91x32tepcGAVZHecfxMiod4Kv7dOc2KBhVF4L4yHtfVBeW89I3kMIyVuhnlqIChMXrZv8dHcM65RyIdmUwKnYsPxzdY/bxq2KsW7Zp4Y8TDcEx9EelH7288rgud/PcSqC3Kgu/gLnkFNKFiliB2IriqoUhieiHVuK29X79/qeO7WDkrv3FH0iWEmqIR/6oDEflR+/sDuKC4UkoYGvQ5XfEGecgksiuakTONDSl2npLsAwZSASe0F8cz7nmqTftgyvJq6DhUcNqVVZjzrvKy1liDaFopS5ZS6A6hvGN2pqcTF4Za3bHsK2KkFOPeW6U0iqZNswj/EuWuoWO5r1IUHO73JIgV45OkI4oUZkatp9KdcAHDoza3SoJgevBmiN/nVWzGe/cX20dV0GtUNq9lmTPVkMyL2SXZlH9dCakeE5KaIwcFr9xUrKNUA4pq5vcmbs3q6qxqFZmeNDjDYtmAWJ1+PwoeL4kpgkPXGQaTM3osuv++asnMhggRsbvA1WsVEENf0eZqb9pL7ZwRWt4eax8TFiX/5EvcmGoIomfWCN1q9UbaVWHIoGOtmy3845TODDtuNDnncw85qnmGfOJUts/adb3KC9kNOetJx0YL0RsoOzBGQSCemplEhS3v1CBt/sLVe7R/V1waBfy6g420wUOpS1m/cX47ndYPI0PFgnAt61VQs9rDx0KpEwpWrzc4HSOhDr6NNjukHtco+nmb0WTOTEll8YXKZaIngSmuJw3jWwD4e1Y39umNR/DpMjWbTtzBFUqWK0CXaSZsXenMcnQuznZ/6aGJzJLVQOT6x//7eYvM7PzJfOT1eIBzksGKP8Pza0nC4qC/PbxN8FwwHjbe2vMzWBdctBVz0HSXfLVfxnRq304DusFe0OldE0oaelqT6rQilpxKPK8S9DlXk2qGNj2hPYWtrT05eYE9mUi8FV0MTqZD1VpXRPr2JvCvWRJCx1Ls+1Qk1fhqAGOUzf2RVAkIiXE+ms7AcU0xXzevdM4xryrufO9O0Bvxv4O2VyRgECiGGj45IJCKN7rdzZZ2KpjTYDEm584PfTdGaRy4tvCPgQYu2hC58h76lymjFXWzQzGg01RZzdkyhpY5zKRbeV7Gc/ZhN/dS6rTjgThzxXeR0AblihqY+AAXPj0Q4lJxO06TDgcpSVzmAl6kpVNudYJY0jZE/VORtFtdqsH1E0i0yfe6JdJg9ghpCuaLnlcvNq43ZU326eMDdVLAO5jcIRWqY7fuberzVqzSp5zkCS68mtnkh6GAe/d77h2V4xl/3aK/FXSaChsryW1c+S2/NC3mOkGCrgi5KknA+Ys0xrnRgctSAkyG+xs2CdUA1rih4rxkOX2g4FGWwvpKES/EVyHWtAhnmhvdpLb0jPs1ZyRbr4yldOy0aRDjp9Hq9mxBYsVTI5zEweSuSiGasvz/50Tgla8+UNeNlSsmMQWp8r+BjYAm5IKjT+sEfGUG56nleW3Kwni9Dr1UUIHwjKjijP8c+SLdJKSRosUAAwRMsFSB4tniZJZQYyHyLbg5+D90PDSka+X5bCTiVEbV0+ES+AK2FKrq7tpg0r71myD0SMFsQqD8VZos9eD5vLM533MBhl5dO+xyo8cV1a6SQm1V1l/9TAa5FSA1tqKTehxgZ50Lz+BvSxciwoxJo26VxLpKvohaIK2aYZDcYlQoV+ZtLVNSvOwHCTzqG4WxlQ2gRu1P3uZTERDVznGjai4/TYOU0mSzQL3dKLYe0XUTVVWD17PAK9B8yt3XpQDtU0j/2U5H9hf45XrhH3Bnb6UaXLFhQnnjCwHCBCoXmZRrwQM4E5S7msvVM2OcEvKBNtWy4+JKiFTlLFzn1AWgIufFdQTzYosxyXUF9Bov6OsAhW5HcFsR4PNWzQ6PbNieZqLgCkqOTVMSOBBOHYTPGH3qxa1irm9fhZnav2tWVy9bJYtBBfYUKPqA8Dhb53QUhMTDJ0i1X4fmdvTVyZ6oZ3oA6aeQAXaZEmkc/IBY7MOGcZ1poZoK8Q+A8k0upOcnRW6HF1CBPmF5Vq0Kw88PZSceddTJIJEQjzsF1fqIt7iVL8dcPTbTrOyUoUKoWP1C3slodHJmyZ5jXq0TG3qIoeOaS+hx2Tue5knPF6O0UfnCkojc7Pdjhac0zbB7YXP2E2S5py5oD33IWoh22kiqZiUIdZ5dTSWYCYaA/SUqbc8Eq9r434oLPNxZ2QrjY8Q3FepB4uof/F3NyRfm8rWPTHGzPx7hghn+Tr7Z0zGoZKWJT5X1DHLyT5iqXgzluEFQRsonjOT/yzB7JYbqJeL+1R9CSINoV1SsOdfXPW/3EjMknx5ORzwvOheMuukfkx/AM3xb3kkg7bcx1Ct+00VZjCZTM0nAuX1ZlJtalbNG8boFdnwSUovsbm1Ha1TaievAn82zVyotCR4OYcwrzmYFNfYwxttgz4tERw7SuFQDLIc0HwEQCLH7+rLB0IpBH1dGxqE8TyrsQZRj3ZF0rjXuZl9I9WaaN+63sO3YrM/iNAMMpZr+7Mqk0oFwhhCKRa3ZvAdsHh9ZHUMOhhWKjgO5x5MiqkD3o9R6vbKw3Tt3sbMfegEdqQjCHIBLRfiOe3siEo1gUqQ8RmJOB0In+JNeiWrYiBfqACKCMhkStQdmrFFCnMlHV04q3PABKsigtYO4HyyOAROe4YParJ2nXGF0yxPIIcpdJHKlidGw/zsao4ql2bQYr3rYYvk3nZ/c4HJaR6ys528Qk6tRPOgPWnFY32XPAalAwWKjDkSyFOxaSW/KZz380HyxLva8L6KnijTP9fbgBPgkxRixaiM3LaNVO0kbSuZYJuc+yBYdtvd7MIL7fR5Tg5gbNSuQRnf2bgBrpkYDT+uMXaMmXucvylKyEv0Vr/8+56urFxS4Pr1OxvPfaUtJRB7i1O9suPIOTI3xNsT6ds8rOLgn11LdYhCnHKxp4mMs5XV3F71rMYgLOE5wDe4knV59/xBhLUM5q79Zn8rVnQ5Uz04VRtd93Z3sYJho6zXJ4j1zOpm7ZiSMGMJC1zNe3iseUEap8eQGaZsMorfJrE/TxdbRObYWF+6pKtMWdGJkNGL4lEI0fJHES+me6mOX0AplT1TRwYkDtJiO/RliFOsfvVriCpTWe54zNCO1C6hK+gKOyPQSrJzJQmwSWv3MTX9JkiUdxKNI18HIME05ttBBqNRvMbuv6bB6+jo9PSw2Yepir4P3B2K7V+3T8sJidMTyYm6QMCwB5SI1ZLUGAKJMHTrk3SRl1xMcGYONoIde2CFetA0zDtnZbK7ZWZUX9ppxehZG9aF58/fgBi3NNkMF7Z8VpGdMn2Kg0FwtJX7bvSUYAheo0mUoBom3b9StBpIY5ZDR0/9FLMcNFAsfjIaokhPUvN0F1/irdBVbTP5VrnBv9x2whUT3qVCwEGoMPBeh1DXpnSK9lJ2xE/zcz44hTiRW33kC9CFihfc5tnBMGRxyp+OYRqo0adAt6+Z5SzV9gO0LbRp2kqwjAym+4Hou/50qAHy1lNG/Fotln5pvaYd1dyGh6HGVldu0VJD++OkMZzOMo7fZuxCQVLs6TFTKcvyysgmc+qT4uS3+5xhs82pIYSurM4Yz7ox8sDzalYyBT/kwHi39JS0StFG+tdmff/BGu+WhKuycGbuhUYWclzSOaDiYpwwgq5D4tUE+DZRVSiD1M9R11ajT1g71OFv8cGPyelAH+9O8SBPEUudTHGQKyPo45mtRMiSEIVrRpMBbaynWFLKPcasgS9UgVPs0WnXstFi8RFqDyESi6RQxj2Anu/zz/VWtzJj4Ok7V2ES5gKs/KrnSsNPVzgtI285tfGTUKNOTHkAmaBkUjoh9JCFxGXHiUqbNKucGokDTqpB4H2H/DMYqSR3LJHdB0lk8HVVAW8AokFhMpaYxd8TRm8fid0DIzKSc/vhRS69O03BykDc9b4Jc7WIylUZg9Bye3ncLDiIJUype11duw3d6Ja3iWFaD6qkygUnwke+KNBxx7a6v8uPbah2TzJKAydw6nIvHTUUWDRADYpcy+b0oMNOicgv+Y2Gt43MArqUKd5uz1TFXxjC1M7egMUtfsfER/eLmX7kF0NJsWQ2me/Blmeh6pwL+Uv7TNc3dpCG4Bq8OpOS9/j3lVerXJvX6zujAIK10lmmEk2bk9R843tM7mfV13pHodGU7t2z0VJMuvB4nsKzJ53HbPZPdAM05WBmEqHVaU78gtdHDbPZZwKr5rvcGaXcI5lCMzWuXHhq3/s6iuyDtoDdBrXsNmXEIIZ7djZjsjwGoj/renMrDGa/7rOoP1Cc8n1P37vvlfYiBB2YZZEJ+OtMu8s1DBW3RzuOQDzAgBiv/GSKAOi9WNYvWUXb6P3l0VuRHS/xFXs4eTXyoBnXQR7Kw/lcTEgfNrAU69FMWXU0hQGQPJX4LZJ+RCElq4NJJZ70ft+k6jSLJ8L36n+kb5i22R7hXRDSHodkoZgo+ATYJcE8xDPw2Hr0tx3QYZ2OOzFVQqPfN1AbCET895RJsUaxCqdHveZMv6cuA9rK+nb07iONMlLhS6sor6qpq70vrirVc1xyGjMaPUVWTQenFfddpHMxGm9xzmUYh+nRI9lhBzn4JsDPqIv0qGBDuSylz2rDdWJ5ReuL97i+AUwX9t2bWR8Y2jIswJE467QuQy+vlVjej/JGD+TQOcwGSOaA0WRJQqdh60bK0Yl1j988IUaJhhsdYADpWvZbWPxYzbXZ3bMOfspxgy/EbZycI+slyNolU2ILtsOSDnYGqEWgVAlUOZKktN6EE5epfMFvEdNEWGNSZvgtNNTtN686DRklEmZiSJhq5TRf26EW4Qs6foGefoEtk3PICxH30WBRAgQeoOzZZs0wUyNlEnEmF0+4951gIWk7myh8EZPhiOEx+QqxZd6RNaENzi0TBAOgWtdyiJUJ0z1QAWKFWOG8Hh1eVMjzBWN0ar8mx4A/Lrzpqoe9Kx9iZKheo3XThErOmtn6GZdeuPj3YZlSMdveE+B/paOZk0ErN4BjbOD54/YGzxtyyD4pLzgXEPss32kkSU++HZqmeKh/jTXx0U9T/yq4sLiJB30wYUpcEyUywpBkZiGCWzOBDfZxGlGht/9zR35GNtTdK7zEPPdRxlGHO52n0qyqiVKTKa8xNIKnvcLmdVBp+Q+u2+JbR1YAwlaNzULOYIJKXtwPDBmpI9b+XjHVoyTFoRfyjsuMb4FXBOW3VmJbATxR6mZkL8dClvfH5xk38mL/RZyhFHsr3bbYoVTWuo4+Kkn55ecG8A0jQzlea9X/bqljRsePE3VWb9pI3OxvoHb3bEZC7TJ9K8Pfj+rAPzWRlN6VVBFJBm7kXoRQxazwxZU0ZVfAtoFMbtv2sXqTd+ml6qJ4GKnXDgyREOUTnTes01AHQYjWJ0BquPnGE+8IsJMNm4ONKRzZ/Ga2DTrHJ7gFj2Ft/OGVYfXCk2VkI6jz8ncLulLw/HQb6No6sm2F2z9Z5+kkWqR5ZT+nAPte8fYzhBiGf52PfLV+MbZCBDA4PnC3UZ9rkyD5+f7e6DdvhN5IbjPCm5SirtfwKJk97JcLDzyO3TuHzazWL3a8OqkAiCkO4CqrYgge9J5kt4zNQMAtWk7+7VI9ceu+3uItMGvmzs507iWUoj1EjuMPM3OTJ3A6dkjLcsrUECNwoXt3uaZkzG8SF0AndpZUcuUiqn1mda+paEjgez7w6AauUfRCpd0qi3pDZbTTNp3j4DMR1/RoK3QP5vBpeT33jAat9ApYOLdORJ5ElW8HtKRY9UuMMG4KVkswQVXfW5a5v0Tm80yrbSmVYbdNY5QfY2D8w98t8ARU1uTR9n1t+wBhDVOQPB7tqZhHSHY7zyAMJCA/NtuNLBoHbCv39xEI9otLfdKjpGwhkcwuC1FGAMG0UfSjjp+PB7gYHdFVVcJUDQCpBnV/MaV92yynHf3+VU84WJWgEbLcSl2Mnn4dF524pzQXXkh8FxNZ+R9/XyzxWwa8nAWiSAn0+rphZHfMe/vYSDA1x3EB5iJ1ncUCm/HDXCOW/NNfzJAHvAslg9qVKA1kphMTb3XvrNB8okvGlMV9Ei2s2ZZELtSyELh3NOUJhlMwoqHzJY1INn9VXW7+V/9OgUHdztdo+42Y5QS6Eza67R++3rc3Pm4tYlZT9itURgSQZxiYKTtjh8L+7VQqGxP6sdZLtZsSdjXn1lxlq55TXoS/3foNhbu65bV8bb65iJ22HyOhc4O3NoynYazmHfTEspKzuUwGw/eIbTnmFQbVxUWVTzfSWxTWOH2zVJ+mAAQfzE/5xKGGbAMYF+aqKADGrRttgAafid0UrHigC684bGrsb7Plva8CReMD06QbN6abWr+A3GQtyUMSRwYrOcI8auH8jAqDvu3MFznJBCL5MATJEl0GVJvGyJzYPfeU6kwc7lpAB1yOPHWiszdHL/sOy8Vp49e4lKfa562+nNJo9yNWUEgwgRh+2u/av7EzxLDRVsEB/p/J1bpSrTGAE8ROAToJ0GMU9tG4I8sE+2Hnku5GYUujUk8Tnm/SMqzIHHLhl1FwfcAvSkaG+QN1UILCZnuXd1XKU7Z+tgWYfjSnHCsT64Ksp030lR/g7kLdlC8a1fdDZUW/rRKcg+hngNgsLy8FKYm1sSirZtxhFEcRrOSxeZ9uV7xyUJjo90z1nH1ol6cTPwDaqXx5pA5207wX79ouAt5mr7PJlWGJf73SyS5wX6rXE62W/hlmJS3fFpZVmSqCRIRXLJFTLdIDoD8U9sDHoR0srk0jpYSaWA8L1GwFX7fnpYp2j2CqG2+QizyoxiU6vw9gmrnH4rJxMqGpGUeZ4yZ5ntbvFcCHwDgo4tSpJgK4McQxaPLUxRl+LFQr8HFBckOhU0DCtAFhQ9PYuQR1LBeEz2F+VaqlKLqweWBoSydNm/kdQW/p7Mi2utzfgftOrB8MQ9lc24qDDRdGP2E/pOlGzF504LsFesOlqN6BIwaSbFcG1CyBR7p/kk7fVXqx5zzxFpMU5kCh84QjHH9evjhTclz2rOli+MTEGbnwctA4ndIT4uGrWjrV1A9gMdDD1EaCaTflXa+ZlJ5y8APgKbLb08+Z2l6SwYtE38C/rlI8X4XI1RsXM1VUFKzUNy6kPKbV622xycOSo6A8U+lCD0Sc/a8scUuNhVjy4limDWt2ux12/4FAfOOHN4KKMeZg7J3gPFBr3PdR6hDYGPzQMKkvYf9qTWsHydc5xPzXzrHGcGxQ5SEfmTan+wuYdEV5iVo2r3o/fT0+iZ9xOFL+3nJAN3p1II+BwNQiecT4CG9NWBU/qeeZQQIEKzb+yCIVClo4eekHLUEJRwPEghc9Z2ridDuZx0yG5akjVJbwLOTklA0h5QQp8ikM31YegjwlmiIfFacJn5snCubsfby3CoIA8qCbv0/mtxMfZFG6RgzPxvASJ4oPQa1nlHKr24irE32f7DfkmQeQNLh81Wq9FeR2eKq/z9pKTg0CMwWJ03DVSFWRkWl+7XZNhZR1mxLTZv63vubEUDfXQTqTneQ9A7P4tNMVi+8AlMEo2vWYnezXTPvaNmxE5NOtI4L7/DsaYheF8oNyzEiBJzJnQb8TSsH8PTIJb0NyWAaPGn9blet77wJXoAm18jZ3houyXWZPglT1xmkYwcH/bP2uUnYKE8WzTO2eJ3VXl/DfirKv9U3L++YguXYuL0iZG6F/hmbgmNWXAzGJUhnExBD3TvGdZPJ3vjqdW5aGaGxY2OOT0W/5nG2d0wYUvoA3IJqA0vd/euKBdtmiPmYl6jce+RZMXiB29w9fnaomyij/5HzNLcCEyZt8ucvdecohD/oX5VxLeJFFqFwB2dlDS/Xmb4vcAjImd+fDaZFeLbPY8KdaCoVzaDlA5Q0UJdGQOThKB+ZN+efzORE4aYH/rsgl6dmMKkqUJN99AzADXlUlEjpKtat4IfjXHfm0tsSitdbVBLM7F07xto/0VbonxsKHhhaYs7T6aYO+kXVpvrgNoBiDyLg860J/Uufmf4GzB+M6AHNj/060Fi4e0luQmbA5KQWjiTdhLUemEkk2lneHX4TlKnvM6MsB7MuOGJHtV3EvawQnfTm0gkYpGvq0tm0Cl61lAYO3/xBzhiAWBLuGOzJ78LteOJidsgy6YHlUMoShqpSykNjkQSmK6FdHsq39AZ7f51L+ylQOEmB7vONVOGJoPx25HXWg/wXU5/VZB2Aw4A3gEynkH5UgumUfC9wXbnAK3QH7CYQFK9eowYfJXIAVvvwSkRBnO7H+d6xWMMd0KH/UgFKk4Nao1naKgGnTJ9S1kgx9gX2+UY/iwK2PvRcewx1xUeRIdF5oGhS6lC805QGWHOpJomzF1q+RersNvwIiIwVwhvIl0EFK65OzikisaWGjpwA6ZnUCjHqVC+r/nVLwqxKUsIlSXJ/1mczxcLJST2mVDWFKGhVv3em+/Ga+BzFX9eOk3hL/zdpGuJPUTqY7UbYznw4YfyjGAfBYhwXyi28/3Q/Q0HEIQlHU0mNqS2TyfJnarsCQFT1cfL3IYVRwWNVWTEUa3xEqgypysu8186KkrtKrjhjaL1gZyczbL6SYCp0EvqfaBbbe39UNmA5RYbqbzNI5sH97uar+EC8pHTLunN3TMtVmgDkKLeCerMVyEaOVhf9yui9Es7+SB8+uj3/kPB9jOE5VKRxB/iIHWl7n0qKUgQj5rWGN4Gn8gMphcZqtLJUBmAcvhUNYhOIi4mhZVX3jjLa0aM4PdLvtqHL+qyuj9czCfLJBkCooM+YjihXR0h/+wCbukMrjf8aorU68qDc7UmqVUrOaSEBAG8msXROF0TVm9434z9BX9tbLvZNhyoD6e//CteORIGKtoRGOtetKwRFUruhIuLhXmzoDCc7Hdokf7lNfJsyzKheXZp/u5I2GZP3sB32o2XwbTDC59uds/PoeIlY7HVLdrOF2dPF+EM3M8722hkgqy45O8ck9n9x7fvyjKvE4Yc1ElwKwqC2Hp+tibnuT69Pvv5HLmlO9AUc/Y612ZDG7tc6WHr1GbhknOHaGPvikgUBQUQ2wCJAWsWgxgN1poKHFo5Zu6k0n1c0/Y0KOND8RToPHPLnZwEFp0VXem2nGwJBJtFt2mtwJ1qrTkiksXTIXE2BZQs6mEevJ0ww8kb1xammEDASc1Z73ZrX71E8UeICgo2lcFJIPulQdLYLE/jTbCj4vattOgbnptBPmAYVg/mFEYXyTXymOvZmWT3A+CKZZ9r4Pf38m6PhDSHeSNmhHhy0UKw01qWZ9WvoeiUlzY5c1jyENDF8g5XvmHm+q5KSrNstKbQvpCqBtcl7EKJycDQTL17La1UDy1AC6ytfRRIkrKKvC8rkndcGXPkHyvKB6xw5A29D2q4DJsNYSZ9krVZACYNHX1Sqq9Y760LTOgjbaH521NoHTPO9cJhIMvbdssPdsLXIftsPlEakeXMihEuxcKGom5EWiNecf94QBL4+I/bEZWQBeCmHmCzdfWZOOOTJakdidr6SEf70E8et/OLRp0Lhdh7ttC2R/ZWJzhYtacHo1bBjLSw2ibvh5ME1Fy7KrW9IvOYDdUJCR6EyY58/TilpZrRyTtxY6lQmMuh3bWmz6C6u7qvwdLxdahS2hDoyC3P64RE19uwQDtkXtbzE/MceR6g7jGTFd8ChXpnzlA9LUKaHaiTMX+VsZOUAFsvwyAw4A5g8ExHVY/xlUT/vJABVL1+riLUwH7OIqjdIMt7rsNS2zlSPpwI0y70ucgpTcMKvp7c3GipdVEdmMjqBYECc4jTcEZ+e52d4BpWf61P9FzQ6b01xMa/AUrMjPll0NpThUbHd6Ia0dLYtH1tTknq52T2BDx93Y8nK7sm0l2szORa+BqJ38oZAxGY4NfbX6tEWfl2Qa0rdFaSYv/h0qW6YllEqz5CaCBQk9W7vvKf9n9wE3dLJPNZoPLTiF5Y1UyTAlvK082xxKQYqoWIaz3YOPKeMWqJuKQRxgPIMj+Cio0z6otxYSykX/sy2BJPXPxxmd5h1AMtXDyCs35aitWPJCJbb80Rmt4r6AL8NoGxPBKxWoZUrDCsmUcCMpJwy+bdq/BIW8A5w+n4oGaK4Ph7zyo6fZ/o5p7caQDyXovI2AcezXKxSgTuOk8AQZZi8ZBwHNgF8qmuvE53/3k1P2Rn3Zk0l1F6j5+7Kp8i2BDDmCUtY1/p7aaYs1wnpvb7duo7vWJROIituk00hEXY6f/lFynmRrKGURlSGegctwWT2zr5MsIu16xt2vigIPpP0iWB3O4/NC7+5sLmDAn7dFvHvQXam+GtQFawX5WLLOJXm9M8uGklIl8Z6ONjKMYIZV7FNCIMFWOFyxjta39nWfa8xdx+w1/bCIHKlEeTQxsk3u5FIiYXVKeAuD+MI19D8zW7a1XDzuNf3Chicojj9nmnjAFk7adyngf+OhT7R6lbhkoKXWPxzPfCFtlt/YsyVOKY00TbIGKQd+Php4VCOsFPoHe3THHAcfw0W8bg9YPBfwwVT6a/TfwBj5nVONpJuN0OFVPs+X6ZldI7A8QUe7XScu3o7HwnBDdZFBdLF4kMPiBfnNs3rl7SIuGGfpTOagJnZH/ijGeO+GyY4abp510h+kTIVi8UnreJWULNvvPskVgSX/5GyRpkPD0e91S1lzsJpJyoJ7CTTqVvtjGWShg+nV5QI1mroxPYUoVuWFAXS/qRMg5a84X7dq5L8Sn/nPZDUMHyvlVKLRqz2YvmRktbRnZ4gGriZb1+rBRHmwYI/EOie5DRExU5p6HkMoVvURzUwE+IiHVo+JIeIU/ad0qu+9ZLQmfMY9HF7r1aT59mgx/BGuU1GkfbnAWMo3QTg2kTRjVnw+vsGll71eTb2p+AuwT+eG7sUz9TNQYfaT+W007pcOV6G/sfyGcHpQwSFUJ5/LqquM5//F86oaK6TqtUZtwHGJvYrfSAzggeSidXjGMxxnWjqbzbJC2vSJVUrVz/XlVVOz0Tc+LlPf9r6IuESUofAadGBLBSv63fieEG68DeuKVQOzX7rmPw7uq/8u16hW6bD1oWBK72/2WW9xg/woafZwXzyNBzN4+TewtFgjfKzAtyZ1Rq9y76VVVK94r6O/54ChfhTpjJJH5lk56z0Kw8xH8O1K/KVn5ZoMYL5d6cbjbuI31ooJFqKMwAop7iCroLsTWIpivAtRRTFymBeyvuUwqTK89VAxeh1+pBNOHRa2gNKsBr3RpRR8JZYUN22Wzfl0lHa3UCbAmnk0U7fxwv7E6xGUcqjO583JTbtDSz9MOOvIQxS/V9g4b6LynuC5nqXxfhSnFbufHOWJMq5OMv9UhUMTXtDkq0AajRqRA97LtcQ/Fn3bbsOKDb56bAz/m4Q1oyF4NAbrLb7/31++PYzof5Ts7J2DhHucHqVTx5C89tBAgYCAUJQMQwKuJuApfM6Yl7uDjv4+kw4VJZI1O8KjjAZDJqvdTvhKVC6Ung2h9KrvSQFmDo+PxFM7kCA1i5NHFqvZXBEpQPkPwrEoTbkyEGW27uGAVmEqpn3KJ45t1Fga54WnUNWZJxQtdIPYnfK7RqFlxd0x1OPVWUx5fMS+B0/J3KDcpQhtSg9qhm+GltStGVsdY2Yvq3+TMxrIQ/NslH0goqTO7/4SMyjYDW/KrLHJnJtu4enJO4xTp+0ctHfk/FWno8NqKW5lanU0brLuCLC0so8oCZVSUOkwRJo3Dhd6e9TNGviWcfsCuvgxoMhyzVm3OMl9DLy/0zPVB/UuohHBO0dMQZQNkmRuY9PiKKi3NstT2PHVEFA0P6ZU8AfNSmwe4Hf2j8krxCOrRXHdv4Bnc/1tWqZqyUBlWJA9Xjm2KrnYenRR2ZSaq5hMArDfEyWy5OiNvlJzivtHqKnWo48c21XPnWQHJfuMX/GqdqrEQVNA+Ux/lavD4GrJVb12TiO5K6INWo2zsMutz8Cird3ZgG0k9XKiSl7muFrbnlE0WM/wGGoUVgWwOvgN7pZW+O4LqRfKr2syh7CRVdeXmkZoN17QKawrzUBFyqQ89J0wHJxDAqw6F6Xut99KztvBSxVtoCLJkEQPf721RPsloS74UQNLXSEVpbc/K9tNtEADX0asfOfvwv8DkixLjUGluQfrZAmmc6zuYpXOSwlUyen7JlPt7gJQy2+ayW6UizI+VcBBI3xFieeZR1lwrYt0uIusqfSapVwe2+9aLk8bq33bZmihT2mlQbSOvfvHHdt1DTXjjy3RWgCjaIXp8XdSfw3Na6Pcr1NfMCNXzaSky7LG8DFGM2Tb6I4fBe1wWAgT7agncvAZpI5DvppHOHLPF+Mex6+i4XDHDqcgpVCwSjty5qReslkOrVaq4MoGdhKMBLvB5UEgbCbE+hftpC3/49TKF13jF6KW20w1qCc3wRjrmtrrV6JNIJ5XK4SuYpAD5xpwT2RDMrgucp9DAOH/cL1JZ3b3nSlJR8mOvA/Tvlph4Bz3QljlQZdjZSPqpnLx2quwU5RmcZ1D7itzOhWOrDXqbMOeE7otAzVm1Bi41dNI1MdNFLkFDE+s/bh+5pwBVRCQFJnZWNDnX7+/KOW5LdbR6U0ZpV5FvqLVDOuuLm8587kd0NmE1Brbslgttl5sIuM+eRSQrEM9/PcImYmpAPaf8oggYgj9LdQyIN+Rb1+lsQMBaLD5ayaI5QQF+iGe6QHPvyffsUAFvuXS6ccs8vsaPJTvtPmtAOiCqigQlgFfHbvPZK2ZX1QTYBGHZjLwbIbe42IOIfoHrOO08SmC0mXRhF7lLMNNlAvrSq2xHVf1ohduz4oA1K9TJs90YlMxy4Nh/oNcAe13ezO5s1nDBah/LmjYMQtVmGO6cdsgGKK6NzxGZZBNJeZgApaaa19Ud1ge3u0fYQwKHNi3jzH7kpGPJAoziRg2x7iBtC7717r68/N6bFs/Fpq641eaWhVsO0ohjbt+ek6ezUiC3mf81YtapAeG9qeBXNwcz9ytijqcw3QDizZ2kd5fhFX8uVIMUCXS8hFdxUnQFBBVfHNYHbBfFNcSbjmKAGP1D9wX/S+8ZxZRGqMhq7VMiw8a2DlNRn/JJgytS4ZpiNPZRrW7paM3l47QaHjctJHcbnUvYzrmyUtFEPx1graGio6Dx8LQG0yLvmGbmdB1x3pXXWuiyWhIH6bxs8O0D88yAfsifwB2Uz7MeU03O7HGmlC3zEFJQxwvKQf0jiMxm8fF1+YL84dYdudTMAMRCIQouU7b0Ih7+knRvPTm/AFHKGlDRR43GMM98xxSycp+7050SkqZIDQ+JakPyQFmr3B+0c7LDJ3G8j4IfisXXEUaBFuiWmIWHxA8tOQYZfDlxMys67zgKyvPPEypcNkKBseuk9D4Jc+iKGqRaK0/YPEMEyebA4oeIxZZmBwJD7ScTBG6/MdVByyyZAls+4gTGo95O2KVh5ir+1tTKeIjjxCdPMu94lF88WiO2M/qG0UP95lE4dZFjKTxmMrqT1nTDVvet8ThAaNgT2DJRUZiLNz8tyr8zaZ7gf8ksELcy6TYoYmg/zvppacKVs0NGsoz+Z3/mnJwCiFKvtPvh4ItI1QpEs6Pja9H1BYwnLn4GlyQISdQp0V4RnIzpz05LYg9e0sIQF2B4ZWHltb1aIfVx1qsJkRo9cYb5glrY5vTY6iLeWUOzGKilx4WrITLqFIh/mblof5k8lFzpkrwt2FQfPGJHLh0sgIjNzBP8WLGFGuaO9kh+DyRWZAp7w9P2E8u50YSYGCffn5hGarwhjxULxJ3xTQjE7SKNGOQqhyJkg/OV/W8CACa8EgBXWtupDrbOarsQZw2KFJY3/Rl8S0D3suJ0saxLt9RuEavI+y64VZeHlL9/ILHnNh24hVY3gCkMhxjRqjjXRtYFWbebrHA3DkCqTDzaCJWvh6zId55IrFUavn0b3HGhx9l5CauFg8tND+3r4ItCls9AgzNozx91r6BA/BicrVP6YXotvVLYRCNjwBQi6WwjS0hdFmo9yWeXGE+5aZR9hOI8gEfa68r1rAPpw69VfgtwOk3sLtBdK9/kydEGDa7za9rQgLV6uRgPpg/U3er2DZDcaKaippstpX8DsDVcQuHpwAmQjcqiNtjDE+jexEf4sRaTd57MZzq07Xv7Tey1cAIKDhLeMUVWsEvMKRsXNVVzzJGjiWsdvScVhrdNEkqJTWoCThHXxLOM0nGo8gk/4OUYzHTp12lAcyfgKYFfQd/YCV12Ztq5FNkCsq4tW+2qU03m749+nZa07cTbtUzXu3kDaj0x2tLBI1jgM/El0l/ZLg5Pe8t50ygQy7z/A5D8dOuttvLU+BA0Ttc2FMSusRj5VvZLV9DEd72xcJCrXc1S0+OLrItbnFjCD0E5y1W6UsLh0gj8deVY9Ie+8i+/N6U54zM98UlKDhg/yE6kYr6ATrg3e7Y7B96QP6UdiliJLTRuBVvpthN4yTEdyNqVzsGFUFvvxG4mZN3VSRLROI49jFOeeGPy4+WRXCXxSQcMSmR42PFgnkqjjSiW/KNWHrIxTFd4/mfhmiEAVap/H+9omBGtsxOsjad2L3yPxI5Xpk6p6fO6Nln8cbajBcq0xlcpdnzPXaf0sNCgPHp4y9jPFY1+LZZAxHk5uQ4UxBPOqBXg488+Oo/AtpORCwvfh8vIbpHr8nA/ukiytAknAUlrq21dWe7Y17y4LIwPAa6rBQi06hzxk+pOWbmuaGNKc3V9lNYHGk8sE3QjEL6aZFWiVje6h3lobZ1WjmAFCbNlAdPBiHBLsSAG/SJIF0Zd7WOJEnoRg1AnrYm4WrafxhJzRxUoCPKpvDnzs0kXIJCEQgudm1V636NRXnJfR7/HmeO1//a2jukYPSfHiA/0gFZn+AoqVWC6zU2kWTDR+tyAZnrGcbPOFZG9tr4guZ1cA1+JWA3jkL3lOQprffuEmG3YuMXyDxguChTBr2WLfqEcItt/v0SBu5AVvZvwOysjbqxlqmqcgJ5/aT5XoACIwpHSmKLSZ6H+7iYC77x7xwguPUQr1YxVkmyaug11wRN4hX+VrwOv5pl8+TTZfutT29eR1PSWy7CzB0bOfSkGtZh644lizRUc19Y1Q+/cURlCL3FlKDzZ7NT8wcQR34StEWK6tq18XTU9XshDt7b2GVRlLbd24CibGHeyqHl/0+ZQqUN7/EUVn4v8iaRfrbK8/2GaY/1oUJvXQ33rA0h04K4tjc+/hwXdlpzD2PRTrdAFM/bNwuXrRZnCUb5dHoUBOSs05H1P0zsEfKXELJiBkJVC4IbmsG63ahjInPhIJvGGYq3SSXzMLk+hFq980mDRm+txegTwLnuauDyLRkZBBAusiy3XGJz+1krytj53c3CkgVNdzaLXWrBnx4o67Mj8qnWa7Ovhl5zJqTbLbf2UpOJ3PUyViFq72YlOYfv+jp1qJYo3EByfYcIeYuNQ6KSQ2eEyCSg10zyCHF6jBOMk89q5OU7qB1OsZ4TCiZz2Rl5DtDmcrrFPhcvHW1QNkteXdtOY3UvBhfv/+U9p8MmeyQBLihZ/LCpmVUr0aSr/eMkiydMUD4G5avCsS5Du5dqWG5AA5hlthHPobbc3AnaT1Q4ZNC4wONmmWaE9HdDYShcZgfpSIcDP6UFDf3Bw1krideRqA4WqSDuP9LgFV/dcQBKx0aEMyH2vMKXGiIYxF3HjqfGSpem3pU5ROlRhZD6Gvf+KT/yBk1mf85PZKkowyQJC5WsGYzGkPOLk+BN1izdBCD9lEHBsW3XgMxyqSV/QGk49d0IgzA8L/GJVnuzbfWVJ67qw/NkUhlcOvadlEZJyQ4jlq8prbS9id/+0Jxp56KgrTTBkgoxIy4jFOYfmECC6Lg7ajxW/wzLfaGKbOyb3OK0HPp6SDYLeKbB41zm5MTEupL44CRxTtZcncV+uJ+tXtqXU0LrzqeYr7cdRnxgiU/7A8KKMEgNSmv99Pcye3OP+Sh77/fNMHmmlvtjwneA7E3otCA94d07d26wsktDrw5QxWYjTqPInySL/EBiTCUFwRTUE3z9dI0sOg9m9VnhutxmJV1rYBf6uxSvAKlZt6ucoNENELsARTBWdcjf7P9aVuNLPgvwHuJLHXZtzHXVgRO84Bf4h9y15I6GeY9VUwwcGK0K2gH0esW0Sq+GgTqx4a10JxVsQSCkUs0bmEAuFjTGQfSPWRcdPMfOeeRdgkVzt0sIl2oFFS2OGmhD217ePRkBKyK89IM++gyX5LvYfXeFT9BV2tVZxE0h/If44nNbsCTLBekqhhPCvdkU6h4FiZt4pMBJ1aMBA3EZI8XZcT+Mf+HN+RETQbaxal/U+uyLie1nBaPuyzUjmNxsu5+9KXobQtLEoqP7KHgDMOSTo3EU4TuesMdtbwB0M6sfu3/4gc5Yh64ulLecFQU09knYG70CkUyX9ZOZ6sUSLyD8l1pvZ5QHVhFvyqU2Ras5FZ6+Yyan/9N6vChuMqaP+NrrKCnHH6V5uasVsEVPcUytj57sGd2T2csFUtKkSAVMTSn1tz9RzzpyvkvCFxZWyDXGwqodpQ3ny3cI5kXFt+OgkYFwq9G9EfmFr+rvWyXZVTxC1GwAmwkSdP8HSPTwZRfzlKtGSZaw8aSZC3OuZUGRR8O3B0qrmEv58jq9rY0depZBUsSxe4CVeSSPuBGDh/At3kpS9f4BIsYSq5wbxu7NprNGAN+mnu79RZz1o5FeKgWvYLIC91vV/VgKXWFXhOnPQxEtYn3VnN5qfvsueLlWrJBlxfVxB7WrwzqTla6OaCxI6KDIyyzGoHge3kThEGLRRz+RklY9+1w+Hdwm617SyXzTTzpWjanohrs7PRbl6ghZZD5FKFfU6TNgm3JAPUq3vqOqxswAH+YX4jVQBuNBUQ/iICjuSUyz9+ZhUVVWX4owVUBFfam/eKXa6xMJTBLx+2ktfwUr8DreJIyt3ggQQc1aSyfeorf/qFnhk4BYj2I12KIU1+a42IDow93NNE3/xC2sXrEygr1/DMQItDPra10yPFClnJiM39kHvFhM/ku2X2EBw/Cmy9sKtxCX2Os334Z/vRI40iz8SF8NhFGCO+S6sD0eYb8hJLMD3xw2duJnZ9jPP6wDyRXvUy7bIKEBNJ5WChgkDwIMsCFO9gknSFcQv9QEzzGUHffzoQZuCwogllmy9il2l2SDrOaal6VKQE2qM4s86Q9wtc94UUGkQH/fYn0SnkE9/bIDnZXc2gebYNTtrbHB88AemUQZlYNEUT0cQQefhs5DtarN4HCdO0B9SIsj3yZYUfRTayyvwfzg1+WYxWFXgy62dJgZtlQO9V9+OANKyvpoZrM7xcvwbD9U2AY+itUbOaUxGu5HwVxWflm8D8DmnvRv7tYgGW5Ct6C/ZtNgszyJz45YSOAV4WCai4C0U/PfCHasd+kjs7nsX9B1asqziz9WwgVlwJrc/lL9eIoWFfjYhZTQrRYpB4/FUDvbY04Yk1kLNcE26usHQZebbilQM90aam8/Ie7swQf8xa2QX7Q3yaJjwFlnvMpBQ8usB/4U1hM6LmHQKSTAB3kApV4gJGugtnnTVhRZhlrYQlJTHBEyvmWjlI78ZHpuOxwhM5kn5y3qA0cFf4nsa8yx/78q7mEWtGqSgxJRy3cjiURMYLWWQalbRNairsXcdHyLr3aum5iBVelXpwriwgD2APLpqvMa5sRA9tNdz6bEFXmhBFv/rS8KYTtUPXJiIbjGmr+qgp7SWBPsVEuzmR7qeJtCfzlrSq+SKICoMkHIfzFHeqrn6qY3OCyyfgwW3PDy3Wyhml+BTqrmJxdy2NbHtgw+NVLLKEur1Nzy2rT6P/pUHtn1LrTuhaq+HurIu0rb8eObei4bnQ4n7BwmKColnSks8BSJvzO2wxTFssNtlnwG1fd2sUbDZRQdtKPYxk+JSlxPQC29Hr4RiRqoG5QE6c3UtlijtGNiGQ5AJp6HUGD4rcbmJ80d5+ZShlV7wo1eHxVu7OYd70c/6IlipzAp/Kz9Aqih0YKWdCGciZPNLi9BunHahAorhWRzfqIwPbEwaXB+gjmgReHMbnD2ziGXabkYv0UxmXZDJPkXWu2lINFkekJ/LMxZg6JhT8FJFUqXWKoALHUpx2Zki27twKwfjYxqeHF4hnnPOWYrVtF+nMNO6UL8Iu2i/LJMZJ11LfYU50+gEbMMJycsG+Mg2w/BASNRJKN8z/5Kx98Q80fUI4X1OH9SIHnx0QyZuNvNP6bi1geJS/0I6lp/gPl/DJKaUr0Rw2MMfWvILUAjKVP2E20tIndKFnUJfzGm9l+bXWCwcSdN7D/243T8tOmVYi5oEmEbo//lB9u2J6UTTULzaqvzDqAt/XnGZpaG4hJXJJwjnkiLAbBbPYGJFwSWqkJzBvAm08wwf8MEsQF099dPl8mQbYgCaUq9Wr85bfg/zleX3sxt4eg94FvgHTymiwDR0oPpQlzHf4QIl/klpH+27ZHHWNj5c0rDDYQRJMBqwI59BTrbOBTGlBKZLWk7/QKaHKPthfqzzbXPppswhX8PKYOcOYbCMjGB+OeaEpZbSbwGEWYdWaMR98x67dh6CRC5cq0NuARR7hzViY30/8Na/UYujq5pZzUIDVx2G72Fn2Xf9f2uaFWxpsyJKbEJOzFJwKELQhrCL+Zv2EDpselyjrJt4QOHlWex4erQo0bXReOJeDubUjci6FdacvTcmQSkya4hib3p6Wu9ANCIlC/hb0o9Lu+GEcFAyJ8Hqefxi+/ZZIdzf/foz0aFE91jYCrKP2VzIl3HjHAwM6AmLg1aOHn2EJqf3kW7MeCDXsjCQADB48oSty69XcqureADQP16li0nWYzMq4OUmLSBvUv7HRSF3X7z95VXw6bhtLP2cf7hGAQs9NJPGEVShYz6tRr2cOJypbw0qK2NndwQOWtyiZUdiJ11XW+sukL2YUVwVWKgHhID9vvuRMBg+0lzLNz36cBa8hVQ3fay9V57HVKHcJDGYcGWDBg6YcF32SvzbqJOD/vCZ/Xdk2XLOiDMeI6P5dsD8lk3C4LGBkGBml5Y21vp9FVUpI1SGfNninBdhOQEK24BSN46RXW9/Vsz6yooE/8XKRMToWWv6UypsmHmra1Pme3qasxGW3ShQ7AIf1JldpFDr5KdkY6WJXZlA22/Dca4CIxwqKOq5OD54MrMW5adbi/Ks8+gus22IPOg5FRAn+5m1g5z8FDsgh9uqyqR7ImZz1iPFOULzFypT2EhAtmLQZpYAZJ1e4O/+Nmc1Wm7Wx4we3/n48xdNbpgepvS/Zb1WB8ORswF76ctKTg+diCjaUNJhSXX+VDeviRxv9eesY+bYsovoAuakkGpedlEEvB8yj4d62gd1otIM5jWqtpQOE96bf1xsKsiNktysTcxdVJVOTm/+pLifDyozef3H6Z2RpQIC1gHaM1c7VJrGT8DbXg4wFpIb9+DLAHTAxfEj2oUKLDOcviXga9Bp/f0hOTo3IcIfbT6cWyFB6M6bvc2EVqabD+HCSyhoJdlJbnvydSGlw6D3WppMgTUUqXzaSOSjCtWZ21/JnsWluLxxD2V2sDXj7ly8pm+B9LHMgGrRczaTt45xjIo/355Fetazrd55g8GlyNfi2bcMiastprqrOp9l/TS81XPpzB0N2ZTuapCt05Z93zM5dMkDltMRj2g52pMxvOOVnnzasW0ic2hzCjedaB9eh4PMnfOWLYSQ3/FanlsOQ2FQaXx/zhP159z6XAjkt2BIbwkl/AQEn8pc905POh/llH7dOgFu12vLjciuuh/9W+txsJR0Eav3I0A2JR5yEbTflnf4T3mHfMflKG0/el4DpGCG3i6LYfQybKEhBiyuxsUAMojsEiPSyk6l1x+j2+BFGCCu0hCx+IxUz3nKzCM/9JAXSQHEqSCNcq6HKTDEAGdL1ilEdD0gkKgcMhjJhXYvuAAkdfw6gu6Mr8DNS4aqofzGaFP3JlSur1Rc0yRxR7HcDKgRDZ4loD2gOaoheu1ZfVIU7NO7bp4b+yIMOKOM9TdMuzinkA7Lm1vPSZydUo+VsQZ+SqZgHXrqrpRvYqstDXKoP9u3peFttpVjG1n28kqYYBdlLHnf1+NQPSTYEv9a+eDNB/rB8k4PmojRdUBRoOcsd/jzX14zrpnp5YM4AFlNn/Cf4Y2PzoXPfMAzA2EWnxEM/QHrCbPGc3G2aUt+AWCIB9lc3VboXvlM3L0FN/zUt+tv4XZv2lD1TM9PmjYdNIVC5QDs6AUASSuVrvky5wzBplhFFObZFTjgthHi3x/w9Nva6keoAbuKwaJ41C1bm6cxBjeY08DjUKmMLKfrXXBIAO4EAe6HNB1E94c7SPdMI7UdvbD5iQN6LRpRVE30icXrVVhXkwvWhwnpWd2KMiThWh4slnKm4u0nUBtv23iWLQnJHRra00wcihNwpopmb3e/gNZaa2LCk4xr4E/ZcRJ9r117BYw/OU34qxpMilnMHj8nawEL1d3P43E20NqhvOFhFm0HtxuzlKtaqTcka+6ZqfufwviSc8mKwjvVwWbhqiYmsICZDl9UmKNtkiHqpQYPAwntPlzHqNEZe/53y22elavSoJvwRUJ2t4H1NSkS9S/QSHBM1eMoZbhm54DnzCItVsLwD8zMROsek3pdpxFf+hl83r6ukkYZZ9piKW+OWm8jQCchHyRqyh9gO40MJeqAAeCQRhND+1zbtpLdVrLwiJ8cyp3lae/HouHXdM8IpKrLv1bBaI4szchfYg6A4m9VicznhEcSGOZ0dq5W0bblOt5uKAXLwD13vu4BJoWDkB6Asjj+mk+SgjozKJkNkvmGtdQrQorgaeoI6Sw4W4busb4lsQ/E9a6l90gu0nTQ4gtQU3WTOAIZTIyyPhvWJadpiH+dcm9m0VP9TXUmvjZYYfX9FKaLILcjoQ1BJMnL7f8arN0LkO1lKkpn1jMbUvEgt8u+Vm5WolRVVfuWzt3ldIpInnCz8PfDpA7S9GasL7Tl05T48F+ScqEfLvtxOuZn05g/EmQPVubHZTWMKxEDogKGF2JjK139iNiy8Y0abVeoHO5vSiK87SS5Z+r5uR8OPjmuVxp8/IQz1KabMFt3zsAsvmlDX6dLyOk6lk50Mc+QFs6Q6HVCfcUgapVwBaoKv+2XSRrQi4VYjQOJscv3A6Xx0K5iRovuQzjlGGvj+SwyRoVlVIWOA3JS+G6cZjxcIQ3JZqIEgVzSUKJ50n3taXPCxVV35BSFDaxNtYcpcNOEvbA5iArEzWJ6etvKLy3w+Lc+6Op/Zv8MzS9r+78xasoeG0aucSv4ts/PNyWHtxZy3rI2pMwmsF+IHtU9dEeUtaUOKtebTn9TiwgEHAFOQ3SfK/+hzal2dK6c6p3o6PgGmGP1akFS3oV0UQdi3forW+q7/5q3PoOq1T9cPFEzVfbYcrGQgtieLY2kZKmuSpBWB3lluh01xRzJNWHcfx9bDLGkHaLSjGAF9j6yZN3Q7whUda5UWj+nLB/GjO/IjsJTHYv0+6mK+STEgn8elsR9VlKAOdxbuz92ESzb5CiOWJN01g/lXyatNUFY+/HwvqaDYmAcUpbdMxcR+37G2ROoFTSs/6ff/lxur+mB4Tk9APKKKSU2kY9iqxwYwZBhgG378N8oGLm6QbVE2xugD0cxWEffxNA78miRgvZQ6GHeBqX/8RYe+hpWkU1EIGM7XDmdy25JXdQMNkwPP+1O99gKJNGLt1Dv2tb2T5T9cqZoQHBAshTMv9gA8ABcaa26ngRvqCYz2bh/m2Ki7IPo15nJh7ydchP/CPx+8qz0BHo0b+pmR9NdyuE6YZnJvsw6GRwNJFxYkFBZi/WsLz2V/mihSeRaDzG1zFQ+APOOvXPnCxi7vuQVmsIfN/wqGNIiBJgj/Pj3u/sfxv4Hyy3+Fnf6wwlbF7Tizf9hWoL6t51MV4/MIaCEiiJWYBxZWR8gkGEK+3rqWXytjx+xiRRYIyVIxGVKbXE2QtAZzo07k9UCaf9l+xKgnpyXodCLr//x7xR1NKZBvMwbu+wrQXoTwiJ95xMzJ5AwFBQgt6nKFMB2VvyHJm6mwprdWTVNKDIiN8veG8nbM0Rb71Ar/RbY9gWsYoT8osO1ejxAuUNyP/vuCW5WOortjcMkvHf2uDks3mAVUROb0CsRtHaJ+I1lJkRDYWcWZk6238TQoMKHEhYl6oN/SK5O0FORKGqrHXziaa6mDbxnUHEckohptvu0Wpz4vWJu8e+o7Aazw/O0I9UP/hQZfPOtaSxjCthTwghXDANMj7Q3TuGI6BpSyUCO/BQd9SEf55T0iOze4ns+c8BAlM4AKQERLa0a9VDlpNsgqBaIsYXXy4gwtBhRxTREHKeuRmcVxf1zuhKcq8fJJtMSdr1cTPn4/JsBgS1GrXDV0D49e/OtyYkhiaPh6g3lFpUloGDq0B8QHWiXgaHk3mLMYDHbGYf+Zu3XhUIu9uUNBA8l7Xxkgkt76cB3bMqBtXxZ9LVrsLxmjOiK5lVUq0Ft+jqb9+C4WbGUoMubCdHuUX7J2Sepos+Lsi2YXK6k+hm4bUCB+zF7qA8frlW8ElB7mC1UyFWsYrbJn+qajgj4DZrAF+5kaP3wyrH3jeR3l0sK9BujGTlmXfglsOTmXu0GQpH5ROGi1MRDrIbYw0m6sxPv0412if5w6Vewr+tNFgXVLRGRoYxdwd6W9fYkIzxHt9hEs77cC44Ph+dpHiX+pkHkNAf9UtDQSXoO/29jAxsnVBffAj33WXQOyeGAPnyzEynQtsRGMrsAvzzUVk6GHM750xf3Mix2ZR2jjRoSo1DDYa8ieRIHUZqroXm8D2Y2HQfhOVF2PpPM6KGil4MKI3ovqpgIOBTleTAyifiRPB4yMub3nopbstJgtvhaBDbYHtlbro3je8XxWmf07/Z0DL1hVsKGdBhf1HpMaSE6q79UVOb/fEmK2XB17gpLq3EC6DV56FVckoaz5uxkVXiHH1Cs5LKlFOAhPxtQw3utoHaTxLBqH31t5tci0WVwRH9hxTU2j9kcORbgIbMefbvzRU6EdRt/CfdP528wogSpBjV8orXUABdSR+2MmztfBoyzrCmLEuPJTRzyquPAOhamLX0UCVCLncRK3OqxPkP6OdCnyXndxtM7ZiaQOd+CaYXUwBW+h+F1Bj5WiZjcEgcM+MGv7MrC7vv3Ndsep5KfKVYHMc/Et1AgiPWsEYS77+MJxpvomKHOhFj2WRTyp2/wEc/tRH3za1sFeg7bavS1gNrJDXQXZl8+TNtaFv7T0smtq4Y+sBCQFp2fJ1a4z5GbRykGRrIOmJw0QhvssmgGVdK4RMPHolrINhvW2sd2i3w7DAZeGwyFUvW+Fj537X/xMw3b+kkR/7gMpq1+fC+uz4oMT/wnfMOo/Rx3MN4bpjZbpATuF73p/DSrxsq0FZvdTe74AmACySKZQf4spuCpPc75eFk6n63kjqtWy4jypnwXKkBNglpxQH6ATpJHvKm0ekTn1eSTWq06psbQ5wQJRFP9pz3rgHqjEuH35Qw6OB6ygnyp/QgJ/hOQwWKIl16WBiqsZmsV7LyRfiiajhEpxMTzlI/KvR4vn9JYfc3NPJRODAE7XO90sbiKCuazGE2J42rF3ffGoHzZVM5dDKwVsPFwARviSnTrQgNwI/gm3Rm4cmrlITTdIiPOB86JF9jmESB7UDtQ8NDUkTBBdkjcL+Lmkj7jvEYAed+t0XB2p2K5rkdyiicLO/VYLK2byA+h8SJt3YTfyJNip1KShUT4QCFIEdIrPUOz64cO3kAWpe5uZE1fYFr+AzuELKhFOVtcCcu3nkJd7vW7yutZnWRNYRZexs2zF9lHzqSDf2i4UJ/S7Xv60OLuhv31YThM4q7ZYasTGrO+9hb4RndVfWeysJ92AbkQ1ObAKU4UAK9cDf9J/z9GBLXp0+E+UDtMptpP5IzZUgrZ0XYX5q2R/kAW6ubgkmSeyKkaZNmEiZpFrc2TuD8P5v4LEJsFxTJCU2Rxmfywm23y9yh+g0XfH+KTJBS3odmr59l1t1rRqTlfyNHYg8JazNzAC+R3xpWSF5/uwngnlXtmwfLPDc0pPSKIgc1R76q6AItqIB0Ar6xKJe2niMYwNllFaAgQGflBBCg81P9sstVUiA3N+tSEOt8D4klKlIjGS8nHeWiBlhIV4emf7/SNa1Wj/PdlCjfcRsQK3YrxhywpPnKUpnoZV6GP8D7m7bqzpWz/oeKBQEFU8FnV7WZkPjxXLTQnMtBgl72RvZO7ffFUQ+ww6cze8VUDqMBmK2bRzmZWXIntNjuWfDEDo9E19aZfLuqJeTucWE8mgQrjogxsBp5lXocaXheQnNxwX/7ZafsKXtPIgS2S3d5Vc9e5pMoeYA5v3h0V0y5tSCcRE61STEAEA7TH2H3LD3i3M022slTY3jaxcrw6uVT8VbhktRPbb4b2owkMMl5VyeyWwFa0oX72ML+fb0HOAMKjzEC1hsgnejXe+7US8Ewlh5+77/+qx2WmFHoMvltyyLiGtqtJOLEhzL4hCuY38NsEzikbFCOH7YggIGybpjmIRrwltAqZ6p/0ueLWWswNqwg5axhJamMrIJ+gd36u2E+uez34DTGINLrcIbiv50hVL4PbA35ourS1rmSjfIMkW8YvKSsBWFj9Iga2n6kANxB/+or2lYhdzRtv/ixy2OV49qc6+4aVe6mLnibqtqkQcbJyYYV+sm9tVq31+/BtnUVBuavF4sDTjOuKKpY/gNWqEX7KUy3irV3VJCnxhRhAvboQvq0tEdx4WPTp36F7W0sQH22CkP7UD+gbGiyJbj0scT7xcfpOzNZFcHz6WCaVGWcLEVUb+y/4GE2kAoL7SYFxQncBTY69MzCrSgsbK2w5JgHAkINo1FViXJPzoQUkcL7hMMW2UTTEo3rACpmwrtsX+6FNTSirx/xRYdbPBKPmZWqItb0qIr+y3Dz8dgZhdG6w8oOUhCm8mfBjey1yPF72b7xXn/12pz1Zp0zJmzhBckL2aRZLKk3KkzTb28dfCbsGuzahvQ34PhNKN8fqp/A2oWTPQO0TQb3wjEn9Wy0uWxGTqy65z90AQ3USmYPDX7+w+fEh4pl5+Nptwb2lLdma8eZY7slzWEUda8qxeSRmJRVQDoP6KtUwaVVbhR+KkQswKGLP+eK6J+P1+DTT3LpCiWJvBdQO+BLzKxwYue6mF7BRhM6fct11sdh+KQDgSivJLy0aqfuHjtWfwLg/oB/wRRUXq3t6aXXzgtlcdfXNmuRll8rq9VZkY+U1fMOAQfXSWYM1BuHbFkFsp584uGmJDBKPhqUCTUr4PhfmPIlIyykSwSb5Y3XhLZMcenjHBeZD6hfAbxfQR9FWpYJTx3EapxwC3fXs9vGRiMwf33uoKUic7lg5jfL9eGkkjy3NX52Zf1ofsBHWEEcH8Fhey1MkWRkvQWCD1SB918tFStaFEinxgLUqN0mXnsvTcizXrvR0wZjzbGc+BIDtWSlqnlVO3UZhxR1VwQxnbPfIORi+sZXsCjORGOv68qbQS6ygcas6Ww3yvIsaS0BpZ1mjqNyTqNGORdY4RWMbnmH7VmiWH8z1Hr/p5xM/WZcAqg2SC+Plx9kWAXQT+8jbNFm8gYTz6QG71pW6GBuVAQsBvAe7xh9222S+wFHgTrFQpXlMYPYz7aa2xlVmnvn0HhCbs4FQWxetVCWaVwDycY4ZlnXnVjoILBQgcztgkcW7y+D/MzYUWTJn3+pPxn9xDIjRL5C0Uxmj9+tm6tmy90AlAVsYZ5f/qtVOCHJARnYFNI68ZIJ8zwJ/fhUwYeg/D6dzOCFstGiQx2wTw+vhHQMM5p73YwlMmIhdNTCyekOahVkO8PSX/OGKQnuYHsjCcJex5BildOAYBx6SnyWv6mwGB5NhrDYk8BQMLTZRxD5hJhipVH9f3mgLlhPujZHfZDzCIRqldszTPeBKK/7NwA7EUMRGXYLIPgoY1uc/evmNSs+tRr/PTAOOX9CggqA9TvwTl3qketjrCOj8xPobtf5xIXowZfwmWBQ9MjUoUY8SHwdK1znP2a3T314oJA8FJtQPPlV47GWglC7Ooa8NgxMSHJMziRr5VhCxvH+2uNv1+GrjkbB7N3hHL3qzpGdJGLMGl6FCoNqYt3aaSBXPEMN/bdj9PbQaU7DOCdpjTA+HTtTU3SHvD5NlpmH3B2q3ekmxLEnpyo14VN1Zm599ex118Io8ShWGyLHW1eV8IbZxSXdkvOSzKLpdew4SjEOUu4o2KLE3mnSUuJ6SUh87ClTwJ6tjhUXuo3u2g8OwH2JbuuEFDeZwTPIch8ZDULCILG1i+pGpqKtCUF6hn1ffXOvC3Xlv4opUBgZGcxIepBUlcfqdKy+tU3sumOWjXWGV8nT3Ks1UFy3PDRWwyegi14Wf2g3wbbr8oIr7TtSYCO9qxWW3reqB5hgW4EwOTpARlEeRh0cCI/6DLi5izWuIUI41q3pgd/jaGbue42feZfLPOuabwf+JGekc70PX3/sjnTr1Glx2+MvW5ErUZih3GzqKFqheE04K7Q1JXWiyRxB1p9T6EYea6umYA7y6OwzHS+Vt+s010vWwJFUm+sNFz6hQcJs0Q9UKZtY8SThLpm/pU/dPiqGo9p5MKQbkJ3e3LmFB/P3c43a4X17C1/gF0AZjDNGRb/ZN6LEhZQR1DnhlQOpaSSRrLwv9tcpl1axvB/oEjxB2fkvEAIt07T1SYE2rO7sr920tUZ4N04r59a0ARX/L1kOeZclm4X2Ra+zYpP3vL374pgZnkLayJAiAIM/YyOwZz5WEZL4PVnhY0KZBfgDrpquAEhw1KrfN9Pbi/930q3TLe9NGThFj9o9DAYTpZUg9s/tq/BTx0OlLGk1xL3ErMWoVYJbQjZGE6nTt68oYXD3NeDdFUTBtxWN5IXCllsjbpkrS8172+MplH4dEI+eKQ0NMTGDRNkmxDjHfx3JBilG2oZcW+w3hU8YdcD0tD5btH1E9XP3GanevZwlXHiwMOnSG1ub1Y2Z1E101uchJxu/ZQp+Nzv3va7ZLKweh8iwjSmunN6HXxDIbQdgPV5xQvYQ1eR5SMoAuw8LDI3A91IbKNT6FVtFn1vF5Jc304Jt/ebwW968Qj9BwcAt6sNGzIY+55H2xEaB7g1R0Y+usaPbYnZiBN50VqMFWVg1iOmUfcTZunuXuwehWg/1HYTUunCOzW+gI/X9jIKHLd8dQGIM3CBAh5cZMeKe6HsUmRDLcCZluN98lDZWi4oWT95ftUtCcLIZ1lWV3N92JZmgc26lbq5iQYaaokjPmmhKrgg3m6aU4KIppGgcDYmhA7oqUj+BFtGm4oZrd2Xwca3XRZ0YwSn/z/dWBcv4+o5Xi8te8Afd9GYQfkfYDUA+agUrvqM4H8W8XfrJT2f42T63TS0lg0yJFpDFJCgOlg2fteMLa5bte3ZFIH8S7+nrnJBKM4elVl4Ozb/orV19HrTY/aZC9dZq1iF9uEyvPqwv1YO//Ga7mbtjUyCsgRRkqMEzW9e5/FT5i26Qz1ga1a2+Ul7qbc4Qj1bW2bY4nnrSqMkzTnNy1v4o/woOg2sSpsb17fir7JXq9vnM1iorO4/rE9rlyneJQZYh5th1T199u9p08B8xAumPqdm49MkRvhlIA28joDSVK2fPZZvgMHWMNAUb+htGRtQD3hLiTGZW263mBHv66Bt9VlQ7NQMour/Mn25OJlN6XRX1w+5+wx0hNT7skyLTcGV/RjsMOsJHp1qruj0+ERPz11W+vvhK9UvsFqcDOM7quxmMr0o0miY7LDqw+VMlS7/QlIKenVoI1ElCjcX2crirrLg89clmL9xUAEBheESfCCY2lSPZeHiFmlYNzlCJpkaRJHhgF4TDxj+ddTSszxncjVwJQoOnwg5tv1VIcd0f/qb1wObmgFjwGF2Xx1Gj+bwR60CACtuIALnJ8l76LXaE8g4cr0gQy2BLKIk1ajdhjFAJoQM1d6rNqBjacz1u/EFDwy65m/vmLCBX5XCsh5PSejPF++SMZB47fUbtQl6EAPW5vIFilw/CJvYalPEJAOX5dJIk4ro0c2ZDVOKO9P7UcLyAqAermpuxYkx4IlmN2N1ZvCqkthADtz2Jq3XbtAaiawopPVuYVThQ9qWh1TjnGwvWE6BD9AtGUpt3ER8YfV2SYdl45S98yZzOWW8RRBHwMtgklhoEGGngQOfY6ESMk7CbUUUuJab/aWFBt/DeHFJD5u20EVlqXqcN++aylG3b920mXJxjjqbfSmsYjXrYRV0CIAMJlM4TouCbAf2jp1RVmKp5o/M2+9os+ub3A/gGCM+6VXHPaPv0cgE4HtNKCtVQwhjLtYJ++gwkHeXrQUeMV/FjGz9ZSg2Vx8tWSxTFZ/Ok0yJF9S0TAOsMpNTzGNbMKpdF4KHOu4gnGYV0zyRnueaNH4RPsE7NcMB+1kUXTJEe5wvgR1YsvRyMAWADNI+bBLJC0GnHs5y3swvE6GR4U5s+AWxmqaAWVN6mw5FcR95XQoySL8aEuPBCDyJxwdgQPWTSXTkwyRbVPKQ1LIfLs7y6UNV+Znx/wVvWrMSsMVHuN2QRnlKQo5jOvFFbhSaMu9h5xpwB1ew4JApG6/NGCAwyXwooIzPKCz2Xc7DlsVIC85QPqec3Ac4DiBMdCjZH9KSWYa+WyKhgO/UHliGbqP40QdZ0FqwpE5xbUP/OOtVisoLyu63UYC4nEWUl03MdeDkWGNUtJ4nNc5HVTD40riCAz0d9U80mXcaPAd7HfDllHJs7sawiZIv6Upc3Ai1AJD7HXsKPDQkCereclVgKxtFrCXOvIfqAH6shWHGnfp2HcepKyMSH/D68u+/xd/U6norDz1MhL/wE6QnSxhhC9mwViQ671bLU5tgkg7IT/nP8LtMsf95qOw8swt7Afcb6g9IWBzjcLYGgGS/ODzfAYQIsnbvOPHU5Bn07v89G35k3jp08ARFVYZET1169Ju9B3IvzAOv+tqy+uo8Xk0oV8vgbmNfjvR0HHXX9C6Stj4Mq4A2E1gLg78DPaXifXiKESTLvm7k0Tr7E3T+mbx6nXslzdbYekOyBQbgkfHHusEEdsvEJDKrxBXa3qlBgN/+we1z/WzEoVyLqmoCDHQTRSBYbIRCLaUF9djhXS9Yakb9HDPsaNJiUeRC45ZA4FAVAXFRdjWC5N29Yngv/HsiUh/yg5HxFord72gZXTF7prMP+ghYYWxLfJNAxsLt3j3ulUJT8hN1nfGKdsx2NnvW1gEK+aOa9DxNAf6UR3qNWmFbRr+q85KfPcZUFbH/NBWtKE3znFAIwiVjtDYxERMWnE7KhZhLMaJlcJtEfaJ0HY7yRGOW/S0je6vjYdR/Ppc+TF3UaGkBffFZXtUmkgnft/nadjexUZcr7c7qQ1ZbLprgbMzuEB4qrEqu12nFbzjqIcabdxF0GatRPYqiNX7yY/8V9WHbPNvRUpLax6z4ag90lH1SoZsBc6kTMOrpQ0l4F5WMnQtFwOcPueT3o6YqyfuG8eyuqhclr9gdNHDZq7yZYSjogR0vU2WiH5kJsHqVDQEtOLeqyzkCfGMqiMR67C2tuqlQdhGo+8MSGcMk1dgktrdZ3bITvqPuCCxF25+ClhYqjKgqb7LTnSJIvyzBUlg6TcGFUQzzFmJBKYaMnJwcNSdC+LuuSdcahW+VFMB1suChb9U9a4haPNDKAnO+UH8I5LaQ5979tlLED5cn+3kkWQZrRjIBJKCI4tj8X1y5Wa1DngY+UL0PmdAWD2aRmxovACmIdL0RvQgrp3Sisz/db7+Ab+KuFDKom3g+aO98+5cyV2jr1SZbBaIVeP6H4ll15JrVU/FTKpjMFZmv9F8iJc2lqHauPv39TFQQpBpja0gKg3SyJhzxyC0BT8QXDeOElyTxUTuHiDrFC9W9U1O0yWkQJ/EaucYV5vRZoJ6x9aYnfIaARTMXM4TvM742Sal7/phLOOSq/tOoJoaW2THjx5Ybrg2zayLl8DUNne4cGcyOKX6+gk4/nU0egHE7kLRauYgYXLhgURmcqBZJSHCNWGBnyKYcjvn76BllQE0+7QtM4B7a9pqJvF82ntqEpfrmz38zH3jJIeLL66glJEm74wJzPbaHfubJoJtx14nuhximCuVaNrT5kOszdaKGiml4Pge/IMb2ydXP+3OFgZ2FJ926moKlSk5uWZBJzrsYcywMpQPZqLIx9cBCyNoNl+uLgmwSLz6ANPhjNdCZG3oco9ltYD81pWu6sbNGeRB3YijRCYxrNYN6pGzEaQqhF40ipd+zSX4jLDcxVTAtXeS9ptb4n0ktrVF3p4FjtrKtKplo6YLGYP4pyz0/SJqW1jFJWCvcP7povLAzN0+RT64bNrrJh1fF99GRa1W0KhI/qSxKwujXf4C+LO1I+k9PVOrzsKWBq2cYWuiUSQ3sj28ZUJahnWKcxSqwGQotnHSIlfai0sbsgt+CPw6ocefM6rEFlhN21+OwYo07t36Qm8OjbX5cjcjmpr3liTe8Vgto75hahBxS2pLlZ4+Ej2sUdAsUSVcpIJ8YRIB646t09bjL+brzB5J/mflOlGWPgqwcqgGJTIL081qlSA/epWEk/PAStnekm03YJF/ruDTl8z+0L8G/AiT9/LerXH4hwI5gfzd9UtP9/aw7tZ92OigEQFbzeMQZ/CVQ9mLchvwTaGjZ8lXwd+VXx9VtbvAdgaHZdMxssstxUITrC3fkNvm+tS8LiSgBsvggX8C76Ac3I7zDdCGSY30+79T9cegGtol1Q2ZT6XMikeYBeYbKKWqz75OOh8VbmaNtSyON6sthL+O8fjrSe/rSiQJcvpAKFVdvxxbtL6HlEvW6dVhgBR7c4mSwKzb0868fZortT9zKcrWEDkJ1ybmdhOVEptPCqv+Mo4qiyu9kljPrBvoWK/uuq2e+aksCXXrZVZYEKbXoxNB/gWFhhbaHQ3oRcelngxRwcYrtXfyodEPFeU//5azCYqclNMr9ppIcw4fIqcnAMRsOufH5EKh8Jfo2vAjKWzB1TUphdu/Whupis04mRbuGY4zm4lUgK/h0av/ANrYQgUo7AKFerY/0C0F0RoSXJOdc+WrP5FeGjwm/uNa+5ZhbUNiERR7Tqzge+m2P4TOd2ZdYU5Rf55qN3BpxNLMreEnPAE/Tmq9LimeJ6lY0fB8Di2eo5Zbrll1ADLwVF9M2LQnwhUKP+DYi5+lvFuDi6XDEHHkzG6nt3W0XhHzx85lPWooeoFZMAc0Y/rMRv8L79RmSRk+SSfedA7uXgNsToWkNF3lnx1BscpsQLnPqU53ld8vUxejpybtKW/Py8h0vwGCUxpT/wjVKP8Yf1BI4UJofGfqfldzLp/NFFX45PxNar30hw3nJ2rmR5tcK+1B+I+6mKiW+/A6RiRZ7JBqry7+d4guGhx6inJSmjU7i+amfus1jbgc+G+30HdCbFdz7cTVh1T61cr2At55GUd0Nv+GXiS4WuH49WdXQewLN+buX/b7vQWmEd7gXNgg37vkhnmdTz/7EnxLurIHCK5WIbT2j108Mx3yGJncuDD67T0Yw8TFruKUz0Nan3z9C60c+nO0bh0QNSNX6JALBfM2Zogdj/oqelEcB6HzYDfO7BO7WM7x1y8Hik1yn2vCSlNCUQ0yyholjwWVtwKr4MjmHf8zGfnx4D1H6uEhQAT3ptS+pi8Q0eBViTmPAYcCFtcACuulzeeRLnIu0aJwJIImPQ8VILBMv9On3R1OF+C+YOd/G+/yolTrz/2rlQrjIPrG1WtCkqtsQN/nAHXPmj0rCaFu/6GqEy/ORjBHuUVLgpheC9g0/v5aHVJrBbcSCsfzDFpmSCDlA//kZENmeKWxzpljSqChnd+g/Q5wk0Sl5LIdAlNYD6IXWCNNeKeEf3k+QDxZYniloEdv2XJCPy+z4P8HBH+kXOyOYxc7wwB70Dx3OM1c87CdSFelY7FAg40naaAP8lCvQTaMEx1g8cA/ZZi6imUvlRjKV3RCOrvonz+9Y//ktTas2E1zWDmSynUB81qnjdQrLOqMQoxYoYDquGp6Cbf7ndisJdU248VhwqCnOkwi0LR1xcIjHhuWUdMsBBwXp5xQLJZTKXPTzz9Lsj1awUNTRzAWPH96ohyCkAbXU4zRzg1Ky4qRJycsRt9B2sZw4NIsy/mkqX6XxdSyYP5r/eQCZEMqHD22mxxUY0BAceu0KcXJiujUOq1STX54M0MgqWS69S57tPr0asD11s0ocIMjToXgfUpE2uZf1Kzu9iLuDxedla8QW4adonFYpdBw835BAkIGoIRCrBKMnApZemnvKFBFKQvtdx/N3CJhBs0FOD0FHT0YEq3DSPaFlNAtB0/pb7RbODIDsJhdpTPn8Na5BUAk+keSAbnDY0ucFNXBZa7jVWAjdugkK4BBjghbE6A3RsEWV5HfXmykOrR7wLN0aV+PcceT0/55Wxvzji8JrmFk788U0YtlG443NelZOiUEDZ6WH9dGOsRpfdOGS+a+HO6NlOdvp06CK7ieVSmSoj2p2U+01N79k4aT2iFAhbM98k80XpNfFJ27KwSte317zJNkX+kQhTMTOBi6zaOJxhS2WXfJ7/5du7kWqtuNIjzQZ+vdtZEe6k3wiGouZKGkBvdWVMuwS3nqKvYuk92XwjP5GtY075Yjn8qe30UVkr8QTFpcn2vfVpTkD7HAs3lQAWWhgYYddJDK+mUDVHP0mlxripvGuZWqGMFrRa8EJXbOvpOF63QjtsY2GYRFugciBZUd58w6Dko73cQh8zYKyuKXVzqkorYTFYPFOY1NPLEjA6RKqFIQFDGUOTwkb32HAWFR+KP55mQsqk2pnK7OlNFXcLB9ywxqHcHVD0MyA49p7X20sPD5H5dD6p70yNtbPZIqTuSwWbmoAthEV8NwqeBkeT020or8I9rLQWP3Q8VXDCNLVma1eE4VEzS7TphhGrMtQSmsme+RQ19A9UIXykvhUeZh5Wn3/38KYgGvAeiPguvjkTBD2idByxTZXL0e6QFWdfP8QUygl4N1X24Fy/P/n9L/9aatQp23L7zIDz32yBYdc2q3VTSNkWuz4S7WonulT8besZCDSTUM1CiCdfSpO5ITq1a7BMN8o44vQRyo8ypSxnRA3ZokUhdn35IE3WZsfS+e/oJdme0gsKrBxWRFzeotg8VMJrdl/lA7i089XZUmixO2y4KoNTzU+6O5YhEFIAnG6Mni8KpcLqnE/lz2Xc+TdT659UsbQPmaVaADe+CMVx2wm2gNG8KdBBLCDaGTrq2Thh4RUmu5XHWiv6MM9QnEdigWZu3Wgwu7vypYedxSLb49RoJ+dEuExDy+4JUvEh8epyAaUaV0dGP1wR/xNvubJkfwKTvjHMjg2+UxEqu6p8hoGMhaOgF/nabG7Sjo6Sgd8Y6Efh4EmJI0298803unKyvcdcvj4XDxRqEkVx0dxOwHsFqikm6iMYoNeejMu4/1vu3ZTHqDsf1tDb4d7vZgKwT5E2W37pyeX+38x/dJzPcs1veXLliDS8R8Jwsf2E5mGdVOJJPadjQRCY5F+G260iKh7p5VwRqJSpeSaPsSC624Pk3j14VyOHkXuDWGlNW1mUNrVHdL0RELubrfSyvb9AcvHTNZXpOf8BZcWZxHYp4f2/guLKn9NcsmDLoEc6CnsXebrUSJlMhQj+QcpdOfaajY95YvaQqcpei1tmeD82LXg2MGjju9rchvzZCIY4sVd4NWpyvGl9/Ld19mD4ZMtgoV4XkWZWZMpufqfkzxufkYFQ9JsJPGqYQ5A3YeBd0z0Q0w10ayBD5qeigzf7OhPEugQt8bg03kTviCP6znS9iNWsMCsbuK6mCtNfiim8or0BX/pfmiJhzU+/r6qoaS0AIKj+lJcfnrmBNXBoxSTmo4QZ94CFIhh/eDsilqfpRnSeQQ32kS88kQxhD06wkJ3TKZEY/u/WN8ME3BvHR/ByrSWTSJYH0AkxgvDtIPQTxqqKCywgY+6FO9wUsiifyUkS8sQ8mZUY+yEh9q5uHGr8rJGSIVXOLgG1VvBaI7n30IbP6ufsT8Ao2kd+AZQLnhN72k4zmoQs6iX4kKqm804+Z6aGeRBog/npxEYPam6HES+7xa/uWbYNXHL06q3EPmS6u4LmkH9J9DqmKEVlpiK/MaE9FlOMenBgvvm70Ys8k57Eio+2e75o/gYJHYerY3lOem60GKUw6nxafCFC9ESKjmDKCWwryQTuurZxQP/llSihrE5kiLHAln2OYUBG6cxtpBfgyWEXWzqGiXCUMfGtsLsWRSCTVnyP0SbB+VUutaZkCqqK5w/5JW4eb45uH/8i68gU0wkghkjpYCEJqS+ObF7yMlal4hyXwxN17lKa56/rxr//IVJwsD2DONS8kaZg0QTRglXucnA5Pot4T0QYD/U1h0tq/tlnwI8IpwyeppGfpcdgXn5OEApFcgCyQvJUJIfYwEOKKO5nm2RqpcwApbCYzN7sCbHz0L3eu0H/AjOP3z7YjDt6XYbNq2UAhnUw5owq5gljQYbBYiJF+RMLxZRrqA8fzqFIgoqmDplZCZrw+ZkdrPiHmYok8pTOdpVLO+EN05CS28ABt+0WWBziY4AKRiYW645WBbQuyeSW2tayGoSXGRUrtfYwOUbpTrA7NKv26XqxyrhpsycPAwnekYiWAeY409G8LPnAZY2ybz354AzUY3ticDYgn0QRF6QG8B6xi57xZZ8rRcQxxV9Rra9TcU6Xi846rY6/55fyd0cNx1AUqay4+lqIzvxDsK02gb1mGvjX3y0IA/Ynx/85yYoW8gYgB3aVXU7d6Z+KKyk2LcS4QZdqY4LMIGFXYDRKrKM5iq/KWK6m8ZwCRexdIm675T8tJaCgUH9sWMTYlb3CXHMDm2uDeNDbdSY5B6no5nocncf9oNld4NEDkxov7mmyt/GMjgtEdt4zWbHN93IuZ4rcv2Y0IeoeZ7zimFoYdSa/9IWlCLn9rS6jUHG352UdMSUlYuX5n7lKcBzkco71AuUgd4lmQpRCKcHmYT2CXTnAGB4HBvc/KYJO+yy1ZsMMNz1L7fx6SWWegOhiOw9IilLCbifRwopli2Iow7lVfcm0MfvkRit1OonoHaDZGE8F9bMGF2O8mmjIx+8vMp7Y3ehKkUsFcpszKkRx+tsiuHlHDRY5JzIsvoXP9M6XHpfix3iaTgYl+vbqchp+JkFamzkJ9EeRNJvB5jvAvmpVguvjg3ZxSM2lQ8EhZ52RzTAWxHFpLY+0uAdVTKYkrM0sWwfbX6emgXp5o3FRco73IlUIFT+dqDqiJPYbV4hn/HmHKNh1gPEl0cXEwXFlsYbyBx04npa3VFUZfLCFPLAraU2ihjpoT14+iM7KdEdSQYuwBjZtjvDJCFcteX4FPrS/gkabPvSOyOHw8jI5EjsqUpF9oUio6WuW3wtrJ2uLlGnvBuRnj9tUynxmrvjOXZyWDm7bn0DgoOydZHmi3rd+8QXPpCN8JfFbVwFnxd/X88rfYg1kbxzCWvIoDHBdrVT/yrbF93KvWyLAjDNzurVSoLO/KLJLQNXBp60U/dM9vVnpHjR6K4f/h0UEun3g2TdejGNSDZx8/SfKTGhA7ls9CBWvfXAZcq8jCcP3GzY4YjmuknjYOQcmP5XavlmOl7IOs5nP7FM3pKD2yxNt4BZuKOn9m4YRLo8UecKpvAtdshwBO6vjj3L0GYD23+nyv6k+m8aLhFMNHhBIGPCTrQVEGK0STn8IEklc7gy+FImnneH2OhZ/9vIVHN7nIBAKQPZ63teBgRjyToemqgs5yODR3x42veliU1vhCAeorgrlME9lXfe61ENZxKsXF0ZH9PKBD/uZyGgO+LLwYW4mALNfpExi3rXZ2YnMvllKGv6c9fkQJRMRi4YZFIPsYSLPOt2pnqhPeAIF3Q7Gb5mknKr8ivMuOeJ0jMejITUA2AuKPqMRcJENPx14r574M7pODs0t+RvLtGHak3b7coQN+MGmvDbNH58/xwczgO+VbYUxEPmnv0HdDbRULq04oiEDD1U1XMJcMjQaIJSY9JQb145dIipOatsNgpWhKWRWH2lWeAja7l6z3SCp23ANrpzYflMIh//zIW6/Y3iexTNEbBUzXewnWAyE4t6BfXLdYqZ7gCXomBj8xjQkDPdDnwF0MZ+LzFRi0R7OQ1h6MyyUmfnqLcBzt3Q6SS+cM/Znks7jc1TsagJW/y+4mxDBrhTmy2R7/GlDB42bkLvdsIQJRGMBN3a74OMsgxZhCpsZKCARu5ODPZwTElQhy0CwwPTUaVpd5VcE1nFsrF7uRE1161+LLLLunPEMGYi9FaZg2niJkSvD2ed3YJPBsGrwol4k07hkNgfOjVGYgkfdBtYZvjG573CNIq7cMywvQnRLO/uJP+81YaUJf7tWPnxQuOBHfo+aUMKWbEmi+YoJnig9nWWAoR8TdSNsvjYIK45h5zB0addhVMl5ALmCOSBuDxgHCXSy8+1GS9+vI74GfEhnjZ3FkacW+LQ8ognvPkqsvjghEGa+2RlhhmEmM1kg0GtFF6Gm584Oq8CoXGAuEAsjv5xCz8LoGewB5tKT3XBj7EykFVuYGTcGKiDV6c5e6GH3Cok1IyRo0QjlbhIugjlZ98AR1s7Ej6jOqIYIxu661s25SFzs+dVgzD0Zy7fSvBAwT5Igl5dK+5NTJix4lD/kpK/8ZEuXMapxrgnTeTJMJkT7XaWhjtB8WWRfRmQO+XyTJZQ9ewUys/LDU/yzdx5RJjgHl2RKfp4r2wzjyoIVfOoOCbgt66k9XLGu5pYmglEgW6VbwCUQUlGAYa60aY+UPLbr1fQxEIrqrnMQlp3KkYYVdO16DQ19QsH8nU17aSJmpxcm0990dl4Af+YNptCpbABAO0QJUb59ZIJLcIW7oiBcLS81PE9KV6as1wscnnsv+egiG+nBRDpD8VxkZot8DoKILVOrWSuD2TV3Yrb4wYfjcXxr7zLAWB+rXsx/ak8GUyNQ7RmXEApBAtjdW+8/0l3xVrKO6Hc1niEtJCWKvOLdnhIusT8vYnAJ9k6VIv5pvuOAFKWu2Li+k8ceXxVrgil5coBvY4L6IpkaDvwMHrwKKOAJ5bb/T3AVNOcsvl/2c9ZE7jjsVloPzrc/DI9higiIxfEz/9ug6nViefqZ9YTCw5+L8Nd8wZpiGf+mNt+WyK13bkBudRamwqP67B69wqc0Wj7Sy+gq/L2zC/T7qRbJEWCDNVoV/bzT3f5E14JKFH+q8ndjEkOehxmvil49KIQsa7e9NpMm/anGUBeGnm0PBPYblyZE3SoufMuQoCAWZTjKaEJRmBcvsdi9U1rz3u6XvtFu7ONx0IzhkJnnr1oTpMo91Zk/RcU0iymGbuLW/RKvz3tGjbUJzotsDyzBzwabKCewJClS+SAV9Ru+SJHfEzHKqD9mIh5qNG8Fieze+LxVFmk3TomMPtefIcXvZTBk/heBd+n/QEn566s6G+v2mc9dVUN1YKnIXRAzW+S1WZeu7Kr8rDOSNGjzFe9Y9GtEcbT/ndb97zne7GMnevY+pYeX/JO2NILndi2Avlyypd0ExPftmdmI9K3hum4hWG/yH1gHr9B9rGy771y1Joun2UrL8YwEreKxVkIxZDGghHj2vPzFfw/19ktbC7zRE4G4LcBJLw4mZzEhgMBHY4UpfU7LkBmodgjTlGiKIxsyMRgs86EpNlSZvBlSE08rECR8SsRxQS1F2f5O5c5N3moNyqlSetRsWniu1sxzXRf5FTbls39Ph1azcQAMtUoYRKb0Pv9WbiB03GjXg84n8qTm0zqfHdY8AZXP5sGZ8rC00+JZpx3mrJZgg264Q58WLkOZei/rci4+d4Vvzm3zI+F0Z6/6mRzPHjvPmiKeYs2qnkuPdkqGlNdeCJ6gxnsPdkQZ0q8COgoji3uF5MNAZPW+Y9+ijksbFPV9w/9kfIpQEcw2CQm4ABky2LzB6eFB5gY8Mzt2v5z0Sd+gsVzXoT8FrvKl2Qwo1sAl0KCD1GHXtJ5OOmWQ7kLQBv29c0jPcMUxS0tFbsy7He8beZ7FPzQ1v0zDiBDw1zS4qZ85JlAMEpW0fzHwIyz/9DIa4cEu8da+Gs/xTm02W1eAXTpsWO99hZQGFQ+ex+M1pvWwHAWZmfA7syWNKqv8B7T7ONH2WmPtt/TkVKPiIc+SAa/sLv0+fCybW0QCBUkxEMhDsUe3qXQmX72Qf378YbU7O2m8cEWiJLaD+QoBCTR21NXWqsvT3TKw4ZCoZx9z8eWWULM4Xuaj8WV4fX0ADYEbIsNVXl1rYffrynoKUcuMOqlI1mO6jk635odhugJZXkOTOaoRUmeTtwaHS7pCfQpOYmm0Xmld1zONz/UDXHHYu3QzSVWsr/yp+UIC78q834G4C8sXp7Or6XUMI0j2SJPtZ/b+R41gMPytcWC06jw+fbg1iBE9+vq6aWaS/4KCKWCt9XoGHQZosf2H73oFAikrok2ncODxwBFXIZt15cZcd9afEaXLqh7pNuNjB0acrGSC+xpPmra6ovv4T3Upb+X08lhYM1YapnjQMtLdoX+hG21PTbHMFkqKhMVF0VEkS24N3V5wOcW6JpUXb5RyGr2SMjxNkDDfyAmbAc1lnH8F7It7YOD/NDWocnY0Xdt2HQwhQHkfODonrr0zf9prJCqbI3F7ySEJ3lRwR1Utq6vD9BbJOjsytodLcUt6cZVBjkVqrs8ATioTu44FT3VbEHrUc36S1gVKo0T26sACKkNPvLOR/PgskBuDOUhLRZMVnwNVho9eWsgs8Wuz6FrSXAk2ou4LVwwB5LsUGly2ZDXpElXCBR2OIy61BIkPgxP6OjFzNWCRsrIovBhbepsdo8WtWgUG9OHXSfNs81WmzeLZIQSt5hbxo+zcayw71Qg9mbTetKl7zoDaWxYpvnWpYMi6Afw/VelBm81qgr1qWRKxG6G2nbKRAr0dGOQxKdFe2QfHLAbPR1YlUoTbr3q91syCixg5PEh4+hee3ATltd5eAuC5HZ78A4LKjeV5/Pxs4wRk7TNdLa3E3tfwkcT1gkgtILhf4VpRZ7jd7TOxd0JPdYqxJ4m0rXrYZiSOEGHA5fG4Dgp9GtYBp1bs/fHkA8dXl3qeaSYYuXTKvKnbmKy11+VBOTOqNupASDUNrgBqw/EFdRyboNZ0lL0mVpyqcDiLCeh8pickvAeD9anXO1+I1pKyYTuh6Ex2FIuo0jVUSAM3wtgGZ7fT8VAfCSAAzXuYVTzwKhHx2JIjf9oSFUbyglWZQNo2XUQq9BCQ9C8BEPwQpPkoTB4RgF0jyeXpwKssaEPub3hvlN0mK+ZVSvIrKCz0D4ZDnA+NBRtM1qcQ/7jW1Y14QXJVkoa2YHeI8Lqie0+wJBcXqti0XXns8toRBrmRe697BuwfoUBva1BCeVoDJIO4EtZ6sUM5cbzaOshvaDHIxGUYL+DUmjKN1hvulsSxXFsoYU/sK1LfAI4FzagB0vyG67lsys1JmSErZ0xGD/+SGQGNVYNaPu37E5RvSjENX/2TOsCyuVOY6bZ/O+vEU2n65fJFGW6N/UIcqUIbraYP0JF44pud86x3Y2jDOdjwf5C4rrSrgNO3RSNY2lvsHu984TF47pyuD2QnMaCXwvjPI2Abn42QC/85i353MWawt5vWjXWuYCKX12TSCilIfynK9kqGyeuIl7k2AmkL7NDl7PtQsxfJRSxOqope2byUpheCDNtX9Ge3QxvxfkavFtbkKd4j1yZuSjF+he9i9humVYit2EjYGjPmx7bXs4T/kBtvM4SYdeReN+/2f0KhoMsFrVaK8l4llfK9MpldIjrP/l0uS430mFZMo/aCrr2ykRdRIl67ibGc4X4hRavsRfK0SXhiKOViWYBLV5N7KbNO9mMUXzdCdehgXI/pG2z1bwcf/tiFJEnluLtKECU5hmkFXZQvcMhnWZW69abfLfmYVyVC2pwpgkNrAuzTGuLB2xhVljLElQKl4xfKROirEdujYZ0iMOnwHaFS1qLPULn3wV5aJwCKbOZPzWELTdFL04EA7EbjARsqY5mxuObMDiMG783irbriomLI5uELk0T3cD42c1QZR99NbFibDXw8K4pLUAGeLQpYYr3BKYxEqtDhiPlUAzTPZRwwjGss6F1CV5YY1gcRjR9cAoEJ0+JCbkzJAouIjXKnwR1lF/pbCcs8dvgBLjihZPrermqgNqIoPB++6D2OGU8rynJVPWDuHpKy3AqJiFoxFFgCr9X42yYWsWAAO+4nKLMd2V4Aj9YZugErsaMk6G6xjXt0tatG6q/w0Xq+O/EOSu+evMgJpkixSzF0jcAa8ZwoL1iO6t90CZnueuuTP1UI1o8HrhW2HAHpk5p4VeIB1t9y++ginPJCfhYcd6ZQKj3ZBS5qFSRJpGRV5pGexNd1CDm9aFF6ccA2INlqy/+VTRfN/UU9AGsPlW+N6GDil3dWF+oeAybhAhbb29KKxFVCKr8pQjRLb1dkcPkng/NijZNI/UdmTwZhK6Jwva71M93/qGUqRwdGYGd6AA4bOyTznZ32hROqnEGNycg9z1XtFiX3nYck1PCzifkkpF3uSWYDroB0egym2jCZhDCB/ftircZzw3yfAHMfZ2edzTcxD8lvHBAVrK+9mYS8tWBM8kRwvy08fdf7TUgHy+jxgGw1dIlZ+rEPssN+4tP1JfTvJE/8PqBjIONIixO056tMHX8BghnuB//QcJs0jbAmw/X5JZ2nlViaoGl5rAN3fYAzdwoKYBtXZDshcYRYfcvyq95JCOqzlXn4NMICpzZUFlBR+5qpwVQ8GppHIl1B8bxoYLgPmi698jZL1OGydF0jc2uTPziNZ9tTgjgRd0L7K1m827l/rTI6cI4zUM+r8YZHCFQh7AesM5etieIVdlo3tHo3J20aHc6ExzNwFn4Sa8QwX784KalUwoyU4MYSTc3A58nrw8uNsLT8AL4RRbIbRS0TRY40HQkG2aNI/nRJv73F4M+SwCa2y/+S8Ez2ymVr+GJ0lZhvrQf+tuCG5yJ6Aee7BYcVWbr6abSHsm6btmiLvETxx+R+e36hupwcrGU/XaIdfRZxymVD/4hUOTnWbDBq8d00UMA5I4cjEhh6UQ3DVmpVgKuLbR0NzWGl6tGU0EIdjeCiX8asBZt4BroypvaCMpHOnVS7eQjrrFuJRdhKXHfnq8bROjtGZ53T5wYLNHUxu5YykrnrX+RcRMZKtaNWDIaCzy5BH7IKBnunsBbYEtEuwY6+QfYlLzf3m8rkRF/XQ4lLf2q5ax+X2im5gctoJl1fTeUiZiJUBzZja5sg3HHeoHkp+0N1741T0QFQdirwGDSirmoGsQov+zCN1GUGqOZjQnNbVn1sZVWlY5wvK3EnislTFeYIUvbs1OaX9ijgssD2vO/IsH/Sc7sSnwjm3tUaZ0go0KPeq6tynoRrrojvXi8f6ziHMmxYN7+e5X5uJVurRTMAuTAXdKNXjKH0TEAA7I3vW1iXNduqs9DBdXSQ4crDUGS8WDycEWSs0Z+CICo71efg0D1Z8KL9vBmMpUoovHGSVbL/IGTyGC1bqXhuXVACXFhyVZrJzrC13/eZgNT8CXX66HYSHQhDIrCWIKmKs//bqdjKA+saT2dE/5aQzppDZ+GkzkFMl3gzYeywN3SyOvsKwQmgGxR4afF6YUNDRt/ulLJxsNz3i0gis6RsvwxOfy8NElyW2vaqIjGaeIXlzxWwwCg+YyuNMRqaIxEotfHWND0MykKTY4iFcOSYOLq9IZxj5fTvH6q1aDALTJIgu7pqIQFzzw65q5buRyPnLq0xaIlXe7tI3pkIvJAykDotyPtpdsRXYTn1nEcZ8tq6VJDeVG0zVdeCNm/esFCmvXCDyB3atNb9TgIKVR0jLIuzG4wnuyK+zJaAo9eNgJG9L/l16E5tE8n46l/2TKmfhhc/mUqBX4N+HaWcNQjid1TyQZxM762DQ+B9DY0fNxAMAMwFbNi2/UjEAWzMl1m4odmDyFQlAiLgUnYmoX7sz51rdNmOY3rGVEN2MJPHfAH82rtLATX7h7Nxg4QALYsXSEfU2EeYoQq85AZdq8PiaJPQky7LIEGQDV+M/m/Hux7DF2p2pcUCdBhQEmqEnfvdLOAYHByPxWwpsuZTOT9KqGgCrSQbcKVWYNW3P5lXCyvS5/wu4Q0vBxHjonNAKXadsWmR+N/38Dehcd7oAJiYBLzg/LhX16tZ8rSHOVV9F+AMjeQFx4QNXgUtdmi38aXkzcOL06Ee+gtxkOauI43vMiYHr2wEWwquubuqX6+yq8XixvRVxLgo01b+moa2cBGT4HNqqxYUezPmvwnSu71b1BnQfo4D+Oeu/2V3julzCQ3htRXL6Hl13veLjT7mxVQcE6SyVr77cZp6vyfp4GC02skVHotfbcNoQXp1Rebax0vXD2KcMboEJ/PoFZDLIHAk4Coz60Hi45TzGA2Ya1wf0To0SCC88hKEkMOukg5EGgF8DypXu8D/wuk5DABCTl87KNGAjBEL8gojZw3aMi49dfE8MGxT5Y5Bv+EB9e6gDN0+0lXGn3Whjw0iLfNnRANoM2TLjdt6UZIVMxXbAlFyNCi37F9gpIekJAGOOztsc6o6ryGZ9KISJrfqE2Ao3DeTx1qy0ED7ymQiwFav2+8roieeNjISmOzwloohuW26Alo1m0Bg3dG2lr2pN1zA+POXZ6kth+2bZJgPM4pefTeoQnbvl5I8BXsqFrEhxjhQl5rsWsrG5DT6dKGV5eDjZbu4/E2y9S3jyZ+p+i3eePiqF2plufd48PsSvf6RulhjpmAOoB1C9tiMbkE9f/1KLsEbVdkjQBL7T1ht60fe9yZfh23OckWchvjOdp6BTg7jKrfxDkAyES0c8jZEXHvxvJq7/f4MjAsRodGQOv6ZLkhSkKDnMTo/+lMm/4g5Tr/DdvZrqGV6fjig+70bt/UcgA6RfitTpNnf9kHUaXgZwjiSJ1uCCQru5WSWmsDJ0y6JFr74JszhtObgQUVorteiWsWoQZMp8bYEpQoxQ/id6JhJZx9cf1n2I2asK++KX/aDhxcCXH8THxNbd54eaeqU+aZbOpqmRleCStv/p3zY+PzMUh2wutjkpUnSOJEH7gPJga5rXj84slSSnncJd2vmjdVJH0rV5Cpm+Ah2XhmTRRVhm6bQT5n2ZALHCrm6n12UfWGKCDLpeBUbaQVIaWvExyZHqHzVLP0hTxwkMw3avjHGfDom3qITSPZddpITBX5ZhFroXSEgaviw6O3bvYJLQPk6Efy3NX+BLkqr/Ax5gUfKEjboefFsXLqoBLsfEIwkAmFord2DlOsS4wEB2++MV00mPNo7HKHJLrF1mRebm2AmUEE6831J4Tk6ViNvOFC0kOe2kCIW4laknls/5yFcmjFNZmZvhxJkbx13AdLgPJfHDtyEiHe5DF72m4QM8neIQaIxKlCRvBd/dV5h+9y5qEiMdITnY89RKL6WvoBosXUFQ+6AnV8gNX6q9C+J3GqIk8288JMCQD/M9vHaGWht8a4fl25FgQ2N3tfN117wUqvkFN57jLSvCPZmhW8L4muDTTjY0OjGBtYmKNlbcgdM0XLYIYHKK7bStjh83+e013u8gJgUfykcyi7v6zh5H5MkjpZUzkf0IuUruAqAenXoVlgRhSDPftP4aaHyTFOHbdHfH98ddF1Fru0dMCV19NKk+HeEk+CFqJBcekNeH0H32lQGy6KiZb8fmrXTV1vj9jfbd4G28bQjFAMEZC0MRHiGme6tmhtpch7XEpdvbG1tQHHGWjebxomjm/1J4gfIsKqA3Uy0azh9pfKLqr+MIke6BESZD/hzLPR8gmlB+wU4L6dd3MiMOsRhg7z4EBIFHlPbCCXIS3UJPQlikga6/xQ9I3oVWbJuFbb0lRU+jRbIkEWiu9LNzTKzXJTtuE//FqFg8fIYZ20XZUJNXuDqlIEunHWaYOUK3n6B+McWxA+ZUrRx20nsCE1rruF0TnLRidXIK9JGwQ9mP0V5rvrTQOYYO9o0rQZunYhUADJYWSXG/tcMOAW0A8Qc4lief56g3pIxJ3h50Cils8mAv2P8gBLsxBLiMrm7V5PXsyIzvR6a4bGZsJVLBswiORjwSvT2UX7GTKLtcE0YkvNJrCjyyXJCFT4qsebRk+4YiOKZhlqohq3YUpjUv32CKBYXGGrhERe3pyliJAPDFLGLSXkuicRTSzy/5l493Y5rwcVa+kWcgIa4apxAh1L3mEg0JlQU/P0f7o34lSKVJ9H6bBCK0w37RHwuDb8G/tchawzdgky7sfDcnaTASArmDmSW1MJKgTylbwRQls73dmEgpYUbDG7yL22Hr6GZPk6VGsZscGP6EQTaM/A9xmGBYl9s3LAOCgYuN0LBSu2/shrz7iIDQ+xBK5fzAmsDqmPLor69tsrnG6dF/x5yRRxMhxaGPXgV6r4zaaEY3OlWKojzeJDQ3X3NcACn8xFizSGZHLuboEWsVBW7QRdYROnu6nVMfsjRgctMUQmHnDPvuHV70rK7GgwqJ5qGKrSA+ae+EHqgmMVWp3NrQ5stF5fXXPA5eHHHQTc17MFOSCuhyIMjK3q0lDmKl4TUK/pdgrin9Q4Ux1jW0xHcEg0EtXAFqRy/OPMif1t9XETDsWmIVXfS9aPD0IrYF8zBl9X36hyoXm/NWdFeVxF38S/26QiD2LrqDs0Clws3w6C11fScBlBEkj/Xc5ILUtAozfva+qBu9CQ6AYFd5D8trBsB2mMSlxXlPumNz2hEyAZ46UXPS+wM6GbmdaD+tk8aEWedU+L9r3hDbpYDvIbnVCjU6qM3f4weZN9eQdaRZK3nDzsz0N6X+NpqpPTqcCPhHTZTUBIjq1byWHf2bE+OAtCpNl+eJJHPWyxapwWdPv6NH+rp1er+ydGus2pPOjXRM/iCbN0AIkKh43Ybf1A5xR/bY2yyojmK2NUCzK1q2cgNyk9DOhh9WYeopPPCYLsDu/2/oHQluf0I0oKir/Ic8ykW/3eGCtqrDyGu0LxgC/mCGLu5W/6CYsluSCExCPZPjpzLPRZbXQXL8e36a/YjbS0pRH83t/GvILQMepL213FXaz3HG0btHkeOLBMWxGetFDFc7VFGT+IxMpb4GrMKFxYQxHu9wx2HrDBiqvjjesK1VIpg5VJGGtLOOnGRmn2B1VDfaxURtolRR847DPMJDpW24+PpPeWlrx8juFWIlqvpmJg2KG4UKhsPnIxXZa0tdYasZr9Qpd7oc8YIj4rMvbAOYRd+8rfviDxNJcHa5DZEJVkVvGvlDZp8H5sSbrDjzoZi9HNYIAx+6AUEVXJ6g2wH1kblALnPYNqzwSuQFQl8RaZbjAfTGlOnrTAa426OzERBv+rCSCNO4JWM0hFWSeAcdXRwnMohckW6K7nfRSus20U4LdHhODTdwJU278kOW4p6MRvPWFgzI+YrAV5tAQxXj9rSeS9Ma9F49yQjCBQ4zdF3rPbWDUhzg8DwcckZ0qROTEJfnz0yRkeSIhKtXPoDVz4jzLnVFWRX5UXe95/4C8ZW4wX2kCu065htq2TlkJuoMUIPmh5CkNA8bXtMb4k9y3spXxFWxtWu/NHCvobjTzHcJxcfSfGeJ979SyDbECKr7GDvNkMPBmv8Piz1ak5rhYGPf9wvVSwvnM08pxdDQyte0gAJj5N1BP7+rOx9Tm8WuVl1HvEIZoE6iS+LdFocMUXW7X/jr+IcLBwwLMmthIs18/8hD1oY4A+o+zcWqKjnyC+SqOi5XHDY1jUQKYvIPF16HOfXdV71oeoRPC80++zHf7E1gz4rUJUR01zsQvLecf3MsPF2KpXTICAPYrH3zikdmZckRZz5i+DslgcVNseQ4B2xCiV+CwBLrL+ylXEoykCO5dXIkMx57gShzm78/b5cmq3iTLh86svTHSz8lY1eWYBznDhaJU9whja+8US/DKlGDqG+0HA2+hd9dJ5IR86M6g++kZ1ly/rzGjmN704Ih04YSH1ZFAclEJttpbfxZtsZOZydH1oujvbxyEb/T5UUut2HIFQJDgvT4Mbx6NU15BG0WgiM2PxAe4xyfdQjWT/gBHySDgWO5VzQ8eyNQE3TnDZPutefsTabJ9bGi1kcMhUYq1FVwqhoP4kkP/jSl0aDBIaR/Dkkrnwz60uqxkwNPkVY3x58REVwz3d0+M7oDEFqaUL49GUZwMi7zhN5kX9LRK981Hzxy+aNa7fI4p3PsYD3w3FbBTG0j6MRq/LyfIIKPU1Imp/RCS8ZnYyEgBTX4gIx8fQdvaMO3gg+2DT/NBDJhMF1+ClnSM7503/o4Ax/dVCz2qX8Jn1tguWccE7iePEpgg5V+LTHT4UxqZqG79kCnWvgHbwTXSznTvBDw/h6FJZglVM9fanrcHBFgZ5B0llMF1JvbJz9SjCxErfoMO01y5ekqXV7+EBg7T3M1I/SXCFEiUY1jd4bl7yaJg4xENXMFJ6C8xLq96XVZbT8e28zViI62D5actg2a6mBp7111jwpIBkBGNdzO9/LmAfjUbGNuH9nxNizogmbctzxlU87w2US9MJHwbccW2Fe1/GZXQMaqHidAxuf57buP0r1il46DszpbdW09De9YljI23e/5kuK5XN3fqHbmBoJIMKDLBhBmddxgG+ZFo3C3EmQZnqwV9zpnRxDs3CUUKafezywm660KRtm1MAAswPGb2Qb0U2nwF6ook21QCK4jf47NVHk64QC7M3tZE2oT8gmB+D5yK3mKDpdZFXJvdY7cgI+/cthXsNE+i2hN3tKZ48O+m42xckXVNo12KoWsNwtBd3TjgzxRdOcT76KEj7JBtkcQ1FqXXx9SpiZUqSC9vncRsv2jSxYX4L51zmcpDiWLUPJiaRHHZxS/OVtI44BJNGLp3Kvqf4bdtc1biOdM0pIoh/2qhYCqtBo/chPUHacnkPmzEyB5D4szO+Jeyl26GuaHDdbADAxihaJeac8RFJSNMehxTyhkK+tzKm/+b7EDlDaTt503nPR0Sv3AaZ52BSVWVplgwDkKMumlknrytSlIw7jiQ3hOR84MLro2KdqdkAocvHJ1K8Id00HitNcUYOgOr3QK5DJy0LWeIEq8WJBRe7Dl+AxJxmWZFOigOYw2ab42BGl3MI/SS7Eve8ab9ogyUw0tKDxTwt7sZukx+QYcgfBxgN+F7FBFdGvEeo00UPB0WfHkJoXIHDHu99hA409C/Uo0U8uvUON1GecZE96GksjfcwjKA+mp5kzRTEEBD6iRYADgxYZ7Z8oFKucIYXvOvVYFd3tbJn0uFIY9KAfd/ztisU+IvSArPRr+VK0MCrmoYhvlaG2nY7LnwrI1I7wfFLSiM0tRkENMB9HP5uGJy9AGo8IDi7uCtHPen9egGGnk73DfZvnw1Zt7tUR6jBAqaa6aKFX1b+6xrVpMDWlmopVPm6dgmHQTnWVZk1u9lqsNTkxrSB5vHvuUdu2cBG8uQ9AezSypG59Fj7333E/K5csTVuoJPoA7S8MB6mEZKe5ZZlRqaPP5lARYAfV31pb8ZGLvcJAVoKP9+SqWaJs1KtMpQ2HngY5N+DEgMmlWcPtGG4n9c0RdyUbD0fLxf46vBykxlfozsHSaRAl5OVuj5MlpUhDxm6/QG3Jlcc8Y6lDbKCS73urzA/EkgCTc3+sLfjxIaV+x6aZ2nZxS7a6KNXimQHqQnFSJd68BvrGhq22p7YuloIO6ghaTk3gJbWg7PRUn5SttRoDdWzIuKfeu5qKLmIyewD47sKa74axicgiPqsfqtSx6XjQDVvG2HefxdBRGNyAhrxcHVM0W0mwSeXXNIIDF+28wqVSzEt7ahoReUpxHQTQX/E+wga42DIAeNjcaIt4539Ct4T+yPgqCHOSjJtnWjFmahiSkCG5ccVMqjgzjqXDEVuu0b+e0Ngc09lwJJYLiBC9F4mz6SA2RwmKBX9sOxToW4IBe7xa4WYSNANM+jUXmY3Tlwkv4eL82mZcqYqG8t2t7cZrWw886R/Mj7KrJC/FcmZjEzzCOc28JbqoVitgNKAQqLqpAhjBjg8MZDxm8OuXaOeitnXodqIfufwX8FESkVBao+QOqtHTby758I02OT3ctmQLOex/UX/5Rz68sJh9KitIE+AEYCj6kE8QzsqrbLqlg64VDwAJCZewLQU9LFs+3g9SSP4ABGefXQvKZ6YHBYvPtCW58Gn5vFkUwOiVrvOS/UkXOswzn3HhGilcIbK0gkeyWmSYRjpX6AqhlGCQwLZdq49GJ+X8hGveFioUcjbZ0kSCLLNC+MeACmfCcinguk60ZgN4McNipnJ2UHq6fLB26i9cg8iYruQs8gmmcWxAIybOFAs2Omec+8i7r4ryBUGmsOw7tPzjkcFh4F/InO4A1vyqI0a4qkH0OdiUhwhF7IdlXIgvBnqMh/w81GeylGMTiVMbnCIJH/uYA7VqTuM+TTLq/ovTJVGo4sDxufuJ8lXO+PFmmZUhu2xfxSiqAA17s6nA+QJRCu/tBlV59dZP6wDAWGJFle54cC70+esrxd0b5MDTLX3/VnJ5zBwgwjsT63Gt8nUJfcB8T5dowTBY+fmAqj8sPYBnCC2akziyxwcwn+nu4vga8zwcctpDmLWcwYguQxgeHwaRDLMz60VqtmGmr786K18xCRRKPh8/31/avvzlvbATFVY1SXMam/vLPlkmikCmTMxTP7/nN5WfcnuIgBCpFFBQ5TsE0QZ7uRyBAd/r7Xzu6tlClAa5R6tuiG7YV60WU7lsw9Ub1PQd7VI9fnnH5B+d85Ut+RcgJ/VZtrtS4y2PsAR+dCvTfxYzc0ndYNa0suomMFGtg5/L/yNBxN9jTa1pbxZtntIfYvaja9NS2jhhGVvEwgXal0bqsD9ACH87AvqcuyqCr8q09jzpL/2cMUQ2Q9mFMLl3pQzWduM05fGZKrs3w+iDvNhnXo3SJ2ogEqSlTWYnhhQfp5h86L9Iok7mXutGo778NiTukK2fkeaSfxAr5ot9Rrg9zAvQT9OlSsoir+ThP4r61+Y6xMtl6TKvD81niswXHrkXUvwYeL1cxw+RbQEgubjHdQXzoLfOJbwdLsQWJnnwSl40PBZYHSIB0SBFwQO+/BusEJy/JyyJZBsR7Xre81Wtp+udab7in+lUO3eGCjNjeAKeF4izP4Ao4I36tF/q1vAUsnurflQ7eYRjGzJHDDM8uMNEWeIqzRKLunf+gPP71ZZBDR7dz1ZkBfZzJ65gqKxX6pCADDvHW3wUIeEIxqnsxGvnPtRH//CPTNK4R9cW4bLJpnlqoUN6saWApyrrlKcLuxeDrckf9Zr7BwRbI88nKqhURR+0vfKRxg0f79dlZGvoUHaHKVZF6fVd+et+XyVVCuY6/tUcX2AtC7+BCZYJD+hxUUfxARlz3SJ66WZhOb7Hysor4CStK39c73Ka3fisFlaTMo1Pn7QFs07VrYdH4NdCVP/D9XBHXu0yXHqLIIO3HATO4l5hT4pXiiZp1obJ7Sjwe/Gvr/ewRbDPmreO74GLAIkquhumXQXfQDsDCPe/ww51TvaJbG7lf6XDFLMZyE9YKYWP+AUv1aMdHRzJi9OaVdLkbR7Qskv/iZHcqpEETJKYKV8yRFNCR8wSA1KW6Kiru5ghoEPor19Vtx01iaoKeu+7S3WS0NDI46TdUKQ4jc4QjyqSsIk9TU0qKehb2fDfzvUls2hcpHDfZ04/XUtoYUozDWYIgfxUkiwlfJQrfl2UNFfbOX2zzTt9ryfiXao6fXhUqdUOG8ndedZ/BPNZuxYx6GvPrmc//CvDJuRthvcwtLIlAQQE+kV9RCgUp9LdJQmiR1SvQKepTQ1g3dOGbCdS0++TT5zhVWqWXWB+gRttlbbt/cZHRJCOrQHaH2SihmEbybjP+MvfZBI45tG+5kgALhEb+M+GTecaAJjOVvKZ1zh4Yhyc3Dk4N62a6SjaIs/up9OXT0QWivz6ztB7AdBEED/68x9QpNTIAYQHb+i+eLyk8XaSxH7eVyFR3+g/6ki5/YYqYIUmqy1fWVhuDDwBjTYDMIOiib1kw0ThTC4MwvWNUy9pCbPwOSWKlytg0X+CfyyRTCDruwaDUl5SlL9tWms5LeJ9PwhiBEK4ByyL3h738cWIpNJbFO63EeyH4S8UKbhfv3fsRQl7z72yS/PSuO1m17eu0COCB31oP6cEOGwdh/cftG6QAUrPDDmvIXCjY1SKR3RSCdXhK+MoFePMpYN+84gvP0xmIFoYpJUYc/zae9j2nEYNkd1CXmjB0aRfaoqsZ1tWcSM0OgDQO3QSEukbJ71I41xQkVZAfJjfQmEWGaFBQ6RUG6seO2A5fUeqM6cw6oQCaQoIgtIdJ2MvetsY7tPlDCtJ5/fSemFDmsAG1WBvMUCPaBAAvSmW/dk9jadwOom4PQaqkL0B0Xgzf7248tp928ceso68WCu0XTvSHE16XUt1dWv6eWs6A/HK1qOjbJW9Tf4uyEyNeh/RmxncbMRbzivKy6ODulYU3Cv8WmOLFuLiB7HbPbU0EWNhSkUI+H4YfFIrBBKZPY/gT1u9SkrBsMBLp1Z6WB41cz6Zc7LVassSZ9NqwkZf/ElFkz+pp717Ej+zOd8gfpStYAB1S/wZDjRYsIgHMOKHqo4RVqHysx/Qv9phya7nn1VXZ+rewgZCTzgCZWGrY1ru5Hx0Euk7bTB1JbBLcv2MXHtMlgUw6D6+y7To89J+tQJwYHHT1j0JYvfcQzT7rKHizBVigRFWPbrSQIOr9xzxBElNnZxHT/L4ZjpvIqXxVV+iRtHGNoFP3Hz6yeKY+4rLCF5z0gMwgAp37ygtPo21NWqFgbEjZPJeJA4sjWOFyzHyPZdBf4MVzvb3sqeimZxvxot0wV/s0NTHDxAx4/Jfv82H7AmdHPkMg6FlH9ZRWBdqvbkjl9pIePLOgH6Jw1EZmI8xT99mcKDBHT5oLMTiliuCeJEoAPHxI7h5qufqN7Oh3G6h4VsNw7bDGT+JSFa1pSnyk7zn6/HmGk9uxfICGtAsKLpt0CbuWZEgQxrlLp9f7fQBriYZADC4VWUvzaCSuTIsMge6x5ftOcd+NRWEIcJTOmwrMhSl0+wr2J5AtxaqVkzmRqzhiKUTtXMI9mvuQEEjIAHUjcIUR0J9OhHrrMdgo3PluMPfw6iRYCwtCbuz/YVLLeqAUfuKfBHD49EPtW15z0LNvOex4eEmKgVOEkaMc8i2jn6kq4XH1UMg3iJpgag+gHy17K8nUjF60qBOwPMr34FZdGoVjs/UhGNNDAW9M5sS0n9Ug6yChdCHZC5bqntKGaFMtqT/Wj2i/Lv6EQ95QzGFHhRGqIK9fBgd1HGeU0oQa7yTkudD50f3nAnBEkr5NKXy/lkGo9lCgDVdmJotenT+edLLDcJw48qt4W+YA8zN2oof7Uj/7IC+YLjKiofaL3nJwBRUkwV8BFFnypuIPZK1TDIlXs8pDCiTCa0P77g5FWQoFeQWvLxgrAUfD67GtJLn+CfDEEanQlfJcWmQB9hVWF5MJnDc88Ezn7aTgG6wDdHx0wN4lI2ZsV8ce6S8z10c5nGfwHyxlt9WJhPkKcRY3mmOeoXWdG04iLrJVObU2TjOFl2zVMsG/KUnaJ3WRXIK7YDHO0lRDFbIDrnQzQmMfYhnejs6xnl5/jzR4pLRBC2rr+ie70TSvuJ/8XLv8JSpTSUgUfa5N65wvDrP4PrN/EdZL824FcqUfmeJC5zxddm9zbKXz2ob1+CMVuVVO5QNB2ChXgf8xaW2yKiCP0pNOhJgssBqXGhJVYdwpOCnPVKlcYJ6g1UmAtdJd/XuSL7/PwB0sMUfoR3TS8BxifyVW6wVx65CQPewFEBvu7FQxGrpJxD8s6FbbcXc2mQH2/v97B1OaMxj9y9tXXlnxBlItj4keFeT4vrfTf0LRHJExwmZtVHK639UyPacBWcgEiPB4P8Litd2zea0i+AFv2pz4ElZ6WSyxKeRki3hJUPeGLjsKlIPDWmhxHvDWknO+F8IocRChYaRBI5cbR5x98C8cCnQQYoOpF8D97JfGISeguq7sqw9osNydShuYGirYF5ZJWwX5kcL7N+sG5yc8juMM9NEVBMYFTQNsubAFq+0fB3/5Eq28L/v66QlCFXAdkkz1YE2FiZqQUrGjJy0Pe+wg9JDiEueAb6v6XXfVU3MkTwk63dq276lFKWxB9AecBzVoTGwOTGT0snSYo9/hn1Mhtr2tjiE49FaxqlNeYIfsNhxv6hNr/JiiyHe8sjkJshT9NpUWpxLut2L8D3yIe0qKRRjU7ltpQqFQZEwOmS6brr5AyWa7gR7sH+RVXNGlYj1ook7lmVDu3sqd2ub798FEOCjoN5BY7kx1fcfn6ttnepBE679XU0t3GB1M3A5YCqgqDPC/4PiwSFL9EPEPN9kCWA+gHssXUVWstOcedETfV0NHvrKjE/eJxzj7dsgBVyBzPkv646e5pg2D/fsXLNGmgOwanf5VRaS9D5KR+LhSC27Urjt9hE2uQEc2jdZGApvGoWThfOAmtqds8CjDOyHTxeekOK6MY2FvX0NNqrKJ+DZ2O4vtUDCmsrcR7jhIStvFHLfmfsLmgwLVUpU7J2bx/dSqWdv94K5SFr0Jyq7d/N5337T48Dl3pjfxjv/JqlaSdqJuHrJxvK3cgwcOVV7MQKRWSTCh1xK8A+PJh2LJ7XWicv+gYc91DNdV33uqcWD4EMpHl9cfcqlq9ueFCrG/mB6mHVJq8sfY4UcNVgAZlLpjBlNURaL6u/Wloq9De/zGtMRyAm5Nz8HeoX89nAvmNvAYgcuv8907QRU9wu1Hrv10uVG3/LfbmE6JqcfF4yIbxXLuCUJcszP2Ybtm/+iJdMXLCvT2aC0EJma+Rd5M1wKK9O8Z+ZDTtN3vRbp9w/a/coIMPlaDqQDZX3gCOycpB9vpA30qT5Xd+8AWRUVpAToRUQr2UDbc6vMqSPg2meLoD0rEeAmTIjTbP7yCKcvGEuvPnv/4ZE4dZoUcN5hcxdP7Rvopzu09+lop2EHo6RhGpYfxbolo+aCJxWxmjMfZPMplHYbd8+WmzW5QTrFvpQ0XbNMqNcpO/KT8R8AUwbHFHGCOeJETisDiWggAUjhdJIuorcom+9/j23P37dQzYKicr4/uX9abgnkrqCa4cj7quVdR81VTBw1Z0tZMf7k2ZXMar/01MhK8RuSdYMQjNDRK+BR87d4caCm42m10f5vTeDPrsJ1EqTRmEizL5BIDrV7UQeMFud2TAppxzhm1YQS/x93pi9P7dIls8YqQSOLM2I2jY3GToGnRNwdg4brkbLAv3OF3WIe2ax/MsvwA88AO2i4mVLZdbhSeuogkLdWvy0qqmquiH3fIkP7wqpCA9VOG41xuB9aLKB3jzzTIqnUXqqmgZErTWYBzmrKUvb6rUMSOkxQ5Y0mB6aFKoMcTkS6kP/wzb0hLA2M24ldkQN34oKceMO/1ImVY+f+/vBJgtEYBN2j/65PIRrZrPTEJgqQbGz/5+l/AY746lg3hswUS3cgBY6nJe+GktEu5wiEf+HfXunLh8DTUPU4eaYr18n7Mb43oPcZPk0xG1Nez6X+ofgdWLruFvzoi9A9RJ7KcrMLKYvcsm6vJFZD6/cdfeXqYTB7cRvSD+LtoGkx743hdfOL+b/A1s8DqPjJrxOBRE+Fxyw/9PYkAiXY1H/fKEgwrwpClD5cOelKguEAytUyMoSWuX3zfJlCinrCO1uKFLg+kNlc6XXB5ZAAUULzt9AdNf8iaMAsogf29CEOZFvuda0fUXpkGTqAVrHvZdgKS5N7gViJSq5sEcGuMpuJJBVlKh6DiTl10ltZDBdfvvhMnmpTWzPpSzOlSF8IduvdNyhDwBp6Y6kj4GjJ/IbR7ZxeUAwP7+oAclLhHnVpwhr/H8/BUevsCZ5GhBzwzMbF9AJHQHrno1oFuBvec3SMRZuJXDAU9wzhdbiEax9ZWuQY0alfJFkGUcToktzrHgTKTSrHu4Ub+WdjAlefIS5BDG6qKPNjnRvIv7SQXgap5+xZuqlTLvF6STsqGaPFgfh8DVLKVxoFLXjqGelWT8S7rSclozNs9wWuwN7+hdkazXabIhO5Ic9xp2A8j3G6Kk5lZcOI6TuP6Eotige5HCDfHfZ1ccQazEGb+IhscJ9U7ewbx3oQ2sgC9ECK2ltL5vS0mb8OB/vPxXhYNhqmvZJTWbhqdBoZCvHS3DfOtZ2UHclphfEfkJFIXeE5weQ2rkCllM6mIWCChxXT86OeBZlNsZEVhIharLKG+1g21W7knFnf+Rp55VP0lkpFH0DQinAGqFc7+y0+pLAbw24sVdleCbno8NTUCPbw2sWxX50dhxGGlqjDQns/+Oy2WmnIy5/85WuT/DJzyPPMuxDV6jwjRLex5A7Hi00QEHyoGZ9FeyDYKvbzkkgEe0xbaI4vh1Y37Q/MwdP+kXduaLN8RfE/wSMmbnTKmJmzyiideVF4IAvk3kryHLnE5I49K16pqvONB+nNHokAwmpCZEfnVna4aqZYG9qCCLJ3gA/jZnyK8BWE36jWAiPGP2jBpi/WiiwResNt6qJZMba/f57dyTxWvifMRvpieDAJv06a54MipIvwaxYUTL0MLxvn6EvGnZ6R51CR1ZcNNLJ1AoLKMGPYamX+LDeiaoAeoWncxORLqe/cVaPw/HD573vlPB3ACVVMbteIcon5rZHepyrSmtEIvevAHYGglPy8YauGjV102wGK4b1yB7Q6W/f0jZp+4QUE/qDPS9pv6mVMtOlOXjLNFPNgCrcz/2RWJmRIZ0ggAohZjKfIEJNSIIcyx7bjTrhxt41j5X6fc5VbN/Is/356rN+0jQ+Cvr+xKqM2Hi4puDmEA5OXp7PBhvvxkIbdD4kB4oX2ZVSbX3MQ1oIlKaMotc/9PC0SDtYsSSiVbllB9WolG8aL1oQWlzKFQ8GasciOJ2NeMIjalISwg0doxy2hYPDVMVyKoVczHO4VMG/xuMfEylwNa1j1OcRUvb8AFe6uwMKZ73RPkjA4ZVnjGYzjPPXkhWyq1W6/05K8ruOfI7cBHp7Bq4ygZRakJ4QmV4sMWn8hWAwXKlLj7WLCDG7IBqo1q3blSxjNJfytfvBu5dEp4iKeXz1Cjloo/0EKsFgCfRYLj4fqRpYVV/LXLUu0EKT1cFPswer3PcKmlNAoK4G/BcZ8tjVrbPekm1lZ7TYtTQCCa5pC+Khxt3JZZJjsQv9hsYDzLmCSpbvqY+D3ezTHpM0OsXZ1FyXok1h0zeeniek74E+JFs2/GyO1O7DWrbcS75/a7Shy5yo8o9QVphhNjxE6vUL6Ow6JLZv+btD9siCXQzkbsc9slaRkL1sa9hlLVq2mJ5Kh7IrCZOr/IweaaTQxX2iiZfK3UIEfZpHvGzcm/OHB9K8N+b6xw9asudZKtUznekpvAes0kF93rbQmVAuVE54lF286BWnNeT43xJaUEoy5/RL7z70XYgdFD3PLklkCTNwlJYvopqnf9l7edIRFx6IUbjn4Np/MkICeVR2xuV+PaRT9sK5oONZRt1GvOkwBQFOMVv0ZlkHnBEGVC2y+LMboq3tIzuQCWRRpLl4kZOV4j0sJTzChRhP791D1wmwg/PUAQxHGQK1GzmDennCnmYL5wCzeyzVhMlEPY52t9gNnvH4tsdV5W7yFQ0gq5HyHbPE33c/cTjRV7aQ/8czcYjJ5BzROo2f+gP8POtTVrVw/eHmllycZP0F8Cnr73TM8qx4PKOKTf8/zd+vaPKnUbNI73a74pP0FGfZnpdPxNP7HXmY2g2qel1P6oXmiSjrhdOGBg+SGcoQVM2rz/K+l7hG5vPmbSH7unkxv2FVzl1vXulsGzn4uC2/hchd3g/kUDlZ/ciC+33t6XowfoMjec4bFcMh+yw8YWPDe3YWQ137o+gMtU9C4VtHbAvuxVhV3GQewlZxckNEuw47vUbC51ZCFpOhoa2a4IV2p3G5kLaQbAwPs5WT9kZoQQ6i2x9p2NnM5UA6w6xciw1QT5aPM1/Hi5ZT4o/yg5usZyJ9VESeIgllT8V/Ey88TVv9N9xVJTcv/C4P43Z6Zou6+0MBgkzGShCUIxBUGkhomMey9xfWIFejlZy8IzZL4cLMNK3NJaNbGCrJrwsv8ug/wHGuMCVcgHlNN8zXlnve6JDsNWY6N7JNCNvxvtziqEGiQKYRDUKktflmBzxHuNxrwCviwhyAc+L8tKqu6lvvOQ1EapJvbq96VHw57NiT6ywZlvE6alNEEm73oMpa0ycCmZWeEqE0SNomcuBYwFdsx3mjCjKqXIj9zh/Y7zD6Ngf2Itpv+IaWDRNkRCyMTgGpD0X9uI0Ww5tzAV73zzqbO8xTD125SUyGRZd+TKP0rg0aAl+/HXnmmWvhbeTW2MktkB6euAUS8GbwHNIBrGcLrEqAsuixubVdqfjZ5geOUzMjjGIogTAgg5AKUJuT0/jgsTRhVC3eZgWwmibERRoTxVnNhSyNaOJGHDjhEbrcMoNBBK60ab7yIvBOhq9k9Wk9T4w32F7QFpLeoLIysAGrY8UTVAdFDgFkiOSGTgxH+BqYWogNkKovBZB0fY3PPcZu6nGmDyDiAkrdCa/PqOf9/jsxJHRlqpzaFhnRLoUISCCPZVUsQUdGkpAjYs1sS+vZ1OdOj7GAXIMKHzQ6YBtI1ZnQcWge2KA83ccIwyD3cADJ+D46obyQDCYHUuJC4mgfN/zLQk23S72M6sa2uJxlEIuLZnh7aP9qpl18uTz13+3CiMvuJSBwPWebrrCrKn1MF7MFelhcyjyV/Y+fIW1ldPqVyE452xGpgQHF0rn+ibkgzTLXrT6qG1CP4ttPdznRaTrSTlfJ46yS3FD+iRuoxjywWBqPov5/dBbViCcU/7sNnJDvMkX0fLtrQ1ablXUrNk9LTsGucKcWBQ1fYrR+QRXtO6kH/sqEY5p1cbAEYhUW8NEssWtyuiJF+bMjnSR88cJOyu1rRF/mo9frW8Tn03e0hYZYESpwaUzEtImVko9LrvFRraXMomBgHuYiOfUpflkHM+vkMjFor103o/qnfoKxy0FL2Sq5NEXK8lwkE7QrBcHHCpWRObsQkjw9pPmrL1Qs7H+YOF2xVBeWYWaFWqKLS+BaceMU78kcmJCyAhfToZGhY5tjTw9tRGK1m/kTnXDYPSvGkBe3hdcCBkQ6s6Ai6ZyAhTl1IkBno41zfYTOiEQASbOt7Rs0wQUq9oGc6cv+3k7BqysksSjWy425Zvl0BTPIzo8aU1wCuqBY3gIkfv+KuGhaqFG5f13R1bcYAKBZizG7nIqW7hJT1Qd07fsr944iil/n75oSDyC8V881z8iWuVyIKRYb061ZlrUEtAZ9uf4vzAbp32+dRNi0VIOhhweiStolveXwqU+i3oOw0z9uZgqWQju+sm/s36VhyMp+juvbDRasQrjbJcDn+zgxPNBhopTFdYxFRuNMccaOY9wrC/73SOe1ePqJtbPrfOu+b3vWzkY4IgzR+L9SZofugD4UqInFJePlpzpcMzO+Yez4aXA1oRjRlWLR2SWCVQxQOvLPiglnd4Jw3MURlmXjSy90h7jwt1XqM/3gYJkJNIEkIjFUx0vpazFtib5JiUe25q6vHnTQbBYs3KVdYql4416YR4WneZF5XBXqfTlEma/pTBkOHbfq5FbMcgtSwfe9F0Q0jF2fSLpRTHaozw+DKgT1jnKPw4voK2kcQJethAqx5aIvmux9Tw+umysDhB2g+0qivkSQiASGw/I5nvv8QtrfNwL0MvwePVj3cjpNBBF3rytZFXfE48kZx+BQYVDHtmpZ7dsktaQPPb9YVIzw//xPuKO+1f2LtEXLK5qYSHE5Fl2MWYwO8AhABIFiaa+h5BlYVCOiIM9D422+oJriViMJPDhM4Vf0uKbAPoJnmOim4QFJutDsn43944Hstlsz+SlbRKIyJ+rO6kByEgkpz7CiAUjPHCnZNZCtsqbtmswyToiShTYcjFVvBjJQzS9b4yh1sU/6UIUCHV0gc/3Xngfau4Hrvwi1XNWyOagCF9I2MLe/etr8DXsOL96agX4yBuP43qBshn5+coEXq4eC45Ac9mtVsqk0Tcb2YvA5IJYNc+O9J7c88VHhTXhqcmsPrIEq+miwPABkC37s168UtShXpHZ9pLteSZrYiBEdjftvIqkNFRCPw0HEx/cg2nVLTxisXZKhugIlbIP/iZkgKXsEsGN3v0oIhXMnHxohFU8slNx6iWTcWjahbp5LuhDCPP+EcQtmVP58lXMBtWCfK/HV5siwFPnj+Z0Y++ijSG1d+uFro1Si3WYa0JDhx8BsOJIldsKnzMJFJ5jfQCJqQn1NLYt86sIInvhOx+10X3YiXWYpu3fOVGB/g43Bbz8+qyyxgZy6QFvhan8sLrb/PcBJ7HquR1ucQLMfASe92qjRe6/GsPpXq8xMB101cvZhkNXETSHO1IWOrWghtyLruP6oMtfTvXphquikThPnFih/V7BQ1+C5vDQ1/LO/I5uFCm3G22gNxMZIA3g3hdxYPPKVp3t01Yw7EiHUmDYPUao1T0qQJmPXRZuqbJh9KQkpxpvUlPojOItPMAkq7kmHksmjm9kFA3/ewHxYMCCUsDjNwUaqrkLtW2K47vlZjFE0a/ZBFjF3LNVK0+q5hL0UFdLDcHWKNsxnI48wUUx5AnUXco7/d7mxazl7PBV4U5YJGdnft3F5/+Q0OSMzVNPpzuR3h98t4jSaMwDygwawUy4YrjJfGt6StzVEa60tTmcD670oTSHlgvM/kB1WwiA65k1lHYGCnO/ea4Pfzv+Db70Eb5ZHDbqRv1btmqHSq2EkCsbE5nkyk5F1Wo3SPzAFqT2ya/ItQWxcxHa+WTrAp7IvsVg/9tRpPuwR/ht8+rhD3HNMvfYaVhTvQoXBSR/06+eyc4DgcDI7YjvHSGaIzOYfBMMt9A8i9g8BNnNz25iFSMzqwFQxy48xQkNv70GuipQSJ06VAppRM7HtN79FO0IazeJvPzJTHCRt5ewmtTMpUsavMS3zMVCTWyFephC+gK18cYHf315+Y2vrvNjtO323Qra4+zii6lloDAdnakKma+UjhSfmDEufO8QWQ9M6Knno6WSI2d3yI0mia99Zx2MXyBAHcJkCcvSqWGd17Ix/ogfwnSuntwau6BH5swa3x7RIG0H3PHDV5U9C9UzXssmZTEiAmqBXxHc6FTMBmZVQkk0wwdgh7fQqwuxvmm8VVSLSMeAQVAxK1XSzxYQ2jc3xb6cpROPO6Io4VxcgN79YWUZX1aoH7b6FN6TzsPAymT+mhvhakBgIcLhw84sSYSGB3IxM2HZ/3cJN9qX71X4Be9ytL4hN0O5ql+tAR0OBEiQsh1/6ik+7oHsa/miQtiUP1mXddhpk8/cDEBM1uTaRD24vrrVKPh/FACygEmlBA0hfsdtVuiUJN9x7dlG7pIOmjYZl2H3PIkUB1yM3PySJEra/n2WQA50nTA2y6nPbNvVJSgjktHGWTUiJI2Tl/B1EaqYKwv4M/JKjPcHRs8PntW1mwkU4fDWvpHpkJ0XVtF0QNC2UjcnWnGqlXA3z5P+rQRm1tWqM6RAskDquFDJ1SPIat24a3FVOuqVqYqIpgGeg9h2zWTwscuWA73M700EF+BFvPFgNNsS9u38jnL0/1xw0G0uRlD5z5ma4pXKr7kB0/3i9b15K6P8KF1vaeitSc+3NWMOK96dVnJPlgBEC67oUA4XLEeDIxsO6x2ipBdyydYu/3VTCRa4aXmyw+LlbDS6PUV/Sk2JKLuLVJCIBihM4G/Pq8R7JBXWBSShlbIUqhqspfKcJ/mWHCXYkG0KlCI1eQxYKNq7N+TOanuV5G23BbJbi82nDKyKJwoejoSg9wk75me1nNaePzQw8JWUG+BrI0OGVKPYTKpUowSh15BSQ30DQsaw6PJ0Fk7rIsJQ+4a54lThDmdt8EuA2V9VPHHEI6rTVZZU+1/F5KFTgWFqYi68XaQ39iV56mPoz+RNTbyRAKMnDKP+HuwudcQEvQQ4Waroc5/22qi4OnL/5KtL8l6RRnfjajPsElvrU9OHkttDPQAGOK/KovmPBO6Obc5xTePykE6gR/jF8iciUPmKkj/P/UDSsOaeszGtuR9+ZqUiIVJXMjOtmpQgXVAKwi5S68df4/q8qKmJstNT+gqYErvx1d7agJJ6RecXpWTWGSucHbaWSuTt65rFap120YUh4yqrScmt9ct8TWIbAws5PNy4UEfvIY5Xco6k+zgJOTJa4+yZGQsXc6/jwfbqkO4+BpxyiohGze7X+oU6jQ6cPym/MAV13ZKxgeXtX78o5jxTU7yUqKh+zlIFJNlbCkNHH2p53AlM2a58Ekpcze4Znfyi15XCZVL27oc1QBfZUQlHZSxfSJ/IS7iErM+Wk5vXWJ/igzwUtdhtWCxnUAUZeBLnUg5XSVFoDLfLPZQuruvX7Rf1V4QRl9QtSCH2XbT1JF6zuywC87UxhtfL/NI+N9amh6/1jCWxQFmplAfUK6P1hgENwozj6SlpyHHUAYLLIHe+g/dvvTw6xXTz9Cepp3EiIY1HaX+MPTRYT2L8SqVzkdAP+BVPev48vk9yxcQpLJS+KeUtwUsx1xENzPByoz5uYdnThekPNdTF0PyQjC9pesbqfRzhISEtCfTfVYLzHYPyZa+seDgALDNBByxUdCMdk2nERBU0NBmklTRnU/ZFVfo0oBxTTDt6kfoVxNXpYMO8F+6ZL6J6Snqkfv5/x2YLbnJE/iESA1wqcs97yv4jlwcktJ3Xr0h4vZqrhtRWmaZlLo5PpLJkH6dPSH+gbzX4Kg1nT5yb6/jDLcJPBE/X5+M+AzH7HfS9vz2aWIc+jEndx7ga6VzblQdBDsDmHT3hqlaI9FOZdu9o1Tk4A/hOd06RRnl8J8RC4GGy6gWteHEk9R0i92uOMPHn11lwzPPjDxPEWhX+hI2fcRUoi1NSo1YAbRAW+hgK34ijnTdpfMvn2oXlmKSQk/9QCHFxdLsCZeYrm1+vB4SJkCA2nIv5SRxiJyl3VYwJLNeBpkCbHtNz0meUhPpWhzK6CYJ9DbaIz1htuN/HiPfbJMcXqNE8kcq4lTZgfKITfM4iEpsSNY/UMoE+K6Vmx/jKxmgwLuvPSYi6XviVb07Mx85+I7H6wBzJpvT8iOikh2I+MWog922cvoymHYBwuPUphKbJEAWdLodJcMkILRR1rwoeNMWE8ff5XbEzehmPcd1V76LQd1hlqmZom1JSrKjX1SLL5w+Ty251ImdLlgSQiDvIBJ78j4sXwxvngMHRnRoeXa9oSMVfGyhAS+yuFRNZPPoVhdJEgxOHS2BQ+V7WFMpZdat75WoE/ti6iGVSUZ/dfMrBNh0KN5gWbeeJpxuA+GU3CeXA1827vZs/fVCDVwTWCYd3thAd0wH846Aq9tMK/KM3vAz1WIv4M1ExjDJHInrJMmOxkKQFiKfzmNZBHI3/vwlCogfRDAUgk0sbeGnW4mQsiWHXPTQfENZONoHDgtwvQ8amkMXB0Emk3uZzC0MbBnCbaOqJ3UymatQ1RmjEd4onmG7s4QRAwIPFuhK8wXtjIZPVL53C1uKZ2A/Ro7qAXS3+tjsHPEWlCiSaa8a0g65PydfyN1DlLg8zHOk05VLaBAfZ1nSPwqa0nTAcQaoGldRnqIc7Nn4ZE7eMEzWla+ZX9nVcIgy0FLtNE/A6pUJ0aC9IViAQiYQ98s9B1kZn2QZo8jpuj4gpt0xs7flI7TrTi3XBmjdzc3zFxsVyEBotN7QcYgHuTykhoKPl+PEZmcrjFpOQbPuEkaoccbTbO8H2OJVmhD06MBM8WuAN1Hl8fjhZreulRdj/9W69ux/nFOBG+6cmtE0mFpPYjQRsNLlO2llzjX3bXQDvhfAdpPBqZoveyhcIHiTVJtMnjS/GAvlYecno57p0vGHbISoslk+yaeX5JzN8D5M5GL7iWrEu2rG37FT42ulEZHr8Wmid0Bgtt4QBN5rbaS46OpFk40TquJ3qULeKbFsjP/ZzmZxHMWAGZ02+NU1PUZ/PGGMRwPXSb8IAbtNcTeekjvmJxolmOgv0kccWAG9XQodeOwkxOnryl5mcBREdaD/Aj7LLchayRF8srS/rNPBTzhyksNuG6F7vsiA3C0rE+Xt3ob97LZuHIzXyCJyCujt+7BTEn33RNMCdGgp8RMwhaUyYczW8W3M/QGT9P2cWLjP00ijJ3qCDxQnARkcZb3Ot69fqQZ4VYDfZ/lIjCr7K+1tf5zv1E/5BV43LF1shQuIkJkjnUUbJUvg2VBNq86t99bRcsb4uvDGxZeZcULkozdV2imXGwczr4WrIAEY5J9O7Ttw/BRX7CHHalBdWy6zyKcnrEanakaUV9gEdeOVLAE1Gxr3SJpDp5J9Bvo9PV96HbjTf0P+2a/uQ3swYx4+0SPvt0uV4NCrPQcbhiQJ8YetWW2vsYQICzjCLDRqsc2NSzOmHyhaJ0kx0/U2vY+7NnnscXF67BzYhu0YhzckZw5W1C+I+8P+Ydv777XhbCymvcCZSChBTL9U+HbvSuwaIzEylET9cUYaMUf3pvQFws/4IowFj7vNl8fkl9pZQ+Md2igr8NBHbvw7GFimxQr7Rg4NaRauOei/m4/RvbqaIO9YIP5YbwPMJs1m/Maz2lZ2MJVsyOHQBTCPY5i1hRG3UmBGHz76nbG+gpJb5N2j+YvkNNzyyFXj3Cvu38bQa+/Zm2XpC3e9LeHUjYiMUIFbECBmfLzgsZnKxj6XV89B5IfjV/Dots1v0HCzuK2RWsZMzcv82buYmaM8cNXG+amFHq0WMxeOLK3U2h4ecYzj1oUz/Avqpcmy9LhErzwOixqWSTLFJMOJdzQ3AtsD0qRJTx3YW095AVoh6WBmTfYmTcKcChsnXg5NL7S+6K277ZEP22A4dMV6+NI70DjKtdGlFzD1hrdGKEnYd4CNvnVR0+1HBm6GxP8g2NvZRW1eUvDzNlO8Y/5leNjTzX8Nb0Xe+E3cg9T/ct5fP5vu0geUxnVIHO8UMEFTCn53A2LE8WdRu/mqco9cXFpVjDimmVtlGGvuSs5il+3N/namm/SrJAi3dNBMSVZ8mkj9y2M+z4HQjQNvuY1u6PVstYxm9Ymqw8mU8ilvhTQu5ww6srq0hXcA0v4H5MjMWc9Hzqteg6vOhRPntaR/bBjpmdwRSOApyk+HGaTU/B3SWlVF7D1EqOaYXHu8jtTo25FGP5KIgSazXxw9G0LOoKxEXtc9p8srgSSLNfDzeFClcPAhmPcz9eT+BWXjDfVqdMPAuILDVmQU0PSMedit6AesGJgNyu1MWSbXdyeKqL47SmcNHNW6ebJ+HrlIh8eURC3Gp3qXD8hV2XMGnVlwfiwoWOH/1qpZoXAuAdzGN7a7uXuC8LL9nkbBn4qbhhtB1UJD7/5iSwxxZhjAazTpmIGaaBr6eynG8Y506OvMousQQpKnWmRRC+cpiadOHsXlN6UlWWWS3imFMQUX1Ki81aV3bMtYJXRVXUVuLhfFltIMbo2UM8Lcoe6NLtUVeId/Or7517vnQ5MRjj405KUGRFeg+5bLtQb7EoCpgCBEkKHrMR6bRSFof5tsRqpGiTfyZqeRY/hHQD6ukIHBuJ2wpBnSonYGdL8mP4TdNZCOwxqe8Cyf1MmA7oA0/dQwkvW3z0HTLDpUd6ezTGEtCNJBBkvBlrRhM30OLinNbCVypCj7Frs0s8enm+1OSkCA4avvFZKUWo8OA0DMkWhFN3aQ3Ee0SQLSVwXFKEXkwjbN7yNSC9nyqyDEFZ6s3j1FnJNKTaTOrRG0UM07JGke3/iJS7U/q7sBXV7H1qPjwXZMGL023O/QCT2VwFcl4L1Gdb9DrD07W90D7Sp9XfeFsO+6wUDUcinEtcEDiAk/sRt3DlwgqnuQsrzXwYfZqV7UqCcKlP+K3BLp1n5vF8Ta7dEfuHHUWFjcHe7qRH3UHS27/we/21mG4KD/9fy3aae29PeGPpiqDk7TPOSuUqRzgzFPsYgfNZEhDtDo7len4g0YukoI0FEMzNptpwbtbYdW9kC6qOgF3r2PoFrQxRgPlc8NMjfHB3FzV71WTPhEYJiCsZ1mwZXK9lX4BJnz2jLPXCsEQolnHkKq9H0w57IbddsxxBzbRW07efrUnce4dfFCom9z9Xn5pQmNIK2rJCsPDrpXHQXCdgMgbuqRYXkz27hScIfZ0WBimvMiiFD0RDLwX8cEX/YtXrQjC3yRGkuxdg5UC9eKU4zTQ11QNUUEQ42sA3em+ghe7keU58/u3CUzeVj9L5s04SgIL+y0RkDGmrqAT9fBASqfs0seANUCWL7//Q8VLQiUH9mVTuGHvTQnZ3N7K6uR1D7HQJxPRwMEuLzBAoqo9pVC511VfJh/HHqstO3/ZhAeyJKJtitrlcNsk/1QwiuUpj2hjOjKF5PRT/Ka7vJfuGC0Q1sYaUNguZ57eA7EjCe/EdMGCUeRw54/xebisWePsC3OBIs48aXc0QYF429xAZGHOxVmpkF52s9q0LfNem/kJGYryWBP9W9egfMheLYpyw1J0dIBJW+4Kwprntkamz5GJOoY2tnzvR1SGzvWSOpEAGvtQmWlUfHFNTXYtVO3hpEOZxLrkLJIjrAAgJAN7/kfIMkoEXiY9a/7Fp0TncX38LIL/Z1c/zQBJnDPDPZk7craqphekYJDsy+VAQ1I9G2sFG7QG67nIoOhHHsUTcgaljblb4FRpaxBTCJscD7eAbSlTTSAjXcuoBZ0wIq83hPf6MZlW+U/Y8OiK/E2TDi4iXRUFvOsnZysNyC8Yxdk8z2oqznz2jI+5PRnVDoFmRJI2JDWdMFxp020i9trHb/QlyEpQkSUpLrWhZTluFR/VYY70rwOvyQ+nvBMMehKA+YDs07qjW1PFgwuP6iqC31D/TJVhTIxHtihXhdWF3TjRUkNKYbkHrRYSCXoQAOb1TNx5HwkGGpmXk5uK7V8MFcM5uvQsh+26SiPEpKTtnn1yagulWip4UCFRiwL+jENO01bt1DRsFjZqEV2f8lBp7IH9PaFlSCdLnor9/4p4JD1JjLtFy22yNUCoRGNcX4D2zsnWppmSAaoScrQhUZ/xdk8Uv/9+MH41ZRYDGxOm88RDRWQRigAWf0XwgSKLEmbj5QQuvRm7Qfs1jMxZoXSEe91gXR7OaDIzHBEo6zeFgZCK0paODvQm/ZTITMEPfk5RdOaJInb4MODTWx8pJPX8FnVmdXMKBeKCN7ruwmi4gRMkgl9D2W1TQzJqADixuH9LwtG4xx1Th4GHZ+C5Qqu+qQd2lbuz97tx+vszc2Dj/kMCyDoIU47TYQT5+a9Aw2lQ6z8XZyvJ7pB3ozI9/AG8DXkHqcmbUKMvjRBKPh7LRsx8QU/Jsf4YJhtPDOaKCnstv0q764CbtJm8KxdTM5xJCPa80je/vQBOvSwpcWByLJD/G5pNyn1SjGPeAr5w09QQ6IFFDQ7ZMdurCMaA1yrfVDbX7+8Qk3iRPmrDiqd0n9HHCaTg6lkbhx00Q026JRjTsBXG2/lDlpthCHhH/NrUEOfmbj0jlQ5QSxr5zLMCJoHSupK5gofmHv2LEVYSPO99uxJbFOH5H2T6z/ml28cRPLFrnQ4J9lrLEojANh/+6of43UtPC8gP7hp5mXlYPpJaTJ5AXKoRyv4bF0AdeQgspng484yu/SXkHyxgALq2VW9I7IOyZnU9mg0hT5skuvRkAgX/oUycgc1X3JcJHf3Gngjlc/6OOh2ZpsZmgw28eifBkMMmECUx0UR9SPL6svvGuo1kYSgduOEMO6wMMgBblNcYRaSvaW0ahY9kaxWNzOurRd9GKqrRRih9wg7MT91Y4irk0uJ5Hq7dwaxgkSKx7d9LkWO3Ack9XTCAxezKyXaOAN2jGFpYoK7dRzh3SN2V1ztfjO4h0XAChhRRvpPjK9QUv8pxJ+hMw1aWvQ/mXf8WIH/rSevGoG5AkcX4ZmHCdlWw1KfVJAOB7BO8MSqOGMfpxm1R3RqLOZyHCAaOCrD4sCo43wjCWa8xdK2GLKE0ejsTcHed2UjQS24XbAc3yMarPsp52dLLx1wWRYu3iI03FeyFfT+gN5jsgDil/KBNX4TfnTl1ExNVBvFZ63kJKS01ozeotAWXCP0O91J/vEB2kloLhqzUy5Gt+stnT/AKODjiVGxQs6JIyy2VdSH+0dMtoDykkbX4viV9slKGltKuttgPnuTqnnDb72mkbiKH8JT5Y+x5bxfkRgNniJYctcWKkErA6WcOaJ6zRs3vJFcHsbVYUfUFtSQGe5YOMDl/jl9BAa4svm9Vt9Lhm5ZmC2RKcrqX/eNLmnhjy5q6oEDk+4aLFsKhHRbfcmzQjNPwSo4uEwj4hwEFqiXKh6bjwR+/6bh6cSVdMvQygSFs23q1TjARM7ZD+NXOPV97OGSuNDNLrIQOY+ajFcwSZGWk8MayFW2lcJUjLTGRwZdsOsGWuk6yCNLJpElEkiTSMMsG09FTLamfFSm83iarNd9YqibQ4g+KBsSZzl4+wV3RhjIGHyHWY451tSWM36tOL7myc7r1HCgyrZTDBmYQGJcnTpL6Pm2sKgUvRfu7fowbIfA8uPyZL1LwpmZ1DJmkxdEPRGu9c/NK3nO5dREmk6iGT66afW5UXWxx/HmJ+D2E+tfN3aqkPJOhzfik8QxpsmYDpLFrRTG8P3c1qZ5XDItpTkBHTZwMa+qJ49ut6WL9+4LKUpSnm/Jnuo54c8ffpSl55fSMO/i2jkChtISylKiKrxW6zYQ6xiY9pNpw8pclDz2UTE5VVO6IMHJoGTlIBhpR9u4DZNvhUPHVeLLpPkkOZ640mv0+S5SrMlZP+ubH6M1aLjKfNRPFI+PGb0raxSt30C297lIrLFd1CrfCLmmjX0rMc+/yj4qNQdHhFdqeRVVMOJ3ZlrDA5QWnmraL70LL3+bsAofVd4jZxeIpsuzzHhm/ARj6vtdD3Te3tVf8qWvn9rnLqRIKu12/XLOct52Fag+BZ6AghMIjAXtIb/3lcIf5Fq+SqrtSuo+6Og+d7aZvwv2CLyFHAcFlLQfUYzQMcXAUhsg8ZoGnRtt3rMUbqLUoUz0HRPJsbVP4xysep0IYDSKz2yIcDi5fKJW7qHi5yRrRnAVsYHt8Wqz2EHfWNYyMM9WFNQkTflMnFUS29teIgoTRSwSdEpVZuPMMb14wdUQPu0VbUR9M+SkYC/xjjm/tb0y3Ig19uOUguIT4OHTCVZS8NXQ3xy5wNX8BOwez7e9kCs/wcslRqbvjTb+U68NX40QRNYC9JDeUqwYvYM2UuyPI6WSBOrQc9QNd4oH9asijBFng8j12mLDv0HM6cJcSjFUPC77WqtRIHUE3DQV3136+1gEIHZ0+PKx3afoLJKN/Dc8VUDGuugC+wic8O74q/6R9slXy+gqXMd28zj7Pu9YNmlFyRmGCxLIacyHCaEciTX7eA3+KkZW4ap/bQBNLeqcIUiKqfCOPQtBEX5CS0ExmAzave2niSMyXiir2PAhFH0bPfh9YRIAugIQfqaAfenZycpIYqqMKcSwj5GQ4NxdlHawTuXxRJTU3ITMYPI7BOzzlTtDaaYxxEG64AFQ68wAgyP/S+vHIBN7HKNkiSkn1YS789u6BvIOZ3QLb8rGgvV83UiGn7ucK1KA6JkVYq5mfg8quYpWTLtaCv0ujWCqJIblN9/0M2yOD2mFr4bgP7960HpT2IAxY/cjDXT/fvnmTwDK1hHSHDn+KWD4+d1CA23UwCN1y+73ryMTqGmVW+lDinz0IC13kCT8COIy7keiSYGIRTLMFprs8WT68+P2VU+dXuz8e6w4KDtonw8EH2zXNUG8s7p4lW+oNOY4jwnUeDm581gR3dgY+QOgOEANRnzmlM7vYYqCUJNIXhuy3MJr1fMPbDFnxQDCubeJlqA6WT3yVrZ5S1BmIzOTfe0U0Fbr4aeyO8W4N0ZMAfMUCa7Kh/RdCqO9bbqbElaGrsT9qcCiZEiE1+gUPg4+TYxfvBkoirTItWrMvAOb3fPkXJBjOZlzPXplZGJGFJwTwPkmd+d1R4ITRYkhU46SqVwEqx5GwFWpi5OBze+J1U28EWcLl4wAkFozEeP4CoR7xipQ+EVeojP9rjetefqdvdGX5ykzFY72roL7ycsySQvTqaFEci47Rd9Vk3/8iYwk9Yhrb3AEhhihfUVg6cmPxNI8zlwIVAr9cUao9KkEgPHOw/i5IvWwZl03pJyuQa8h9bythu7smedqUXDbEZVm3wTtWutwJ8KLm3GuRqpHome5+KVYhkR/2bH8TPCXPIr8nYJ5N8maG+ixXf+GInBNzpywZkuRANGCmzoqpz7e8Qzuoz7TLirMsHWNpcBQOg52+caSX5jiY/diA2w02pnCk+4fLFW5FQkCN9qaoy8IfJjMKlZTYjFd0FSeJhEsoynPqcvHnmp5tZGYy7d3Hg96sPk1OLadTe2IOyBffdwTbOpjEVZtSvqQ3qFplx24nzZ+Bv+Qbuo5VLYUxH32Nhese3k2kAOgKHc/JaL1e08CXihSKqHC+bkt+Xm9TifikhIwUdnNbVjXUf4+Rr8nPZcRzdhwiTuHp6oRvPVuzA5CxB206Z6nQUhgWvdbf2+iMggYd9i8wa6OL2bnUHPjopyKi1V3e+UKISkTwEGlrpkKy440New3fQisVE0Pc5FaC3oHSIXTcSw3+t8CrUGautaBD7QYJC9Ey+toxUFM6MPZ5Di4ftq24yOfWK4SoP/5CBFQOJGbJmzAL0b3DApIeb9ITG0k+Zj6FKLxnHb5J++5cfniQZHIXiV7S8Fn1jdxECLNfFOz1lotvkWx8pUZgy2vv5nxTItn29ow+Qc/1F2fa2bTd14R63DnRTvKOwVZ+VO0NIPblvE8Yo53uqGr8Y8K9a9E/f3g5K6cgYE9DQmgECMpdhdFXwPjLjYZHH8bmo/ZfcmUbe9+dqr9OGgdFDOYCjSvgzNkOVymXjevVdsfEjUy7GOOfaCIPd6DGqgUw5r+21oFMLaJMF6K8j3r2k5fIyNf3Wlc6t9nt5IdX1SiT1UUlD+Zm1/tkcKOOBzEEPs6SRnDfbEYZxcYYdm9LO4dpD+zJUT+IQdNliGTpDSG03ZofguCYsrG0rax2Dw+/GhenltZWJ/tfVEGvgC/C5cGvKzx1zkqsKKw/ifONEDnmWqDD6TfN1xTNOdUGW8cQT3b0hM3SG5/2z/Z04JduX+BhnkEzQO4to8DQ146xB9GMh7z5Etg8NSZeV49998XO558I/ZwUSBq6T3E7PetBAexdCBKdpqZOtYvCo0T3hgoM+8IdTv6+ts7nmLQwRJv7xRrylMnzXFmD+cazOyha2EsizADrU7zA1xlCL66cg3yDipBDhVLqGub3ORYRfmIK1v+YxNtRld7KGOYcqw4eeWmz81hDgu8PF3qUR+9+2UR2oMMjYPbd+H+NTg14tokgG2x+8JOcW0ra+AkpC6tQgf33tUbHp8LVLOjoq90vS0SB7DiePX+GSVQJkC+HN0JWyH+OyGTuUneCIQWC5qjWDWY0fRZjh9ScknFweuwmjgko8N6ki0jjNfFhy6sPZ0oOGkOJ9OHI7E7qN+wr6Tcg14o3yZzzSovj6n0ORk+0JDtCtj8oELs8pQCBdmRmHcpE1kBNZN/z4/AxXQLEVS8bDMI7In63oYp8erV9/D+uyd0GWyVUtwD0SO3vS5/6nFwKUXjWCt9+eapMep1jgamqWLD+GJJ3J0W9ew2ULOZ5/dSxeU/Kgc58/f12XaPnG9VD2p5PVd6kTBPljwJtlaSye0b+Z/oRzA5y+pHzYXpCy2qqMxjLULzmOOQdad7dTBt/EzPTlRos4UfZ4vxnegt5A3qasCQ8DPDw/tQu7pn2USls1DOLYZpq1LXueCK82G5DcCIzCtBGt5qS4/hlPanF9WwEYDAMyvZAwCee0MKAuLsWUIp5Y3PoOQI528f0w/9BoDI+S46lgiGv/tUgFJNeNCIlBP67wzYLwoblV3jjin/mItnJ020tCkKYzGFFB8MoZzulBL62W90Qq8VsgmQ8LR5iiTgnIKnEAIBFjAQD+eJ9+zz1trHYNg+WYx4EEM3ldSOefm23DSbOaWqSwo6iWx//OnHWC0TWBrk1sxvQz17eQXow9q56N2VSRJurIZq0Kr6z3QF17OZttqUWlIPo7fGWr/C/jc7M4pUibuohkwyaR1uaBF5GN5XySqp4RDumfIXpYcRmd1UYAbS0E8FbNPC/6yOiqZQ0dMab79nmIkSwrwQSaqX+3BFaYcAwE7aCvRhT/w4mnebC3LOKPeAgwvrbj0mEpz9mlOF7FIzjZWS3+FF6zMMHntNmokpNRf3netGtctKjk5ivNbrtS0vVYT+Adxh5Ac+Ueu+ei8qUNAxQT7T1OqUtyeYA2qbPDnbaqM9wakDXiw9sSs7Tew/dlTHDGlolhG8/dEyEDTm1RLNO4FFGd10eHRAXmRZg1LmdYZ8X51o0Xjt2TNICw4EDhMfaIrsBhhdET3MdhF8vo3UzRQSb1eABxZYAX9B26QAz1AODQ1nX5ZsiNVqNjfV7bV12y53vKKeLE7KTycg+c7rOnAh8ZuANnTEgMdykTP0tLb3bLuUjaR1pSknFJXrOP6AmXZfb0f9rKTi+LuF4MvhXDaohJWhfDo+tPjYs9dbINiTwdZct9tTtVYTPxAa69odSwq6xHzXhWD9PZnf9p+IQUMK9eV3NvdBNtFYmTjB5StFEUKrLzMcSaGZMFcCWotmr7mRk8ywiJXukiy3whZNXOW2dkF2fPYixew1vEOK1Yg5XnB7TJ4phqhNMVfvNyoTtiDsxoXf1vDIWuBboR2boqH4UavKQK/JPA5l+PyuNa5X017+EWpV+buyvf17EXDJ0H3oWNpQfPCkQU5E5Jop0VDQeJjuiIX+0fzczjKsw1UlOb4NDGndeMUi15P211E/qn14xtSj2OnFJlu9fFdnXiIjfMbptUtP6nNo4/PYlCLrMqgJRQBzf+hoM+3V9QU/84WHm65jUrpwMdL5pC3cCvhsBRYxm7NCQhvWCBOyMdHcmpuZNm/4FQ1DVvGSFt9czYNy/bQMeuoHYC7JDOkwdjEVMyFOQ3FCgSE9AACSfKswb5Yjr1uxNnBHCnc+oTahH8p2zoffQ8+VZs3vP9N4HtzSaVtT7DscdJZOFv6fiGiu6PDGBCutiLGWyL1sQ2+4g0uI0PpCrrSIkX2FmhNnKY1LzkIUAIV7///GlWnHBYuFvVTeZntWmrMTyVqrHB/5PSY3Ooi1wp6yUI+YU8ykWPMZWOW5cJfTrG8i9529DVds1RYTV9wa0sg8lV3lA76og1IApw3LU+V0tA7/KIqgvxFf99QD7x/NZ+B30I+BSTCAOf2bjQx4EnbtynkNdvjTey11OmK9KDn0/mg3RVoGxuWBGjXQh1oWRLIz+E32trNQotToZXfXZ7NXYZLqBu9oYckuSUVbrt+I8AyYQSZQMT1I5p5mwbyWZjd4T9SiGIwtheUz7zBUJyeODg4SaMwiwGyBojBBKSG8L5k5fm9aamBcckB6YG10NroWEcJd2xxhT3WXh0Ev7Om2h1ecc7ENky52btG27aCWvOo7Qk1GRQ7Cl31pvHB2KXu9xQlHY7r2TKmgUWrP1XM18T+6lG2JT11FbTYIgsScEItp1MuvhKUK9qcKkbujF3DzWaCo9YDN4h+xgpztkd5n+IZVCYRffuIqsRsPBgsiimsGwAMCV/0t6nrzc7oCYlJ9HtubPjjD8pjIs2Kmr0T5K/sj67uPY53KbCQtb/97720gIiqR2P8uoa8jSGqDGDItqhSxO5cWgjj/zZDODaSGDBJERpRb6AW/32FWYhaWk/aE4KWuhW6ZM3C1775bN258vuz/KYVjHZ5XlxbuAZni2yFYCVBMU04B7vRgfNSIaKNws4RzTjM2PUNPX/RhbJQiwSJssVJo2KYcZAaurx3Sdz9shmCeZid8E8edniTwkdvo4yfbA0nXjGdwcxaaFlhDcDvN/wJGFD08xhXXEiKhjA8tZdIgoYuogJZjIyEU6XY4k00fUd59JJlV29MEnHvDm2/9TPzis17gjH+nCN8eXSBLSaHPsW6a209FnnnyohDVaiH3FqX2AURqgYZjWzdvK56QAtwAowfgU9OhbI33ttGEfs9QGdGUzL//E2T94w3p9xc5kbp44lzEEqgf35RUaYgKbEAYXK+ppbuJ8y1YMWfgfG179PnpSv7XwC+AkEoE0Ebk9EcbniRoEJReYucIUC9cm8/p++zGYjEKAndOD5PZEKcbmg9uQ2Ka8X014MBJbRUjlfE7beh5AjNaq5dpNG5kQKupF7Oi5XRhr8BP1Rf01T5qm+kupi+Dhrg++BQQvreLVDfNaqE6tV+ro5cmaAwY66smVnxnTTuofQ0IMxuSp00XL164s2joRGAtqUGfVfpaWdhyy1c3LCy6Izrp/9DYdbEF9fJZFT2BOKQ4eSUum3c6xAvggRGCe/Qd32LPUINO9gV/QT51sELZArQT6gbXZEwqmTiNRMg4bjfVZ/rynj2njOfma3dIwDxIg+jDdj7f7lHNf9B4dfVhbGamYVJ9zrah92YfThx4OpeNXdXxwsHfOiFzbdWCmeI1KqBXStUEnfjgDdmWDL1XRl5EPrXkyXe+f2VEEPHoUT3GfCB7zAI2vYyLAr7NlhPCeJMtsUzKpvTj+bbrjmwDbqr38S5/yZPYGEX2H2eOU0T7AF2vofgjX9R/WsKGHr03CCe6GwVnrh5FXqT2+K1VAeoY/WZSO258L0Qs8neAi+cawwF7ZFXkSdEs8KshopnISHJN8vEuRLN5qmk4wiImrNEZx6g9WJOTFAvfEHDNTRzQKFV9iO8ewfUytxrrsTYC1jGhgx2wOK8v1a93xMTbKQjdT7K9kGbzSUkmKL5FX/oJlZs0vUZzKT+1g6jyFU2QwlkxpeJCKt88zeH1OuPYnz9brrgd7/Jsa75WjHfXE4naVGvl35Wq70zzmbiT+ozGan6FA1jAyNbyJPiVmO0+YypsJ/b0eCSHas+JjGloCR4iwP4rzxAEG7bySd9EEbnWeXCPoWd1Sfx69nsXpCs6+IXRut0Bshbs9hHvb94mgYWjvFDvwogA2ac8nix4r+m09DD26ha3wkEEhtd0GMlA11EB2ne0CDT1YYHSD/3d0Lh+uANZ4qwD7jjPK+679L6rMyAmfYKjI4K/Ty75maisySdGQq3YKYO1iHyw9UZUxqK45TE3QZp+V3UrKpiIulF4iWmfCb2Ax5u3OnUL5Ht/tntyRB/HYnisi66EmBK84gZ9mn9qMymOIUEthWv5V2rq81yJ5ng+d5OVD++BDCb74iN8v01OkO5MhHAJigQe44eq3MPb315UNxiQRN3MdtIOK0UF9SGKvUi/OKzr2GX3dUvq7uf07KFEhe7sQiWlHooE0vBmdeJuUQbz/ZIZkfiU08+OELEG7j9Tc6Zmq0kkT8fTDGZwy8OFS7Zim0ydG//H8EbE7U4jCPYXBoADNDgi/OX14QapA/A34Kfws8cOfYDGabK0iGq52kBjMsDjiDAk0/LRMUDZz3673sLQdvejQ/UQTW6DaD0uTVQKPxZ+BnE3EI0Ii8yijs/2fw7AdzCCDzqZUdAOXOM8HG75U6qjrOp+i/n1IW46LJehJlTCNgYNP96CP9WlqO/LSAj7SbKyCnAHyvEXjyLIgtVisf3qFr+YpmV4xtddCHvLZ07ZdDwk4Vx3I/4H2f8SquRwJ2GWaXrUZ4XZNF69qtTQaZ3JkRd1zXL0k6XqCZfLcQlnpwckSyp58LEtZujWybeyMZmZThMXlFIzHeES97Mxv7rAJmD698W41c8At7qL3GoKxBtc1r54/9YkT0bBOBQVrEa+5/jDgAb+t1CGvr1iFDa3dEqPo+7k40mbCUIbEtwz9C5LRDZEmrH8bcTXBuSX/HW8qN/0QT3jkZYkr/M6CWXgGiaZTLgcjMvmWz0G/sMbgnmE39YeeSi8gg9pxAHHzdjxf1G/nEI0lDVlGDmDG9MdndfKRKz0OcpT56Fvm+9xsM7qAAT5oWSA9CliSWsUNFt83zMWjUXvEDjbKGtfUw1fERbYD5FmpEVppkUM2Xqy3Vy9T5n8HJ8PlzKAV2msYxS/ZV8CNVA3MV5wfOZ9svt3txMZct/yFeneZCkpPkVIc0WzV/+1D/kXfTrDE3+qld9XfnUyVWqFvSLmib865DOpEgaQz4BcvGql3eImYKOrPw1ZtldmYtQGPf0l7iN4e45EWZeh4NeM6ZyxhPtkQ4Urcgwtyc8cEHuV8F0jNEVeirRs5p3rYaJD06bz+QMHx89PptD0JRIuYmrTx+2r3CfFBbLgSu+RB2g/Y1zdO/GZsOEntMgDbX4iX5GgmpKCjElasZ4JmijpCMp15QQgUSRYfiu5fplUWmWfmE27sOxpARTk80zZfDQN200q2yXgR0F5RXCMMxirn2/7vi7fE6wAp49mq33sEgq1AOwjxwnN1e/P8bXZru3PWueBL+tqXFx1aBegFZabaYthzNf0MpHS/K/NNGuhKKZ6KAzHqaDaClbF1hTY1pweFeNuWWr6KPQrNQ4ZyMgIeakelZNnRCcv6w7Z4096q+B86z4euyc/eec6i0NqUYhZjZ8VWGq2dWvFCo3wdPOg2C4D8wRK/dxpiD5l8XHpJK213eRl9IghecskbCWOvWkm7OtoKX4yJEWfruKM3dE7uPxGCvx9lHG2sCwmjKy7308zsGoUACWlXizH5MxqjEygab3KSb+8X4pBXmC0PWKO2NJbQ2KFyOlgVJ4Ef1H5XF1NScSKxWaG3WeqC738d9blX4L6x0otPdkgN+rkjMNTnh9dDo927Abwmxkwkv5zNXp095F2Xe2MDhQXExl3WzOm5pMiNySHJbRbrLFB/Br1LBPR7NEa8Pmws+uaN8tPUN4UHMYT06mUPElWKGs/PIPRcfjFP1R5rywY28zP58SNEuLmPEpgw/D7XobX7uIi70d2TUNG3XDquZ7KJOUi2dBWzIq1jYD06qtO8F8SrC/Wim2N6d4vbFVjTbfgklV99RFHd1gMDS/UQGEXKM+tJu6jYPeIFz9zSGGYy2oMVxi8BrKFcnv/WeZ3kVJjDfPuYXctpOSlzipy+iSgix7051DmJ0RnWmHZGbgVgd6ZFtA1cyRvuXs3cSpaQmNjvUeROEWUStPNhFF1+x9dks49UxvRyxPu2pOVtv/ZWNlv8Hr4ut9FsUd2zMIzRjnNKLpto9/7jwC2PjtLsvddRyRhks7sMQQUH1J6Z/KX75ldrqM4qQpdJiagnB0LH4pIAbJQLCqiQ718MrzHXz/LGsPEUKh4XPxWtvqHPZXxEbrWY8uOXpLXe+wX/znZYP2F4h6o1Lu4JE++82MKk2zRpzSthKGGrMmgA7w+4WMgNzxpMAAo249UWrhS3zOOfjKbjVw8Lqmi5siTd8w363dtb4aOHhElJRPB5CwB8hSnCpuDKBhRBp58KSiAOZ2Mpt8/nUMIaxQ1FF8yBoXLeOBhcFp0Wj1o6wJL7MOvJmGOrOyq3C7ZpqfxIyokQHjgtrPeqnfQ6dx5VQKUXhmnP+2Wd9Ax1BlE3WhDsw3enPqcGL1dN/PEE229KP0ok6fadF8Vqyptza7AchXCkUB0oiF6HgHXK/PFYVGKCDbFWbQme/cQIq0rM/huT5dRS4VOzrHnmlDVUjE4l2N4UaiT9d9+qlp2pybv5H+xdGCSL5lc37aQ23MkMSeng8eLlerQ8KSOsLWhKIlrFyFk726XAzXBazaZt/yznsd+l+I+u9Vt415p4boKQVF+fTIDx6ScwbUyR7ru1hgxvR2jpgy+JrWuShcvgqs8XI9vHv09KGAwwW/D5OAB64TTUudh7WvQviqNqBM/3L5HZ2NTxHNFK2U68yWGg57VZHkei2WpQ1MI99jAnpUGTbitpfxjr8VgbZZ8jhMQdXcMb6MGTyF2a26CkKAYT4jRO0ZWha9LBFsUsCXXg7Syzl0eidfxa9yaY9+RcaC21LLWyx/dPlpX2LAB39WY7QYP1wCpALO5VXPay0FNQZMmF7ZOX9wA1MubTsy+VvDeJFFAeQEAgu8PbqxRpJRmLFQrhjmjIkB/3dIlyX6VYnfE9FpgrshNJmHdRtLZc5UxCAT6zvCf5DG4sC6uA2qoErkMKjGC5JPQ34I90W+eAl0pPwhTdmfOwjj5vF0uMiMcwSLyrWux1w9jQSEvZXRFvMLu+v68XbLvYKa7MHzUcOwqrbjIesD/VIk4OFS1XmeyuzWspa6yqzrGXM6rHbK780qol6yONMiSpEQUHUM0mr2LmfQv2y1Wdbgod0BxYSG08QALNp/YtsezAkRtsePCgTEOhdU8MwzCRiv++As6kbSDDNlJw1Dc/Dt9utIOgg45HY/f8Jsqn0ACfnOLXlxyq0BRo6TKdgvh2f9ygoY0VntCMhP/+KlbnZcosyNa20x5KumDwr2QawwkIP2aBT+ljl75uwdItJBfKstKdy97zVja4WS/ZkJ8AqU/XoVkot6401Z2Gv908cmRIB7uXVlNOf5xVENgxyqbnXVWDGxBfv2oqperLobvId5upy1UQNBSVZKo3s/9iytUlVvD6/tsgqSMHEfhmgDr6HF12ErWK7vT5YUanglC75dPy1hDigd7a4KfHT5jmx5pBbAlD6ttPqxZ9qtEX91ddSE/WEBZVd/R9kThTCteHi85zDMSp1/qHeoeQMpY7Mq6tTtxun6gguloARLeXl2Jlou5Z4gk0JQ6UGjz+oN5lbWjp8R+jsqoIrQpzb/xnTw41TA8gHoDDyhjjs1Kd4J6zTcZG/3Qi/XteFZQFmTEdzTpbUgzxaZynJ+EohQSxvtCKec9zgJQyF8nvVd3eZgNZEmJ/0TXrTjqY55MgI2qgedwk337vpMQTb7XKGd7K/HC+xa/MjjSKRD5vwBPVtEejNlcDBdCa36abOSlgNcbbRDQ/4UWjoFixuCPaEqWL9xU6Kd+Z73fiISUPSAS9OZjzc52bEUVuJ09o5lvVcOT35ruHYQ7/gjLok+RXPymoQjKGLAHGivnFeSI/xvJGh5d/u+/iQH/prtybj4frX8LlOak19ee60C6q3KuWEqUbKAbolQOdqkzNkrUjsKlNYairDgwgxpKIsNPfH01KF59OJmDLgM4O47MomJWmwSmwuv/l7KortbCwWzfbnOingEEvdW56dq997Zuk2m4kE38nV2rrN+/azdV2OuxgJXnY7UBL7SZ57Zzp1tFUdQChtu9kyLqFgrBJJidRKF9KR7L6mqVSxKVmkOMZX0DoRJ7FzqyG6Alhe4fqbwOj0FI1KbnaFMoathSuaHXlIRvIeumewDxbgiy+EnuyYpMbMk5KAkcD8Zxmfns/dLGJhSE8cwm/ZYBlk6/QwdHTOWCAecd0Dlhl+fGHW885pvqOVLJHTbODCzkEJg0+PITLlZ5VtqDFRFfGRzR4e+bQ9o7tTLFcQRitPnsJgZ6KKC8R1szWQZuoecm9Pjd7XnbhSKN/q1Nn9d3JPR5tprmlWGqV6cQnaziQHSs8QZrmSLE7eLhvA2r2Hv8hlBR9vIMjMAWy4AXCJu7ojff9ybmBnLh9voq8XzK/kxNN7Jk2cut8Ay6DioTIN5R0/4Ti12FfZ8yyQg6IIS7XuS38qbcf1lzS9NV6VeONfMcvPG/LwoDMmeeynRrlt9EJ8jO35eeKiCoeVBA0F/o0IKcZCPTOQhVtN6tj7BttMk2xAvm4p66WSykXOgTtnZ9wYm2BJIqO77MoQckEJYKDEtjvcCcp55S7EqD3Z555rYlF385ZzL0NPfEXPAum60UpgabIP0cBeAIq2UuyRto/Zh4zAi1/TaBD+1A9tbFrWaVhvksa+aoyVNmwVSAx3kJhHI6lPYeS+ASe+NTBI0yJUJ6AZBgPVG3mdkVUHbeEUdpbMT2YnsIgQzMSHQRt8rHxlyR8POW0nTovB2q9het7W9mK032TIr8FuYSOb/XOY+tJtGAe8Et9UDQlMCHAx6axww2LK8IucrL7oUDdpWVOlbeSwZDuQ64dV2JBBqCGvYnqs81ZaPXhCJf82BU6I2ATJK94z9qrPgPwzKYW8iROMNjUx/3TEvpcZi6S1dQ1WjVLosqMcQjnN3OAZm3XZw8ufadZeuyH5S7HVkFSkkpkOxfxR0Ll4yj2Rxuh9LNVY9beUhIB/8jTUjbiN0k5tenHfF/2pzuqCCJXBAvouNU91Hon9+PiaApLxCcweh8/XiQlFt7H142pgQVsAwGyAYACSgK05gi+AhVsTc4+9mPspQ9dVSER0XCAzsjMwh1sIDUY48Pa/LECeJci3rmZLh5Sk+g7AF0ZzJ3NhW9iY2sDu1VwVKEgs+dWHyNvHnVK5UihtvUPARCkmuCJK5cu35M369D3V0y0o1p+y5hYvFWu/HSeeCP2itezP5wIwMieuPkgANKQ63cCsEA/tX0wxhXgPWUvUOh4oKLxsNtRuRRPCBMsV6hKPsguz90bHLrLnA9WN1RYKlTlUGDaaEzfq98qpFh/DgIWaqkR/mCnSomkC2PYVu6ElemRvMZ8lakYp9dkLnCmVVCDHIeRT5Lfu/3VzSyzekWzcnWcvqeohey8B/9hTr28nlQvSb1TBLNZ0Q462fU/14iNGGtfAuhgarOo3kCGGBt0+fu5IqU/ID9AfJZn4WK51DxPFWTGMWVq7YHXpb6y1pqYCJuc32gkeXN62UMRnuyc3JkTHF/dlbXb922eGVHIMEniecFz2Cu3PY0ksl9oZHKFcVpx94XaXcvuWrGFeeOet3htQh+zOBdyTgnAV6SdloIexQD2Ysx3mpvDPICDZo/nKHE8QlKe3uW6Q0Ssdh7rogc84skFnYL1BVeIitbx0hkJvnJ1Her5pY16wWdLx/+L5Z0biDhsXohQi0o6pJXLaFkpI8tOXW1kOAANR9AFkRon4wGbAADDjxDJq0jPhtXeETtFl0H2Ebsw9WHs83E++qTAPPfJJtSF2SkxyMqHXYpECMGwOxZ/mplX/CF2o8fIfhTbYAb5NSYTc7RAcQqHYMCOf8L3Xdwgh3AIORSiFjJAIvVN0fr6YlXWY2xvKrG2cUmC9paXiM7n5Fpi7A3Y1zfHMV48Q+W6xldYpb/BkbjZbRxgEZra8x3Ze4KL3MmbAe5+Vzu48E7wHgttlf6dz5hbql8ZRPx1IQGcUEGqzUFt9UK33WGozL+czhDy5GPLbOCFdJn/HDcMvm9pgCnIMmACPfWBY3SunhXeXAEhRLCzzKJkIjLByRsU6zXErAtR2kGWnjYBOjhPPNGOE9y7ohnwrmeXG94mrP7bNSEpsTTm8N689sMQQjQbhyYyxnsyriLsoW+tOmhQtGNXVbFUIlWjn2bYETpEQz3K/QnTQOmFT90TdCTtIPrKpB0F9QSNwgjosxXFy2O4MFzQCrYUf4qwqpkhxey9SSic4TFXDy66a2oXslUK0M2n9qo409sf1DCsM/FGXrlxkaTK9NKR/YPVzg6uC6xjvvefXokrRsb5LnJbBA7i6Zqojb+01cavDiKk9+9t/IZPW+HcetHQAs3PmMIwlGIEwmkKEqRFNv0XHET+fTX1P+tzAlWq4pG0d28SEw6nCqz6rfp36oVFW4ChvfCEIR35K7yxzMCNZkcHPTDVT0/q1AU9/zlg598wOAq7ZxNZGQ+jMJgciGc2BUeMIv0F3dUyfL9uaqwQUytPRqu1T9ne/dC4ra1NAyDg1lGI/EsJNWhf4z6TRoDjfTwH8UipjCWjk38RlrnSRgoy37q3ZSSTAwkJKL6YeCTvDpg+bXO1IsD5qt9fZyFA/Q5ZX3KIbsHSUpMyK/H/c/2RC5ijfhIHhn4PzbWVxLxU+tTYN3K4fEfhNI5CnYAhyHRI2BU6/zWWeLZe24pkMrKX/ke429LCaYn69q5cHC3GRljc8a4+vI6R3m7p7CSruKaKuGRYNGC3IuJud/zzIUuGasDn/oQ/j6oRuDE7iICulAEWRRwkNqyPehoA9h+oQtiwc2M/Sa2aaV4boNByPnvuk5oqaxTsoMqH4x6MrzZTg2pxYchfsbS6oElhQXXfOroHWO2XkDesO8CdHdU/hJU2C5yo4l9E8jr7kpmRCoA/DOQh4zGnVq4smvXpLHpOu8DpC5yH0T/4+sBTvB6F/ruTaX7ouCLWXXSkmYVWLjoEPq1zS59JTRjgLzgCGNBR+1Z9B02EW7vdXd0rsROWFQI1xiTyTqfOSSzBheCULmyoNPJDJEsZHrmBsww40/l5AFj7hPKSARDa0Pplznr5/278Em/TpXuGjQF6VcQ2PwcVPp+4AxxJ08K1CEV7/eXQ9QaGGtIv5FqfI33a29fa1/ij79smgokE+1MBon+fIFtLEHe9qMcr8McfASM+JE/mcSD+Lwq5Jr9yDQVz6yd/QKpAMLUx8Yfq9evWXQuGj8kOoZXonnA35GfU4RJwcJQ7Sjwbf2miTL28baKhgcu7JywxaIKH3XaCNG81YPmr7SyHT8Q4+QZVUXH9dZiBeHGwQmsb2bznVYWnABzH1AMFFaI9a0XctIIfUMc1H7zjbQsGxqzCOI6nV5xrRvehJBMuVO/E3NU/kJOH9c8zjikkdn/T7srxqmTc4W1qY/H9eDpTN07yY/Hd886TXUnoFE4GzWYWy5hGV4h5psRvBELt9BAXgb9kThQuliWTO+bFOyLIvIMD9KpwHnN5uSGj/nRtNzvQkujKhsSJc77NTD4XoZVhV1LIncSYGzbU/mffk/vkKK4eDwM2U49jKukc57BmNgX7hn/EOA9r0XL4kkjf2PWhBmyd/RpHDFhR+cxUqklfC4Op2OUmDJwXgh+lqsKQSc8zHQ1awWqco+nqxmwlGgBmqXhoZjfIBOJhJsWA71RwCd6zjDwOWq6XJ2PEh4XZS2uBTUluwg7bF35PZLxKL76LlBAgczYIwQciIbvinm5N+3zHUmp4bWiV0TyUHBhCIBCT3mLbR2xpflme5nCftJjWdw8kwB2k5LG0ocZyCb8M5CdyFxJIPF4xtAcAfqktbEzSgVMF9o0eKdyoQ7TZpdA0WWZvrBOvtpK7TVVFTDDfXgzBtdEIjhix+z3J7eEmWK8NNy315U++kB+5q8+1TjMBesN+7rvPaj3XvQ2LjBNFR8qfA759E2EXzYeZJ2iT/pFJ6pLjnS5MbLmZBumGQGcL+k9/vTxhDT35lZqPlA9SrmGMEmey/SAwC3xxa6hyRhO2elBoUWs8X1p42nODPkjrGdPJ0ax2/Irlsk3vwRHMkIzBgvVuvUHaVvHI2mC7fja2B7yMrHCWTEcRJoizgcwCWznVI1tp4esfHfpaUMD6+F2iLE56pUEp+g8Dpex+yaCk4qHnilLm//t/hLfLDuVr7G5dPmgiBTVC9xjoz7B+Q86iY7cIXsS+zYATyoKdF04FyqJALDfZvQTOkK2rauNH1H2bA9iWPGKYwpA5reUuIM7I4fCegtr5znMrp6Sbsac08GCJjFDKcejY2UlRKa5VTTIIE4SIpgDqvik5aUGw6ZHb6EbcP5xP2dSmlLIMYbgj55EaPNxJxjH6G3MBALcTlwO4APBPQcqn5F2lFnh+ohWb4g4IY2nZ1zZjwX8kOnrQ0hg55GHPu4KsVVDTHHVKXtlHzvqSc1coaN7QqcqN666ezcsL22k/xUK6XhTbjUd8Wq3qHwYoBT1xiGkmvyxB6FlVGlZqURQssPs69DpYcDKUfok7X18puBN1jKwQr8cJZhYdCF4S7NPQrIz8KJdYZGhbKqHVNpVFsPJvX7FH/n5cUfGZzjEglDHHnLZ8eSZoU1VeJzkyUbW1+WfC+8NBjTY5lSMGWCw/not62b8UzjryvJtXEzpCXhxqLn49sEPXETQ+Wdo8f/Ge9UcB30afDrevDbwbH61YtHuaK8q0oLxaiVqUywmRsqbApfh2IP38W2EjDHUpi7ad4KhaIvaoG+nycPXAn9yQDH4/n41SG6E0O9jxRLUkCD7JIwhrWWQfGQj53D8NY7KX+g04wDqAtVw4/39188TiFQpI8x/AiRKVtQc80rfNJLWt49hIsiNVwxAByEgdF/+Rj3iY/DecZQdnEzFUe9Lox9xOFGMl5FatMqT9LySOuWsBJ59t5c6ksS3O4NrcstVOgjM1B+Bo/QkkzfHNX9BuFOgnTDO1e6rpA7t9sHGpXj1amca1c9QPdoMVS+FUJdmPbIYqt5KKSlKzG7q4xG/RE7yFZf5NdTWj/am8zYun/unkmR8clplV5enOs1wPKEcHTPhR1RTGuF2l1AzYLfpcTZM8gRq+M8ZcjaEersWPphpJ7qT+2kRdJ9dWRagc5lL661eNR20ls7j0oVQp4/XMlpcI90qBfO9Ei21/bs5PYPjwf1th2zv6Q0olNY2bOT0yDdbJdDpPT6v+l66cOa9x55Jqvdh7po6l4DNjZPhqkNTkZqikPAfTPT4lQDicmZXNeDcQRGGLz+Gwq+NFTiiKdw/hKfEJujSK1+I6vvm8DpFASqg/93IzpxPhRq9Ey6sohyxV+rviQbaSJDdHlze9dpl9KilZUgbtnfQPBYOfJ0rDyl9SFbrI9H6NbvmRk2YUMwP1bImchlAPUwF1vCNj8MCivzER17duzoCtGmk/qFGV4sZtXzbeGYJqXmhSWxVxa6jW4zk+C4osRRYY9FkvpLsnnIZLuhJWlj/oSE6ABez0THkiOE+SISswPg+3schJwxJkD3Ibn/8cXv5JrWCfYi/XfULT846/Uet9suIB85ppF3//4KYlbmBfYC4C7dFZrBZEFI9pvhboRuZLcGbNV3V5s36oo0ek7eLeezAS9GN4W4G8riJAE68Q6ZYvNWcYNOzCvefBJ5NEuKzq+e4clkIDejSJ2iP+LNqSune/DfoTlmbHlszucer7+nS4AceK1lUe+E6GhI1jmu1D2SspDCtLf1Sn/s4P5zpExrNWViSOFSqX3ldJZdniu4BzAc4Z8x122VhmnfLbh6Ui5c+fLqujUCFLX29Nj25GEbydBN477x3DqwTBEpSaO8Zvsr0C9DC9vmuCDivDNcRyKQYGyUgt17Cgs3lAg17kBNr8O8TzkM2ekwzJCl2m1/6r17OjeV3DLPZYllqhWYmq3IfefFiVPSZeeef9IqJKjo9jqQ6CL/zwQCjIJRzMp+lp0zjHZbLg+LU+LEREtTwYgzmO/pVzI9BPy2/H5DbyZ+NOt6VFwfER8Y91ZJjXk/lzm+6pRlenh0v13XbohBbFChlerCql4AQODYSof9Kz/I/x3IkCMAaSmRQeB8ONpOBV2ZHu6NS4AWMo9Ib1M68fRTLTyazWcQpEi9btXyS04VPer+UJW/9M8KJpNlItUao0Vs+qGCLDNpelePFSyjRerGrBlSdyPErAQAtpWSt3BCIX9nmxqGnZ5+iLONm8vStJCEIN+UKSOchIQzoCBa4o+p6sRq7A6o4fzKCkLu/tDJi8lC4gVAjbuOniKmQFAs4yjsUeO339yKPYo3OlepesMnWSllYAy2kSDaw6e5CrHIbERdc6LnAoB1nfVZlJlsEEaA4KLMHvzEUzcPtkq58RHsMkb4TJdtrQq2itTLZFMOB2CfpwBfYKhRHG3jnhOg0ekeBps33sigrljedSKr1SN00SyVpdu2E6E+P2RgktBqaIceT1lfvbaCGZCXCN8Qbb/vg6XGHoh350N13WBMJ1kkx3ktGVo7VLC4ptyzE/NmPVoq5OQehQwEPYbAqJOFbWnGGN5wYUh5fnM9jsNvTsLQ5E8nzrrPguZSc1oj6qxT8tyJGV41gzd0UR5q+aM8rZoiH7g0UR8dB8nqYpp4nxuBHVNeBpcGUqOFA/2lRzjL1dKNokhAy6UUnWIqjjvyp9FfVbLi16sDAAYdZpDHpG1ptdpPMNzvEGRN6cj3r9kHL39/PwubhLDjq+d+K7k5Bm95f6RGhxq4Rr9nvY98Cj4xhYu9ssaW8T3cfq7jDqRnOaJQAoefS7cOQ7srZrX+MZUlM8zM6EUs6fRB82XKtUreo9DhUVKsVIz8LNvc2NIQEY3YvyzalTFXDLKPOC9nUSMrpNvTH+r2bMgZ15StlmDmVebw/zkVJCUT84YdN2RHHvZ9WfYDEjUWh+47HxjtGFTG5csb1Ma9NaITF2FFqYUEt4irJv11QHgabdSmq2tWBNgISRC2GcQM2UlbPw2o0Ijcu1lJys2CLF5zar/BHnA1fDK3teFdbgiqd0aWCBOdyScNbtXK6FvgXVycKIoqynjvx33/DYyRhmtaZqLY6xdMI8R5/q93xSQ6X9bbPqHq72SCTo/bmYABJDpuQtTtABHgkZJsybI3K9+1zpdvJ/iXhQHvIDOqePH6Plugr4TsDjWUtuJXM7iDTsqpgu2MWq6gm91XocWpWh7Gh8A6a2KrL86Jeih6pYvwEYL25G2kHUWH3Sdtceyvit/MwDExgFfvz9K56lwmtIt/Vb7mxa0CNRZCIVi99f8jGOJDEfjSNM1qXor2uI1s1eJjH4e1IudB9+TymKS93m83Rd5i3U2DAfSIVdFfQNgl76VYgfUsJOZIQVFxOVHcM9U5Z7iXwheb4lBAx9XfhJITAj3Yjazd6qGlSoVVkX80dYQGFfmaPRKTxDo2St0OiNGrZtSvPSwyY5xyOA3iPquGs10O49N4a1v83aOGv4IoZhmms/gGhVuzt8vRptgouAYfgNoYoWlcK8SB6IM7/c7UFUi/V5/r+uhniVoYVmaFpj6PgaigsLTQ57EuWBzPfx8KRRQTO078rSdbmwdtp5AfHeA6NJK4ZLELlZ2I6h4NJNSKgk5pvRMpASaHsvPGikCmoiBBTtPlQNCn9vomHZSu8YAbFf17TT1YNcUp82pAz/gokYFKJ3jXl1c5mVD4DG4074sPueTVo7ebV/zUcGFSkAzZtz676BHgUTTXDmOTjQrYMArsQIBAAeKY8ETZ2AgJqge+RjNL+VkP26WAqdikPtoCpp02bbBX7yt4RPFOalorGhoHuf/vMlSdumX9OeJAcjb8owl517+kkDzBOk8eEWVgtshsRYJQWsVHU8RzMNMSi9AZk0iQ8/7kwaDTYylan9kcsojRWaEuV054upIc0oSLrIf7aSrVmnEk9Q2u+XvNPYvLjmeRBjOmHbwCxIVGda3CIiPlBhWgVwCSyEUAVCzLNM1hOPaqk38aRu6CxjJlAv5JYFSaot8dUBW9juoEkF3u/LbFRT5S1MaQCk3APi38BhGFf7J26okJ2yrbCE/8rhbmAf0dz7ttk1M4fkzs7JXoMBOhP8KE+kU01Wc7mlEQ4fwzCyVuvh0ZmXp+9j/nJBmb1u4LXdHbE58PZo3G9w8JDwRoVF65Kf+iSFjQpOcTC6A4XgDy8BY7Ep2MD8qtdruz6qMNyjXnlV3B3PeWkH7sHjANuka3itYDfW2ciZ9zgGvfoYf9FtAx2rEMhcd+y05wQlH2DrPOvbe1tVkTUK7uaCqIE38ivWNWuHBalEvUaacG9mzvo6oRmT+TGLMvkCT03QADM4kK2REszDfBEXfHVPGA8shdHWzzC8LxaJYslj9GzD+qZHCg22jZu4i9xo6NkdVYL7IcOleG+nnhsMAQAhOi4C9Z66jKlgkGuSGTFvP4kWLX6lpO9Mp/bEKbNOfKJ26sI244p+qBiQ3132QBqA4kzVr0Y5lOkZQyr6wkUcAjhQDq2A7K5aqYDQ6IiNTO/MoGztJZS60/ZAZBqamSUvdlnE61iJFFzP8m+aFAbihYu/m9TeDdk/e2G4f4VIj36pE9EQqkzMBD3jUlTOHIOMl0e+iSw+wE19oRidsY4y49K0bSxbjffqHKXe5JboljA3u3ig2FfItNspKrhEQsBNKaYONFh9HKvmKQZM5LeF2Yi0iT3rl5ZohQ+H/1/8H67HzqDYuJPnp/qaj7wbTj7+NrqiBDdqePoPOWaP+uBJ7D7CZzUUVCkeVRRbRCX8T6W9QWXrwpMAQpMXHg7VvpVeRuKjENmoH4UPzHyhrbkE31uNuKu7XJ8E3AeqTWj6kDhxa0vlE7mP1NP/Ludz4PhUdGQoBjjBuNvuQPkXGS1WyG+6k3LFlRq/hQb5ii3/fmCfzWjHhVZCfLpkhMB/qZISXzFfrvtWlQ+PgQEj+03Dxjmmj1flcVjV45E+gQE9gtsKlhRFiQzsRRV2FwcW3nBbB1lbLJb6DxwLO5vzrJFfGYP7S0WLVH54hEVIZIgbfeY3sMRZJqD3zv9V0E+laEpKVNsqWyaPFArtFOcECmoJWGFTnmcI9WLAHcEoWacCTKJkyDFsMzJtQmA7gtrfTcx7YIs68RmRrotgLvEMXfuMiXj6F9YRDrjhhL0cZd8XeWnFtnE4KCUJ9j6NjGbRqkWF59ewWXD/XI75Mtm1BpgD+Y3rfESIxw+ZQBi5GljTWyM59qet4Qy6XxgXzZhixiAiBefjlc1IJ55VI1rZCigbHJHiE6bzDm4XzsQVlOlVjNJQlJYHWITzFDh46+6l/NxODm3bxR/euD4lABaWUDuOJ+z+Qf0MEDCqlLfoQTQMvRqGSd89BTu+LiykBeIl6OfuJAdfelshonkK93d01qEIsfnd9U1bDj8gR+wCT5rojDP2HbN9q+Kk138JMsznobzJZtUoUjK7AWBRUPdmVYiJaVz0GbHs4L6EIgRCH+bOMQMAcsUihzbsoE8Dz5fMSI9FAXPQnyWswZtMOlm6ROis0JLpwl+TkX1Sw7zXDpCbCbHWGOw4/Y8oStEcf3nNG0BbA/Wx2yxnmwJGO3REf4hKcSuIzkp0TIaw7qn5YKRq3e5cvNyor+Kfs4LvDSQuUTz7EMOm25Qd7EwevVEA4+Www6gCeyOQH3lKgigvkBiaeJyX115aG4/ZOlD4P0XQjI9zqsnZgl+6MU8r2OpMNzwEFPdAeC8yfQo84eaTG2mqORV8xLCQXhAd0woAuSPcCaZbkVyNHZGPPUPBwIO9cHfv9sCHOnfVCqOTjmV/ukJ43Y+Jz6VlYEIGb7u5VoMy1QtYYypSYgZ7IcojEXGgMw3Op4TYx8VtiSj2j689+mOlWzCcnwRbVqqy3p0R9H17+8Lt7NeIrRKIn+57QOkji2jcF9s3t1PA9ghCah+aRuT244RRTffeA8Tc5bC5H49dRzL9KWK1oq1dQhdTFPXMUSAQmUzK/Iw4bDPVG0KXWm7en+9YqPd6bbf5Brvd2EWNJlNx0kwIGsZ7rq19Ma9lWOeisDw8WDcaMSJbqsc1U6mzm4/GIBJpRUY+PHqwWnPIMswEVo9tTk6sRkFlCuDoqf8ZhL1rLQz1FLosSiQP5SlpAOO6AbSPnWT5z0UkcnWzqvdDIUGnySWaDnlTyrEuF9ViXoOUNGxuS8lVyG6kzgf8owZB3a87FaF3nz77U4EhieWS+hC1YgaYyYpOps54Vy3O7aF0/OhkdpPVP6+LHXsMVZtv6ZSYzMayQIV7RcoNhSHgsPr0wHE1yTkj7eynPDM+nuznCfZcZlcpD46+dxAgU2CMZyKhUvgzzpPJpewRrwziyMei0xJ+JMuummpF0AQ6SEmRl0ST0xPJgff4GPzIGYKIuYLnDwRKZQx8FVbRngBHhn6fo4u6RxUcTqWRrfaHUuqQRSKjiZVP5tFC30nOXhsdF/onLgfR4V6xTQuDk7IPE0t9tDgz8lzlrt7pZ/vKybH05JPzFHSGHXFM22+pxL3tG2MU2varcVJoxohmJBy9ybq1hsl2bl/4sfCk/pL/EKgfgC689XwMG8yf1aRuxW6S1HxJ2D5WjL82FUSl8YLmQq+zGz+ixt3mW4TSju8AIAimQGF6bbpsT1y/1XUmBBwRkx8SSjGykWrQ+xun01UhOTO3DdE89KMYTbJycaidEmtvZEAwccSVi8OvWCydrBuadeSBkrjlLzVIcrFK9HVHI1SgVE9eQeMPiEsNIjoQ1kcThcI0GKAZHcs2lAXH+rCbnsJpmv3PGuTZ22Wy6kk/qZtDvyVcmbI9Kyhq0N4IP9d/Dj5Ke2HECdIq9r4zuf035BiWrKPJxJPBTmf2LwNC1yA6bbwFIwjpPy0Q417C7v48anEJwOKc1p/tDx0cCcM/XfzBMUskjfiP9Iwr6j2o55qJNRuFw7LqRM29pkrfUa5HEct9NcrSXaO046wEnNBrZXeIUWb/NcRB3khYpVfAx4AMXUmtIscCr/6gQlSqtAXsKY0LsgNIppWVqJefYT6NETDBnZT0y6sucDYQUtP3nZFU+tpiOddL53+eFMQD/rq9MBceAbqDOStDdzaR6MxRCPMzz25DvzA3jP60XOwhGJCDVPIsCelHTT9kNuLu3BVn2r1gl1T8bW4IWnuFWzG+Sip5E5SGkLi9dluYthLVOMFrAFJ9EN8oydZx0sqAg55ynq3G9T2UcWcal5yqISyRuDfm1oj8sWpqMF7av57YdpCPYcSkkO8tVGbvMKxnc+6D7ScA1o+iZz6bWOZgVBH/fJMl6UHwRWXw9k51Ml/UFEveWT+6sjaWpAhz4NpXjRb/JMLGdKkVPZb8s7e+nRSMq3oAN34zcZDWzuYNyI/hmzoB4pwsG+wK9CGBwUCfFWCF7W9NnIowOigdRy1YLg6l68qtZaa8yLgn0z/CVt+Y0pk3NA0oD7PFeO7uVC0ix5jGZd+2LI45c7tisO5gaNiZQ6JJFO3BSLmKVyrldFl7N88zXCZJEebLLC9xwokj2frcvlsa1xSTe65VLb2/N/h6CW7/WpMrFSlh4wUWWLl0MJ8t7R79UjrcaG24gIQm7ZbKwru/uSKeMvN5tnyn5YBIa9MfhYxwg0ln2pdaVr+UAzKrESd1F0cB/9P3yLvOc3WhgomEqlZPajgluSWY9fxPCvFYXC92WDxTUcfjCIoLd1DO7GCLobSvhgc4sRFBE575/eLBO68sy2gOU5sIzaBBGVJ7xPd+Fx4yDpgBgO+VyU1HLJvYM+otmiSeQ04AL/byfxmSpH6b2thmJQd1qIoXuBgl2HekM4VeKK0oCEt0bukxuTx5qWsOw5Lcwp1+ovQpez8WVsBPpr9nFNENte8/0X/uGfBBbgf86xG7qq4shs5+pHNBctQ7zIZPnxHNp6h+AAyXIa2sHE/nLzxm2hbNc/2E0VbAT95z8me9WNgbW7dLRxkuIgv4CIMpvJPzmfNuP/kP19+YFX+qp1mboStM1tfIvA1km7LAdqxvtWAY74rcxkSOq0A8iMQg87ldk87NmTLgX7PRwTY6z5KL+eiT+i4uTdvGTWcKU7OFjOi0KQUdMjQt7DFCC3WIjfWsWWfSBiLQAWhRIqc/iA8INtMtC+ZWETLLALFMgPQDqCWGpigMdls1O1l0WVSxuIBjWYMvCHzdXZExuk8maXp4XYhLHwuzh1iPrS4YtN+nLmb1UyB8sFuNddmHCVf9O787FxVeb38v74XXI8Y8S6AV7XqVeBQjK3afukv+V+0ee7l8CK4IuyGAUscBWRFNXvHEvIIL87LvfVFAvj2TuVe4DQQCNssg4nqGHhvoJk1ua7RbDK7v66GA7iB3rPzYa+eaDegMA+uXBaOBpo8Za+dhilfdUL9jOqey6GXLxHWH4whRdoeF3x/zFf+hoAtB+jSnPfpz6nEwfDBQG2V3k4afO5mtTxEEZ5k4Iav40TO+eP/nrjQWPEOwLNGZKEGdG+uO4Xcy22oeWnf9BvZnXZzUV42wmibgE7CIeXiliHxOeOFEhzIAnr/4HTP+DZuLP/wQJIk7Hsh30YLP2dE048OreDqPCxsFC3sM2K1x/Q5qyt2MbOtp1SWhz4+rb4TSDGE3Fh6ksy6z9C4dbaKi7WLyTXyKfuncf0aLBXKQ1AOSsdNFDAkaJ1Pwl4Ik6Yob5iACcq8yQoKnCaGd/Xon6UmDQ2yWhzyl5mPdIxHTKNvHMdbVT+JF+JDTGVP6Ix9DuOvMXAy0UK9QzFCg/6qWEdGSvFXph7TSYnn4qeDv6IFK5Mmkj2nVM/3qR0IioaUqAkAKwwHaIkUJi1QuSDO1HzwflfX2wf5SHwn6yw2ObxeW8w76p5/jt9ZOfcrZ7R2o8SB5D9hUHskZlxMBnMXaSUqkVgvC2hRnP+oN1Oh0AOAXZqQWBXo3iL/3gInmMdyJTd3uohJvpSp2I8RAzcQKjnaoqGCvukSxg3Fk0zP1cr8nxMyoUOgkwPs6V05eoV+nVzpQfJhEClKlW/+89CpmdcUmGjo1XjNjuyTJmdKooiLK1yce9gIVen2f8yUzMmt9An5qmTFiYmGRhOfIhsALCWl8vLUqD/tyZhfdb3q7TIwJyA0Tv5xW5S93T6dFfsTPoMpPqJV0yQ8xsHD/qz1d+RmTHCY+9UjDdUTAEzv8fnrJgQvc+ugmZ7DCvZdeiyO2HrAHDki9SDHoCwh4ooZ0qKpsQMk4+Wh622V/QoXpheRqdCg/Gmf84JR6UW94E1ESmDQN0+Unx6iOze2XMX4MI69OdGSwgIm0FKamI9ps1BlwnPRyhjYaPNq6h5pHYvXUE74vkwYHKCAuoRTkQsQs+YT4DSbOrpvMQP0j6yruSnm8G9pFnl1rntg24uL7aMMzF1ZBOkH3N5qou85Tuw4AR66O6yfVSUISamF83XDD0nwfabKcfQtZwb7njarV4KV84u1yUqdSbn0pk1/ioEX5GeBNdLLfVoVXYw3zNeKrUnHT5U3hQmbRHNjlTWJDWsyjPCGuLW4fYysCExgotFwtPr4wlnjdrr1Y7LdkTqZz0jJptf5Ee3vC1/TLbCW8ekimhNwVTbAn04GIF4RYRbnWOZoMKa4DpmFWctiqwA56WOM6S+/tM1ZDBAJmtp6Ynfq78CTDezCEAZdoJUdoDcTm2y0tPbBCU5USMrzeM3P+F3ukPAImGAQ2aXuYqiR0AMnZSKTcmW0xET42Ywj4pM5gRQgZJ4mD1KGf9xXUIJqWLSwHsT60gXU4ZDg5hsqYOrWNpHIjqYK87+Y7oLsUc0Gv55/+tLPM5rTWe8/Ah8w/YyNLrblEqP/Nwnc3Gv+tGayu3Hp7s3a+eBEgU9YPyqHbGxvzG2D8wqZswrw79UyxBAEto48proBXCjLhsGuAx+DDwMrwuZYw7Ksjt0jgJb/QAgGMjoxHEx/unjg6Q1nt/JvJDjb2RxR00VzCzzTGP0kyj+ZhkHuXw7RAp8zB3KeCrh19VkWHKcugoT+HctiEmsp+gFYG+SDqXQQ/Ha+gNiCJXsjhDM5ga6l0Z4oCOK6uaus9khUbVyv9fECGupP7eMG2VW53ztGvyw5YxqmBDQ+ZOQnVzLHnITNa+1/MwnQPMgymea0vyeUVaEUMY1Mms45/EoSNEOBrTv0IalOMS2xsHKCrE710SPpG4hambkWIaanz8k4Vwp0cZhGWUKEQKhKxjDchBWmZZNG4R0Zk9S9cLVWAy5kj2FgyB+kx+KsvB8pTClKbplx6F0UPIjVCKea5D4xYjEY80TTGCkhqvqA9reSDbKRFq+hw6GlXEZEic7TjgeTpI1/9MzmZzma3fUCAjiaBDN0GyOsfKn6wImwkOs9iZ7UjBhZevd779biRGu2rx/OnTxi99EenPO4ts664m8xtsqtRuybutpWBmLL5YNpg3hmS7o8sU3mDLm3OIwVOBvcHVH200FprEnmGeVzguNZ0BhzUScr+sEHrVO5bD8PCK0OUzpv5TfiLmy3B70t5WyMTSLR12BLaLT+QB6wnhFkegmimI7fScJCrRIB4TUKtKDlemckF0OLUVsGGWaSJkFy7GZZSiQdSY6S9p6bncPstMskNV2ydw+oA/e6lq2FqRwTC7B0SZcR4Kfk3sW4oCJ1/MT/45xUT1TpywN5AOrMRKNr+Glz0sxmvMCFu3CRBuxDoLFDx4HqtDp7pYQj1+HdeGe5egiMua2q/WVzGw9qk13hHinmeEdPqFTeg/excOCEBxw4JZjKA6e+7pMFYmhC294/1BiEPXIrQpQ4BGz38b35H1gv0rWzlDASxeb4LupAk2V2F9sJSmBPm0VnPbBy8vkIIdANtlCvw9GzkinccHdIDM/YI5LlvvqRUxbkPHBygJP7U/NuxQREL+hLhBfxcuX1nertUNmd0uj2Lwr1e2F5XY+s5ZU/BtYd98vyGQ2AOuWh4UpQ5xaRgucqY81o1HxjeHAnztYsjtC6qthMV2/aEvePVDG7SPDjOYqN/upQtcHyDCELDQRAcgTTqik+4vGc12pKb1i4mEQY+FWg+3LgmjyZKVCZjGdY/d4Olzt2vw3wh90OMPq2Xygu3eddR4Uomf2Vi4s6SSfaU76fJLT31+sc+bjX4X1gP1dDwM5OQTw2hmm/qrxmz8j9ICmfrzjLSJAEuKON8xnQHLuE9TT5j1QTTvZVfHSKFAA7gEhbQPp0u5z9Gyj3cj85dGY4Wy+Iae+3M7j8h1wTomNAOmimdx3YbCvwsMC7ALPCS6bGXAhjEXoRuC4aru+/pI0D6kLiYlJVH6LaRcvooydX5sFd3L0JkDBwWfoxPYtSSUwqXh7ZOVYwCOZzJlzxDMB8+EWrRGnqOlesfb4g9Mvm+0YT16gbz6L6BHdhMCAstANtC1Q6jjKB1tLyO1MqAtOJsNPW7qaRZ/tOr6JCqS6z1Nz1S9+dGOFOu9hlUljfQ9ReZgPGQtaXFfRo3LYEKraO1BCbcyQ14gjSqs/EFmriUDS5ix57S0ASiBhs2hfo0OkQstGL94fJh3qiCSRZGG2Uj9jM5/FaK7WtgfC96bozoa0Md39DlnNUapolWV4jba3nQUOtpwSHLRaOty05itChtvjoAlXlvy2CXb/nviLq8rk+dELSjxoXL3vpsfS+/rOmp6hrNeT85EBY20vwiYSeOu5WtScH6ZDk+cmRxgicA3DChdBrWDJhTju1vm0+MPaxSmiWsTszVGwdXXZDyfck3/KzuynKR25vK/Z/A6db3ceNr5UnV1WykujVxklOmHgTuZFSwWhBuoD9+FggRI1+7m5vmgLF6leOqNBp2zJx6oKqpcEQcbWiIGtUN1OVbRnvoFpp+KXLlCCj978vpq85vdwPTGJ/YGz/X8Tsj22qOitTzO7mSoQpdbsSR5Dv4lO8HjEZXziWnNqlHZMGf7iJwyq8G/LIG9gJA9+VvJ68kDGu31iIKMBeT+6HWTa1+KxVpO6BVvq4dmFAxf9j1KV30Nab8fO++tKv9lBR84D15Bu7KsTI69Bkjh9S7DQG1mwEG1iqUlv8lY3LIBL8RF0JptmUJEg8l0hLuj+yijX3wTtc3WL9XKGWDd0CFRQByI/BjRtNJYD+xOocXwV8CuelvswJenvBGIl2wGC+6ESj3uaYMf+6jJYKc8wKA1ZHqzuVlkiL93stVLpBgMCzQ0eFA16HWb6/BqpBQ2az4jFq/6o2OomiOer+QG0B6YiVqEVTPP4jE97i/8izOIVvOyGHnqUgPZSQugrn5c1wpaRgt+lcpWilQ4LjjfSO9j3cBnmxOGys827iXacq6MHEY6oYGC6GLIOQoIl1iu4pehDbYQf2UcYq8FY09cyfGBbWDPPlprFuZSysZzrRgUaPhzsjZoVypEc3oN02oTQKhcJKVt7CJoByvyU/ae01lST4o+DKeFrDr55lJGddgwCnuMIYGCNfGZlt7Q5JfNeIMWgq+CX04McGaky27sN3GyA/7X5Vy4n9jY7xXLl/oaXrllnTCxiFUHB8+3+VE/JgQbbnWGSLfSV6Lv9Jw0DtkVkdvSvMaiEJzuVmTHXj4WgY6pQlihxymKUPRcu379kUNrYnD6Qm/VQ5rsjaeOoIXcxwoTbn20lgrz6aRVQ811mzywVJtoOU0XRvRasQJLsRuBdBUgPms7fqtnQHPhfNGdWAbGb+abCbLCK3FQVgcMnWFjGn4h3UAKixUfUHW+MNraF2Tx8MdqAjXGeQUwu/GPaXsBEw6azs1WvpykoIbzZp0c4Z3xow/adH2mht01pNWvPLq4VC/Lmfhh1w0P3xLbKVU9EC29pIk755oH8ddZdREwOb6DY4dLuyKbQ3JgtrKTAOETGqVRD2Z+s2Vy73KjwzPzgVSz0gpH0azWPsGiJMQc+hGcSPmGRZkTr8QMTuJAF3nx7qNZiF75uhg4V95bKiESXexkSnFo2vImsojQGV5rNJGzzf4gPsSyGEoLk4Eq15MCvn07EVFK6EkTjI07AjZWb7MoWnj2zqHfYCsvJDIeXgXaNusSJN80w3ZXAFUj6aaYqqLt/nrIYjc3lWyYNyEaQWcwRZpu3WoOpofN+6O0z5sprgEZ0zIA97F/ULieKheOcdRjahPWrRtE5aDCaLY1x1vbQSoq9jbVH452BIdTpb2IeahbI6zNv3jHKImOI51zebFWmHC2c9GYoHvmq6pSPymfCC4eWhFRBO6gCeD59m9aFzMUNY2OXXfoEsza0BWmYrFxuS3CW1ormb+kcqF4nt6yL1EsGRPiKuoVmn9l4R9A3stUPquBPPJb1aGOzvoZ9YEr7Epfua93b+akKN24EO4vTJUeNeXy2v/q7JW9ohCjgy94pWWVRHtqWsgnUdPXJJJ2TXJ2TryqbqfbYB8GjanUbqVtYyRZ3sMwKlRXq/U6OVN17M9OzHYMYlrDkcwHn6gIOj/1Qnyb87R2GFbsLXeB89a07FeBrnb6PHsPxeXG/ifUsSNznIT+Rhqgmm/nV0A5bQtfbuSGgvidX6zOrRvSVRFKGnoMUdFtJmQ8RwFeJXf2jYJbZvoYGzEIUeie+4Tb1iTOyHzKRVKLzdL6ZkncT2aKlee1CLrXrtPImc+AUAzdFpQmPjeyfrBUMTbOBbDkQRz6RrhGlHsxIKVbFjBP0l8rQaAkI7Nl/HGfvPSkFDy7xzKgAkpsvTSZu7nv/W9SyX5ZiIMd4o3h5DU2T4PrufrVzgurzvAyizsxmTFfuB0B4bSk74m24Ajz41cbM+bAr3cSJnPH8/yi4RNMsekGmVPbLmh6J7NBZYjTw/0jW+1IsSnUf9MVypRH1KHLx2p+SMgBkyIctcL2Pw5rGWpUAkM+CcPDPD1VFr7iYIrOVve9yfSh9QcWh3sZ2pVd7TvFxcgn4H2c0VdvZLEMnZSE7b7OlcsGjPm/Qc7wUU20bxzTF9vwpG0K71bcNj5jPuke8NVZvxKssA4ZV6KD3XEACwtZzc5J65fYfwx7IboFwqp4iT3CFgryn+2qPHCMtt8Gldac3PqwFboIVSguVkChinmUe2RIb7ADFh9h9RQyXg/ItieJqrwfHuIyU1NCRPiQ4pHfYNldPU3dqrcC5vq4CJIZGLWRN00yXGvyIl1HLo4yK1fQFyohxnWZ1udq+QQMWiWj3VgeNaAMCvhhTXF3uTEjRkv5qqiSa37/IclU9p3zhIu2XnJcx4xVmm0MkKjwUdmEXQ/1wSO5yzh8nOs9cGvzQELVgkAdVp8Y+98W45T4maNht0h6wAX30ZtQCj6uLBoZtlmCpG/qSkLv+X8d884ii3/BHR9ucbGSmLsw9q8BpzrKkjtiCQFeD6kisfI4jMQFg5Wm742iBSVbDf3DIi7B4WyOPVXc6n+6vKsQ0/u05E19Om6q7UQEqJUjk/tPQ8VMsAb92w2qyP3H1aVBAVzFAhVBH1hj/4E+dnX1vUIqBk8qC8vfvCxo4jegxy7iTZwsULezSY4Br8uVzcfPyXOrALPKmtDXe/zwFKyCPSs+J/CR6+ImWVM3YFaSOjRg71gS9QtDX+954mTSXhXiPt2cHiTj303IJlgoYfsohcfEo1Y/PLnhTZQg9o4zJmbk/64B7qVNke4EjCMZWZ+gis8GSh+jq272b3FzkEdPjOeE77HgDoga5BdfBk0nbAVYBTjTgv1Z/151UQTqpz9Y/l8kfBZceah1/lXREjTSH4ahs78vEWeithgz/a0sWsMFIc5xJyOW1FiqzVUW8ibVePeHd/3TKCI6cBm5vv8b93lc3JJZPRQIJdBeXU8kfFJtUI4aic/tjTd7oLXP8Jl9HvvSwV8ygYcTpL4QZegVWjfQDp7KvO42gvQyfVVv2+ZdZJG35b/Uq8xdyDKuHUs/+dppR2vegEXddltRnBKgwwTGaWNMKROZBFwSyBX3dSlzNA6oAU3wFcwqXLfIOxUNGoZQK+Sezv1xHlDp5ZdMbhieIPMcBYKJOVxCvA++R1dDaiGIyMKXODvWk4jBQEmxQ7zr/4Bu+1cYIwlcZueUWtWxVtxAQ4Xl38CGeGUjuRAYM5oSikrnx9Gnnlj0ffKSZ8IYV2cdylUr7F87FaSeE+ypxuBRP/wl9+L7eVyt9AykS7w0s1a2oDOy/3jw8IwfIVlijuEICI/BdjRQ3hvuiS0eiIJdSXgsvVoPZqf3S2AZ4OZu4FOJwA9D7CfllDc81ttyGVKSKOv4tzvJUNHrMplGRYzlHNVU1NZNg0ByIxh8lS1PjN1hbOZGyu9S5EkXS3WIJxc4OwfZQnznOnMzGELe8Al2vtTCoC+YWb8LbdCmFs0Uc+bRDx1LMRuYsl14u6RpW+5xFvLAwcdI9onz8tHhfKdvy9XvIwnaIky+LIA1wYwWUbHjz8SWG2/q8CdF+D8F0kWbYsDEVvT71D5bzL6KzyoM8sXboHcglZwukR56D8P3LSfbzQc3r4ZtkXM9uZrH/n24V7rUYSEWuwodKMZ2PEJucxZPg7pr3WGgZssV9OmV+EXdTdejneiIsjw/RUINY3SHP4eF7wxGFpzderByZHnaGGscYPeOGtwAxUculy1EVy2pAHb4uxtj1tdG8iSenROq52kj+vGJNQoevMoc5XYcqedXfi9lIe38ofa89Af7rIjrSIHtJ0XL4bBW39BtTHmaj6pQeKpAPJsNS1qJpc8wBWGHkuHgZDwdonFZsIAbyxrxqNRX8+jtf796JtE1c+l5zAhf16PJijVnDOrdIITqlaFoVkwe8a/21LreFx0OoKx2Ck/kv9Uv5JDQpES9LVMqhzvoh9cI7BTD7uM2FIAmTfqHSBNTeVu+izz8KArBaMnU9FEgRAO2FMREh33yEah6URvI6n93YBXOv3aeUr4sro6hFWqcN89zlwdKFRAImkv8CGdAo0ktyUSAkrg5k7D+SegEOkC8RKuRcZw+//gxC9aAWL9sP8XGXRS9mz/qjF0HU0RNVhLgo0LwzPmaho9UfqqAwd/LLjeKyCvgiufHWK4cW5Cb6NyluKKnbtCFRDOHqLSNfRsg63bW9V6sfK6BZqzlQVpc5/eQUOeZ6uPgiqkJq83xeM8qaQMvDTBotAe3C+DcV/aTQ8/DPEvJ/zZ+OhcNMdLyytu8YSpoff6quE+pQH4jzaJzHvlpu5tIRGh59ixBSci3W+p3p8kzolUMCwV/5g2FGlhRJaN0V4Qam2RzqUPT5RapvPWxmTnyH4j5cknq7DhlNMXdQC768NVsgTuOnuU7mzVZ78jEoIwyGxIgTsNIDZD9nYR2y5unbEl9PI6G3pRPTyWYc6gilzAWg3XksaFwn84QJ3QG9dWRNoDWArTQqGbYi6iG3RyPccxP0xKUMJdyGBjykwMxnI69+Cd/qrPf4M+k57OHJEmyW6e0CKljCmeFbXLItbMqFkVS4K3JOuyM5MPQOsx7Ix1Q7nEgOw3Ivr2sLH3fl0TKiRjnt/EvwciNxvlWuK9/ave2C0htyJRToHcWitpyrxHMPyoAJMsDnFLofbJCnv6jzOFcmDI8b3j//te5/KT9mBnO2k5EyUK3alT6Tb2PzdPUBxJrcJ+KAthMIkgEqv29VMTArMCZA6WLDwf/rkOq++xQIhcliKjiZDlRV3ISnpMZAoQDeUizhNF/a/BJoV78bPZY3VTcdA5dWxys+19DEmAyI/+A2AyTNBOPHDtsftix4XExeMZ6dD9AaiwT+K1FaF9laqkApKnKIvcIs5MrMzbbjGdPaEjNYr9T/8ElYEJudLUfubbYD6mK65duVsWU7VEOOC84uc7BGYtxFDOqWdnAkxT70ONTpyep5t5MMDr7BEQl1i/5qS0KKj65Lg4bg+Y9BZW3adMmgGCBpliIrwWLoGilsXB7wABD2ic4ZTMvmEO2gKEzRlNg9JqLDdNwP7sV2C8cB2JJ+wg/U0e3lqbE1pNv2Sjr7aGvP13MHFbUZl3I+pweaODvDngMIeqLf+N1+8iUh4dlVC5jHZmzwTPTD4DNLl5M0Oghys6DE4xAdYkZ94BuMNVHZiCjjRFCnP8VmsW2PVOvXv+5NUoNwCcVbU6NsvBJrFqyADE6JC57j/rwYH1EQzDGD7NgE5+rH40ouw5JG9NRqgpl6knXqbAQ9ng4HDi1PHYIVY9gAA1978wJhtH4MTKdAxY++3tvyQ1xnI9xxh7z2z1lDu4ugaxu0PGI8AMXPUtrJPjqXDe2zrFdc4rWImKkxoGlwav6Fj+QlFE/4H3qJQYTJHzilWGOpx8RaqcPbkzxUII3fml5Rr0DRUXdQqMLLbuyi4kw5n96T81UdGKLLSoEdm9YIRwZIcabcDclYzXiqiqOqU8zo0MSafKLCxQ69uIqs2K0IYYkyHGi0/ryk6woFmEvvXd9BdKPc/paeSAe42EP/B9B2KJtKVzxyLW9ihApHzGOZ4URgmrtE9Pd1IqWNrApuLCgkyWZ4xa8a4d+cFOcR1Bh9dH0twZRJsUxxOfg/xyzDDHAo5pzjG3KLIgv2NZ2cVCnmsvmX37/F7amp8b7Ay+bmWWFknt07kpeVUe0Xy6kPBiUXbN2M0GQJP/ETq6I3f998fEiyyjNgSKUFMC+HKQXSHs4277cYZLnor8YrwvQHn5/aDkV0JPribxGN07aGvEV/dc3PCQnM25OTguc8ZH34Cc0BjeVnDCGbHpDYntnxdcKb5UzQonXPXP+6DYYDEIPQymhJ3Rj72uct3jMEbYRSUDeFkSwLxphZJlZJrDjg4W34NCi8pjI00clQBKZ71OlJNWSGdpYZOPgj6kL6NLU7lwxULyHyJu7o4VOnSzFwON++qtjeTUa4a2yOwr5hTMunIQt2AbAvhNT3J9tAhq9zedIPr0ybUNu3ON5lxmP4/WEaFpRovJxShS+XxGGWfA2S5/bhgXaNaHYzu+pzEAIvr260eL5/70SkMLo/xywV8a0KPMCfKiqvdH/wh58HkDhQikcgisyO/vDhZYciNMO7ln/JRFAw+TV8BB8R+OH0rjKLMUmEnmRLAxadkuy1UMGiVNPJc2bjcb/nH2EakBcdhiD/vH6Rek3ZDsM8Ux6Yopz4jJx7GkbT31FEImyUmyb5PW4VR3NOJgNMn6L7UXb+RJPORpGuJRR+G3e0DrCPMy4Dq49u2uM2HXCSQ9+ft3e/W+ajsnD2ApuaX2BRbU08QelAY2Ddq8jM2xPli7rDWululZ0z99DQMIsypdFVCajG0hOFjcLnmk9EpJENhNp8gCQ3LtH5nFpC43+QRASM/i/GUDJBeICAGdpu6nEczhXF0nytwzuj/tTU/Djfj9bMIKG/GsnJOEEuPemC4JdCa+QgvlyxfZx3qwrlCbgSSShbKcQ/cL3QqndkZl6tQdzwuFT2rEhGkOdHppsw6Jr07OOIbKUmtfJjf+CjytvCO1G/LPhmsSnPoFiHHarDPwleblE7v3Tg89j6FWYRJ6+SpV1H4oLVsFQ+6zxiLp/aCemOrhQTkD8MjZ1bF9a55BMTHaMcnpYBXMeInvdNx7VuEcTuyRrcrT3o7GLduH4n7mI5WO8je93Y26dDmu8qJdLt51qXQ/4994FQJ3HB+iOOLXxojFJj6PnpO+SdMJUh9oqb3r3REQA6kUNFNtZoUUHzvrQ04YngIaQBix6hAhLvUAuy02945elVC7jBeDq0YmgMp0VyXRX0LthBX2OVkJr/ajkQazr5M9/bTsGRpB9Lw7rFHitFSzUQr9Qvu6QSdievQV62Wda4n4OeA0nfCYtpam4FzJSZRTuA/nZARig0ah1bwXG1LlI75Z+GkTDy+6aV4Ba90ytgLR685E1jYDvjL6zEj/d/7YFTvXMbzFxYOkO8FZQNsq8TKD7hmi0EyGwJBiBrbUiAFAS5nV5xDYN71ua3yyQrndyjmuiUUaBj4VzPVv5H/lEkjpp3pstdur6/H3t0jKmU7obxI30kAi/Lge2pqKibK3bKf6yRlYXqWMwF8fmFHdIh0fDWrsIrz8CERKjdg77AiKG/12LviF0U0jIdEHtdIRKS9SrjUlmH97RzTp4AwwaBdEoW13tz3rMB5fI2l15iKfDLDj+eB5YmSeeZm3vsw4zE2l+RmbWw+VtyKwYgt0PIlaorrdbRwm2vrqX1EFPikpZ3izte7/yT4Ldla9tIdsCN25k8J1ZoE3gQj0Ln5FJTt2f6ZU4SRqOtSxMvVnQGozn8EqZOYtIB3wnapHdankI7XYut5b6lvyHU9do2Bc8GCEDUXq9NbXkSt5i+sCyssGP7RZJ/ts71Gn+Y+ZhujAJsuSaVFLLhl1MRrNhXgOcVufdULABIPCPr4bcC68b8oZDfRnHLh2cyF6YJFJ8H1G6ibuEkuW17bpaY+2eeXuaLASzL9ojNVE/wpFibLdAIUf1d9SNZpBsba0lUpKwORykGKjghWnn3ud0o/1Q891My7zZcjD8LM3UqhEjO2rbkWJU74pGdj3BmjU8d1sq4r6bi4EVoZ4WU/FsY7yWa3hHtcH8aGqqVNTd5pThcxPlqMxwac/Vo6NAEcGSlgVWojPk9aAXWZbyuwH1wygHqCnWzWjKWxn23LvmfgMooU85KZPkerdl+lynHzqJA7u31wdLbPHfJTpkKMZaa2T6Y7vluHHUmLlEoTRSCs7inyT2kjyQ55IofWHY0D1x6KvYX7ypnPdCE6VRDb4TIL7PuNu2OXCgcvC5eMRdcUppCs6+MOmxxSh/gO0C9B8CpUMQGt6CNxm/F8FzzuFpXJg+op4w2b2iT8Tm2v6kPp6eVgcLLyQcHdKLRs1+Tt3Bf13um64ZrDnLaLDge6dTVCbogALhF+u4HEpoxiDnEfFWW2Gc1BAFlSGIDqFfS/roDdnu2uW6Yz6nMXG8LdIsOYxq9If/mWy21GbxzSiMpxpEGl32FN0fVwaCSBO0YcU+wVe434mhdeOTEpAr6ZAtmsya8qljUsRjAda5eOCAACtt6EO9Zbj03y0+MnapK1wZ6OzRSwV+aTTYycWx5VoQhAP6Ft2SyeP3FJj7X4W+PEYscH1Q0TwV3ZcruA+HdWmiCHxPf3LlMI3xlMqKiiGWKQ128VCCZqGGuqL3IeMSFZQS3lNcQwgiahDilhm/8XOBYZ432FcWLYIK60Fq4xncpK/TXx0O22GucsfYl3OmSLk3m8bvPKK8vg/3aXhhAqPjtQ5PHvyILLNZXp1wMhQOwU9f6HJRQkaHKRNT3jHDZfuT5uZ/sE1x06WBG+LNinMt9m9BzHWhtYxo69b1AFs6lYVFlnaYCkSE4mWdA9boPCciP27MppQqIhfYfgQtZW+wsYbBoEZMxAn0q63/TIkqacOPwc4KFfyI2AmUbWkzqcfaIAfEhMWHCNeCEvcS7Q/BD1/0ZrCV50xprNO5d8uq5OAhzHWEBqujUPrQtzVoBm44yDCgd7FA///3TNZu7t9q0cNVKrXuz8EkTPb4HGANJELCwl/fmIfG7HinsBrFpR57q2KrIvBR5S/wVSD7YrzZASVHthHVdQSxeYcDWTefbIL0YIEA4ctpoul8muIb/G52TwW5IrzVwPIKGvXO7QJ9k1LneTEPHVIt0AUQpwcQcJ7/6pgV11n3MPxZMhw5U8dPN3U3QGzr9Gzo6hoFy8VLh8QLDp8TGJ4QxXbVauaaGS1LjqSDDouiABJNVyuJjQw2NUg4FPkrmrAkSgvIU7qHIyTEd1pKd3tiyxlz3yisD7JZZD+ZBv16ljUGlDTegnXBgk00hYJX99V7fdg7yBtqS3L/LtiCQJlCcYuszhloY3LrfU30PyTdP7eNy0er5R4OKzcX2vx22blgBM1wZZuBQ4cgF5JFH0vl8Wtkl0empf9p9n8Yw7tas4WDQsptfSSpQtcMg1X8OBatGcHn20iqjPBk+r8uvYbrtY7FU7W1QX7McAJCDV2VbWnCl8IRN+RfiOCgLKYClKhOoiz8+t0b4u86EUmhpkXnXXO4R9HZD7HlNU8NG1OJsY2co2Idg0t6O/a1qP2wLQR7xKXz8ggn9Srr/00aCrd+sGFBfPHHvRlGaWdFCSb5neIcjb9zUtMsaGmOYc8fmvg9AqBmU6O3HVkhBmE0GnSQKovoo+XxWpPPGoG0XySmFoW+05Bcjfv0QsSZ+3cQZe0tYTeE6w03KfOCNbedpSLrxDQ2f2/UELHMU8IVDymxgnZAaU9Uq8/TZjLgZC3MkRDP1Rqv4eW0aIEi4hfjfETDfHtuBGolNQ6+b669fuFUstgUo/3nVuc8vMgk+OEsQWgNtRAizW0fNdA/XzkYwkdMy/5/zWdlabevkGw4YdX0hiNus5gQwmk6okaSH1LiGJ+hzec4KnxMiRTNnCOMuNTA98ZCqumQw1NNon7GpEdlMjte+hxls9wKI4TNSSU9c2RQEojkxeMDoh7LHALE4LegNYt4O4TAMxqS9pLmg3ShctcaJn3wrsMHlvdtJj2g+3j7BBrQm5GmnE0Q3b5GT07B5KIeFI0U++2kabOt5xFZvaiBotK4aVyoMqtGoLloIxzndBZRIsXvJc4vlb8dB9ln+UlOYYwhvwcsnOeUIw14FuqcxORwtrJwrDi5cYYr2Mg6O1pb6zbKakc4F7cKo3JxXsAkvUHwLdkrVi8/wHBCJEHEt9nqqZV6IrWcwKKUWso8KFOEk1VRUtFRxA6dXwRzFehOC6z0WJYpOyUCLx3jUk8nbF4Y9h7E6wTrpQqUZgI0XNN4Bopj3fRQFJgvB3UkDP/LL20hj1hEQMaQ5XiZaHQViYhDE/+JzaiQiFt3vH2zLSL4JMa5GnSQQcVANmLLb6rN0GbuC5Pis0Rhmt8xoX9AZ8Z/MvM1jxHwDIv2TGXDyDLG/OSD2yJnQgM8cf+sheafBDZbx9//y5nTDwc5gPuxG5v0Rs9i7m456sRSpAhB1AWzUmS9tG5ZWYIK+yw4wxiLHoWljeInO0zerCaHu+G+OIfGs0yjxc+NTrB/83zwl82yjX0E0VDZQUMvqXUdPS3AGi8BrdcYmRZb0k+huXZSJ3O8Q+z4Vv+KZZRJ+Yft4/3gxQ10JtKDhJslkarANsACg2XdSWwhVWuUoG6l/dcQtUEsE0SzPcYJjNVkndNc5LHxtZJE1QmmfAS40jBWFwlIoK0te04dbIXFxA/69hU+qz2WKfqbawkcH5B78djpFVluAyoArwa2MKe6ENdCychFtjqU/BlErxeWzdp3nMR1Dud4w3xAKR+CTDivr5VFBbg+Clw3geZiMYXUbAczA3fzwAnWxQgSmGRrHqmi718DQNYMPhATpGWu3eeTWRxh3/4qUp+ouOymM4nCB1cN4/LnpY8firqla3s7psPkr51v1LObInjPUiSQwKaI7s+m19V/AI5+kICcBv5OXH4XthgF2WT52VXWlswowwPaVAbMWJ6EGNyjuQWixWf2Fs1pEvbz2BducrmcPbxVliK86HBWsasGz2DxtBl8yg7fvffG1PMFa+iXEN405AZbQ2Qxpwu/SsSTU3ykncfm0EoaFUt65Y+JLyaFUgAPAQZC16JzkSkRu2EPSlpZxVY+jmHPr0lApqJ4AhAORnbba+ehfRXzsKQJEZB77e0ZrcDNy3ILcgaqlnXeumM0ihpvpLFmfleYO8/LFfN6n/yy2gnYAX/khqd/xH29Yp2pEhQawgAaE39sOrCmLg39WGuKnx76XDm55mH789/efggms02EnH0p72YGqBFUS7imjm57eW5RciyqU4/QWkDuuNFVYWz4azeQbvFx+84eLEAKKwdlpUV19XpMrt9I343TJm0aiBcviJFvzpNNCNMRXLeB/1tmXO1ahP6T5FmEqDTYWor6yAiFxHmTv5NQkW+PfDefbhtLWTl0J1Z9s/E1Od/QWDMwkdK8XFn0nr9WWDHwXN1TlIYRJa2TM+0H343Na9nl1ugrtwizNfY4ovvMX8Dyg8zY/liIwMuUkDymZFk9tDaXbiZwcRUsU0nsY819acO2JZ+CUvWYLvSdMlQK9sPX2WENkQkRdhuk3W+c1zLc72WE4VebYrVCJUD1DBb7QVph80vgdmOS6OwzPLjJu+FYGKK1r0iDpvrJq13/FLiDBu14yYTT6Fc5h2YHZLQsXadGwxoUfQ2traNj4AxueeI8v1TWplYgb6O4rwf4PqQxmoEJfmcgBeYg+LcaTasS9MZhahcV+zm4ie3oOQ8Jb4NnoV5iR62PAcZh9uYaVvlN/P35eu1XU28udMHLvegMblhDodHBp5f4Er3QLXtiPyYLZuZOqQcx2R1Pdkuksqxwf+fv2UZ5/ahqaAnPPaixjdmfnhSsQ7q22zI1Ky2MeFIHD7E20K9Xw2k8R/d72VWhtnXexpxOfh49FSWkSGKr1FZ13WWSYWNk2ALoaln1i+Tkd1sPfX/Bg9/+OXh8VAb6y6bOfgGyIKf/uoGP642C6Ew+/AuYtA3ORx8G7YrR0K2D3SFaHoxlNVWIIpjKdaJdpKYEwlEhCBMLIYUqomBC6MgkabS1STVRZzZ3LZXDzk1wNcGGp3igci/2XiAAe7ESrorodCX5hIMBtSkIMFvx0s4tCSufYw2QwXU2m4nkmIpI64Ae+gb8sJIMBu2Dq4NDe7xwqIDeYHx8zrNBbNFhWT0NIGx4GsefYWadpQ6FFnS/XN2hJXLt3pktOAZnnajgmyiEpf8vBEYlW7ExLCm9pq/kmpqEAXj4KTZ61ufy6xDTHL3YIYR9zdHt3up5gEG6GsoQw6LSGJKpCHgGVA2yWe+/1zaxYGkasmFUER/zPck4fcXj6PJpInn1Bk8aGgXaeKhxpeE5DTz8EJpUMzdo7F4qb/4VD0e5E8g0aE0qcmLPB1ee0jQvCCJxAKG/5ml8B7cjmZoG+pDZ5KI22poeuM/TrInlndllor6pAaoea9EJs06NtES5cvwFg0n3qHQ4YtkmBJcPfazki7M+qRwNJNPIE245NuGNtJnaq852idGcfWAby7jk6t+zMTAl4tv8rHMu3l9uqPGXLuvybBDvZny9tnHe36s5mrW7APy0kq0CJyZMbtCGAEYFXIV1q/Mv/jn1lKL05Bxv4TGrYrBs0hst8ft2oBpSXn+k/GxxKooEfYq62lMk71oYwOgtXtTjefFGvUaOofObMorLnHtm324yWSuyTQ4m0saSaaOwHr/I7RYn7x2r1OHpjnh65WGq73R+YodOh1VPVUR8PsTOzcx3cQeJcu3ewlhS+krkBx6IikepYCNeE74Tv1LIgfo9FymMN+p5WkSzs+uHJm4K3Wvne1mAp+P39EsUi66ElKjv8FSCNI80DPKzzeUIV/TQdylAj2cvvOZsq/hRIqFFilV3pfazFe4/iNZRwJzJh8qmE+KWtgd5DB2R4MWsMeTnoeVVSaWLvsKyJw+hobnIDoVuwM5yEaUrcoi0l7EDcosVoUXZYVwTeHTTuNHsA4hzimZmBV6VlZ9f0lFOgiCj+1ZOeEvlwCkvZjMVgUNAVJSTlNawqpZ7TVpN4jEgTGZYdvoQmnkOedDkRHNOFqSfHAz6UXpLOwQ5zEvIgJh6muTI3gfyFAQYM0NsN5kdNQwCEXLo8i+VjWWdUSP+m/HD8mHn5O6eLqJftiibDPeKioOkPY7sdPj3otq6ejmzUt8blu14qYUEmRKuWu15xlI0Yupq0a/ZUInB9y1p7RXWdgPMU8a3EJ36fbJL2fthmu+Peiv7gH66Eu1slZZw96Dqs1zwJXIcswLvXIN3N5gAas+5c4iIpmdIzsblE9ps7A2gle2lGsbVz95kpfGHXDnmqZMHT+w1vZl0pYevZRYayj8+zjHqnpppFFfFhiLfvNiMaDjFvwMLM9gxT1lru0bkrimyxyc/9v83r+iz4EdYCd4xWJeQHAJmAwoH1MQ1ahJq1jHfZ9irON1q+7Y3qnbUtxarZQPTe0+EGxiNRP4q/9u/zrDwRvt4ImT+ytvUHi/Q5LLeEdfz9a+NPhSK/qlJB8e56gfVgdgWfcspfa0/j5rRelgBXeKvt9GHMtCe9zOTaBaPJZ7+9cvJqcALs9x/cwLZDMutcxDWSBnFxRD63mCGFz/3WtSAeo7+3wCX2kJ2Zv6pG24rkYiQj7Qsvlt98zhZzOpYDXOzDtA1VhLilfMEhSu3SneB7z8lTVz7+NuCEA9BcpHUuF2OG3OaqSVCvICssXANGw+ldud2lv7oGijV+3TK0DubighJ8VSxr62t2NZc5Ar6Jp6Io+xmpARpOzr+NX6m6LN4GbmKJ6Qh30hw8TbO2KSC9KnUUzuPirrQSo4KuB+JVXUG0XUEUurh0ss9fRbvt1xRJOtM3z7MCOE5S0cn8ibofCcWhDzTMlKEP4kcU3eeAI2JAPe3qZMjeZ1aBCw4MpYeczrOpK/ci9zKh6HmT6qKu6gm6lUhnHvrcdf3ruVnYstLGtjrgzAi8sWvUj+Atgwej6wMcZqhHqsIYmK5s1MHBR7vQQ5UIL6WNhQKSwoYON8drzSOOrw06NRti/VL4kaD3X4gWdonsexpGLtpjGqOS7sB18a6nW5aotXqe+wk7Tzd+ILOgMsjPYlcBYfx2VQeH/uT0tG1uE573iOtUupioxQYFG/1jFpQ0uw6jZF6hNKbRta94g+ZU08PLSGpvDmokvHrPuLqAllwF9p8FsRJhY/fHcQ4PafEZBMdmyUzl4A8v9XjdjccGxF0Wti6XJVzIbI6bmNKWtYgNKMCLUnW1/GHkc2RelYFX6qiGFWsiSFVD51oCBcP9paZNnQXW8qi+DrYeqpAOHJCLM6l0pE1K8HVT3crx8FfUSMZC6mgNnqBBrmHn5XLldTyjqCL7DFdQ6wAkADjxABf8Il/0QYyuwMRVk63XphZTRm91rmwVsslLzm86HE/UId16LgvfiFyRNeJTD4b2vPrIHYPhMfXqFEhJ/RzHs04M8Jm9wZoWR1Xn4g9FKwH1Jtm7/GqxRm0yNtDnZFMJyUCRdxtUNnEvT5uyW7wfj1sjZTH44apft+wpmE6IuT5y2qjeCSkhQZqbanoL5Jit1Q/qdV9Fqywd+9jqMNicCLpXUnxesVPMlckTeQpIn+gXXlVQR7Qr6lDcLb6LMGt7CFRsB3EF8pf//GAdOw7v3kK/9u4FElIjuNeVflnU90WC4Pt8o7wCTFI1EHqqPowOOq/LCQgSNKKi6B8xT0KIPqDysPWFp6jGj5gJF3C18tao+XyU/xXP0gAESfSVQ84QIjBEsd1aKY3Lb+/wB4IzbodL8hDm4waSPHjSNQ0VhorvDdaovmuUbhi4o30oACqaMFDzfGXsO0tdXkVUDKcTRM1zMxFHVOwRjiVzbhmLIS637pIgEau2Axr6KAXbNUZiHMnWR2Dsrt5ketNobxTdocyguPyuYo7Bel586DzPWspgxuatlaE2PEmObZk+qvjOFeJp8GZhSQL1eirVlIUsVyq5Y9wz0JfXpyu+t0DSJENBGWxgLyvUubvFDt6s/JNAKn8cOep7ig0J6tY9GAZEGX9s556joiEkHP3YWxya5Uv7V7BqT6Y5Eevk2+9jc8LQKVYe1D6Lf74rBmlqKhHNnh9+lo4YF1NsAvNP5vdxIwlK8hYNUGoPFxMJR/2wFOsZmrYimeuGJIU+LcIVZkJEIrPAU/LVQaBjeemWSdC73vH4ddipSFx+1oTl1AycVV3EC8T5lZWOaSfqDeRR0MTYCKaYOVIn7C9wwR4VcaqvC7mHVmp6tYyQb+cGq2gzH/UY6UTDQXNuGgA4+iqCeVXmiC03lHjfchfKzzF7zcbvzAP96B3AqlSNrhx2mQizK1bGNwCANVxUT18bPJXB1M2l013ojF6s2jBHePrxaONvKALHLWqkFBz5AudXFjKSzk+CIi/1dhef2TQyTizx4Qq35yds+/O/emkcQTGFufpn+b7nC164uuGZkIMs97yemxTEu+rYkOdRbrJNAhTsfneebrYMVk61nvCDFnxq3CIagzKzMwte+yjr/9nQoyTgWK0aooXJqrt7UPnLkMW4S+c/IEzqCsOyvmBRUXdIDa2yntYG4JmSN/Dz8TTZ387td/ue2oKZ+JDhDivScjvvM2QLmTxjAXTY+p6Tbtv49QIc4s3NTYd6M0h5q+gKRKGRYo/IcQdMm167ayHnb+vmFEMl+QBkkcb69kvRQhsEK7JU/zhf4SmoI+na/pOhS/+Eyl1mSHi1xdnmwdVqrm5uLX54yS013Y+Kjwaz8ezDE4AegLBt/WDF9hY/C/B+htngv/BghGhaRk/+YgT+NmZP+/rvrCobzC8mZKTQwILa9qkLv00vOQcxkxBYPf5Mbc1xisizJLGZwhji/J1CJaEbpLaK6+U2fHn7wNzMxC0VLHQvyToZ0h0RtpYYN3kAS3ZCUK27sLldGxrLck2ysYVvYi6Da//DeJ7zRHjyXIKlU67ZG9dqe+A0SsAzWCkxUJe2+HPFJRPtMZoPdSBBEJUmXq+7zX/OObYxn3/P2Iw0xxq/7RlCUNK2o0pJyMolxyAVvQIFC30prS6p9tvkjj+a1lschfzMM/dA1QW09WG8tmFCTxWWSJFUv3/n0oGYZXMBLEb6MSUsHcOER0ZYEMhwXohnZEVkxFIzYJRTz5HvFtJ+rELz7kz1T6o/cvt+XUBd4Oty6tgrjyLc5OPqo+jECkoK8fYHqu7aFPPql3RgpJjca+vYz2barVSBriN3GeOgduOHTuHDm0XLrT/DaAAgZK4p8x4cuU/65tRKNOEFZpiYO85CDL5c0b0M/6i+oeedQZ0rLEaVrvXzDwdwFWL25ZEsCJCCARsPUgPP58SAWwMg27J/BM8rRpQYAh13yB13yOfJ50SPXRMbXPsEaks0UYHDsppvwjzv9sm3G6hWJ6GLbMP578GJbWxP/N63euvTSW6+EupNQr0lB5Kz8fntpA7nfPl9NAnt+y0yWfQ0xpDK3PQ2hsejeUU/DreUtVqvyFTSESC6ZTnlgrRHSUrksoKdIq+Aw+cASxHLDitTDk5u8bXr4YaOOFG0q67nW2qrMc8LdcXVgoB55PfR4aRDAL51Li72LRmpsLHy1XKOOMR2MSYExM14SsHPvXy3Q2nZDpY+Etqz0bDGQrGExACZdtULuKmnofGVK0Uumbf2lCtrzvR9BK6j/wuB7csgDm3p/JWdkTTb5TP/SQnb4DGoIUyng9q5tgr/xlpJ80O4SGdhEPGnSl7ro/+Esuiyic9tQgBpYvy8w9GyIhf7DX+OnYNw5MxBbEgH9SxopQ/0C547F/NGZWgZMTXXczGNwuIpwdKB5EnahP6kcGAo9lxJKIdyz3YDxpY8QVbUlNDoxIKKnkoHgCo1PzWS+fTSUxDB5nTQowZJbUxtBGB+vNj4Uojz/EkoNvPlWfIiRruDH8+fNvImjGdpIYgme/y056hoAUSc63JrWGUQFsMvLwfsPKx/V+4Z2rV2j5mcFPv8MuXtHlDf5lrcE+Kk9aURs0GAsMD3MOkKR3cwW98vOImmjtiQQ5D2NbDaTuLs9RKW6470VhVjFKT6gYHqXGYcsDMqA9NlYqFXF4mtaz0SRO7LJI1mbjeu+9+N+XvvpY2khl39HiC8vvSilY9xZuj5ZNskYWxAFeSIfOe0odIW6zQ0nk1eRJDgDv/tWAY3jatZUQJaMg5uSY7t+fXkpcGxNCYdQ4+UpOLyQLjwImGOJktIwjRnOWuV8RQQ5enxOBnkiKTRYX4rPlMZqfjtJc/vlnxKJhUSbozkqMbZjBa/nR33Tvo0gT3N7qdO9asu9nQ4QWHXh3NuyQall5O2JFAx1iObN+36EBKV991pJFOnAcMDAtXNV+U23g6P3BtLLXeB5Scb43+OiZ/rYXnc8A5CrAqccdMGBjMbKOYMaeRSAxfVO7ClI4mWz8DJtP2K9LNQpvyIlXjEG2NSNnW/8p73v6jPSAothhN/MpFnnEhTcCB5jK04aXzEmFv+HiLaP/Dm5JiUCf/0eAmAsFNaGu7miST0i3brOCvh4JNfyumzMuB9uFZrXkc+LrFAJIcjxsYLxp1fDjBtxlE2RtTLisV39aOSDer0eLVqcoBk99G6UkFmNjwtDR7hl5+xO9SfLoX0Y1CSm7WItuXMA9F7qOd5SdL6gqKR/bUQmY6ZR3t3/kxfx8l2f12BuhtCciYqNUhRVBSntM+Nd48QXAEiqXtt7SStwCSSDwHpaFbcUdTITjusE0+dG5GqTlrFh92g8fjXeeCDmnvJT2LuGVWcqKIYAQOLGxomaL6PGRbDzjIGiTPP5CghP+Ql2bqUsKUuFy116JG8/izfpjfirdaaZgmVL5DZvm1Wpq2lgO0Y7tAo5R8gVrBN0Zgky3o/uTdP3w5YM5sVCOXr9L3yXxkXccIpFS7lh1NdC93/ltMnD6LcbcvrxKFtSa9C3GLzrneaqdZ+YxUo3KIBRzmzfpt9gw5HXA9h5rObvmqw7LZIbda1h31NRYq002BKcxC54G+BtoG3IWOWZnwjkuIY5MpvOYckHl5MHNVYSobSLW/aLphndKVcyPGC+k0K6qfgiqzbV5OMhawFIBuHk/rlDn+gqrvXtctwFXquVzQUtvq9B3rfpijTf6RA10pjP4ds50sjOQ2X98ZGzmwC+1FFTzaXq3PGF3I7okQFb4xeUzauXyomxc51H60/sVRVgQj7hDAkf4rdZQ+R+PbEn3j2LClQ+D4bPoLUri2B9uD+pzzXQ1lEIkPYWynsNDHVilsmDRfXnSks8nmledlZbfBaz9TMjU/neVLR+8hse7nCcZFvYl8j+MLIO1SBaEMq0isvys4iOpvdkCbtuPzy1fTaorLSIqrvkAp1QhbrwzUT1SexgIcDdRltwALYHib9NcNdF66FcZkXjJ1PUd2SKpKHJgWRnF145JYJy8HACtqe1QIyfzKAaLp5/OkLfn1b5JtMJuA02rE8S2f6UpY6XZgsQpp23I5W5hKZSb3ZSXUUO26MRgujDoZjsOvdoXV+YCrg/ym5izSdye3sPurKH9wl3jeEIprN2cDUleNPDWNogiOIO0dq6ooO7IYN0rNxJT0x7a3aI4XfgjTtfIhzDwJWUWvV15TOLVZzFOxP7wQAKRA3vkiAB8z0UMLjuWQl2Y1ae0SDJRZ/dZFe+5Z36zImDEyoqGf2g3aiPgT22yCPj7IDxJEUiC27JWfmqhgSyu59XqlMlCvDNDediTJBsdQQ5hXwspL5oHL/FIMJcvYI87SVh7TBxYpq0owDd704VbrWYeDLQtP7BKWquxNh4ad0JiEXVhhD0Fe45fXsWYMQDqvMblAT1ARzAljtoUxyX59jS5rspk2GldErCnt89WSTDi2vK1xaQgw6KBD+eaGGiY8rAkooX8byR+MIJcpaMbHqEWo+iQ2XGDjUpV+HDXmbzkhuwdHYtbc58sWiIKTcJXVWdEHyKG9cpgaVtYVS0x5WV6p0n5ejE0VJ/GTAUJU517ygaJSPXquWB+vZohK1ITrutIL4wTCU3iQWpjp9baX+Vixomh6jNazDov7vGbx9Y8ALUbt/cjEYEkjxJZJ60XUINXYx7LK/GFf6JVN2GnOFskvvuX+u2EGA9bu7r5NOE4V1iT5JVFTRkwSwLE+WDpBNzpmCTVy3UJIyiGWwvcqFk3OnTg1k/5kkJsWQKWD3X/ioQheHCPtGdcr7MB4dwhDr5JB9sQ5VA36n8o8eoHqn2KbkH07ARKYnKioRDINI9Hw+9HheV17iiKkVD4bxGY4GY5uPXi0mkWOmGVb1bhzhR41KbARIW2nPAuNK3ScSB72b6nExNOIr8n6yoIpC7rLxuiN1cTlenKhLFOQJO+tkaY6hbjEQ7pvH1vh2zdx77zS2gi39lOtOKduZyncC2C0v/DFXSw6BCjPgAj486lPSfSEoao8tjkv0aVi4TaYjAX6Z3HpoXpv3k8r+za7wzJDmF3UyRR8MZnK2a3s9Lfu6YAH5mLthxb6LNbz5hoTQQE6RRO8UzirWxY6OwcDGzoEwsgkB/26vNnqS6kcSuzw9JHFFNCdLdbHMNBJP1nm5zz3ZgiXCjDTb5xznQDfqggI4wA7vlxq+2M7CrwYRkO5Su8OZY28K7TfP13BN2bi4v59ovR9VdtBAtTReMrTdUzv00n7ZpRqitkprfdgeXAacNqtbpXBrCACAARpFXdYYtmcV6ghAsx/VeiWQa5c3426+XvNAa5cN+NpvTy2NtjetD0gPy8BUh3asa5dekPHj57fuTHMwfGfO6Nu8Y6C7IlT5dqgeX32fKZFJgE/sAw0OZnB2hLfvbOBeZwDIpesSzZlLC0Ri//0DkB6VtQlXWLKhWw53q15DsNrJRT4zCxqwzJG+fKtO3RkpToR/TzIjju2Q6z6GgSFWjeBvjPU3aZ18lt4PPlLhxBoKj9YCF8gygFMUoG3sA8UWMT6d3lyxwTfW36H3fxZ3H1vz7uZzYhQ5ChOQtnwTXAuPb891oI66sVXkD/wL0XQSsLvtzLPCQCSbVgNpyplWTpl/WV54eT4uDibmAhojqtNoi/XLtz0a2zv3sEO4Gig+FHibMEmtg7ZYe9ECTMD7aI2+qouvzvnmzkGCxYn8Y57EgEA6SBaPS8J5fkPT5OBWM0Sy8HowhcoQGceHzJ77F2EUm0sBZ9ZcAu50GPXktFJz0RQokOiext9YJwvzbtl+TJBRr6flyDy6eadV2cfJufmqMgWsqVBD0XnObhijTUe2tKJYIIdLaQwtHh9kjoNYJlELNdG1z4scCMfV0GqS5POmHDPcR3+rZkp7n/+yPUVZzRtRotML+2Xx+ffwpmfLdaktD9BrSy5HKawYl/7cBdrzn6pJ3PgKkwlse12ajh+tgqe7LB7cn/KuKs2+kN/0WJCQdCk7tV8xiyKcdnUb9BU/iA7jhwqKVbiAwgM0WHBn0pHVk9uCjMIoDEcwZhaEDFKTLfdmhZtJMSA1dxKh1w2UyuuldRYRfz5GN1GAPKcfBGr0BJwd/Uz+0ij31n+FkOkQSRVC38Fu77il/aD0DdDc79dKME5zK3Pdg1iF6qifBREd3eeMMdiiJNN/4pQqeNr48QRWuLsM3wDiN9hgUJwj+9yZz2RF/0J8P3wubtBQ0V0nSOL3WwP8Jqa1kzXPPGZ8tU/1XPZJkp15Ur0mne1Ug8wp6zHYp4lodvrNWmfp7wtR0PnpZlgyysHjEy7tWiDwAajJlgcxCr+X3mN91/v2zTPNKT0qMy1Eck+VNvOhoc0ClEBCN32VJEB2xa3l54HnjFxo3vQCAsHV1gDmLgK83gvJOSw0BckZQAJ43VskO8icIanNBJ/4jmN5fA+j4lHdVZlu2vEPsipC0ksEiPZU17YIDGjYmA8X+AALFoukDJN/CLxQxExcUgL0wLeiDN4ZFURnXXjhKiyYV4qI+WxXYN4nqY7wwW2XxT/yZJZDEsDOC4lrSPpp6YvjrBt8Nek4OZXfna1BMb+CtWxI4gLYCcjK4cGkHrfb9Dw9x2/d4DJoXetJe2H06nXsCR4woC7TravoY+yaMUsNsyDborBrZPfX0fW3wH/DElhEMQ3YHdBL6PjJoMyN/Z+ZOwzhcDXHDuII/JJ3DcFUqOTKfiiIuNq9dBrvnWDP1aI3WcbDnCcbApQhTc9mXd41RFdtT8l18WSGZqLli2pscGcacs8qdVziCpH5+bCw7Ni1PL4LSIrdG+37oBwwwIK2XCxOUobVBL3CgOUQ21SlUxnbBXu6m+4LnG1IuP62mL9qLbDs8zqbiwlKkiR/0GsqidADSM7qEDKnI97H79wffJ1eVrBFo/he6+rkty9gRo/TD1Wfj5YSgw7z+BFqHQtBKw4ZgMVnWKqJwIJmn78Gwi1xW6W9V5ideTv4hv65cq7JMMF0ZPJIe/OkoDi8lrFXrLzCn9YKYx7QdW0zBj0OUon5EuAEptz4QbN2aQL6La2Z3MI4mwRiW6kf+90MAKQzlajE+gJby8oEexSunNVQtZv97S4FiXLWtWebtVmIF2WXHnk1pRO0D/SGs7oHwmCPHsDUOkbnE61EZi4hB4x1xIqlC0/Ol+hBA1Zpdv96slDNTdx3h94dxVLIIBLO9c4aspDLw68IcGAeFg54tOjPMSjMM1Q0k5E3HD123Q2RL5Wvmah89+381v/OAd5fSsw6x+WKJYjgP7ZYQHmJDhRlGhOCe4KdkVc6thazpWj2TLRts3UWdZNJBXbwXr5r7td2WJf+aPQd4OavYtYojd3MvuGMv3qLxFk9FTvrvKzG42E7HqgML+3LFDIT0wglXjjDMNJ6EHHC4yCi33MEdCVTQmH2MUcDYzoqPJAjGDJC18YZYxJEXR7VuULmuOWG1WBczJJ94SnUUnQYy3LlL7mGt8mAvsJym/5mPrnkZ8GQsldaAqjBK9qSkOY5UUEDSMzpd19EzZ351pAwJrB6JWnalTK6Khhd0kbpVHHlNZrSKgAykzSS0WRy3h9LAIROlbkKrer9QaGW27T5IFgRsHvz3tB3lf6vBV8n2EdGaEA58aW73//I34pGtukQjZ5g33tAjwbdBK5xjUTLilm1+PJp9Gqq3NEcHIdifly1BxylAyLC6i32L7ySqZvU3GiIExhYky8QH3c81w6JzVqujjFaOL/vNbblogBojDmH4VH5qKNMMJdOTZbwjBG7eksnR2YJWQbf3sUpxTGhVKMueqzXyf2/pH2QZ+HuJQPZmYN5Eh0BfLK+tp3Z4u7Ha+jmNOPfM/mo3t6pin3pbF16fM5igJ5pSZbnDXYkzd95NvACrA/eGW1JADQ8LWZ7PWjZvv1nHNQlQeQ4WgkJd4viWvoktbM8pP5pAi8uzycqYVNTiT/Q6IJHtrkeD+oBwkDaQz9veQPIEHDj3cBNMT7+DSIA9jmdm6ElVcCr93wCUFk61zdVfHcHLp5X6FvC54XxFhvo1fLB5eVAFfqyKthncvXtZfBL/g/BgU+f5EHWErQyioftep3aYVnTix4qbpUdGarUX5JZpzQSi9alI4NAhjeTJxjAe6jwkTtbSMajdH51up+2+MNC7rHi6uNCPhucw1NL4szZ7qUnCHQGNG8qZLFuGnkg+sTOuyzwTrRXX9KhEOHPEShw+Llo2Ei8kIa57bnqJQGNEvhdITpKjy9nCW0T2SuWkEOKz4+PuDKqW0mbQGj00owA0gAnrdc349okTUXUMpwzdHp6KeetHetEc4nIcXE4Jcz3EDyE6OWLiyPEqp1Ben3yODFXEfaNu2qvfgCnWkoIhiPNin4PTnHMm+q/BwCsZcLdHgQbxQ8CV1XwIIsLv8RFpU2UYf/kd4VsukEQsiOI9P7aRis47b6ZVpa10QoiMXzXMeKn+rn9SyUiTWeXc8h5Sb8c2DwhlPaMkPG61lLn0vIkE/Nvj0Ca+WmCdRWwKOGOSnmBjlORgPuokLcMPxEFzQ+Npt8aWJK7Dm/wfH4wRVS2kxewXivkzxb7DIUFJyDadmRP8eduVVjKxJ6O4dsULdQK11+nk8yy6m9CLIj1jXYxuCIOtN/bQpH22yKnqLNZWnkcxLM15bOIL5vF/d7PSSeIuVgV2cSLat4Q+akaXrsdloOw4bNG/awXP/F8IFWULAHCKBijqZdz7On6/pWqtct0aIFliVOWkqJMGAAIYvfK6bBAlmgUt4Wi8GhLb0ivqD9Sa2fvGrJ6TXsh0Z1C/D3DFy9JWCM14GsXcIrpNhWiMf4ZvG5xGnYkEIUo36iwF2tSvnBYutI2KhRZpxvsxQm8su3gnn7fUD1hkJ2W0393/O60ReKJaEBlIzks8TqDiy1PxIUlipE1GFpsPzu0/yg3dzoPacQtA+UFEvWzyIKocZtlPp0FfCEYPR+XdgjA3VXe081EgcLIWsYCfN0BiEWDpcIySG13VBmrpdh7MxAgadOiJ3QVBj/7rrYlXsnSUwkrDfqz18l8atAHD6RUmWFeEPVKkjDgYDdk/Up7eBewyPi2tRO0boT1e7wP7YOR7ktqOBIweqlh+JyPYpjOQYHq/RLSF0+JgVv5wW74CUwlx71cyBaAi+G51bIMr63YyzrlooZ2IM9IjJJWO2Rx1Rh0DJ34bbTEge/QjuIU40MTVWumflymgFX7wyrxHJdpuZfLb5DqL6NdWmhbuTudHaAoAZrxHhuCqm77v0EZSEJz8DLxt9FKEs5IFmUh/iM/S9jBsC3T7izR0XIAuzYaYhm+IfS+B/fuRGxiMHwIVxskgwfz23xwD4pT7QO86U2SwNFkBir9WTc+AsbiMe0q2SSbN1qz/0FlpYKWG3ZfVpTp0PV/Krr9FRXzvSp9jYl5DJdcuPZ4QMYuafyR/PjA1rTAJHPHeOZpEJpNPpanj7aWsCh3RB+udnsBWgjwel+MTmCpl4mV/CYHiZfuAa3YddKAkFynZDvYwKmvxvPAjBySyif4UL0YY1rtsDX55kv0LIIShCNg7+PotdlqJjox2DgzFBCdRVDoP6X0ah6cU8gRvDVCriC2WnykJ3ZNmrh0JaZRWAMKbwB0VqRhLqckMxDUilAFIYSbcP130cuVhL9TJonWDyc282kaKFgQR47sMu3B7dzu4uJEpe9E8N1J9Ih8EgZZSsxCMAbnZML00QNpU5tXp6NKBXSmWdpfJ8ge1IFermIG6mYMDZMdH/Wf+6Gn9UOev233AU721KpPPZWAQ87WKeR8bjR6/eMpevwHh3/iwnmJnlWpAWFdZ5F05tu5kYYPkM61SpAwPI5QoXv1HeYiAS4kDjfC90Auec1lTuVBhU7/LvJCRQjkNadG9qkkoaizEmHNidZQSZEDInUS1bXLC/88+kvHr3W9+DgreMxjGqfuZEMO7Ks4VP/lVcadoy99HLKwdEdxZruVFe4tOfLc0+OncW6t/Ma0aAYq6XV2cSKlVsI0uwT7qnpok+1O9hB44hU/vbm8x8d3q3yyM3N806z1A3Q504T0yVXObp2FKk0WKG+5EnR85hTc26gV6faQoCKreRjOz8arcsOWV3tOE0okVclb8OlQV9rcVWLfqd7UXKhtOqGet35MkEBYfoO1Oj8Pyw2X1Q+TwDib2QpXmffE4O+fTWhN8tPDZ7GqTV2tM4aEVRMBcRHYcCDVLKsI67SKUPNn6XQLXW6AJHg4BOGhkzpxnemFcj9OGYBN7+OU73kMfD+G2UkNV8guQ3LOrvzGjN9LT6zHuwU9np8TO9RgJr3X3CVNnmG9M+6maDdi2EWwHwESwNWhrSrZbUt58iDruLJ2XYFJukrOKtGcF++nBhjM9psce48S896DNaxwPPYeDNdkEvEbLBZaRydB2h7nyw+ta+sEq86T1bA3w14iIcE4HT9f14APu71MAUXqFBFnrCe9C57q3QNlGs810g+1Zo9M5ePOyDk6DusHh3+p6DqrI0LjFQ2i3vE/PaHoS2GuB8+WYGx7HKyeHfd7lhEWiB3mLLQ8AQcAC2KH6xkzqSLNaZAg6DdkiXYrWZRE61rXUwIjE7qziS6qLh6P7sp2tEDc14C/kC+JdMH1vXlp85BOq2QTFKatAO4msSb/LsHx7Hga2AKugMWCXWrVJ/7Y9IxC2S73znfQ7SydMPx/luF0aUDyP6OEdfQ/CYxmfZSJWhsgIFa2jOWqv2RQw+vcNOo/cp9ojZqZtCMiwYyIJaSyGjjirnHz6k7FRXflab7ZESo+R/m/kKoIRE8c6M+c6T5nE6EaChgY++79sn2+NBTeyVErdArK038/i9Lbv8tAhxt00EewqBot/Vqs21Ezs3fWueDJT24Fj3kjR0E7EMtFq2eNQdDO1xnQtHU+BUzWWL9ObsZs495fZxaOae5yOqunbGpekyZ3oosPJuA1hV8mPzCkwnIVQ9BEYcD81ayq4q/y+Z7CMUsc4dJpbSLhnM52ZrsYfmNg33lbDTJx2/asy9nXhc5E7Hb55ve8Q/1R3iuGKTKa7pRAIkPFtpEZd1Hao50XfNI2JvwoMkxIoUHUFNla0DYTN3Dh1ZSdrUn2PJfXJ+rosbdNibn+rq7wQTX23sxJ4xAyB4PJvtXX7z+FIvqDGUuThgrjxOFHXPY5kHFNNzCP/1dIpJ1b8VqCQN2CVU0GdWGqrm0jm4kQQ7wDIZibmkkknmwpfBOl++MeGST8zO5c7QUNdMoXanRZv7MVt2ju16AOtsiYBpJ9vaNoqOn7644s87kfVJF2eCkdYdxW+piVcHg2KRZOr5m0gmxroAtDWJWj/1t3sZIOnmyHdS4d9npgjQaDR2IfPoBN83v6eOFc8GXwqhOjUwUvealYqE9wEaXO90Lu2M9Aipjn2HPgjOZvhS1i7Z0EyXLaVP9+Z3400QRBTKMOgoMVKT+GTu938OWMBvQKFfX8Se1CANukQoT2Mavm2fW/J5EJqM6u/HTDu6tYhPbXaeOmDtWBAu0YjgTUKBS5ydG3FHuGurEKI83oIh1ZwB+foo4lTzL1QS+BDCy0gzWwuEntTJEOmL0/qt2EiJaWXD+0YAfG3fyoYjw15P/SUG75quTkbNonzLa6hRNrRSCC/QUsS6FcD60iFjxQI9l5eDD9heRcDLjJEMV9ZcLwnj+awZ8ObooIe+cozYiI5DVVHWrQ3x676h4WBNewWdfXTLaV4kXlv1OoKQC76msnqb/deXF++l8DBW3yHt+nDgJW+R6tcnhoh7mQHpKGT5BTFQVReW85t1It355Z2Rw6LIuu8EUTyHuJ/Byxs5sPFINxLgLUQKcQaVJ4U4fckd0Hf/3I3C/dmzDfrJxLg1DuS6DnhDhIijP3G2tDze8Jc1zZ5WLr7Wzj5zVDfGlWzcFWnjOa8Y6H07K5In9ikcJtLLT3KO2kbvrrQZNM9aaEo9ef3fKYJOo20Gnj0x8Bqgf8qMo+b0tZjaO2Wq4vHkJP2NMMzQO80qkvzXh/Ca62pXlqK6SlkOQt86+aMUBnVyZlCqOj3Z1rfvjfqgIX6ba7SPEjigXplTor+gE1PG8IFeF8E60C3Dhu3bTZgc41iLE9qRuQyE6VR05tOBNwrrqro8UkbFpPhYh4kUmUe5RNxz9G62LeJXNKUFP6TFS+5JjIH1NnTvNqVnuRg/ezJpcLu6qulpDHSxSBmLkqw9SWiQ1uycNII/vJCKUZCwQbpY+Ec3abmO1M38KgHHIstwiULCv3vVk8jkhJKxGsf+bmuF7AQCUvpvr7MtS5lbbHWQI5w6xx0IahZ/vtmsKnD/pSi7epJmETED7pCMwo6jgfTmct6qVZR33/skh4hLe82XCZIfkq1xZ22pMMaSNZ9x8CKaLCwr3CjTzxS26QB7Z9CgrfP9b8Ko63y8OJt+PcT5OB+YkaaOYZpy3VywIIvlb2GVl9Kc9i4O6JLJID+SluvfmFfV5R+vFWCQM1IwqpLhEYEfc9LfIAMPGDK1IDUUGaI26M54sMEquDstGkN43wq0tpb5QDMw21KpFybr74NTFTeAUaI7gS5AEqFgng6vJfqrSmqG9+lOY2COHLSoj81ANCTDHQijwnYm6gJzFUbJNGYfKemPtsZwyBrDfJs/rMhjcOQkO/MAPKTFl5ZWn2+0xwQ6lciQAt6xOiOCTZBlTvfgnPi7Fu1YlzO3ZjNkqRglQk4N/6iAELPJI6PcBQfai55TtWdoIN/8k01GMRQsCjWCH9pGVksqj86HnAhII4n3oerbC1Fh3xINFWPOqb9F936YZCJ69twsCj1eGpjGCnWolW+fYqLSTNc/CDxymuNL7VGN3zNp9I5F+zQC1mSBUsoQR4u/TqZOnMwIAX5XFteL6CnCiQl1vBM7vQAqUEMtAmlKnjoVYpHKyC6ZGTup1EqSRsHQOzNU0RULbHSu0OQeavDmSWW8+DXJR/9RtdXUQ38N6tC5huvWRk+8FwF7owDC4kd/OcWuFEJHHEX3+2BNuBcZh8w6lbZxotYrYwADTBoDSx+z8wnVYYmJZoJFUGhm2n2F76bf/JcmnZ8JoEOWSlxQSc9NqoX3XaP3kHa/HVxWIoxlkU6qHvguVtcZhh/oc+KroHyvkJkLQomIQv/9PDj9wjttWnU1hWPPSmg5uCrhidCbtDyX3C40C1K5CijGp/rsbvndfLOAao6o0tGErkPMoFUzIIKPoEGkWHEhYDuj9OYJjPAMNUD+ZOXYlJE/O0Rl5KupSzyDjSvL9Eeuu3ragByDp8FuDiNPqLKAMV5UopC7Mla3EME2Cn5oz9I4bHw4/D0BCdRqGIS7MDf4ukjarkMZgzbk9VZaLaSp6aQwqtrXiiTwIMTOxKDuTWmLx12bxqtHdothOTtGR//i2t2SAqmLLbQZYQ3YJ/UDxhR1NdZOcWnzaw4hrzyy3BcoclSjVhr3kBRrBd4d6/t3Pt0WlMo6+uqejMKL9/l0UPgZw540MCC9nfBkHgTLVtpodvUaHYdhxHPCPzBp7Uf3kil+521NXO/fRM1Nd6PLoDGvhPPY10E17HVCl6kIx0wb20qz0xJy1gSbnBAm4RSu5tt/ZLMxxCRGkn4i+Nowu1ob0J9YtCqNP13L7rHoEFx+xLuUJbD0Hjh1CL1LiLzuU6ZOrrtp3RgTao7rFf4zSrPElEA786S4LpD6Wr6+iGDyfHL3BrsavExLUyS1LBbM50MQEznIZxgpeSrtr+CFE3txOYycwLsyoIoILomdOi2lLsylFQ3T1u0IufUe3ZbIu3V48Yd0Rl0LTsxkdMqU2ku8CfnI3XPo6pH/h/C6aMJngM9biMgta3ukSkKcbJkryv8tDuCIv8toApaUrZMMkkHPymLT9Ma6dkL3HEv4rJCxGz7ZZgP+CLBVQCps+BQ9lSBk7DJNBoD8hKCKg7g1P1Xx8Nvp+CoseTwD92XFvDyoBz1ddZe5XuROoSR5BIg8r6HuD8AaaZMJ9V1Ayv0kD5lLxK1mZuMJe6Mygw765+BGA8jJLbq3sxqF8QHnCETaku6PW4it8yMpWSaI2W9fH0g3wkVy1FE3C3vryqfoNNj9L94SSoA/oqrKxTo20REdWk+/yA3ThrZuCfRg866iFfaFC+scsY9RRN3ShHRkRq1Wr1Jw6q59g4gY46iH1ufA9vbQPj9u18zcp6VnbfUOG9L4qa0HTPBnLoi2GvLk38kfhSKTG12qCIwpTngW9I3BNpw8PeOb0W1VxpmkfUIzMp8PxtE5pMVE+ielsO2cuhAsAaNnhyFg/y2NdOc0TBLrNxIBF3p+k8zW/gSxsp5d/3J33YeBJLADtGAkY2fRaNGzjNGXtJPHWym3qWt3TKsrwcSs/LbpqoLe2RrWYjluWag/t6C20VqUIH2YS8ZI3MC0bGPrqmjBqct4qG3tb4xrhivfT9fV9Rdqt7K6L4VcjJ4UlYjF3cIADeupmKUynzSecwGMhH59jtdcRPOuxFmsdrxvFRvP6atn7YPumzhi2IC+13RtLfRf9hympE9jYc9dbMOqfHpU1t5HtMrhaY2reN6IzlnydOERHhurGNw+qGKFGIlv1Eg5mHxCvcbmRR+sEfidMD73yND5Dx4eE4axlAbKWjH+rhymu5FiQnIJyWeJO8dwoW+Yc0lwz8dPPIkJMGfNe1fWDv5YJzVIv34GnX47bS5CD1UQC6ZcWSXfmuD94gMZ12M66Ow1xmNBDnGB34QjsmP/JfkewbDZjIARaoKhYeVia3VJHrrvfV90RhtVv9hNUZrL66DOOCu4xGOKWYchyU2LFt3K+qoPE6Xjueqn5LJT0OMOZb2ST6ggnoX8EMZWIbuOSvg4M9mHpz04DA+COiF4pkHHf3MA1FQYUxW0E1jIPYlrR+DuX+nAMpIBcN0d5P02UkBiQ/UImDWaEIiXlniZemvCSOoaX0VG16Px1ZPQjly6CSWlYYCLQkyn4bMzgqGCcfYXhgCpO6+x3bWs3b2WCbOYhrgUoks4v79sDJNuvLGwYqapfBK+t+Ux9NIes98a0+ulcdTYvhnAIxWy+Oa5tgCxN3FNApEGBgMYZS53INpzpmfqC4Sy4hhJnpt6fB0JGCb7u0KYeKgybQj2zZi502jN70cbajuPGwlq0AmmjgDwDfCDk9AFYR2DGiwLgqsfhpY6I4qE/1jIOZArK61krSxMqE5jnM3IgXZKhdDDq4rGNBtTVg/rhsAzTLFCX1FPT3mQIaYA2WARBA+owaYVfLS9WB7KEoj3z8utrC+aCmhjr64/q35bBuBicnhvM4pa3CjIKt4yn8NdH9yGUPtM/qedTxH1yZMSuoG0X8Wm5DN98BBz/8GU1WwW2MPwqwCVLUZyMBz2v6wtiayCDLJIXp7NOdZEBpgyT3nLnEoVUpZP+nELBro//lSHB48yAKL/0XDn3ta0oa14IMHWMZcnIzypb3scq4w7Zcifdpaijkv5gwMWMLkrykaoSapTzdWD13acsvC0dTonMtIyfpn+2cjl666dhCqISW2qIr+o0OsJTpWZZpf6khWQxVFGdfhNe1fvJav67BK9rJ3J6va21nrPV01LzZWf7uqtv9gl+aTlxwCiZ/tEQRV/XKNvtSQvmTIs4teHrzG2A4o002PWZ26MR7SaHqY5rnDg4HadZ0wS+u+PrLmKAH3ihCq/L/RNLKgCTgEqG992pCr1kUanZROf15sWi6Lr5jTDa2LKW6CjVKGj9sq+N3a+XcaGIkL+8N1DGIItli170U98x3GhYujDGRuzF910yl/NUPf1PWad10cYfzEENVTzfcVRYZt5Rzo4P8xdjM9qC9jaXULLfUZOWMZa1J+Nu6Jd7vHPcuRgtcJckFjv9I8ypMMcbXJEy5A13skQ8SCtae9jUi+JOxnPZjjfI3BD7eRnmp7ENfyJn6eKNjBuhfyZ7HQeQHYpytnOEL0MR1DbbUpl66FPIeBN9Ww0/quo4ergUzui3kbslKX5CjqSmddkbS49X1obNHHSpNHmkdknVp37gvQfgbbSk6eujzja75uX3ODlL5ql17knNcJYDR5Gb6XaEdORwAaWdmaqE7KU6HB5lwfjCosXNufnqLI2POD7CNhc+poSJXxqAws6golw4IDFzkk6Aizsvp5+WbNNWa0cQTRnTU7JK6+FVTfTJdsOPV0/8xDZ1lx74Ac7z511cwrSvjqpaoxTx6AHAbmWdONTri6JlXe81qL69kmvoEAGHYA4Cku+G117gBxrNE1Ix8lYpyoM/CwdVeT/ydLYi2izi6UYEa/ys27+pEx+TWLuud4xP1RQSRqOBQQxmr4dj4xkcEi5lqh1n9+H9cOaGpd5lB65eqe4i59YclRnm/tsbq2O+s77QUk9Tdv53rm7ZRb4Vvwsz6MR/pyqWgLepQDgWl11FCAI+4MBMY8X92lvUa0d5FtYwY7crevTzQhp746jg/U8b9WF1KJKybl1yVZjTsf2UCqvc/GQL9qPkTGOt4+agyLKhJEtfQXZL8YF5koQosG5Wn/yAQFMPwg5W9x2uGsYvQQ5EVX0x7iyKISx+RyS0fFK4qjiSG9sh8CuKXjYphT33wH9LraQuXFESxIYFOk+E3l0HtKLW4S68cjLJOncQGP2EcgYiJcFoS7+8rDw9CiSEf3IeG75FxvCKt3lw5gkzgr0ITbXmabVN8SSHoM1+54LsbJX93ALlSrQTfap2a9mLV231LkYzvd63malCZ7t8IsfcYZShHJwuov2p/i7B1fBRQtrj/dHds34wPXQqE1nZFNk73jFk6+PJBaYchhQecHTPMids6HLNfaKE6KAUw9QyrniYp+F+wX/CGr3I8tE5cQ3bEk4bViddLpjrNkVdEFx6MhaaFF0Uhqm+kpJXDxZHRfWJpvKAkauhtOsk8MbIApWJ0I//GCg1sM4X7sN2I/a9ITl5Vh5CPdk1/CDAhaxnr+jSw3mRsomxKYH5pK1G6helk1rEPYZ2UsLmdJy8muAtFhe55lPVOMpMsqcVruy/uLoMmgEXiMtD7OhOT2Kg/5qfaq4I8WX4wEiOQ55jGQPO1/V76u6zGzcoFTfvQnycnCgf/vYML3pGwVxcuI4YC3WtPdrrTW8WRgfaDbvUY4bqnfkw4HQKzXD9+EMC9NtD57yr4ySHcddQ/XFGb/p5HbCSTtvSjjRVIKXasLG4j1M7lRi9x57R5i3yUUuuLSh5/CYloiyKvjLZoY3mwlukYXcgcb1RMhb5kQYG8Gi7bzNXkJtxxnvd/43nmX3WwaI6u11dmgK9drfHuLhWs3c8NjRwLL5Vz2bpahm9iDFrCxBiWgqA8n3ASjfJIPRDSPHOYlpFd8RBb8rMfmY34jwMIZGBNxvk7a8y0phCBnN0thcpDHYEkjC6QaTveY0y6C/XdTMr4yd7DJZd4nmRhiOqY/B0dkadFSgfiBJj0Hj7j9ybdhCkgOIwQQqTrhtkpV6+t+rDwQ+bi1SSQf6ud6z/jX5KJXyLs5CZoFoJ218MiFhw09r65InJVY8d4HtDr1k9mTb2POynF9m44GGI7ujovZ4+iJUkfDegkkVoXPEasMwwsWaUQa8AmTYop1a8qKFmTrDb4U1/CmimI27kuFt94WTeclALX8P2w+VwDkQNi/92AGLk5jcuvhD2B2Ylkim/X+RvwrtsL5o0fCzJgxXt3VQYNEHmjlGk/QTtqTU/Tf2sFU1b5u3i7Hyiep0ahVj2NzeHbLnV16c4f6SWjoHIYV0bViNN1k202XBFtEA5HH79/A7bddDh3Mj5kQyq6h1wsOhim2z4k1nG3DlikYCQilYHLZFv/mOhNulbANCocgUoNWetHtAvB29QtB8rlHlOM/FrK9omzz0rKuXp2FdF4wwQdn6RVkSqTzO7j+gc7u7ykita89TC8nKJhcSrtvOZfrWWqDG5CrfNUdtkxTy4q+IpMW+mCvWm2w1z+fsMy+02P9OFJQjXpoju4BAtlfgVZcCguc2FTHeVbE2NY5gHb4l2H7VFXC9pVDiMNQMeCAJblbvGdTpDgsty7BIR4F+kkkOjIXcKahhqfR2YgMl78v8seWl95G8/KGJtfMx7cdSXCCNchtm8+LvBhJFg4rVZhNxmOQsQXYsi5n/PZoJtefzJNDNmmk75sp8APe801ft/Pko/zDX2NjAvdEh0AKt79ihOZDtJHkzjDQiXzI4gEziYIOtSTd1A6hJiRiQmt2VNSq1XnDKuhe4RdYcdH0FH4tQLa45IblvKTYplOk4uIa+J3PzghOmJiUJnirRLcDSPFcN7vSc2jNEbmATrgNS90VCkX6PUNu7moXxslKbmiy6U1PGsN95NYcMSOKuD/OOc0gVYBz4Mg8R6Gs4IUuJJFQn6pxzJqMTnsIrwLKVdM1qi+VCtHS38Nhgrl3RXtJE7YTN/W4YMGYLBWhy6aUIPYvm72B989IkOpvJsTB71slS3cmKWl1TXJqt++gCydWtbDPeAgsaYjNMmxMxe9WlV6+icBq/n+4C+RPUW8GwW4/yu3N9VFdUmoWx0wUZUCoQgHompLwlEoFxo9tgFG1UpHnH3SUJBPTnDPVNho/AT9SimpCraJnlutBnOjavdn9cYvK/ZWzju1KeTpJ1f4/UzJ9i/IF2vH3d5Zfc27qU5I/3byoRppt5vsWM2TlYNBRag0pwNCnY6yXBRTKywBNH4hPavS5DCLBMnuuFgasb9BKfMsMQfZtHLMVRx2g4oC8DrHfemIB5ep/ex49/guDUl4OqX9IKoHRznCMrdI9ljJDtUTmkS9ANQQxn3Tla/30rkf0vKA3IIQjnhwWV7gfVnyDT7mtYES3Ml3Ns5/flM2vhTow8fy3WBQhXrdD+FVOiU/VNCWrxOSsdSYiKR26mLvdJPc38X266G0A2RU9xzbVPsN11XpnYZtVfKjpNzkcpwmop/FmExcs4A0csibDZhjczi3pSnRd8SyXbavSytqTxq5D7mljvjSSl1mzV+LrTlTqwlwwon37S7ivAbFupfRA9Uw6Xy6APS1fhA5afY+lb0G57a3FXKUu0kaEco3g4iy3ExW4bazjtucfEc+IMOMgxFXCFZXb6rlBS7FWBw2tc1b+h8rSnfI0oH338A+bkuOJ+MT8PajNJNa4W4T3v9vECT0BDaHs/2KZr3VvU1jIsU4ThcsREKt0Kquz/cyo1at5OF99T1pSLAiMYwSyVVY4U8EOdDEiFXhTdC/B6yueZy2SfMmnm5WNUlqzOxGt4dQD2uytcwsaPZuIUizNl2/rm2SuriVlLCFP8M0xhNv+n96Ixm3yHVwtw1Cinkh62hhVAa1kBKJSKfCzEn+/cjmYz/sWFTZwen7vlhrsHGlYeqM80aMJjqvz12uMKObHnoatR8a0OxtPE5CwPbnhKoVWbiAvkskPRXdN8BE26sgirDdZeBgvPSjXd/ZNMkXMTJBGRFb2cPYVvC5KZhRkCSeXgQ+d4osX3BAjPpTbiF8p4Y9Oz4eL8Iier4JWeNIeKoWnRnC4p5+E2f5oukeac5bXzzRHjH/agyjBTYxrXs6IZzo47ockAyLa0W6QgEXG8Crx4+eGF1eVE8gh15EEiwb6uCqtoIjaI74npAhM5wpr4Piv8hzIuRl1ExBOfiS4ivjsv1FL1ukTFaX9wZgziOWy6Pt6Z/m+0tph4yxt4/cBD9apqgWtcPCSwFShZ93SSvLYQ4xhaVA33M1PNsUn1Arx3T5s59G2gG+g58HqHifnjyqrVoqLbHLGrkayjbgCz+S0576BXh0vy4mv79XHQfeSCCNR2kt24PDaZCWi78lEy7lT7ecT0TEvokDXLhbn6CGj8HEd0T4Ndrw6pNriBtwgX+MWAkxBR2r80MKWOrmH7KoG/mSe9/grA/dwCGIdJJhvEwVXxmLj0FrsmU3cmm9tKv7bQg2MtuR9IA48eASz0FYg9+DZFjg04lQ/Ipvt1i7PoFDnearwvOGjXG4UVtGxTYu7SbmPAULt+43VqqI+AJHCHpHPL+05zgVXKoLDmGiuRXZGxFfdV18nCHGgGtGYRNdT0RxHY7ei62l0cNc5fSeGsXA796RjMAt9+lwxcG29t08M7CBm3B8e8ckSiiyJdTHG6F8azU2eFzpKmYHp1PafLRwQqCfqR8JedrWx5BwhpnWKD+dgZCzPuQ8WG87DIx5Y82w8+mICukUuYyq6GwA5MaqxHANRbhhM1gYyOD7v4Arnaq4xCemYsXSYsyFAnDt0VCuJgVpk04wMljL/yzp3t9s6VmUCEXTh3/OUDe64dVjDc2uPox/RLYMBDcjdiE4I6cDHfYEzBXYR6sQUoCjnjuf+Cm5PH2wx8Y84wMRmj4lcqPFbmThjkXMShs6QAqM+ZkOnYhhp2G9D47AEcux/X2UYylbOHkY6zUkxqjHhpXfhuk4891lHg3h9JAhzLwkl1qZ5L5qe1iowGSVZrWikZAY3PbrEVs1OaqoECnD5dL0MU8TSKhp0NFvwoUr6wmzTMCNaSkPapuTdrOR38xzaT/q2JrnQg1TUmZo/MJZeDepEmvXG+kxNkPCaH9gzhd3efLmEodEYpxUI3sWCLVxvd7zcMLajXHRnzwmbdM6/FBY5lW55H3ByMD7v851ZMCMA6TDJoXWTZUwKyxOQGKK2Dzx772kTpB4fPaGqritCCNLWcccF1k1ulAB+Uu/D25MaKKRGGbSpkdW+m+/0zUJd0xp/X2rpE9lGoCOPfoqpZhRX80nBlY9xWgvBPVXNqS8vY3U6l/cGHGKmEB32/8eEuQUu+/LMuYOX4DSE+BZoorZJfAVfCLPTk0CKgP92yVfZF2YkE2AZhzVCVnnslXrma3FHqvhhg9Obzoq0OWK9H8QZlc8ImPO3Ev4SctummjbMoZacet3mn7Bp3xV5xygmBeUDHBCtvKnyl/5hGUvo9z0PlCMmbGJSaeLGnkIId9ihGJ49WEr4FyPqY6si/xldJgSxsCEbiw1JJcRhkQutDo114oJhzpyNGEtNudjiiAMw5pwol3nKYnt+6sdGSW+hBxAeUFYJDLijLEAuPZptjbRjgd0qeLnMz57nzC7Dm00MaAsd8VN4BoJREz4SNkCZQwDpzqJkvKm8gwiHZgdemsqtXZjnG2UhuP3e2KV4+2C3Aokh8FDu7ji8apVxFIf/u14XVAYurfUnq0/f/7go/J2fM+Etg+DGq/6lQ2Ah4pLhEWbo6SJB91B80LYXvnuF8wryOyf6IyKGDtdAxbJaUfImMdFLj4niwoEJsVqe273B+UD5ePthHEzankPl6dycB51lA8IppFiH1/41BOE30ZOxAHSkP9UdGu/uI43+9L2QgNwV0NETTbXod0gMPARaubGsGykaTw4qpz7bsKIb3ZQyl5yJn8HWBjhAO3hP9SspSQ8mnoPc3fIu9ToMOWEntt0DFIwdwFDXAKp9AuBQoAERKqv9CQV0bh+br3/ABcaHGI489jEBQhcntvlShI50WTFngECWL3mfkc00T+AHwUb5wrtdxTWOxXvoinXE/RlegY73h7zDQQF3ZKBuLbwAV9X5i5aDV3GPLfTKcqSSHfU72kWzSVNrTSaFNJD/S/xi6mk3rRxyslD4bRQ5p5h8P6KoDvAZIXFhwfoZHM1v2B/CUnxQ9IGmMT72ATosnVpawIezYqojq1bnqJ+e9+o+DNAw4rZ80snv+BFiBn97uVXnTXCD3cR85i/jmdd46Fa5auUkxJQ1COmZFxd4uk+VQ5xNf/YbpZPcdm8wbGj0+xA7dhOuHMcpG9Bg6f8YztJ31JvotEP4XgUZaI+5tjoZCIyPRzL1eESoJvrbfNp+sqigiXRHkCEE044PFXRpWuWmTKxq/BPJ3fm5QyFVCo9536e5zyiasutnTSCEHfGZcjrKggBakwDNYhPFY7ncgZKSiGagRMPm0LM1GJhmB40oy6+SFaZLkKnnpiozYHh3twVQFtGwHWxWRDzG6CNcx0OrwO7TS4fMvaLINGVSu2fMHmv9k9lEtfAHp51WsRvNAPmIGGP3LO56LW0GZUdDMS8PSHBIAPmrapwktpCfIR5qM2vAjKiwvNUbkrF5pGon7VjKGtISP6BRqyYjv5JyCS1vY9paCB2dhECJSpaVCLTYJvBEchY7qOHH6SA9aCplIvEKCUqPyoGpSZNmmJmeuX8idcLj+5B8heq5C2mxdKbfBckbFzsU8XLdjEgFa/XvaO9zpu80Fzy25OZW//kIwgajfk+Qm4KXHIyfh13gtUmfmeV3szN5tYKGGWu9a9V4KYgxfxvUKs7OxbB0CILAlg0EU/StChpJ/coZDVsp8kiCcGNvvr+29KnfbpL+u2ouBbr1OgBxxO8LeiNX/nyka2aUl53xBMHqY5HsV51bN0HdWQqKfYOY38ubP0Nya+mtcbnHuznCKrcteq8oeFrq50waBJmGz811wZjb+sVemmjlOnW2h8ZX3RyP3OPwF9ZgJFjuDPTgTnq2pyCBUgw9aflehKs5dy7O5QXqGt9GenRUaqwun5xAPPZE2+shWG7ll5eNSwQbb49xw3KzPQ0OJ5ICIpLfL70Y62bC9d0zJ+mdzRZlRHKhZWK6/H21MV+v3LpHhBxW0dnqLP+YIN1dPPFWECUY59w6H721TNiLoE76oaLzkDd9uuMHxoDMCySMMrbZ9JuYNC/Ch3/9CIXpKd4sS2ctcky4EoDpermRE0Gm087i5vW0gFULUTdhlFnLVMQRzA9LzSqqRsTW7PGvcN6R5qz7w/G2Q0vW70hGqTKtQuhKydI2MjxaNsI5KFo0OdTIfWJFmtrHXK9FqpWtA97/agdDaGaGDbC9UWzRGT2c8W6we59ZT3P3Ilpx6t8xplATg3tePWq3nrReayezZLvTI8MpwWAqTEx4F5gcY1HuEiKHnl19apdrH4Ev+obiBydsAVYk9rOIud8wPMZ4xJEMMfm6codArK3mEJn1DdYtkppFR0S81MgyGm7CLqb/fCAaBScFt6WDXfIIbN5WdGWwV+AUibkYoj0gANSWKixD8zXqfVGVEMg6/rjkc22pmiB0ZBjahJa7dOsNU9wlPF8Oa4UIjzf+iQMegVqtgZ3NN1Os8y4cXHa8atH2nzqcI4yRGe28wvk76v6bDX5NQBSrCqsVWgHd9LzPmtDqtjkaeE191Kbf9/IZ4Vt0jnFScoE0nixDgtyyc4DJlkEaJctJ+u4GwRWhI349y1NTa3BpuUIIMjTP/Rmx7is7DYsuxOLbNNkOAPazUs+msYSsNl+pMzMYlvtxsnTqYU2I51yl9j4PQSmZCQk4P2P90vrnEjRRvERPzLDOoPjLjs+hFsrLo0ZdbKbRMNoZS50Y0FKP+I0fDXu5ZlJ6xKDx6v84zE3S3G4zeGXdwfZOLb+2Tikb4t0QpM4oYJ7a8O21VcE51Mgr8bGI3yK0gbpl4fZFM1A2uSVfdOc/5vd13I0c1mvb+JhYpwcO2xkzTywwxvDz1lKSmUwWHQboHgnqYPkMPAEDXMOfqmEUWoBBf+STbWgZFOQELv8KDN7mqCk9xNBitJdjE5T55D3LWo9sYTn8uJH4SW6nYLl/AcJrQZN/+i/ieH1sLT/ZM/CumBlBRa7L7bY3+dRN4jxRgElyXgt6ulL+ivG1+Z6H4RmTL5moiMl1w2ZwCvD8avZU+2Sol6+keKDFrlOt5uwV8WhYze05ofwBOUcVi00OM5W9SPpKWdxFmG5HAMsQWXGSmeT7k6S8Edb8Hak4RXAcZp6GAU8tcyyAuy5Mzi0CdHpy4NEiJQl1z5lbdE83NNnSIfyU5b/mlwkPr6TT/rhupwU0044jDGTfnkkgXNoNN2olb5YaMGTs8ANmO+NKRNbqyxgDrCLarHzUZSp2YhBkzAGf7CWAn5bW9uPvX//e2eDnBm5ysOeSVU0THmh9jMojdH2ph13mv/+1hwJYS55awawq5ezeMVSYhdpXtHRC1f3MNBfeoWRM/1t+jSVgNq4p1vA3cLATYYbzcu5q372btqgLd/slEnlh2UC+OFW+2h478p+RdHQY16aFVrtgSIU5lYOM2tSD+fFoCNv+AW3z6SA6w4PK6B/H68R1Ps3TKR2ayy8tapcz0L6EN5DxwrnYcgSOvkE/yQBr5K5BmvUPsr4b0CuIs36b7oydzIkVpQN+/QTzwvgtqFy9/A/b10Ds4/1Yo5n4UEeMANiwKDGL/EpQothnhjVJvakBNO6obN80iVxkheXQ6Oa+2toT0NSgp7CZFrNDe5982wN0pMcq/TFVp20R1HZocSDMCdHvte41DyoOViZtHXqtQN/n/iGAHSQ7OqKBVPJ9B87bOnSnNS4YxV8A6eu+FgW/zLe1QRUbuDE0rSIcCSRZXK1w+SFq0yBfjKfjWesmwy781skFg7GRRU637bLSUdai58iOkPLln63suoso4vfMf0YPPeZbSXQbT5uxIS6Li49Jx0LQF44Vv954OxV+TW248dGh2/owLMWeSRmmyz8mJqEBliOiAoxdc+9Zo3RPyHmhTVaC4iBsiJWuVZGxL7gxOXZhnYQ4MgkhWHc4rF6pI0Xrt8K8ec9WuLepm+FFlI0RFPGLDnSGNe1slCon0tjzUyd/3y7tYPBdGnn2mzINLHivBntlVZezOGauybewzCK4jFA0qhngGquwOJs1aSF6cfwDo0b+w+4Kt01sWWnq544DMl27NQrlSD+noYc8MDZqE3ckix2rRsj/49G/5eWurcW5K/GCpmoQskpj/zqW2u970dPgJOEB65MOTMn7zWYIGV+GHAi8vFTEkDH7KybKL5JQCytEnMii4fiwLLh8Bdt06TX8XroZXf8ukH04IBztO45Uh5R8p2Z/g5XZNJJ4DQ6AtikNUm2cdeHK4gkjSvU8SqLPSRcIz17MVd3wZHaI/YIlF1HhB2Lw3LRTICNTDnY3gqe6CZnoY2SPymSTJtpqPyQIwDREpT9pEKaEx8brKwapf7tp4tX5KnU2oK+TnDwiyVUepHoC+NCk8THUmKeBIE3pxyBPfQscOPnfO5qTm2EZbGIoAP0agOip2sAQdW8UrZDJtiwsnPWEBPhLx+Tn+xvBRGfbNCS16iA6eEGI94253atkTAEUZLEMdR2Or3SsqBUrMGIgjxNs4AhVzn5wgf6bfIlXTThKMrnLEOMdeg51YHI3HJv+FZxXwwrKXtA1Zg2m0xas7kSU0JiF21QU+h2VD1gsBQjzSgnk8KhpE1thGx+KqG95Eh4X358QkMQbtsCiDxtJC+y48XBjkNI7wU5EYyut7lk5sG6BsaElKRs7aqTQXjsO5XdMrbBB4ObG2+niePxua8Y9GPIoAZ70YmUnKG8kLfh0IYJL+zmeHjPdM0vCfUv0sfB5XIfo7YdLPx9DjaXH1bnFqPJmfrvIXV2YkfUZViGhyx7lkUaQ16/f26fEQS4goQbjVBByp1X2uaf9PfbzCeOudii6OAm9YprkpuBCzatA/UBBuR9LZqEWljRw78sVqiyz8TIQwnhCbbg9L9cpq1+FWtuu4Oyc3kf1fYP0c0nhFY1Xjc1PJ92QfjtGdq8UAsDfWWtrT8VrUtqnClqJ6bUDu0N490D+e12JUFlcPEYJL0NGkmkEJetIewUNyvZ+BydehEyjmjsRlo7Tzk9/xRirWnxh9YyeRkp4/GOxn4JzON0Lgw59QL5f2TZ+QWsI6pI2lzpSw5bo07N+fQKq3p2mTPU/LLpx212QVh1BfquLNrBr+yc4Rf4tcHy+S9rgLPi2zTfu7JuqXi+ntzbkBQK77B/VolWHaWlExpMQe91X/8KPcHZS6t5QdLZBM9y9KY40T6dH3RuHoz1+auStoLLYICBsS9tmlNHtmiXjGuH+79dNsfHPL70I5MM9qOHEFCsfdLM/Jx/3CFbTPu6hBGuXOEZdZpberzKOX9mF+8UpseJUHDtFa41+N/KBxPCAzSRWU7qz/L9bRydVXxDPYK4Vse+w0LfQxZjUcfWT9/+8CxmHjKoKAl+lmKFjT+jBnqpSD6HY2aZ2FcPgwhs1L4NZyHNYnI799j1sBgHeuBT8E5/0yc3eApP7J5JByMk85w8/mtvSvh1Tqfhai4ZxMWvsq0fzPw2Q3/oOYBhEvkW2EKs5FdFrklUkouSi8UV/U2vPr+K2AdC678FzJnKcnoHZWdNT9bHc1b55yuTdLXswy+vXwhBIwniC9vkJ73H7BOZhRN+t9PIyCFBuvqkRdVLXLY+EriaIXl6o+1tf8rZ4LsQHelO0JunI38zzGW/sm+CjuRg5F26/DVorfEeIW96M+oPYrwMVHjs3FoqaLCDvvJVCX/WhmsFMXYOc7AS5zQ+WS5pyQ/rmUZqm6vm9qlFGSqG7//q27lQGkDgiWRCsVXmwr+Yb8LmEpNzq3BISlKwYVSYd5f6uGMXIwWpCBDEJN3NF9K8W3XQaBf2r+AUcpsZsAu4qEKAFav3CgnBPFR4iQOwPCzfP60B41/nGbCxDdkbdOVKtHzEY1784PvdWvCmzTb99bUfoDCqKga+v7jmt4igredHdnZtt4oKIhrl4sXEtPCy/OTgNmogZaNNb1ptwYnQveJfrlWtc/dJomtMWwDwQLTHgmRFpiMNn6rRAoHBptXhSMLSr728xNV34c3flzi1KenBOeWt3peTlz/UqQhhgYyTfPxXwRs/kkDmOv1jUxy2ohpL2+WjepX6p6HzkQ3yq6f9bKinE8H6A8LB0pCd5FaVlmte/utnMrCSnIdJSU/iw4sKE8XtZEV/v/9yXFU9l9teXYJT6non2j2aVmd3FVD+JKjoWfpo4J4Jja2ziFzs+qVxVyXT9rYP1XNAmH2LHVeS2T+V3IrgvpDLQy4IC6FiK1Oei3bXBXiwiOjNNZnDfS9/m3MegMRHc1qWdKeq5jKQNVzDf6agFJVISp5SnwmQgVzeIZP6/fucJ1flkoTygoCgOeE09qlPpYuKhkxHm/1B/XXdXbnPE2GDMy8VZlhWyiuFYiqkTSjh6zaRwJG+1CuNe9YJx3ZpsMLGrKB6STTp8hSINC5PaFzpS8cWilzDaguz2HeHU7Q4y2BA8WffrFX9YRHvq00c+gDAldrxSJ7cMHsGNXA4GazRRvYewPzH8eKzBMuFFPSY7NuNNCPvAoMfTlkzqoVY8dvJtsnd7hBh/iM/Duql5+AIBzglhA6XdJ0MsCwtxJUjDmfZRQbK/B2LFrTRuKZYukbT8OsrkpjJUEKoWPHEiONrQxSX9i9AVLaGOVO34vS1eAymoKMV90DJPD1PsgZscdQhnDWiv21QZex2deAFgwW9S1mJJkgSIwUuO9TCMHjnG3ddfdBFA1UAxjrAsKR6cF0mn3lniWmfNcxwsSIgUOuKTJ/6dSydHX+dZh3YXFZs7KIBZZTtqNVLxbKA/CCPYPWa8YACncfV85DTQQSqJXhM0bIEdAffRtQkPd4lmd85Rd4Tqrl5G/QYmxV4J0WnhgLj6mEQdPQ55VCgt70z3zvrbf5noblkbYgKoPecl2GoBhOyjszb+hRXQ/BpYgZ1PHTe9X8fXzDqw0uLCZhfodbTRbT9PCFfT+y6xd75QmWfrfNr/2MLoextHuOhzb5F93onEIPIZyswmZtc+kN+XdW1/Z9UMTtKyj7nkuCp2eNMRfTqvy0uPuPz9cU1NOxCoTiEy8ESajT53v9F3RH0DKgFnko8DcNURbXYw6puPJ9a8NlK7uhn+ZkpL7Vm6xdeiYCQc3kpFJV2e2Jn+rQqUuE9M6Ww0HTgyJqHKndxHs+TCNjWfHPN1ZL3F5GQTgMmigDBevVbn20Z/JO++OeGCRNkmz0xvLQTR6tMZb6KDXKM5jqc9BPEBncq6QJqNl8SgJS/7svC/aLLZ01uWKl142FfqhhAvLvfSapYmTmXemPptMD78MYX0pIlQgHtTzJRhE38Q4p8TlIKPCm2s1OfUymjKxGJ858gmF7/5KDI+aEdFQpLu/NVqeb2ttwwJVUP2n4LihHgnyS1jPRkh/ECbCQQd22r+SzAl6EiFOBl4ESpdEJsWBP25/L9eHjNHXG38PuRmEFLnXwbGNrGX8wWok/klQEOBn7mfPIDxL+Ss7+a5WGn9EAOpCfUVWiqMKOrg5sM1l3tONQ9JHqvg/XW4vpztotnV3KdX98VMTxUDcsOO83lOSN4Td0FuYth94OiHueff/uZAVeMfalG2U1GA/dQ66WZvclcCUIujsMtl9BvYOMolzDozxHG9VgXVEmb1irbo+4ahsu6eTtxwR3HKbkF8iePv7Htn/C1WlyE5hRYxmMjyiZzw3f3CptChIDlZwoXBwl/iGFJqic4WqTfRsp9JQpt4gF4Cw1rd5hi6x5tspJUkH9T9gfzePlswJTuOoPZFWQs8qSSU/G8ypq6vVMcF2s8c+S7H3uhA4Foyn2wY4a7KxHmoA/vRmsgS8Eb4Xjf4luKkI3zIHPJli3+YR/XzgiY8bYuWf74bNoKKm3xkdlKwmEG9/qJ1zpkdqQFzq48XX5qxtcuPR2P1eMjV3kfIAmC/EYjVYW1aoZkrPGnk0EBcf8hd5eqm+zEMZYPntHgvkfnWQ+hKhgY3pP67drsPpX+omkxGDFUdzKAddX60K27mBZfINgGoPBBhL55ZdktEblZWx701UjkYDnu/EFsAvwV7PMBcotZzMK+raGUm36GFf91qR4n6gBCbx2H9ARfkft7sfK46nubO6WBjBKrch8qQhBpTVqm3tY66sxPQ+mJz4Mnf05VT+mwQY6Tf7eu2GED+ns4XN0JtXsHK/16/bExMS84XrZUPlSLwu0pMgGxodB8s9fuJW4vnU/8P+55GOUnjLXaYHkZKKS9kgbJ9jT1PUa1vxUETic3Hi33nhKMkjON556X4RJ5r/QvC05emGMlMq4XjMqifX/alCik2aCuFPBdSa+kVCeIToxyaqZER0X4ZWb8a0QuV2s2UKy1a/DmcV1Br83fZljSE8f8jbSgb/6z956fO1p6bEqGcIpP1oqgXG8LBl3lEUh2X8fPdtLEWpTjWF5urAro+klh2wbxqGwa3fZ/nXBRhlZH13wCZJZa1k8Kk34mAIbgqTRGPJnRmvH/VIZlUNnKvoWynExSoarBgTOJ4Yu23hrFfrVGhru64HeVP13+J98E0vVGvNjFrNwnTf2N55Qwb9eB8uPeVp1BJxUA78keCe0oaBoAMT8k5wE8cARNZUBcOBVM6fEzTJiBoHYPXGbqY8TCDQ7h1zfmeda4oSDR9O6oGgNDiG/lErDZLNvNZoMCJlW3kwEezJFrne5mOT7fLi2qW4mny1wv+dbuNv1U3sBBHV7Ke7UlJ8nEqTJ0LTK1uKcCDiYFhZp3uiCfiwfqnTx6fwe1pHQz1nwU2c6F9RrkBpTQZcL+g31ZOLJvBa040ftWc41VaNvbTXAxLPJDwv7RVeLGPzGubC48jF5ygMvcblg+krN1tDMviRtEL8byOZL77RrokwBWmfXjv+qO+NwYVJurKfL4hZVENncaXrt/zUVFS37PK5iKaDC5kLIOe7X1GCb+tNAjqgWCbCYfGCcQeOnIaNJlOu6QsdvwY+PT4LLZuV4H9wL41ojGngsWRdGpP6QY8rbp65MBivDLRSrhvTfJNtI7DsqrXWqkxcTZ67yeKZMSAAoiUe+8OT4I6Wds6qgKeuqpV+0rwbUEDTElt+zYdsSmbzTGOcC0Yq8P64FrZY7HAj2Y7YKaoZ+B5FQOovFAPWhEqnpr6kLFuYf9wnsSH3BhIEWQnjKq/2y7aPIpyhlDOUTr0ZLd5YmnRViT3rIYqMyruWR1yT9l7UsuaDK9y34SpSPLy1z6RYB2nkfxedCT6CzHofXaUyy1aJp7x5yJpovy3xlJKV2Yys5GLv0PcjaxCTw9cwOe6dBKos1p7FQBFKlZqbk/ERnpAyNMwbrgNviqbb5ihhZxPrBtcaA9SgOVhT+NEavsQUE6lgJ/U7qwXN18rBFZ0jQgYl5Qg9uNzBQCU5qL/FYgJt9nZx5AZliAUTc79flru9fRUDdAXZ8KVh7M7oDKZ+KTxtB6LK5QjLPGNT2wvdtMAQUpngJqI7pDG+UXSA4j08y8Y7YZEUW677KC1uXJS473r9xDIq0iU0eOBZUVyLzEwe+PHtEslzCSpSQU4wG1K8l9dikBvVYvsZvIWlUPjnjaZp8NyGFcUC6oXxV5Eq5/bBN8nH7V3ReJux2d28dCBHgOf8Vbs+uu6q+htHO0WNahQP15rpY6JjDtav/8hIojsbjTzxdcuVYUO/sHGsmiR3TSOQJojDVCo9RnHZfHEduV8XRlFEVQucBHlnDu+k4wNXiKRlGTFnDxc3BNGhzuWTQlS/42r7AACoiauwe5dTEWSDlAkTj2Fi9oM002sBzMP61V0/93y8debzP6C6Wa6kCyDIFwR9rpLfHcxiV/5LldC2BbsXjQ2W0lO9gnNquE5XRitpKL6W8Lo/cHYhIFRzyOXYaXd3DWFyM0SEzG8aVu7IkHFnwlvJ49+UJtyQ1o894/mQmIKdtiTlCFZQ03iXflolZ3gYq1Uec6YmowwoUr0ftUwlDS/McAL2+RhYuNsIOg3aLLaUkcaORb7Qy5Il/TZ5J5K/4L73S2lv+JlljhTJrOQSzNa1sTTr5NbOYamavvtiqTtv+9xwzl3OpjzNNgZV6h4wwNMHyvFJ+egtMXoIS6ZyZeBSp2PFbQhnE8y58t/aI8eCOR48CRRDErIkOBoaCRdSw8ZRqLtEzwMJj0WbU0nuC9dxNyJ7fHFqa/H2wFwDcpRNvxTKeA5jclD9Hl3gjoCpTIYDyxbMW1gX2XZ51QAVP64psIX5fNDFMk6k8fTqn+fe80CILU60XgCJfyOQodlqtArmi0RokVYZyIwK6abK9XkONbcfujL94PPp6lbmpkae000ZgsbGAjymH/4aXA/PLvNdqEIrrUQG9yNGkXBJ1yEgLzsslL79kwTtArOjFqn+rZ4y48sztQh6ZuZyOYNboa6J23GghGaygkQcMRw1ZKBsMKNZvCYtPtBCLj/2e91i1/8lJscmlGPaldcuB3VutqUQtjHgpbeLWzJ9C1vsxSjHWHwNdTpbQNzYiagV9Q4l7j7zUuLlSag06aSTlo8daSVfrMcJ0LBUVLQF5RV804LqdRgrgbQfmGZR53EROHPWSD0tLW+9OIFlN8Du2DT5O+kIvANFJlBJWkexryDcTrrW8g5X3zj2ASRS5ZgOBwvd4iM5Bniu8P1EvDQ+oY+XsVMMSbETb+1MhXMrMXCBO49r6R1gD5eJgTpYbUrAFPU1hUnq7BAXm5s2RCM8R4bYfDZv6wLDpE5oPEdsylbetHpWoKuemKd3X5uEK2jZRlQ2cyLb4kS926bJndJc/AhKJORZEbPTDYkF3rNuIvF2cH4k7dgNMvAjnA9UQYsW5GfM6LiYwJ1shtGpxaVb4leg2j5lmhCx64KFlmWT+pmH/I3cZMQi/4DR/QxoujXyedAYFGsXtA5K+zExTmmRinkZ17TMp2l6pGfA5dVO6YUsgXybd7GbA9c+81YH4WMR0aQO/ufbk357qLtMZC9MoZrJmCxrkUYlJU3BdYfzkX6gg2hrM3qMbHqMZ97Hn9whaq7k7akKYhcREbgQt2+i0IOdOblpwe29ZlHYzNSbMEGk6VsjEXSwjD77C1U+/cofDVle2/SVAYi78N4/Fem6tloVUdxYjbo1KIvPejOOO1sLJNCLZg2kMfkK7Wz88E7xR7b7xKTlog1pDl8Za2c9sQggjxk/xxFegfq+hOcf6HRfq1NYOYFK2QEzQVglIIg6+29eW1pcSZlQhTEF5ZkdHV7Vl15QayhdF+u4vISm1zXITpTu0RhGPYsC9kCg8dcZqXT7mKfgRpwF15lFc16P8DfV0lP2N/ku2O1FAgovvgHc6+fGZE5/nW/XjUZxo9FcRbkydDcYSF0B9A06NB1Mf1k9hC1E093d+Nj6u+C62EIgZT19ktQj5C84LJsr8OK8/Fh6Xk6K65kdY8EEIi4MPOLY0FuLOFLavrEL/ZCcS2YsdVXJzBRjKbZlwlFwJlzZsXdXY86ZtRQao168oQ1lOQIOllQ2wbve9l3YGIqutsPt2mdzJxErZqNyJWp4W57HTQ9tFjpHvAJ3pahKXrx4fPq9fGJAy1HVZsjpKakwnBrlENA0+7+3au63C1lH4F3WkKFaFbc5cR7Oo4GsMAOnvmlNXGQ0pIrhTIzJTMriDarLqNxcLx4vW61VoqZ3HWtUYdyjbysDjBKyC5pvG7iwQ92VTk/71T2VjrRx/huhvK0okfsc1dnL7YrJGCJQmVoHXke/A+YxTFm956czpLzBdwiNR3y20q/5C1wBjy/aJ6rn1/ga0sAJVtWFuWRZ4VG2GR3DrwMSgJ7Y2J9Op4hKtx2jLwPfkNIFxY8BO0/GE3nGFUHj/GSCXq23vLIxqmTiOhl9P0s1LnfvISntISyLWzqcBAjx27xodXSfqYQeYy8yr21JTi6S2SINwLtDqtwfexFyTJFVS6B3UxK9CvB4E+5mm8Y+IBsviWY0Czob237yjeD9ewlVwcJ2R90LIARiqc5jUiKk8BRP0NhKTA7OL9etHzeTTiOslnbVdWWnQrCP2yoP+GgJImtWSb+5A/Dx75mX4Q8EWBYYBFFIn8A9Kql4IbMyR8DtJ92conMTlXhwyMoHmetMbBAPF9G/YOxZAR7433Wi7+7FVN+23F1bmMG4QQvxSYMJWoYK2Q7/VCKKGza67H/2VfHfVimtt9rBQFifjrCoAerTXn1O2vTrhcJzJCkbSIF9vafuTG2TQ3d9K6S+RRTFIakXYnE6530a/Ig0K3ut3mPa0SLfSH50Gcjj4qL0nv40A1gCTFhBsjjRgjNJIMFUH0gBCt4tJQ45UhHTuTqFYEOWYgwNpXLXvr9b551dva5NhwlZaygTmTgWNfO0IhVjIyCXEhCJQXip6/aNDx7Wm3B5DbbtxYU0cq5nne6ymu52YTw2TVVWM8TFzLGTMSEj0I0TnlKBoPsT0jURZybqnrPYeSFcxz0EE+8nOZXKyq6jS0LuPKh3jQoHHlYZTxAsLmJDV/dy1klPcqpT82F4E07auJ9xmUrqTRYhpr8xTmKhPkymR+p2+2pUEDRjWXshitSc1eVBdQQG4FKCHWi96Tf71zBAHETb52STZv3kw6TJngZmDQ6MwjumIusCj/GqoLxLy8TW7QzTn/Cgyx4SIG6VTJJmTo+NuEzE+cc5OCekgRnOb9BzsMMJ/T3h6Rtabd9LstPc0vdZolPPN/52xr8q7R6KQBcIm1xkhwqd7uFGj4pxnJRM8qyezJ7abhTy+1Cspib5LpN3sc04mccDMUmRaagXwxvSzfnMypsV/1TCDcyRR3N2SPusTzzkzJCDpwxKvJJ1lMBB4moA2Tbj4+wjXDBw2ZXsZPscPh1qHj2ZbD1rKE3CEFOMDNMAKFEvZ4u23vSeq5TEO9hjo8GD+Rh8n7PJlWm7kxgGFw2M41f+sn+xbBuezYyVUK9nlOyoJpG6sxZj1Q32CVXy8wjXaddjj99VBxzatW3vDmGRLfvcR6Wrahe0p4IGmmHEeNO3StVEuk8D+pGlugHrWaTHUDL53bMG56ty4x3TI444Yivg3bEOAsxef34jqUN/NnfWUjoiXumT4KFDCHRKMUUsj/4oeQM2H1jzeB2HyU1exI9hEv8H0F0je4pIaBRnF8lrhR+5/HGhBS5pDyQ7z44MS7MrQRK7pDgdEUf5ni3bS5MEVuq8SZpz4uhVDdCfD9o2ZgnGoEHXxW4QDrba4cFAy2fqjSFLrklj+H0NW5le1k4/2nGJI7SihERxkV+YHr/Bi6S3idHw49LNJz/WUWeV3/P/Ah2oNLyW8zQGX4uIqdzhAiMomEgUWP2/6rd0IA42oVHGSTdhjH3HZye7croeYQnPhMabUelVbTSthiUkGB1SPXTxqzisx4cGOuM8HolqS8b8aLvp/LChaccr0Kw2gjN0hoy3naKXL6PkQyac9Z0ObGZvQ42lUzvpHIK/kW1trrIQUgNVWuPLFXSvrsuUw7hcM+wUCZNQk4pYSfgE6r/eWrxwl0EYWKcInwyHny6Jy4I6gXJ+wi/Apko8/TTFSA0dRP0auuFgXsbxGrF9hzOay1Q4brcOPdnuMFR3Hw2Fejx1uLyKzqCqXxccO3Zy3822fbGmZhoecykmhPedv+crz2Lk7urcsZM8PCSm7YM2iuW7KeUFU42E9y7vr1OEdfXxdO+XaJ6/OlhGdYGgUB7wOktU4HPmKDu1KhY3yVNsqUzTV/gbu5cV4TjCV2KyABisi8Lj65ea/1J9yU1pFA0LTJrzH+qLLr4m0TORa3fkr7hvvCjrfvZgQ0dwL3YH2kSt3lyKIpBiuuMJifrwZha4qHNXzQaEhljwaqKwO7+Wpr2qPfevSk9n8PGzB24YFb5OuiBaLeHZALgn8c4am5HQ9D/gq17TRb245qbn+W09NUVM+6E80lsgHb/75c7mrUN0zX2u3h9NatsDko02Dpu497Jumy2jR3ZcKNiHsMsSfFQx2npMJpwSsYpe7vswjeOta6mBYQkP53mEDqR7FmIrc3l7mnCUz2yQNNd21NxbcOraa/meEQtV6cw31kDGzDsSFEfmtAI/swSrwD+49aFeQ7UvguN66uvy+kbiP5IfOPiGRX3nCf7rI59iyOrLV0D8OWChxs50WDjZQdzC2zqLJOuOiBPxBCXv1exyUrmuYXt3HG5NGfK9kurbv4nR0P9JatLzNn/Zjo5r91w2cp+RNlvUcEXuwNR5MLU17gSqVhu+eCkykl6qezW1ujY3VhlP1UastrJpNjgDqV+6lGGsw6r0Z0XUTJP333hRgLVqD/SsEpbyX03YC7kMtEyuZQXouIa8jirk1gbq7tuh3MyNMB5IDVOl9o2jyD/3JSrw11SQGGmxA0hqdny7JVyyoHLDLMJwWX22w9P7Ltj1FA6q+aeY+2/5OKD0ImItqViCVA3gujYh7YCebyb6r9l6OaZs/MQ647AGhlD7mQnt7AbqvndKIWOIuVC1XH9mzEsrwuRnoHx8NeSxvLlTjbkv8+HmVZtvgvTeQwuJHd5bHrveosjXRQ4/30leb8WRX6kNq4L/P55e2QarB6bzbvjPKPwwFneic9Eua7a9LuvCBfKuiLGvAjXXcvY8iD3nOljEQOoL1bjpx6FhBtmzJ9mPyK/kPfRkdZzsDR1XOLpze7mfed/EV3AECqYILlDSyTsqLfooiK3hGNoxsDjqCrPUiEgRYlCHUZI74nPcT9Scq8iqL/AWWTZ6zUfGa3Hnj6AF8WKzB4iRX/sEfLdCeIuvnOudC/w4H012cdjIIkCdFWyfAI7eVBgQYA0nq/4k6kl85ZYwtIrcVc9Ce6Ui0vTHkc9RaBe5VKYtCsxbw1IY61cQpZxGs8n0EQ34Yxnuwei+68/6ui2VPFziAYnRukDMzy8APnJ6SPJ/IiqnlPFeoR2dLMeQGO3VhxiAnqGxP5i248MPKpCegvxmVQDtChyzBpERcK2zSbZ68lAVB05wGSpy0elN/52OgFlplrRdXxNo9g5NMT84kjXJcyVhw8/p74RcKs/bKBvj96FQsnyR2LJPnE5eOxefwFhp2vCAwN1GXx6KPzTUD4mEdhyQANaw16p1lXE5R2Bz8btQxLRsdqJJhG9oKyNb5sZtuJnTHCC08kZYoHVNTFfTIi3oaywvhokyAHJoINmDC4TixMPceGeNh2AbU1vW/OGfueMdpVmpI0kZzZJ5Kb2fC1M55kc+ZwYeUZmNKKsrix92JFti0FrM9EWZFVcv7WjFHIA8EcAVKzYriX22C6lfZWL4H5ufKXHmmdJuvgChXAdLkTAlCcR71907k3HooKfkQJ62T6sDd5rWIj7RRjNvCN9I9OAAJmSB3DEOa7F6b7IHQJd+ySuAkthqHg0TNJHdJNTDTeL3jo0/qRFZAlDq8jL4ApEq4lNtQnme5yIGKj2/DjzrpZurp4zI02K0Dx51cIdgsIPBuy1kvHoniAtOB2C+3UsULndl8KjEiyJC6uz++rAfNBA/x5Mf8gf5i1JGeuPRy3L6lhXYo44GTxFDJbTsqGUb7GRXzLvYMUksIFNP3rC8BOSdptb4QOn2vaS3xOG+LoBOkDr4gCT5hMWrwO9Aa1HQ17a0boigF2APaiNRaFT5kNLLY3xj6z4TRCpDxMa7LulsOt7y9Ke+H7R6sKWW7dstHWNfjXTA8BRNXj7n789JjhALrlFHJl8BfUJ/2bk3wOzvzfjMWnbwjPEIpZfj5r9hNuxXUsn18dYHFypgi9JGErXUgNenP+t0I3ZUw1WjKyfNhyMcF+qPR5i+7UK4QxPKQ37cS6Yx3NiZuyJ3/txedXdyBzgzqJWnfwcL4AWY8aZXztt1jOefzvXGFQH0k3iBehMmdis3GV/7HjApDNpqq0JaPiUm4IBOuBuyzus+1PZH3hSNKKTkvlR4T1qSTqfj45LAoIajsKOmN1xgmq4Bn63NDNDRnELLIGZ9pXzfkHmSZwy9Mqbk98jCnO31+g5LZY/xWLqG1sFOvNYSrDfeDt80sJv1x3Ta+U+WYMpROl0GaqqLxP6HyX6xF93Rqx+bg0dq1+JlzMiacZwKoNvJtk9g2+pIvEnQ6G1a/5OdwoUz67WdT3f7Bi3LvsPnWADrQsHClheJ13KfdHVsrbbAo0zS+fxIg/YJIZ/v73lM6G8V7sBxUMVJNEAn4HWrJV1VSUwv7FLq/pRDlLXYYffflkbyS97Y5ksxNlmVo6fWTPpwhsEDOXW61B/0fPVVoF2lzqGMEIWaWcXAFuE9VlGFI1E0CHT3sMz+cj5xvBS4RwH2BTE+pOclHaQQIN3/Fnjh1o5xenY9+EpsF5YnH8rUGNSfn6b1gmJTx7HuC+cnD7XKRARsj9IkyKlxoah05tMGCWHhaCh9fXO+FlA0DEq841UTxwKh1n3OgvkNxG4eOSgT3EGg/curUnuycjrh7Cr+E9mUqOp/O1zOvhFg6cXs5pxowGB6si01fKxUPewSEJ9DeBK7h212W10fNGrJLKss3R8ffT5liP7sPUoHUyTVGPkpe4gHMk0vAmB6CEJh7ql6lf4wYo82xS6NVtbppn5K/8ZIQtck7OpmxsdlJa7LHdllGwOmNpdD073adr9ZPuttlIOmvNcPPdXneJsC+kYGBcwZcCWNS1BBpBN+C+K9ZfsjH++EOJtOXs1aoMI4u0g7PswIAu/TQqoC/SwgpEpQJ0bLd5fpYFjdwdSMXPjJl60yl2eo3I3nO2c6/4jJPFPyAuCNnhTncZW85pEjD572Eq60lxo+BMWc+c51ACK6mGbZoW1rjFP4RDf2rpB88HbzwxJEU+vANhEt5fesqNMS3ADj6+kzwo0FEVRXcFCUgS1wcaoJ++af5MRP/GhOsW2jwITkCY3/d9Td6pnpKOejvY0sUBtiinoui3SXEQ0xD5qHrgzere21ls2LBNbfNmU4TvaMIj3VjfE1gH4ALZgdiGZvbo/TRt1v62uKR8sKOmm52fUvuIJxYmlKW3rigkOuslVkt0FouC4Rle3X0iSDeDtWZNcPA5mWRKOPSITzt3E/vmTTP40eRgJXe3WHjIfRkNwiLL5AK3u+W+1Rfo0+qWq7aj7Uf96eJHvgLLHZSLV8ldkhvRTGW8tklCtO1LUCSvcTpenpNar+E2HuMcaUcX1QDCXy16UuKWuO6UCCEcuZbr9Wb2KxT/x178Bk1SSaMh0ECQACSjFfdyz8HJ3iEN3q2Yn9p73TFKbt869rqy8wrsKIDM5FkoHrrUOOnzc3W3ce9Nlcwz8ugW4RGnTG3er5ztgv2VOX/ZNRganGAfKARC7I5nPVCeS5WTw1sKEFB/s77fIzS7iMg5DbO7qbR7Rrpx9btQNEYvLqyWu31oeuQEoeQ949vqdhQGFZRd2TxMmB4k3RvqgpVHQmt2/bQgYIoQDxfpH3UR7XQJVd5NUZV1535cynrvMLL7tdsAVrR/HDvbY1695pOtMhFUWDXnpRrmZ7K+kmWRSpcgf7eJxEgbKPbPUHkeT5cUosqDpdIy6avXBIAjn4wsCHnBbBfPUbTjLPpVA09ZS6MmPWB8M8YjPNPUTUcv/vo4WR5JSuqAd6l6MSGsuS6dpI5dpFnmZA1rHe3zzd81l6fdVNWOxc6jxUQKVUaifQ0/i69Z7gN6NoFASpvdoErpjI3PzWp553LMOptYgnQwlIUgJzF9wI8eu6kip1ned8wG6oRldPXqKpEGUBzXGrSQdfT9nIJ9xjTi7JZeDZaH9fJTKiziuS9i2vhnvdESYloxuAdTbicbR5jyihcOJ9HVK4fHDZY9JjoINPUclfpKdDcF3pcflY4mh4Yyh/BMPNoi/c0q/gYnPtOLnpNpw7zohT/TcCu89+YSFkBt12Ir0txSWflgx7pJaStqiHDDYaquz+r8Tf/wpBZq6zIlQgB4QTbz4WNwBwPOziW5QWcxXZdCmmgiDGiKuRQISwGxqZBOfw8BKc54NjD2cXyKCdDxaXuPNe+YTr/9uCQL+/JA0QYpZiTAUl2vpx6IHFsJGT3+Or2AFXE/t6e8knNBlIK2L1Z2WPdi3SUBwptvcvfhXDKhWVZ5xTNW57/eUYjQTcYbUdYaUJGfwIhlZvjtl1F5b9Edmmh+bWp1HAuZEQDgJdp8K4Vd+vam30Pfkc/fTbsRIoQptpk+/cLsK1VPSVyK3iYfJjLJTtn0cX6rG6WrDmCH/m1vLCef9sb/D3QLOs1rLJOvuVxgqHGHJYY/JJia7bxdG607f1VA2r/XNpx46V/58Yv0e2Wg47W9tQUUTxTxU36FQI/hQLtDIvwM039miIaPT6/aQZjMLzsav0cudCZOmvRxcRYpDEJrR4pFAnHauX9+IwNtd3kuNrJa2gyzA/A8O86dSYUekaOfXoH091qgODQyOY3uJye7NUhuJvf5aiihkgkoKIYv2O60kPnfFgn50qrQDFz2D0UBtojZNgTMhcqtyxHQNrykztsaCQd1kLYte3vLdVFOAPfVishFVdSxNwiHO4ODDMKWtsBnsoqB6GXcU2xK8VLgjzL+nOpavtZGN89mlhJJ5wDqqJxVTo4AHdfARrn+O06URSUpGrH5fGZeJpwsZl8LDpv6OROiQELN0JsZgN5jeyr8yGRhsTaj8+3RHT8JlbNnIYRwYWx7ukhFBnge0a1j88H6APS/GnakTFauNeT/rbe1h2042GqVqcufaknjjq5zZ9BIrOkhF0hp+BCWe1ncX+P/RbFoDNZ58ajt6MaQUJfUtBWAL8kVHNiKStYgjCHRQiEuuZ5wxItyNe7ckoUAY0r2RHC/Of/0frxR2UNYvfXjJMZSP6Z6XEBCZrBK9Ghyr2EC/eLdcDXspQ9D78Dpzfsp7Ej4wJYbNmJEU9DIYH8DG1zyTB1DHgZpgKcY6xKpfYGq0BxyYEtlgQGMavq6t4ol/mwhmedO46LsqotmxS4nb1A2bX4mVPjxWve3v//14IWSG0km5ik41Se/fzemlwS3XZtfzj33nJZrDucPqe98pmScemQxercSmOH0SMhrl7uxSbzOVOnf337zqzlVMR1IYrsvMNFdsxSBOmpPCTfe0xpRPcgsipyXjSPcsZqCJpBlcD8Qw3E5aD+EuIuwBli/P7xgx6Cum/que8kMDTUaa6dY9lfUq/GwjpiTwfYkHGg2mixr1kj7mm4rYlLq4mXunvWn8aljEKHm7sPug198IcVtAfnDU4U47oLfUp2tGirwM9la0YgreUILjnSxYMAponn/YmaoVQTPmTae/kIOn0oZuG3OS/CIITOLpcFk2lVi8RssppQUeqG3spwawW1M90jRdSH9Yp2DFz/bF9RTW+SoBHIUzNVvdT5AyOfbDy7pZ8PxB4Ph5lUcovW2t2SSiS6uvw0oKA3Z/23BlzibJhBf60ruygTEBzKud6yv93MvixrZDeMeeitaU/LwRgu/aYUNIivlDfLExPw6tkLF9J3j1kQiwh071aF76302xvy0la7WRMnr3GzwW3WRsaPW3oFoERjvPKD7QM9mIke/A5MSVf71s37HYMCMgKt3I+rA29KKZCw2j8Bj4g/sdVdZuoU0Be32NUcFvGWNX9qEQGKnATKoSjVOxcr774hB036PuPofdjhkUtYst4Yby55fGWRlpUM6sua8xAjaz8q/yKkwOrCld0o8tmvBfbgOMLxhHD8k+ofqR9WNzyrXcBN4WPYQYMpdbTvdu8DXfevdfZMuMmh7g/IukjaXDpkvhoweAZC0GVvMGgGYvavFVGx0ZL3y0lfGkxzB66cW9FG6NowxGaz7IVNyH5xSVw4ewm9sNMIpJ9V4FWiZJc3mFQyTCfYZtgBL/1h7t0Fbzmm8BJd00Rq/9/742GmFN7y78GO9xPZBlIaiOY7RxJrnX9lGv2vlnj2g72fnz1lQnGgGs4Idz8c2PmJQgqbs7kUh5XXTtmapQJY2MmFdZMpfpawY0yF6XdTG2jEFIzSpaRCed5CmgKl4V1sjKFtqqK1GZ07ZMzOtvP3tsYYCH8In5VYq6uETZ0reEy8gkKhZcZMjHYvN/6/Wx/uIEfuG6Di69/NBI44Pf2j6Uh5TgVEshXPS0RrKV68i+XfA95zFGjAu/j4HNG2PfR6/KMQKahL75NRx2DPWAbnOVuntUmURHIXvR7ggtGFHVhqTNZIcOs9VGwEPPWugVEjJ004407Wi+qptaQapUjQL2qW2viKV/IvZa2Oeb9qQ5pEAwhWs4meHcUwPZ0hGbIrQ9LrJ6qy2oPB8uS6TNf8Cyw6pi8jJYJTue957a1tY05uUGKuta+kAg0ENUsvyexIgmoWIbXXRpOG0F/E5cbu8Df20I8wawLtYOIsp5V75TcIzAT1TNtDy6hAHnTQ7gEVJGK1Umh9whxw44yQKQVag4uZJMqLAWPZKU9q5cQc9EhuksImw7swm81loxndmcC17CM7wKoWWI1Qk/D8979TR2Sdmeq/RNcui6tGzmhMJkeV+0AnZNsZY/C5z3n4BHrICzqx7Idr7UoMXQnK115Vm3DcV9nyD8gMLWpK/nkNEiuhRUUg1lbkUG3o5LO5M3JBPRfWpFensafyFmblqmv/r0vFLvglieZWoM8gSKyBxAq8I5PB8ocMXn6vsyHUs+BLnxOeswxyHxc7pj6WcuYyVlHC+SJ2yogmUktU1ThDPUD5qw918gugjSG1cVhp2Ef7hFjAfQwzM72ablPBRgUppyKTFgcRuM6O+171sFgGWyIve/nFKxC08Nui4I4xlX7HgZrHj+Tbo3QMDyvQPntTSLcWNycgk3Hr7cPZzdW64FOghS4DuT4vvqSsjpAlhS2jgkchHnkzOerDYZziINMFzIfzJ/ZpMIGTZtsdylhTTmNwyqAXMAieUOntfHO6VEBo5itn4rWJRJ40yP4Cw+/AA8+7jz/5A3+HngJp0ec2qTFOREOsiD8/mpZFEn6EHynmx8C7HKHc9cmkqqtlHh2sfU5PBXjyPui2ZDtn7s+TzCGY6QhCJEz6Yneq8I9l0AJ0WXx+EZhKO/4kyLr+GYlpIprSOC/SMlIjFfd7Q23ltIs50YMUN2k1TZjbRtYse0k7nF7FGnZk3/EwZnfixCSmPMKJJOoazjJRAjNU8Jo6Li6sxsdv6XdQkHmZPGqMpRtRIq/faKkY5PLn4WrEfDIUj9YHj5NPvnCA0HK5IM57KIzzn+1uhkWZ1hJUBibTh4sCnYR87p4t8zji4hD57/WDr3ZeN3oi97TQu4oHtjz+EbVZ0+niNvM3usoCrySxVlf/5+CuKHHMYSl+fevLkfKO9HB0F+1cT5lAKDukE+tJiTf6gVKRkU8YOXWna+ijMx5wmPXNrpu6J9CO/lNzBn7wj1Cet7f6teFddHucQ849KMRCVxfDty8Wc+iG3wBv1ZAVaMvYn3E/x3bobk65iZu1h3GgZhumm22fkSKPtu9QmGDpLkG76YNN5nRhe+9wZIkw5LLfRMlMD1SGYYL95AoSI9PYVuwaASd4UbDxeA8LUCIgzdk0kmA6/Kl7B+iFEgATLOvr3KE3J25FKCqU3qHC/Fjh0wGpDnAdDdbNsa5Br5c/nGttGxoh/hWGo21flPovDmaNmV/n/B+IEYutKB/ztdC6+Pp+m5bRGmhUET+86cch9Lq5T6yVA3m1+vciKLKmoE5Uz5eei6OFD+aF26Pj/+qFnEzS/mfi1/XYSwKTXyFxD/7XgvCHvUdV+q2vK/GlGGpnhiP1NIaI3SdGe7DtFwJPiPljFYUxaSpTzSn+wTLN9ef1SnKvbQeXyAtrFCSptK4NAKZc5IGzA+yJhRyrPfBNkib4OhpT1kTdmcFm6RosBtFaGjzzmM9MdnAQi5cyu/tTLhKEWdQNwUwhoy032nkdExJ3bmKgXc6W4BugBY4OEw5fxVgY1hsdwexMsDwX+ycjc/wO3+fxwAOYKHRcP9tB+L+PB/nCA+xRV4TQKqqifrqvgV3I2B++3jzXFiOoPehZ03CNDYOF/GK5II1gMy519Hv3Iuxq73qYeP7OpQmsIKNNrhKcoLy90WveAy22TkW5DNuUyEj2PJvJ+Mraye4lv52wUOolJnNrFsaKQkBIyDfkG5t1FJqOr5zEXdC8HwVA0LtM9oGooA4hKIXZXCHrDera9Dddh2JIvkAyW/bOtzLK+qqWsCqNzQ9+VTGQL/YkH+Y/euW9iVeT8+7uLnTrDHxSvCUDuOO4guB07Fi9iZ9x2xL50HxSzpOBUod/QYVKRa8Et2a3Mzj6169rZRnB0Vh2bw7ZTk25zzagHnn1uQjmN4YI15/+qyz8ubERwt9St5v+MWGOVzFLr74XDsRANwUOgVMb4YY1lAXyktfooLijSo46s2OpXwH2b6bXu3yXExHecRBN3AG6mhQySblzndIkB8CibvXAX2fWRaMj7XPfrCwm3fPFDpApAdPQNIOlk8zSXljmF+3rjFU28ntlkNQr2IvR4t05pGuw6YcOGZ36f95Pe1A/NSCiuLI0IOrnzzASOjRL6jWmayfpEjJ3cwf4O2RvGNhIEVfDWKmxWVcLzrua0ziYbeI6lK2TiZXNmeNAj5NXdYFOM7rAGDPZEwaQgJ1iECxGbtrgWQ2S3luchQ1+YJfCZNREXk/LNO4C8UGXXzV3gsYkuMD9Pz8UZ8HmQ4jmgrWYiTxRnVplveiqfYK7/OiLiMJ1B/H1/YFlUxr2MUA+H9h2/rqyEr/EJ8t9KzoYcJEY28eg8AX9/P1DBtKQ2h6X8ryiVS4rZKd1kNJ2RpxNWxnGLYeLdxVgVrzHG/WvVX3VqDw/XW/c+KHjflNe4DB2qK8NhJPGmxluo6wo6ibqcGboBcBDPsZhTRWo16Fsc4/EtO1fvmbftaHdyCyGZuG70OiqEr4F1nmAd5Ep+eM9GW6SQT3Rm4no8VPI8vmIXX8JaUjNlHWyUVaXmxZ1TeQOQy80ksrsTFCAHRR+UTfU1O5MgulqezoGy3ep6P1NTBSubCtzz2ZKF/AQn9mt6EHtZqva8GKW4eYUG6KAPiZhjbp8Osro2T5Kx8Um4kjAzf+wQ8KmwSUtY9GHsncJCxNTT8nJJXYkJ6SPBLdm7Kma2cL0pmPupS48eZRQgBGWNWMY1B9WvbCenEvbMCiZIc9nesmMrhzI4nINqNhEvMvhslVbLUz2EAv5EfoXwpyo0/rtEq/fjl7JdkDBDGw9snCQyEOGerQIFBBe8W8OtHVUIr+san17LSon3kWeB0fG0d4OEEatUnGnklekW8YaVaMYMyX9KP8mmBiB5NqhXIzzKXLJwVclbK9WEMPTlXYMvBeLk4eLfc/SCEAtpE1Loe1+VvDwkHvfOsx1ONZmiTR8Yc6FEdWQYu1vQmU2dLtBoRl01iRM/Ta1RBiyeuntsIcPCmOBgXMTf2adppBxLJnsMi0HriR7P17GCOxJDQl70M86cAHZcVNwsGZdwRo4eqvgk/KvNLWhbS23AxhUva36/PacwVXPTftUyOL8t4sPplhs2ZGV3yUrUWewbpdJjrTEgFn821JTDkQGp/1wt9OE80V717UjzYreHroJ/0FpCNgUU6TtZuMHqT7EJwDLP/+TJ9IQqedvH4uKjG0EvJlmB8f679EFyrIRrN3pzzz0LqatXBIAcmN6CWrTu+7gVhBv3yZ2gJ1xPwcl1BUzX1bntcSFxt2Jh7xOZuZs1JhEVrbfecgCLlFSqbS8m1dBcgibYBAJJDm1hDdGk1buuV+qvNTinLCFuAlcY2dNvOkwsO/5ji17M/sDFsBFB0DLVviKVYOhAecBMUZ7o7Tutk+L2KHjW0haLad3jsPLA9pBE9CXl1gp1ghN3eKXdkCI6pm4ERMFMDkXUe2nVJCFAMEGR8RmnYq/yOkk2h1W3GRyc40cSSP9vpqwnipn4rF9HU5pxS1Neqo8zSXVHILpEwSfT0P+FLnWFBLNl6ZDY7DFLgyYRTajcn5uthnVpMYnZC8F22cGcFTvoXVM2GRh/YL7gcZvuHJEpoIOaEAHEJ2Y6xQnFwsDNZ99G+tj8ZmLBaeoG2+GNOZxmOVZpunaHY+zbodkabhU8duLc6R145ekazbp4JVP47PM/+vN64RitzKR8ucClKm6QDzf4KAsoDdPhVGjrkmihRYse21zGcjn6GLt+109eHAeEkOPLU8w9LGM0pGxcwho3NrSRLh1PDsFSPtHSE6aizA1AXuhutMBI/9nRrXs5if7nPzyIQM2Ho7x4NtYK5zhJcXsb1WrymIxDtAj9z8JDVbuPzLRsXxiCkH+lw9GeZiqFpEuV+yOdsSKJ1p5Dim5vkbref5AIKEBrDbHFJORqZlF6RlbQl9EzK+fABSZ89ZzSxWgo5NWRsp9cz6MzQ99k+FXv4f0Ps3Z2Do9ccmHgsujAYo8j5o0btOpl5Hzt+0hPZmg/acnBHcpmx2qHe4mNHyEvrauXA/EwAMvXGXfo1tyVPM1QIS2hT+5JonfRnbjTlIlIA+QRvSkE30Yd8zWD2V/ntc+sTZs4pYnxU67Zp0WYCu8KZT8JVLi06ze0mA8tmQWtbXQgUpBSGBH01kPL63EYzpG4Y64k1s5D493z3/olGSXtwM636jq6JbyxVEbm+6xTaMcHhIyr1w+CrSoRZD/jCGx87wKtDV3VqdqOu0nEJlL3iiIvBl4Dvx1BJZfVVaJms23Ari/AWo0uJcF4ryztsRQPTNySNKtwvbzA0pnlJ6TiNJ+YxpkKk0l9d6OxvWeOcp1UiNJUR5W9y7F4X/4qA8xhc689u5N9lhPEGcmrlPqf+k1mi1XjcWfwyi0sPMDvgLUPRTCXLsAHsJUX+NeI6AZeUcf3ScBIjpcTCP4HKhnbD+NMlDBCwAA/qFKx28CqjZZnhxuRszkWnsjYdKAL1p3yBtY3YjpLJZwp5ttO7Zh2valNHdxsRPZX8IBJDIFUFXMSTEs2nZUpsIPAAVlxUXdEIRX3inhAT/EqHPzCCnOQhslFBC/cjAA/ReMm6JpAdm1O6ngZXIVCojgwTj0ZzFEgDDL6g2S/ZzPa7BaHqwXJAqNoBwc4owNVtxpKZpc0CZS+FqpaDrHIRRWkPevWfYz5v1i388Zj33ByzbSAAXwL1gHZtifYIfb9lMTNJ8rRh5CbEjXSLaNULrZayORZC3DdadSnQSNAxW3L4c5WUJr6E06CaOf18OBba+pycytb/QA0RuG0/CWM7RACxDoqXSteBK8aVgIV4cAvQ9gJitRaE7+wwF6wP8NujRuFaP5ONFzzBiA7Sw61dkcFpKW+gdNwMJhzTZbR2GWWFvZ0KQ5IBSScMAkT1WKHZPUz3GsA1jTwd+Fs9y7Gzm2bGdAdD0hiWQSi7ggCEyL3iX7GZrXkfPjUoYz4HwPcHlwmMejSsBgU5qty3hmv1N+xTNweCnWMlhJcT550ljWNqZaShYsDYiagxdFiQMdy6IG8bwykFVRfBBWeKbxCgDSjd9lETAxAzzJFlVYceTkjBLNfBJpTG+Q+yfujpcmF1N/0s3FerkkftsuLU66ErzcaXoK+su6FoyFzyMAB1p1zC+fwHRyhYPiKLcpvM2/IDj0mXfYTWNH/VhUQm12iiMiylSFg3IqogcmPcveqi525/cunz9/05z6PoKzkVtXbL43IB51C1KQm8ydR/Hz4VwDyQKPNXKwFhlHDNDnL7VALO5ocQI7EPNIIqIJQYY8ehy2gbMlZpVMt0LOT4wWtS4+74RBtzu5Xp/nwKGcIO0/Gpu7ac5wHNSOgjrVXJG9j/LQnY7Gi23gsWozr6OvXBVgx4n2aeFwZGEgWjgXRCBa+bZGH+hWnjL8GmaQ1nbRnb6TqF8al9Imn70ySAlHrheecTqC2tClYRKF4icK9NhWo4VMZ9Uyt7/dD9r4tRt2ORjvPtwEiFkKuxu2HIALx5A/vb21pONwaiDLTcT1AGinPA0ROHJL+3Ugi73u2Uoy8TJcsYe2o0FPiZCkOUmAg1bQOk8Fe4qOcYb7EYIecVCVEl0OMTrGDe7w5SUW1sdxtRktHYmdjyzHazAIa4Nx4g3gaSi/kqYonUqd+JNpBihlTKL7FIQNWJMMtNDCcJ7w6HT228wk2moESMSUE/CUIWBEHr2nEfau+3R8GlMxo4TlxygOBa1e5KP0i9oujDEHbQBNgf9oKhSOh3yDDQFLF6fd5VnPUAtySeByaloDTernI3ulmgu2WMtTHWh3SYsddN23YNotOJdGvvYX1Y8gh/ugiqAgUUQLtC7L6tgqR7iM91+qWfxp4ZGaC+SYv9DpEHvOw6VmT/ZQNl/TMHw+ZZxdVUa3Fn9n1S/WrrRgQq0gBjFTkMfNrD6jRfE5aXSAnUaMidYRkh5Aa2iCB9upFjhdjGQLKLX+7pcWK2vwGqVfs1in8YrmW/dRIRPRa3AjgzKYmu1bQC2FwzgIeqO4R6dNXZQTnsp+i+WPmCdtLu7QSyV0/NJCmmWITx8yiBhWS6jUBcq5RbP7mUc7Hhi8hIznBLgYlkoGjRLWS+cSCTmnUBNA8OZ79aWY+MOQJPZzXYB3YXNn9ZUFapq1vkWF5gn3Hyslp1PA/zhM4rdbAfVGu9U9LQrRojPW2HoPwgR9ZZssWpM3+hGKtZTODhrWpR4za767XRfUwxtJyVyj7YXA/XNKS7/MNOYK7DOaUcLKwP637y70vYlaFjm9un/PDte1hps6jkY1datWm1bF6vl+2+5BU5GJ3JCb7OBDhN1GWBETMvx+HhKY6BtfBmZFarsa6Zmnw6mS+0oWpuRk0o4jbtQ36Og/nlsWhq0W1dWLaKy+biZiL110wlFmVYhgncPbH8W8ptQNbWp9K+IxVOyWDRKREjMALA9YyJJG9BxhgtOcQixQ0wY2QRSqAvV2RohcizdT9/4qk+//rbKmO+csAGWAx6/BLtoTrevF7HyMOAw0xE+lodjvw1nt2FUC0ho5mzqruD2qlYOA4fFn3s/voj3v7TZolIzFbw0LSLuM2M7POteTLb4InUExfWUwvQah1taEaiEh/PpY3BJIXg4iadjSF5Dvf2BuNNNCzKD1davJhq5BIw6FtCx/Fsq5O9+8TD286BloeJB8uhxxrcqv10EFCJP7rFmEhVztNlP7Mz7zu0I3jNMW0ZaQ8hpZXGT3ch70v7eBELQ0VKcFziIQHw5gU8AsZW0l8Z2C3GLV7XfddR3pDikvl30fdCWt7JeO/2E8cejhfpuMhrdfyXZEXAxoDLdCdW5KEm8mQ6QBycSJH3MsSQgoLAZIDTYsUSDs9vS+Lwx6oMHLEmCNkkQQrYv5glIO62shv7o9iqZhRldBPZSJUNGr9KeC9y6F0SlfywHeoaul50iwLMSsMo+ZAtICYpcBh+xzl8ChQVC0izfIkHHNpUG/QgQqHb1/ZMo3lD1Kld/ANXcv6jfWZpEkljg3mqCR/ha0GX8vyV2Ly91+4jrSPeKxY6aOvyE9nsX5VF8jmYLX6xp79TtNqvs6KOn24s4AEHTQT6YC9eO1KQTSRQlwfl3oWi5ChZK4f4Po5VX2vtMNg3pVNQFQpggBJNsbPGg6auMMnjUjFv3rD8ufcYYC5VwuUynfmNL4rsKbLShOo3HPhyDsQkngQPR28ooeaPXSyRK9Rmye+hFUo0r0ELdvVGpdF2oM2/Q1lww0MiY4kEmve/L6tACqh2ovbQCBm03oIDrMuY3l57Th0OHPfv8wIDRvpH88NZPbD5ONCpYThQSieBI4Hl43k5+TKt34J8Ia05yGZpcz65mfsQWSglJY6+kqjcgubykM9YRmQHYTlr03aHB9bpbwoiqKJTLPYPnXJiLHGBPh86s4dp1Z/DlPXvwKuXgVp782K6/jA2VuJ+zmWBV5bQptVDACs5XZMq8jQ5gW4Hmv8iCdNwFLV/N3D2l6QCXDDwj9p7vwq8GJy/9lIVw0/cAK5q07HbyzksTFtNfRZPXe2LwP0ZWdKBZIzjdhFebkASAnoY5zPd0Oj/Vtyoq5PjuNnqJ1EwbEyc83pOdFBJEHTefhLJSkNOqldqX+Yo3dJGi1HVyPOuMJg/vNt7JRrIa2TQpI52P1i+whVTDRggq5LVbFNzt/XAxJWNoJ4BMqmpbO+lfUphPzItyLztB5yITYD2Wnc6ryF0ImSSWwnARQ7hXRJoYL7Snco69lGdKKOunApZLJjmD3amiOM8bwGRMO41x7iaiiH4woMKB0S5PXfUoRYwfu2YS0JftDWVxLX8yYUmOqqY3V6d9eEdGh97P+Is5XIUHLuH5J2BxTpL18o3pi1BM8gwV9SYIpkP2qFkBLR1+yHAjKvBTnS+c8BaTOiXjfe9Nf6IjSPSGi7Je+nhmoYsqiqrAygQFm+SBpl7UZQEoWYESnhNuTyIcsCogjYjNwHzP8lviA1sMn5moksaxL0AfbPMB3KbM2IOuBjY982p4Izz4nAnM90VVN6OAA3WZJ1AAV8jLKOOnsHlAA0fK+Rh8xJkQRCvDm03g8aYdp3WzkZtF7UqJh4bPLRNIht+5tzVvmDs3BY7YVQIajw8tJk432IBS8Fhm/Uzd+BSnwRjdXYyigR40v9Fpa7cOragaTbu8Bwd9gpK2cITtIyAbGaM6h4wdKpreENGFwGjWRV1PqtMEIZAPYOGpYjs9okLJFIe2Z7+m1D3W7hLi7Dqv9c6VsXD3kJQuDP1zxJOnN4INlNNZAxvw8zAHOohoJzBXa8+GQxPe6J8TaWSSSbhYdVGPYoBSO3XbUSAUkfYVqEb/Vpb5bJDzLUIvv11vR+JpWe2YCWyxa4HhKCo8qA125NbvgPtkEQsiKdx8UNbCpHtnKuZR0nsmtJig+g9Mf0UmT3c0acDLhy0qHDI6juvi6XTLnZxfov+QIA4mSBsWSuVDbpgGfF+W/l8sTO0UGl4Dvep69lK1A4jljyFqo4bpMqteTU8G5Zt1Fyih0yYS8mrneyVwyBJTZTpThrKLx6xzyJw21aL0O0cypw3kTa7N5O7jpmrKOg0ONfiiF0IuM6wO8PPcrCxsbLnDO3Eg9fE8dohVvstLsFUykDXNeYb0bJuZCky66ROnj2s+GUkAcIHaxnQGzskFsaL4JHpEdpHcbvEFHiUEBloKr3hhdzwspD5/PVqfj2aZUDWY9IsD1mMvpuI/05TWMeQfb1Eg8TtqVXNwKTDkEzu4NgJBxsb+bb+Ph4c/kJ7vtN6MiO15g5tOYC2/X+N/YpNxzf8wnWOJfCsx2gefxTtM8BlQWe9cx4gk6SUpDUl2CGTV40RSHMzWx4y3+xcM4yhe1Y7n7CHpWlX1Fv1rxxtS5NNMIpnF5Nj4w1TAOeXeb89LqJeIsg6kIUmVpA+qbW94QTKwFbMifqU+HfadbKfBxzv3nRJUul55rBzVpQKHSV/wYsx2EKONZ5MvG8d+ODu62f07itpCBHkumkrDGs8ECu3KIH8mZzhzjaZQmdAYjtIDXjGe5gd5hSFqimNG5zhkF0HSwGnf7N7J7fWVaztw/2klilScOys2a25lHdp2dx1hg1AlBLgj8B/kAeowlD1SvfYRiI28Pr5WdL1N5sih8Qi5BZHUUctSB7d45JearVhD8bq/eWmxmTSxnvh8C4ekBgvFGUWlv/dubRNgf/JeDnpusrAlTkDr+yntxy7XkFjOenlh5+E6AsJVsF2BM76IdOsp+EW2he1y1B6XRc4KDfZZZCVm4B3pppmQtA/G36O5xUcJDgwwZVstERXbl5gvJK40DBB4mXHjQu95sCdCzeK+s6wZpPyPgkEouU+mdQjAje2ri9O8mvPvLO7oq5OoUOrV+X6GlJwXuRXUcxf7wrzpoHVYTWtbU9FesRcO5Pu2788HDq6u6jZw/2Kb627uYsZuIOz1IKc8Q67MKcJ2NmvIVy1G3hj+tNt085xpIBFyRWdCfS7Cp0lJcTiXQ7aFV1VBDEgtm1vdVPXhFaNFYtZR0Sl7/hqtrZXhcsdDwYnQe7ZTslIL0Hrjda4mrVrP2Bk2o24gKHp7TvP8xx++6w2XoV4tKAzNpAjPyhRLFL5EK7DuysoL8K0K9YraTbgIq11q1lrF6j160/NhhgFkKHicZ2Klos01QiQc4skTxGH2B0/oej/SQ7dz5PIVAWYaUcc+79/Ag5WUnq6CTHYCwWz3h6ZWYxRjVk/LUrjoAOJJOpAs8tEMx7sDKy9U/Q8s+Tlshtd8qeMaZVCV0/V7wv0twR+aYniEZCkiY3ElD76wtOfZdEbtEFwxMA3993hz9NGTSZdSTliTUmrOFvUrVmetH4cp7xDkzEwfRGFtCRONHDl9Cjd/oND3rDYGlPvBJ2m2iVyTScCzjCTmKa3dI6J45VAgbw7ruCp8Baky9AJNitYkehI9lrWdZe4gwF640+tkmbgDqAzMTT/lYL7AibLbrM0Yn2ABBWOLtGJWpmkEecpx5C/s8R9epkp+xpNPjEXWunCIgqslAgSGaAT2x6Yp0oTtYtfC2yUHS8ndaaT2NmlaTHqujA5886FAILoy2zwsqxguE0av/ID9zNUitXl8gpNyR0c3pfX+/okK9y2I9Nz/exSt9+vIhgJQLxw+lBNJT/bJrwM7IgMa8OUBr0sEBkC9Aj9W/E+u4ljG2HWMxqPGRBUDqh9Y7fmbrwiAG0LRDneevm+DpqNbNp3Eq2oup4mPMUdt8ocgOTCbyEEGArVbZsGI95cTP11ZAlwudJlIQ4C8dxzHfycFU57jnoOZybY24WbSVZNXi2RZFg6usi0rvjqGwbXVRdaDXsfA3/pA2Hfa+TDWuWOBmkmrPHJ4rnt3UsxbeFWmUz23Pdgp8i4YSuG42qHHW7q9bntOJi+xIDvdv/e7PnRN2Gb5liyYSP6pMVYaPblvdRF+uDyJDMLHz4oGdRQeEhyduXiMcUFAOCbPbtEwHHNJerIZ97sAwoqNd1JCfRk6YqnaS9iJPzHKsJ+dDGvQYe9eFHihrd762zcccTlcTlnEtgbyh3qnTVa5mxmYQ9alOzBZRG9D6hdgIewfNEt8EjNS3gnf0AM304T92o9zBkXbhaQhwK3YJI1lEPrwkZJNUtEd2mMa6zd1z2F/kj+VdcOTQgmttwrMyRTedPJ76HoQ/eB8M7GC82O8MyfETt9dXehrgzx2w+UNf1J44+JiMFdVl9rk8F2V6Fiu4NSwGJxsb2jIBGimg4oCwngDvoyE0/jqYNzcAgks1MMftBx1MVCQOa+fQB2C7j/dW6SbLwkizshGmXA5FzQwe+gOF3d+xcMsI7r1Dognai49rQrf+/OrX7uqzhjY2/0o0H5aKmEKm2uuqGEeHzGPnSJ3xF0+CMZDblIBIBtg1IfPjJc9FHK+nnVXwNWIjD1xFScfFrX5MAEZTWFQ5Q2/h2RT3xZxWsCfxDh6OrAR3USPe9Ie7HyM9xp235WGU+AOxCEU1liWToRVM9GiEErVxG8m0BqCk6J/PNXesEVi43khIt6IgAfmmjih88DONv4gHMO59Qvv+tpvUJfRm7scL2z7lkvwkqFxdu7vncwx9hcK4X6hyVDvxEM8sbrQINlhcv5j0/3b1VvXEZbW2XEVxwMXdbtQFjtlTlqtxZMQnoRh8aqlv9cyEjCwOG+/Qpfw84OYeP2KJfuoP4e/z7GsNAFOS2c/FGA4FTvuvBhfcs/SavKjZls+bgD4p4odXZGafr3U9LnB3A+5R+Mze5l/DNHDL92M/qD2vZbDrMSLfdNjw7/faNUJ69azbmzoOKUxpt4thKkwYWg9A0iXM3bMpUwXpqN5Cq4nqM/Voa+SKrGsiFnQoOaDmH7JIabsrvcI1WkCfnO4TTlRACM3vyjK6JftuS9UodgT/D9JQbJ+WHa6fN0BZBGiu1viICQtFVsqYKgf6tTq64EPBAEzo29ykxpsMJ+sA8+UP5xie1pya2zauO4kt754KVbNQZYZElgE1SUjXyhKg1u7QjN/IknYI2IHwYFZOPJaZQkrHFdime9cdWqv7CaysJvW2PKdvTpxTUkBCT5O+i19GI7KjGQNJ/UH3y35nEmqaFLns4iJbbXjBpnQvjcTnzuxATZ9Mhi93mRiKOfa851HYl4V2Sa25OiB+wncafLXNCxr4LblHVRsJDkHIvlnPspWhW50Mx0sMS/2HbwgOvMv0Jwv8utYjyQcdNg3Lzss7Xk+wrEHX+ED5WP97zrrigAgzGIMgSBNf0fXS4RxSlECuaxmFtvA7DMNVv1f2IFPNvquko8HsTAbkEXCz4LPLY+Dx74+0rP0a1PoO3WeiE/x4E5sXyQesBNJNLvfJPJ/ITeAZbOZZhsQZRBPeOX5S/yRTWBUmhDZ1iAGPRqDbPpms5DxkkMMuN3PxLGeWbEutp8hhMY28Xj6nH6fDb7DY8CfJFRvdPoxUNdeacpYx96GI3vz3QxNZVZMcIPslFw22w2hMoN+TvVxt3f6e2tGsRb21Ap+I7vqte3i2/FFGZIcBq/13wWTrOR6BIl+Y0YG1SnuVhwSJ7vliOo4AoRLSATBlxYhkqWA2eiOBB0fFfFwG8+pfat8yjkctdOWbOW4TcjLXbkqecAt2czsPqaKu2/kcRY6+V8FFlelY4oSZVPuOHxeHAqX0OBCF5Mx/xaVopbICsfVhYeSDl3W+FEOSurD9sjDXFn1HViNyG+ABIJbuQiGVd4+cgNgpXtEohIJHUymgjq5QMofQKoJtrbd3PsGQNJ+eoj4wD7tpDsHCIA0xVUjPcsgOdYvYmZQsWJCIrNjwgnrQ64oY+jKn47Nhhs3WjjCDqHaMrjV46lIT6TcCfJwnmnPV5BReKnWq7Nezr5fbMmfUZgyjSeZOdFP+5rF8I97W55ZgX3gbHN4cs7rVzyyGNHNmA0WvfrqlfzhBboQGGGnXA/oCmN4g6qfzCaoExo/MlN7sjP3SnMn7M7EdXPTDBW1dpLHO5AL8Vncg9J9A6zWNnqefqytpQCn9GWNndsb2XFf6/YowfWZCXvTyUhl2WE16F1J8kp3r9cNtF3XiaO58LjdxijQ3gDsFPwdchb8HIpd6QirhPFEJO4nPbqxyYlTPuZjTwsZygJP49ScF0fjQugQNL2bfOQPswXZ6XlXxkBsRg2xlGpmLQ5+lcxe7QgTpGb5hFEeguq4F4m5KoZFFwQTHYcCy2yEH/85oHbxDlilYHEa/XN77+HajV9AVJhNehpm0tAcgNWUxCsRmHbulVPjnz1DiDet0sWxSeYsDPmEeF0nnUVgypYZFlYVR60vVwH1Ie1eC2fs6fmk6aIy8lbJAIFgIZtRL3P1LBUjaD/Ohm5cTBpoEdTw6kv7u8AA+eusGEXPXo5Uux1/oQJ7Qhm8czKnhwWkcyRduR8EN691qkmICdM55NarfdlumTAXcY+Vm7npb5k2oyzqnLgrq3Anzu7tqr+ErLjG6FHxOOs76vPGAlo33yD6aQMflZ7k35D4n1h5I5YG/w+hA5RyywauyKAiinHmJIFaHDVoq3X4FAsBpMel1K8HGclH/3sFIKTnJa8AQWbHIPI1X3CKN6YagnFUgoebDaW2Lw0l8a+UmgmmtmDYj5rBrKLrmFlPNq9oYOFf25IBLrOkWU6t0ARRbTjyepKlyef9oPDBG3qoaLkhaHNrgQ0XZqxNUzgj2/N87NO7zLH1CvUlyEvhIwxI+8UQ/hTaC6FFN/QTvzxzL6sSD7xW0VXEGlqLKeebivk4d456FBX86VDptmkU1ho1hx7znEMbd5nD0Xf5V4GVCWRB8yHkawcw3+0W4z/8VqnjajPWp7LATPIY1w+vtHVh39SBgTeESYxckEjyZn81m8M1yz7bIb3OKpZX+X+GntV6WzUns/Dgrcmj6M7yTpIUtSew308DD350VhHzmF/RHRYm1/2/hs6zduuS+635dQxxo75uc/q+FA3wAMquCg2r+txt4lF+HfM3PtMZCGiYhAiTZt/D8CXfXECEA59z3Fx1QstDfKmd6i1xJ2eSdCaFdMkT5eMIGUCFgryXWicmVv/Zk08S8owqxePU3or92EJEXjb78tsVAr+TjChXhNTw/ezgtumh0K4q1mS+EQw/RcbyICg0OK8UTg1QmG8I0AzfGLty7lRTXyxi++SKRnIxTun8P2E8FEhvnpv1qkJknh7UE9e6sEggmMA1M5ZDiVFFjgocK/ru5MgRpK5mDbyTX20URlG8IZBQ7PaUza1+mo8zouv2YGl2H/QSOlWeNzDOFsuVNRGsBcOeWVue4twCrozdBjvCXbmvCOw0yfyAqLeGtAMiSgu1ISWz6clVyitSN5H52SGs1MCK+qi8OLekaeuXMjBQZbxWC3lpiOW0pRxbbh1g1TZyudtpZ/2qUQrlnIfPjldFFF9Fb1oxdHbI6I00rEEIT33lLH7TGmp8CO5b+c7P+jjyBwhLjRXdgacoj23CDR/T7pwec1lTRitRlLFEsisMPt1XPUm61sw7dKyi5vZqI+LoX+TKg/2eIbZQpQcsPCQvxPEfrWohi4c94ZvOX2ycj2TV511Qmx8PhU4/W+g5YQbtJzM0VcOBDukFEMraPmxTWF+GTjFHw5flQmLX3BVUCHLWxXS81khtygEySt6xmE6GMIXA2h/uywbu9Owp/n+m0l1KbW5BOWF5wAvLrTmx3mPBkUQF7K8fpJMTS+VXJ9jepO+9CK97VsMcP7K0GhsHtmiUjORP3vWajHkameVUuj1EcMGBzDLtBmMSo+vzhefLUxR752OAkISfim155LX/dSFvt/Q3bFNmxQpZr64LNcP8T0vaXJzQCISqePOG17SK7fUk1uMJGS6oiNW+sgPfOwBsW4Tu8iZKnW4s6PHii3Nmiuf6WimfR/JitxJ9tFdACQ3r13ewydkG3xqaOuUOJpDoFowCbYnY1vamvM67XZ4KwfpOZBm6oKbf56s1QfVyVPO5jSjSOX/T5HwrusGYNLRtPkKthD8nbUyBFDQHtBGdlzFQb79zgUmhAfy6k9K+mwGpLZG2YGjrMKinCVvAL96SFPXsfyCic7NDFMJLppKZDlC627OgpEKDEeI+qEqmNab1a7Xyl3/Xm24M3aG418xeRFH13bUm9elP34kn2NQ9A37UGiugPylQn3L50EZL/o9+VpKHqK9IO4ySn457I0JjgbOTH05tVplknUsePp4ThEgEYc5lsEgGR4diKBWd71oy/8KWY5xinuysMd9ZnwvTWXt4/3pPF2byGGn412rpe8by/RYJ98z83814ekzHvQcFFgxONZetsZBE9zZ8gRmDxm62APfMqhJZMaJQCRdbZPdwhzTW3IRYMifyLVIPNRJaabv2VD6zl52Gj1oFsDa/d/iUJPZ4Jm1O61gG7ohGQ8X86BsFU0EN962QzGqkuA4gC0nh22L5XH7mFqxErVGE7R9gV420uAHyjTrh90yNVosyzowRsB0ZpOOMrJrltSJLBgOvQ0czen0mDZaEQpB03oRUeCtOfymoTO1DCDaXBl1b9Xsr77MxQ3Bxk9ZYtVy8DrhOw4poGgT5I1lNYm7N68Ux11E7AKKzVDvT7Wf+A6ghZVwshct8dtgNAuJyWuG3Wy1Y1+SVGbnixo+qG2uOk+lLKUNRRSbKKoav/I/oNcKnwMw5dzfiLtLrWxwUlOdTIlhqzX3jmzgYF8x4xaWGKtHFzFXq6MqWbfPDzBW3+KL5ZZBiCcWXTLwVJl8RlmSR+6LcSDgzBpdiscW82pRZ2xc/SnLlG1WiCgvL7GNYJy+gu33sOrJSIXwiptqFrNd+63VJgVkBXk3C8KPpauoyEPYt/3OSroaxwB9aAIWht15gK+H1Dvkk6gCBXYs4+KBBjtjCTQdCZawtUI6yPvA1VAiT5s4ZIIQeVuuTpHDWf73Pz/DKyktvZ8ibkfJ8191bgGZhf7C/ca/tL0VHQn+8aDcsoe8W600PKG3RMpg/FQ9+3lPjC6l5HqnAPxMFs5joQNZauMXfULOuQY+tsp1xTR4NuqPl/U+LPYMvwQiFjuY1Jeqk7NS5Eekd5E534zOaOQKcHYSUnPE1w0NgBD14CyU0Gxb1CAe0E94Svw5LuiCUq3YwN6pS4UYjaJd4X7TgU+RIx8bW265ejanlnIl/D5mLR3ZiBQIfqSshAQcfhbm+zYjo3Ai39001JTo4c0VAhelHa26+6QDXfr2Olvemlw6Ij1BsgfMWQ+Fwis6nSDXJbMR2FRzthlwQdF9RhwSMOC656ZjkkNZEJdf9u/ruesO9IquSZdYx62MG2s3KaIcaBZkcfsRQSGG9i3pzFPXtnesU/+JftaqcnzO4JrB2iShOwca8Qb6Y/gAmV40uk9WqiaHpeGsy+/sezq4ho2JYMBH59NMCMurJFkANgcpvcGHdq1fOT4LBIppMRQyz7Y1U2Ht1k+bj7g93kAd3qAzYbcnSDiOQzn7JLC7VeyY9RS4N7kphG+oO36OjBglJ355wFGT5XJFnbvexUlR+2vaaBpkNlSl1hk3UQVpiNORzlOAopz5GSmCb5m1J4q3poNRh1VFZNptbuHx49Z/ZYwCulfJvKpbHBtE7Ay+sGtsbdUIbZjYhROyQM4ws1j2SYcd0Vmj1gGk08ceeNpHuV7UNUIgnJkFuNA2LCFODjN9z87/55EtUG4cL+qZMTjLozt3YAy/KplS3BsUNd22hxnU8xWuxNYKdGaWVGWr17IG2CPcnlTUxrZyclEPNNB9qJxenAU0L5lT2EPWUYndk5kVf8h9Yg2uGlQDmC1OlRdLIaqhyJSxm17rNpmoz3tCLV8Kym81+QHehBUkQG6mN13AKo5USKEmDsJUtl7nFuLRVHn7fnMibJJQMNUfunX4rq8lC16ERDW0OMYYzpUoLpbXZD+chb+oO1pkdDyWbqr+O30hGTqyGJk/fgWUSFVbSdOehud7RXcoVT6LTCVQSBcC48WP6QQAtIUKV49XWY3XIedJzqU3likRFdamH3lTDPZLZzAJEpp0qh1uMkGRAG1gVtK0vTlY+3Cr56OYmUBndBTdyMa8ZpPtlyqaIlRBdL0rbA/pknQiqSG7SLiQh6W2vtSByxiEZBGkpfD79SRDUjfdqTWQr8Jz0U6ksgeChmrM/ZTHYeBtgqb/mRinDwXA0JEducICekGn5fXkFSVxvKdzDpz9hNTHf+WmvC3HuKPMw+JgmZb+0iRwYhLGZzdBNNrHcbwPwM0s9A//INGdyxtxNeCDNE7lLwJJHXByFwIhRNDWTaORVCd0YtY+aQXW0QeBfei0uqT651afR9iVTgkYK7TqlU14tKfcc/r+LJgIlfr66HoBq1PBJHxwV8KZqjAudat/ZwoWL8BqGY0STmuMNLt+MTZxq8v49EUw06FuLZ5wmhR0SxW/Or+x0IZBJV+BIvt+M8ZbbT82sdEeDqzch5jK9DkfmDOgmVgDEtKD6AHpzuGR9AIQIkSCxnqWqSKh2Qkc3DvegWWWAzw8RXX+MJwi/kqjze1eHhwsVWpnL95gI1o81VHx2kxQ3aW+DAKmkJqdN3LyJYCdOW5iIZDnPJZxpso1X9RcuZiB5k5AnVxD7PFzC377glpMWXRT2QYEdpr4TSaUsbd/ULyHy/hElMxuQDO9BfomzZqCJ/vL1qVsloRapND44cZf72FA9NmA+rlPnFI8Lu9xX3F4ONQb1VbbB86kinNpy4hY9vbhAMeGVAjBMLhavkGyuifM9jOSMQAR5WigzcSlmYiwO9zZJJ8XDa1aDENk/a3dFrnCuct4hVd/vFcpayI3v70yrsrDY5ltEDTqxKJkyHc545YCSrlRJwQn0gMRvLKMt7gRKUuMJGdJR2rFQ6h2HNCwkdw12XBru2ARe6pH3z+Lw/cMPiJkZrmSNNi5cSk0ISaaRN8/C+9sYV5Hv1iSAdFfKR6e7lm+daZFXX8q+iEbxpjtjn42l+PN/SxX8ePK+SSrtHHHvJjX7AaLa54IQaOexwL1bItwK/KO3yMBrW2aBi8cKlzF6En2P0Ou2V8gnFC5Y23JcKzdJhff2wPo8MTK19lSp19diD/h2RtegGJbrE3uzZUCtcIdUaYhLOvu63r5F4Fgs8a4v90/pQkLHvQnZeotftWbKLjEvz90QhM2S1ZN5AeiIFc8CAa9sUdWrECUwfu1IzEJlE8WCaE9ItKCJsA7pcg+ECibAhJjMG4O5EdR2/+lmnYu+jkvBnY+tyT6VSCZamx0ZBYPTul2pgeBhNXcCLxLFODc6QwcRavV0DqD1dIN3mZ9T63shqUFb2LzumqKebgywstTHDldR2BWNG5rDvlYtFKEFKZ2dfVOpRo+9M4HXVtZ9KxAKF41fOeXSR8ngyJIQUMhokjpAlL3PsDN60R8aMwvKgwysBo3BS6MSV9cTzt+iWH5nm2FFF8DS5AsL/Yoe8g2mlxAc3KRd2iNId6EaiR0LpdazK/LwmlD9wFBTENdCSbj/8EHO5PLY9eDn0tt/kjuS/lumSPm/ECprtgRMiZD4YLXTZ15DwZFJJ0OX+QI36y1z3PyeS41wg8gueyuj3i/51Az6/yxa8TIIXro7z3LmSO1sXNTG3PMY/yKfZ+Er0UV7pJRDJHFy3pVJnJMzTX/b2KOdSch7wL5koI+xmUc17iWFxiFa0iwEZMfTBM0rhMFtIi0cX7F++ClsiccQ0xuCLOoythEoC+djW7sgD+GLmDqKdJfOBolzgd6DSMlxtgJHUkgnGn724eDFbqoLZtXAABvuE86ljt0FDNuhWvyRQ8OgnrM1zkqZIKVffg9+4B8kNizwBwL+9AF4XuCwn6kjiPUQMX4enYOaGM86niA6nHFrGSyDolnA5Ke7BfHSk3Wk4ayypJHHvRO/Vx4bed7plunbM79w4AD+gL2hIVJCEMPzSyw5EpUf4RT13QZn9sOkcCNErLQ4Xsku7fhTg6+HlndbZHpAmQGzE9wkR9MSRpZ5AOMEpCAsy6IkuZ7pduAIwGkd1zW6k0rKw3Gh415KlPk6eo4eURDJmTEOQ6ve8qN1HEIbKba5jitjgMYHsmKPaNHJ8J2pHbe0NBOcHReAbHPhz0hcDTOv8veDJLB7BceusrLmxhrSm7tkKyAPlOAXxwXCmsvbHMx4+ocyLzAVaENXUt71a/+iNKhvwao0Kgol1sQkxsaAX7uHMkqnw865SXfOUVAmVlcoBSTbvfgTk6q1ObOhoNLozYDCCTdqtJIcfQiiAoYfdpVZY2p3rklOmTikJUykuOXNZEJkb3Un2nppRuSm68zWojKyBxlbXRIWCuP6cEstfMLNNIzv79AV10B7ZRPUfkyp5dVQA6DSlST0PX3zXPu6KWdXlNo6P4Be22C+H9CszWHmbXiIh/h0yDnAio5TCbeNxFfP6NPu3FEd56dtDyPbfDo2PvD5NEYTwgUX1BHCQaeLrh6P4DcQVlrCvyh9vqkPDZZ1zKmbmn27LbXDClBMX1UjGKzUjyhUFOlN3VoX3pwtDoua/FpJS0euPEyQeQM7OI9auMJKa5lDp8SoTGY15ZUc7qYWQC/pfB5dz+BihVc7NXzl04s78suOQ85Jm3Ote1Cjs9agFo5yIcHy8C3c5RkF0vzC5MFDcX2qAVvkiYJwoAtC5qTke8f7L3P5lQuXOhZvAygY0mizsJSZDazZenbRF2ERvHKm83pPRvv30LKhuf+hdaFnXX63t5nqjzsFrJ57tOiGVw1bOnBQwJdk4GD+8cgP22/81PwH5oJ0uOe2JzNRdrQLLT99MOrv1aKYdEIRHKWlMFxBLEc17edzgg9ldLZqx1SqYc9oc5VnXAe6Ozo6ENSlCUnnNq15p6iobp/OMfo6QS7Jhf5O9R43yvlgFqgITrEPfwzj8clZJGB78m77j2lnrRTJ4HinPCGIOK/DPLKdDum9hDVuVVGMLtVNf5nNVUDdAPNJJU0+hetg9FZ6BZ6llMXgI3wrkU69hT86Vp4TdIOoRXMs923D2HTx8E1K/XVd7nEPQihKLkId4JSXOiAAaoIgrL/+ojMDQAupWn4UNF0Jm9S64dKkuLC+oRCEjoK55EkPMj/0FjH4rY4O2za3WvwwPZ40tnJ+9JQROt8jmStmKQMhZSju5L1bJYU0/lTbi46obvwnAt4D3NhSS+DtsYLSjW5icz8KU69q3b658peiXAnX8K8qA4PhVOj10bxS3y+letmAJ45cAaJQ0OddjPCf/xASXxLuwjXBEp2LlDxxQsEgvMd/DxGcahxx9Ze6bdWl5J6ooVNYWvFia2d1j7z8HVbdGYbgN6bY3QwzJ0NlB51P1wUhCNqZBYD1WVN/puCQJADJaIpK1h4kroqrP5DEsC3LsZNlglWoOsls4HsPXCXiZRs2Mq1tGep24tsR4LZhe2pAk681cFiK0uEyMxT62nldU808ZfloyjpT2LnJHfBsfpkvqu/9Kz98Ge3aEjxxEjlKTu/x3gsFo6Yhcb8nHgOF01URAhxVkYngstpSA7Ap4wD0joN3YCEjZgYTJ7UYtgtdPzsmEJpbZMAzxmOxwhN8YU/0wc/rT9ix4Rb3DWq3j3Tzk4e3qwsQHMYj3yT13FXgowgosmF1JYjkwGdPM5c7vtOcH6TopEcfxCytpJNeVOZBq765DMzz3G0PlNpELK8StoQTFqE0fEqnZzCuOij7WEieGWs8/Mlq7Lz+9kmif4i7J96v6tnlrTrGMoWI/yDmdjy3Sk48NQt1/K4FVQ2DO1cx41+7rFlOgUrj4g5cyfWkaGY561E6O4i0Ov5/NEZKy4SEy6oJU/KBs8OMY6j5Ld1qgdyM6Vy/35Zvm1J8u7QxDiD710DD6OodymvkS1/yn4ibNAB3JIWa48oC0yCdaV3KXXIryJ9YNlDK81Oa9gxvE4iOn2+FMsxHwHEqDeVOXA+D6p3ZJ6MB1LV1ilb7tCO9e3iVmWkbyJW4f0ykABQOYL5g2rInqsN3KTu/8pEzlf0EdPX8uvu66AU4sKbjxqjs0KyT/drWbYBNSqHYwAqbz3hi0YvJrURYE2HzvLvPxmWIu5OzAhVynssqNccj794owTedDwblVH96U22BK84dK4uD7IBnKrUzIshVvOmBXgS6CvhGx2UrpsCbygDWAm0l2dHtSe9uzoaCjcM8mNjrQTkyLyW+FEoQaDPMG6c35W1AzqW0hbxoqia8toulauMUyn55WQ1l3KgvzszSDKQP7pm/2Ri8nJY5EkFDBIb8WAWbM/MWmQOz0yrtev/DefFIR/NjLHtvgXJVckXXa5+ALGttTTmN8JQMAufafTpuKvuteHqfCC8aziOhnYv7xoJY1SIy8JE14L/w7JhyhqB9D62njDLYS9rA14FOQ1pIUKkCr3NnwGuVC5ictbs44f2U6xsiDzl1PIj7e7bEKeuGoHhlB7SIMua44hvj4SQa0psXsz9bCaAw2f3tMxdkS1abQ37To+0kjbFFmEUEC0yAxCWQ1bFQb1meBekUsTdyKz58c6hpjxIHcHtTq7L6b/ZjRd7196R1ZMG9Sai0tdCjuh4l7OCET74NrRsl5593tYZwb4Twzyy526e102dPwCLnaqaftBjLMMCr3bcIIDA1WH/7ZZs68i4OE189sGr6El0I+N0aFQceolky9gUS0eFTeh7Ova29jMDXEVkxdfMuJuoPiDkqBgyxpXPNP3ywjJMc2yPpirip5c45Hjn1VcwnoPlgFb+q/Gz1MtnV9BocVuuDQ+tprSSXuwZ0NCLNPQPO7LJ0vXf//t3dOjG/V8RxvPBVZnoQSYWUdnypZWjkDTTDw8x6KVUwKVEuHFcAMLzYHaE4E8wS0kPXknfxPaKvbxJXLEe58rvoRsqQuzmDz7dF2CJe9DUk8QtqwKRo5/KU9dU5h1r/WSMGoMXli+gT97Ggu5560otn2Q1WPxhijFEQr3qn7C+Q/52B109XVS/pornv3nVq1igCZOzBGi5mHjdQlCKBIMQhOYvbnwwKZDCFOvMSqNb/crAJA4sJ0/gYf38/bXI3lUhTCxQli7VzcDFM6a9Jfvwff5SIUIkrooeiIS8Se4Gm7XNd4mK1HdOlEoRWQAFUsrA7dZQuOrx6avqCKZV0w3gKolFJPCuWhw66V3fL9AdB107lFWQ4NLdKCbCWhoUWnDZhWkI5RTIaB6fi8Q4tgnrmVqwgdSGeULUKck+1PSUr2RefKV0y89H7EW2h/8boBvYwRBK8C26K+bfJx87NP3pNPwsv2v9pdyQhg3Pzq/1L2rqhAxKZGfAnoUUYaDAO4w7lhoFjUXvzdADJhOS9WaK02bG0+vXAs5Ozm1n56+SbUSa9WkIeJn3ULQl9CY2Y1ex1kmCr9Z0UrFiurlAsPmMDFzvng/wzAe0CcxMX9yjufcVoIDvKGVMmSHU1x7bkq1VquhWAGuKpa2rDXlQV03EUME/8u+Lm62Upex2tGDxwIe9q7vSuYemEoLceIwjjox/9qfBIb1aaX+Caf+KoUsOVE+uwCkr367K3YqUz7x2j3vuf4U6ox2Rhdf2FSy7R5hzZBqlhFNKPcQ69EZl4giDdIZYiOWwn+xS24O0KAVbMQXNXyCdWKoOl3SEin+ASQSwU6OyAewlnakdwMGYXOdejXL6ZIsu2KZNYAqu8JQVC6tDmhpWZ8juo4ii48MgTZg3XCmAkGqBiD8gTXlknJMlEg5W1mJCyJ1N8mXKdQsjMIVGJOTCssf0b8i4dZxUJ6gD24k324qzfRtsCn5OO7C/gBzhN85Qa0UlY9ME9Agf+6p4kk99JnsStH1AoOPI9RSA3ks/Ryn4obxC0ciYxqtn0TpmVuCwDpkR9l+rZHL78krLpTMj1Pg6jDLQ8popExvCYNnfqSUZWpU3ctq33vexnzlI+0FCCbK9lS6VS5MGniDKM8Trt0PVNunJWio+R7/Z6Y/dXxjX3ew04HHkyWXxON5edDw4gaKsakIh2yfDa0tzNnPR70KtNWeSshfhYilVk1rhOP4Kw0VSSAPIHRntWo5LemhtRBlijlNoxbhCDlqGp9NhIMnWxPyAOfkWQwPLKrGf2/WeD7TKSDpQFxOAUaUwK9PsYaVVZL6MR9KQvENeuzfFFFfIF67E149In+8sJoj8uT99SG8O3RjGfUI985TeR4y88IS/jR5x2d2SyRVT5iU4KGo8s8jqg9rlIIsw2OHwMpF4psC8CR7RHBWScVZav+k1LHP0eBheft/Nx/rAn4ViV0RjfegpDk/gUUSwpEewsFpzIJyMZIvpQA3vfC+fHF26JcGH7hUFd6gcclurYjPNHPNLIXeSTuaqFY42oODu/aFPconCmyGDEZOt0Swei3IlsloQ2oDxF8gaP1YDA4KvDYbAwcq02ar4L3fRfRXxxtNtutHMUrjlkxZqNMXNfLBGlfLdhtXfpAGUef9ENYIdwSMkBSK0GDGQWY8JuaquHPGoY21Ps9ambtKC3+WJ98lWgoSeRjnYZP4jE3E53RIARsdd+QLT4/P04wEpOModxRbv2cwa842zpcFWriOO++EgvnoCOHX04mdXjKsm2/Rve2GCmDgRs0iIi5vN3cc1vcrVAI86CGD08zwVLd6I5J73UDvZt59CWurnuR/7fLh6pPpdTud4YIatHtjYL8IR7m0QBHRGdn/DJc7NjSk61nxIuZs3IsHQp5pTL9g5wI+NM62p9o473hXrcz+F6s4J8VhR2XIA6CoJmnV1vF8hkICuD3BAsTQTJRabMRlCEhN9NWXsv32dePL0V/SzKlkb4xQ6EVocQJ3t0nKS+2LYxDQgs1w4U1gaAtoOdIgYym5fEnERfXI0toQW1HwsvwTK3JWENT1QEyNNKe5Ba+IRvqAxkKmfzawN5d4w5DZHrBiqBiAKQ5dO2oBQywD9c4kLWnX0tN8MX+SCHlCbnE7f9HXoIDbJJGAF0GNwMI2kq6ZTbuaRk5ZscFt+/XMqKMoITw7F2bXwoL8HC+BTb0STSxRbN7rHUmG8M0Kb1pFB1tblDruuwG/Ue7EVADF105DGIuAe3StJtf9Ojc7CEsP5wK/9WewPHrtXYswOwKdN8QrX7ylakGGaKUKtb6bXsCSXT7zTzU6p6IMnRqjFGuHMvTxW5nBD2u+08SDT9EV7rmAFkweiKWtB2ehcrG90inMHz2ikccLb89V1L89RKEd1UcEmQ0xJMR99MZg52TG1/l3drhNNVcn+N3ZAGHWKRgSvU1lVTgFJhRKo9S1BEtRZdT+lcUQbuBwVMshnKL4qBPWKY6VTihyLA/6FGiKUhcQ3ONiGOjz+GfLyFq8PX6DPtcDMzmWXu1GsaA7al3klZq74ZgO22R9/ircJYaa2mrTvpXAveCX88Mlrfl/RgUIhuMT5XwofVtOC7GcHqux69HgPjiCwnrQO2fUpK4eG1+rIrsA8k8kjRaz1aKG+RyJpvSpbusUgzjariZ0FX2Q50o9/4CFhA61hVuG+NoP0p1CKafMiTqhrBCCtUiVArD88NxohH2Zi+oMNeI9E7gaeDDyxy1ymTDKyaQW6+qPpOuX6BiU82XADfgf2G2YKj3eQJj69HnVgsbXN97S8AThyDFjy6A5xCrtaL1F4qSPBEA093FQkWhfgPh5ebowQ482OPxflKmv9mOtsCMgqPMA1AAce2rDP3Ztzob5zPf3QL+unO7CuNZC9VAPnFnOjF+TM3V9nhCZZx+BOfa92F+Da82KUDeziy6sB+PcByEgDePeF/sb/9vy6JvutCJzmwsmTFGNt8ZVakES2CNaYhYe/VJt1XBAg/5SzoGmBTp5HQ+LWyrjvt95HZa//3+3kA5hwexQeCmuwCmo/8ihwbUgpkOoCSSHN1oUO4zXj9vypCfgdwkojXBsU5qPgngInSw5v2g69SfxE/wB+CX1t3FPJTCp7NjWQ2XSFWOzlz4U3xtH7R5WkcDq7WmYD9SlNVW6fCJS0nsVflAiobw2hooWPuOW2WDKbl8ezoq9ZRpGaYwNvpOY9PHmfK73IvwhRiOaHGqA3PPOCbX7f/LkypXbtMhDvZOEznFF+PMHpYw0ouymFuaLtY/jaomUDXaRymNPNREMyJ+nHS6tcZLourZfexQswFFNS/WZdswdwAk2lmENvlOG1je0tNTd0pn/tevu0AdhDFOEEP6xwKeL9XxpRxCE1jZWvBCO2F3LiBkeRxST6P6roR5BLhFY1nmLrKZrVeWxH7zoeMfKhpFCC1niXmnpLfIUf7gs3qbOIzL9EJvojJeLhpPpzzU0Q9CoK3ZNGq+NwNSdeT69GckCHWescGrvURsrBBpTq69r3Q1yN7r/OZMN+mfmMRmqOiLfMqFrpR/P5z4jVGtXLFC+Y2P3JPqia56Ha/TQxPL4F/Gth63iD39AngPR1vyFn1ZS2FN5v9kBh7JEMZCnWpoEdMJqVrt5Z9j6HrDU6M+1a1ECpCTTRvo9x9VaYlsHy/Cv4+lyIZRXUevhe+iypL1Qg7dVuMpoo28zf/veTtS3xkUQFB2AXBBGvhgnfF5W/NJJW/eXK6Nj3RLhnwUeKCK7HoysH6g/B/o53l/jj0PXVAGKGwVS1lUKM1G2k1HLz6xNjyb18fF9luniqn67/0uVqEpafVpYaiLbyPySqmB4dJVXd6lz3/UeYQU6e4C6uhtIvfd/kd2+XxT8KFsLpAyRfMj86nQ4wg0DcqG5ru8j31gSy6fGBVjKJnWf8KUpB3qy6OpsezryzVgxNGtQHwrRU0mgIbpyQg1v/WmXaerFXlW/OSvsEW0Ksh3FKzPjY0pxbF36uZEt1yRAO8XiJWUZq81FP5Vv7XGoJyIntkFc9n4mPD5R3mR4APsKb6aCCII67E3nK81nEZqpOEygpNym02nOHNcCGI56J699IfyvIEZmdmgJNx2cF4GqvRrpyxohn4ZeEuUXvADX5mry53mlO75M4B4LJ7EfQ+56PspZ6Ztd/01phU8IrgjlwGDEM+Xa/FumaJtFwQZ5/FzUgszKM7IGeU+DAyqQrU3IRHb0DBHh0pMap9m/wKopztkmYWGj+9Jt416u0GzhDj/rRQd6UzXqm9b4fY1KLAitAFf+/6Ucy7y5Iktuu5yZPMxjH7VHsQXtLy5lj/r0mAxPq9q7mFLnJfIrccTb2RPmqkohq4HNorpQEYA0XonUbFD6T6comq1pvzj33FnzGKHyEEk4DQscy6ednuNBfF1U6vuFL+5L6QUkx5tHWQuk3zMOVZpGrS+VGsaDRinQXPfpAfhmOLZVs/qnKS51jq2ITDsa1oiLiAuuVgmXaglAvFPlh3inwPx72ojQyrFkIPlc1tmtXqpOnTJY/LejQutQwRoksUK/ey3peMFPS7ocS1VsT3NgNUOjH2IZZNa453Zh+d4vLU1LSLT3KloOZkg/IBpfFDRPYgat3jExhe3NgfBA2LIzNAY29FUtffcP9q3mptGRqWYQBANh29xBfmBthWgYugez/tS/PsmKjy9X1rvxxbLK0riQI/g7Y8xicFp8PO2hPxMa5aYyq/mTM2shIeoSFTbz8rtloljrW+GHfhhEEt3W2a3V+C2H/K0lTJ4wBHwc3r0OJF/63ei3LIAuOD0uTJcPmKZTulGzeMBlFACIwJontdvWNL91pACYOEUc5Z9lMW6brR0ey9ZdfFklY/03p9fry97gUBLnGCMUgWDOY8kq4K9hZAeDDppgEYlyZHJzp2SJY3E+aKlmTDSFr2pl00mD+JZYsIW1y0BGKIqZRUtk4jpPfZJk5r+S1B69srRsFj0IyI5Q51Niq0S8Y52kWff6eFLbI6o9bAXe1tTvdIMoMEnkhV5beLNQPaoTxjnl6xwSN7aFM7Rnu7p7u1jA0kUb8AQdrtoiMFwOqAO0hAGSLy2hY+Yd3CfbOT60Ukq4pdDK9T4KMsqgCHoTpNxOnCwCnkJF9UjiGSepwxcUTFY4xz/tXTuNPdwkrb2SJ+blJXIy2vrM9b/455CP4Kl+ad6CiBbW0ey3pbHOOHkzNW7g3pLA+JchtOjJBPyzFzCyuwda4U+mC/6wC0sqait3MYUHV9okgd9OqhIrdei+e3s4DMTf4CoVAiSSiC0RWw/eJoj/PUgyPU+KA/YJvmajNut1mj/QEikEaVXq+67uJYKhiadI86vkbGJRkgTSI37FQnYE3ps9uBOYLyp64vKzGzmf0GZXqFYhGuGxEh9ShNyyc6w7QFmpVXFTEwWkjxMCG13q2FKal7nWeuUKWcNz6Ndwo2jJYyE31kFnfpFd0wwG2YNtOXzSwMGhew2KJ/+xk9xQ21KyImAXvJE7XKewTpoPcrnnAWX2AxIDc37nM+Sz5YEF5fomZqel5tZJeYmczXLFhlfcLntPkEVo0dbsSy0sU89FWoZQ7amMAAnQeeGSBdrsHtrY6UAbAANy38GTa13gb9KhONwCIkkhHxE13R7JkwjfdNOBLkLxixRZ/S55rhq7fIR8rbAO8MrTsWJmhz5IuvPnJCIeFmSzjWK39pz5V6YBvkvGt7JaPKE7oXCXImwnw1+ophH0Gs9JrwM1glg1r9PvQ1e7INmLCaGlUf+q7Ii4lGNsDJxdcdjuNnp2d1wez+PTcixVtIhi+yEhYyfazHm9A8IMxa4hnncaWZu7xhnuW+ewkekijDfyYJ723hEQ4Y2ih51QostZ70ZCrZtIZun7P0pmoP6w55dwKai6DA40OE6zClW+BNyukkBtOc/zFYaqV1uBmpvNEi89Rixhd7yUTCFrH4inruUZ3huMLu0jh0KG4eHDApVmVRyosnDxoLdVEFZIlxrsnc++SKKqkQwaEHQScqLs0ioXrANR4nbWuPGt+pA66m2fKwAADxRysat+6pc13OZcvnM3RSIkXkD5DlF4e0uaj/QHo5P8KwWXCpmp2L/lQA6hsfbXZ/UtKjnw+v2dnDeYsMK0N9oMTPdjEUMwsSJ6PPvK91LE4JYq5boZ5trt5+DgoZQE+IibgRkoEFd9HaWkWzmVU/34C21sDOg7Z5heqpdB1WTJcgnXB9ApRIMfXX/DzKxkhjOupt9MxblqHVHgvmh+L27WCG7xmseb5bn0yB1uWPbUHmRB4VfXnAX5B1MJgVTfP92Herzp/OR1T3WbT4n4nhQJrhWIR2yeZ5XpyaTY5+80qZ4wTNuJnd5X9eP9wtcZJG59W6mOnZ7NnTBVWWqwJytDqzBW88SW6hjXUzsO30eNrfgcXw+ZzupJ8cqtPY/UfUx4b8ydOQTc8hTqEMGyZBBVGMw2w6GdhxhRDqGPqmGo8nXgfbgNUXf3SmuDlBBmXSMUKAi21qY22u0WL+tm46RO6/fMjoeX2HRG+Sug78t1J7CBTpXvIznWap95LlsN971u2wg4zFIELLWgjEjQPNg7Hsmk6xKbOObaP8mhvCBHXx3n83hhjxHQCu5y79xyc3NxkAyFVSenTSSYLiTu3IsJT7Sy1o0od8w/lM/JC5LHZR3aj26Rx0zodjxHgXeWtactVCKILkHojXbhMZg52FUdTRZYFa52qyPrPGcbDP0LdAB/FaWv7WNfaXI9NXr5dvPxEfkvSjmReYYHPUYfuXytVfm9OrWpjwIpgRUZjwHgqJcsO4/D5gLul/gxH+re0w8JqaYltsvjMT9pw5SnvqSed14dTWd71Kbb75Xy+ub3RvlI0RlBLHYwqG0sMigy9+wH4jUPqTg9qXu31MJOZ0TBZUfXlZjAHmDdec9afxKcFB6JU3/nn/ILyXuoZG0t6I3xXcwfYDKkOmK6d8fyx9ihchoofE/he0Yp4QmwacZDPuZX37NhyuefGv2WFRAOQvX9EsfDCAS8aAbxl82Sl8Ifosx1hbLyu6R8MY1Ra2hTdOSHXigZSIoAHwj6cDaZIB2icWi4zN72wCf8hXTUAYnTTinUro6MpGg4lzVuDHsgG8mgB508H7Un4At07/YFHWFuycmfMIeKkp7haJvQcxaIP1QZn+GKtRFsDWB3Y6vT0DsfuW4hK8GClD5qTxyuAh8oRHr77lN9XEsSHdRhU1cppgqic86nwOHdrfnBAR5tShrdTVADAEuymjAnld24OKhZnnEaGNzf9viXS9aD3aqFQEz9WoPv498UUeRPbuEg84a2mTHPfZtf2lEeTEYBzy3MlSSKQu1ZX9ePMWKi0d/NgjSFPLegLil9vHslwEFMS0EdEWaJyKkP6lauP8XUUnu3h8Zpb/67IYVrIaues5p1NoAWLLtdFOrNvCdX76gdbYDjvzAGW9opi7l+K2TvJP99H6XJ8pfJco9zkjH5n6bKUimIak36zxwAS0o8oLvx36mhhm66egC0RT25/tHKEXwHOJ/LlNN/JnJVUgGaToQu8XRpcQxlfePuhQPXJRgpJLOw124bijQqmxGeO7DEtiOgOazkDT8Xz2PkKFtNb+ofJAZ5IyMF4qZqiscHaa4TXTlrOARte120urtay3HqdhENv2aws9z0bN9EE4Fer+GVOLe4FJZJVTbsQ2TNE7LvSbabxZcKoX6mzuUDsEihPD1oU3vRKx1ojQ3q7wIsb5z3Jn0yJETLZ5wlCFIi8Q2vaiKPJUcVQ+M96AFz4Ws65CrO/eYoyf5xpZKyVVpSA21/TkRk94Zg3gBkSuH0hSn0KG2FcraFExKsAlFarxLKYc3FbW7PUSvrd3YZEZaLJc0CZm148LhjQUttZ560m5G15yIJ3QGKfE12GosMYwTDz7pw4DHhOW4WaOhhWzvA0Bv1RHBXm9Yuv4iNHOmPLaIj9yX4n6gqunPlinRgC+BVA8H9/aHzEiuO0a7mf9YYLF35F4LQrSsgvLflSPq0eY9SLEEUpmr1yu9OjubLyyz1q4+15155O7iWGvmsMImn+/RIH6k2ZQOOmxt0OJgK8Ba/vgcj1ehLbA+3yNYr14XzSSEXnONXOLQbLLIbE11eg05KhakRKjrNAeVQJedMSdvfK53+0QDG4T46t+gvHqVoAHjlgJnsKXVRbQWi9eAz7JlyZGI59VWiON0x9UIZy4xcc1Nuyb/boYY1hgZcIuP0gOXdJmaYDgghfc7DxSzO8OiQ/p5HrbSoDDOWe+yRHkA6mxu8Z4keQ1Z6LADbZPGzrwrU7XyaSe2XpEUVBz70aGv8M5M0rtMKtjWH/ggfKmvpIIVWmFaFnCUkbsaY8seFDXRHSmbltaGWTLQ9VocBwOIJNpU64JfddpjGXW1cwr+mwwQaC/ODtepzqO1TJlAde3nHUHaex7ivpwhB/ZRpKVPegna6a2UZaOEU7SVRdgNHISZV37V4Qfe4R/Lrh7J0okJsKW7bq2AA3onOo75xmOKdKePtIhasv1aVXajcosm0+zLWvfxkGzVcEPA6EBcC2/c/b1kMQhnOkyODRYnqhcBkzDGsN3MmU8rerbGczF2V6fHNQFYy+1hYi7p+3bQCisTVKoNx4cNiW6ugzCWYQYRZtQ0lMKgzqJ0N8F/g8fEnkjbqTDZKuFS61sauXuhBjFQYPC4FVkKvoUt0hS8MXdhmKdncMA65A5hJtF7IjDnQyAIRhX5szAb4Ce98KWgHGA/viccb+k1FvZRn51VFdZj/A0yXTDCfYjev748FMMT8zptLa/66aKVWMXFtk2B+3OM4xu7dY3KCF5ShWKAkdMdnFwhiSW/X8yHxh6jWN4pdoXV25QdrO+Bn/2dtkTEBlwEnuAGcLQFruO1ytGGms7ZgcGRpD833fwUveTksKIDbDd4vAJ4GJ6R1OuT/JiHLmiJ8AB6NXwpoXlb0rW+gHR48RATA5jBzezZ/DgD9rqfV1QAEZtiuUptbA1XJm0Noe/Mf++lHdjQqunYJTCX3eBAK912C08cIOQ7mJ8S3EdAux/cUOnosW+l+ojWRBHcCP2wVgcKc58h5Evd6z4bP0ArcFDmGX3kaUD4LnY+BGn4oqrpkpOMr5rS7d9WYTHUTvoNbRSjfq5uRNO9Uwa+LvSLyCvSdxGUR4I5flm1bTkAMINIkh84KG8qVIcl4zpAorCfn5eK0Ku08y4oH95b0jp7saBQ+oUw8QIdfXXEUgbGT8PLq+GsmMhFdQUyXapj+Wj5DKxZ3n5TE0yqza9REd0zxZ6mDtBraaE/DGjMlCM2n+IwWmeke4o+1hbYBwyfpVCKwHpwxJ4CMbZVSb1V4IjEwKVSp1XdA8F2NDSJ4P2eq2dCv8XFTXMwuiq+ntl+eLx7XSHo1TIG/t9SWMFOBILCXYQ/M7rccWiXuUADIg/RSndjimLcBtGq23UH2NiK4a3l0AX/vCN6Ua0BuXqrF97AOI6p9NQRvGmXIFaweWNKbXxE+HTobspMNSmuPhchLKtE3i+1ZqDwOqll7sPjOKfBoOaW8TIvWDOCwMGBg9qg95OJY9anHGGLKU8NI5j4CYRwlZPa4IRt7g4Dr8WYPrLJcDCZ09VX4ZJtMTUKnTXbjidiOc1pT6ls1hIyO0yC4/IqtRxJphs/5NQyBy+n99M5QZSwQ7FcMVZCkOI6dIiL6nsijwmilAFuxg9OKRAtZHMBnzBbTjfP4v6LTU3jvO+iAFP4q6DCeAQVK6VgAxtXXdJmqvSw+/W8NjTLpDz4Csu1LCrBUL5gfpvVQ2sWexY4I8YaOD1Z3R1Y97FHFPJ4JPoWjSZ3DmHXGM5Aup+KY9llqV1qYMEBqU/rxOlucvosWqCZ5gSP2WvbhMnwU17NfvNJs/HboFkhvHissS249331GhkvxX0ZuofYq14mNCqmUhG+Hru9uRuhRz8Tmmwkcb6Jj1xgF16WuYORIP07HqeiW8oyF4lGgLMCGQkKk39mfaywtrbRMlzTsCPfjsK1hvnBDYq33snEv6yHii/xxEGndFw4M8jKPyb641h7NosLllCKRZlnWHNkx/swO1se1y6CtS+B5yue1aJNEjUYNW5nMvsIqWZzVXyRky4TxZbwF6zlVDRJ6eeJFKpp8mnCUyTKJfXIyKJ/eSI7m8nuB2AaluCufBP0YJV/HIyd0PdqZ3PEwYJxirMAGKYTRS3DdIeTjtCBXNtLTVqTWCn0SQ92nojN1Wn79l5HW1QkXVkr89IwChN5iPsMIZx45CAZ1+CjXF5I34ax45qceiGv6wgwvNOKtP2RoYct38kIMhckmg1IWM6pp+z1y3x3hlUNzJ7G9fMqIY4mXdqd6x7yjeShyITlUM61VX6O7h2mScUFEbt1f0ORsWe+j0IsIHJ5Qf2cVV8ohA/jSVPVppbgsG+IAoSmp6Rk7dor6XpdFi6RTUHeQYon3QbC8iQuikR+HnGADYJNr0svm4guhmXQqyWXwPj2CvFhVIU8GI1CzC3zQw+jfpUjhtQBimO7yhVDV9hdFo2w1owVbtUjqssu8RIa4hIc/JpHy4czPOEyMIJCILvWBlMXIDwXYCOjUHh8x6to21EljYyRxfOuHKb1X5RIZsbFMo+qbuy1VoQQNLs5MgcHKb4aMCplztGIE0Ay4sufC58bcrsG0YRRVWfIcgkBdaf+lvTriUE6a/QF2xyzIT1fnstX0BN3gOur2MDyb2rCxNjk7uhpQXIKMwa4moX2O4qWUdd8LSi+ew8zJTdlzjpDILt9qqBoZguRYyF6Ck4EVlBQqAKbhx1uhBREBB0SI3HXbCe5Jt/WOtowDgkeoczobiLZRTY58NYYqjEnNayzukLm8lAjW7SKd7lBcXEIKgUCFoNleZ2qmNg3Cx2grZZvyKDYqxC5gOOFX8iYNGtE2fFZmlHqvaHHwCrhixLYFHyc723fRbBbFN3nybapP7+K6JwTpDxC4X41/1YE6DGslW8MRIEtmAJz7P6pcjl6BkyNZMwthMCbNV1aPijmHgTDdMrMfqLEq5mlTzuL95Sk3rkbULuCn66mw3iMM77Qrj+XOL9Q9mG18wg27nMLMdQYZUIbgOsf8x+FJ8c2k/ea1QVpwNVEcivz30MBb0n8NNn2mxE2mWMgizsJKoqv7+WW3vOjP8jjrR44ngxK//frQFD7Ag9jJSWjOvYeRElLWbDfpGUf4EaJjmV7eUJxHz6gIC2EaLIVDjH7owAbpbpqNSbs6ULL7rXRHJQxiCB/YllxIRxGiqxWod9A8aoMqpxXokhwIwUWJn/y2UWnyAv7d947cBFaF3tieMnqSqAwK9r8BDLnonFSX5wXmXo8LNN4dSXABHYEmxTxh57KHRpPv1KB888vIWzzfLpaj0RlPmXQ3fbWWhPSuNwFQZjhZ1aWeB9ag45WBfu+Rk/4TJs1N2rvuk2RpAlx7o7aRtp46MEB0bhmB4cyvJKuX0hmvlfoA8otT81l05HatOq3O54fXVZ/ywUKVSkLs5/s9UTES3vSrwN6ZXYZi1/e9mC9C0EQWsj79lcQjEaawVhxRi0B0ks3bdZR4nzXtPZlBKbVIEKG7kVigMJoOLzsOfWr1Gg7am2z+ivHmOJDXFoOufgw5aAJ+7hg9gSXly/okkgQidRZLC9XZwAS1e1EmRKRT3Go6HRNEpe6wf6aSIl/VcNh3FKYuavRz/s8juuXwNLTP0SyepYpkruXrbXw0+f4mFeh8JNskU2AuwYllCPvm8RPzZft/v6RfsN4oY41k3BxBdZuWj6elrh7O5bOEvamq7nzlRSDe2jl6Mj3vJLR9jdNivE6vboWPq0ccG4sM2FDa0XBujlWvT3cgHP1t5MtE4uyIettoHL5T1dxxjjtIKcde7PXoS4Jlg+Cqa/Y+kwDbpbQNSj5a0/9nVWVAVssqY4+9dkxFIA0zSlUWijUgRMo0kJt9CO+DBhk86u+1NsgXKx8Rb51ttlZYW4x7S1rIbo6+cmUqHwasKK19nOAmMWAwLUqrghg2Axw/9GsVO1Rdlu9obT6nfuJSo27ElTyaXMwMLskyrAeLPAibYqNOtT7iH+3xcEqAfDgH9sNEEZyfrNMx7Z3+6PNy8G4EssawX4PVOZkSZERglFDzIYmPnQrf3jEleuN6HTHlFQISwUpBwthayVAO1Z/2xT66zUttC5P67KQaMai9fBsAbPYmKrACM910zaWvt/i1vGBGMDlEtA8UtFsXzz783nStexesumhLuhMpHFFva785NYJYrNlrkPA53Cwo8kvdf4GeGVlLJTgPN3KyIZBWBWsPMZbuFbdgnfZzHC5SEu+PpmGvx6vzRQ/n6sG3ljyvuxST+V2do7jkX7RBV25jtgfNTqciJSUyYkO/Y6Qe9OVgsFxzXABSYm0cHUvruDW/t3adZVRivdsUwHirDWUuHcd4ZPNuvZVvJm/R8j26HthUweHJSxqEIiHvCO4qiTHA9XZXuw9+bC3iLY5H/nnpUth6U6h0itDT2vCNkNWpWvd3mn4pZ2OeRFzPB41a7mkfIdXabUCSRJkj2ygsTM/PjSVblvJlVG/a4/s/z6hYORe2lMMI9PjMiG7zzM4M08+TeuCaAmD7GyEpUSVB3z5KaE73auzFuumes+BUPViOVz+p7HrnwDG/3ySLmfmKcgLJi3MyYM6RO1xEF82EJW1e0YAPtKf2HllA6fVYtHR6f2HxbCFt5XSHkfWi5hPz2VaVc6NSWkObIGd4ekzRuADRzjDQFWm5YnIei5Pe4UU8SoVXpI+kJVJEUhlX3DDOn15VNi4C1Z9A1TxV1wKd62urW+fjgVUJZ8T9d/9EH03ajZcmFJIVaC6Wl4nU5Wj+zJDwmiOotvOd3lV63+Pg+JXSRvGh/KxSyFtlz0SWkFlNWTAMSI0e3CLC8nWOAIOKFKB7MwDV8ftwXAdqkRj787jRv7RCSMW0t/S/akH4Ur7XYmexSJ1CppbwnSACU9UMeqsM8+8x6jmL+gdo1hons9zldSYhZLKs42Is+pchFvw1zj0/0m7HnZefqRTUcdDZokzOrKiN+9LxT2kwolBdX1MhV0ArdwcwYZWya4rBUt/clZ4SE1OlvV6ggHUtrQ2NWwhXpJywvENnAwaN2pfCP5wso2QbNLYEWVXpwGFpyNPQJJ/yiHWmexghBadPNolkTT1upv/3zj1nZqdiGRhUD+/TH/a0dr0j/ojTZugIm+1ZcOZfMYTCo1cEdX26RTK8YuEaC+soqgb9u6FAHgxh7Scn+XgWuECtGhG3oH/qYMOqFiOnrfJfxM8S2GBFoOC/Na77m6j8jZAYPye+AxiAcSAtyrWVhi6CySu1XNvuqhFetWD8LA/FMJWiNgPFD5VoPmhvL5zDoanbWrkaX/gaWGuQsBMxj/pfSge6Nz9AGXEjRRHgsSvPq1cguElrNTQK5IqoEBDwVbUQnyfxx0MjJQifVgBfdaQMrokDTo0pcGJBV5RPdhowAuzoRJfGnfN+0AYJ23Uw4VhSKuFYyZgy5uwXBPiYDPk7A9mdkNLY+xN2L4Kbe+dm0V5w8xfmgC+lqpiefUlCL08CbVYySJBa0o8Rh82Vrg/cDmV2fLaoN4japKKIvCm1xw22zXL+tD1VEEgnKiiFrlUTOONkUAiIqbOIcfcPlmee6PNZ92ov4iDuuD02+prJWBqPJ4yFTiEThJoWtCVuce97CH4Qbz5qz3z9Y+nUhko6NXRf82RjwaYeztGGhjK/048WXfua9/0/Lq88vXxmgoq/Y1QYZ8oSL7V5K7CdXlNlvooQl1MPhNPPmKUhzH/J6mlWlg9xLfuIdlgjJDeapnrBf/x0bPmTzySpFEQmlQuuVaeuxMnMy3OgxA91VcElzIb5lwVwXSjuxGUMbm50QJZlCZ91boUWqiSYyZshyaahYbkDwW2f4qgAqp91licptVnq65r51ZK4i2rTQgH+2Id3LJn1rroAnowW1DQ1LS3kzrnuSie/OFF02euptPoiIQwy8i6Crg9ibqovUQp9hm28I+mYCFwMtACbWYDGNb6JOCEB8VJafXh65IYGp71cCsHpAJSysuQhmRPrzR6VA9/WacV7kTt1m211cBSwArJFUDjkOdkfhDBiMkTmxMofUv1WbzzwaeeUzxQBo5BJoEPD8iP9SucM0bEOPfvTswnw+UsB8o7c/NMk/BIS81yB1wq8+Qj+m0lhg/ATORT+HeWi5+Am4OJ2ypnGifYTBKZDS1nDrUC+qYlbVUZKKToUPzhZXvds+STf4vlroCtK3IyaUNUCxZ63qFAlsA43mSWGxv7wPV5HDFnxTyePnoAGNXm7lqDdSxtgtjpCF0qYCzHoJaa2GVn79f4zRZmj0VSg0kwmN6wH9TxILrjEcfvFIGVDUKLBw7ZodQL+U4yhvvdM4Rcv3ynJjuqRpxoxgGQXfHgDj0xYxHtjxKXWjlQ5dnm15y84m9Vl1asBHYXjHMyzZmmO136rcPRSdQMZ9krcG5SAm/Bnx0ZfiLGumEetMhIRDpqZTdtrXeI1/7jeZtgz3hi7VbjXga2EGkkakYmqTVy9Uh1r1WmBaodw38xpKNZOQwll/RqOMZkQBcvuGs6YDDthOZubWgaFnA4udO9JhUFCftAkPXGRHX0FNM8jOWHisJhHym8r1MBWnr3TGqYOG3W1A2YjwhO1J4u3+UPbPx1OBvhHrQg+0GE3MgZqzcjCc1iUrKe5tYwiD/lP6G0WC+IbMMd36knU7yQ1W0t1dbx9147fbOolmwFvuToX8Y5XaB3WDYdlM8lWLwXEeNOqlOgoBWTdSMRLUhwRntNPFdF3RXIZKGxmBSgRRxLlRMnlYDYowtUrDIAH+1fd1Kpcs17Zbry0vfdBOTrS/g1in816ZXuuDZC/7V4evH2BgXq42Q+q6RIUQKncFpA6H0YKKKYYva0pLrKRcLtHlKmJW5daQzsy7TD6FqEJOMK8kyPOL2B0RQOwyEnQJiBTMcEMFlRi/uJ2dmXF8nY+sf/3XuDAqFdOhzcZfFFTgOq3QVGsGxkUw8TZxUHVgXyS0zw9RuIeCcgsxl4jpmYFCqKx92kekGw2pF8/OSGIVn/WDsX1ChsjFR413y5aDJJH3DxEhINV2lgLwQ7oLuPs6nx/84paMXtJ8gaUXtf0rV2DxBZdgMRzOFuHR+3mRxR9YW04eVI4QX01tK7vrO1orxSBewBeaelbk+xMVUhhzbH8A4F+CzicV5JawEPWVCAUun64pDHfJ+RqhVk3pJgge/6mFGPXH1QvWCN6B/KlKARr/VJISc6fUGxysIVelVjiCV7DNDt9JjJWkcBmmdUWbiDmA1iXyg/FhrOlaK/2Snli5iMnClpZ5IrS7qGBEmSSIytOhov8oBHPtp2EIKWm0UKlnS5mcGUvrJYCa8nZURWV3BFhJ57Mu5dfQ1SAMK2+LyaOIlYcY0tYd9C4bXpmuShHiWOFOOhXQMQ4JuCjFJ4pPxGvpAjNarXu1pPzybEwXYy35YBGJ99qHy5LgH5AmM5iSAskdBBUZR/Y6drReamXfDEDWRCyBsZhiprlfS0gmpql+RGLzcnOYPgoUoi7QDArfPAOSbGWdwbgNnhr9pGCqFtGfHh86KcLRyy0/kxwrfwoEqgVYrB20FfslpfexQ32nhm0VNE/Wp0kXshuWp/myXF3J23Yj2VpWRFzgSbi930xQi2ksDb0HNF+FYzy4JYOEpzJQfHrNbiz4/WMp4pp1RGTzhjFzljdkMFCdhJHfIGU+PNaiBpi2LT/dMnG8GH/fZr/crAKJoe5QPCg0mPb2NHrmteLWYeDLuOGp70Dw7x/LdFYMKOEI6aHgpFXE52ZSWwFd3vTS3s0jVYvyPCrtntLTpDQh86tDbYqtRzaqyO7nQXp2grHfmYo+78spaA15ah5Ljbn7MPE4iyNFdFqWXtRYl83xq8HMbw2HbQWg/GR/AgQ6daTJMNubViYUsAAcIbh2kPAoaqGT7VvHklhsDNmwDsNTSb2Wnip5szyX37wszqdQGB2PMD7+emMgDmzvWOBPcTTfsG13H4u2MqbOFelAw4igFuSVOENioCmad5u/s7uCCNh+LHgV3YHcsCGb8QrokStthbPPEqGGONxLo0+ySVGG8B3XP9BX5JimPeMp9eYPX/naQcUKA/NtAFfkOWciJ7ioMC9/AsYyxSrYMaZZ45Dppl+LF7XjyEAhPt917O7Le8TydU+ZZloniT5dtCScOnmCfi8V0ubqhKklnj9kr5opAd+OPWlvi3yEQAelL8BqF5qf/+YT+rswjp/QZSoA7jr1tL/pgp+MpAgOr3TNtjIKmUU74CKu9+UjyphO1skxvBjMTDdPRcbX+QGIPeUKY7y6Frou70dqn3ssmp8bspTMfRp8k9vn4aiNWQtAOlXScjxon5VSphNLkqGXbIBbSdmnJyi0ED16YwDkIOT7cmqfp/zurN5eawM8eOoaxJkzg+gV1DFgDaqcB5i4ByroYKLsVSjHOYmGvoUyCtdn57UvY8htfezcUH56wFlVH73gdN48BbbZOpHeQxSBvJDVpUoSpvksOZ7raI9CnBcz1FSYqdoWdXx/jA3kbS4PRBMPk4jPWf0/lt6fOl2TSiZ8N9P3nM8KMqJuWWh2CVvBmWMZwn8onpo5l13W+GTUtVrr3f7Pm8YltN6lUQAMliTTwyqhyiqcGRBvEtdA7WtpJVphOayb4YTL0E3UBMKQqTFWOTOIn7p0VXzG47dd2fzmh1EPYvM5GBux9QpskhyWIHbdLL76iqop2G94uehfkuMLkEQVFgpD8MXx/DrXCzOw6ypgCOOtV6d6l/AP65xUgmuGJQEhRxrBONKly+yyluPqxYP5tdinfBzg9TlD27r5HnKy+NpAGnXgtK1bgZT+BgmrkXKFWRDMj3JyrC02VAhT6GpZauf5MjBXZm+UmGEAHZRZxxhiudSaS5pEmjphp4+J/9frrMQwk1inkwAseBJXLwM/uD3ScZ8B5VHvnHG/GFLCIyf7tQ9J7VVP5DxyGHH6GYt9nfxgPNcnyr/N8uf6Yh8/fh8kHTYvZlf18WHMcB2Jy7ovc1mFhimU2B8QHbFi7GDZBkNzvRASi3Hr3h3arI3O6zkxcli0WtLdpI03tFzShZ2DJlPbYk1NAtMA/Kv4YS0SJmfdoTbxT9NiCRcAXx1lYmPOf/1vrWe9D4Y0RKlptT1rziN+FuxRZTBi/SCaAEAbur+MmWk7UHAO/TJZRKz8Bes8FBCZCZjEOYfwZqskKngUM4DVOLwOkFiHHrbOFl6McNz2rSt/wGScg3551qLD830aBG7rMy6euVnfya/4rqH5/ND7ZG+5cv+U5ySUF00taITZWLfc+C29dzzyPfsaErcU8WiAlh8PoNgIRzAm00KDRi+2CqUMM/mwV1heR53Isow9NNEADAmavispuGC0Nqy1Y83bDQzGhEPp+6EXTKApgcZOhlzy4LWDZQfsrxMhV9JmRINEuMFrsaEt9RvDB7hNpAeR2UjKcnsYSt5NecSu8uAekoI317LiRVIVsNrIoMQrlOUZ9Sc9G+1b2V9qups23B1kE7sk6fqWmkxEr0Z5DgeBlBHZ3BhBwCOPSLFcKRTCOZVO+hQ3nM2FvjRrIqGx4Noz2plYc555Pi28ARc/3tHYZMK5xfR4SrUGjvq9RKpmSuKeFwD644elkicVllFuSXfgdlF74lkBi8TZDSSTeIcsWiN7LHC8idbB5nlT6hlFqHZeIAAKbG8p8/jiU3ZC79JbuKCmxS+dvyqMYqzMETy/7uermVbw+2GASenPnrHTk44pNTcaxU0PbtURUrKlY7p0rUj/wa2tGckP4pgMikwBE3OKgSrz2K8QgvNMqgJvvqe1AlIpMZHRqqJ5TYYBtwmEdLn2Obqxq7cdj4JddXNuKgSHP5Ewyl1iDvBENasGZzzUwzLlyCP4Htkz9DreNKq2f6PRKQoUGLmWG3/ilTzp7cqYOgf3Yt73Gjs8FuG+6UtwJUxjKXBeIssAcFp01SKanVMY/KBry1jJTCnj0i8eUv3xG+vMN7esK3wBUbyVl3m213+gurpGdDC7VrvtOFp8Q6zf6UtCzayTVuHAOkcD5NnOZAKZphGCr0Az7Cbw8EixWM2S+fprTGon9+6dbeBg0lenD24I5u3eoTxpHHMmFodOO76Jruz/xobAvEeim0MWVNqvtovCpD9qZ59ZM22E5KdRRXmozHCXZt+YS0i8bYeWu0+T/jjVcldnTBEPjko41lxisrOpBM+FlokLl4ajLZcMRa9oD8tyEibKbI89cJuV9GSiFontpYQjnZJOnK5L6wYa4Lj+MWOuPNj5O8T7yH7aInJoy8jdQmy2vaBObFaaUN+0hbFIpzS6qYpNikXsd0rxe9ktw8Z2UYny0jhnbaTQ3q7j0CXK+BTOBdvkXkFujCTnCO0ey58RQPUKqBK8OCDP+lPb+OqjfuRO6RGamXig7OWCsXFEBEJKSytAoWME/boBS01ayHIEvarAg2TvjskMtMgdNCUTgMVDPBzK3oX5X5sPWx26Y1kuIa52QGIVqf3ybX0CzwhiyfPx8kFOF6Mu90+j0fSneszkowDpAYGap9AFSy1BMl7GUXLb/DBk5LiQM9IPfSAiLjuE6qACqSfo5R+OP2nulBAz6eHE06uFUdfQH4/1o9VJSPx8Gj3pkrlnBFxTAhtofbMVdcA2G3gCL96k0MIMBsym0446wdXetdzdMup5g/9sl94aMZ6tDeCfy3Re/FX9cnEcC0AtOizm3K+rQfgA7WZOCZhuEYgZ+FmH54G6mdUpcUuVt2Uo+NgLHxGtn79cwoFb+wBrI0+X5JFuuExR1SeBIq/5EdmeJJQDC2zF/nwvSFx2Qv22zC88M8oSB6O/J0TkyXnk5HZOCE31bav5wcBISOgHWSxlLWCBH1461N/L3ZgNErnXeMJ1XW7UfjFrDmrC9iFpmU7Ajis9i4Zo/f8o82D/FjYbB97s+39VLLP3DcmI5rAY3/W+B9u3oWL/WAUrk7rq0/suC6In0kL7gsXcBkzdkU2v3RrCsAErTA/OXyq40duzEPjwY0nhISl4qJuBru3H3Q0J2wuwf3wCEGdPw7K7GJjs4MRsk4opEEy8Jji9wHkozClr6Z81VqgDtvZHKP8I1T7SaPB6bS8vj8dVkbnKqZy1l0Ke3jctjb99/SbXmNY7oXVINQsqBj3+scR7dCOAJTiYAPDl3XKf/SjlBdpXeVe1n5Z58TlSw8xjpW3uySgPTqFVvJr5U3G54gu6wTWDw3K82mKpZbccgDqXpxJDz0bRZfdBwiF4ceqP7uahNYk9MmfDR8SiHuh2bE4UGqruM7gQ+aCR9yJigUtS2lLXZRD8BCwrrGy/pMg53DUiJx08QRXysG61L7CCrKA7GQqq6O7r8DLSHuSD6RxbLzBo0GpnGWiJx4VUYAsemdyic+wHbGoc1pIAEuHYvWJRHH32/YLvmCgfLvZsBdn/aXzXPNCkGC79/628Ya0Uz7tx6uVWfswkZJHyworU1nkv4MrCQXmqwX4SLzHwhTG4TglqCR/j77pmfM8NflEyt1NuzpglrBnl4N9h/G7+KXRHdvhuH1aXq61HkzNnYnZVdHkrXf0VKLVikKYTSdlySwOFY6bVhJ/5jK1DnLrOx16Bh8aI1HG/UY09+Z7fc8b/V5c3XWFf9NCkpNZtTbNvhDJyOvIG1UzpUK4gQ6DqNmhu1v6aNK4BhpmL3iylEdGppwpqDR6S/SsMczH8pguGJE6GrkRw13T33/2ThYeeseRDv0Q3hta40+rXrm4KC9KWOXpo9wemJmasB1UrVN8F91qauYmFGVWceqzGauOWj6buQgEuyvn0N33ZkildItaAamFm+EBcdqfrh7NYgNgFa2MjPjW/X/7QmZZc98Erj1tUL8FoTotWRvFC2LWQAmAkqCWo45byvK8E/+o3h3CIi0r1Jc1WNJnkhrx9a7gheEtAjHpU60pHUMq7LdTn+BFIr1bLfU3jHiNUDHM6cPI9YS7tDysE11D5E+Es1MUojxHB3WahoOOUnLCIxitYrJQ6eLpkQYZ2pK4Z/f7BxVIzikynZ+xrIpoOXEfmMtUlt6ggVR4DVaZauapbxNVzhPdjqvp3/JUPVUXcQzYxh2b+X00v1RpReliMNf8wggBppLYjybKT12Hc++VCicQHJ3UsnkOnUu3abSPMxeT87c/u6Pei4mtCaxocxAnFbuf1ZVH8P7xvPYTeRBwx19rrGp4KRO1VyRDHx2YYTwpxI6Kc5+Z+S0N6gUBsHap35iXvs/tJKikJA7EBzXfgzjLQSe14s0L5w9dF2yqVyyUWfnVx3hz3p0J01kPXfRyy/V3inxzRhCUKJZAmDxIMI9S69Zh8FXDoVKwYYXqnpb9TzQSycMKgisuccovcAr6TKpMJNHxVIQc3PKQflqGodHxDXSu7frYnQIDHMe/C/e889o7NCKZF9voCVdLW/aGq4JCds7h/bKzRof6/na5yYtq9CIM6wYyeAxN0A9SopodRz51soEbdXz4nPAGnXMqx4jBi9Pu6BcbSdXyDmjwqMti1w+/GGOsv5kq48uDF1yE1pSjtdYfsNipdDyjJxUEfv9nJQXQilTTWvWiP9Af38Sqdm+CEJ/FikdWLDEfo6j6gfrZyX8FN/44ag7DDoCn80OTuHy9L3kuTBaYC09V6hnzqo5KNy2T6W37FKK5nijnl+Vfl/OnfCz74JWCE/i2c8B9LvXeLobB+gdqL55NlEfxGpbns/tXRB0/jo2F/LK4lEy6hZElT83n75Fb3BRBoBztpOxY5Xa9jxpYaD/CJut//iRNM3QqK1c7wKRJEs23vvEwj89K22xVfcqppe5N5he9gnSZOJCFGaVQC50hoRp5M1YilgQHGZdYc2KRFZsMVXVWtKDvDh/2bkhpLoQtU5KKnEO+Ibj7UszUgGuwUUSH1Drr8LhuP/FP0Vw33KvNAxWsrA99I58w6impsvm0B7MZFKz+g7NnF6PNhk0bUTMojkn33G7VEjJyP4d34mV0RWW69BTtkCJJkTJsYFzs+EMQYdF6ROVhq4VisojJFjvhHPTl+wP+v55QnADLUkh6H3faXhPqtGGzCvk1y+hFbkByFwYdXDGhalmTxAr2NbZRU0mYOSztX5aehAiaWZf2NlQFLjc3EIcig+dtV64tEFwX1Y+jYk0B7sutitMBU4ohzveIxQui+AdjfXIJtz199i3Iy02rw91o1qwGtV3k1sJI3JnUnG3Ep4YZ0a85AtuaQD2WD0LeQxtnmnk2/2zZUoIIn/xTNZVN4o02GAvtaH97y5+5O1bZNazdPmItFa1suYFSSxaZAfq/3+jw5azGonQIkRlyN+lt3Hjnx924Scav2NEZJwVVq/KvX3thyWWGalSODi4rmwJmwH2ttadkfiTR/8xGM+Pq/ygZGVaMa0Ht6FmBn1d87TCjhpZwuS19xSC13WnGA8O9Meo90+mLQ3xIOA7H/EosC1dFKMZvVLmlf2t/WunrTxbhZfdjsWmRAsCgSmZ+g6HmMKxfJI0V4+02ocdcI5PbziIHBQptXSL2LdmJrsKzUot1USQj6DVP1q//YAOZmY6meaoihTlc54Hc5r2IKbJWN0fmIgKn5COUl2RWdEEK+0tYD2COT2QNPbWnx88Vvlg+jbShJftFf7E/bSlA6dolKEoJIeGIDrs3gocbdnOL3SEgddJcwA7x2aeY3LWWNDEv0b8MLIRhu/CtrlGmx60h3+6N99NyCmIQXuXACuVLoR0LgGiUH7JLKYc4j+07KCeXrMyNw7NPBSqHs4yoGkGAkKxKDF//opJtQIN30F/WCiygymO7vvYbQ8GJLuRSl3IisUvzA1dX6r6WKUC97DNvVj0trE4P3NgUxSJ03/sXaWSWi8NtSkn7FHJgMm4HNniJFvDvZUwy/RRHtaKdB59hkA4T3Qjaj2aM6u2g0G29ajZ5/PGauE60Z4mNJK2I5bVZxGeJiiXEnmmMDiwzSxU+aBK3BTW9MrVXOI3wD3Rd1wBEdpuWS50VrxhzJsV8ILZPEH33Bh4oexw8ztuXMT8LZFjdlAUkS9zOIrmGrsNqA5eXIBYpcRnQAx6G8shmIask2lvWBCdxDpBCs9OblpwqADu8KLRR12kyoLxlaxlnHjYYIoI+Fehsh+d1X76LO/hu1eoQtdjKk53KzDguiFVt8p1QuzrkEFeXHC1yes2YlD35SwjIhIEKKGO0/zT9ien9tc5uqrR2iuYVqKBphae2MRqTckZSSyUPIT3AqD+a+FG7nW0rFg/2T2zWiWLX5ZALCLNIJpO3PyM9oOG+mayCsLFpb5zC52LMLYb5u/3nXlZSkLSHx0tvVpPY9F0XrqBKsFLhInIDkjc5BGF58TZcoLkkiNeCSDwxTs6QwzFbJpPMLQmQNe/rYxOyO9Yvae2wicsC82kApSJOoTxDUqUO7xQO8Bl8T6Yzp5cNyluzPIRGknG+nZoDr5psbSSWd67VZF4KOQ+7Z0k+tu8JfvsWQFup6wiQDkFULMjtO8uBjbBd3OOLeByNbv0IFq+QDKDifpkn6n6IS6iXTLjWJlJkLoAkF/L5B2se/Rgh6ZV8HTBhG+OQsmnq1RXsr/idFh4k1uZsIfdq+AeZMOEB+0C8CN/Belda8kjeigCBmk4vbgx5FPlNYKlBK7ehiceM+0llrj980eMXrrH/kXEJ/U6spwLaMRhX5DxMJNvF5HXH0EX+Q44+Su2WZM0ryMrztBxhNsFqbdc5Fpl+U0RGTWFMTdPl2tKWHMXRA4dnDsvLkGLBHOojje2yvKDEYi1dDJSgBMdcCB93e6rE/KzdH1k8eV8TwaLC3WzEUF8nE4dJ5S3p80Cnc+bGIdEVO5zZOfwoVt/hCrrn8IxKwh0/4eb77p2lRs1kdBsG0dfDQtgXAyXLb/IFyGZSs7rR2XkJhnUYoTa8D6X1jm1cPo35zeK5HO7AQfCN1A/cyIKTP0cHa0+zMVH+k327LsSJlwB9bgs6DVANBmgCYlAabBoA4d0KuUaUYygSDend+gpckI219iIs5O0c3UDIorHq7YybNZwaoMzOdG8CnjMFVjy57K+qu1fPGRvr5N9StTLVRHauoQjlQSUp6BOsDO8fyE+QUuX0k8e2sWL9Pwx3HrsPJr6ywiPIaHxxBxXfWcw4G4FhnOxVGlzlO5XmoBapwH7F98SR87ggOhLCSoGkDsk+mOWgMOMf2i0UacUt1YjA42z+8Fivz8ZcE+OJFCaV3D36NjwOn1uj8tUFA8r4+hCoEMmLsEwczwX9hv1/Ld6kXASKGtO0gTAfqy0raloHxNJFYifcXE+EhfP0qsLGoMoGIQcNOBug/WQNNcav5klv239oq60Yfi/WfXZQUj3h+oUAkdjCYAM7/L4rqBn5T0oh3bf0FgLQaRIsbEXRx2q5GtdwACY4gLOcmSuUb2bM0168TK2EN3bSAtBxioasHZnLHEQhYo9ZmYilam99c+UNP+ZFFjfXI23iyfBo+KZndj1su0v2UwwqJ1aDeQ4VDUXgRHZ22UGrrFdkJt0UaaBpSz3Gzgp95/D4r/aY71tA+1Gv4wt8B4dDQWpM8OBGo8Nb/Jap0vwXiTUFRwAdLIwW+cJBcjbYHAXkpgA8eghtYIz5UwVwb+jn/x+AlxczSZv5648TKGL1SMUZxMLzdDy9tmCpUZ+h+ChwFHUJO0ZtAeAXKl88S6NZXLLNkYMIN7v4QpDy0DqLZnPrZFFyCKbKThJn1k1dXENxWuaQ7hrV7gvctSRRFEYX5YxrRBkbFm4Fb+zFTBDmcWVscj1lRFlR7LWuzsGcXlzYL3i5lPv04cmw0LhgFtQhZwycQk3kKvyspvGuujNVOjZL+f/OaY4QVZzrTJT3X3FMcBvx5e25V2Pbz4HbEwpH2Hi+V4qQxCkp9LpmCzIJ9V3A9/AxhoX61cjvw0ypYq4AE7jGZxoQ1iM+HAf16biea2ibG3eg3/tLOLNAPI3DTRHVufVmFqRh235YALnVewOQ1Xw4uq5pUZJPxAFv24ziryYDkYVXLHp4GvJkvdVyBMdScyrgiyLC6HnXMqScYQM39vmL8xVy9dWpCvPAePx9ho3p2XJ7L+6zGEDwzj0nYhU8ZVTz4ZukK+b5Hk2jahbxuhNgi0NXNRuf6yFH1ukQX1AvLcAGxpATd+Mwyx9g49lU47HX+JCpVlqAAM9J8lroxJL4U5GXzf564BdDeMzwv+fpQu1XWNGisMTRGocBE2kqm1OcpvdMenb2bFCcDXMvIT3S+FAXT52p7cNg0KsqWO02nK6B8dy7N8WDZMMXokuQE0QtKYRirXIuhodClx/tkwwOfMcWkMSuZcfeH2S3sSdT5SzVE2dG2F2Po7l9f1hO7/wW75YtjVn/XngMihgWRc2uMumAp7H8yx4eb3rgsfX3yFdCxifQkQhS3ijp0gFm0VjMVLPterA4ix2bsZVjOlrqUOu6USbEDxGmBC4v3s9Ukd3FioEQrngfkrnWSDOj+tAQev4ZYWrJXiLZX3grVnfVQDilSM/6LduEXESsQdxf5atBL5L8nr67mbg7k2gRk5BTBWgnKPH8/y6HF9PcGwDEp4bWrPfcja54nbZ7VrL/XnIRDBng8XPN+HXDu8v6+TXTRK2JFIoiH2iiR9OUjPY+O4OTOonShMk5ksFInEiHs+Z5LbpcYhGMFi1mSaOfG23T/Oaa3IXy9ggILa1fCnTZSnfr+kbBoM8at3PequfB7FO6wcu/5Ug1r0M+m9PAzuRiVYMdCK+QmWgcLXgLdXD9+kcnCyJ5sG3z3k39yfBefTknSC2C/Zyel0HW1FBE/mU2erKsDqu63lq6hW6iy1SpSNH1e6lmWfbYp2idotgctywl1656qRfvt8KAeaadIs1pKZ7c1QbhnOGoHasW1v4k/KZAkCwpIrpWCqgviRsNBr+26fVjX05f91rc2UNyDEd3+s7hJXuvmGbi0PP4LJNQYzkQ0TxejeHWP3xU/e+fIdDWzvFbT1eh2R6G6bxogqn7eLjYStNhPrdkn075eK0d+5mFr8SwEkPcMXv8xUSqabaRgOjylFDt4b+zU+C+mLe9xawz0KzfGKSuglOqo80Bng6SM6CZRpzlt30tE9dLnKMLeMaGj6KYRKrg0L1RlKtHs+DzCHr1AEPL0IhffkSF9QHhmcmqZGkf4pt4jxoR9xElLEVe0ixWb3hRzUodvx0QQcDpxpjwJioLTZEbdKefI5u8V/NM3dB85dfTSJOyuu3hE3o3zuxVffSG8SSXgzM/TN9UMX5Vcu3fYK9kEE2fpPkjO3z1zxdbhplx0wyGckvvYGTooQgo0JtuSbXRsUsIte6nVy/64XpK4+aMZCUYLFvJslK9VzdM/1pHWNBsGYcbwUhWSPe/wlghKjIvB1hKSj+pSlAMBtAz5iNzmdpagvHKdPnzdRR2rVU3yORSUnKJogl9TX/nEsVOMn2ly+HuLPyKw9jNSC5kOd7lIfI4t229+E9OYRidASXRAPfnbxfR8/ei1JZduhIX50bsosKjQ38WF4XQzi2PnwWtBMx5GDcmKmm6CbI4xnTt8/7mPHnp4XsCi4uXBC3fA8Uz/Ac2zUTLFCuxRPcIn1WwaseLiHNjwgQDb8/XlcsQsAWi57hkxZb5RalCyQG/2wi1kt3nTLOn0QbzLUoG9g+IYdJCMn2ZPUL8VDFK9t52fOkHi2O+NJhHinFMpyalYrFQtluQGlanlQyZ2IOOdMlgfPAuX+8jqoTsqED8v5t9LARJS3WFeQRV0MwzxaPPKFG1tDn/02IIuSJ5WnSuugTW+MeLsQu8iBiwp/pGgaNeMR2IM3gU3vupWt+b7iHW3dRw43iHMQ3+/Uqu2eLS6XaVxQXm4kgaNB6xU3h0zvKUiJ2b70oYxhP2S0Tpt1tEq+Z7fAGod4tvPo15W7pCsnAYwuEek/06Gjsg1wW64fHSvITMqgSnDsgJeUFvMJ5hq8UkBymSbAqXdsa75o+j0R3b2w8NQriagQsX/s+WOKjVsi6KCYORPafcip7So8XSQNbLayj84+nIHDG+j4PTjU2hhfMV7QFd3QSmaGq51js9yyr8Kvhz6d5OocDySnmCplJ0cNdYkhkWR8KQ++Mi5HMto3LQFXnqF3BoRHvcXvI35KORCCHdKomSLgsQT/17vAFL/ctT0brdESnST2p1vlsupKh01bF0Kiz9YFV+61byg19DW5F2uRDb7528BRa4d1BfAY/7kARcU8UzaH6mfrHN8rTD0LFBnaiAtzRmpvMo6EeUT7sfcmf+Mjw0of5CqLnEh9W6D9hrwBz1YPuyhMUpSgsOCArlo7DiefS45QDJbD8bHvbA7ptx4Eb0O1XajjuBBsY07R5nWouPrJ1g8cI0tr4tv1ZnwQJffNIhGgypHrkbsFGqsa5gwSuiPQD4AR+Ur9z0xNyUQ0h2we9Q0j0auSUK5sXQadAc29IhmVofncjvr0QBwZDHsSGBZEJr+IKLKTSzvTP1voWQOlFwoMjGKmh5JkOjGCtdpupIE2EzkS191DJUcmO/MB59YkDZ5SPUZvJgOR1BPx2ufXq19XyfCRSJcIo09QEXYsvg2/n7bH43PD6FKMisZcPi6sulxe05lqFB/QCboCF25PRtWDilNS8iLnueTOR3ET+RHRuDWAZk0lgH21YRZKxW4pD8EwXPsBfPACIwlzUV+hH0CgdLCyg+uhhJBWJB/uvunIz0lv0nwi+Dv/xFSoHFhy3KAI3P0pocL7gmuzKGeWJbOI6wrSb7he1AlMFg43b79RoreWBjoFGoTjNray7OzAm3cB4cySUO1WrsqtAcH8Dk+jIViXQh5EjwqOphgK1IRtjBL5StvbIPF78IGNkIAjS1Yp50jlp3c8xmNOw4pwYODZ4M4N9nOw8J+k81ixJHRKItoRD3/PojyqdD/6PLy3H48cHwLe+mNqIb7cMOQh9HFTbweT/2d6OPEQyCIm2ttZR2LtSEymcoM4/fuulcOYLlLxfO4M0h/2BLmCh9mIaqScku2A/43axbgv8oFgPmuPOVXKkm2u57PtIm7qmPgm32jmLnx+NYiePBVAOYoe9FqDg4TeWZWpUg9YmbpCr3e1FfbR6PV2qfRsAwCtxkbT35B09oHY7bwPosdoFJ0y7idM4UAUIvvW3stbX3WSUoAsU4h/K1WDGqisawCXpebMdNBp/1NYvkJuO51Dgmv6tBw1AvnXVdrF1A011TWTlUB3SbdvzS4qZwx2TkUPuoluJssz+Z0U/qChhC6JvYPFJAsOe9eK9QLkacdL9tfCKB0OoGXe+bLBKUnKL5uTAjOM3Gh8JBzIrx3449ci/vCevwQaxU+k/mkz1OFrITJeyYaSrs/s9OK5SjUiKrkWMN7Qq+3WSXXYIYoTCKHbaqcI3L/l3xLCf4M3jkLvWcI1pEMOOZgVm0wluDSFsKRoNCFlm3bg89qua9azNbNmVrVPYnX163RcWhJXccfxacgabilkrtLjPSbInIQcjwGQQKq9hLzu+SGyn2knK3G5uxbvCKOP77ZWDTIIppq+2QzAM+GE1ekN9ArF0cDwjLW/wiIrdZId9FybPyMnIwC8KpWP0+SDattxKvAUvZ2reenCBKzrC/JLQ/lLDwjdsElk8jQGpLPT3YXlp3sZMbpunnscLntFyj8rLWjDTRAasfdRyvjo3TdyN8fyoKBcBJ+NpkYoC3YmDh/VBe8GopdkZc7X/iHkHOeOsWIRmLRHW1aC6sobOT/rw8HzcI8gxva/21vmCUW+d+VyWzkyisuKhYqckM3nz2A/ui23HXfxHJOge7q92snyRNYdkKp8MfFQ/6vYx33owXyuot6rkP7TglI522XEi6FWppUdBn2uo3KpcAnHqNvq+Yvox/DuqPafEQOgAqIItNqvoMhtK7uCbP9mOAkGGtjG35GHXgEN3s7T43knNVnLvkBlSLHQFJ1pGDNO/3D3AfrlgdewP1FVwDfBjy5V/rpBnStdsxjWjn5SoCsHoZYKY0RpmzVe7PpBXv87lQSS+nBvnx5JFfgM0fjKYzNhDXcCAym5hOYSi1dZtCqkL/BmhOvue+4uLLH7/z+KaODoiqfiSaKLFacNNgbP04LysKLnvFvSa4npunKgQdQZElroUg0PeXrcfWBgBX90YGOxV50tbLygMjXdadhPydZEOuB4kYbMHHQqq2HjWqEPuGSMCazvPAKucQVzlN2q1L408Sb0eugp00SBMt9r3m/KSdoVnSeq7uXxYXESesTz0aqkX76H8yXEEDhvma0SF9AlrRRYA8mncooJAHc6CSDLToUtsAD7qiLwD9c9g2PRjgIXr2twhhhliXEgb2c1V8r2Pp0YFSvPFN3ODcls2qfwxrOx4K8exEXJ2XDBMpgjIbxQzeYqnqRLqeRpPzWSfZg/97OEsmQFfehDcwaOKOkCWqZSynNpD93wOJF0kSMsxfuAsLXIwdy/m0BN0jN5M6rkyoa1MQc8UT2Wcjr7jeoY4rXSFcpzeEnUeDRxwmj2dYdhp3Ox+smOCBAfqFe2Jf5iAeHR2/h7fwW6MY7LHC+DJkdCRHV1PZlCCiDsf0/YUJNlpGFfxlL3qAVj0C8pM22x/5RlEZjnOgkUXllksL1tb553C2Biy2fZPb7Reu0PHgY0JhUVPYfQB+BIQyAzBddsdY8XVQqI0X9wYB3bD4SKWHDbdth4JJox+gFWznQimA+sUOt8kpf0XQsegux2hyV1/oMjXXMeBWyEk4RWNa1rWlFbJvQ874ubpCk2FtAF1WZvXIeKZWc96oljVZuoD01Wd2rUZtQsrPW6F4YQALsloX2SLH9vnmeQFwhWRK59niMRtAhRn0xKvG7ZVA/Fm/mXB9Hd7BMQueafxJ+2OvouUFdwnKbB63HKa03aVLJaTywbqDg7DdOmn0xGit6sHTkA4cWaZavuQcioePF/+KbQqwqjMkDG/hh2jpuOvOPCa/SH4Qy2PVwG2RbYI8wy4KnITI+N+/3Dsgrdadf3fCEoOaFxNNv4/on9PdD0ojH4k4C/KTmLD8wi4ZbnwzGobvJ4c+RIiOr+lmPN2g6B+KTNW5gggX8cNV3qXmCDbCa9xUSOUDKxMjPWCoW4YxCttNy5lkeuw5xoXyjfINNdGostWIKuasnsWAZK7L8Rs8pwrL71xbnHEiQP+Ja9t8qdHsru3eepzlt5edHrmCijArUfl+wzUeUOqDod7u7h2lvv8nEiZWTi2yllekbqSGZR64l4NGDUHR82JgDSkKDj/G9z7IYvlFCcbHTrFuDuUTTxVGwjMqLdxZnXxddyLFBqJoxC4l3gomypr5J42I/+sdE7/rUdSWMnERT0E0cZ/KAg4SUg9NBKf1yX429VemOhmbjLhPURsurVYN/UmDofsGTAIz477lIEsG+Hf7YEY7VUMUve0A+J9ID9ocia+xsBqExmmZQnBLmPpx0h6OuLj8pm0xpdLG1sWzJsbsfimEZWNkkhm7MtUgP2q7zHh+9wFISsUyIldD3sBhjwAmIgIiiRJaR6nsVgAINMH60jqN8y0qmRmt3PMsM31OLk2Xw1vWpeEMazd+Z3PRkFdzxJiEJyPzLfq1vVEfV+1OL0ngsmPq4TeDDHAO1OAHU6UKB6ruyekDFiUtZinlzi+/qUEMpE9U5qA1c5eTmoQAmh0AlozRu/94O1qDStR99Dj0kkI9lZbpgOIoHDPcLcjYMOmM6mNzZPse9RTQIDAv1kX3UJOrcuvMuna5+/hO0DF1FBW/TRgtj3im0e/7pPxHMoUD07cr4pcOgFR5KLAfSrvHTEMS7PqqwWwF4iaZO/Y1RBygRhTVAbUsxjdIJ1AToBsj5feb+YY21pFhqj6eWrX+Gz5ZQBX8GaeC/m2Is0XLMHM9tznouJiGXgNd3gfTdrXKwa40KNTUnrJ/ATcS7P4ot/lDmKZQt1KkuFyjwmEE9F+b2W7zIozfQyDm6nGr6nRSnUvopDI/4B64w3M2YeyswzaNVyvMl459lcs7y3s0FV1v2mGHWjDB3gdd1XWK1Iz9Sh6YgzhC4tMIPnlmqQKTZoOvD2jLnaxmvwOZs6SfLdMVpyCAwY2p3Sx+s7slcVqNUF5TaRy/EvEnMBJI14Sh89T6rNr5qeZgeXXunH3dFGOeIoe3IOHdsJ+9e2V0ebBK24nO/hcGbRl6arQWxgMByujoXJHQjlA+qndz4dmzdYfcB/w2csItSuA2TL1Xy/0FnjYxzhAn6WhPIJPvz5XlgjNhiYjbncB/tAO0S1Z+EqtanPW+qspqc0SdViBbtGrMJyKAXdQT9PtkxxK7y7SpU9PWzKO3KSdjNx6u7fphgHZ+jiQZUBuwuZW76HG2OSwFo9Kc3k1s2JWhzA4PGVYbR3TiE03BEugBA7PEtNTgqW5OJz7T7ID+rLfxQGAA1QDQcPaZB4eyHUTP8TP2XyMRAQRSoud5mHhomMwbEIqDGJGVh32MOm9u6hUHpavLLMHRZm4iTA+9LMd29j4Urn6N5Dp9imoblhRp9q6Mhql47MMJy1tgW/fmV81tYVwbY2XlUKh7rrU8T5wEZSCcWtCsCmWQFEuojb4auMv6JjuDHL3n5xfevKS1ijCaM8Wq68xyFkcDaSnCxKDe/m1eUpHz3hCwg0JkRhSeRGnVdJHLjVhm8G0vgDTdIC7NQJaRCf+IPeX/Jp9LvI9LRzTiypLpKB6TTlINSb+bNACalwPdUMJQuEDSkw9wabZa734s3TSP+SUG7r391pxQ1BisDvHv8MdaPfGBPS3RUKYv1tHJuoKl9vF2eTP/FXGT4dPA7hTxkmnkmgTCvi8bjlXoSwAv8PwdNi9B6egtGFA+aEQkS6LYoxRHPBuqBtfHB+7NrowSIs1Xm43hAYntE+2WhyX4Uis6yHh20S65HeCpJzsWYVZ6j/4va71t086kxhWp4ECkRbrOC0nOOGqhWWNuxX3nNMp4HNkczatWfQdsK4I6KWlKa2/agNU4dORh6E3hef74wJkR8iJgxMY4bSR6ujvi56ribKxFsEt1XK6+yrgXoBN2hL6k002SgX+WLUcNfBqg2Ws/w3+3gTFJZx9XB0GHIDMne0GwO6F28Q5JsMVeEKx3jrqt6wdx+6n3n842/lxjCW10oDUkGWR7z9tQXyjBL9nExKWw1HvpraO0DkDGg0oQh1G26r6eTuvWIScR5D9uUccmuOpO6gGO6xLlOqhfdopnpVfzE7s75dRAQ6mvN7pG3DQyd2zCEC7/z2yDytHjWObfkkWzQR5/smxr1Acmj0FCRK0VaVBVYe1HTnaMIiNtO0VRU4GJHuVjSngC+0r6UQT1yyFEV2p8JxCWtoVOSz8IM5EkNFzKNNt7iNKupo1+a9EGsczbn59h4qwvz2El8FImwNNMrVWcSLXnZR46WpyD6lYFn005zrsJ0FbxeaAkvDE67wkm6/zg3mLeE56ZRiuxbS6aCLv3YmAAWHSMaEUCchTnu7mimd+eWs0TpHa4PzS5CzaJnsBsX+dPjJyS+Is0f0y2Ip7lLASOmH2SyvBIaB685F41FGNd+2+Zu1xJUKspAYTovwVmH3VpcSpSOz6RPxMAi4ZoLmktEWltuhkb7h4Eyvs0ngLfQZdEyJ7S5SN0rPzcCb/lQlybhojtn2BfHFRdvPcA6XgmsQUHbmSJgIx2yZjNGuC4qxlm22wlDczpD1bi5HURsqcUKlzKxylpFjLjTubJ2ZkDtI0ZYgX6RAjB2pdmo3Gmtk419jeNmc/KjILfOu5Tw2i9/hva/w5tavfLj9jJrY7Da8t5f4w9NDMPPI+jFcxljWg9G+8G6to0q/egvEuT5zmelER+ngRGzBL6IS1SzzhJnEMs5Hlkobi24nEJFROZfpcG5vbpFYuznZioD9Fv0wFAQmrWrUFqCKkmo6JIcY/3GtaxUVHgJEpQ3PF0qtHU9BcMnLNvhUpIrXutff4YcuAAhFMzXsMjngI4vD+m3y+NK43vVX0+Z3aaHU+hOtObWx6bVIzUVA32WgT/UDDJdVghhh717KjsuAUdOZO7c3HySJJk9ZdkzElGOswYFFnn2mMOSpjztJ3X1TIqqP1aArS/+2bZmDrXFgfdQ9ZsZ8bzJtCFVy5ybxe04PE2icK7hMI2s+sFjM+B254PE6AAgu4ou22jOXIYMaYAhmOuajbUtzsGS1G+TFg3PaL1JXI+BzKfC+GmhxbRIHR3afa/YYcCV+fYzlUV1VemPWzbe3GqgC20JIVFV26qW0YxsCzsYcyeFY0VQpf+NYyN3LL0PnESzvxlltlGViqqm/SmXPMmBY2N8HEPooEb6FkFShRVYkJY0Wq1H4gO3vvgUQzQvqyCSvfvdD6jv9I0HBJ8nzWJ9DabRbUx0f2ybVP6OJdpRECrNtNWVyrdr2fISz4T9TO0lDvPbsoDAmVMBqAc8l13AuA2XqB+oZ2ahoPSS1ZJffe6EaQwV0TObqfni0yaEnOHxxRJTX3ePgHM4/aMb086PRyJThpysLuETX96h3Pl3vUSs2itXUG0cugN1s/lRprn5OQ+HAxArx7SZq/ZsJv6vba8pvU0FbfVMfXGmdB5Kq/Q96g92V2ZiFlbYg3vXSax2vw2YNAUv4NllVNtCJEA+ChSAMX08DkoXHD50dXQ2AWLXb62Hfd6AcjJ60IeXz6QzK5nPYfPJuBUxMVE023jZEQJVtYsaEwhNkJ0NnYThLR1e3mk+LRHx/ZQESMP4gUa6GqHhRSMVXscHxHZGy69T4XB111w+1nuv1gF7qw10uMdRrl0q4ablJNtzxyxk45ZsOH7FOgxLdpoyfY1zH2FJulERe7Y1bmZ5dyxwrQhZKQySBQ79XvhpXkN49cjxCueZfvtA6efIONKjt8XcJidE6Lx0s9f8ErLOYjGSQzG2vOhO53UhxdggKXpdPvG2I2jK9csIGvOO7S/jX8P1Hwb/pCydE6xF+m9nrRr/Lvf9Lf9cETTyhlItjV/4GmWzs5IakqwLyoP2ISqOX9sGDy1n9JmQbd873YgYRT92sr3EDgn/3YgLXwvhg/kB4R6+UDMTTjS6WxDpzH7KDyVYBto+daJ9VHRgq5YY7XJQgwAyA6dIn0JF82EpSjO9L9s4GQ2OZ8cuGcXi/S4bzIsQf8LJFMRARpIStifRrBTnAheQeq07NpM1jdr4RAeAeWyR3rzPSUwGaaSBNCdX8fmjSDYDIatt6LZ4Ke37Iq1eJLch9/zTYleD3/h7bBivXHXeOViHK1xEedzr+oxbIlrhFBQGpS3FeC/1o6ySzDUzxVNbiMapmnenJCCZtmN2iLuw3cd8zfizHKQNyZ747r/VdCg2TC1OBgzelaIvsTykUZB1qJJ4yhTP/NKHbFbaelWfxiEOnneMoHvMuoLb0dYhMYwxSX5K5xcH1+W8lESjYfOMIoAq3pyshfO+4hjC2y5LqPHpVlMQ8wc8d2/AIFuJJdstBQ9OtenF4WWyQjIn4iHB8goguprq2psYruE5ERydvTBMz8IcRwIc9I2zD/yVKaGwg2/tp3A5HwhXuBfsx7JTl7NFFcXQ39NQuiWYm7f+JpbLwVT2eZid7P3Sy6wAPbTFaFC/s2DVKSYR0c/RrN+duJXK2Gz4nP6a8oPG+8gs6sxmxjq2rBQtEtlewb98rDawq8gp1wFf89CGHxkUlszsw4WeTETv4juk8gS31x2TWFJ36VH+eh2Aj5HaidbS8QpLkjoz5nuV2yma3wRvPv7fnIQEaUgooQnyzLCWQOipKtjVv8zKXfcXPoqp+Ci75HwIBeMT16yN231nFmu0h2RvbcXEz92h8KUbVWhJOXmmpYX0uRlPbx4ObX7fYrH3KNIdXs0H94O0R5CounmSgWnkRKgNi0dIg3GeBY5Az4VYBzwCGSOY8gg/korr4tsJ0Apu/0yKKGXLZiUflAT8tBWXbqxijbZ/qrOqpwwlgQFX1Nuz6tuFuKteLJUhkG8SKKnCbCcY3QpZNXprkT/uttl4OKku4qQCYqMu1TtDZmHOJtpbs8RrONfh4zumz19GG6gjwf6Qfdnf9bRk/wi5IVXYhHHYvZz39jUpAuwXkxi1ern7wWTQCLcSkpoSMvLIEJUT0uYk0zv5RfJRybKZPGoAPl8hdHC9IuZ56sCh7Lhd4CeVe6ipn8NwNM9KHvqptAwc+AdUy2ikLdb3BEped0i60kIbJTlligx0qnPMpGu6na5f6AAoQMNO2CooxCnlgw67v3f00K+TXbV4KpWROLg9yRiZPfRB67DrBiG4MR50lNFLUhupivxrT6SeGd4uwS8qM5jc2v7NI/wMN0bn1WRDxRdGIWDyrzuxugDXF47mns0FLf5k7khT0TsRVkh4YLRqdW66PQQTTF6Q+HnwmDEcUsHKJaACFR6Tij54g0ZLGIwHLrLwWRz30PhPCehOLwPFJe55RsOmbX2HrjU8ty+nnk8pA6vs6Ot7GJvF8BeTROutpNBD1qb3xBHD5ECZWXD9P5urBSsIs44hskWIrxSBM5Wq6YK2yhehq8rRkELskoj8qDicHucq1H6lQI/0kOFXK9tmoW+2/okP8e7X8q6j9IM8Sy9GWIGkRPHJxxoV6RM7o53CR/HKbAUWwGFHGaY/oPCbjLKv7gXW+nTi0aA7TAUXLonzMdPq3mNVK88oubE33GjIDLkW0U3k/WQtlxehqbJ9bJ2GJjliK/bHAUameZmuDNUbktmTCH4hlS9fRkNSQiSh92Z19YI+rqThY6YllIFc2mwqn8rs+PVY3LJtH7o8i3HN+UBumLWiL+NCcCABseNyzC08AhBdO68fFYGsjA5oyKXrFQZQsyRjJEZ46HB/b1F0+RryC9VgODvlA8y/oLGq3PlBjaBKoT7YoytCJDKXDNKh3Gm4VX9FRtUuuFUnd2iZvuqIYpCu6JoxfUP5HI+o4puYAar08u9U82NkUBWJBy8/hazxlYS1WK2mbqhaH42vADGAYQA1zcJzoztP9Rs6QbwWjajsfg5OgrY8Az/QJujDME3vQxx/sIrGAYfIIDateB8Re+jOdUspiAe6Et1S97bJ77/A/9ct2FOfe4ab2nrkNr8qLglMqz81FBe0KXxOtNniBPebzT5w5jgEAxG9uekA6XWJqqTElxa+zI4PA732SoYSWuvTuU+RTpQS5IAh9wwe2e5AHpFHYkj7K6XsEcL0h3m/RNlPFnZWeTALhlRgUOlTs1TcodV07jOrulhHADSWNfsmDv9trNTueRHUOLosfZTn/zMXFCzjKQVUnss8VoOkNHmaFM3Mqra/lBDVG+f/5+WcuuDJKUfVJRv0hioZ43BpKyptGpdpZrat+kew3JevqlDiMjANYtBcJwnaEXEcVdl/uD/nJzKgqurPpaA6ou5ZEX6ixAuzO5ZLFtjGJL98qzR9UCBf2B7S+22RVXtmnPwv9ZAwIYanFTSZBf3ISBErGyE6nLpchR/MG91HZ5eFiq7sGl5Gg/MoozbR0gb6OdaU4HM3CzvtRoekBSxstqCEBY4NT7YzcKtpTxKaDzfpQdtu6VKu7WItsqpVCZMse00C8VgEF7nuLDnfXAl0kTG/JC8CsY7cInOgTTCnMnYqsVk90YmBDv5kuvlCLRYE6ngFvshTFTSmgfsD7cNlZIIiZztJubz1pJicYdz8b/TbyMLpOb0eKo5A8htDRvJdo+wmIGCDHUel+tr7RBNB9rsZBJORN1BI49DlDLFQmIK6WOWyrbjve9NNgf9/zEl+NMZbqd7YNTPjQuDxP6HflErHGIUjIByExcEt/X0PhMXMhlJR/5A38J8aUidQq7SL1dVfFG7YZYTYW0vsWHAydjPXmL45VtpOF+aLHsw8oi83O5I9eeuIqdlKel6LyzurEazu+QH1rnBHJ4UTJNo0i3wMs0QR56ehxX9S3FOwFb1St8BNUcnMyuT6w6wriCNGLPNNnImI69zfd2iRJiNtEaRUlWTfteV+R+7Xj5xsvymZ44xVgXpNTA18do9yRHNc1wXEmiY4nzhrnayg+KgEn0t1rDJ49I2B9p7rjJKgJxvYFdHacuz/SDHPlfScjzpBnRL8XlPE2DH6qu/jiFpRQ11hjJoia30ib+z2XqsS/0rfBp20LrzxfPQCaCV95AdLFqYgKNKL4g1z0fK5Drv3LCDh6hVQkeks7dsuZx/z0M6+J45b33S4PO5ZevcQ+UAEt+Gc6ApWKYzj1wi+qicSYeWfocsL3y4mOR31vr+15m8uReC9KPOaFcVQemaHhwFRiDmEx6SZ0+ceUoaK69m+/HVQ8Y9FtfOmPwfboH2SwqqmVo1CT1sTeHpK+aUCXOYKn7IJkZG6uvUCvB3nJrdU84r24792XzjxGl65fkfrkGxoKX5aDrNLzOLdFwz1NEUn/m2PUQYiiNZ98sax0YhkRY8x34w0VhQgq2nBVyi25bTxNwgNpu3vDBj25Slsl9DDJFH2i3WPFBV19XjvWc1U1JsxhLdB5pN0mpD69QyEQwpUBPmIflTy/GkEkS8EIQM5tdsQ1GcEJ0Jv7HAgQagBNyK8XamhhbHxY3OiTa/XHHk4wLe6ObKJQB+zD1rjzaveCDow8fYtconY71T1+A/mdjKQR0isNLIFGmyUQIVzoovAOfN8iI9GHGMxjNqXWpdAjFAtrnwQP6uELHUbsjcqzupXUOhL/6gZIqmmk0a6NGriqxr40OXPsDO7yc/uEkF30wAsxChen75CWv1SeYRLBACYzdqTqdhvRF2PM3kTkfJx5r5cPtKKxg7WVQyhshAsM5N2vwiKqgMjokjMEv0Yb/HXHOZyt5aoLJcT+9PtIjrDizUlQHvY/i6JqxSe1mqtg8Gx0OizCMLJsdl2tBA4c0et5kqCBvH8enb2D/EX44D7a+Ze6rfhDS98e3kvWI22ZV8gDqiyjeFg96cLfxv2l4WfkXmwzm9ujlHhG7GnEQ6fPxdtMb7VeowcopkvfWHCJc7pV0zcqBkGr9ctFPtjp3KX/oYX462ngT9ezVx6VlYEToOjYf8tmnd0B8RIxe4Semx7bf7gFzy2GcBvKfdEk3NStA4u8ACPfpH2Qxh7HxpiIGeSdCrJB2ZuxThyIjXIRX03teXN0leFtERcetA3bllZyVjDgJ37fzg46sJ687PZxbyXoHgCbdbmNGJiljZkuJKd4Cg9Im/qDQNXILXRbQL0P6eDwsacJ7++GZu63XSdpNtG8/54wHNNc31KOa4PubXbIp8Yg7qaW3Rk3jIIsheykwMGW/ufQ7Pj8k3m0lqbnK2Ek5xPZqhy0xd1O2vqnASTjg8myYm8fifIt+YErA8PN6auCRXS7+rq9+cYHm7NI0HjN9qFzKn2/QPTKuGfBVYIt0ygLeF+Fl40KO8Awcc89oU3azhoATAO+fYxGZHG8Nr/ObvByricM9IHo9cAO4ASxg6jyUU5tBVGzfv5VUvKndIyHB4AEV95dxe2FE8meytcOxO8JqbvfPtRnGHqcEqPkiXqiY/fOedKIyrSgnsz5W4PVFaEF2Y2A6B+M8MeEbli5HYl7cQnSvhjDtd/YicrKvkxx3QbdLkephiaM+i21loFPzZp8G+HbY6XIHJ+cJVLvsEQLf5hZU/m6zbtVWqH1fQ/EWWXsoUbeQ4Uker8BoKkzRgFVGHSwezngafIry2QaSgEdbttOgYBHXWzdIkEPyp7gRqc7hxHAyDFprIouu12R/hYftltfKO/Glo2K1UacVQMy0I5HarSdkVnLuBbucgBBPNxgQ4us+iwRUv9+0CxxOXLZgpc5tZUXBQOooLxTXs8sIjM8BILUVRVB/dNaLLkCF/B8vl5+zLZh4yhdqU91aKYexRhGUi4lCbFr4ywSZEMLMlfpCSL89uQllYTSijFEX6YafZtop80ZcMATJRKXzEfZZJCrfSWv0PusxB/MSJCTpq37MWeffrhd+7YcBFxrQwlQJjQBBjpdPwjv9bT5RdSZsr0u/EevOOMiD7/qgr7sv9CQGnteOBkq/1TYYx720fFedgfoXTYCXmGMi4BcoiGLS/lndwKg3r/SqE+yZOHDuwRFsPPqZO+/6cjBh7kODsUfwcAc8FGn494ctH75qOCHP1N4G04iNlcNx5eZWcvq+2mCUJJnmsOfi4rKfvygF9k5CsO5+HS8YgqyrhBiLDg3fJmscb9+t7g4+1kTBNY4ll497b+sGlwHwczLImJa1C8gRsR9+Wp2V+p00kMs04owo8GOmzVZMR8/9nHhcOuEcs2h1SlZ7VJ0WIkBn3DrZbbjPL+BFCGj5ZNqe6DV+5RUJ5wUfzVJJYz1qnYFhlNQ5+8JBFxbLA1g6QnkqJDwc5Er103ShCgyOOsYyQW0ZUVmL1tbfa8l8qwyhpUuCf9V9T/5w6o3etVBDMPA/P+QhxmhXW6P/TPCLa8vm9kY0RbGDObJGHJYnutLsA/45ZWVi+D01VrDYVm6Cd+UsZp1vyvCX8ZDq9q0sNMjZbk2l39LE759uzu3qRuN+9E/sUCcH/7iY71k71uwDA2e2QNrdErQuLUKlDJnQ63hi3pUc0VTEemYqstCPtKuQR6GdFR/SocrrDGR2I/6yP5qIYEtmP3ZOX4rPsuVtFD9Pz0kulPwx0luSbPn6vZ08SGPmJ97QQUJvFcPf+MzH1ppCEihfGjsu2hCvyyvan2pjtSV/i4irF0h1hyXnbUKSyMLh64WATH/20MLyfByjB6DiJurimkTPEkljaDOyDf/YB+MzwIowhrLwDf2PCWO5pcgGzE/5Li4Iknm/L1EvjPY6khZzjhHRrGSpwl+YIYO9F15TzxV/Rd/vULtGAX+MvEwrmXR6v6gmHUhsunzSbL+y4HEUZ0p66ep4xxemIHZAg4yAsxaAK2DD78taLFX3PdRncMTY37X8XENQ9Q+PNsTuyXK1dtj4/cbPATyUAV5nDDkQmkl5qCI+XgfNYXD2bsf9zaCw/CPB99mPxdesSOlKLGeHyTlnmPEo8r0gWCAoR7f5pWp9/VoXDE3y00RDZ0TpyS7fiS1hkIruqW4CKj7SPPWH6kequAs9LLQOBtnwp9dbxqAd/i+91lW05lQ5xEvwbJhhX2u8OgRIHBLLDYlRM5qCPOlCAD6I54FdO2iEEcSOIu80K8OrKO/wNUE3w8IEIaAfnWSEbftTag3RsYrtskEqvC7M5DT+gsTEZAWi46EJNxKO+kjKLmMRMBmKuCSJ/K9w2xSDDTgfCZcYozYzZlXtzFva19TPLgrR771J73UNwMIrNlLA0BDBhWVZoNv/RVJCIdMnpBsj8qBmiFTOBC1zehQ3LRlq/d/h0CSvktWqVmkEWXAhyFL3M9EPbiSjBN2aaH7kRkkDRRt7mbrFBjJ8SiAH+Z/mTL6b4tmD00SwIZthooR1duZV3ZB322G79V1RBocFxHVo9BDANjdnGQmtWrbJvwH/B/D59TBmVUpROoBlvSHCUO3OWvg31vzt4qxKFNjduCUG6kUx4UKKtdhQxedscxrMikoT9bj46kaLIZqZg+t5BInGxpk8GzHf4tGTzgZOFjCB8gV9FJiT0DG0yf/CulbzGe+Qw0q3WzW4FvazmD95IW+yPI4+C0mJUe667b2BB7uTeAnutYmRW9LTeSkhVMZ3MCurE0kKlw2rYYW3L8F3Hw9w/qYhYsmfbp0doTnGi6qIO4kqhG0UBAOSKZw8mndF1oJbWwv8hYU/AF/Dob2b1YwjQ7gzCHZxe1qW9xkKAnI8i5e2DvmCuOs29zD5lxC40xr2qRT/xW9O9kxCy+6vPhjpUJzEyKpzdenuy/qL+f7Xw2JYU4HwvIZzpfL9B4+QybJwznzAFdhbLr5xpE64kt/hKE2oiOwN5bWI2I+tsJR44lq7Tb9D+EUC8nrsUC2pgW7mKFsNPbRxWVsZXWm+TNevPArEMapsBoyNBlrh3r45XEeu/x+tDClulE7RuE2hpV234Ylfz68nkPVDZoIBWxX90eOpn0AKN8DhH4mirwdSQtqVqbspJSc9XFVRjA8A5sfM0oLbV5jrp0tHZbOIu4glqp5AP1BABJnJoznYXsZV06ltnuRRIxe2PZqwgptMpIYi0XIyNVcsClc8c8bwtMEl8FlGI2tBYJUaVFq4CElR5irBjGhnfDHKDKG7gKOOft8349vyD8rSC9qNkgjPMpuQg0J7GrHpUnhp6QVMqaOXA7VaEiMOfglHkIQzWdMaV4M/qr/nnpJ3tR8AvTSabcGmc3owv/8D3nEQmEIeg47DaNBG6UjGrhrkpDek4aiW/4snaZd426LSowN9i7Czyik1lsPUJOL1p8KwrrgSwTF44hpTvbubXATY7gDehsm5lAAeEpTtKcUCfm2s/ryrdKBNErAaYHmUuTmuLI2MNs+2C1PqL2gRZ9vA0iLavlmtWVNjeMbpQIMbXQdUWo3FFzPu7PQVIEyFW+uvrbcW1w2AcKggV76qXMoBySZTTULJ9xJeeb1neIYbI3Ui9DkAPf9SuZROoPOu321etLNtt+spNAmVtucoWdDpSGvXsP120Nn46o4HUvIG/6iHtm6Z+1FRkgyWXxNFfKbTXCXg85tfeybxF6/f+9kXLWnsE3qGSGJKCo3f/rEKhJf29anJY54L3xNODROv5iX+0h3h6MGwQJ8egYlwAA/SZO1tLBbcsizZWvc4uQhMOMYjiFQ6Uj2NmU1TGxjiv3HpxdeQgmUrpV/XdaxHSepGmPCf8mq708ZTqqrpgSkQvpQxD6lySr3gU+HPBEQ/WiplFI8Lzu/pFjNqRH3fd9zKRUj7cWv2S6PbixNQiOcmZsE1wkEbfzIf5EVRbMWh2iV83IMPlQzG58wCTpMFXE7lmxxXSLbHCHZO/iNJBbZ1eVqGmoCREQAwFq3EhVnYT9o3wVjCLfrUR6Kk11jJV4GAtwLECJPYnctT6/qslqkAJb0/hTAQomC00rv4Pl6rLkuQcE+JXALBg+K5nCMo/2wAY2F5ICaTkIuPo1nWNymP9Qf9hGQfqgwlLcspkUXSQnQUuVrYIhHSv0fdOGvTCjyZDZLPStqT+OJseg0gkYmlxrCaDDYhhSGlRKpNpLGJHS10N431F0OKMO6Dl+LKIYjM3WZay+s6/9PYhlzY7ewqrcQ9gCoLaryQIDXVGXmmIMA5mebSGBiOZCvRCnJF8D+RbXMGjsbw6XX3L8iILuDrZCpe276oppZiTSfIh/d+c2C6LL8/lmot1xv7iqE9U/Akq8bF4xzLZys+PKBbpm+4DlcG5p7AxrwCzVUV8oYsMVlgUgA6tV8GE3ybpaXNtLKiX3jyXhmoEqRh4kwggl6EfbxPoWJoGacKKBQvDLSXJs8LVhQaIidCTaLz/U7dPdlG6zJM8NRR1UxDE9qlRTevMasIw6COu0gyKa3Y5MlnrnVfXC4IehxS9n+HA10EKtV9c4vKY1nokoUxldbLVlFNj/SZJ+CBtiYX/TK5vCzpL8yneetNprgTwWmPIIRJdbUVirEeRb47IER5cbpn5V0PFdfK4VW8kGCJJlobC1Pu8VBBcUuu0GXHS9ppz8L6QhZ8y2X3E5MgKgAn6V+g8n0TdebPbXzEvr8Houdg7mCNuPDXJZy/eMrYDV7tmZ+2ymu8Yhm4sX6GJQn1efOQXbFxdw2qmUtPoEgpa4ZggcYV4AvCTQ37dDAY+ZxO6UPok9NRmy8nwLosj/IE2JkfVmTYcHaAu0WYNXHyYw3h7rPgZAU19PjFH0y6A4O8lND544Ggy30guOsrKm1zZ+J5fCje2C3wFOBRC34o9y001r0KjmiFiMt1hQ7RxaoswI7T3txf7KAi6ygm2sNNU8GSbNgvBwPyDXVQHhaZw34rIxnpz/Mwi69H4Wrw+/smZvD2UJ3s7hw5Ut0w9U+YP7m+W5YE2/cT5XOHoSRLz2ZOofKMlV8CDCgH3cbl0QpVGbmup6x2gSo3VivQGZ6WExfdzXihjU9hD35GvzGwJA3uYSCc/Ye8ANBc9VWI6USEHgCDIpe1SkyYLt+megoPKc6ntD0cThEYR+QKN9xuvY50G6/rSpSBywibbo+vXtj/ZKWhbnYZSFbE8S++QfuJ174qW9tEEHOEARUR9W4yUh64BjwZ1VA7hUCkBfa5w9suoaRIBHc8iIS+y3jEhncx9KYCVsh/sWwYrtcmarTzp+z3THa0+XOFXsxs3DSyE+eYZaQFD/6tTr6Wzlj8SlkbRfunOkkcXxiPCuTuICjiHg1vJ/l4vHwPIUJ+6fPFUbYm6RlObTp9S02DtZut/LUFF6kiIgxkV8u2adopKX5hDAcu7Hy5/qmZfn3fCSvWK9muI7YQQ7xnr5sl55zj22o4uNuC+QqpidO4zKUE63V+YcYWDN0124AGFqMmfvGZigP4d5JsZ0/Xigy8Su/LArHI++avWwgO7O4lOJIjs8TAW3wvA4mGydS18ooU/5uXWBFmna5tKiCrO2rDdIvVO2PZaZHJqlgmlf2m38YxUOGKAcLg/Ef18POCloLYHn4gL7m/jWjgt1ZgwVyeo6gNliGFC0GrOPZwbVEPdc18JyZyYWIF0s1yT9u9r1ElBMTzv7YYt01QKfcCXSibaz1Hg4iSFNlZ8hFfRab/9ii6Z/qh/OQFn8IpcCFfyyPQ9UuJdOCx8iypW+ABJggh+iz7d5jBgwvOIKO3659zw9ccLFH8V7ncypsXokAw2Y0qDiyW65JKTkiGaJ6ozTcy77fm3Nc0pLkyTAbCC4gXZ4JQ3kCiGkFv/0vpmCSdm9U+hhJhKEd27rprxMP9hh4dJMXu+l3vIbU+pAmjfhF5wpFzjhFakO7ctjcJUhw/ms0AdVmzDSW8WanBHi4khIc7fX8K0snQuik+u6guZU7WXaX56So1CA3km44P2Z4sMyrlx2gb+c1tJ2PDPofHbOvi/vNDox74o5HwhTCc5uVB2HRuuY/7mR4CyEPFgvh5qFcjbACZmboZ9CSEJRz3apTh5cbhgVOyrB4G9+qwuKRak3oOui9GEyzONanfjg0bcFZW94RS8wNih9DUXpdcalFAEl2f1bmGDB0B7ibFWFDXO8g2CSkqeu1hD9YaWdxxZpetXmRrnAScUbnNO2acb9/pfw3fdZbpwlHx8nhpSUuvr69+ErGK6kQbii2lo7uTb8HhMym7dbrv5udIiDY2QJ4WEfoLp0pakwKKBZDpK503OVa1f3W7NzX4u5EBFZ0hwlge8kQ6PoNoSUj9bDlJdA9eAWwqCI2S6qCgDPq2d95h00y0hhwqh+p8Tt0pTVhN/pbKYcqPjcQ9IgAYvlI5hly0qYrvXnoCXTsGF/A89+NEzDEBlQlF3bMzqp8EWZ/VvIXk1UIjqEj1bEQdNGorNwTzj1OuoCJynTg6zuQnxx2BkwE6eW4Cnp5Lb6OK87/TcsEXTmCtat8gOpqcPndRiiZ93kYGkSM42yQ6BCgspOCcQai8LqG1MVnLUgp6AFcp/y97CicVPvk4e1w7AHnUYGtodn2/2e4SZdK2bNN45EDecfiE4VSLgKEcZyzb2d/c1lbiBXE3juZJJlkTJfAdnM/n9TXxNfG+2R7cZhzkJ6S6FfGY4oXTELzwa3QA+pPwG5+Vh/c4poxym2Xt9b3xvdIDyduJ8bDMJ4FmYBK52E6NnEn/Ep7P5Mn6Lq3QqkFbxMzBv2lTPGAc4hheWyvjzTWh0DVHohc9Gw/Xfe2BqseNx2zgCgvIG/1XxJBZKoD5er2bkXNe+edn33uq56yqOOEpotyT4Nx9HBdNsGwr5mZ+HiyI0YSsO29zf94KLfJj9n8fkFgJ6t4Z/JccsV8CbdVZfqCPOANRmz8k3HpKp/WyCPzU5+2SD/asXlxMOQq6GGSVW2uyWo1dvJ3/PtJD5+zyyllw+9HeBHv2f1VabzQJt+HxTT3vZG7dvJvbd4KTrRRp3+0hgHp5iBm6LTcdSySpPFuXfLcBhuAnPu+FLHZKZlrrDz8tVeXmNlOzc1j/4hjwuUVlhOhQCAefl8MPvE89P/wk93xaPCXgGgioAdubGk+SfKkLu19nH5YqKicGpTJpLtIbTtT+s9nvOMQgO0s5emOXwtsatt1FW6PEj2JWKujh25oyLPjoRnr1EVUcu5VaWyq50aNeQD9MuDu2MYhuU4peOx91PYt6DGJqrsBg4CL0p8C2aRI9/KEohK9CXjdiMpEaXzEyFNNZXTbiROw0RtxchUdNmtq228DFDR/MTBhMotsUa8YZEWIKZPVODPfUx1ykH7PrydYLIju/jpFO5tPLNW/+BBDo6CdgGLpjolw/FS3sKGMw9e50qDFXOHLUuZ1nyJvUlHAMneTIUsgBMTKs0S2WhXyEEOnHjZ80x5hDOofXkpaMpjj49L0EaB3ok8h5D2tcH2E1ENjELT0kbwn9yTDcWhJfp0I2E2rCAoIMdGTHAm9GD68qyMNN5CdZ7mM7mGXoqc2HiLt+67lw+KxSPCNGTlBu/q7Bf8DM//nFxHIBhUhN3dsIJ93OcJQNraMzN5+N+rJfcimEk6249Q+kFoy0mIvPzFBAazx2pJ6rHwW2/GJu0ptA699ePcr5Ftf6FnoXx5Qak3PlUVN1hspEXTnb2HsQAQqvfA+H1VemJpR9AkJfUo/d84kWCixu83Nf97Wm6OMS+qCLR8FuF3z1bHSnqMuR0nRlOvMSiHx9VMjMzXu0coNXUwiSTvCsEJD53vEKX0ZJFvHms8DhZ4NI9OpGwDZgyr/B6b11rWHZz180vAQYze/lcR7Uatdf2fNJjWQBZ/ouNLyONobsSFEOwU0XZHE5oy7xUtirnnHQiZAaNSDasOHbs0zgkWjqyg9phy1HEn9ijgzrSv8j27Od/td/fQspvah2y9FjrXTeU/ohf6j+nQVO6T9qpk+i3qpoVZdL1F0qFmMJ3wYBLbQuNX+g1rSlHIw2rvIocKvSaHO0GVd5C5BQdUn1v/OnqULNLxAL7V8y2CJoahRJLsn/8elOz5FSYjKiACfSUy2EM2PUBRvtsTW/+eqavdjyWy1gezL6R71pglC7VAyzdy6DuGRs4IuCgoz1YhWpkokRD+6SpIelxk/kFp3TKrfdZg0dVRpycGqstvgdGbfiwbhTGODh+Pg33tPFiC7zxca6Pvby8HU3kYDr1vm1nxuNKpVXTM2EEt36XvfHEiw+s7iTMIdcnGCmtEs93WY50Z1QDz3sKco4IjvH9Gwf4mTKl7M02qN/cTPX2XiP2SrglRuyZqXNWwaiakoVtTDYO5Q2YFjaHK6+apR4FmxqNmJYpFpSVhIQOLNZTjSmprFK8FYHhzn4OOqvpwE5wUiEcHd5BbxlFi1d1hsOZZ+ZQN2XxE3+axhgqUpAp1V4PGnbGtZ5tthZyoTcLlv98OrMYwqyhPFsDi1/ijaTMvum6B5FKnrSK1LgGzgo99+BdTAbcc3G67N7YoRZXF95hVXibIBQZ1E9XyTdKkgI+/wHhCEOLUowwLiQgKkLPP2ydlb5ZU/vmA8y++mXNUxqWtSo7/GpdK1a6wNXz2Lvzd+NGpuzI6LpFx+k8cdkWNoylVIBwBQD3FKVQD5CtqL3QamAgRiHD34i9FtgT8busMYHijxbPJwIZDHnoI/wR8Xnsi40P+XkkvTHTLhntSrSdeHK/NZCINIWVP7k1/sSQPUPJJ62FWeGXeLizvJRF3hi53syMs53HzCy15yL7PlnttJPj3BHQAISdmo0NnBUfWZ6xhjkzcYWspRREwQHF0DHe+mX/BzpbfumoKOAkec59aiqgDloO6zw10zCEZ4SEvRTJlUv+8+IKwX1MGVgaQdGKqI8wUwSaUU+IVAkGmxxsE6ztj8jEne2LzsmrzlpDcDxX5MoeNBfV9q0VK7Z0MEvDU9Lq2B1b3dgrj0FAUCpuoWE3QBTv6MasqYJAblpWa6X2RU+W7XzlE92r4luv38KAdaqxogpJDIYoUNJ0OW6TsJ+d2mD2AwpFMhVSkVgByca3T/kMbj1jDYemPIUcEY+GwtJb6bDZEzBpHuUXj8CdbU1OYC2N9e2mGQuYnX7Hgmtukp1fOBF9HqoN3xRozXX4QsiYTtjAN2iKgjEg9WvNQ3vjBC1iewDZ6QGDxN60qDWbr1zeKbj/WG5b6Zi9L62sxWAszSAVZQRxr4X4Vms03Vs9Toaw1GgYprLZfOWDbxzOvRtZ8BWEeUMIqJedFXwk7YtTRE2SI5nZm999aEQnEJaq2fWSl3T9o4naq0OfZ+M23hUhrHWhCeNeBiorfZ+lIkesGtsuVAdQiW8c853NTCK7RdDHg6i3XCSwneJEkNo9EDkT8ZZz8SzO1UzYaEFlfhASou3qDsxwYG3BONdvhQAMYKgJ1MDOroYILLvY8PKlX/pPej1e1g4jE6an+wNfxsILDdMBBrLPWC9lAWoV8+1VKMoVwHMYrabia2OeVMsnx+MN4UKvZL+luzSi2togNuTQirtIPQ4hf0saLQL3Bm3gneUI1mkY0zcFrNLiV4X6juP870n2qXqkD81cUCaBeq3iWKTXp9iscv5LIGnVjKjp00CCuchnOzvJoq45vm8ZIUjZOooqGxh02UinK5mMG/6E1Q3hJlsDREBXEqwpWiCCcxvmyG8zms+oOyBC3sLbtpHMVXqmkFttH4kIVFSo/QfO220gYlTTqhpdEdCmwdKxmUeOku8wKJMoJZqdk+rDaz+xYG6QNZC5dv+jQbr+9lqSZDETgfXKYXeafQdG8gqNt5ZfHgoqt5+WVfDstm2fZkdN8YrweRa8CNMQ6hRZrcIYXOpFpFQpVUpOkrQsJOFmcN9IzH0DKUmexCoJjh+0rVWzY2Mp4r3qCjWweJK3KF/db2R7P7wZuFhTTVHLfH0ONYOMxUum4qti39uYJ8/mklDn+aW610m4cb+B4JWupqxcjt9YSQWm4Z74eHwZjSLXMD+nq1U0r3TGFV/TDc6+gpGe0OpPycDkHtyp0rhVJvDQkiYOIotCX6O6dBxPT7uWITFRYWpMC1fX4gS/ECStCT7FPZ+CO4aHPjlv6nkk5LZ8RIeDyGFX8fro5gulIfFA8hrhVylpkPHllU7/XjsTYOAWzEHXYx1zOrP3XbTuIYbBBi7hMNTxAzDVOp2jy8qrSMD6oUW+rXmhLJRipMpp2bUAlC7zVCxVLlbM7Yzjkz6N9XSph8ou5epxlT2057kPcEDaYuM8rL7aFLOK610u9d0q3pkGwBMf62Y3FJ80U/7YKayrepBrtdESPv5LNFPjrdPt5IxgmmdA3ShNRoZI7ymyq4ndQQ3pBsvTyvkMa5oF3tTCNlvORDJwWhaXRUECUEu07ql7P0zfBgTtIZ2d2PbJbx6jQBa5rKoLYGQGqfzeltyVu2P2bl29jZEIbGxMcQRu9ws4gL5Blor67g9+++vl3lJEtBtsuNCWCsSad2WGgTQlzkNRVlEYhSXw7mESYzOAb3/dt2hi4KcgukWZ9DiQz5BA0oP8OFzE6MUsuCREj+6bhFoe/pO61JstQRnCEHWFlsW7Xx49axbHRSefpxYljYxxGD3Ijo64j+292H2CCheU/Kwz+Bx4JQaxwxFfmIhWTNnCrOGfRmzWoRK66ySYP9r3IOuMpNXd03KqUCnGV8UXLHMbltNcWaryreO7TcwCcr2u2HMPnplqSAjpQd/q87ZA4h7D7XxzMFK0GOeWp/3BiA1X/j6UUvCM0cMm/sThQcL8vPUTLHln6gm3gu+hXE1eMmuvKyqFJ5mp5YknqI6TJ672BiXFmaBxq1hoz1X6c5ce/a36mMvjL1WI7h+0i6++qHnZT8WOj+dlMDVGUnJvxA4C114aXL7EOKc85MS/ShihKFzAAotIvJ1K8SC3QidTBKGu3N+kvfRhitw8Fxo8spARvBMHpBLFmeWVzUOK9plZ4aqoM6OTomsWpn7uk2Vg5/eoEmm1iGTuVSsknIHRpq7NVnWMRtYCdyvCtNAGKIZzGG3ie/+aj91Tp56BlfM9LBwjls/kGB/5FWwL4OIeqDKGoWPugxP2nwRtX5UeYzkqfmmyeEtEKMeChl9iYf5vpQwNx2nMjUUWUSYbVZpj120MLuyzX9npr8DrpSckMWP3ZBNhaWj8dTA8T86Xvow9MloPZZde1uH2nm3lY9ojlBQbcseBa8AWKNcZG/yOQxbc0ZMuYGU+Jc/nSiSS/Y8XH4O8iIjEl0sbG3QnGhWfqR2bDe1rPOasNPXj9UYr+wCEMt/Cr8iwK/UYnxtFxTgfpm06M7VRRhl5ZXhd1GV95DK+rB8ivI78WUxoFeXEnrv9RKbxxqjXqPXr+hP1PT0gM79gz/MPFsX5uDA43vGBcPyUFs/URJna6qGKg4u6k3Dg2QvtfC0sGB6tr9gC5Z/Cg/YXJBXUhZGXI03AVpJnHAp0rZkkxilTHmK3j3qds+gL0iRcz2lhVQHhogIpcLdKX222nz9wZ9pxKFHKe21rmAoy1qIlnu+UgLhLaFObMIM0PymtZiMmWdd4VElCHwL8WP7Lh0EBU/nYXpDPmvBi7SdCJq4GlYjUlniPxVJ1/KP37y0W8VvPukxmdnqO4yPTeY2aHsqh+S+zU5ppUnTNM00tNJlNS4V+dilm1Yrzy7/4ehT6P0IdC/TezlthCYyJ5I/ZqOxrBajtxGRebUJpYl++zbftpL33IS339KW7cYcAyt2ZgUtp8C7Gk8yd2O8vytpVR2TiK3NH6zPMdW7v3gWLnfP/hj34fY9wQ04B3hORTMEHqdlAJuhf5jfNziWWBgh3CwrsN4AClL3xAikVTzAof1SzXETZzfmOq32tNTVVMqQBObcpNU4eJsEV7ueAj9mYU4RmoeDdA7iSDT7I7ePJVvljlFm1KwzLHf7OxL0rmcqDjkR6AUGBoNBrisqf7FQSo22HrYIO5mzd+jVFFlVEaPzR6+fGMqMGQ3US2PzXL1dhOHbBX0TEl6ByCMu+6BTdFTaoidGeErBXwL4KusuWrKuX4c11nZJWvUALiQa/RVENiRKAwqwKBeXRSS3t33yytCAxECzBRpDGeqhO11I/RAAjDY96jZldYDma8eSmLD/yOMCYIiPDZCaqYeaXrEfNo+SBJaqDXd52W+tWaBHm2mhqbSrqYAUy9+wDTv1QH9fk5ft0OGDHSXtB/qGDX8K3LpjRZiuncEl27Sp9ABwi1y1a/qeoD/DcrfNfWRnNdVsY+IbyLCzA89bPJsklQHoLQt2ssIy/mwGMXlsBe9TZvdNunu2DO42U2q2kxLQ9z7bBwOA6CewjVN9pTdhqHnsaYhgscM7mworAxrZm6AdB2ebGtSQmnEh205kjT5JpJxuZfVgH9EEVXZqKPntD3NQd2bU6dOLf6gngci5TroO4ZgvoKvil9cMgrG01nht976eC4QhX9LxrLWyr/XbXR2qpdIpvjYeLUUcQJN534/jeK964wACgtV6hp4s7gwHJuRPj17y6jsXbYbV/GlVuFxaQBG9RWJlcEE9SORAuen3kt7Ld0uuqcA26RTMds7s8ZwNh8z8voyXd4ZZBUNsx4kOgGH1gR/8BiSzqByw6DvNQngbG40asPGVrGNo0Nfx1tNnswcsGp6BT9S8sDmQj+infE7lkr08EmJhtN5QXUCPbQ17PZNQ5bfpUt5wo9U25l4u+10GjPiwqsG9MEJtBoqvXWoUk8jqfPDfOMip61uT7tbK37z5Uh3hn85knKRQ9UWn/0H/ENuDH8qT8QITXzIflTnX/Tcl/s7o+z2YMwWSIXdpiBxsyYKPVJlCIA+gdp5dLy5TWpXpDdZYa0OKTAWbhjtsGlwbjb3Fqoj8sfBnmfSf1lbyMFyjHVYl2hx8yKOdXhlBrM41nwBuIVici7B8LF1SC15Kn+HKu7nTcViUK4UHtx/43n8+Wi0q6jbw28EbqWVILC9ZUmeXdCMpvUendN84lByVkJ6nL9eJOxq20cKJnN4u9e4ZszXheot8a7ejgGQcNfeaYA+oJWKCUWYqCbOrhNJ35zx+kbCisL1sC9bOxasfMmGl2i/8OgpwE2tzDkmAum8Me6KsZiRG1JDL4N73OjORWdgKPLjhFGcVvJYbnczt4WJ0kbEt79Yih1eY/Pf9FdJBaCqIUe7teJeF7nNpqwiELgMH1MOrIZtmO1WhMZmdhMSfJT1RTGyGcvqDZrYL5N/8qsr/txDvNEnL3qNPpCcNc406ZmmXh3Mdf6c6+pURWrLkOxnhuyWTsf5I46g87CYjg4r3W6FTM0yVxpShM2/rUy/s/M/rQls1Oqq4J35O9/619uqdlZGXHx0sJrhRUwhpqu8WkCLQMu0RPhULL5dwWlCdac3fFUE4CwBLf69CUCUmpO7tb53qc3zGDq4H4fwRtjS4jxXbvb6rgotNfDAEtHS4Z8QNcSN5tX1vkaA/2iC89gfJSFB8Bnx+gKIcZ8sKE67knENvrOTZ+onmmsFeBKz1+E+hcNHY/m4xvULCY4+vV/dFUdSCX5MgBFin5whE9b8GA+V2r7i3y1wOvCXeiPYN6B2eaq/WDtuS0GgBQEU+cT+XfO0zIqb7TW7DQrHCZgzWrcvY1erY2G2sWhmmKtT8+tmWm/9tIafvISTEHeexEA2JM0Ro4En3+xDmLt1ra54LJvA8OrJc3DQVjlHkZW1/2PL7GVqbgur8af/zVQgQHxCAerxphcggkZHbMSP2Ryb+eKHGrapc3C4K8TderJbildIn25kuvrEkE+MyCamkZ07iWGsQl3o9fI4+vjdoI878JhjHgpPV6g/hasuqLFuPuTPl9fZo0+vQEP85uGCQOAJ7iHG2y/HaOcfAwyZRDR117ICJ4pcwpG0QuWl5n185rJutkbSYxNtBvwhliPqpQlSyUGAZ+4jIcMhCioM3pbGrGRtdh+KlegFsRtD7vN3XY3fYzFHyzf8nY1h9H32Lm/Q7IMvMOExSDnhTxE50EujnuMp4LUmZvk+bSBwYrf7mXYxSfKELlbdYEw49nCuWgcfUEiKic0o5GfRxQkIbbsooUxHWoybeMDAbTMGoAb6DKc1gmbURbFhmkPfWLEdusysvWwnLYSy7vXSlWzhfVVtyN3O06fcr6kuVw+NTNFs2NOvWg6PXL3oCcng5OQln7Xvx8oWGM+okau8AESIht0yWaaUEnf6NEr5eIukB7DkFR4/nxHXThSMtOh7TitNclq9aozK7OnR0C4HVWe5EtNWAQe1YFmQuBBfgFlGt/BBC+3CrqCnCoADpRB9cq/LObpw86mHfs9OI1mXUkRbHzWhZ2wiw5Ry56w/FPvOvtqrBSLHV28NDPE+YMZ7vUTBd1FqWh350u6ngJhrDa2+Y5hYzavtwcDr7R6RlYJAqJEwY4vgSAHvuyHAvRixA0+v6Zp1ndeve2NfjsOlYXKoQTi3WmbEClO6SNwxBbaFim8QsyeTIX3qqkA1mMyH9GTtRWrVFMkm+yQjOxBpQ7DzGpUsO+PabGEv6+alGdzKg1cMwntaTujbfSfmQaKDXxTvsOX8kxa6sbQE6ZVKQIGXYGAvwVdiinprPVN/pFTXVpcz244Cj3MEsq0vwiupc5wpXB8pTH9nKYENPxu0H1W3RuiekUlLPGu/9Bac3EE1YkMDN5V6KtbBir0UuhaNUDdifp9HmhWOx90p15OPXPxhV9lXPqOyKVlsSM4cA6TGIqSnyAb32/Vg7vuSHxA7k7KiGPYCWr4oacClTiRWB8RDoj/dgoPKQUPdEEVS3fWL9fG2atQv6ciFC99D8zDKmjkx51kMzYYpe8n7+8oKOxuJvSSQ1Wr6iaih1iGCFcJfz5pE+x03ZkKygm4UCKhFnpRNhg4drcRc+RRfLqUxGs5BpuDwciD/ATDWnyoi7TPDu85PSeydfCejYhMFLtl+QbY+sm7gBcMZzTuoqA6kQh+DS7Ncmp8jCpJ03xbj9lqkHFcHIHsbnbCI3uU68sUPtGk3vCTQaWBpvwhvcI1P2h04sWdOhoNrnrtzGUEGUM7G3CrfAl1nIHtjRdCHa+3k/qkA3KCUl32w4gfVUsApMfu0B/M4nhT1eoCf6gKIF4NTBMbODq5hxOXzRmKkNYmq2vlYAbiW38mnbKbSWTv99iCnU/S25LixPpUHkcWb3hBQH0+pVNehW6bneqEg5lEJDLGHpwq5UqoxZqkIVFOauTMc8qSGSKnZRI7z9VGli1x3O00BwEDQdmNOtxT+Y8MgrdFXJnuIRL91T4sFIcaCfA9rIZvpp8XBLeaKTmnMAGyI685ax10m+Vvc175v5+ZP2C1QLdNGheOABQqmAnEiACApd5CyGO9dIOcaA5QIG1QjLshyWw6OWEjrxz/VHBI3qGZ6uIE8N7AJhWM+rmTGsp1RBlPQW8vbqDcz96QRZCrCdTKPJvqKHkp7WC1toUK6+MtvXCClAWpqJZD8GYmGzFuUem/EUsRfbNV0K/v0coZKZ7HXqvgpHwhv9Sx1aT6jJUj3CYH9k7NylmNvz9DMFz7RV96rE0cLo4vIZcGK8wEMlfv0uIWtUbHK0hGxd7/7C5Va+etSaRL6nD/IDrc/SUxP/kBvgOMATgCCa/K4rNG3kIQRdlyFMGBHD27mtsr/Uk05J8yuZEcxZ19vmZNzxIi/ILljD9S9IFew8EhggCShhVA2+pw/Xr4uIa4cpXqZXX/OGMvuskDywa2/CrmiYFVIUl2VVxGW5M1z5VxYTOeOjPAvVFDPtNmn2x8J4adi9BSL5KThv18OJ5HjdYHXHu/sM0+/DbhRXr5M7puplsosFbqoSDGhlr9uUD+3Wkn9+ZJC26jhKlWyvFCBTepXrFOHNIdQ87heH5tmdw6qUhYbwb0XjxEc33CiyFnlaAT5PNdWe8gPEWTYzC+KkqnWi2hQIIe9TrSxRol7IWyh1YVE8s32ozPfpnKB2ONApFooIfS+c3WSqFjV1gDYzSonUsQkY78Cpx1IBo7ZTKZUkq5NQK60Y+qK/beARcN7jMgoLsZhCHFQNaJdSPvCUOqyGLx3z1NY5LBTXxTMQXegAXjE5mU7F+yv3lmdFNYnZyjWI7iBkc1+AzhlS4ynfGJle359HzuMNA4/rk2JQgyjZtiQMa3anCEcABnyKWZ7zafKv3/1gGqyQUA4j2FU4VGJSL4zUjQ2jbap6iDXPGb6c2NZRt3FoJ1Jv49zBWMHiTSXFDiApvG8IeobTCEYu29pm6RXFV9Vpv2tqfE4U5rNj0DiGk7qzfCTmLSkdcxhUlqcBVJmG88e46LRt++des6nR2VFuxAO40YESwALJDAiguRSnDirEcj8K/VQib4Kg6aHi3hrsLam4YydBEjd+8lhFePRtDAEPGT1/4GqNdnvAlakzb0FE25T3fknQmpGCv2aKJcWLJaKOnHSzWQi6pZmb05IAFlMmYk+oxh56YA0sA4MuN3v9o/EsukjZem2z7ej5w/dkF5crt4jl35HvwvYYPrhYk5hrm3KINeknxyRUAUPzGW6y19pSgzNgIa9Zn2fIPP9k/ZvV7D/oaZ3oQwTuf75flxKAXTBN5Eop/iVPrhqjAlxtCBOqBJELaCpEOD5yrTp9knbZjWAVi15y87ea6jHrDzVqjlbHmc3uD9cOnHeYZnOp9FM77642mpyqTfI5Nn/xYgxoyGItJo328HZLCDqlT8dMNuzSQ+zqjfWuKoPGJ/CS/NPo7BCGZCbWxf1FAC3x3YG9JVPbChOTZ/7jVJ1irL490E4nwEg3D5iGQJe6M6MehhSN6oOiG2UKH6eijf5aZw+XQ3pVC7v586u0GUeaHlZ2dV9y7H8wo3/y2+4xPjNTqJJwCtvj3xpSGLY6P9k+rFpYUiQoa4fNpJ5YCq3mqLKCcuNS/VhYJN9KuiWL4ZvwH4uQdMEKj6JuKfEy+EW/Pip0LN0VoTLWCZ/hbhdcVO4LQLOeR4ALoTbbsh28hfCqRrJbmwrbWKiuMJIGlgjKuNxZ9LygXEmGEKdDmNYzmXOWkh7YkAvRJBa+6p0NQX6fzN2Nbb1vvzhkO1fl6+Zy6Sgv4GAMLiUfhGx3YlMaYoMZcQmiy4on1sMmJ31xFMIfX26tAJdIEg3sEd0ECDk+GeVcFekeEKP0947cGhrhpMsPKDniDBjG6nAP3fVeE2BBXVWX6Ax0LYNlWQB6sZDxK6NRT5MB8xYdk0jnv9Y4pKOvCooshcRmIobg2Josi/HVdlZ5xAA6nq9qgHbDeu8sbDoHuXArR8uZmt12kxvyDkUgWMWpxmSFARMxfEgoBMTHvEHMogSZN8zkXV3buN+ZW81qnZJEfBLcQQms8hsUFFkhBtG/TMRDQ1noMx77BI7Kb8pgUplrYd820ZbOVzyOgdFUVVLBBvh0ZiOSPxnwkD+ZMj+5j0dPf5ERtGKr9L56m+5l7gZYsEjyUEToy5WSJvj0DPoRw2wl3jtoPeCDmpOCb1dDdKzR4MeM7dqDmYUOlLHO1/ZUfB2Ts+fPc+1vYMXSiMSSDaM6fn6RUtheqURYDN0K/K9q5xZdDUYt9A7NoPARnviFbesem8xVJgrEccz+aGcfpwZlCQpLBM6v+TV0Abj98RRYQzNUEGS0ve5GHwBxD5Z1HpQ09Z8wlqKSl0fkq46NKM5IuMf8qPO7MQYo2AcF0AZmEfPJC+Ar+DgqC2stfTRfA/1qxdl77Mh8ebRneTgCfum6k5u2ztQtMgnjP8B338VGqvPZSAU09/wCBrl2GbckGVoTTHMp+IVLgMObnQWGwydQUN/e7rEv5OUe6/6NmU796HRg9tsixYzZhe+OcXJraNGP9Ryqn5IZcPygyth4I21yABp/SXQHAtXGN0ALkmZtOWdzZHT9ntRye78zgQGCgmu/L62VcCm4SPJKYju4MoDe8wU29Os4JtJVFfQRdb5QcYULE9fOXvNx21FB7MhJ4QSdZLSHXU+BQTTp2y7awkGqHw33on3RRLWvDIQlC6RNpm1lpbUox16qdTv1lP4pOnW0fFOYPDqlrK0Nvatn4Ay5biwMgD3vseKaZcqHVA/62KQ9qMPPdTfl5IWEDYw7ThNeKYfssZikNQSfpgvjsP8UnNDoGY42gDWbzJSPjcZXgT30Tbl8OP9inTstoJVtwRcHlGe6KRaYfn/SKTO+LM7vNB+B9P4gLkJ9H/iN0SNZFgj2uZ7CXaYmxKgrTtViCGe1h5whC5e5m1IDj9Qix0g0ZzbjL6iM8o2+nd7TX4s07iDNmca39tgsi7oiGYMJXbWaOAHEPmptDWvGetafykqwkN7YsUvf8j/TqcB4+eQ6UggrHwB1wMMGtDtFCTgSauQm9fhRYaVCKyx0NdSDNodewRe7OBOele/hz1IwyVTKxamq5Avzq6KalgYNCtm4BpmhkY3vBbUDR255WbTP9tdekY8WZNLK1qhSjiRzTvFBbMrVwWNfiFbzDTxT9dhyRJoWIDwZuRUBZW5r/4DAxHiyxb0bQrZJ0r//Ap8aVrOoSrhOuhrjocirU+xvjFSs6+rvVxBTLpRkBuoUNYhewhb7vRXEz95AOICdi4R6LpA/laRBYxTZqZscH6W0UDyt9sruwL1Mwd+p8FY/8dkx9T7WHrAxNBPEyPMzBMqf7LJxEyar/e9BJ4oZZZW+AvuRueF1j7cC/N48sWMpwkwinypyd3kqYd/pvY+aH0HiyZ70N4v9pwmFFtFwbLWdM58nOj0q9p5RJsL4sqMQhdgM9JDKjFdmceBN8yQDipYYkUEIgS1gC17ugJluVQgDeCoFOapDjB/Q9KxRxHkrdippAnnKfDPfpQ0ZM7yTyFVkXI6QqdHtJZF+Yv0W8C7XMmkft2hLrBve+rpYcQECk46fVUrIoSgQGgQDtFPDfGf+6M9RQ0kDuqssjrKJGRxkYAMfKN+4c5eA/Cr3TqdoskriFWnwLgt2Zfc1P6SxXaBQuXmFUZXPWXkD4Tx1oQmbtD4ePFFuiKg0Wt7GBSBlshc1r4iNDul/QFALJXw4fnB5OUlvqt31VYB1gTsfTNjd44TU1ll09yU3JNUu75XD4RSVebAY7YZSFTdiEPkHwHVC4aFF0Df8wMtv0QEbTXy4xTF/9zb6tLuAwN2Vfn4tRHs/qisooeG5Y6QXmupJGPTQ5Ou2gFveEcu8s6lTAOP/QoGDRLytddiPTJBqkhfSSYKylEShiDQPEShwMaBFgMnjhPA8WBL8mudI+4M4Y3To7o5QDi1ZJbCb8+eUfRgoeI87RRMZRz/W/9sBMPVILkMR49Pyiurqr1xZOOfFJ1zS4RiPBFBSKfr9JsbS9Z4tXjVsA/u9mmej+0b049udUKOA0+uRXXdg+t9STW5o0iPYP9bZDvlwd6+U9JJFDFFA8N338SabNbO90KkjOf4+sQFXdb9ZaSNWiLYbt/rj83uRWS3rRDxzvolJVr4shT3PEaBTrpDNMUmqseRGEuQ5GMhQtTztmpfpFJiOv4/qI65t3Ml+R1gYyEnEu9O2KUIezg+Hh02wMu6UuXn79bw5EiEIkyjlaqlOELrZOyMLWwV4gAcpOSCTJMdAXUR8BkKscSWWy7RDmtCOJGHBu0hvLOjBeDT+bYGlzeWfQeUZWiuN5JkaBp4iJaOQ8SVqduXNUTyUuSGkjALPp7AMcc0s/LMZ9McDqZM0hkLv+u4jsIDTP5DItUt/gObWPrXnHM5git0hdwy38n9bNCgQwGE6k5nVVBwZPojv96J4/0KmUEfur8kvhRJB9JujQl4TTFtY63lBaJj5DUIzwAiZklloCSNhHC1s7Mt+EXdFyk7eQU7zykqpkMibBhMraPf8i36D5JScM4VwomIUbkF8V1Mc9s76KztHAXJ6wVNeAGWC6r/05+oiqR6G3Ee8rRcPVaNeVOMSRUF0BNQSNzLhQSP8Hlw+RqIqxB6Pd2grWG1yyf3YsjUZu4ZhJtkkSA51I+/eeRpxBq1k/8A3+inxpA2KnfaAxqQibKONA6VU9uF4H1kBxArND69NpFN2GChvGHoFwsDbX0mufM4N6etVHyKiTjm8eRkO1BNR/dElXT1Jo7GfZzbINbCUr3hfuv0VTH0DKdwkWfYgBfqyeie2NUVHg77g17P24SGn/RD5bd8+u9XBJaogR4TW+ExBlc7+rYlerK0qHf92ueKY5iAmX4cGGVmmWMBVv/oMIiv40wGNeXdaYrnU5aJfYEveqLYCYLDgObUOYEpC0mcDRd2/w36mygkPxOa+IhhqyYQC7EnEc9ymRwJQgq9OVZvxfOkHZkZWeZ6FZKzkZlBIzFcaj7b4gDkOX+eCawj1orwGXyrG3s5q/l+GRvrwJPLKDBrqu1zROQJAO1G3sfIqwzlLe8ZV5rp1BJhxp5+CBDAKMq6SPAKd6BBV7eHsPJegR9g4e2MpNTb8g2smkOgmF6VlSrlAQQL85LkyPGRVYLE2YcA/pIwM6Zjqxqoy6R6vYrCm3+95OIWw7TMlrkUOrDgqeNV/fwewdCP918p1RsiJuNJqvd6QdwZ5zxi6TzpBbQ9apFwCDeDl2tjrRHd7weUrTjKJdn5aFJmr2CsPO7fe+JZYFs3TEFhwrPeaDaQ7rNQfoYMFlIoRMf8u+MlYggovUIgVAp/IpwNJO2SRhvsLXLB0b2lNe4r9fJiclEaqA5h8cLz9FiZAXgeyHR5D15ShMy7oubHvyLDL4RLaG7xDBl99KrB05tpvO3DmJXNxwzU0wORKbuKhiQi/Q5OGcUTpM6fNUxcVcYoc5hYuGRYZOv2lCoHszyheANHdT5uF/tSsN4s5ZCY0o9TkLp44DM4qGWxOBdmilIWfrKyo3HqIn9bDKWne9aszE12kprha+5ShLM1YNxwrHN5nP13ffFEnMsS7ihg5UKduhyzIhBlhuOv4SfRtUQ23eVXLp231HhHefs+jMj6V1/Q+BR9Vz8IlbmWlbMY4fvtSbsGLtncHPvCyaVmzrar19tQ106G2SQzV7nG0ddb7rVxClSOImJ57T+7dFKDUGIExTsjd+VMD1WTD3mcIf2I669SuVHNXPWfWQ7wFStoB28o2hLjUMPsTUxPkQjYjnEtGffFxN89NlmDh0U9VggF+TOpidFiJ/vcyDpfYTKen+3/Y1yEUjZnyDxlovuMNXqba+gCG9uOm6VUrELkAmGyVK/r47sDWyponS7z7pmhtccUzhiq9wU6gdpLBHecGGlp+88Dga7wE+zvxEvXBGA2mi4diBKOthtS4ecFSl+uJHN64Sjy/WHLVJQ7UO2e+ipUzK1VkC+syGtDaALQ1IjBzy+GUcO+0YRruUi9ltl+XBXU6sbh0uGLPtJBja48qQa+8WU2cydgQEsqsY16I6dbZHase2p2v0cSxHWxVcncSCbcrVSCjnVdAiqxHwpE5AOrU3rtbiJURQrYA47zG0Tr4REqfDX+atn3LdWfU8VMilweakTDfwB+KXuoboMnCCjchMkEBRiX7ERTXdVZRkQSGFd1uj9fGnKjbOHrUL85n9M6gHYuXhVwF3cT85Rt3Nd71VmJ9QSNZH1fHS31cmEJQYEf60v4QU6f2tJN6oDu/CUSWmgmQ2K5cl/BT4e9odHvByKj4N7+Ul+NYh7KyQ9Ls65QJhuvheP8i/jt8m6jjnUl1qKf04cWjPGnP/hLPqR98ad0UeL9j1ideRminTsrkLjIkVcznH/sLO3rAgsDkG1mXeT95KBdtcStW2bJbfrZpywTKnwkyA06zGAw4qk24gtHKj/Mwt+PKUS405YaCY1mv6BtEztS4/f96VAbse3JzSVWmH5OX3Rfc4DhyT0dBnVPDBF/7wcpVBsa5a7DL6IrwNB8Er+y/5xthLsolBio6dRAKvE9wAh6FyW1yT7B7HurUzOtdG9ov4LcHq01KUzmbPsb4K8txUZs8LT3htdon4D8eo0DAH08O3Ipo/ypo21TZUROwL2zvRsTc0z47Epn6n8j0pkr2Ek9SKjpXt6+MejbK4d5jRo91AprLvbqOSTm13TdJzOxRCFn05HTVpzPe77GVYgXR5JW4UKN4hG6xg15sE6UG2E0430fZuWhDca+7pTI6GzDoyZSMuh0KXDQQ80MfMCYWfQ40wPeZ1144tSgeASoV6wndQur2JuMqoBlBGrLsh3DQ9StF5O1G0Hi3UNnC//ivjcIBV4fJ/RcSYWOKLn5gnEbBYgbrHEX4IRkwWSTp/JCFyxbtJb5I1qimlTyMMuRAfkBa5mtePtpIksT/sD4hk5AHrPG0+S+GxM3D2RZV/3S+idh+w7D2g6uSoKMwkjxCS5i8vsSvxpfHTxZj4K0Lw3Fcx8zA6pzThTl1mE6bTaTZL3pubXZbc0yr3YNbgaYMmhk4b858HTuf2RpljAGjnDhv5/Sw9OkRbOv1//K1E3Qs6nzRLb13p0CwuKgUZN7DEGH2XOD7FioXhwlGvukfQ3qKQfjsz/N70Dh5NAzUtN3nvkbVsKz8M6otXc6L2EPkKAbawOEaFvZnbonPDKt9fGgO87w2nNclIsF9P4bzg69pL2VYtwU9+zuNGPOxTLxeQGRHGgnkB4YL0WwsI8MGzGxh0yXKtYMjAlYFR2sHNmr1hIEewGTC9Fvy9e+TS0i1XB+IOGzoLKZeiNeCv+/9A17j+9FB46/fHYnZFlW2MqiLSpzuE5wNJiP7d2WDpb4DVPYOoH1Fz9Emn8qcBNxniE86SCCg8TSAPEA1Jxy3D8YE9/wdK5YD5hLx25ZFTq7BH8QC/5iyfOUoNMzgtBqADZay4N9c7azFAJJxmFCMGHmkymhYw+Km24vFDxBpeeVS2Pg82MlTEFp2uOMS3IIpm7tHTQcbad1ldgR8FerqLzMq5QXodeFekWnUjhHFyiJaEAvctzhf9HmQ4uQ9US79facYrv+ZLvkOICGfAu181Cifk5wSEwo0A5QauR3qL06k7YO4nakIGgrBfLlcA84Voi/CqB7TJ2j++ea2BQdUrjlMmeNgnVDIEuCIuE6nYiZQ8BQuJowIl0qJyDQiR01RTxzwvIeJpB1i4Me3E11E9D8sGRuGhSqzJy84ptYROjP8bb6PIonfTkQr+9Bd4tMXYuscr5A1jFBP3tT9EvqSKGecNEEClTm3dYrP9rCnR3WOzqBSsB3URz4dOWln/s0q5Zo5grn3OkW6S0J/7DOqTyTC7tKNSUonjw875qFeE8JaUZ9LbYnExYMAzXxX3EafIC1I8iTjT3F/PCkQeGqF+yH2zJxYwADwJbPRYjRM11vomH4OKzr0d+9KbkfbaxDg2gOwJxPSrIxONW/SNJzWyx8NvBM56J2DMfinyeqJ+R3RL3Fqi1ZX7SBr6TlPTjzg8U3q4fhc2E+IkRi5I7Qzyk/TghMENR2Kz3wyZ2bGaIUOi83YlanmIdFf8r1SLZjkdKGN1Uc5knySdA4HZqjs/cIAaLHPx8rDlprsaiO2+BpDHWKra68u5vf9M3cdg8Ov+ZT/guZy5yEAYsM5LbJBHeK7vPRsfv1+4c46/T0rtZujl1VyREcqmP+aor/hU1HvvnOURUpDG7jvlFqIT+HTnaqjyf0pgTc1phHAXHrqZWzkFVTIi5R3scdbLJ0hk21MAgrPXxfUnWXLxtFtEWgelPNBYtXsXiNV0Jp4y+jzOyKg1Vm+PGvMTbdrJP4fLS4zZlIShNoA6ZlFpoGmq/2fiozDLxMmQl+4wKmxJouXu1zQEom1ttWbQ9AsvKbCyBxfzIEy34rKOIOiDUFy1vlg1pEcbNL/GefOdKAuA7GqDSlz87Xz9JRQg7lJ8DlX47nCoO1veSDSjURIGyK6N4K3US9sESpdyMej+T2fvPnjl6eSMWdBx7TG2uD+66sSk5Zmn09Xra487XL3CWpxwXjbGkkDbQwMyevOc0QfcObnt0BllmoV9ZLO5UukMPbGuTJJSWqSnjgsGuFREqSIF/LegnFlIPRstHO+SVNpxxKwgqyrBkJpxrLkZJ8ei8Uem13PtES8HhV4NXHfdXQaL5u0eZA9QmThYKpwHhM+uX2BGD4foQaBrT6N/7GUG9SkbiuC7jx9BErzCsqOrm3Ih8DbQjWChZZmt+/ZsFgZ9sagm3IRJUoK+0OJOSeNklS8rQk8UxRqwmQDR3+Kpedn1ZO0SNJ3VQ41OgtpZUHMH1mL9xEJXFOQcls1BB5DRTRk8OeVs5hW/NLAcWVMi666tw8fJnUgYtkcFEn5Ke0NrJfBZbJi2xiB1ye3DVVfX+nbWDhMxVCzoub5lKkqzGkXWNs1T5LpZVrh2+0pqS138E7ivriCvR6AXAA/DzaTZyC2y9iWIhF9ThCxw1mrSj+hFr9ToK4OvoSOIIR73mh+Q6CKapO+MwA13sUdLMYCuG0pKjLkYz4rY9tZKOpGYErn8YWFJzGftk1ZJIOWMcASKsjmMmvKB0sec4ru51SewpVoEPYy+COl+1XmnDoQtcia4kYfiLeZOe/Dbo68YcAUMi/2ifwQWBxiKV/6g77ltKEc/gESrNZxklkzi+hCsweVBQyWpOZXhpWE2KWnhoLA8bcuhFyTblYLd2Yw1iCq4AdK9JQIOBW0nxovLWZALY738B+dZcxur9d1xtRg/zU9tW/f5U8h9dkULFSddtoxAM8u2cUkF3v7os8H5aHDBDAIX9u3/7r5SPCFGeZGx316d8kEBEBAa59o+UD+tEZqecGpTBP90FnvgQkomR1WRKiuTfjq0wilgSX0ZlqYJzzIHJqT4QLJsPc15c+NkAk7WNTOoAY1/oOnUk3utU02+gIoyzEysS50PktIfod5ueX0s+ILYWcodShWKFcWYYvPDH9v5RnBTBv4Umy3Vej25LeB1wPLETNwcWsVG31kpcmRbksul2zfMzeg+fbTrr7/zqxIk9HUDj8v9WPlQDFxo+GMct97gETCS01u/t67yZw6yFf142ZsFpY/jmAFlEQXg+JCc8VgVrEqkusd0rtZNDel5CL4GRvJmSqjoLhuvZrR0cKq5qBvgn+mlirv2hVMylmCSznFzGVbrlhY4rgUbl1bfqWonSBNl5JTqVm6HGOwsTTi+s8Zt/rQXeNillk+C/PCzuBJbCqR+h9khndgUQ/7bJlJvsDjHytybc1pouslwhBNgn5f4LHEg8EfcBBiWIsziCThC8cWZdpIDkzlEpgZy6lljkG4kvbq4oVQjFu7NGCoTXwz3OSWlM+Bkh5zLGL6YHb4FQD4kQCAAcx0wT8CEJY8uclNNKzsdhz6Igd+2AZpsl2XCTCqNe4jFnLBzd9FB8uiWD3PprbaYVShGv0y2kWaX5OV/KbhER77PqHoSZtpz1+l4SZrAa8XMcvcWP1+6HHrI14Q5m4Qb8qnQxvcX5hW+Fu+Qrckm8QhpNxr3ZKZ4xU5t8CqUs5POs8wv0GSWdxTLPQUsypLTyAz+MweGhqllcTZSwPJFHr5fE8NGnj4AAjB+0qJapr0XTgQHDjxCF8oWL/7HGh3TWYdoXJzdFVvPxyAqx+oYh6DIMWN0s/owW44qdQEqpWe4bYFrOZ2YO6iQFlHRPIWV6PqS1LJlkxLvJytxPi3vOZuXhn5XdMrf29CmJA3cuPRpG81MycQKAY8hBhOKRT2xRNO9s/D8SmkeLoyGjBrXefJR/PRccsnnEEjnt5Po1RYYU/UQOMdgtho1ne0XJj01/1nyELRUldFeL79iUA68yu+UH4TL6OYldDTd8WYnTPLPFHvMSe9q1Vu0Dc20dh6FhNmTwZ8FgWwafa4SEuQ5i7N+TdFqVssUxD5dzeA/PYrc4Z9UI+TEOeNpSNQoO5PqXACb85QsfqsjfuLOw2vbITdgDizKliwMIsLF6MAnMsWKb6/cJjjZCHri5Tj/mfP5oijy/VhY+q/EQio/HOF3kQFI2+qg8VTw8rti4RCfhc04jurgbSJZ1gm56S789l/a0Mh+ilhRL9LxRlOYTwyISyEQuIEMnOe/vGG1hkBuOY5DK01ymHtZ9FZHhfXhFaz7HQ2z3sIAc6X4bNTUnONrFVItAcZlMwLYsrak7cRLBJBeV4wMdkfQ3QCMSZIHE+1zNza7X8omX53kzKdXdhlC0icqnh47fQNkaIP/P3vA5EUUa17+eFjSZMGRepfoVOqIuByTumHJfui4BVYtiWVIhvtHagF2wpUcr4wMsWytiv7fpYvusEbJGOWeki45m77Xv35KixgkFClQMiiE7wrhIIfyC9uEVI7tAF+BQ415yS5FfF5TcqFCZZ3olz8ZkOyHfnW/EEiUxj0gULaO2ggbJLDZTW+QBIr/pQemcMVICy+/jxq16HIrQqE3N57Ov/VZNL2YtBr1S4yH32KsmDCG0UQnJ/SmWOPi2KubQtZ+RdWCRACvtHpdV1cVW+mxHAXqueMpF+texeyRq80yrRHnElN5b0TGA3FMbUV8eWaiDCFt5UJZGix9e2gMN+mNd1Y50d3hx7SnqfI90DX1DFCwGxa/ARyCHRFQ9KAZq1q17mfMa2hccZ9XmDyLf+nt6f3uUfFrRyNUUYbupj/DzE0HLcxA9/sF0LUnudBILNgwfNA5tPcFBAEU2c3x3I0amJStNf1HiRP3FKjF1oZcAUQoG1O2EQ9qQYhxXNre/fQRVEmqi1ONjbCyW9XhrxpGaJH7HoXu3ia4Q9nGHAz74cUCByqHzI80wBNJKULHAJJ20519VDX/77fMhLJZdibmHnvRGJRFOzyLb7iWXvDGDriVuKfBF+lQ8bnc6J9pr4vHRF14bUz09Xq2zY0ZEGyauNxfegugu2PC2+zno8dCIbHIsXEC090SaGCOTpBnuGcZ5JUuFvgOlfi8sf0epKGFhxuMziDJDhhM+GfTSN5bIH/x1akKjob2NzCI+SPYz46HQiTaelIgPaVOPdltD5eYoERbyevG+kgKUEbunPXu9yGr7vXWctlMLOzh0pU2kWGqwgHT6GAnkNh4Ho7lKp6IPUvxnmNtDDKX3IoK1jsVhpbXob/Yr5SL6X8NMkznHyVOTwBoeyMCwjnInQMr2Z5T3jbg3vauDnWgpUvQWFUfKHovB7uCDUMWqmu9GWwt6whWFibkyGzwMB66YBekdSVM1woA1NSckXKWrvSnk3FosgqJuXBSp23kjMZrY+cNtub9g1OQW9IIFrpwT0zdZOTP0q3PHqprkxX3qv8GQTVGmA4QwESVk4TLmubJO1HyF8TS98BhEFk8J/guj+KObufVg6zl2dzCdZPm/uun5c0lPI6cLeuuqpMHxgfz+b051sMS4Lp0PEq88/7FqPr7JifKIFoRUmWsYzLXoBii85i6lymFxCfYuzIcRTQnDW9NtFvEWG+8P527YVf2XVbh9l9BWTNyArjAzM32IumKhAemWbZQ4QC584BtytZyDHb+GgnCG91nm+MEV5Ey4GFQMJtZbxzF/iLffwJWtCB990tynELGZ6oI5nwcPP5Tcwd3+swm5SubBVI4S+GjO9dGSvyukwhf8BciAXfeEEEBIAIseoHE3Zs6VjAdSFJMpXGZO3KKQ3TB+Q9YyIt565+Ai60Hc5G59yanNTw/FfWHPBP7cRixFfo66n/jyfwRSNl60rTRBTijivJ0aS5PnpzMWacwjyV4fF16/puLzoC48VoX8zI3k8bALL2v4icUHLzz9KqOV4ZzMHp192vEP/7jMvT/H7v83ZBd/zRue7TSAq1Y6JouP1zQi+yR+nVJfqmxW1AWZozsjmd6+fKTCq1i42EGDmpB95dtg2ir9LFtdCau8uMcX3YB6dZUmuOxtYFvRpBA73GFvBiwDbp85HT6erK9fhFr65zRGDYOaBFqwu2gi3INIo3bqdz4f628XtYp+81ZYKXMKkZUU/ZbT+3qCAGxYvHFil1EGLoCz8hYfWqND/CADmuNfj6txfN1XMfHURtFcy3jDpJzIZcgl53St90bOeU40AaoFVEDv4L3/qykk7lbED1wKvXx1A/FKEsT8b1vYhpIbtwk9SJRRw11kFcXmn2XTBuQfmQC8+jGdHeJWgXOQ4aqeoYDu2+O2OLIyeFn6+C6iyi7B4YWsyRBBtYPhcA0GD4Qs6Ucp5tcoFfpINRfkbE4ESkm503yPkmj/khqvK+EIAuxJVuh9YbXACEcw/PtEYTcbOR42WQn3qIk8QE5eWPKPwewxnVQIzlC8gXeTqEFmJQ7Mw3f60DL4evXNDUYq1C3U75wf20mKWuXfKPvPCttm4VyrtTRQgDLQpCih/7LCJ8zpbyEUmdgf6BC6MtpZCG8eJ83shdcf/yTvlLKIF0CvIOFrrRhsktJVbAojZB0N4D3Z8cpIi45YHEA5x+F6xfroHzfp07Sn2OstUGsPwGeHqk2H5B3s9WjZ2ceWMLEBLf9j9bxsnf5UX9VBrF9RkXQT8jt7CgOFz0RuoNaPrKVFIEUYVWSgoht3iSmMCW1BPjIMCemRTvbwlBA0bQ0jxO5UbFooCMjkM669TiseW7cPOB3rhLMH/3lBujpC4pXaXFUwPf++zWENVRneOqOUNPr8lz9DkeKUuaPS3RSXOifrfdafUwVT40TaKORZZq6vSYqTB/ANL72FBSXO5DEkUxzFK8mReF3e/4PsGb1KrU7JtgScw6VkGYEW3MDTFOGMrO73MP8lFKIa26q5IGs8gmH74Chweo7D7YNV65RSXNXIoMuEgrzJPrEBXfM4Qk7+8jBtrb/++cPn+WTE9Xmbkp/uMWCgYd7KCDpBiNvW5lKtqDGzJKrWP2TxHtIwcGODdCtaVfwkebugg+v/RzZk5tCOPBmWfrYlNLsWESFCYfXt5h/jPVJ8N8xl3rHMWaff+ksxxN2Zrki55Dolhr+hXOCRKCw0NEeSmSZNJ0Ss2R2gQ0i66ma85GPu4N9Fjc6ys+yCpYOYE7e9nHMU4nEGJvTT58gyjs9iWnf0ztvIU+6KemM2UBad6tC2Mb6x/gzT4y8TmcgjsFfPwyYjRbAcVnppZG13PzHiA77w0BZv1J/Z+mEYBOXyv0cnUQ1ER9Quj/eBDVvpgNarabrsXF2wmiPxv3lDcOWoZlu+G1hAMQ5o1bDid37kJM20T6x8mR1y96tUhIa5ju9DUAzKOyu0SmiD4uHpav1oIc2iqvALh8fAXrctfEKnPBVrzxtVa+ajdPzFXAPiAcakzR3ZJQqwLgS/AFzI6BJvH6pDeC7VV6ETG/HnBmzChLFh/2qZ0ZCJeoTyCNrF59KIbCBceaqHShPoMsuOoAZrDCj3SzPVjSVueHeWinLn+7ElFH2IRR7O7A3QwsrleUjwGtfzbomzEvpevnG/byuaQzPI+Jaj3LYkwX2ngcoRiADOT7oPux+Q39A/hGt6Cgf1CYNhXhvH6h7hy7ZHGbBODAHRATFKPaDUJkKKQFXsqm5xo9cMNApdE3uel5Qg1x7cqfXwqUKYxQEfA08UWae73bULp2GQN8/tLY23hu2ZD6wCJ41eb5EwfBeL3fa/IUow0ErDsW73LhdK2tgCr7A29CTIlA58bZhJNUWsM4c+AdPQqy2zIqEj7ayJ+Mtu8DnHwukKpX7IMDj4N3maSqctXzx3o6pcXyHELNLFslSeeH/pbY9IZEvmutf/T/KXp4+Qv7wOyW7L7tAtMrblGW1X7lbIHxbxIjYKgPYuENV18a5HbLBmB4BKeWhjZ0RUjyuJjpSAIqpAa73TSZvwvOU1FmZM5+nGu0tWG2xdu0nmXHWUbeuOq1WTL5uS/Ex0ECKZY1Kc197HruNPICOXeFn+Gt+Jf0oqaQ5mHzaPPyQc/Px9NcQc5l7w5nrgE5eKMAKoOqitbpsKsAt2DeumGKWcaen7OiLtYtWy/TYGn6pu84P9vvYN7bG1Fqe0t4hgOXmeiO9DGnEovcC0rZjLO9c6MdS9EPLTVZ/qIj9pQTehnCxkI+oJUZ4/cTbCgJzBw/qYtafm5R9LlN3Y+CfuIWfY93Ot2ikTY8t++0+MmGIWiVlmd79mw0K0olMAxElcxqeCzbB2SfwxBFt6OPDRonVlc+/3Pne/4C65K6uXFAkkl5WO9UV/ZnIDcZQrf9o7nuIEDAw54iTOpCFh6pFBnSLnT9rLL48G+qbc8jnHkyUU0zd2UdP4R6bRMhWS0E1zY0uMhlr9w6CLuZ5oSKq+QkOAtpVSS51lKcx8ev6WWPQp03I1HdWrEqqYObTtRRsYiudhBIrxktJQKR6JWLDDjUR9xr5DLx/ErM46vrSJYPnUONiFx8D/9c16PZxMEey95KOgC1XkD5CfRshvX0gCl18hzlUbuAphA8xpbUzDIZNeo3y5Jm/Zk+vRzcVBMEzI3g02Akb8tDkKxIyI6R/ROEaeQeJsJLlDz5DNjYXo+wnM/dfuoSUMHuUR3rSqZNRqDVJBuQRfz1KFljdXfki5fZLYodcEugK7cliOcxl7w7x3tCOOlH6ObU8xHo10gUtOoX/T6vS9NEh1qOQYlf13hYDS5ErB3gsEr2cfKhgv7Ms5uQ5nKVuxB1+0qsJu33pluoM889iVR/pmkGE2a76/DDB/Npui7pllggVXbfVHUgKAV6LBVQlQ0/V+T7P8rINeLNGEqEiFmCH5QR7DvT5KSP8OXIf8W1jHGNfHxuNo75PRqsQVrpquaYdVVR9hhj8snxGlKtt2Q54jfJaVIsK7WUdVWCUVwFIO+1n5ChrE4sJCH6AOQWJh85i9UbNG+XUshGiKb9Ogxwa1GHyt1ktDWqRU/GsabXuHe3P8UQUYxdLm9v12cXTSacC9Y+ssBLaqRbwI/jHVtB9ne1J16sp9xvyFKBOjRuDrI1uQgQzLuibTf2gyrdgjOh1tm2EfWNzq6diOBTfFECZHpb5YuAT3njMeWIh1X6SyXrNuuG9EY1hVsj2lvXoXfBYqx4+UPwV+AWmYdpBTwQNxA/CKj5GVxjA5OUoV4hnYCr/R5tIkYG3xisba0fh8JN5+q4fUK/jOIsm0ti5gO/3eGtFkAL/CJzyF0tLR6PrqnjzAjPUy1P3oDSO9wI8bLXLeRuZBI9kXpv5lRkKKxwW2gpJSVG/ubOo83tk6I9T8waFabvgDYfIk+3C/EqZD9895kvKYCssf0Mxw3Lfwa5eHkbJdemAGGX1YHUud3lZM5kM3cTsNyujdnjy+QLxbcQh6Oz+bfbSbZ5gsPiXZ19oG35KR7y1i1eLWVFV6k7DK+5KcNJXmuRuBwEhm7/0/aIPFfBOvupKITd7GjU5lM0G07y2XGTrHJVvrz+/EJKWjkJ5aGssubKOScvOMqMNMsNTYAvUIZNQOxKkbFep3rb/MPcUfqpu7d/jYMu+FaE4c+jlEqz7KABHhbPcRoDLKQ/C1tFDc1r6+kBbALyT2+ritrU4RWgEDQl516+S6alCpfdJN9H++GvR1d2dcO5xCloGQzHzuQVL/4s5WV84ZeLUDmHt2KXlgLbaEL0vVxvFVevawkcaEOHmSh8yYqsjmzIEmGg/dcYthD+EnThdilKNvaDSWe1fqBrHznQMWazok3sSWV56axB90gIa7e3uCkmFy6LGufheNof2TRMLR3rV03v2Fj79gFzJ6xPfoMbuc14nqUFa3vCQQCzSwADoWtTm48qiilBbisdsxMtbyvYqEe9NfDFU1904XvCeUTasyIDxsyaYe3J2S0p7HfVtjePgcu9YOe0BEYj3I1ZOc/gwpA+4EQHdo6vdyTCLRkCI0T2XjnBQfIVNPpKiUjljOqEDT/cA+6AUE9K4K5MIz/7TgWSKr6FU2lxr1ZNT4ty3XS9/yoeJK0Iz5CTbnK0WlBcSr8eoXpGHuaSyWarzn/++e1Wcr5hOSTbTf8djMkIof2LarzTjpf2XLs77o8F+juJzVQjF/3sHvXTmnSrEFIAubgHjFzfsa6KYi43hS8U/bmuFVuYw/TMTneYYs/V9gNlegfcG2T/Gzo2tJLViEERQ51Q0Z1Ykt/tnB8z1TCFXcezyFNHcVTZJxEALF3D0JRWv40fzjTq4k12KTZVOo6Mn71QLQp+1lcMUXUeB5AgMHmaLNMmM2CPzKhis58QlCFCF9LeAntTptgFNWHLkTlgweM1dmVQ2hr9IkxR1J7wX4QXhzk3UikszoLIwFyL1LWNAAt8dBTQJ9/xRtDlAKuMxCs6KtpT1j9LD+4tBXo6FTWc+1coq3qrnO/wPsKrK/E+2IoA8LQOw+/dlSJI6UL+R+XW7LHul2PZes58Ipl+vB5ZwYMb2Apn4XscEgb1SCcJPMdin7BlFjFUGsQqUydA+fnMEDRqdGnCi8CHKmsqb9RQw1AaF8T/BvxGllyOEcTRggFdw61zxyMaG4gh2LcKVGOs0/4VEFiQzJPMmsV5TJpCS03oecLymqXgH0e17BJMYYzLZcjxEH3msEx1GntD9Zim71X+BMV3UbXy7137YMtih4ebZgwxppEtbv0KKrHj0KAwjxh03Eij4jek8FlgKUfTHIh5Sny8bmRh8mccmTD47tkwhDj6AtsKzrXLMhErFIbhakclFB4B23qR5sQWgR+1yyNA9jns08B/0yvQsVTaILRBgbHyk9b7FqxWXA7Nw45eg4EoAALRpodGI01siQPZSB+oYXotumKQrnVJJl6K6KVKRLWF+qa7XmvpyMgKI4Qv9WDtyUiHuuVd5Wk3AHbjExKHiG2BIQi+chnXXtkqfICY3kBXKPLjHa8cbeEgrv6jrKH5oYspo/sLFHWV/9JpiYGMwjqOsmqOYXcGlYbFzDY/VVHkbouc7hF13sLbMl76T7bLI/2p9Ly3iVfMD+ID5NWgma3/a3hkBuzkIRwrEV3sppp/CqzFpVTrYk12D27PmY/D1a9KY01+Q8kzQ82yLiQVPnkFJvQLKsQ6TLqj4rRRjcUIZy7xPYpav8Qg6dj+aElsWcobGQPibL6aecWB58EWeOnT4IbZutF6MMoSDGl81Qp71NW4eylW3P2RfspdSPn1P8Z9Gu0GttFq+HqvA11afGCHiJlvFESUURwf5nc7MzFcYjZnVHp/2FADmCLZeh+2QKsW1YXT2XKwUzbJyQdA80PNB0h6aroJV4ZPAl8JI+DrhqxILVvlAIMUSpCBOgcD1k/CdiPfNvoA66W7HMEbEuCAhT/2h8hSL1E531gFdM/2xc1P3LBVbUy4QIPXBB6MRrY3FIiBHv0WiPBDW1U+YsRITBQBkdw2pHly3HVuO1QTSapmTuks/U7fDwXXhajyjbNGXCFBhx0sNnRAiXnm1Ue9Nq6F/40/mTUMCsMalwRtMSzDIrvRuZZMymOlmG7N3JEUzVEypuqlyzAUr9gxwHZEN0+eKUoAGTrCZdmnSVojA3cTKwd1eDLJKYuUJDSWCMPsGXCyVfddcdLuoaov3XhDeiveGF9wCeogYTK738NLXY2JDvnIMepTBW6UZcEJW1JsC/taP7wtooxw09KyY2XNgQmjGBq8uQHQXfFHLD3fPv3EiQuTM9VhP5FayDUpw0ChiAxKcFjXlSX3InRTQki8hxX5NdkR8GKSIYktTQFoRX9BwRASdBHWRm3tCsIdZrlsMMn/pHe/wSs9UzPHVBXdM/tpPdTroJstnAUhiTB1tvgksvcdInsjR4eYwGNsLiERY0KpdsP8GwRA2DEX7K45L9gJGwtAaOigSlSwgnzu7acU0nssR62hpWA+qcGKmKD6Fe/qusy6+sIn8SzowJwwOE7g7PBmVQw9OfIwt/1muj25Q8HDI8xdjWWjEkia9kPiwJxKtQcTcRZpSx1gQwRdIsP3cyTkmRQk6Fz2GyiF80DEwGXoms4IfvNm4dkqtD4myKwsROUfs3SgFZTRyfW0r/rQBvy/lNzYhUXFir76tnr2VRff4gNcMJotAl9Ne4f3pWOen/S9ME89sPFI1fQP/GNdzgyDysagw2UijYBWKwtJAvaPvcPhE/5Mxf3+L3BGijMUXxk7qFpUF4qvUwr5pa/U7FDBTtJM0AgMIyAvq7cSZeP6KTp9Tmll/BSBMxDtXiyLiYhMS1nSNC+8csODL0xgz2tNMnPTamk9kHCxNGvS9foHvE8qtUyHZzvl5ZReVKTiZt9i6PerdUctk9nF9u5mnouqdHOfSK8zPlfX1FrE8IN0RViaq9yEQAJbyOSeKC5yX3/WII96Se30yVaQz04J9N5WjidGrx7+QZlBUTSGIkdwOFNOJPd9e0Iqby6lE0oVg6ITfvqGRbyWNpbw+i9wSEMzdO+Iv7Umy7zxiZvVs7xpzeLGK/jHWrIaokOcdof1GVBFxFU9doWL0qARzC1v+JYBDpIEMqw+jkwsjjEEpCyGVj91yB08yS/r6FyviTY9z5KI+RUDPXI+63OXFg44XpcwDa60ZSBStsE/VJcS0TB+WQ9FECtzcZ/K/gmEUHxJg0BlJpq6A0Wcq7k72+PKaMg/dLaW+gBW7syj5tEsjO3plT6vxTr5oOpg7ypu06A+bJgJiFmClov7FtkUfPt2uealDtFcqR8AbNN9zifuMF5GJB11lUmtAoc6QaanRaU/hTAcMzR1uNnGy2GxYuwCx1zEX3TMGHyRGJ48N+fa7YgLsBPffr4gg8n9TZVFgMx7xmdGwOV981MRpbsF2SMhcbHu5Athp3D91TdViU3qRFoH1HLNg9mp5IxLAcfcBi4tvB1PSZw5svLtUVX+6VlMRZ/qSSZAVCveaOFWfNt2MlCoS5OKuvsFU9Z9AaOAusZLeCl9Lq6Ey4Y+tQCn/q/pA13dHZ+H+a714/20kMSsW52I6gh1FkziNYcaLc8WWtJZLo5KZik3+cxBZ/73Wymn/RT9FGjFG0wkuh0Y3kOrGwae2S7TkNmX55SfhEIpyMj91vjNs889IUMHIbyF1aff+yZ9UHlg5SmOjkRjV6ZcBClU6AznCov975CfgSD4Qlgvo7PW0VaeTs6nJYLGhbhoGbWPeiJkvafdaHPTNWARibYDl/aRAxzoUCs4Bsqtx8lw9YclQYUZ8HQyxDAZu8f0Grn5jkBLPMKWkhtihbI6oDx7+adOcdDapqqb0p9V3KT4GgUNWaBzvWra31vBtaSi0bF+gTPhm34xBpP0JPdISV0bDcGJ/v+JB7mdpceaURTTzhRmARuTJulEfXa7LIGTeq6Fx1Zd8P6VJSScy9ElZIGe23Kz3WYKP5cXgq7qwx7lW6BJsphaLpL+Pm2DJBEcn+Y7NlWl6Utp+h8z8z2373R38IJGG3ocS7G3MFtiBXAlidf+Z515n+o8ZIlAXH3vqS6LUpmNMwQ4CSdIbDU7N4WdE6Ar7fSlpUX4dXChha7FcDN7CLf9mwad/4RmD0zR+AI6jA7zSSqhlXCmTMnZJ8ydlfP7gsp7VL8eTzBkxiFo+oGJKRlnG/+RHqymWKM1rj4Xakl7ahc6Y6WWxuP97qBLQHlZjL5n4Sz8M5RJxGB2XKaMq344/lsXBKJA0JwyCOmI6Guoo9pKRYcXS3tsv4JFLo2AYrQeJEz8N4Nr7KvsvVXhybm1VC/VQbFseDAg4zMy9FaiyAB2DhiXjQxjLRrAabUM8GSqVHwVf2WjKtqM9Q2vZDH7okmM8BgCDRqSz4uMp0qzQY2oClI/imow5mcGIB7ZN/RPHKJ9P5VnH15RzzXVu+bCcnCEh1+drXszozJKxnc0n7VR2OwW4Ylft1XM44vyUoXJsNYNoDKF2E/kW99kShc6Z5u4XvivBXFWohAcC8/bWOFjM68NgHbqzYJr+wLidnjDNeYZ5APUngO8BLNjbSoATXZPG/LSPib92FiRUVk9GhROPZn7cOIDY0l2Jhi+bbWfG0Ct4c7DbcFIRRSZHSg2WLRy18yq1Cf65nNJIZNUr3UK/eA+AC5NGfR9uQrBhCMSDEBueOwllBAjc0qeTvTztduOyxAozAVprrHhK+rGw1fKH6U8gwk/ZLcNZQBv62SEQUneYuLEwbemMb8n2bfhIWk0r/iMkUlhWyhWvLSqyopZx9lhAVh8N3ILFdO+KldLns8g8906hQYx2zOUgxPJHzUHHWWB7wWoiD8zXHZFjWNZ1XshBKQeb4nMnASzr90Vvgu49F8eTqNXTMKr89DcyOoBskSpxHqMLGUVpcHTrhMmKHAzIicXoYhkX+8gPrzt+ZrQxkOraSVR5M1xjJJ0VRqg/T7nJMq/u8Wj/OSxOcHpGZgBU2dYMot4nkc2bpoWy2hS0dnsEjPb5m3gKjJPygTxXo3aOldEnMT8jR6d5cgKewFZbJsXvMAOP7clC+EuBMfFIqQRWubyHUGdc79dSWn78U/pmHxzMwu8cnY0PyhPMfINCghTXlJ4z46mdSiL73sx0GUhDTui+5UhgIBgxONMFvlcSeAtgf8IizkmK35DjL9nPHCw5p0RowWk9Tcy9snYOjdW4Swym6ug/dWEAIWZBkahtPn981quXDmEzz3iybQ5JGER1j/poQfeUTebJOFZDMMsnJ0scFlikXOGC0U0mWDZA6MPRA8MqP7yDtVZF/Sp99uDM07ltlB3h9SkT4eK3BPASIfXuBiEOwHTxQAd6wdAJQQg8n7K/Tpoy25hvncpX1Uq8uNt6Q09mNItZfTfvbBJmEyJ/YRqaCP91tsSLTiVdX7vHPQxWqnMXaiOiqF7wCh2QDiAwnToYW+xmi4/Fso55wqF8ePb6O91Im22TemoSAG3U8o/wpXXYgDeo1u9Bnp8osFs/D2QFDF+W9t5auC3wzf+aqeEC9Rl9bVEeWlF+XINurOHm2haayE4dAeA1gl3mIsq0Idr0q0otPfSDjiRw+oQq3V326t44XsV7Ec0J43zkqS10PQmEdAs5Zk3oPj6gR4OcsPUWNfrssjpK9HzuIerg38L7oMcoXQ6m4MQVFEvUn7faE3hT+BjPMVp1psf1l+/njdiFKV2ucj9V7xg2vlqv2czQbQWI4WjOZ3QSB5SassEFtY9KRql7trX+7D1wv9KJNi7PplcI4j+kGf2PjTOT9tlcD8FpALR+78pBpnNGC9v5xmGU/XDGJiWOvMGlvUtTbiNWtzhRlv0ixobOsZk4B1qocAOarWK+ZluKiR28E1d2EtvgBtfWjnTp+q+t3eEjk0h8CHywbPtv+6qW2/ZnJLLr3ULWMEvOLIwR5/KZXu2e9COi7rgyHPNrWMYZm4rz6Q432ypwvqeGsSk47A9dy1vXI+zpK1REbK49e92OStWTJnDBFLJKbLqdBgzcXTxmj3cpz2FYYk7VoSr89rYLTCXRASlk4QqA+m9BMMBy0TesL9B/evjFKwNKLllC8RcSm1EhY3MMU9+mX4BEL/Ywr7tyNdB1iEOgk/EQILQFevkXaQkR/7Q9i8RG2bcxOjCb0pk+VhfGCnACs1G75cdYqXHg+5FyEeyWE6Yws+tbYHbTJ6ntDadrTXfnOcoAcuPeqk4c5a++hK4lzoalLj+ffQ40rTTMyHkXcTpNuBKHeWhfCWtDTFKSOlV+dZcydW6/0/VuWw3KaY3DGlRY5nnmD7+i4KY3Al34sVM/PE8HvN7zFyY2ul3Fphs3MvnuaFnh8EUgB61xvo+mbWvT+gYIpawGyX8gf4tRCvApOXaCx+q+LQN4A7YCzSynnYdLHck8VnJDjDbcnrSszeZm6sySHvOn4kUnVeikSNdJHfZ/sLABiXGEdyvaL4MZG4sUFxkcqJ6juB2y4PFMhCQyKMXVJeK95ImLXOxY/qIUzHAzie0AJFihb5UniNs8nJ+D9FS94tqwp7RmWZGilS/c8aNI2l807mN1QnbT9o71SvMHJ5RLdQG2rJxtAo3XhhuKIrSABezyFcnKXgN4K5Juxflcy7s8wYgpT4E3yHbdEQmCQlKfK02pk+/0MXw6TtKXq9U7RvJfhqIAwQNVW/SkXIJVfDgKcYnKpDkq5W7xLicO7pcG2oWaZAaplXFvnp3lF9bElbC7oPQjXrbXnsQSt6yyasSRY9YBb9O25BRpjiqo2lEYaMwPnv3r4YiON/941xeagOJ4VuOR2Mo21zTzLKG8nz6hlmfUsEsuUYdlo38nioGoA7NKOZHNIJtXbSdXh00B72rHoHPzCPEjiVYzytFpPwSM0NVto7srY77MlBobL5PyMFIArXS4ldKv++sFWKfMcNaC0bNNa8RcP6dGCvRokzMF3rQ6dyTQfqjPf54wGJAR/JGr6UVRllC8vSSuWlTzolbRl8ogPpfzeWT5W8LnXgqTxjKo1dXlSp6QdPTdSZ+7hpXcrbZorFdpNA73rUkhtINRsZT7dpzxNw6SOdA+MWkTbf9kb2djfCYcJBeV4EX22UgvvfWEwHg+EQtTRPmVVMNn9FB0CGAj2XNA1FRT/nRr6JU5yQNmbDJRKwxk0bap+V0yJLHip6nn7UQ1DepzZrBZukRaj6AAZbjrDgs5SsUY2tXVhvDX0s/ooea3XhsDo+slCV/VcGHWSYwXLeNOZ/5djI09S/AREQqYdJ5Mxz4JhQU4VUc0XYAuiQhi36U60q9CvXfqeQi/CdKhJdhXsSdDEORaJhbxylIqk7VLyP/Bn/QL+AQKCMDFMNNY7ngtcqI/HbtXFNuu0WlOGEp436OH0uwv6spg/nsOImvPBkdcjO3azTUJHzq+roHafUregNH2vGwt/pr/5XriRniCxrQqxB+P0xcXQyEl46YgoRkb9RvPoQGfyd1J3lwSq3qNcaf4tMcRngjW7KJCVPwb2dFX5qehLxOlvn7Q5T8MDHZ7S/FxHAH3TR0nJ4k4iBVSC+Y5/+KOHNsVbFYRHEWTF0xJCERNMFAe+ZLmPPArYNGCuaBNF28NshZuT8o4H3LHZ6XTrIykeqlkGzGQmGQGbK+IoLMjubo7aE27YG4rv+kVAez8Tl/VP25azywKySBTxJX1OelhkCgP2EY1OenqBWQkOiaru7wUk29kG1d/m6zfdb7mpXqF1GkkQNDL19DXXbzaZx8yoCdgYkrVMjFwdrzbEHVj6qPCACvolsJJoQ19qFG0w4uIreJR5bTb8KaX2350EoaZ4usiSOK+JOKHJFHWyfr3NtjwB9AUHsDRWhZaotuD8c76O2wF+VeXfYcWlcEkKgxn2V8hgcDlATddjegU9/bxkXA1UgUI/uinWnyK5rHCg4xE35rj4JukxweZJgorYmdeQp4ujKJe8qYdEVrZfc3gcgG0xDUFfgSKJnSjpLY6RZeCzNmCQRyk9bIwVPNhA7eTOXC8Lyv3hkolDEgPtvZg24Kv3oPXGHjVXg60x4iw8GwfnME/VKIMJ+aMSzyEuBojYwbNcLMU0IBvTtUy5a19lk+BNPvQu3/38z78PkbHnqsqFo96PhHa3v72KTGP3g3TPvSduA/eaIPmV88PBH7f0x0cRom2m+nHBAASNln/tU+FFhSaEJL5U7e2C85iWWKmCx5+z6U9pfqeTV0iaB9Ihm9U2P/w8HzyImIqyZHT8FXx0oskK4l/AOEq19Uj9q2GfEp+cE4DQw4+8/4ILBYl2X9fotxCQpFlx97kZ/p+F5wArQfkMLnTvb7WLSGTCIF3O24HC21iSB4vhNXZc+NTZuGq+f9jMRhp/QQd0GTFMLE6l2jbzvIawBUDMqZZ7mG4jbqESyIlXOZuRuStG4RHPhxjbT/0TQYz3dapZ5wuRG6dEqwiLNOfWnBqcPpjsY5kXc6Rj4+yaJWRDOsw6v3YXQLT/9x6xL5kmRAReggkN71SrfATVTta3Xv33WDVT2AGocDsyt5TNKznI2WbuJHt1+1fEhw30NV5cTQFTPXN3+0i0JaUi9mUA34seEHUoorJJOJpC+JcQZ60a0ZeDIB05FqGRImLvzC2uYaopNEYhLkhrU7CbNqHfb3qNAgurHyZlA8ga5xakicO7IvvnSMIvwsW2RsydFKu5fiezXp7gGIxAz/zYZP9X85KKO7eD+3tMOLWsPEOHFT7i0+6pTkn2JFa9rScngNoP/zNaoy4I7HA3zs8p+D4yJGmclZrEVUfZzSZsufNRbpQfsDBBzOQyX5YR7AhPZQjyLr+pbcBwNUDQTa17bJ5nish4pRorO8MGK+DRw/mhr/52GfjtySkyqNGqqmrL4PW6/Eq8x22yS8MZie4kwpLqn3ZggElHj+rmN6Gm84TifhX2yBmZeHpKBej1wE/AXprRBge4Gbvy1cbvLRyGhlpeEbg8vR/cNk4yqBS82XS6PL0oJgfZEWLCEsoa7XVc/GUgDykipHwIsMOdTBqKiSp7WPAjwkMIitiFhK+iAwOr6GtJiPr9lcVI0oM7sMtQPHeelqC/vIHpvYdSuKCsviQVZB6EYjFd5PHuxo2i+6q2ig74BfsYOtrIX09gqKXbAVNlK8P0wnsftCBR6otRx5jInZJr+M/+QCLlUzVf4dAlmsGe3VSPwbLOS/hTrZhxiXdLnVP1UfSQbGKh4Si8mY7Cc0EGi6fqXyOXEkCgN7mbImlBgZwnFKHETw6cwhmQUbXBdOX6TQHJE8Q19DvZ/5ImB6f7UYqcRK1cYJQfmPv1wNRY2OaZcYygPBvkrjvEbg2o2ibgC8uLZg+cNqSkDYNX4G011XTsjPmYMRcQB+jkH3aGbXf3AaAfu+h8BfJXAA10cSG+x5/mXhlYQtkavkgC6YCmu6pAHnfnGkTeUq8F1hyS3o4A+6HHd/XsrV1p2KGRH72lfaWI9Tp0yBp1esKl7ORgIC6CloEKadTv4VNtcydFrVJFWmoacuejY6lBeCo5Wq0rF8rpUkikZg/wUWvljq07f50NtpPqmWMQDTMSULS7dtPWT2QRtbOXwXgABatqT+d4My3/6/U8pigEk8GUmxAl49lWeQpSzUmrGvUQXDzvV7Z0xrUG5N43sD0LDUdtK+nlbUOfmLCzu8HV8IevT++9HvKRilAorqFLtPc/6431Wqwkk751XbmSo5sykP6Bb4ydAoX0Qqf50vtndpVMj/Xi8/x2P1VsJNRU6qO8+g1jgJg0DTAea/EOdVKebILD+n6cIKuoxlzdq65WHNzVJheO7Jq6ReMT7uiCORYjxb85zl7PqzpFCt5BW944FmexZ2LQyUm2XN2uX1osNRCAg/YIi0MIZRIX+1jIwEEpJ0jPEbZ1uDlsS7sc9gZSFEqI67p2+0kfrFkHumyQ/r8whbjRazTSl5TcU88DesxIuKJ27MvRlpJvVDdUGUgOu+h3e1HwdkLY4HglZ6OcTCSe08RH7yX1JNn10+qlFcFco0HMfMmrEoHHMpJw3p1TbsfLJaAmKB+Ym30gqVzhkrOsaGRErzRd5nzMOV5uHMbvH4IdK4NU4eiIRp9JRjWPGJbvAkPLL2mnMf6Loea4w1y2lSiL6RLySjMiWdfN34RM9cEUWxkpaPLOlO8dfhAch8vjXCk3D/3xGb8zw32+XXvoiqYmkeaUJLAj2O7VOfJeEoCu0pUKWOoisZk6wEqEHYuW8wnZ1tBEBEJMuQmePKVlIuhVrLUYIMGjlEbMD3JKaoao7vmzJXZskj4emsA3lYA1y71n/mnrcs1Ky3JaFRmWt9SwCXYmzdxFyKPFnx0u6yecGoWBRjM6tm0kEKen9JN4x/CCDYfVk9GFOOVygTWaaps/+4XpYL10a21bd3H9g4M0VfkZKIwkZEc90Maftl3ax465hcCymqM/VqScJaGn2xQGaM3RiBixkIp9dKy1QY5Tvxk9ouHx3AXRXwJN6NFnB8d6O7gQCZpmZ0SXJ0Zlj98kazbLU1R6nN59LWlGyYUmlrWsYNMnd0VbC8YcNNIBRxTe9RFIdJ7O/tzDA4xAXdK3vGKVrmvh0LgKMmbvy2PWaip4lDnttxSo6geVFUD3yUQCO3e6b3qOyPDBDSXZX9RcCbd7RpfXu+Ur3MK5NpGYpQEyB9/T6Bm7bevFT9eVbHIvcvwuVoGkdKhCgvSLw2sT5nmgHSJOEMstFY/k7Vrphg1KweazlgNhtSkSWbwUFBEf+HB0VNZIP8QjebhO5fgfgXHbGzJahb2ubs6R0Qf4iYclspjh50QufwSLN0BSd1i0CnSVK1/oJz0zvHnwmBJvImv8/+MBUBjDjqWJB2n8nJWhDAFGyTExtZjl1NzakYfTG32ECuO80BX69NBV8tgd6qrhijiS/T65DaxwYWyOydac4Oh+nqa9TfHrpDPTQNroXyycAUxhzjZ2UIC+terQxNNNicDaxiAEGeRzmZ+HlP1ZzIutMUZwPTdg9Js33I4ZPANOk8FRyK9s8X6lKrX6w1ES49//X85AMlCBq68Gb+TS/OwukLV2tuI9FZIP96sDO8zTW+d1jb5HcVl85N7Xfjx57oBgP3hI1Pegg+xKa95wM8ppFBLERtWmjtONLsu/P3Ay8tFiEqoTzgqPWRCj0+7mb3JcR56FZ/UfHVSXvRzVYZmKyT+r8NEm+EMIeSUDfpjwk0/qySQcdRviXxNDz51CKD/dNBS/iQsffQRygosxNQU4ijFlV/KoSeQ2TMa5rnHvXt2GzGK1BsifkUQR8Aqht4Aj0QDPIH+JizqrX5Kc5H+WbcZUIkNW5U3l8dotmv14gu/yBjnwhlijX3GZziQhDnx/garV4fZpFD14rzSBJ23hpoWaNWI2FHQYXspMOl4YxoEz3EnZVkgb0IXieqlqBCQcTcS9j6V8Ra5NLb/VM6mT2D669QYNnJ0BFHAwG2N0L2JDADUjM+U+Cwq53aDw8QAR+BlVN5gRmYpGcVENW/RnBYJVb9kHYbKLjPZQB5azwbZYf0dpH2ta9X3OzoRrvGlro5KhW4X8uHv5ini4vxJJUnvlSWQxS4ahExlJRkYRQySUzQUGGx6qdzEW+sbwppUqzuEl1dKr6ReqKr6a6jlUr9F3te3iSuT6BN19hSDjpA4f2X46JTvIRh9P+m8o5I51b7XaFEXcHe7dS00sTx2vXKxG2PCDk8epEZWWiuqs1PesK1pfax09ImdjLQs5jhiWue3KBl1QCSGHXbi1h7vRMQKRVc2fwHJJiBaWrPhLl4RW29cIiaEz5wLIJAMyx648Iw8cdxLaxVBwlTnAphm37ftdEhZGaRIEMJGgT7RIznNg0WhTIo5SCj61A9EsXGTwcQW/4vyo5d5jhtofRBHT5gLNou0okoAaveZt/vje7hRl0bzfOzsSdfKHPx1bzmrI3ba1I5Ch7hNP4QFPLtaZJgZQRUBgwEjURBrF+jx4AWG52mCzw2eyRB5oIDqimb5CXGUHNln48tmD/vfYM8Eebq0ZU5LhYp5WMoONVUvyVnwEey51CHAnt2PB0/HkHH6MmwO80VBEalbe4kT/sNTVUJ2XaagmyLLNr/KLFHZ6QDRa3iGsOACWN2aL4uDnitdx3aRazx3DCMnXRHZ2HtV9D9vDL0/rSUtoasTEA1fclbEWSuf8eMUsHsNdRGMkZ90sCp+kfSUdJKoh0Ap3mEbaOiscHwcpwWzC5Ca7sW1Ckp3AdTQTHiaPhfTQRtP3VsztKwZxLc5n4nlNGVlFNgN1RkU00YnyaIhX85NRWyuZzwQZx83svvCVcn3M5qXQdpEHCMaakmHGp3yt2rDJWqOfAKpmD2qJI2bAwqlPvpVVSl448kao+08WjwuLs5R7uaOU6UuxEtC4fdgQlen9mtAsuL1Uz4//DlCVs8MnmzTv3Q2TsFbSZfkJ0lqpxih5ep5o7107x+o07MsEiMZDTHJ3/heiCG1VbeVyToLv1LS4ev2fY1K74/p7XEu/F0CKSSO5pC7C20f2p+8aX8fnAwVn0pairdNA2lPOaHbxdFEv3d+jSEJaHCyGE1wWFWDmdVU4ZHImxWTuSFGfHP/GbAtaq6Pks/yu7Y3h/++Jk1hFfjrEpB2m92iQwMlk7BS29GOdARV93fU8TpKa2NYl/UYwFvPkWOXEgZNqIoABu6ODo2GiwAYJyBGf1mVOY6bnLwELXVUDBF3CS577ykNtwVTNScFhqPneCWje54bBsBiqyJl99RO7j8HmVQ2TGSM5u1pvwgndTkOlwSxSsxi8j+ziw2q5vGT8aFSELQPqVT6EAYxYX/rkg9lupFLVXHdW0eoXBNNaph5MP55t6ptJdFHUVo7R252PkXZFn9ZVK7jSus/Px3fM2JEVlIj7xWiXsEhh/Zz9Pl060HGj1BOzPF7gRFXUHcn73P43yn3xMjphkernGuOd3n7dIjrGsikbf7F8p/r+15hKj6XDU5luG3ZpVM00J6QDibVFno+jNyFLt8bh8I+enZSzNI9KbY7O52ItiRxLckqlqSOZEUZfiONoTVhhsoSm/mC4XgDWdYFV3h2/y2Lfir0Px2fQXnXeocGWLP4+ZojiCRhf2BnYQHSUWMCVQ5qbeVbEWXMY5QbHO3nRAaCbKq7QhvMh/kiOX4JVe3fy3XQwDOUE+heNXIpY3QTEQSjBwI6mfJBS322EtOgKHpVJepo3FNoeghfUTDeC6tJKuVy7YqCE6IRCrhBMWWnCyELJXV95T58uiBvJIrO7ovbgXRIjs/JBL5C4SOKgMyJOmp6zwDMECJkSFLo06KkTzDv15aNjGl1sx4AXhg7SIOyyufoVZI5YxzhCr1mdWm9C9Jc8RfGSeDXveG2kVeTLkAf7x2MudTpZTj15WKn1Y+8iiwM1uSU9bIqeTyXGgGmeiC0tndM+aIJyrCDhIna/mQmDfgdJHvYqzilw7ACMrTsg6omzgTNhwfuXIPWuo/JhWJuXKy3+MeC20IEhntC1P7ebjG/6x0VVXIe9UzYtFkyGK2iYte89x8YQ3PCUaQF15qX4sh1ZZ3d/ZA2l3cPAoGQ2uRG9aM6EqanVeZAtVMchsJcy0wW1gD1N8rVAk+KNHDbRqIiy/w9x0bxWg+kpJsk75AVkmeQ2nTdxbS0Po5YusA5zSTt0HUEqXNwRMg3eWiXGtDRIBbCpGBo+36Z6DqJTZpZQc+nNHVQ6GTPNIuzJIxqPdNgoYqyz45dk1Hkd3JI8GX51p1zzrILMEZ/raKn5BREVc3f7IRARz/MZZLQu5CBuKcYhLvuPf5NHZYaZQeh/In22C+nNsDRP9+y3C5NhaENGRa2gv/RcuFcbNHIV3XD8W9PKYbgJd3osU5VaaOMjdcMGRKiFcOrZIkWPaDhzxtTyseDX/ZOlaXuAiZscVH1qSBp1vQr3JqRGAY+3RYzfmQT57MoUjDB9C9JvOO5xf73WLStBT2aWAfDkrnSb2kAwcav7OwHD9sSsr9tdehPETFalx9U5lTZMQu3AdKHG1pg4NeOgrMqzBWosRrtwPlANxcqchxtn7OoLlSpALUWPFFG1AHawbTuXVCY0fCb2ImrRUgGgJQegiOy8d5uukRmqusExShYY0lxMLH3wqi5TpCUTzgL9jZLvMxXaZXEDVep1FsLnIUfIVGK/U/pocqUfMZ6MnYceePVxomzR5xCuyR53BzQKX+PlyApe39BWF3wEaXEzFpv9HNkLUDqEFWR+pAn0Dm6TPlVEj44JgoGtBYBMbVdr2/ZaCSQorL/fxiklyUjH6KA5x0wWFIfIOOxuBU2AH2+Utg2eXZN3hRBBwxr4bUsOThPwLoKMO2FmVsk1ODv3THxZGuXUsaxR2/O1GVw5w/u4BkUJ0StO6AynAHBOqoduZsKrjgLxMpcMhI8VEmzzjA/+ugbArJGmqlg9F6rpLa8mnPAtz5EQ8pUCcwntqrpoxAlq+srpHo1br5c/NohtF/SMEUBPWyQu6foIC7aOq5vDfOUteD/nz0YRwZ29FGlktSEOTXb3x2TOMT8zXl2ATCq7DdfykizAG8B4q6KmKIE88t0yEw8VskYfPEK9cUGvv8yHe7yyzrvSoz+Ff5fVd+6vh+bCVz97XuiZc0V4ITBmYKhwcJAlmiDQEcuSFr0F65i/Vaz4DWwLVcOWoUfPvhCUlWEDomo01jHJsGsHiG2rKCutYfis8bMoH34rRBy/jE1lhPdlikdtFWWmEJ7+lkrSNUG9lcgOrw4FOJRMhbbHGnBRcuDZJ+Kof2K374s+AwSGpMBq4uucIj+bQUji8NT4rwEYJONSmLbL7qm4qxt4wBMn1Re6GAl2JZIyNzKEiV6VFGY120HzJ4zP/lUPtbVRJyNh2t9Py88WzCmHzLUy9xZag4qsCduxBaszU5Lyx88x5BdlmmTBswpZkuYCcUiVuWuIX1Fi8KS5JTsSmm/83K/TzAGIDYNRim9DsfRl0klr9swgaGgR1r5Xrgemym+OXF2kkiOHvefiDevS4TcldRIJhWxYHwA1eAlf1LyGicM2M0V8iAtJRQHySeF+j416OTpfHhveJsl9ogZfkWmBJnV+D2j2z7ni+r78azOGbLDVCRBr8Rq0b+kAqaNkmUTq5W5BK+nBdIMPfAlWh5VDOHKMKQwm8qOG/f5zUkSapPI8Eak9pS28k1N9FBxSOammf8M3tktn2HjGVCFhp2GQXg4QJ6DSpKKebdxqC1CzDQSLzn1ywHD4hpGdPMC34d8B4elnIH9N5rDclaETxTrWLXCMiXXEeWRldukrZBJ7wO9G3WYt+zzm9EkGZ+v5IUpZe2CFWPkGENV1U6C1zBYMVPNs2GvgDFPQIdhhbOg8Oo/Z68gpIZ1JqdM0eJ2iyPzAB1zcaSvqdesrp+3qBYcFvn6O7YxeGpscc5OJNAYoEH8wWFiiwmgxklJr+xzC4/99Fs/NlPPGMe46eq+Y1q0t4XMrtH4arakKRtgQW3mseeP//jADhupiIZO3h1YsirWsXXKd+UZafNu7Z/gSiSLrNG7OxI4bEdKFCEHNAt5P2EhlBPODprlfmclzQVQ0/MhGSW4RM6y2zDnemvP9RnbruyQZpCW95Z7xwjjG4L1LLCT7V0YzZV7io6DINQDr/UKNASwHF3u/yoKnw8Dck9Vuaakj/y4K96AqOd+wkWfgBmj2567uM0mDiWbdpePJvKGunz3W9lvDqoy9qBY3Nr60AHMoYsetNQAe++oQ0BPDV1ig0mXsAVndeyTH/MDA0Fu1jWO2u746BxAJfUGSJlH+rYfDR6ui0d0JuOTeyZf+X8dQwLhvsW2TOPJ7EDv0xKgc7Wa8hvNgwLYHDRmogV5+zwzdd5R9cTtJLB3ARF/hn5OhEbQhjY1LeaGPsWxn73rIdNAvmy+Xt+qStt8Wi+kEGXu9FsY/wLOO6mvm8vqX3W0BQ+6pKe6HlOox6wxvZZ5fgRnL8hoLwONwuycP0gIzroQ5VkMh2J6kF/5R2JcIuVi/oWNbYgz/tpaWGnQZ8OO0ZTDsPY16k4dRfhHNkz8ViHIOUgQtQGX8bIFocvGUJnZO2Ehr+VQlJ5e8vmsvzVKmHT3KLBCmJJATmuRcuqEjQTCF2nvfZ4Ea2wNV0ljVWSIPVpi/qX+ci/uaP6WRP/3vvqGGUM6gwFKZkcXjV3MrzL876FI34i5kRzK1csVnWMr0GxbMVZnWxKTfZ9Q/uJT79nqrnwSbtV8T+4fsgu/GS+Dv1lTF+zcuOEhRc54Wq8K1wP36evzTqs9mBh/X1CPCZV9ThsMSUyjTQmCncX86l1hv8RQqD8jehuRkBfmrM+blzqvELuTjIuyCwu1l0TUPY86/vXY5OSKPaXIiVOYOz+KdfbYI2OYa8OmqwvOQ45WEWyAuNXOZf5JQHUcbHp/3E0d5ubP50NtCEAE6M+Pwwt2Cznq+q1NsPj3ATi8zPvOaGQsFUon+hmFk+y192E9ZiMS5/cGznwGEkp9DmHlr6zSOzLhhzbp7Ammi9A2pnA1/EHvmuIxwxijRPEfM5x4LKq4eu/vR39KZUYH0Afxte6ZUU8LKeyoNjmUpX00QoROdbVkKsM8FDmAY8cSp+eC1+ECVvY8d71HigH6i4ogKMfd0JXRuoBpElbk2w2E0g3xjwfgPOw75r+tVZBOy6zXa5k7m8BRQ1LdM65PGo6zEXCL1RFb+02UKxDmK7BwA2kj3LR5B5V4U+xBQ0+wXI2V/IiKtV7/ZcGsXOKCBO57wBz+AWN0q3gDv0xLL/FsQ9HJF/LGs8yWQi23kXL3c/bi97AYpqaCe4GVyCu+9leF8ilCmsZlWowpoeG31tFOKVGGzqZ0z4NL+HIpgC3SRwzBCeDYirfyfSUweVSBtKgB3sl4EY8Bhv+Wro140SYCw9sDli4kYCl+08mRNutmkOxltSV+AApdKB4K0SMFd0wMVabAhzfx+KmnNbn0IFAaFGy6Ck6XtX6IDqx2Rnb6hEiMiDUrNj/dT5jRfCBzOuNfEJtZ9lvVpdlBZA/v2xlIoQaC038KV3wsXiasR2rYoIfiLMw8hykgm9sfO9fqdbeUSJ9zIDO9LXeu4nPw9mU2JV1V0G22JSGnZysnvo6FdnhuwvGPDPWEIX2ubW6jGD0tESjQIBBDIJnFmoFmubV+ziRSgfeirMPebakmgwe9h+Pt/WfK97ONtmwMCjlZZBHl16nKCZ5mlXMg8p5ih205q5nPDJRwg5JVKyvTGiAsO4/zyiajhOHYbeNSnANlzulgcVHMolsn97gPVR2hLx6Rpj8IS0U3BZ8BMxWVEA0eEC1qMwxz3z2niVNKU5CBG5Gxgo7eFXjCNI5z+viPIjclFg9QBpf2RzStpvtCyZ9WRPwSycp9Q7f45ABM80tbLUpDfMjxD/T1JWn3N61tuAO3vB9inIohW8v7MP8r4dqpdZqkt2S3Jp8GXRXP8BlX2g2RkfT9hZNpPNkpobmX7TlHVkXxrV/XjDO9lzE3fEu7f7O3QsdQ/dlkq6ueLy+IGI18dlUsGV+Qp4K2HwqpUeMfpJBq1kPevSEgEQj3HYlLjd9iMPGHwpY+ZcKPLm3wiYcakA8HQPi684TFFnhGSe86AzjVgjRV4Vn+jKZmhnoIpkIzhD5vpcA/cU/OMZ4vfyW4/0GPD/DgNYZwPC+Ck5mFUHzmleo7GK7eZ/GIur4PrfhfvGCxzblVeloMhDTFNb2E8gO8kjUOnpg44z1wLNd8MTU14Y6zbiJiBu0uK1B7X3HFJ3bKCIU5ye4Kgl2bG/ukeg0v2pKRVRTfg413lS6Byor0eBPG8iTsTve9pMlQqMLAlORCVHmKha9AiNAAhBbxeWNQpEIC0NMdHzx+eUAb2tjM85I6l2pNlsWfvCWQJvUA3vKk0DyodzwTiz6CEmIsmfpcre2t30nZdbR46jZ0VPMd1i+pLknytMU/MaDDAgaN0oYBEAPrYXWQn5pwigkBtj05et9WTqfgW7AJYMtJCsYnVhrzFZFWmKPIMKRn3IICdywv6wXNAdEad+NKKRb6cfQscxEd1Ge7fZD8g3uEROJZQTLZYBJmjBserD0E2cVcFdcbz3PRzRrNGfd1KgdUF8gt+WRa3+i5K1Dx2N+Xwg37/Dkd2AgL5rRkwY2a/Q1CCaVMMMZiREIalCkf0uz6NadkYEg1ZJSXH1eMqWszeNJktGuzTY5sRn1yCWI3p1VeRsxNleN1P4Jo6U4eJFFyfDBMua5pzyvfZKlrT9LmPFVVC37Z44wHmIIABX5baw6Q/CSYsjH84UHwwtBtbQym39NOwLo1eRp9Fu6giuBVC10w9uIXmy4S4i8b2JOjWvzatXGuoC451Xr34f9pklCan0lKIPMrQIaLvNFEhHB6rxQoli+wENwqVN+6xbFJhWjp0Rlmyh21NyY2e5n7fNcO3th+RnC5doXbtkIGdfgoqYy0QAX6qELee92iARSntfNRsyQtVtdGPxpHmn4xGUp95OCGG2qXF74/58OXNsjB0gUGAWxVUNFUYRfgUxW7hOcqTq09xF7KCTcd7EHy9q/3IEu35tUZqZzgYWsDrRY3gRoGIlsCbcd98r/KldcP3KQqh6AjycqZtNqXfXJEfli3GIoOdNH+zZ3KyqhNDSQSU1jqoTQQnuPwlmkPtBbAPaxG9xJcH3IIRdZ4kuex03M35SxkdOzhfAbQ+utitbS5lMCz/8zJjlRLEx8Qf29s6KTS9K99666XNhIoiTWgtZjMTAY5YSXak2B/iVoQplm0TJPi+KiH3i9Bzd56PyQXTMWLGyL/l0fvlOCSLGcL7Au8rz5aekW5qFnOhYE7/u0i06rfFx0tuWxkm3uO6yOlnVEjGVTiw0W4imN6N6Z1VPDdwyhnjm22nvoT2glvsELgzLra9trkgSKav9dzDbtcNraQF/ptAKyUcElCI91YFxvsrmONqd/JeUPaQHqYyyJJQLEKwjFk+F74s0RBDTmLKt0d/E3Q/br4Pm+W5rLpXRC1wTJmuZpTJffFTt/bbt0ICNSr1U8SLCnNQ6SQ0ezmLuOPymQ0m5sCMqaafvm1woyb3qUArjmNrHNhx1gr+RcVMRtaHPWg8pjRVbbuipTWBIcvNhKVL29iVn7reaSqH5lInEiclhOtc5FMaeA4GsdXL4Cl4vvMKgIX57UwzNO6X4OBLBPcLDE5hBJDsggIM5y/layHxjP7r54X6AhTX6BtvNmzFBpz+tMBsYawrU9cLIxcKt+D/UpmGJ7wSBKNzk8T9b+Ai+Xk+bArgfv5Z+0kerOpZOCv/elAb8WBo0RCDvOLurkR3sa19e+8j5SzBwlj7lVocpxzq+t3GCAJZ1HGOizmxlOMLkDM7G2mkUJXxPkwjxsk41CsFFE10QkmuyBhVFY+yiVlZ/+omZQJnjVq5cqig1+0UCpLb4QYlXZNwv1gCm2IuRZct3EgIwCFsUsrFDAeNEI5WFnu8TLi71wMlCpqUaRvZRDxwWFcnnKhA+LJh5EOSzzNn16vgFha4k3eQ7v3GuBZeCUKIsrzeo4LtqEOFZV6Sz8pVYKwvl9BAoNJS4TveWwS2wxgBihhFhRxDcVYDZWHOtiPHwieTLgAtnf56228hBqOYi8n2c/FZxpN4CbWPEQWP+zNj96iqjSWJfguUiRLAZbJmLXqwKx9Xf9E7QXIIvbxSqzxO5OEvkOnvggynfTCqkGEGrWT3hA0L+daREWWO3pJbv8sXJG494z0yagHAPDrGBLb2ZnM0Siu3nWQBMDTOoIj4KbosC0+eB8zrnuE0px24Z8UrE5m5crDkN+evA53ZVWyXnJpEL3JBw2q8LJkWuS1fynDWWrhodJVo6IyRpVSUutawoFnTdFeHGdiSS1s567O/Klvahf4SqcEB+hPPNjcof7DG3OpYF2VpuzDeVWzXTLKM0vl1syr65UDjfcgzPe0MCnjfgoTr7uvOgRdyvC2cLaZriXMZRzTSW5LvXtD5MOp0V6SOiYlXenxeOdZKXJSBdW+vUBSecEG0Gf1tIRHzNYbS50CUguReBzqoNpZVgCNJaXrFsj2R2l7GbLgp3wtGxPKvQS9Rexf8xARcWZLUPo6RFhhV2rZ4RdEu50tOFdomgWcM+qZWXE/HjVgZn/IW9enTxXy68MiaNH+Tq9On+ybR6OHuB4a7m96arU6c7cmv67ceYQ72Myfp3RKxcg+b+3s3Srq1pbcMChh6IoknJSvcCSqrAseY+lkoVUVDTS68kV5vmQdsyK/aV5V86fOVph3ENg/UIzc+165VNBceDucYk2uVQsrePyvn+zx3a2vnj7ZPdvUdA9swQQyFnm/11WJZpzEH4nx/theb6nFWHN/mqPTPqSfrHVt6UbBAIMwaEkkVlmtha/9x3HiR1x/6WOu7i1QKNK2gOBLvvgRwfaWE4ILEMg6PWJh1llC0+hISLAuFvN0E0C2th0esvYnJNkqs3Gj1dRiVjg23OyYJiyS8Kj+4sP0imlpWIqLG5TasI7O3QqWiZOOHm5Es5Hkt76Uz8Hza5nx80re9+mTIyb/Ir/imKL+m8xrO6QoztrTRFSYLV9ZHyV+M/2ZbuKChu7moehrOEFAsbtD3s9dcbJ+sKtuPbVnVXOXR/LHLQE3JpnDtNF/c04d7NrwdgDH2yjNbADKoLYNiuk4ASxyA989KZkBBQCUhWtyLuApuYKd6ceSkatQ0ZEV+4K6/sjBu41jcf22P/cBo+ym0BtAClTZuhnHOPXHkOlIhiGvH5fab+dbTOqc86ippFSBa+TxLeqdjALWENVUn118C03PhW2dWqHuFppZezCtj2w7vNMSN1MIGoHn1tBpt61l07JCJHzGhC4ktN0Calg890uGN1mfWULLDwX1wk336cgcifvmuror0rDAre+QJRI5g5iIaJn6w5zJXEkzqtIQnx64lT0+k0Y1KqREoy/mMfTYBC8bZwUclE2gpd2uJeggBhO1Qd493a3Obi85Ez0VQLtcJ6yXErZdN80g8IjdWroeQxty3HSYnUNKwaMriP8bcd8o9WdpWcnVxf1CO0Ii6OdG1wgdR00wdr/ZLr/8eWtBU05e2cu85mG4Stt/96c+WYyWKqAnixWZLH7a0+P4uvtLL15X2FNcOAsCSEtxEMb4AQIQQjIxWZyly6WjMy7v85MEgzE1HCDpoRR/eQi76Wm7xcmHenij6lF/QNQ6oHlg85doY9mwBUECEthXPrgqxQbBD/JrH9QyL/ZzFywbnIPt0eBX9kCHVGhnH9HXjljkR1ZXfHYo4a0Jkyva+WERUFTPQbz2hCaqWgIKimzZsycdSVJq3ObNMdGnOesPBFdvud9dsdFmMjIHK2UsN3EylXnuMMRTF0P0BzpRIhP9xBYZ/o4RYDuZjsztN1qVTSixjyTAxakqQ7WCDJ5sGhZGJaBFXOPqjyIZkfDphnHtunBoP2hgUvzRd8Ktg28+0HbzNle63bS5mDOOCXypvAA3/haHJis2zxSN5RPQi6ZnTQLTIaU1C2mpgtIK9g+1WfG2zFLBfGoIY2nRxjyeJtqnEHlwM011i0EOZKKvAohE8qAOrch37S1Y3JxQcsgwqzlQ/FvHrWUmQu5IWBo70qNLz/XEZXsgUiQLlDOuaw0wtO/VklooOhJFZQqF5hUL6aPaGn1+vcN1gbdQnyl8r9X/YgoQhoSD497VB8RlDMkuG/D8qI3b1PfUIeCkmhrF8rhG+NhRgh/5rwAndNSZFlxSk9SmkL7Crzt+XZciplgzgJtjWOykAcBSP7ApZDnQNjhPOjm+DpJtSQ1N//P93mndhMEDppiClXRIwCkjZq5XkX0O8E0xndtdFkmqPk9xd9o86wRAO9cGXRwUdMTZOPOrGdbcNzUsCTHdhrHLtzbjMhQHEGapi4a3ikLaIj5bcqd+9zTvQNuFHxAjOL3SbczngNyuRQvl5h1icXrvZ4rmCh7QODLtODYfzjWvu0k9AyZjgL8vKSPFr2Lw/oDRHk1qY9WYEzgyK9oFyGmiv86yNGdzV44RDIXUBEH5w2AauaLGJ7bJi+RGv6JNLtTLatXbghVCrdMRNp/+3CkQd8HGoDisd3bEGS5vv2MJUWMe4W0L9G78LzHWBULQnDZo0pO8Pm4lNZhXXBQI4Hxh+Pz5+hY8na4pNX/+bR2QId6RlK0XOa2kI7Obh8+0BvtfRckFKg97RU2JueMh6/Q/35ZaCjKFzBnAb4kGhaniMaAZmEYaGJhpsl3Yje3c80yhdPItOXS5hbwM7SdYSm70/AKLs41gt0wbshUFZy5u93H3E0VdsidzYoWRr6JwJmSmW8f8q8A9HGzqyto6DBuQ7AIE5z2+YXeezHi0n1rgjOkIVnibiUZQR5esAI5LkJRf7XuIu5HFNSF9gRJXKB47lNGXcJzjsbfVqmtBp4PZ2n2dBMTtrnPpS+HMc6qIFLVVbgghZnLgnRBBUeF1Nqt14BfzU3FskfRyfG3/g6W5MLmy5mx7Xvb96SsP84gjJB6kVVsM9UwIfr0BOcbxTHCKNlukc6HSgGdNptpsI1QW5G6+sGz+SnfAewWTzKy645YGB0PDTb+NzL4cyI7Bw2XbVEFIvkMgXmwEpBcidl1sAncuyTu1n5WCt0J1H06qIZ0lj3Q7K2ccT5lbGizrZ9aOjYqjV16nzieLSWQ+zUWIBS5DI1X3xMLchpl3lJkkPT94zs0pUT0brpJDhLExAfMOUl+UY1fTzgowmJ3AmyjCWrvsGL3XBb0/FWe4jGl6FuodBumCQVH2LMy9McCpjaWrW+E+xP6RiBb1Xjfmznz2p0k+sVPtAPJrDsAjFiRgW6lS9J0ex8ymniYBS7hV0KgeI5eR7bONBV7/R2tmp9TsWhRwa7gjmJtsZZwDK23eX/MN/2uPQUKh/CeQ/a/HDV2IpMTkmj61DQM7fJgU32g7wQPIu+UbrigGwYn7ZXaciaqJZiuGcLQd2DUOTBFF0cVEIihzNry9ITPyezJsmOdM9UUA+85SvKy2o2FXFffS3b3WFgDbAcYU+RedxRlBr3EMVEBFIgpevGuN8H6NObhpDL+xnigbo0JetnLq6+AkgDsbbXfgJgzzotF6UjVP8Wa927Bt+TK8nnJoKFBcOBtkhGWsh+NmxFxHbQSpBBh21mE1UcTZyK0fzS9uDwBoDD1nIBmiaioxFlcLrYByTL6Sss7G8AuxVi+PU/j6IniL0fExivxL6w3WjRz1Y2djBpeFa/pg4ViV+OuQGYpd87gxgVCSQNaqBJB8KEg9lepvJbW0zJyMxPN2uEdpG+pSHz6VLyorA1tw/1Tjlw/xdD5N7VRV67krIfzvQouK5Q1+P2n7sUwXQ1QQ9hOpBwGST0vgiIxJJbmhYi73N8el7H8pBoKemXHxRA3QKHjjAwSwYYEyVh/D8Qv5PECiWUoi9nsWWGw+EAlVVA6Y8DWk30wn72Upo2AY0A2hqdeOFjv40+NNAnbNgb3Yap5WhnRAqms7YiEfuhUGIrPG8PJKoPmmKK+odHl6Zwj3QnpHWj5+G1Gd/PSpuekGB6jYp+cFpW05Id20UODbrZgUXYvaSk+wXF4JWGKuERE+N9GcEqtyCLy1QTSjjmqqQoaxru5IUBGQWzSDIh/XWR1Iha5bUnnons9JzgegflmAMdZvz6FXJljoUAUG/k2Z8d3G6kqLYdVXJlbWci5zdBLgeD5g/ADbviF3TlGUn9lUyFksu7aiS19hQDcYa2lGIriImCzkgDo/h9CA0y5sttsSSS5sZvdy98iIsY1qUh6ZOa0rMhkMagNQUkH2MJx4GzwhBud87KGGtoTM0yRrWcQWN3Y3QIv57mR0J8rJAxD/Z47kNhNK1SWem5si0MqMvgl/JH6jDRwz/W7p7RP4/nlq3YbhgBa6pPRLj3V9dxsL0uoeL0jL019vh5DJPrc7csZ5gvGpW7RnH6Y5COyxOuNzCAhlRB5GsQC/a1s8kOnD+B5+loTT0Ca1aigc9vDRYZVwe2O/SFWy2xj+mbcXbElpVLzYnKx8VrPuOQcmGPoYLo8fP73P5NpBRYaJeretOhOguYe8bEFRkRgfWf6eOHzckRB35/xFZHZWdyPXcA83bGtdosto1uLTkaKFRixCV4XbS/m2QE4lCWsBN46aZv7Ev/xU4FMc77O2+HJxYMmYOn3kv4P/+WaBWPPjkr4/NAbsXWEARYuMQit7Lat4Gd+Ry9nL2c9dhGD/BcjyDD+E9+O3Q52eYgwwwJwx3ZJv9LthZqdEOIeSCDhKLvPMpGCdRT5yeOdd4h7hlvuBf4YokYStAdbAq+seBeXvbVYtFaWhgzQo3Y54MmMfPTbQGjhVDAivV7Afai8wy4oYviQ1NAx8O77hxGAeuWIWE2mAYJ2OghBHvhoNEmHcFX0BdAHh1IYVRs6EvSgNYuR0AoFgkRZdLMq5voZvji3W+kfJumZqVvpX0DhHg/FgY2TFAfWLtIT7dL81gvA6a48UcxePQCn4bbayB1efHbzOhZaSt0TdGHa7/74MqetCkBQzqjyYSGwmaJno7LZLgNMrYbpO25eViXl88WPTjnrMEN40f70WmhujOr87QDcm6il/HFhBUigx8InNsxN0zqaLwNZkuUiNcvjyCTF+Z1oxXqHCSPHFhl2vdrk5gPTAbF+X9W8D5gksbBbjcwlssipVosfWueJn2sewWOnd8EO5V7s6JKvK588aeWfb3pKzFfLk3Z/899BHsY6tI86I9I/WLz4KlZ6Lpt6sR4h4NTF7v0Q24VnqiALvqTHa5xsBiU8SiojYqlPaQKrKfrW1GxBhHTiWNBlVV289CSJVV+cPncSpgDiSJay6FbbXLzu298ttPQ1gNJcrojxU7bhiPIUtLjQtWikxAm53OaSUDZ1Jk3AKP8iph0apSN/gdII1uQmIThqtlo2bJ91P2HYooio1asyWIZNGp2uWGPFx5NgO3dw6tqxK25LE73Sk2vAUtcnqL96PuYIFPjde2ZAFdBuHSS+gDFSqUNK0PeiE94clcth6IL15rDlZXWHGdZXGLV22eVwmURxsxqAk1m+xsJNfDbUCe5FDcFGQJ6OYTYWr6GhiqYTH5dvUjQcuQBgI0N5ELrlLQcIhjEOAc3z+YDExfPqtBUkNCV0bX38ClSzm5NJhdzHfRds0JI6ppOhY650Za1tfmWfups/fG0SgBcD1jydVUg21/2Z43gXF9A4tv4VGPV1GSVyal77p1pAJ6x4O3kwaRGoAwU5hLlZME3FalIorH3oTb/5nOR2TEdT0CHlJR5AN+M5aZw/9PbUKvjT1brdjRFsywzfCgZ6lxE5j1/GXWW4UDwPBbMdBXqTmpgDsJ+5OCtb//9SEvPUHHGrv+QpRzggpPhMOyf1C+YXdVLV9VEYrS6vdiU86cWs6Put1lWk/TbqlA4MzDXawzbHQVxsXF7DSGFwS5S/FOrzuU/ScUchaBYmqK3hXWE+/wWVADJ8757D/qkFxMylwTxnOznJrUI+EJ76PGYuEwwvoihJ4dEDZA6Jq6OyWQY2tvgPrtEICEYYfZKFIezon4LIIAAKTDviXDg7CxDk+n9Tr+uK180XCbpC/e9Bt0i4euAlVRZ8lPZl3o39x9yLSe+lQuPCJagz6jH7Jz6GMcJldrwkAVdm/FHAAKwg60d/cj6Dk/MoWtytD83NhA1xWMvIADwvlGXleK7S3rM9HfodqPyJyIphxlpJIayEvVAwnXW2+5/qVxKxg4QTP5sYTKHaiaFdd4JSiHh4p2JOEmAf+aB3dXJgpgpC3Xw2KgnwINdsMxPl6vEkT/0eD8LiTaT+lCBBD18ak1MGPq/gGeupVlqydeGJ874rKlfPjIFIzkAQGfHJlN8fMV/TQFq8GJof1CBD2rZIT4H+z/vEfsvmDPw5ESo2RlzzYbWAsq5uH6DV7yZcCsqWFJVw0VMdv+WnX9IA4QpUiKivTGBb/YZfTZT/WpqRb+W4DaJZlr4RA0sjdIwAOxK089R2gic9SdT9378MoUdx4hccFy7CQhUJJj0NIBSu4Z0PfpTJp8e3RFWa/80P7yhXrgL9+i9R5+aB+gEt+F01+pXT/HDTWH7jz/p9bYrqwIBFThkspS/rUwrp5Y2D6f0IYqBHzEc7nALxqSnwfEGMFDWUXUYGvREMbFr5zJt19Mr9FK6UfqOrAFlJ3EHIjuEYnf4gdV47gIrNTJ7S16tDfmMAdj55qCO2hc+Qr0G/jo1kBxx6j3u2eSyJOjQyUnILrVWjdgpmG/EEZOy/0RHfiUKZWP2lP043/LvBwX/yIGJwS98tf++csLwasYzZGjGb08slKgnCd5WLk1bpownS3dtuta7SoCsgeu6LftBBrNuYqMNxOlbCLdqMhTE3m1M17VUl1h/w3145Z2s6Rw13m39CnJR3D2rrLMxlS8paRZrYC4bToCLVwAO5l1Lz5N2FkT1NFRP4fgqyM+NLQnXpUbftQDNIOrFkON+y0YZ+0L/5AnjqdH51qcCXllKc5AIWhSc5bSY0UwixrmfPkk5LsBpk0TbXv2djNnj+bsOKmvpTNxhhC7Ce6+/8O8pyDxdpn9EkqCs27O41VLiDXf97knIAmEUS8DLkLxgvLsAWcYpwuzycD7BqbEPgEKm55IZX3MoUY5u8vSgYruN+7sbbIxzfygVwdEqLAqevJfei0Pae9x8IGtzPFBlawTkN0TnfkCUZFGsakasXyECPjSnUbhBHoZsb2eoKSghvTimpbEMLv7Ea2iiJKScie2LPkLoN/EqDn2GnoU7gvVio0R4+PvMqEezRRQrt+HDQcWIRO+MVY1+w59DcZUOJPsMBVGzrub2CNMs6to1F3+aFMLX/VLw84JtmndzKpWMfMRuFrR5SosMSHlVF+NKoVrjqF59Ns13UL0dDSv7+DacZncvIGp+IF3XHYf0GNyOIfKOCt4Wl7vxUSH7yVC53BY2uvRQl9eQuZKU+hGzv6yZKS0UlSozjuS9TQP0XAAnmOgrRPH2pALx0Tg2T2KfsO23pQY82RTlWsx8xerLztLlJeVsfSSg5240xPafQ4b6Uv5cX1Wm/WV2mKUqxeTMAFhGoOtJIK/wxgLcX1jvRe5mFNvv9Am9R2sNsly7V2f3W51C8R62+45vyk/3fP/EgejYisIvhuxWGxo5H587jXIrHs2A22hMYSYXVwtMQBbMdT3g+JUVzS8rZ9CMCAqSfI/t+n2x3PM1+liVn99kH5i7Iixl1bwWCZfU4YfGaVyEU6nBpBzWsG3RL19UVllVS7JeDThgPcqcBDeHFCqVBX96UgUOj5tOcM4nCqHV84exuSWEYIB0h7BCmNcbKnYwtLKGAd8VNr5nnD/NjaGknhvWfSGCba9D9vBpy3jjDr3nkTUn8uuY6IWzPy2uGG/vjjbkwIkZUhIYmHJhgt2yLiyjZ9qSvstVt9ZXhBU4k+SJDRn86fCn33BdpR1wn7+N3SnwNqz5xO/RmvzZaVM0Rp/2cfcSqlqg0BB3pm3GWXjNeIIlm5xAogDbufdkg9DEuSJaRx/I4hsZKPjaXSzOkjXv6I/SIMzTsi2a/3BjdN5/ICzusih9M3EQyPPQL3+4VocQWApUsQuisJWHwTzoSMFQdlXwmASvC5I3B0OXyccpdadvhY6RrU5Dx65a9jJnMSPZeq0JhLRErajHlaT/IjUI9NDzA3Jv46xVMiprJe/kX1+8wEqNnQRtftMUwmJ7nwjwJwy6ZKTdyMco2UY6J9r8+CeHY1EimYWMYX/IZU24H+ANcjELa8S7shXMgup0vlz6uYCgmDzcvk3KBKfKNKq2ype6lTEs73hVnsMR11RbAjkFtaLgJwxnH3f4sZSSmqQIXuiKqmWP5L/UCidvRbamifdtGg1xsj2z+NFKN4ebETxK+TwX5Nsm1uZdIFs0R8NjsT90sCRK0VEXTKIowtRQfiLQnbEGh2k/0ObohuYzHhAzpBgksha6E2pv1zX8ynWPzDV80pYkeCM1FSHftm8ai8EyofXh2tW/4o0koNkjbWCPuhueUN71NNb1A9RBC6zi69S9v3g+ERQa/9fG6HRr89gYbv5ibC+V3fpLMxh47KMf403bAbSATbbd3mz4YWptNnw+PktVVTfct9aPANcChZZe8pcBnrnEbI4A0JVBaRbyJgNzanrzI1TofCsBcZKE0mN8CAqMV4kMi2RFqKGB/6IVNcg/NtehDJPPYCFy5apFj1jgK1if1roabQNcPPnQKrOlV/Uq0g89oTXuO2xUocgEgLiv5U7Xxb86cAVCz7MpSYiPpljEUaBccn5jiA2eR9jw4N8yqK4/dKtsg2pSKxl5f8QUH8sCfvzYLdxqfbwS5EpMHj8GKMTX8dw8qxpWVAvJ5l5M8UeBz2t1H17qLnldR2XfTIZSV1Z6tp03ebbkkGNkf3q5RM89mIwbDfUaEozyve5ZfOTd3HgM578gfwrZy4sGyZ4vyvR83u9k+V0uyx1XSu3NTJMvDozyViWvcN845eqcQLSeOHW2YOanw/kHAdkgW0c0gS/AFotp0T35uHn21xVz8FQUFoA3j8jAx2Cnf6YPtCqpNWf6hdHZ9Uq8YD1tJR2kPOLeA7P1x3beflWL8n6CrXz9Lw8cwJ1RrIE+Txdw85sWCzsBPgjEimBwCJqX6myNRVj2tMuyvWArg0IWaFQl4yWhsQrdpyf+5ibt3/LTR6InYq21uxcrEo+LnWmLc2y1yh2ejAZhT/TECMCjb6YSjXTtgN47ETpVvx4opn0IFqHNNMRQVeS64jSU5TepUiyQ6+YJJXCueDwez1XReLb5+KOuNXgUqD/hE7Nq9BCj1dAw996oB6pJu628kt3mkzNsZOLD9+l5EtHGChjgef3/Q6welo32AAmSV+Tm03FM6lac5OcwumtA6VfqWHQauaMjWpMDnnYU+HwQCJbGfbxSH6Gmr0t2fKOQM/4q8FZB7/zFOLJ6E86545VB1cPgjoT7kW92xsLGA0CXNHW2IYTw1OjGgJ/hkuwlweqqjZ9aFPONOgQrGfAa2HotaamiWIznc+en/JfyBTSRuWBNG08zxVsAWbp4zHbLmIzEa9uefghzogSZ/kL0wBmbWhwIRkcs60EHtlRaDyal12bksgZ3tl8lArxXiVzL0PPXi/qrUKYxer03aLNPHL2rxV78DXpQl25HSd3sPKLG3bvXvUY+fmNI+ORBLyODSaYM+dZ2MIaQ90D7Wo1SZpDDgCJuwx5Bu0PF/Pv+c+rvsldfc3h04okEcvZrvwCAQPBT6DTwomN5zyNWzpbZzEGY1Pj+AGjaI+xmSPbvFVm3GywSjZfDbLDq/EdjopaFoki7FJz+ShC//BdpeRuy/4ctII4lJSmjbvoOhqYi92iQJy9thTfETy4DpQJYL9CCKpdeffUHJAun53sOEDGUk7UimTkj8KxUHUjNHz81Z4pZPRNZ3mpBmVsnd5dZkJKw4ZzEmv52VFuOs/aKdWqdzPa/qLaLsZG3yQpd45NbDXTN8ecgME36uMexnpVltTeD/3wFKjjf/OauJPVp8UDabvUo6y4wT24ojfRNn5GU0X/uMx5ST/f4JmRKtmwRA0UbxImnLUV4EXkKmrgGlMnTJc7Hi2LHVUDKAOI4bxfwT9kOUNeEzaYbWB55K6ennLAR65lKB4utAZqcgJ78q46bgnBtMmT/fg/pu6f4YA8mNoXlJ4+YXIcHWtN/fn3j1vUfcYq+OpiyMTeFtc/zSeycYKa+oEbAAKbmtR86IvI4AOCNSKTHt3vUVJMgJhHvxP/5VK5aZhUAiBRdXdVAbOFdQ6SvdNZvk3f3drzgjAn9Nubui6TxWDnOd0tkUpN8yhxBNDM15nREZokq3TeKm125+PQxdNv0sC8cCxNCA/s3Mknn+PCtX84d5MZHKR0QqrEBt6nsOvj/74W8e1ebbywPbxpe6SR/9JFPPtNME2gjVPLFX4tepuvxPLVlLkU+DB6XP+N/LZwQg3CYpjaszEzHXuA5dvqwteJju0d/iFgvLhUjD/x3mo2+IEJ0jEH6kXvKzqS6rX6Vgqv1tHaFLYFllwoGhBAafHKSZDEwmYmKSs6DcrNNMEmUDsknMgNNqAx4QgXxrDfjDFGHrfbhQqxcB/WjcIRqCIhwr2E2r15/DI2nZw2j2gBWAPKt8WdWGS2MD3uyQepO3f4TTqxAzlNvdlwYC6rFPtVme8JpblLOunISg9ZQGqvGmvzv5LEzGnVSqhRJ47VurXmQFwk4CIisW06SxE+sr0Fc7OmKqgCt0rYsANzMZ5/5WEcbhUsy04awVETFdKbnnc6QQmSkUmSq/BhIJBcHpMUn+zwB7U8DDUzYCa835vEtkmoqv30UbxmcxQ4EdovW+CqtO4T5luFnwe5//OD+fJ8o5vduDWOIlVVyZLT0ksqwbn2spfHBwh5ccEASA2KFcUbNBj8hBhkCsLrdWL3QLXY3u7O7735mYG5Xla7jq2qPR/0dm9hptELVcbn08oKrGR04JlN5uYp4iokCSzhSUjr7UsdrPeVk9gEi7zG6thTILKi2B94PvwzH7N/RCYO5Vu28wXZlMccVsUXOtdjo7xiXlFgfukr/t471MbYv9QSv8k8FBBLhpcxqcBUJ63q97V7TMVw49QjSH4K1FCU+kwh0MN6h271rroRGqQ/wYP8n7m+ERuNiugeCvof51Ca2E6NB0sMcq61dtUk3EcjU85CjRoYeAMn9Wz+BQJO98RtkmGgNuJSxV1ROfSeiNvU2RS/QD9hbPUDPE9Ff4FUMqyrZ54LPbOE4UrOIRIhcUcZkOmDN6LhyyAWLgCzx1msIwEpgIIM/wDTAq1sQGcicZWgkwOxGj0zdt+XcIOYe3D5uuey0uNBbzKtQQPulwmi0jNRKMiR0AUcuFxCGPz3W+xNKRM3GcbrYm98w+F2oiogZ16vRwUPggZjIqdnxUTca2gvyp18KVw7Q0cbZWI8UaDMpQkRPLAW60WYje5FK1tuiOZ4/7VX0lH04iO6a++OVXSPcLtdDo2yWnoyv5SVRUoyv3JQ0Jyw3S+2AhPO6sPEvBJPVy1M4MSzMv6nFIK7VwI+wBwy5CWxe645IfJlnASJ8PGP6GNHuV54mgMFIIKGk+wRYzr469UCAYyRsjvyVAU/xVNbO4BTA13lYWY3b2rQiHNe2g2axV/zqj3BDfZyCdJ2Gk3Xl/u35+tun6qgdx/xsqpFBSu82poEjDupSjZCUS2wQWIje8255n0BjGd4pHs9gpNOENq8X+bjIp1i5QFmTuW5fbB7qOfQoAqWnm8bZw068/oSoil4sxg6v9WMtC9Y7jsfzFvvVbSIbz6pRe9fAYVBJ+ytFjxps8oh32Vuz6qsLG+bvTpH0r4ChIlwm8YQZDeoPI3KY4NddP9IJR0tqZ0Ovqi+H6w63abo1JhzOFrijt2lTL3BHMVCvsB1AF3Cz+2Ct6XX0fDCmnqYj2f8TPC9h5Sl0hqiKRR9uUZNgNCiaMYPtYdq/SH7+oP6PQq5TBhXx9xcMTaOQDRhDsd0kMUqWlCV+Y29A+wVZ3Ca8TZ6WcmmIXkr7wtNEP1Whi6uuigKQdR37uaATDCOPJKsAaxwwdiBo8rIgfIAP2+P2XPl8vrZfGav6ECObGVrOVSKaXdfaRswbx9tHX6eSX/gNRpO9yw49hFLh2arngV+N0cq75f0/96eM6uO5qFBgAjuS0L6xNkygRdpCbbkdmIKMCw45/MxlCOZT4rCuKfc6LAlxMSq/ZsAGNOMHKiUnvXLWzSr8ZfqkpA0btpwgsNkR9QG6kKAaequDVbBRkl51RAJHFy6bammi7B9m0hK7uzI278mK+RDCrheg7Db8fTfS2vhJQA4CzDwset9NnGjp/kYgxT05nLnQaRForuCZMh1aP46P3nizQ1Ca0P6XIlwnnYV2iFulQNOy0LsjDJrg3NaqgyI2X03tQ5K9CgNUIwzSxhPY7LWLfZzviMiJ6I/zjwHn/aBrP65UGuyXeZoJm4I7SIqDDPambgfQjUJuBzkjrjlK7wyli2M66oUE2ThPfj5E2RKjEg3ZIlH9RPByg7tGh5jqysFiCOdQPuADFibDwPBJ9dSEL2abeBPemwQpqnO6X716RCz7B5euTiHq0AZt5HI5hvZxchv+JgD1LWLGmdEfx7J1uXvUSbryn8KGPVn283n+ACLt1f2ug29Pt6AGe/2ELHSlK/0oIyKSAhEoG6IUGYWNN3rS8wRjhk9Z6y7kLyEa2HncN+GMb9S+wUhh1hCvc5wjVMERMy33x7mvxOGFH+FU1l2QeCrooGjuAv6qf6PWTL8xYlaor5COxvNqO6JTHrMxKotkRPZblMYAnUreyWmus97X1MJJBCPReWe88qLZ5bjF21NnHg3q8oqWZEhThorKX4bBhY9H15fbgEimNLDD2bocXgfF4k49hfk4QItvwSQEGP9vkAs7z99Tz4PqsDmEvFVyspJkisRjmuuduq9tdDqa3oj3wZlGJJRLzxzh6lIVcc5tD4lxtya8xETmvNcpZ/8Iaq51E0ckmb9lB7sI1vSpznEGCLgpBcqfFxj4cS9rKPTeb0WwFFToy+FaC3Gn+rwxMFbMNZ4H4iblp5eDwNHL4FRa5iiLRz9tFt1vUsWnZ2odwv1rgokbR1aEbNiub8Ih0+LXdhuEwh9lEXxYhOdHaGnuCYmiOPVCdNLlynUORkbachYyzUETCrztNrge8t3iB45j7d4v4miMViG/E9I/6zFewwvrKUqBjBz3wn+IcL9piwSozRSvglO7I33FZQAvMM0Wzg9/8oRP13zSAoM5fYI8jIHdydYb1YS79QJ0vszGQOlXq6ZVhAnbxblTvvmy7OkD1W7ZlAJMuAoIMbWt8A2ugDn85oY0LSC2b9gcgzqh8woQVONO81RseI8Su4hXMy41tZa9cEUczPxXNz6Hs8HTwNCmHC7uO4iufrRX021CjP14GhPgTtoL8fnAb1Ps6hMt4odurLzCR2XWEXMGjQ+JiDs91Rbla5yKW7AaYyK/PN8dUEuCfBoRfqPcZ3n50Aw82j2CURCT9mRGPn/e4FBLX+yBGAb1BBLfdcNkHgp7fffKsX29OIC4O25h5pCX0ADAkN72y3pP9Opmqy/4kla1QBi61w+nMEnNhF8M/cz1PsJs2qQ4WCCXWadvLc6l6pp7bPh8j6J+Xm+bnkZRXAQ/SInSYIyLbjPZFm2k4HZRHZu6nxOMSJGnLFPZZphYL61dUdyXwmwZe3DtHCrwIkoULOXlDVz1rXRPW5f9Exb+3P/chNXlbrSk78whxsDpiRAd9vJDlbHhGtC2TqByw/aO4ON3hqlstgVuIUl1BB1NGZu2KbvTlQmBR7f08wRXzPp0RAHxWB/+Cyca/8mRwDhTrXsC4zF6oPQgAe/jCloPciBijIpn2RB11QIM0uf0Ap4QcKPag6/iuMjsA49QJUpC7XhmdFAjStI8QQDp6BqPbYXFkJ3meym5BPUEf8FjfOWsK/2cEWeGd/h3UoS1vTYJ5iugDPJ8VjtkuDgDjMPAsnpQ/9LDyjZJT9l0KNbQvSXVE1AMFf5QIJayy1Th2S+0lt6TGIpvHosWIl3t1V3SYtI8o5thSDdObHEPSNq0fqjQ95T52mnibvch0FQwq8uUv0uH+SbExYalxrb8dkqXBmI5/765tQELxWj6vtud5Nm8GEeNSspKG7ScRTQDHR4fR3PxvmA8Zn65M3RLIDrklc/P9mGFK+rK5erJnNJ0wJnzpnf6xYrXAsbW/24i/9eRVgw9KWf2+3bkkcmD8uNK7fGdoFWGvlAiV56bowMa0ZWT0/DDTdvw9VUxuze8rK4Mcmnx5j8WhFHFtg3j7+yHTsmc4UBqfHvSpvxSK9UwHWYsZxwYg3tQuTTCz9hJTI/2ODkXkZ7CnLUIeHjKoIcURm/Bphxr9u8UR/5THwVSxRk+qPqFYGxLTq3ozzklE4/y9B+MmH7rpCubKbbNSTqX1Uruy/KCyqJarW4qLR0hqw96KVnolUdyb8rl9tl3NyEzAlS+7ET9M/pvBGGSFg9j6i6SUBB48HSoyLQuUvp3ytLWfbC7zkymgKrGhXtJKvI+s1aTkVDJu5sUmPrEEHVSGcttP7ltGXo34DuTDqDVEkmIAaddFtxQ4GV3sTkiJ79YRFRVe2B18DzY7sLqvr6t8yXwMR4CydIwB9SFMxhiiBn7hXMfdMb9mVnx1FLnyqGq5kp+a1ETpo+COjqIW+Zo3rT43MtCIy47P+RFwqumJGltJcr2AmNZIlV4yR6pJK5XgGT9fwDGxcEpHWtvCj191asP6GakYk+Rm0Tr6ifNwwYXCNabm1RwUeVuVxfWCN+RtAgvdkv1OPpDDENiPDmFWeR5IywP1ua9F/H6OR9V0r9pz1a3o1De6oHIT/Oh0WpyAI73C6TtMRt4xn3cBcu7O54GPvJdM1Oe71og0kvQJQyC8wTDDlFsWRHouWvcrSjogB4B7LJEX3HXRPR+209Hsps41dT35B61peoun4j2279x3kKcW6i1NhAYPgqsGb0I+2ig6500twzZ2wu5YH+2OsZd9AHBcS7P1St8jHNyWvTamafZ4KPidT5zbQq3htAcx8BTezub/6KKa7DBxK4yWYOtR033h2VVtErcB/vc61BgQu11awAtaBbs7TVM/HoJCaV9bGSG7zKtRa30YiERbRLP//NnRZf8z3xVuv3Wnx4OaV5A+rEvg0kwfrrLpvn7jALiEvrBlxQt+hQFJxLtV/eCpTJTmbLHLo/f3XWtrX9/hCt3900qyNWK+uCZes5XTybJ9DnUgpJr3SBSsZL+9Hin/AnLlJiMr7V6vjJzZExVQGf+L+lDgO2WSpH57zuAP88rj8fQSzTDTB10i3AzR4CsDiRUSHE3y/a/FXDB4tdUGFoLWOqeTlapiSVoO6TdwmarYWVdndDh172NxXIykaM7Aahmdc8QM5c1dnEOG3g6c6L2mtkFcX4VTohyxzNV5Hn4RCm6xb/FX6hLGKdkW7RxLhvOZWWFXA1kUo7c9iqy7oQosQcBcDV/4YB822h6jl7jXUN2ejqorgAJxQhhXX/Kxl0ntKta48MMDTgzmFX2Katevn0A01J7miGa63GFQI3wKZRGrPyPLjKF+k9/EkSb4xS92mo6+o8QuAePlib92sjJi6tcncA+678s/BYKFEoTmKY3Jc+QIW1+O/g8MLmxD7G+cNG/5AVQBAEVEM5N3RCsVgl0kCLawEv1CIDhiKMUhWX3j2T91f4asylHDgb0AYuFc5JFBX7dWSSl1UZCQRxXdJhoHCEBzR5HU46U/QEEmeow55nJEPyaYLOB2z0r5WojG4slhKIQHce5vZBceVngqU60R8X6ykePTQEXwCDbrRnR2efeGXdOrIodNaJ/oHzw1dPR3Up2bstF5QBjbAW+9Du486so3RMUe4B/sgn9qpEXSgPvvYpq4E9sLY0GKt5ljP3nfkQkYA3KMAbDKqEcyEPi2hFJPAV/VFG/Ao9BSr/jremctgGc4iglp87MjidRF6ZHCRA11mBomg86fvBRPly5a7bUW9KHcinv4hyvNFy61WWGg8XKwbwAKQDtuDKV06/3QtLFfcCC+mLfFQ5k4zQfD/FViA2wUFuwyV7A15DnS7FK1+Gmd4uNsAzqOefisMbcsZHm2RUfozZ/WcdGd9XI4H6nspuaSLLGMB9WBqHSs99E76y7+u5Z9BvwTENH2s/N2NFc+/kF8/yWnUKypFyho1KQsD3/+j1mpZpDLnRxVujk2v0hbm/7q0Q1CEMAkr+kR02KKsLF2usECqXb0mI+QL439tUvutP081yeY8tMyAjr2XzyS7ONuOvkClz6wJ7LaFsJsKNnpZkyD4MoxsR+TYnUPM/aDPhMMFoU8FtM4stJNQyWRuVpC/LIlkFMJa6tHiRrJ2eS5eYNQonAjVFugI6LSmpKnsAQE/PZw2HpKZGsG+nuaym54VMHbxd/HCMaUFUvQjKGYhqYDdJ0e/GmbdibYOrN0ENO9+QLDnloI6pgA/QFNWF55A1qvVWOjl8vviGS33wRuPvIma6d73pBe85NtP3klAkBroBDhylH+O7GoAhLVCC0taoy3dnhJTwJyfddH/08RBPWGxeSk5spoJxYtMZCocJ2+APkXEkvHxFHaG0LUxrR4ZMJji4nDAc8Livjh4qP2eIzESFytoLMpWFJr9C13T0qmslGyHCrH2VaIsZFfpwSLGjue7OZWJlgD6GnuPjwfRPnaj7UqXf+LudRMQ7+SFBgtDYayuECN8IQyNclLXLlLW6chFX8Bhae8yP4wqBcnuumwU+6sja65uAzioOWgaJzmg2YDYW3wK3NgOmQcx7VO9HzRivxVSG8ADdDlSwxF4NUIJWtnEUgf46TVbSxM3srggGiL58oQ6L0+SWEBJFzgMmPGJx+4RvqmT+R+CmYFlCOBOXkE4EkywxUduXyXuaJSCUCXAKs5B9/XrjYcMZEA8Ny0ODBUVi9IR4EZLDWOmCkK31g/Zht0Apj9sV7nzFW+H42jL/G19eWRRi0RpXEKIYRCtCtAfXiKLzJjSysw0UTZD/AEb2ATZXa1OvnOBWC9TqcCT3LJitnA6zTs/iix5Tamzx3PZScqKvuEi2FD/GhNzkI94egP8SvMcIZrHd1b8f4DI1PGP1VamckNOgofIReQao9/3fBqu9WW9xeM+LzsD1O4+FCcgDM296EqSmB9+qMCHdnnjLRagcjfo7tnwl8D2oJQCd+OfnhLa0OgBGi5pd4Av860MA7nGLDnewefGMgKRAO93lULi+Y559p0rEqMpYofkpvauv5/LdhdXSn0VYzg4qO8eVFseTR1MHDXkTW2gjx8vaQ++UGYWdALQHF3hexPDrcgaaMV8pr/BpdBV5Qxo6BqSgkhTpCFzaWmvmB8XYXiY2U5tYMu3H3FJGgAo0scyqF2dHS/YMA6ZZZe6inlotVZfXnXCpQirCfTU74NKig34FtY7waCCAPgWAyZ/xDzQo4eBdUdW+36GN2yyFRCz/71BtlsvJII89IlKj9EQgIDcrXvYomhYh9OZkNlReFP6aGJdJZR7aqF5KkIZ5T1rYojIPQFce1xaPE61+R0MG7HgSYpciyV0duAus6fLTpzc9VlyyBQlIc4VVd3eXvlI3k6j4gqPDMgmQwRoIXDq79I+tiTlwFiIcre7QwC2TYV5mUr9B9UgYUKO+OOm2IwVYJmd/CMbubCthReI0NnR4lR9J1ScMMgvcO8uPf3jk1OZPfgaBSc1hkxAXFHAAymD+4J+iDoVU2UbCxjP1dgfLHEam+MKJcdKVZ7ZW0tc9ond8easKhezpp+NXzjH5IjIJxlApU1t523x55QduOF9QTWaop1uYCHqSX+HdH8yU4f3CeAzCtQZaVG7s6iMcZ2L9HyLARh67Mi8LOVZy+vhffH8VvYTQO6MwtRREo7aDadJRhApRft4PIwuL9dO6rDe3x7w/fUPJOe6F+4/aQeQ8/Jyrduy57q0yeF3BFhVgf5l1KooibqQrn51YL40DmhF3inPVCIQfbVAVJNjkU3wKC3PehZMaAh5fk/IWuTVeSu0z6MJCGzhRt3MxeRss6JVDHEGG9kYl5gUyOjRvOR3U4g01FFjoOM0qqIHMqgJw4EvEH3jzQIZ1yetWgsO58mJC+K4MUBVc5BkyS2iKbj7+K9JhDk5VcyZxChYKrQzkAFTZZg+0kln6GoBRBtyP329QO7t0zPAV6ecOSpmk7mV+iviP0IcQ5sK2NCM0CIKbKWa799dvJE5YtIMpczk+/UG2WLRH4GXr0mlXnd5fpCa+cLSyuUSEl+26kNWe/hyZdr7ZQPxDmg3UV8ZbHXOiXs7TsxLXjJ6uFhsDnWCqVvL7RX83pFJP/9xejZbkui7TrE/gzn6zvrb2+XE9rrXykaLaqoRfH7l1ktwLkv4H7Jt15oakRgawcPRoieuNq4TX1GYm+lKKNU+d1OANrfb5egEWQF93hpG3fCgTM7XqVDg0Hh7FOmSNEWTJvJra7sKCHRB1vVAYyW6WK6NHacd8Gm2JD9+qyz6SxDB59T429kFQujtf/TIVNtZqxTYT6BEEAOjjR0tSFHVeX2MyTMvvdUBd3jJIWGS1VynXNHhKnsmQmh9jS8azpWqRhr6d6Xy7PySe3fl+1QI/Lx+qLe4ewJV7PQM5L9Np5INRilP/ygFJqe3j6EYFTXNJ64e4egWZjQ0KAlOYLBDrhEgLZgN9k024T8/jMnWj67+EISzEYnb6iqTOeorId9bz6OLBl0sWem8ZEXCdze35NakFj9GathUfauy3iDuPp2FnzcepgAA4I+L3MB8j27QJrkVZFKSEy6GoGngOhkAUbRwUtjmVd0BHsmvIaMrB3YURp48LTeXbr+ge84Om1Ih8kEMm45RnTEmbGHRCMoFXbpmgTUGQSpKsjI1tpmjFelAh5WVJJlXP3YBJlZYQN9lagykdECsmTcLA7jFjJVEly29VqR3BGnjWayGd3vHjSfxeNL1A6KTitPtPvnIXtLCMDIvK9KZT1cQP6gLV29HyDtNOghhp0IZ3b3ZRc1swuiiruI/zenn0Gonh26kPrisNcJJf3s83J4HG+g5fI17znke+65+JXEZI7swZNBXhI20oIRviN+ep0cY08lHdguxGb7z/JemluqILPWoMvDRGkZGkNPuX1AxmQiSQQOo99iB21ibV/24CtAar4GLHp4Z+dKpc78/c+hx4fV1tevROWlFjsJAjKX/Ls+BWWrefN4YLY5zjlhaiKOS3E+3zjBk81cBTipsh3EbMJMVLiIcZ1W6CqILHGmnmU9CU/McGOS0u6/N/J7bmYGaYSAZovwJNtiWu7PpEAguqnMfSVps2SVDlKyU4o9JsfRVHcSFoqQLCsCOwh/T4DROBEllH+YieuGuCcqb3R8aT4Xi1DmS5OuYN7Gz9O/xp2ik04MXm5EKeZsD/xppqTBTXCbjF3hbKa+iOjr5dKhxXo42gtYvpRbv/TUhtGSyYeeVwQxNeYrKA/X554KH2xL6VAlTTSZfrf/xxOFM/fAuyOynFCccCco6dMb/7JkzspD92dDMDhjgSGSE21w6D1y5rGZUwpfp6Gdc0zYVom74gA4PwzipgnpGeptkSgvE94wHw/XtWZkD9u9Dfs0dUMCemMzihSRcGDQ1xAPizJWYSTs65urZENQtsRK47aA23ZZdrS3mg7koH2NWlJPSJvpBEUMZ3JfeGZxFnVs22uz9uvnPM0jKZdX5LHdk0kyyk//9W/H5yPsEAMsX/ov/HqRxXIDXnpicQukVsFzqzPASIKqEq/RO6PDoCIm/fYVU4lQzQ44q2ZQNVb5HRC0qSpdp7Q4h9rHEfkSYo2Xo29oQ8vOOM4s4/uxtXRimNCccRZDZWKe6zF9TAFljltQalKseMjatJC97Fzt6ZeqrpTkNML1FVaLOr+T/xLqyjv+zPnxmBaKVR7HNMPg0T8hgG4vWCDUY3GCE9egFEI4BXj15Eo50tCtbkXiBIfSOHzGHwQpWlQwo4D2R29Ja+MYT93myOjaDrf9TK/EzF8HILeuFvrLSvF0njL98s8QaxT9qEBv/6ipklSe77NU1UZRaaHGZO1I1Teurip86yo9uWyHAhG3viDMu1hEz8GVoLP+hdYOV8GDSeb3+EyA966+vjgqQzNihUFJ4q6U2vqhVewvlmvGEHVah2PORWjq36WZq7jwKMdPqqUPyDRyBOXkrMstD0bn3v6GyClx8uDuJfj2g0/1tMYVoldmp++ecO3mN9J25ZpdgnVS8sfYwTnLyVMMwC5TexDq+W13uhibvj6uG/htI8Q1txALv1HkOZvjj0wg728u/rdtxRbhAidaK0jiKmx1mYeYh4xvW2ZBaqQO8KaI2YmvYLHcmunX+XQwH3K2nh6RX791gdOPpQJERLygdh/SjHB8Gb3w7sSWNh27OlZ1XppYB29fJicY7ECmg1BmL358n6ju0O5DORR2Duois+y278jvjgxVxDlCmiobS2towqvApj1dS/uDZIDK+up3jT/2qas169ePOxwM2T5pY2FoFwllPJ+zC/8Azo9YEOEg5IhlQoTYNTJyr3j/QYZ+6xGN81plR+PLloRdlCSzsYhCaua6BcSEAnQyvKz7s51jWg4+Idp8bMme7YN85DV0IBQZ1BRr3QOpZ1qYeQ17L9uXZrOhHuLrA/SHPFDXln0SDs9b/AU6dBOvQy8t8NacX05+FedvH/6WI6X5Bsvt0V7P2j+vn4UdwMK6TDmq/CN2mRsy0tbuTuQHBwdXAkScINLC3ZHU8/8nlfcb/qIQhzF9tD73vs1T5LGquR6WyfHu036rSJlTeQem5sJS3wHpupJA5HmyGrC4GNF/ZnlYoYec/BQDZlQcWZIC2zc6ZbdSxVEpTxlz5avZYcJNSxXvL8sPllYKxvXJQls/wGMM37YOA1U7BM8jrqYsYHQjuS4IKNuWhzbpcADqvsUZDXZIJFO/hK1wZ/Ll04FGeyV0QFOBIpNFtPwR6sYTTEV2l2KQiIy7ocbt/2yEcmPuRlT2IMEha4GjT09Hbj6w3YFf0CIj+GhkzHg0wqG0kvnPPwsxmhQONYg4sipD8r1HOUDrYjumEAydhVwFrr6eCcaZCd0CrxrBTrZM12GIZh0oYrgudDcM5j6HxuIYCWs0NKhDrVAGGeMqiQhDluFbsYuDi2ORWFzHwP7ScDnHeWb6fV2Pp2mCY38uGj/RFEPFkEZhyTir1/03k/D3Uq/wL3T/CVWIriaVFUi+PuChQjAJJdU0kAefdDSf8vhu8iBB+dEcBBC0F3E6vHjTlcUdUMZCZCRGP/cs6k+yV1EJO1jDjQNZfneTsuAYanV5iKW6SiIZHe/vy4AaCJ3BlWZRCI1oxQucqbgIHys/RII1B3VXySaiLax6ub6jE2z6kRyQAx3kR8h5AKoaCGlUfWgMy6aoY3DYCf18gU1U3Xywlom6TDNIGkanzG11yIInNT+x1WmrIiq8unkqKbsPZnh2DTay2eRgz16YPyBmKGcESZB4U71fh2lwnOn4c9UuMQc3s5MxdLP/Bl6KMQcNCmDqpZGdXYBq93YX4WWd+EPMqns0wyi0nU63XcPywzKCsNJ+vO9d7py1lVYVJ+i5kJs21RZll86o95iYX4OGZ4g+13bu8BXyfwXpphR5EnRPwtMqjxW0TeH6wV5qsJp6K9B+OqgB/Pgvo0rTR36Tq2Kt3ymzs32J78AEpEnNs2VtZzDlzdfdbjlFa7knIemElHMEFX6GyP61O91tsQaVC4t3YOt/dW6L8RwYsDSYwuqU6PuLkDZaVZuxHj6gKhVULK+PJtSGdUe+5/aD+Fq/jIZuhX1vOPSFCTSK3TyQeouk9jdNfAaXILZALZCcDJ19oNYK9pSVHo3l42zn6toTs6ZLxRSStTT0DX0CHwhqJSwg2B67P6ZPNHZh+NvPQwJDmF7rXOnJHKA8ejCSA++7gLqXEv9Kq2yH/pGOvbKf70J+F9C8c86yM08Zpb8bpyhXElJKo+sO5mZ6rBvSQ0uDuBR/TZaVOcehO5KaTTKI2RarYTWMPksygcXtAiCraWLVv8JfxcsklLFmjh/NT2UTCpNgPkAqOaiyw57M5VvjdN7l5Aux+Pt07pYBKoEu/np3JId4upukMSmTbc7TsXNmmys4EY8TYD7mD+qbBtlkYLYEzy8c3S2ui7lIrig9FfG/lLsIdkHD73XeTH4zdvc+kBKBr+se6/M3l4/4W9rdRTTdXcD2aHFAATJKnnMpE/eH9D4U5NoCSAceDnkEYpFdDxk3JTkls8xbXwFmuxqWzgBEKRfkz0VgySPhOhW1bD0piOqK5+Q7pjKoQOAo09F0tsY/kkN1DfX+NlHsjQM7leC/uacI+p5yHYY6xAauTPC4MtsGgRvkwWEUI+JXLxMHBfNX9I7xmLAJSKzKhPJ5CXG3jPnaGoVlfrC5ZU+MtsNSM5DQuBLf5BiPU6QX6LT88jd32CkdBEPo5zcNAicuQAzamkZU0BLNO79ify8B8jcTvM5FaBzlaZXaTxeK3k3cQxdGtCHKv1+o7+0YH1bFgONt5rUIKW8ZaBNKto1WngSgpxmi/Agt6kiwE8a3CFBUb7UtaSsiotJpBkXc0R61nQmRRwdvY1u+O5FacV1YcZY0aAUe1WEkuelSF4kxhgaS57eT/ogw6L3LOt4Gq6/Wve0i4PcWJjfmrNaOLBbhPnoVOaK7qy7P3sLc6pc4UEBwqbbsjUDHdgXr5q6WAqR8HxqgNi2bSFQXCqlVQTViBk7vtFKrjPyp3TSiW7Wnwox+4ev2L7VHVB1dxW4KBn4ULya9bVzXFYWSVyF/WKhfXET31dYyFqS/D798g04ahBC05AbyNUhnKSLPWxpC8OuC5NOnMMFzofiVf3qmVUcZbmJ6fPsFGy9QX2DM4FpNTFIAFeBi/kXstETbJ/sEH9ME3FyJAl28O/j6YV0hwqvDu5PZQ8HhRGYVWT6JT6MJ8/nnJTUb/yOWwe/hl3F8ys0DHef/MLql074YXWb43Ur4Ka5uO/7HfaN1gh/UqY7UndfoXHbgNkH0A3d0IcgOLsPBdljf0REw2449nvR7YMWuFTIOkp3e94r12wXp1ngmEf2EmSNUOz3XqZv+winnVvcs709RSUdMwVs98NMSW2anxbriCrOKCwJ/6pi090aHi/ewkZgvA6JV8iajrvcjJ1LHUaG7zqfsjlqGREeJwBGiH8HR1njHsNAuD1WuYtr6M/EsrZuIlqHH+znogKRbzoORMYSUTnG7PG8g5cwq8qqaYq1UgCatpe7cWF/sUFYCgmGv+gdWfbIoUyTVYHxbF5lMxj0VgNBnDcjykdsofOxq0wWj0bsUSz6kl5nEJYQlfsLJotNdq9dR+sooqY9iweoBaDVXAlqruVgddpHPf4cXxKyXkUzCjYV3OdPF/ONk4hp0srNH+TwVzmtnRWgy7Fzatf2QhLHFnAL4sRTiFK5frZBDVYdbz89i2OYxwr1/M2TyXhfjAh7wkt/XO0hcTIf85C8EJ6eXkxu6RHIg3OpL6uslquWXELx2bGC3R7Yi6NVZL93rTHbAjgRYBMJdjaxmvoXgooMZ0mrRIs+IfEILnPpqEGEm23laqoxk+mG7bu0aliCWzsbjgSLU1lOTi8OB9BIoO/40ol0zeOFbXlgOl4W56wPo2CWQDVGuL4B/qw7aUMWwuAfWApsHw/k9Ts+AAXgztd/z7PbavRPJeekaOU2Af4vPoOHPp94BSjuUoWf8xLT/z1aRkilWtNYDA593xLSbCQjzyi6NjyX1/SDUMresTnUDXfoRdmRePhI7Gv6k5HjRXolXLUxINpahyx/gxUz3RGhr2azdn9g2sm1wgnAz+hx9i3DlzLRyc/ZHdQK3BB1nYD1wbK8Y4wLZyAlqfbsoN7ECbkD53gKrx02JOv2xhShyI+NOXfMDUGADGldhTJuVIXI+HtqKgExB3QYl4jcCRiWAA8Xtus5YWPu9Q/G/VEK2dhffGpKR2Txez9vDVYelAlwetgo93uajS29gqdsEVRfhElqYvFL5G0tGg4+hd3Jx/Bq7X2PRx/5TjABw/vEsHfYwEV04oxq4U/8uaOMzh7mc4kS38PFEG6Etf9he7f32853ONiFqhVhAbA0p4tOC6LnpHEdKGmc6SlMAqfcJ/77QsHmutsoBCBg0WiFwsT1w/lsIcFI+mIPGnuw7W6HlrYOt8nsUC+V8it3aUzGln8WqTpWVRjgTgT3MOBNSGJyZxCeBbY1HpJSm1odk9J5oBoe6rn4i3spq8qQrmxAH7Oz7uVuNYDvAFfwP8K1DMph+Hs/EVePHeg+v+C9c9IzUCC0jEJT8ALptnS7/d50mqn5hfgaxft0qN2NAT8f99l6Tv8OE4K5W4PLPeHZ61wUfA/YCIsFpeltKlXjN1lpliC7WjP1p7zmIG1I7ErwD//MaFGCZPfe1MtzH3DRJ+bC/MjtiXf2czLlevIF3LLPOtkIS1MbJojYIuaSvgjVNVyuz5ab5uYBEtUXbNXf0JiXKB7QI9HF7MdwHQbTDPbRywbsQ8epukojxP9UIdrtOSlgRe0j4jMsvU4U2EPnVrXOvW8vJVVk0JCQ4awkhBLETfYVwqDlFMCkui0164q/c8BUMUkNNMs7SCeRqRCVNANQ0/f8cdGFZvACjfT8YuKLpsUnswTZyl4wP722gSGTYWgRVybQGkvF+AxJmcVRxLBP3ltlr7/QjR5yzVP2VdeSzks7c8BRe2wqwntwMIBsL6dbEMpfFiowTZpdueJBG+w1ZdNDsQq1Pr52287CMfnkH/mElVVGx0XSb2Mgr+YgjPi4hrRAJ9jUstJz1QMleYQzKfKQpoOG9UWwqtxvfIYlCBxzYXFtsdCaqU87lBsvDJe2O+UvF2CJu+O6GUB/yQjHHR4UHzEyOfVYkECuQ/vYRIxzhDuVeGvmuNOtL1X9cBbvaae/3rgTcBJ/eh0Q9giIWjcXwmRGcvwklD5CudojueByeM6w/DVfTUnoIvw9mbqy7wFk3NxKmYLFac7EBBEbOJq7PcrXK6CzH/b0HYBVfuITSDQOYwq/r9q8VZWL+HZWKHOJVIvLYWxvCYIg+/HkY5affvawq+uxorw9uQKkJYCEUHwX747JhT4IsgUUnZeVP/xUzZIZwV0W3vh/vQhv9YRTt6nwrurGOd0h7dcb7q2g0YXrXJ1JPdkO6TF2w1hbV7Yx2f8aEeb8Dm6J0rNNoO9qQJIntGfHUmgOG90K+LIoy6+RMDKPUnPPbcGIwS2wGGBrjQlZSl8RL5WuO8saai6YvZLKveB0w+KkB6FkcT4T5B0U3hi2JgPTqkfGd0OLpqAv+c4P6HEjgnWhGzz3Ei5lhupY14S1J7dHm04NcQrKg02FjYOJJPoFdXc4rvG5TD1Qi1+3LegcEOp6cwI7dFkFEje08rE3BdCfYHwW+oXkFWm+5NF7qnvhU7PpFTOkuD4uHQJSIN1EC+eCT9w3FL2BR9A7M4/9MCK1KuKfc7yzaNC/rb2+E6C1ttPOT6peqSjL8f0LITWONnBsyP/v1GvIml5iPyvhScpJuUnDauIvh9LXW4xXbSfoRQ2CbU4Z/XterTnFxojCAboMI70s6duAN++Ar4o12Hv4op0KOvCUwVYgOnpyFTbf0AK03guVO1hBl9KOHwfb+XSP5PW8VgnU0N5hXdUrSMtliMUIYb0464u8VKy5wlxXOqnwaU2+tkbvIMlGbQ7gDQXtVqbJSlOnzJuA5dYcaWPUo3rd7CADZ3nWBoYbKs4IAIQhMlj9vOCWpTnRPvjNRcMZia4sI/0asTJhkCOv7LdKqwt21RXzWvatk4adW95YVzBrLsLhu5H3NUJdHxvb7SQnXxmJTEiEH0DSLAoeqEuK0MgjwJ0wmqTb+mRtGgXLQJwFXI3gb3sk8Bp59LWv4CukX5KSuDISI5/PW7fZ5c2RjCwmcBvvwTKKD4xJO8RS1kFGaBgtqk4qd+pv68MlOXSR8B/3q09qT2pd/pOljGTXIQ2JwLZWzsGh8Rwsb7obEvmnyQUiAf/xivM9/YF6d1cyxexu08L3PF4TOCzLbSdnU4joq7lIH+4S0nICZiHHApZkcNczm1RLuXFUwOaD/cP+37fXDgXX80HHO71dueSSQ7IpuKrbIkKfEwaH1VgOLIClhxDii/4uY8xELF4o8zoq8mt9oZJ/LuT8PAl8qEX0Ma9+tsiONnoyTPleAzZQgLZfSuxBbG7CTHxLO4rW78ElsvsU6o0X47aTMad9DW5iGwNBBEYD4fPZoAOfMao5PQGfJOQhuhtMiT5FlQNkOLfbTpzwjatQJRKTf0i8gimdsTFnnS3fqAkgZWy68S1+H9HEabLHtOt0EV5Z7oR85IUfWrr+6r2yKHUOagfs+gl06l56IorIrgk0QuEDjp2SdLGXt68p2+Vhj5qrPoGTSxke6Uz/HvqLcVa4Pj6rSH7IyvndJH5Ept/RHNlv6Z+ywLJDWbubGm7k1qPGzGB4PiQ5iOpKWhHz9EwF84yA5TMA1Es4QQuZoSfrc1KZlnaEc0qDtPID+NepjGN9ztpp3aF/KkJyN1Ly/FY6V7RwPFl9wSJdZ7zhzsnn8RDz9ssJ0TzwjRYWjwBbiixdGT6aUnolFQK0T3GPQk6TOM4phkdaK/DmAlTTVjizczlvYH8mUmgo2ULzJI2Kc17lwts/JZKVTHAf0QoMF+hsa6gWHrHA+fQ0DfVPI8jUcpBZsA7YH4qVbBN51JFjfi+xOfguF/Ude7fcVJNdJJOBiPJDyXXo2QpO03dSE6ODoNe9Izyi1FKbwkz54uNzbER6NFKXji9ChVV27hzTXIPHfpwcH3ZTYYNDZUB8fljDTFcU45u5MlrhVzMPEoSf+ok57fB8ktBEeVfgzu9FrZpKRes7WEtpU7FL0El6VdD3nLv2dJqj3swB/0enubgdG8gBFwdsVo2nFx/TFq4HqwWn2+9IqPc5XOOU/0vGn0dDp0ivgDf79v1s9nJ9eh6dw9aA9JHz0dSN1V0SomgQuAs7cikkuiocQ3KeIzVws+roweVY5aOXWKFouxOd3GnQi74abHOw2VgG0nUDDeKYnFx6ae/V/LuxC4ZsWlWxPAmFYB2e/9vD+c78f/VBKRdNooO3Q2GI3D7Zf37PRBB+q7QFmzoQz34RDZlnUl7uiT2amPgkaz+7erDn2Kpr8rQXThwM5pGitNBzFUxSDDmIasHfjsyk7/MFCwp3IICbpa7ItXo83e/mZhGE2T4mkAJEvh/Sr/X0gVp6EHsa/PMHX3OHoVCXgd+unuQiA95cL2tUXBaSbvzhjNq4S9QtAPD5lSPRvk7zeULGZSX3sopGXN/b2KgSeoL+JwlBRXY9Mq0Ku43fBJsc8eYKn2Rpy/S5ly5gw8Q7zPZDIq/V30+ldYRa8zb/MtfV4s4eJl9BEAqCj4l1Jq7DYN9LXADhd04akv4xr2omd7Nm18efI/V7lDqUqxmCl/pAAGUsuPAuCqnMJoSW8hb2zfDD5qTNyI/rRKWy3v3O2tb4XZsIqhQXarzrOaaFhebdU9q3/ayk9+hiciMLyKyCj0yIlTivblztsA9NR10WD6OLEIRQTNe5iWRFkiC6IYyqQC+kbbOfAaGfVOy2u9BMXpWd9mIAx3XMV3/upf2qf8b1ukuGZuB3eA36yX1OSxoF8pR5VbXuS+tsQ2z4GiVSPtdGpTZWmN3D7UX06UHkDV8Diye8hZW0P//wvWsM0j7QnecJqIdda5MMvwPMGIhXk3YSfmcvuiUQ+RCNoiQ21Mvpl6LZfc3l0VIZUYXy7y/XD1LGpmvcZ3AXzaiTQq3dF5qjVB+nogUEeD+OsWbwvv78G2faxjSW+480r6e+nYy34p1bLOfst2ZIw0QYb+8WKu183WAgUQuFKgWYGKdT4gY66mll+gMz/o4H86HDOWlwBqPJZLfS0JH+BptGo2JY7P2wtp746+pON7TibzjDSJ9CIH9s2RFtzdOK9Lr758pOFv5rp1fSceY1RIJ9uw/Rwi4ksQc0pGsmIlGu5Nhq0iolYD6ipUXuV4zDjC+RTgkemuXDwrb0m2KZBallwHbziPBbNHKsJATFGCu3HxlXj1rfGCxVujRp0nfOhk6zmBiiTvlol4MGpg80njeyflIusSUl/1ms4G+bLY6cEOuomdfSLm31U0Io7kC0zsq2b+6neJgZx4B66qzdya7bWlsPoG3lSDkSI771FCmxFCEWgl6piYXZ5FqWfDagXitAWVi9ybhB/mcsHx++h0bupme9MjRmIM8bgU5iu8Grls4g2CCZ4msUSRR/Xq0rsV+QEA9rre8ZPRoDEvfizbjHrSz5Z9DEdaJgAO7xjOseRRDKicCjS+JcCoZfFL2GR8Ehm4VUCkk60niW/D+5C/+5KC+igGhUsJcayshxkZ45i5cl4GIaxzmifbZnrukupmWSPbdpwLET6Tx9JVWcsi5N7jBe9wpDBy60eyrbLaP0qdo3JWdIOrU5UwqF+Whh+T/WQIJN4jDDiRK5NtMJYgfhE6AHHqvzJuaHI2V8pa/SPdwy+M+NTCaHkxE3flqz8xE4xhKK9e1OqPqSLJLUviZLwjWSkDxPVzeU0IU4Oj7jIbUjwd2HvNlSJUZhJC+0Npj2iN5g8/ttVlNhqcGuS/M0iKCa8gmLKPB3drlt5TYQcOHqMPD1m+ioxveAxxTv+LlBRjLF0MknBwoaGGFXyGephQnznxQqh9IgFCAsTRM+S8N3gbN26a+rr4rsXChLuwY7ZNaI7ApZ/FDaysTqzaaNrjiLComo4mSldpxoJwMzwSMobtOIxFnD1EVHXDsIg3Qkc0dQtHK4BYX+25KPlgSf4Nh8sxQ7jmcVibp+p40FasEocPWFIN1zrR/qFHBW8nJuFy3bm+sgjwt6LUZrhM/2YaE9Sr5vI8U2lllwBmkuFNyrHjRXEEObY9IbJ0UoVeH96ZvAmryEVLhm7oSSPHyuLArm+6i3IPo7oa4XixsDwn3rHOJxXp1MfOPGy1j1REr04QdpVTFyeK2gB798UrMFMNq+WK99v6QgLnwDA5aPZzVYxHIXMa3lcleb3U6pJfkBruT6vJ6vSBwlJo43kAM4wfHtGl5Imrjag5Jy2YeSARsm+BlonkXFaeZ9MM8SCsJ6EGHuwNQ/rpAyVOkLsHsfs5zjgjJGDi68QbNu5IHqjdB6cfnAu6S7sUph+lZzCfjIO2B+rXqhklxaQcW2vl9lZyiTOlGl7Tp7snI4QF5TQCcNzpPQRJRDEFn9d2f+7Ck1bQLGCirY/eipbsv7J/MFNlnFLut5KJDcBQYE+Q16Lr1Dvl1EW/v4tZ4UcuBjniGB+vnWvk/wxYfZ91iq75enBCekoPnD7a+iV7GwcnhKS3+2z4xsJ98eUj/cbejx0c4NOoDnRR24sw8lkzHY4L7Uu09KmFpO6nFaFYY2a2lAZ1DD3ejr6hTjBZmEeGPsWrkzT4O9US7nD7fSF+oZKc2w4i0Fb0+OICNceqcbzoQ2B88/Zepvtuft/iysDkcEwbE3Mg9kiv/zrbk5aDdEFrf6Oh+r3mtD6DMS2GBnuZatNDaHjWL1+a5SSycNMcl+iEvE14mJtalGmtC5Csdn4LjlwALbVdY1Wg53YA7dfM0nMj1UEz1fx3uHrCLlbAk5UUjrK88am4pCaCx0W709xQxYKfvJDmzpTVI0sGkv1zfJ/ubFGMDS4eK3RZZorjKMw/VMfTXf3CBuArZRsCA/wG65HMTvGHWeXnZtwRr/fe5VhTNQJDs492QKD4BQNz+HIIUT0gBAbBdv6UvEI4dVGOFFMQmCJkqUlYxJF2Lq/Tf4VBk4F/yq8Kfrenkuw/vLZYCYJlBUziBsp2pcKCDkRjGni0de7KQPUhysXOUeBOAZkIuLsiDsa56BodLRIcKgVusAm1FzAzwv1pTRsV+usockLrvbc14mTS+dZQmHdf7aAnQun3F86oxKPr55ObL2Tn5o9wSq36P7ecUW7gsE0sxGdDsTy1ScIHTD52efqrEYsi5/hhwnAbeouYOUr3Wo7LxKvnZoiRY9rcwaPwxFHeNmZBEnHJVzwp5BTcX6aoFEnujYKcqX2iI3be8dX+rBUJd0ARJ1MU/sZSKJ5LfPG8q+u9RF3lgMOO54gjVIK13Jfs7wioY5HW1jkurGYnDN0lcfbdJtpLBHTATyOyELsxF91XWplQMkLyGcY0tqBMt4hyZQnV5yYbCc0S/VLzvxqXOTTOO0K+pm4mnM0eaesOszJEtGqKrI00klEKXh1MBDZCI8SPN0nwtVLkdyKW28jD4VWS6B4lLvnpsxsblhmMeXhmvDEr2KhLBZVmAKV8HcONqDBpLaDSeOnwT9/Bn3fo6uQ6T9npoxKLvsDX7DH7GN8XWUT0K9Cy1xTVJEeakzYR6GdcpkhrjvL/SXZBwNiOjHlOqpSOCBhQQLeBX6ORux9WW+YB5xo4A8qAtBSiVEkYt0eKwD6WbChHzeWhLCkPZwhLJekdkbX47XzvSAugG3bl3J2FMPgU79aTMGasiyiKGlU+g09IrG5mnkSAlNLGeJIutXiuZm86vdBMRqGYGehkp4TfwQ3oo2fjqkgTHni7z1FfMXaRBcd9lPGiQ75MPCKrIA3h0lJNeWldFZg59W7Fcy5/UsL28HOWvb0VUqDtFLlryGPGmV6sgH4Me1FBvPOKw2sv5wUfMM6ZC/nhZUTNgU03gFDzVsT1j5CBZP2hbYvBTDRsNdxV4gTQl6fl9qS1nXBczzYR7W5vthBcRCxGL6DXjle1IQkxT5MXMBtnyA5uiWCJ1aMw4IY4MfFMNItVqoznoTJH9xqCWaIHkvd4dVl6dPUmLVKcMskZ5IhnUUz1YhtVEPujnD52ARShFMOXdRXixFce4LkdB/a0WBEFMA9pXsFzrQQ8oiQm5pjc8CfO2X4LXMW8uqd+08lPpzSaYPnGibENQ60TU8QT/8+l5hYeCmLARbmxyPa6XSL9QmIqiGIwKFK/EL9N8bqU+bsG6G+uLxe63e8jV8Yv7NVGwS5lU1UyiGTAObWleskLyCaUm3UlxL6M/Zetr3+VzgKsZo3fjGIAmAOiYLhLdAEvwDKV1I2M28eicBwPeiBahK25qLurUWlVgInIJKUb1SIE9F+ipxWjTXM7oFy4Xv2HU5RuhgxuB73V9tsoNMSQ8Maymamfurruv4Nib121HZ29W6rC2QeJsiqEaTzTIsP25C7NKYGaf4mkiER3tZzuedz7max4RkqmwaB/5ouxMGx4LSjwuhrgM7TlqzimHuFzcFg8OYfvmJxQ4hPT5eg/fVQg185n0X4zJJB5d2Q2nawRyAtFfIHsrwCNRdIC8MLxzh5YXeYiX7hiX9MNq3ZC9nU93knkESuVgQWHRQVczA+SWbpIsEW+eo5ENgTvfq1OKPnBR8Cvhdhmq9Jz0LaLFJuCwoqBr0j8H4uN2JDD5pgAc72ibxkKkVzADwJrL1TH0g0JKUyXFd9hrTSYDuaoAnxoV9CwznTXVNKpCNIMsZ5I0MBs2H09lhZLmJRKv7mXeNy4SbNnGUFcQtoUC3Q7SsWidqQyvKTJftkormozkcxeC8qsmWnDbYT7kvNBfiDTN6Jgok8dxmE5UYkdWOOOWd8MUyeZX6eRPkD6YYjDJ6Kg1knCmL1LXhoH4/o9+FM+g9kI0S2XcFtMXYriQqRSKJO6zxlAFN49YydPrORQ0sQqRSbwP2RS2pNYTh9LpE2uP/2UKp5CxXeBv4p8vWIPmokAYjMtaPiWK6hdnTmiqzc1F/3pOfpAGDQLGpbMAGkLK7pdEyFFPQh5U/NkeHpbGJSdlC8svil/TWWwWQOr4NC1SZofUj9ol54goG1Udm5Bd18sShW7vKIwKnpJJ+pgFN6y8lgnBBFWvFfnVcfqVJa8riwLOjmH1eSSeOKDdwGOUhLHRylKCPo/kjkfFfYKbpeKoazwldOMcmRjxLdHqbkHLPPu+bhdZu6LK1UzCZG8wTi4g3JfwjFCR4n6ITtgu+tCljlYWuuscpKRSleqG6BEngQWkTwL6wBaFddeQL8efXYcCVhFt2KJVp372DnG02f1/Ir6s3g6oV2qdjtXd9n5kmuydCHrVLqHC6bERGnSxV1esz5EeUBXEK+298O2Kh0df3kDod8asNy40hwzG57ihiK5zjiQBZ41foSQ8Nt2OXrNj8Z6jZbMc6TQjhcZPW79+RxQZjR8lKJfcq67FOsdTaqY+RQFFJ9glDsJ+SbvdP1AdMRS7lV1d6zeygeUGLt82KO9p5R6GV0xEyNJ1Z6zSePYEABP+yIy9ZMtx+8cFyHJgxYQSrWJNMQClWf89EZFs6t3r9oS/MeNrNY+A2pkBep2+wY588+v/y6YJZD00nZMz+NL0xKV4/t1P+Usic7Zcoi44hAwgzZvi9oED411fblcC7m5eWcAGtQiSgcMnePadxbEEeuzPxveX/5WK8UjPsRNsfJXQivnAQvEXAhJZfOMTc8sJvt/hw3NcItVgDOmGT1z34RkqIH2/afYBBZgixaMToj74a0rzbrTRBdEPv6FyeMJc3xMIn+ZiM5Yi9Y94EEx/ZrVkq/YeBGhdMvu/5HrvZxm1fcEm4taoCwhVrV2krLqoGogbI03BvdR7JhsCs7bxxuQMn2Jhu2GNgqDBs8QK2j5p5mAmU1E59MhP+Rq3eaiD6fOWos1cLlZ61Vgu6g2qsCBK49dif1QuHEUSegZQZ5dhDNTZxF/4uUzMV3VfuK+w5270L3vBKPusOHG0DF7OVU0alXHIHxydJ3rP/h03pXOaP32LkhePmb+dz34Y4j3jNDtTDiaDbQP4BnvCHTqLbPWw8H9ahSa8ZujITTZTgY6xbcWz2XRp15ovqpO189Z5Ta/39KastaLCKvzIVXnRMeCYmXQYlwcw83dHVdhP0rieM0tr8B5re1V3ig1JE2gxfiECAAQmCHJlGTB5wQqXVEKjE8OeTeZnaotQevXGLo/DcLX60Fzd86jMck1SY6ke+r4335d4QX/slEpAKcne0kDkdJpjXgTOKglrQN0iZn9KzMrxYkwTa1gmG1/2L0cu+zWTyYEfvC+Zh9swJBdTFpue4+iYkpswLE3QvrtVnIR/ditMuA/hboHx8N5yg/iE4tQfdLppm6cxpr8NyRibN2sKo3vx4DRxbngfsrkoEDC9SiyNPSBy99ANWbKxDqfSNC+cxzLl/zW1JCrtSuokqROTfa3n7/df2/AbKiMxYa4gQCRrrttMROihZnQkl93nMyTY5BUupgpbWqqPMhOUnEiM9CzAPkbkqwVm71mtA+klMaCwBtUtpsBaGOgdjVregHXRSub9g9/0BmrknbvdHWmyuhtR6YhAM4bWNn84IRuhv71PF+rqaxmn1fVZAtHnJ5svD/uTxnYglCNcpikr7nu4X+bRJHXluCSbErJtM/W6i7U1QXiYkvbBE09UU96c4SXYMEnTEavlPneCkWxA6VaI9ETjzQohCRvFJ9E9Q1pldCBtv9yL7R8CBlUNqZx2PMN9po8F0x/lXAeSxBoiupKZLssWsVRcqqhfUIUr/Q2w3GYmkyJSyj9L8f1G64uQrmKNnNNXyRERJi7CrXYBUyoM0me6WyGuqT5s/gfD8kqDh5hB1hXHrhbU0RTaah3huZVEqp9sVzExnjao0Lr1DxuVuqrjQrPtldQGWfbvm8JCjVfv+dgJfkfZWb8XsSqo/IM16dEIXCHtNdxle7KpNOPvrbDdUHe5vV1zDuflsF2oX3eEUj0kz9h1yghEykCMFO8m/8Uslv4hui3zUTiv0g3QBo8w+vZQBLbdraS0xFAXYI50wIyhmIBdtLdOTVXyWJHsxhUKOjnjgTdqgehgUHTdKgVroU4HRNBSRHY/PGBlBYUYhfTvXLoGmeqvryFO+6nrhZZLKdbTCv3xFe29h17HRzaQdfBM8a3qiPPBtYDzCMPW3C3QdvCYr7/ZxbpXI/BHkV7PJXaK/zWGfGk8jr0UjIKZQdEEisWnIaWA6SBFR8kmPn2i2mCPIXr6CQIL+pLtuiLQFx1Q+viwHFBNNWNSi5utnCP5z85ge0WV1SLIpyEy2I8x8Xd9tXwHh0NUQzE4vSJSH/Lm8RUTturLpdskleMZ6UQEZQcA6/rqyipas3ozgdv9CauqOt10pFlr3BM8AygsVNEQeco3MsiaWbSld/Pdjh+lc+b8qu46VTtxL6cd0NoG1kznIN/1wCswKPFyDA+dJ2y3mP6wiBqH39kYeY6/jl8soUPnIeXsTkZYORW9Dk+PAvAqBPPyrZmLTwKDw6Wayn/00lKkf0D3mcGGf21AU+K4dSiei5gqqjEfx1X/XHxantMhVjFQl49sxnl/2kzSiiBRD2DdZUBarK3BXYKCLyYdxveDe8S8qcJ1vj0HtxfeML4iEQkJq/+X2bgzsK4WlPBYHL/xN0EuIorAaXaXpcJGQsxa/BM38sdk05PeqcrFIIUVC8vQsgNEngbsSvSYt2GFPbQdwR2MdkllGwyoPaq1ABSe4V0Da4syo4VZITOvc5tZbhVMhoM/k1MNI4S5OiGG4oHcAG8KUcHRq7sl5oPr6O/zh1niewk5c5WBJRSLRO5biu0GDQm46OTA2lsMJrKi5xeh4EmQ92wZ68Z988Y1o91j/ipuaZ0GPDByu4XHO3/j85NyWG/ebsD4cq7/dw2KKQtZTRRyY1NZoLG5DUWky7DSR5/kqaCe3ID0DE7oeUrRMQO54Sqd0ZVSEQMS8cO7wlSqqrpssTGfqqd8LeR05EQgdnJWXdAEDXNu6qmSkPaDZvQR9nRLNCBkqwJHaY2tvltgNgiSCSd7Cftrp/t5yltRKcKwdD8DgSrN+yNDPfmJXQepUObBP55uO8obICqK9ZrFYnSkui0epv0nhPQ7WoDPbHsRpWKubXmD55XT9KsPhxiMLGE4Hd6m1opz/6li7RB7t/u3KdffgMtiDzewIgK8yRdgVpJ7i/dahC1Bokzjy2pSi7ewUpzmm6An+mL87YALMRKPMkBKRu9Z4KR4anOxBl6JoiofQEs9m+B2Ges/7cnmoNGrcbNWcZD/qYjGtNaAInqUbEMA14NZRz5z2tXNvmAIEsKDKdi68v5uJ9MaUKXJCPMhr3aocCE9itxZlkhp1vJZqHvRvoOHROQjBQ6Rka5DdvnoaWJiAzDvtqNOp9M7Kxp98yyjbIVMtvwhCmZW/48dh04ef4F9KB8RWE+MNI/YkPx1vLJ7bnmkIJzpewvzevAYAVvoM7Fce/3EinXQKJA+vHymnwGBN5zRae96/96tTKgyQL+L45NRTZO26+yDB+Pt4rEh/mNKijYjVmEQ29U7YAXTdI95VNaP66yR2uygEVIrqEjo36WKS9GXFOciuV2Nsr4exSqOLqL9caERrzbN1sRGgESta4Tql5EbiJlSoVDYnxmYTq27/LXxa1IZ8+9hipG+csF6qShnla6HgZQjWX9GTTIfz7CBNwGd+5qTTjdiTH0eBI4urHZf0Rh1baVHphzd8uux9wBgVK3mmAoaU1ipH1XgwCZAesDtCaeFJYjtk+/CW3uJyQTzFpfJKR767I20fGwpDvHezybCgv69jt4ZLL1btktb22H9NLcQ3j12lIZVKIhfp2uvgkgJTE8ogsgZmtXjEnvTuZPhM7s9KO1dDow22y3gc6ArQORf+S16utPoxUm45LvMjoBiw/cz6oEmjG3xajK2YjpjkGvRDcg91szH/d1HR+zrb1MZHYjM28FK3QWDK77TSHXrghOnyoOVCcMgng1a8TgHDJ4mTbWUUHft5jlE7fSFEZdIEhWFXRSi1g/HhrPjecNleOZFNhS66K0XSG+MY+lHKA0y8yYW+eT0Hqj1eV2ZZ5HwJRysh1FLjTu9hIT2paxzrJF2Wg5Ak+EDKrFOfY3J12ITJqsQ+0zYtl1x5K386raIU04aHxQEFKAsv/EfEwh37bNK+9G2VCGugoaf0kLp7iO4V1mdeh4BTtlhAQxqlnFWWe7t/mtFAtuGAb9OlOix8rXMhOCBYOvkCI2kNnmiaYbnzCBfdwogauGe0LDs3rNJacEGVcM7uXKvmZ7ijARyfI1kFRXeM0kbKKyoz8WMsNwBUBnNw1gI9SEI+cA/i0O+jP3sRuQs9iv+bikEk3Cnnwx3rPmjgZmW/QWyI1BOhXEFDziUI8sS9oBQsna7Z9axYuS7EmTf/EMU/VtQmnb/7ublb2TTeVD3JhR+rFf4cU5H9w8Tx0ldnDmk3uEdKtM7bqG6GboCl/bSTUkG8eBVEW0hfBkqU0j341pfLvRrLw90Pfgrg+7HQ9wixLiMdMjDPqf5yGWzFoTc9HWINKk118VMwRZATh4/RsgkncthG6k+P5aMJ8aTsIbUSbchSKs/5sjp4/ZoFoGXl13yg/FOtN1AIi23qEahix652G52D87zRHV6h4ALL5rO2VK5cQFqUUL0OLZ4II7qAGmJ9Gweqql24VARvSDvCYasYoTeRsCSPqofRB1Xu6bOm88abBn9UZcvOuqAdvFIYxdltbxIuGel19ratkyBRHyI2Hl7OEw3502KD3vTIa5J2/tqMxjDXEK3QmWaDehlhamameyyZS9bKIqbjfm1aZ/WGKN5b0FKhNppNptHcF9HjzMo6k/r1uOtibcJsN+y3Egdp0y2tgIkBLudBUAfGtCGvgysk29xYiGKaN8DS5zs43xT4hqfgcsFPvEaMBM+ilvwjUgk8XFxF5MGHzIeLrlUlESCgWR1RWLvucLwhPkKyhl8qf/K3fkc7AAsBVdI7J7puugXYDDspVBjNLkv/ggeK93pnu907UhDQCEB70+E9ZTK5mHnFjAm6a/HAFwvNHmikQ2nlAEZ5/XC2JkuUrtL3nwIuq+nH8gIg20nHx7ir2wi2noyEDVa3CBzt6pBmCr1AHOCKXauhC8dDFKLx4Hbmc3TIii+Y0t8XFd35JFeiqeOpIwJhblU0uXorpNkXe+nXtYSLaGcL6hCH8TCso7rvN2tBcG+YrCgMHiecTvqEJGcFJSO+OU68d6sb6mSM2YfXpFsFBDRld0neRENrcsr1TPGXHzbwig12WZo1W5WuEXq0pOl2Nj5ecvY/UobD+SOCYFANKQgE/ykdUvn6R+1JW/je0iPy9+B685eNaXE2r/KKnL2c65G+1QjRB1jXI8vcsWaAmCZUcYy7XTQy98SRhfm12ZZiFxLO0ptO4WYWdRcBBeMyg6cMK8MFfvGjCl22yTkJ/nouqC9OHLujrNILtQ6a3UDlM5gctlXagpd+1t1c5QgJcXQHSCa755lpktL6sgbTN65aQs5xRqnAu5vvVn+/+Li+zvDn0MuOUKRpOBrxt9fvSQilbDz3XR5ZfDOQi7F9ifVKbLzTbQvNyDFKOhqYQqDs4HZXLA/nynRcaZtsFL9M4rskHEN94JVMvTjdotDULGeS53E4BHIMRo/SRzfnv/LxdATmpjeK8hnaHk3co9bwhnGOL2xq6rGITqZSbFgBaFxZDv2B8RMhTj0PBjBaczlhMK/HQnbbEgfonrW8oCRkZtL1CifEyXMgmrLeabo21hjuY1Q9PN42oOCsaXFNMVjUd7oKA6uVZhTrHun1nCFJcIRnJ3IJRjZnMtR1dPC0i+aOcfu7m3O6bjSwy/EEUe8lxayB79evBsMk0hR+wIMI0lCTh3kwpa9BCFPNbzufvsHNW7TiunMRPaL7blsUrpMPy4GF3voTAvcX8EFY7hCCQ3Lch79QmOTjxjOJiKeWfnkLc68+z9vbO5HGM7OEnt9wpD2Pnf0VlBIBQY0Ocml6X1YbMFQFk7YKG2gsUZWO+3Kzyv6LuzyBD7oi236vvGEPKigNfvQkRtWU4/MJey1lrkfloXA5HtpP/0jneCsIaY81tVsvS8R1Gp/P8ENJdLfnQ2uwRZ2Y5qYK0I4c5uvM7XnT0QR6vrJPL6BO3aD1uYL2V9hNhCXCs70mA3OsmG4bhT6AkkP9yRH9YElclqSh4HWVASlP0TQsx+8EbRGIvh7Jg1fuEKpF0eAgQQhfNKTai51gOhpc/+wuI7DmOAlsRH22ZR9VwQFX28ChQeyZVXf7mj89IPALf6APtkISHg6SZdxBWZcyw3gzkvpwc3OxyFwKwzmRjGnke560WOQ0yDpV+KalVI1C0HUUOk32juIZoZnbKaafVnlujyaODPDeK37Oeq64EBdmKfTwQT3HKWNrdW2Q4fK/c8k20+SXgPEGza79baep0Mk5n2+/VVWtxViu/Jm7gUyCKbu6XfZBHksKomv8nhoU9AslC5zXsgI13cTkx8OijT77p0qNkO8gqm1HeHSPvTiwRgU9lrgd2KejgtGKaGiG3Onbdb5ZCKK4ag61zojwkJBi1NRC/mONzelgeA6CTtUQoeU6DbNpfEJWR9+6X94v153rB/r6modnpsFX8KnHTXbQj4wNS7WD6r0MqtndVfuk609mG/AVLK8UIHThKfIbAmQoUwRLCulpMbbRwvBK51TeNCfAETv9BAiYXVuQfUcz2OrkYKK2H9XQe6buBY4ZP4bxVFeTMgx7Fv0SVwX3sJF/7+CucUv2R7qVSSAaeilz0F6iEfU6+IUaV0gnGv/ntjWT1mvUI5vwKrEKNhyde17Y+aVqVHhiEF6Hxl3V0OCmNlfTZlBMMU/nOd3r5qdf/IzqQ5g2ZqUc2ccKr82cmxF/eETvlQ6OrmlheBPbeMLCgSCs47c3fL21sHCsNby9OgZrhKZTR7N6hCUZwCXkyWCVTUAl9/fcJGjpJ/lIigi5Vr5feGWRF/Hl6Ndn4nYRx7uaIe4u8nLSXM2woBK3wqutxeOSTshm1etC3+2EI2ChN8kw+gLGStgCovno/5Nxpx2mj+hTrlb5VwBIwvdzyXxdUf+sZzh03jSbXb0w9ioobyk1iy3pMtsJJ+OrPmFkr7hFri74pRMOPablfRHGOh13aXPInY8JIjP2zZW+eEzR30uJFgqN62Cv62SqOvmiCrUqtf2E3w+XW+BzrcoOKzxO2Lpd4AipHFOPw6R68xtqevndBDXBz77DYEWsbHHEYL4jw5cbPDGT6CIi2O9tgqx559xhcq6+W5oqbbHhMNuHqBllyhFN38fLrdMLR1YNFA2jW/HClTVjAN0jIEi/9QDyCPEK2qHrhT48xvujUJedgCbh3GZy/7M0vyFAeMKoa1An+zOAbAzC67vsOxqFENSZHcud4n7rNwLWp8/YbsXRzas2bO0Yb4ZfTy5Nu10aVcU+MaHRaq4HTZqLwZwLx+9AzrkUdL8Um6xZvK/PVBt3P9hNBFvFNxLc9/yxyttkU9p1R4YuQOByJQE9qGW7BCzLEMRfWn+weaRWL8bk1gvxy9u0VMHf2/a58Mt5ofdPa6MWCm3+D1Q92e8TLoKgEXSwzu8Lf0bp8SeshRlrnWQqwjP/foZd5ClLlPDmpMQwS7TfW1scxB7wS+T9PlIt3BwkFadYIbVooBpGRh8D514NRp5uXn/AWKmZmPWXHl7wDd+fEj7o7QE8Mxn+zpod9X8wUFYDThqR4/Uf/GCvMwoFv9WvzDB2B+yISKybyYC9ccdnjlE400FoDopIsuDKJwbEKMvvRJMSeJj/57M5zBu91I7J1HaQcgPT7TtOh9vjZeDRO7tJwz5y88/W+FlTtOHsa9mXMursRQSc1uLVA749sIBlPGo02WU/OvbErjFOLCQqXwnY7EY7kHF+BtHd6zQD6C4MukedUajOHa/bW0piJd0gUhwI2GF3WbaOyGWsXQY6ffOEb4/o8+BKyAWxEjDNx6vqFWbq5rv4QM84bOgTfmk1oC6uX8ARSexrvQJVhlOZrnQ3jMTf6FowA/cscjfzkP4BYlXF6jY6TkYb5JYVO6tVoihwkwQtTk2D+QjS+qwR4tnOQsNLenaCfpRkT1kbv161tLiiayCiGil5T6HMt5ThDHS3s2SUWWuuRg0IUeycfakfI0daF5Oj0AeWSPw2A/3bIkCJFjyWymcWyzn/kgw5c1WJk6/yscgw8xtPKlMqoNvVKNkI33obMVTHgPVvVwHh90p9EjVMkt0z8hxIC+ElizJ91P6+G3QkmS5/UdktzUy3WcXgmREgf8rd7GV3UfQJ5a4vlDwErCD576a8IeOiFvI4WWea9SdUFKrjUKUcga/hmAu7UFVxYuVeI3zk/jm+MPWlMsDAqJuq8N8YSffXN4Ou1+j+7Ob+DuMpEfeKVOn6JLR4vgHgOZY9EDm3tLM1IQxPh42LuVUcL/I70VEnEuQIFu80PXx0xg8PYCB2b+BHDCg1b7yxnrgj7eTMNwFHq/uaEtTdsbqjs+LvaUgLMOOBvFUnRYhqukRcR+j3V5m4tMK4fpxbp7sz4V6UJk99geSktwhUXufdWZC5pDjaBTaAtI5JpNLrQ++iFjYqpxPtTI9U481Z1XbF0cSoET9qZGSUSEgCuGrpXuDFp/mkVMXm1CLZ9gC2pnkbj1YwasnBE5jUACFk9W6Twrh0ehD8VYD/InMlUDRSgRf0wPGwvPH5UJT3V+qJxqzvdR8n/HtlzhAh5g2K3bt/Q6KkzqcwzEtTmmMVHnbd6XuYGWaP8XS8Jlwe3+peP+Fr5hrwv+PsWGx+Ua6BG9QuTeweX91tGhanag9HF5bRTU5FPP/4B5YXeqig9Wtet722mcA0xjhYbZCc2FtNSqpQHOt7dUM9morp7+qJCXIAfyPynjBdMkfQE3g6+30R1Vdl/ukG7X/rYGXduyxs4hBRJIy9EatTWMho+P5zwbytQ/eXz7ivwe9xR8TprsIjQOCC/75vx6t8VpDsoz1/9aOSQ/drz1ryZ24otfF+sDXlsuhHoL10QcOaynZV3yB8mcE8szclsZZLJ/YnUfRCO2pMQeegzDUC9V40ghS+7gDIafVJNJkbdi0fRnkhQej+AgvWubvTfzKMrrYBVR02GL73UZ0qzjky+iLwNPyevbyv8sK30hQG2bRc29JJ3VZD9fTbqPdt6aTGA3spXrGbSg2Qvgz/A8+/OWV+4eNfdUe4juZtNXgtnsNqoMmTqsCRyo3+ISglvlvMgyceuM3A79AfP8cfRUvm8j+wqMUwd0btcZmZ5DyHpZuPRjAwfOu6uQCJK136obnfWjfcJVaEUdrnUePdaEts1+8AQlpdU4TDIez69Zy8XDi5F5HhBO242pwouCmdZuJyfhjsn8/yEZq/RHdgFQ/XxAh60i+vOoh6B3dWvFad+homh7oRL7/6aeDDOTcS5kl1x0WMoT3Z2Zz9ZiGYsnR0BCoTDsgwPvrPWYOFhCnAVrAFhbVeRLj0MevU70KB3ij6IzQdOYYXVEe/QbvSTPi98TX4IaFObkuQURHww7pn3c24ScG7Mssx3/55U5elpY5Rx5cqNSRXKgN0Y8i5jvhDgjkzePR4FMqaMLV4X0ETTKJRIMqJ84V3+UAOGFIKAnLvmPXAuRtlJQKkyUmncXYAHWzyzjOoJAYtCTSnCfXaAUPDcbDaAlywWNDdTQojXrv0lSxZL5fLjsL2aQZR9LJupsw0PAEFVcRcRvjx405n8UM7cNpOuj+c2kZQHy6KUWS2nzOORg8sHgYPvOCkNtfu16p/mviT2ZIOTkclFBHt0fBgrijTuWzt0ldfyjBKENJNIi1LQVWOFf8nAtjPCpkOsNRuVb5lSDd08Ps7CqS2AMk4ZYXtWs7gsw9aX+XbgtHY7q9966tdUsPYDmYcrJWgHHZengP+BeB/Ac3an3FRNw/P2fYN3jEqmeiVhwYWPDnudvC0vH+sB0i6pSp8E1zIKxEK/sn/XJq/b6Ri3YCGkZgaZOHxv451zJP7VYSUJJkQ8WD1LZfSKaAwTsAnkeJOuv27ri1y8k4FkYufUGaLx1Mwl0qbn+nCI3iWMlzMUWVyShQA/W2wq2tnHCzD7BQdljaUg64TunDieGaf7dzGslAPEraDmZbMJMmEPk4B3cZONBKPsKnulvHAUl9Ugf7tc8K1gJC4SO0/NB5IbcPWRq3H6cy+CSWiWmuux1Tk4ql43GFx55nWsCMDR3k04lClBVpubnB4bWYb0PN9g0OMRGadoCA7gtbT89wtDyq6Baq6uu69WFdMWHlc4oKoKxaFhDXgTb1NRSZ72mVr9sHuewiuvSXVM5ywmBWB9/E0nyKeqNvA8/i//fMD+JPYX0ow+z93NjPVzCRv42S2vRcMn7J7iqorXoNMMfO13y3nWElGkB1WNtygn9Xmdj3dUMdU4GisAsKCN6nJlWrycDkWf/r9oGEiVpSv2tm++YmjjHifXpyJoC5EAEJezCIX8gL+4kpVFzsNnpQk3E+dndBMhjSs5CDYyy6o2jowExRjJ16inRRU333UKTuRs1aurFLYwqdxgH66ybZbAJOSwj8LEPSY/YeFwGY6mZF1SQ+1aksy0q1Il/lgaH4GBcB1G5gEbGzb4EmD4f8bjqRhYUiltnFLrsKlkAB1cfwXKV3OfoIeh7aEn0UirSoQ8rCLqaylIFg8ajJApoUMzMMg0WLJehi5dp1GS8h0uFnUy/9hOuLAlpIfd2sA79z0hs4BVViIZ+VRfkWMQf6Teu6Net5ufErx7SmpYTlPSLvOQAV6ZNYCFHX8BCeo07R17F7wRqtQv/BSI7aa5GPbzEM1cmxb1ZS1dUbcWf+v2cca1dAiPOSeMQC1/oKFdSkht+IAsKXIZyPGgiVXuNY/yCEh00hotiK+4zgwLYF/IUiOZO0cSS8sKeMPNwSyrR+zb8/Fpu6mOwFaKuVwW6U6Fzc25sfWnfHfLp0Bko9QjvImDuipZa23pm78sC7Br5OHUpkY9denTAaZyLda2qSEX0DsXxxYCQOp7xB3jcYvSB0v7C6hrKzUAvf4hj+1FnyisUrmgK4r0liZTX9p2XErNq5Wg/25RLoj3Dc/6Es1zzzLUASpu0rCIz1h5VxWz+dGj+9iVEx56cdwQ449POFvXeu3auHqPRleZkcygoCiwQWkXoOggtzlnrw5QIN/ZJ6DXEU92i7PozTM03OkeUPHP6u34DcGZPoZ775t7dmmGriaXfooFxOkUB/nWA4LIWs/PXTsHP7Fa5gxgLaPKts/Lrj19fAngr9BBWCJFd91Qr/vHiCTnoYooX+USWkfIEArB6TJYwbyc1DsldrYSQhELHi09NNUbBTnmBkrmwxStAErRfL1ogdusRpku5JoRr7r6ug1meFngkzB7nlxRpDngNEpRrgREpbrZjOs/KCBygdiyrQGsCJHhdDoj05cInkATXJ6cGg+X2zMIkm4LMcR+YVS9saq3+2DXm9v2x6Xw9Ju5qqUHgNKIAjK6OGuw0X8vm0DPz/pTLJ7WtBlUQHg+Eq03SH/JXcYw0Wu0v55c8lySRa/Zz4gkYS51Vi67R/fdQmzhsMQ8LPcp4Lxc9uaNGW4ZFmvT4f4lxvhx77bGJaxQIz4k2/kiViWpsI1qbRbZTFd5/1yzQHCYsinTSnJpi+j3LeZSlL8W3t3dVAD+NxuIfHGwFJN81iZJNC4AqNUxTlIlGb9t8YQt00YVqLt4xWzPmQkcN6cQWU/sBB59/GhChyVEnOq4xcTWeCDwVRrExLMlVS1ah7aDYwp6VtpWPchYzZnevHOrYUQUQ9sTmbni4DFtZsxNzI333O5DdUJxdC+OxThKn+e1Qec0nT7mL/N12PJuIA4jr/rbGTkpm6vhhxcotLw+pKRgrbHrVQOzo6/SDwZYgZulnQQSWV+TcQ/KADVK3oGEGTqoTXkEWlbkevJE19ovCVObRSLDdquZuVB2KGDUJ/r82Rle+VW53CCDzdKKqv5uCKcNtHx2wkUoqyTJEBf0vO6kjSr9uklPxeuTivNbAuccVmSIfE9XCn+zpjxykUfuuvmHBOLK2z2lf/8zS0APw5UNIJ2aVvQQlQA55+Dw7PZlI+mDvcwCnuWbxbSuBH87LDMYGBcVQkJ1VGNVr3S7iWisPiLZ9CESw7UBLYin5NxYGXRvGUYbLyfG0Yd5LZZv/ydg1JuEU5yoMkfvj0nWwrR7V7yl9Qm7lBTzuM92JLG/EU60MYZrmsix7yrENS1qPsUV92nSNfaKPyQTFweT3M8lOsyQy3psWBVOX91bnnAild6sI1URBwmwCspnBygCxthRkVv79cbuugN2PeuDnjsZfFRP+RuQ0PogBxRpnE5WkvS87D1pyWWIiAPqU4fUDklRcEzhZVoG+4LoP6lupZIvCV8B4iDLQdR5omgMxc25L21mmID8zIVQJP7/MDjHci7ObznOuFpCbl/rD0DYagAYiZiSEFcb6/A/QjtKVzkVughw5vw3bn/pxwt0JNq1py1gGNqdeNqPCZqb9F9PZlVZfvYK6ZsQlQi1suEgXqCOqFbibzwgM5PCmQIWv7/NjQtvNY7pAM7jga/0O+PNBrspSncljnCJyaN9jmOxu5c6b/0vN+Qe1nwKV2xo9OG0UrCRPa8VTw9QpvOPMbyIu1lYhBcBDWYOAdYxaPZueAbWgcI0+5ejmT9h0G+OSuQGDB43CvhTLbY4MGNEisvelCGdhdi4+ckVWpgElQjZoPE3IXJaK9v/Kfb0aa0VF4IJ1zElj5sVx7UJCCnTgL6sovXakwjoL2HZFGknaJu2cMdrfeVaIAexpx6mEKLT5916Y/niOfYDQgfLeUndlMgBiCUuvG/5dFNGhr5K6eqGmcbOW4pWE2cucgUvGrKL/hlpWm2w2NqlicS9boshSOjKXQZ42K++6Yat15FHQawdM1/3QRq+MA5oCRGZrPWdHFdBOGSwUGZ/6pIYcGcS2YWsUZmmRl6J8Q5an2vNjegjZRWj9e/Opcq7xFuMK5y9oa7mLz98vEju5lMf8UOAZnPLsWsGixpuVWk+2mXfWDSOzf9vYCfqBnxtxNp3LSpU5mKYFzjM/VVrJPV9CB7zMmIHeKtk8bJHue/DWE5tXQoZEPkNv2FKd3bvYmqGDOzoQKL3QHhT+DIA6KDnIaSgp6idLtltpN9ZqBKSrrBWGKZpHmkmAWrVKk9iG/utQF0nFS+2XYbu+nNwaEv5U+rq0UZZehUuwGd1B3+spUUZO1LUhdhDaerRiKiZKEv3E7uUkK02XZyNRJcMjnZL0RsY0590A2P5PYih3YAjd0jCyWmSaoWvps2c/1Qd0e5sgcAOa52kW8A7HzhQyjH8tm1oGxw6VH9fi6dD6es1UjDzC9Yi1sssMEvQNlKFLBV3xVQreH/JrUYgMan0q9RfpZOyKUq8GQ1JD4e1CqCNbXvdVDWPD7UJqguAC01rO07Mh6fAdXe2PgDyyEfifphNAlM+SUsixcryqmMzBXwBbrf8YMQd7JKvYESKWYuxw7AxVaPDdRqYq61aHAOJNdb/EpQjOmSL0ZB00rcwyywOXmmSceAn2KuLC6v4KmCxQyvUCh2RHfSmhLn21vWaKrsj1UJREbaRR8j9hOoT55zgIjMLVb3m3e6iAg68+mIELQMJV5IY/vTgPQekiP+GD9oMI+0pYkvn4uv3icGCGGWGy1Otp7ctsCdkcPH2S5Wz0rR/qyd1KN0aoPge9pLDnUOqhYib6Jqlj1dpUX6xPQUA4ic7VpCLz04/t4ZWDKhYke3wbl+TlyrNxk74Dt+e4+1ZynuFHJxGj2qKBAKaage55w0LaXV8jPmlHbsqxVezU8+QQFw+ZzXBAYti0uanJhAyxAUijSmX6bb4Ydppns7BuDDoo5G9b5EsoeEHNZa4LKwXRJczzo23Z5iZqvfcGaPoh6P54PeY/K7L4xOObmNNCfUPEtwNmQd26PebN/Phhi3LgJvHNaxuXNG23HelANA6noMUtQ6FJSjFTFxscCHYOR7jBD6975A1mWxljKs/yHADG3JCWoFWr3cx7iCDK/dbLGVzZJ4K73hiAfXR5/HJOyS8ePLARP1wUJOzXi0bF4DXrqauiT/YjMc5N3PZ8ZgrRkWv6alEUmCcBvVs0iGV+CIOzC8euWxcypGVMEM1WNmJ1ocJIuNTO0ofL/rFGZ47T4+qRYcK7poh0sXOnD3bfU2gORLKbPsNzWCazY/p3PmgSEDZXtDtzk9WIVCikkcRfHN2O4MOyMVrm51ZYh0k6n9kv+BbEkHVu4ZVz+khk5lQcMPbjJJ4gxMm4Z/BN5TPC4mfuAX/kP4Db8n6zkg3i4f9Ay9DMmmOCYqqsR+SqzgB+U0DRmSb2v+8dxPl8fofa6eLTR2pZ5sauTuNKRkN4+rDMEZo3A+Nx5PLDEBffA5KLYe6kcCQB8GxSx45xFgIguQtKfgVQsQ06KdDze8zsFimmiZH8YSiMA+DSmgPqD1e1YTpg9yHLyOrv9vJJkxyT74b1gGooeNw4EX+V0z3tluJ7gX9+UIRzfx9lfMsiJk/2PunXZL67RcC8PnVmUs58bxGThDlZ+QTZfzyl1J0HdXemZmzBP+8bT3EL3bPZsdQ2xDeWETqt3AmVKbjw5wSRUQUNGrLGJri44deN+K1IqnoIALMuTjfd9LYkpUhgVOCLtepENgRf7/A00uLXWbE7Ki60vBnm+fhTO/BM5RLO8WqqRl7+3DT3yLxDYIa8FB+xYM4EFkzRTQ4hjsdkI+idRI/1YdTTbAfAaG+soPQeqv0fgEW+8QCejEp6rqeIfowB4d2rKgLA5BrHGx92BuGOaK5weAWff7mFeEwZJUZeSKTt0LNjdbS6ytfcdaSa1OiKdI6ym8vQSO7GkXr9eV9hO6RSt+1jCHnRK0v1XhZOUNu/apRWnbrjGhi1g5as4aS0P5PjJgtq1QEuNfIK1/DnF/OsOBejUbqVUuaasB3ip3M+WhXWrrC3xOnYAKQbHBebcOWZg0eTtDGP624MhLImjB8jsDXRhBuNkySIYpY1y423wRqcnphpueJo0lDkSS2KGYzbJV4CqUhfmgm5Z8byozD+EfEK7IR3Hu7f7P5IAT+3tCRL+f5bXcX0gKS5wg/IF5w13zA5hfgruW3uN3IcZiRgP0mDfutTennYBDFZQDyOUI5r67crfJ2Zb4WmoutiSw8bp/9GIdyrbA8FbwLg7OX9O787GR49yaVrE9jv8rGE4DnHdXA+hD5HnPITiyz5KbDA28rSAD39VlHdoOuje/kiEOkkNCAVgpX6asNJp111oMXVx9f9fxnUaLGlnTzLbGSkHQwX4YHri9GPEzHrNJhRn2JF5w7hJ9bUHKzlZa5SX+4FdWNrF5pPU0lp1Mawq1l4q6SZZ/tSp7P31cJ+L+s7WDMiHSaDIdE+VTnLNJDJU7TkH8GysHxxNFZ1TVepcgCm9GDtkfE4D07SMmxhZpiaDYhg4Kgg/wwvG0FQc1SLB+wjeo6w16/YamTDwyTlwIbpJ/2wUYtpV4VxADfGyM1yJ0Vl1z+IJ9Yv3ZM6wM9fMTap60yycn/Wjbp+NoeQf4VOwgebYYOIMCL3cvzgrCY+gZ+qQuCqavyfk09AiwbSZ5U/8mPCICHDf1JhX4kXS2GAi73LY48OYg3comll/9vD/bU9WC2MADBMZ2LR4HVYzI07F4igHm4sZKaeev+QYPZHi9w8U51VUUELhr/hAuX4B+fLelTWiFC9hEVkxQyKAIKggZm+d0ZThJ2PqDiP8jC+eyo6kaW5G/DSzqdgy5WC4KX28+dwgO/Deq9DYbawHEyD2TimK/gk64UVr5IQrE57Y3fRwz9z9AMbs0FZv8fIi/dZx6Byr9nqReOKU1f4MxBtc20Igibh4PAW+/kcvX3UIc82eqv3/USjYWOKn6ohz5HWmQ0HpuYpq48ESfhX9AYbBbUL0jZFW/drQfmQ7Zp6hnDVWnu/DuvYF05bMgUnKXVp/G2YiFoLAODUp0qR88VW5vfSBE0Zq/zmU0g/Prp4ZqMxRiRAtzod9qf9ED4PSPmLGwnhqzDjNZ1SN5IRJiS9RkB5KCXJ7USdA5GYpqAaNgtbGqDMogpVWeGB0qPBq3Vhi++x+QK2uI2JYqycEo7QYKd/Fru0DH3NSTj3+rrqiOkDHx0doaCx0yDM9PvkYKfyRx8juOnjUReCcvmFY607XWlI9yDSdUAXd1PWjnDw1ikYcveXGKx62AvG3W6bfKRRpD0OkMbYK4AlNO1lGaDHuHiMRbxf+3Xc1jA067hD29TSJGxd6aTNH2aMo66uJJG9PJvB++Z+V7H/lz6pxo4qABG8SSXMMDuDXAzXJjoMsfEog+A7V/cUBIqgqUwEiN2gGovRy5vOSEYoLHzi2JPFfG7a5pcS5rbWQre2TdsMTEgxOLxB2qH8CNQwpm21e133WQ5od9DWAXxRkBQy5G193UpTKh5UUrA4znqR/bYfRsJ7vckoTSOccDlfhEUsHBNsDU9m8MQX7uQQK3xmk4i/oAD1FjZfcliI3xRdHIWBw125zrJ2QpU4xaB3Gl/EWTZj7MPw+YcVWpFYA3V0iwEu2unZel49QoZYdJp7RsDg575L3i98kRCR1iABnrkacrUXH/8hXIFQbpk6Fn1NFoQLJmvSZk/T9PO/yo5dhkF4bBaesypYDMlq8MrFoM+TakhUjAZVVN5BHgThyRmlfT4Ew3tYqXu6A6A3+urwlP/EnsYNzceeTlFPhy3AVzSU2lzExNvWJaJZUuw0wsMg4CI3ckkjZxs4BYZalMDvdwZEn5+A7RmCPbDwZB6jdZc6eRHtJxYsv4eN6ryUInsyVKgSFGkEtxLiJifV8YJeOSXL77r0+GZZcie1awXIBgB4/dKHF70Y5ReHCeB32utfYFqTeWV47Yh4OSNmhDzXfzRgnTHJoIguuMzEv8YdpGsUVRXiDLTh8+IYxUkmJqr1eMPotuApQV8IqLfNC1Jt2ied4+QwQXV8R3BUhZZv64zJWmZX4rHCwgXYjD/VSo79zEZgGHAoeUtrKfctr2Ipj8b7PZ0LhS609C5c1jPahhkqFZUCVqgNGCE6X0hWJxaRqjnZNezX8U0yIUGlDoP0EVwIkvH6Fu36/wTxdlYYhz8dqmmxgT9dhNu4b6slNsgjrBUTkAwwE6XZPhZGd+Iyp8SgTeGWHe4HMBrAO6Gln8ch3AcBzxTB7uuFYYR3GvccnqmwdDxGjZCsHB9G9BekVwl9oku/9VZVp77jvCK+eIiITTRsLUjkUM0+Mi0KLiocjRSapZOcNWNdOQdS2KQ3KXf6N43Y7XnZsWWQpfTw3osdyRzYK6y0pf/uP5fpfM+No5oRrHvlkJcBV90yGXhYXxeAOumJ9foy5E42V0zMGAw/N03doETU8YhdBDpZFT9SQkf0f0KxTo4nN+y4RX+LrzqKsRl4yOvRgpgEzJdpdin7K2b92StxVvj4CwJsbtMQVN85ERn6ohYWnqmIaTOZZNIbr8S+SW1WreB5EHVjn0M9MRJy7PUYcw/Fw4q1HSeS4l4l8epF4g1zuJgjS2QSMEPo9KrWPLxnrsqyrE3TBTFfgUhPnenbOvdz+M1agMLL6GbuF8jbZICGCM/eRmqTyLv22xvFRaToXQGAlOj3lnkKqoKVd1upPvU8ayZLOfV0sl3RbEFwH6wBDySHRvgdNXdCgwoRzB6LwPYWK2dh8f6+466XkanL+nfA/3UDXMQRC0bBpTmv2tuvDkYPt0oW7LU9Ezp/fMj+i5qToIl4cSIwR5tVfCz7sKVU4acGdUhSn1z8MQPU+tU5zD11DCKw8JkM95bYgfbLCAsLsXtW/rP75gUtb01uSAwNgDy9TNNBysimMgXtE9MBeaK+JpdiShlJMcduU9hKR17kt3rCLjWM+MqHYt9PJAUmVsNBzDcBq24mHgmdf5/rwqHhwg0LD053L08j3UKPE2WoSZjAxxNJ5mxTNIEF9fhNXnkhdrkPqM78y/SS9BURIEw16W5wpR/9XZO9U/jB69fTLZHbSz0QzHnpoFW+NARhM1jmoy9poaWaEDrLCbRJiF/oKKPSaynJ1Jsp1QKnPX4akEH2ixUiBk9NzCeH7u/lrEwPGpYnh63GdJCI9zNuZPLkNFsztvQJg27MQEwtFHjkeb6kKy9febxhC3/vTworuIXsRsdQNrTNGBWxK/IMXRawjdlDvfjHCebEIVbDwpZpXTPwk4ApTagao9KQkXajtU7AqIvZ1P0bsSF/UaEoY7PmmvryWhhaVQqW1ynOhmubjhSk9OixPQ8kuW6VmtBpBXlUOYgzjIY0qQg+rWULiCD5iLjcinbAVdV7FlACd6un9YwzqvaMtCiT/97Di8eq9aorKvpfyM3zzU/rocCcGWGU2N+9swMMfdSYKzOtMtoAcnHcUxUP/XKqFC7BdP2yRMBIgtJWN/dVRc08ZJHNKsxDm1yCqe3ZxAT9eDM/Dye52DKsAGZ2JFQJX/yns8fZgR0fGruGuOZ3qef7AJR9zorzmVs/yfomXXguYR4WzMKKGRvdY2NHc6nnWplPErxtVbTMaZWdw8cOcgGJbe8nVsm8OllTV6pXSsdPB9jqQ3IQW7MKrlFYQTteiy3ow7mfks1UwsGh3IsyH+uhkh5aX07ZKFIPtgvBP0V/MaccXkEjwvPA1GGAYEpuIf87QBNvMIRHX5gOudGuwZRjs4ANUVdckFRJ5gjPn8TK5VMzKzPhXMnIcrIesNEetIk+1Xyqm/0iZ2lG3W5f0mdfHrZdJeTIbIz4++baz8OcoZTom+/QhK3oeYRfpyB/+lyG8XAZejLdy5P5ifftXzwC5OVu3MWA7m7+jqnwtn1d/mhOa+DPGFi4oqKDgd2ZmXIRIf/fMAjarR+qWyxO2qo3Q4cKHZJbD567fqepzNWbpurKeBXFQRaCSlyf9hc3lmGm4kfg/QsoDtXjAyejwGtVlvDG7YkJ0C52w9w7s3D7HUnVxFLivSAKu94uQQ1E4Pyy8YktuPw8Oo6cF5crIyQv9lMLpuF1j+PmHMZIFkroXj7iBFD7kIspaxktVcJ52so2mx9ANH/ptQVbFW21wkQwiZhHXlJj6TLEqMdFO2OiroLGm7TdQNcQ1HUFMBPnuhIllwSj1ctnSsPM8AU9lmHUD9dR+vc745ugICGoEi8nK+r6T54oiC2cTsiVF6TBMgN6GNmS/B+wzXTIvmW7DKGQgtnHtTed4cSGDEFjXZTzN+B+vNs6ND48Ywg7TLlPV/lhkSrSHSwj2rRQQK7lxw5Wli/YSDgNDeuCxEA0cxbJK+V9ayed0gdeKQzRML0HJmYFrPgCY0DZd6iSM8ZVnoRbssptwhvGXbzTpcNn5pZLBF8ifmZuL/qK1ZXua7JjmAWpsRPMB22+XNaRebAXly0Y7SaPJxsVdBOUXWpCRhtaq8YejYfw0kyp4DaU7yE8D2aL7H/vGO15RLSm8IJJqj3pmS3ezxEGkt4aKgB5YvWXFhF3fs+h9/vzaYDghE2eM3s1AgLA6nBAgR9QW4ZnJ3vrBmmEmg2lh+hXy2CatkhcbBTe2iDNtc744bX4id9o1PFMLOUf0qUFYT5RXMX9uyn9kEmVp+Wp9IydPoQrIDIkanDewqcCWSiAYbtdQQjkuzBjxDsT7jg9UG/EuMxXpyMpI/ZA4x25jE6POGLvfOv9RB8oynFiNpXvI2Mml1uyvnbd4j24e3qX5Gxq+5/YT3HtbrHRAE/c6SEoq4UXuV1H9g2KM8hTv8nmDN8GrvdeaVLX2bwrLGLdEruiXcMNdBHt5cfLe9cH7pJZURrjZ0QAd06t8NnU2M6VCiK0nO4MG+wc0fBdCdUhJB8EbhKLLF1uXaazIZJt2aFrEM3DO1Jlvh9dubl9Gr5theDJ9NRzO+zjuO/AEqEgivG13RXU7XZg+l3wVhd1I+UcNtwOBoIqMWmxcHOI4+XxddjxZ1PB3CDyvCQWUYTjFSC7JScC0CGHohtDbGCbydpTHfFOvaHxZS/5lMs1/dgXgfpG1qthCuCiew+wP1uEed6gnQ4npBLYDBvNRDBm1Q5Fpz/euW4dpNVk2Ezveqe6i2lE3bfhkrSJJtBz3bcavCSuLnCD+TcVEI5yDPec8D79Xob28fzFhpKGn5jz3lV/i/z/3u0h6pWgXAoEKWTJfkfIgoopY5HBq0L7EUENL0cb4aH9j1y088uZSKpkBnGq1tRQ27STi1NsjLT4skmtitpkWHy7myyxjxGDxvEn7JOQd0A0lAQ0+LrwqKNuEfMxcrJ73zg3WXZqJCurV9JbRPRv+9nACssEO0jGwnoZEdz8Nzj5QB2I+1q6fgoLB5OxsH9pviFCsIttYxF7f0ggfG9Si6C21DKkXw88hCjRy7YTRYro1KpQysBseM+4iOUcgjLZiYegwhtojmHKaHkeIrhLvy73twOntW3ryj/UNPzfQBmlSRQDjvt5FyTBVZ4nq/AvkfKJFGeDU1UyFkqHSGdGZs94muW9jshuLnOke7XQH5Ae5KkC99wAM9XZ67pdICBHF6zezy0+7cp5RAOfw7uc2LgWANZCpBltX4MRrX3Wo+15vzpr88mPmcPLCCUidyQQxtfH/1RGZl6huhB5zE/PiI9mJwbcGSaD2ogGCmG/439S06zkJAFqX+XIsiCUohOQRFXYyfWLAprtY2H9qfZ75PQrgnQomBBBgTWTvBi//T3nIY927gNd18+qAaq7uI/NE7hghOJPI1iCK71lAzkt0SFGoTyDQuXI7TCKhKB9GtYbAnVFKJa8VtZdIjVVerYWk5VZb/RHIKFjnTfMfYhOKYvmu38EtDZrm7sbvOOcoSj+HgyjcvM6jTZEvCC5EW9xlrqEBVPmrrtVO+EwepRgSqb8xrRL68yYAoEEUKF0bCSv2Sy0dwhxKkbyFnqvlPzRpDdXJsBPHSv0ilzW6HgUgcx3WkRWoDE3aQXeBGEwUdcBs/QGb8pSoi3HkXSl6ogFvSinGPJ/BPl/+s254j1tf+PWg0VGWrIRgIN/vr78PXF4+DeKvO+HXQ1mlAJsuZCeg6jaJsfJ02kisrKB5tCYwGz6B55QfOTwZD4Bh+g+pQqm6P9x0ZPeoVSEZmif0eWjGw5yNCXiUHciAcSFF6t6B0JQgSipzPWDkqQeOvMbpY8CrjAO0NDHQjNkz4WL0Sr40jbDfWmXqYXFQrcy+RKLG0zbkFKTfMD6C76ybyN+K4XyPONt6YXHMrmrJMwSPZnIXg3Vk+LhCsNVfx+z6ZPOq6q35/QyH7EyMC8ZHYV86stawe4JxG7j23OBXQkHpxzpl8yNfi7FYhvi0kg+Oabg+6VB1gZMoG3SzaupekzgLAUoGphiMUF22Tb1sQfe1Q69Pn44yrJ21RNLGOcOV5mEaU+ixaTrn6Xy9Pn/3+jbCEo32U7fC7raJMQhAryuIRz1GdkZ5eMZIglCaEjgOtBFeUNlNdd79E+0TaRg2KCHy7hvpz+kV5ZQRnL8CnjLpiw6Y5woIQRYlYIDXSxXO4hCVNdfkLf3AHcaj1qvnTK5GxlpvrM78FrWPMitOLhyimIwQKcnzzVMscg9uCYzafF+TRe9RZtzyCgEL06sE+ZT7AYtYhd91p6IDMqL3MzzCeE3suwUQ+1JFv/VsUPBRqyygBPtvcfD8zcf/dSJfY/l5P1qLLcjlL6LiYe9TGXUuCwzpSbm1yyQUq/VYkYU7YoR/qTyzb0MJ+WSocSsEsg5JCR0XcYN/j7De+Rndzga1TK0grfEcywDgR+Qz7mEzSGJCSRaiwDfCTEjITD3LBTE0iGoZ/6twNAaCH515HI8nZfpuAEZ9Uj5RdU9tiei3RQr8Z7AUk/YdnxeqQxFxP+83vj6F535p3UyOlYAJ27rfOQtIAFcL6sUiIEvRwVGWb670X6nLfI4EKQo1c5jm93WxtAVWQw2UzTnSbyhjeV1Qy+2P6zTG8QT9p3XAVDxwtvYrpeMFLNukMK3JUBvfDhUiCBumaVE37Pm24fmyGQGYXMF5nCShgY2q3rDsWnhfbMLTYwYuTUf5ojDQJjXNlOmUSJObtSvWDtZlOw/3Z1ijEjnnRLu8HbjN1LeOBQh6HWWzCaObojUXkVU7qFOcUnsLLZRlEDPMFUeOS8tH4s9okL1R9Y2HV12hGh1llefRO+oZiaKk2aPOLGc4+dg0X/P7qNJoVINmdziEgGCd9dTD1KP9e4F5xwqvJzl/uGBe+VYF1XeWgwvfQtmhzxTyltynY147e1JH+G4jtwTvW2dbOmIlrd7Bz/CSevOulGU1HZr1ZA1G4pN3f+P2EVfycP9Einl0p1gAyX9Fl6eyjP5W9ddcGRrBfbsthhnMgFoM9Ig4oeThYTG87YSAiB4ro802Xpn4r8En5q4jFB4YbnqZBgZSXo+bAfr16SZXJvxs+Q3kqYDXQXkf28FdoSiFvkqbbGzrvDTl0gMixzvRD3wdjcOx/bsozDloFXSITi0FazIBwJNhalkveyZg7r8W6vHtj0x663SEy5vOiUf8D1ybJ40icp1mvM/ICPteR1nb0lw8e7eMgoi/gDV9xVughedtbs0+kXR6mPCSCBJ8Jt8QvhEBU8PM3CR6AgfkJsBPINdX5+0/6zViCragklLM1eGRuSfSJzVO4vodX+WiofwiKHjP6Ntg85FUK+jzvGNGAhfKcfKG1gb4c9qMrnQvGGWl0N8lpjt44f5mKrU+6Gj5HaAYd0CwDI2rhmyzAYLHgqNgeOV+p8jSvkD/bv6wOW3VicUvTp6OtrnB7GSq0Fv2q/I4Js60CvIZUadzw0hCUlsHcZoC1jUpXext6RLwedL3QMjzTAKI7zkvkzzS0dgQaHgiqCd8YVWnmNa3eXPAJpU3B4V30Ew1DQX2judXxbyN8Lo/WH6LBU8BD/KFNc47Dfx+FMGOASAuxJwwld+6zgyoHEsEXSVkhR6VVwKd701eXF6fSpAvzInMmhhKMIc2oxxOVlm7GtJ4tlqNx6xwGJxya18EoNZt2favXe2da7OfsLTc3VHIY/qGRKxYz/Zcn4paDydSRA+w1oACakzmDsX3RAKMXZ0NRSzgcVPP+wN0g4uNtAa6WljBnDz6qjVnhrIxY9gq5+5axO05Zs2TSV5ftzhCiHINSclLicCtIwIqBtl+cQJOdrCyl3d5fd2a530fmdODpSa+NM+OlQFOxy4EpKU28RJOgesqbc/kiKTxll1OP9Mg7E0cbh8CtiGvUAw8Bh9BXOtJKNVyO/RhTF7c20S/9fGTtev48kxHm/4jfEoNuG/2DBqR9Fv7ZByqF2a/HxWNA11RFTTSz86DykPDzgRNWVuZvV5Dk2pXV2RW1EP8M3LX+QQ1EyieAsI9qOT0x1dYkFngQhR8jZ+vKBcUs773kKnSKAeXEzChVmnu2vO2AkzNCDPvp8SHI8VmJMSAo6K5SxE9btiS7zcbk7tZ9cq07Fv3yGPYg/9N15/zINPaG2pO4RvPYgerdSJYUwqvsy21vawTiXelv8bKHE46Q+OwClvXDIqm/1RWdzTu2HoCFNK9hOn5IqlRuiYtdegqftm9zXjfEWAR4G6FWlnOPt84XTcEaqgzksVwr0GEIjGYODtWz8uwCXnM1Tq0uLkHIcuSlnoUPamSTiYetoZFhsnWwcobs0Hqcpd8jzCuWfu3FH130TvuJTqSQeB56kbxvWtulBLrf+GMjIWTm5oKCAEjgd9CNVFSexYQqfloK0VEplIOCm7ocEnnA8q+0gIUwnuG0MVbDN9o2Ot+2nQ578IkpmdIUu3dSNssCeOso3Bql3N2Ch1+FH4NzoEtLeVijfUhxOCzRpUyXKnksAVg4qtpDgSuUasnOLiU9NkMMqkkTZuwjWB+APOqXG6jE7jCPsdh56BK00MTANnrJqBrxpymiLBOpt7b+R3q6C670p5JKx3Fe489AdDyYKvXGO0ydCb/2fnxZeN27Fm4YTKnlpTUZaRl7yOG7fKOGVokqijAM71wEXCdoklHKcxVNAV02L4qECsQgqXtbu7/R1r0lOXwDzRxYcqeEg9ZE8aGQYl1jxgQ2ILuF3+BUHjX9iYOi5HMQxHMO8BpveBlKNTWLBPmPrbjOf6Q5wNWmKxrSrf3/Eo1/EOoQmXr57GZuSnEqKuIX9N1/KzPY9nJo57+j2IKftNDNSCmdPjW/bO9l/zy4XZP4BdfLbIa/5Gk/ebwxGM2sImEfdkNUgPaK41hyQz3pKDF42GeGJ1NGKB1yX+nEMGwRow9kxaEsXP0OitERuZrILrAweBJeTrMY84hbFmEv7Vko7qUeMjGBs6TeGTwgDpGJmmhTVtwXfwPiExcP6c8kwxjeLAAIh087qwKrhLApI0+jEUyQ1S+pOZBNGSNFEgBNkWmzqFaYhV3/FbY9XXfPqv5MNXfUT72zPaGRmALgun5oJCVahIfd9niK6DepSHAOIXyqyquPH0O0j+hlS7oMhOSfddQQxKT9otF12qz9RW/TeWB3oPDyOspV5LDOfFxGs1uQwDlD/PhgsW2ciUD2oi7eAqY9T7+mRF6F0KjfV3P3B6R6F+9Sl2B+2cXWBYZwTO0JkwXCwWLYLk9Lk1hyjI6W5cuLsRy1CiybV+ERyEPUgFv6RLGF5KLrZpHXcsJWf0U3jLsqF8KwyWocQToXF1Yw9yDTtAbAPY8Nuz6HXBy53IT4otIBspt/zf1t1+STHhYLvkfKgUtZkCdDz8pjtOhoA8Y9AIvOh3Z3wvddd+0zSrJ8AjnIJdIt/+DHifk8EI4045McGcM0QqzWCGGX3CUMZz7cIe0plkEVA7TVxF9wswXM2i2kOd4Rz+OFnXslScupU82X6v6rZiB2gEbhUh12tamWX7PRM0WfinDTHBVpvHgmcVh6Ot4RxB2muMZTgqs8VwMZUzezgCMlMlrww3DPbqk/0+hpsdMJFfp3whgaCR5NeJ4LxsWg1t/s62yf0NCVPbVvgqZ9U5D+kkvGJW9VSUTIUOSAyJNP7xGeVsM+Z8z2rcOsdjHR8FnSg60sSfmo+Y/9JM9ZoJQ/iX5o99GQSyp2H8udvXJrYuJRJTWpCBbtxZGOKSRnOXbpkvFUeBgeLqfzRfOb9P3em0JDMkpfbA2zc4GRtC7Jrn0u/imyPJFRWG3JhGQmQVMaIAikMoaAT+lXw4DAfK12hb8j7sQIexs2D1UkCzDGpL+ZfkQdobGRhXUfv557z5IbOXc+jmQmLrL5GDQKcGdXEs52FSmeogCglucRzHx1MdSi+a7AFrmWEtCIqAoYZi0AwugDqUIxF2cmzGZ8NRDrTESYTWPpuH9CqNtxAv42tWxTTu5HETZKrzg9/AZxASNkFCtehD7qNJxAAJKDEJGwuFNQU3taGdKcLA2GiEaOfb6VerH8n9aHiJZWGZ4VxMH1UfTLsmjey/oQOQ2NEbUQUnzbaAvgJcjRCwBuR5+BowADI1mNBWUYIa1XUQF0RPPBCWhcwIgIZDc42IsjeB73zH87NQXPbO1EBPlvK2bOgntYN+kczViGshwhTBwD7SClVG1Z549e8V864K+Ci5sFx9CR0Gu+edhjvHTqAznKx5/PxeezlUsA4AzPQe/EB6Y9PRdLbZWt5xmCuU11qOX1YzkiN49jzL0KGt0EVgtXPdD9+nbDSDlMHd1sUoter+WqjGRsNSdhf92oAYz9g6P5PYSsAndHXn4kOiZ2qei2PaPj1l0HaxqysZbSyDqqhtrub8opMZduHb1pHb1xVfxrUImcBOmGQDFfWLzOWvtd+bIJSD9KkJpuS1+45AJDgonibNriGyKA+x6FeeX4ceNJsSZU28USm3kTjiB+7RVtbkH86U8v1nx0kGxfdbOZTcttohUs4WUQDP8VyOCwpCKUMTPGaPacznYPp9tLZOpMOALrfy6sga+IHWKJpm7iwxInwpPm5Z5LLdp3Di/imY4yGqcBq5bGvkf9LdLXHT649qfqvAIJVqqkEc438r2s+dXw13ZJrGERjNU4Q6iYkN2OoxssEHlQOHjlXsu9k4OugxTNUlQb8GG0YKuFHKjoAZBIxGIwoGHmSyNndZaynvrnf7ySDBxjOWUUK7igfXsuY8+BYBqyrkXX7CdDkFkrCNLiqYOc4q64akUhJMjYOZrrN2Jwl3RxqaehzAWyb3s/wyya/LTntnLlNmnvG7+/2MzIwAz0jOCPl+YxUbhHQhUJtJqu9NdeQ0ZH0TeCdvDdiRQftQh/0KtBLZ3rmQrL7YdfLpeGnHbOJUoFAabURQrIohdZS92NCtd4ppDXmeF6aTF6ZchS+VSJ84OyWcqMrlz+n8Lp+lUtN6yZtOK63pKy6qcLg0rTLOjWyCa/FOkRx5myze09cFqVZQhmYKsc42dwkDzX0FHTaS6BLhdeFRP2ouARQlrDidCJ4ITC/iIVJuHN626M3xZiEvePjh5ZUHEUcG9Qrk2gYMfDRtSG2/XqB7O4K+DNk6Nmn6J5x/xImbm439USjYCRR3/Y0x3pNuaKmKX+U2AakItn5bUM9Lbb4b7U4W4K9z+uxMGDDx7AJEmq3JXEJExPl1/MwZwW6dnuKxdgKPXHIwk0gUvW6GLlKfKv2BdKSUk8mgEkyy5TYwkOB35+TeFWeekRA3U1bUp8+MDrlY+Xdsb8LJ/MCeQAXoVnKEzRY9gm4nJvKdu1vR/T8NjG+8+fU0YAr4C1MI8yMFrF0VW4WSsXs7maAGv/CDPpI2Sf/+9d96T+Ya5Pri60vzxJeSD2KYRq+/igeJiMtcjNj7HbVrf+0z1uMndjHCXOwVBq3KKQnBpceRmFPjYQpaMkg6rwNlyTaBwhfXSCggYVKd85+OcmKxT+intXx9YM5fqqqo/lDpBFMICW9kFeSxH80oOILBEbnqRQvZJhAednWggZ7SLCeYbxt2MnTkZ4VlMkYTvspNZcatsG0qj+0SeW5+HRdTfj7jhTn9blcd6uND91qTM4lEmPEY0jNdWFfaRbFsrg73nEsJH+thcWqR3YxMwu8RMxLzaos+izqZf+Xmriuw6/XMJMo3dVtfhzfSrvTf7mED12sHeT9i7kDGpzy/66wqfgRn7xS2IpHo7oeLC3j2pjX/cOvQ5xGL9Sf/1m5wkaXqe0KjLdDT6w5OyUJlwFDzIkQkzrGsOkEIMgfvCD4B4UmMW3CZRuhKSp+vx6xtS421n6opiIryDxzjhx8vP2RujinQIeVhpitZyl1AFHjeZvK+mi1A+TGcya1gkOF/hcxu4Nu8ibgYOn5XHw+nalHFX14Bi2Sxj0O4X7hM/G39HgBili9/30Ry2Bjp5mUEDc+nZsBEKrlolHKt+T8+iWlMBIyAGJUWOcCUbmPMdtEkkrOZe6xeuP+j6HFxg15NkeiAXuCX4lLKjULwfRC8EGR4oMydD5ShP9ntMkNO//e8K2JpLMrzckiGM+rzUzVMNikyijUD8QhQz1Wz2fBiybTwewFAtqfDD+WMP4Ergf8DHxlWqGXyShLkv4bJNglqBZAoyWvkg/e0iMfYYzKRofjttiyTi0IW1+EVhHHFE1lISaBOgww0nzPgKUDLyIG4KMroqS0ddmjzeNprjME84F2bH/fV4L1B7dC9NhmsF96o0c4xD8PzyuoiTfDr0m1w6gc7li2Sdc1IiDwmxc//WVJ+UgvCvIRhoW4XAQWfBRDeQGA7CVqC5X6V7G/CKXDMxj3YiDz5jJvenweKFT1J/RO/WBFvcuGhydqcpVGiU1nBte+2oy4fuHO6/0hKU4MsHEXhIe18OrxreiMxg/ETVh5nrWEa+VPebi0rOUlfwVNn4Nlbjx5ijSStfBczCLk6eSi+cXAwFDpQLydYa1Nb6OVBxknzEi91hY84q0bKViqAyPGX4+sWkBL45brAFBqUj9pe8TNt58MUJqYDBUu1MkEmYWhcx0YYr+spao8sdnNMLS9u+WOwHguUSFFIqAdZkd9fES5zDDGWCLmDmuwD6vcDpjzBAoid/rxNGYY/Zn6GKlf7qajrW5+AvQhXgq9qT1CmvxRHkrjl5XrEcWX6IEXVn75o+lUgOYC//3gK4KLuprnhu9JUkBUmpkf0D9U3maNV5v4EX2bvv1F5VbiFvl2M46yhSn6TK1VsX9EfzVbxTZUzAS319T3QjgawZ7bLonXr/omwMVTgihZd9Q2euAtRo9DICK+9n7k8ManMw7meEZNkl6VVIVJUwPB9mxCMLh9E0uWyBccwVkHfR51iZw47DMOgIgQHBej2fsxEjtWuao95MQUl7zrco5CqbJz2tL5qLvkMLb23IrZY5mjTYFxiZ+IXDwSaxDpWpmUEnjQ6Te3w8zkxebSmdbmeV6vfbYJB1wjH7+Z8k5fVY/hMtKiSOza1rvr3Drt1G9y3J6LI5uwYOJ228yQwR+4PNkmvZFJ4bVbD77S5bPJKjXoHrLOohB5dfiukIiCYDVjss5XXOj4SC+HwpiNKFI7FyOamt7QEPHszj+Pd0iYgIUOGmkssKZdamkAIdppye80FxghHjwyWwr2ZxSfM+abdsfRym4iMySLPfTfXoHcH1s19/meQmVgmPQen2oSg/8N60F0Bk+L2d7xb6fBtJrg6i7GMBK/DSdoqwp4pMrXd+aIX6sHshVqmihSI5+KiHs+jypIpMELnV7d/nPtzbwZQSMGvJxqlggAl2yfSb7GttIUUkGWaL0+hLaJSraXdNiTK09KNqxyFZfvjQ3yaieRnpB50eh+ORMY8WfNWxAUE99NL+VxsY5vB9BGNfUKXYTA8pUz4n8LaMFefb/0tGpFzErZ8GGW2AnJazbyRr4IFFpQDM2qCi7GElCJ8cPsneTDfbusGyk7gzR1clnegs1ULcW4b6V7G50xrI4YU7gQ/QNXj/6qBBtaIIDsXygxr2b8wMvQ8B17iQRebjg0pKifwUAWxiEEcvGbD3tyhEzsfSMgcCLQS+0JIxhBjaoGemx/v54IhWYcpnlcB0kCgIXX4fmM+W1/sPc3gr8hXeDFyTiSRFa3QQ4AN9RZLvUPm5cdJCgH6Naj1UCPAYUyyc6gwz4C3V9SWiZXy4GA/fX9DK9yLoCzl4gaIbxvYCL2NgNKyeqx4QbOSxFCZB15gzyWkqsjP0+iWGPjc/0s21n2xRclPVDtfRkwswPuv6iFTvMxUljyB0Sa3Zat4BkWbILq8yoqtwFU2kxQZTsRSCC2gi/87IuVzlk0l0Bex5fIS8jb64AUw2CsXg+XDwbGqV7WyXn7L/WiqRYZ92OZeeTv01iFFXZGlRkmr0WaacQeoOdu/RXa36THOfUylyKuKdn6lp4TuyNLz3Z24EIE4HHXr/PjJnLQzojiX48n85drSLlKqz1B62m3ViWGOb0VihAJ+2Ep0ZUBAI0vYzVqgV0o9v1IIcx8lTqb27JpoU+4DVm3dNQRnGhgMSNUXwifbL72tyA53VADvwPGaGcaCoDYMf5ol3pQMsueYJeg+33kPYeQPMdLzqGuYzMkbUZ0EgSm/4Hcv3Klb6XCKKcm/E6FLgBCT1ZgkqxNmpvHDtv2ci+KxTstk0zA94oVj+yeDmTdKwpWH0seluXBB7eSL8T2H5RPINdmhUS1brJdy+FyY9umqqw2Tq9lpMDkdsZCILy5mgffT1cQjR7AYxz/NGq955JnWvLCKB8AeErHILTIZSsw934UX9D2P/5AZcF8GsYkoFcBGtlbC+3QKN940lUG0NxVYW3QOrzwJOHMDYP7RzgNZrnOlT0U5743rwGKpKWu7MD/ggiagjc9mIqEHp/KmSYY0M3bEsDnTbw97U5fCdn1xoh5zqTz7ctT7ynJB+nCjCA5QM0aXX16xVZKS4Z0L7o3knENKC8FtplMCmTaRm8sZbLvuLvofkWWBz7vMc3TzUc/+Ib6RjJd4Fz0gJ71FNJqAfrK1wvg2UI3SeqF0zKyahPz7VvsHAZt7OcnyuVnK+tj6Hb4HBYPD5i0aqRowZOjUSGgXOd4ljR260lqoj8SWfDbk5J/Hh1w3fUpl+hogRvDkQatFOZta85p+DMRU0p2b8y+eogFgkbTJWnUV0hPX4W/rMl2o1zCvUoG9ENKRgAI06bW1egZO8S/yQfMJlX9TSI7Qds80OmlZKy6i+mWqGH/ioCQNNTS+skLYFEO5ERFl96VsITDELIzX1tGCl8tbyIKINKEesJs5LN1RRWN6OFKRnF7FhW1SfB1XP/s5VPLDbgyUZR/12bR6YeqAH6MAac6tG9Hbq2ZeGNdeXWYsGdR6X38J6MXBjyP/m2t9+tZGTkEfrRM2OPsDQprm98Ho+URzS1QDY4Msi7uTRni9P0GumLwItU1iZHhorepdkdOjlygz2M95yJXxCxV87/o7schT6pooA8u9udxgKbJzQiGNtOxGPWShytOWPu7x0hNwQUtZUsfkEEDBwz4ZlKOzYIfdlKTaF9zJcwyEgxzbuxBIVrva1D6nCLNS8qUIhsIzSVNqOy5Pexgl0pXybzN2YU2bgSbWka0rpYClrVZn+f5KMqLFASSSYhXQNsycH6qHZ4gdIcBPBhqq1w0l6ajVu0IDvxHMQEvoHjMD1svtOXhEYkXqMvKJC0qyeMnilecHMLfdveWja993lpXwnctngl1n77jZ+ybU0uuGOTMEi4MQv2wVZZ2jkRjGeF+IVJyVbt5fBwdvby9yp5ZvNZSpXtFfOVN9PCTcuAOnF9d/BONynDZqEbX4cPagt2DqD5jLfXDvBlY3qvcq4d+wu6/tgYzlR0DA+GQDf9iqgZu01gfSGqgYBKnOsMVcKsXs7gcHApAo4ZecPbbM/gesx8PPAaYhg1E2/49Mf0m53w5W4vRcxwQZiNqJbEXaMcEhg4vczpt5m2Rlo/Vw06tlFbp2nDazZkQ7wXhv8RWzm+m1oY6qyEN9puf8FNTob1vVkhh8fD4RVpEnSHJNTCrO4vg89xWePcjqdnbEX/JG6MAeJa6WkkdiviIyCzN44H2MMQxuZ5LNJRBKcMvf2VjSb+wvTc029QNC6f+20gGo+uQlkIqBZ9orzdCfrUlZcpOvuEqEsZBdgnJWRNBFShnSmTAN+TLF3KHgqwdkPjvmQjl0onx5FORzvz1B/DefZ/n+akQFCVI5pW1mECoMc+NDrNjJEMDu7kmxErRvWe9nV+ybGJSgtXIkRxLMln+ZRElAxP27g4AxM/SdFtpyOk0W1vAHxitPlaoNMMCUbgaJZ9UAfdgDsnRBRK0cUQde8G1o/0hjfea125K+3jMfM+nN1pGM9k2syuSm206kx5Wvu/B8ct//D/IAJr+UbCrCm0gIHzhDB4u18Pr+UXB5ngoK+LxaD+srP3b1bnoo9Vm2i84oOGIfUopzWrTU/ILwIziQwfpoVNuSX8ReFHYtbekc1cThp3ikfa/8zOTx73wKYgjzgifBl6am47EtH4zB5JH3g1TocsA17ITB6xPVJyFeB5WfFWahAVPb1P5m1Md1LtKWkGTpyn1jpvELerwCYX2zJkX3PKUVXnOhSuCG9hVS342VWBIlkp6vipZOG165NuaTdJ6peAfvQJfvhnH0Jf1vrfSxlng/m1SvjwoRGF5MGPG2T8+LVnAWb7Rh2SvLBoNIfqznk3GRLWCXoVqrW86i4OTsKlNRvcxUxWl+C0JPLSsQIDZMwZ31sKi8QQSCUZ75QejuLmBpRus4qE6kUteK/VMq2DkLEua4zPdldH78tUi5lJjEnzfwtGXEzC8cgcbSFjVloZkrIe32UxTniKTSoDNBXZtktsvuCNkzlGIGQAQQleppzuU9fP8T0eqAm/r/hx/lQ94cwY5xrBNVDBGyGRnsBfGrEHvbUT9h3gdqGstWUiyMXSmMGpLP2Y+N/TYRsXJ/Du9EW/2g8zDKVwpznIMwWoELL/JxqZm+iR//EjwwFLz9Av5ktdYl0LfHOW5VkaDjLO96GRxlVJriCPKLeREG1K/VplIJxheyHNhsVnZd1Igmbkj6cwWo9dAMduxnkqJOsVG8m8Jkk0ml4njVKm6FwWLEbZkSgbMZTUsmr4YLvEAvWbkiCq5PUBrrE7c/NexLfAnfGBh4r+BqHdTdYIzniiDJajYLMM9IU3+eOgvEpYeFnENPteTDLzRyl8meh5BTSpW8sGwHlCmMzNvOSWEwQM8x9XqiiL1q5BbPjjhMImhWk5SV+4QWoXAb5b8YKSmxvkHior4tkxWmxJi8scioPufZwy9MYD7VuV72/rk1bG/O3yEh84loVo+0qDms+yoKz9gXqpLACykvaE+w/JJcWW0nGZj34doo6/0NJNaRLMlrqu3XvXDAcdJe3gKGNiyWYNVR3QqwT3OfdLc3iScGucGl9Fe/LoaJD/31RAz7hLZOL+5UIozqTAsscqRx6mHTrm6yt7AV3tcAutq8HC0a4IZ6rkwFVLcMrP6Kmi+cPqNEjT6OqhLgEZG3uSgC2gNT6tv5TBjmsbZInXYIhQH2GhJzLb4FXDLqZDv2o3TM1cZxyv3WeN4y45Kb9yLRzMoJTWB9fzrJnYv4Qx3prFEs4E3YKpW9L3Rcp6VrUMrcvqNRxKHkhX8tBQheXNeon0RZgf0nYcdHLTRsR8NBwQj0KoxzDi/ZtLjGUaXUFYzSuKGOJUSyGc1JxgkTTD28TZbiG9FfgFyVM9gmwFlvtIm/859o13Pelxo8Ip1xc/c8t1G110wh9Id+mdRXFCqsN+m/dCHUX41SzR6m5jWXX+BusoIDPtcUrANvA5hNUKyYos0y7Ixrc4v8K/3etWISjNCHLLlkfeSwbv2sObNrtLpgOZw6LLFkC3sBqU7Y7i4ngCo+zcjbcwJH6WHcOxQbVc3YDtRWWhkNaCe2E60xzHznsKcrusdX68egeG8JQkT81b0lUjjYRMkwSye/TshR6M1yZNETpHAaisV0kTXBxe8ZrHihl1EVBXP2SJwrTJZTdyHnFwBdwBbU7qrW9lTMIsSg/91PJVL+mG4KrjVHnrx+Wj+Vy6u0vgRbfAuN9zwH4fgwnUdvlH+ucMAvOD8MR8uJDhl2FOn66gsrndbn3N+mMDXHeuFaLeE2SueHtQT7/qb3Misv038v1IWdevn4ovSQi24bRfSuBIrv+txdjyFshxL4Chpo8xyFiUaW1jQTP/NuePiGZZmJVw/1RlxR3M2ae2+WE/msZVaTbv7vF7sDN9ZKMu/t0c9iQdal2V0EKSRvuuhIgdpemSNXL4LJEYyBPU9WP/Lf+xc9IDX5fRC03of8WDBEcRKZ29vAMnMQYGSBRhX04SDK3CEgRY4EJlku1OuAhDlzD3WMc9d0m9HIYB4utwnPFZjzCBUoqiAfA27hdoY/NMpNDALc60conBYxB5qGPJquPggzH38rE3Cpf49fSmXoVVhUfzZ6oJxVr0E6aUgRxzwo+FVzefWAdqh5SvAam2EaL3iL4BMTmx7cVfjxYMK+RGXHWgqYdXQ1S2pold8l02a12su2Tl53/pwjBhO9Ohe60a40rJr/E14OiGAwZgp9ya3CFWSYYXL2x0LhZBwGstQ60yy8nyIlhgS/vJ2WQta408wogWKW81jsAOfg5215Jxg0TNhEC5CQu8okwAjKqwlK6Uikp54gbqWLDS+LEfmwlf70xoLofNPc34gCdXKnO7fGGzBEsGJID3oL38OvO+C5M69Z0od0h+HjWBz0qqskb/ufmWTAVyYDuD6Zz1/92ZPiAo780zyy/rpCWIQljDn6RIUAz2GAjfhQwh9VYKeV/Eao5XhKDDY6A/Lt/9aC9r49OrTp/ihyAphPpkEFK7iH0BUJzpfqwN9MgCua2Q7Ki50YdC5kp2cYR7/sx1Kqsti5JcQSeIywN+u9xrOLSYg/IbgrT9I19kCaEChY6n2qjryrKFRcx7ZFLkw7QI+Y6rYKKYUkUWs+wWsb5mchngTIWqxuqv7wppK22H023f+wyVBc5jCguSj9BXQ+OC8uHNSaSi09wjK/9od/U2dVdtsFdKhD7MmSspQ9LrqMSjoGv3w+MIj3YHhJSJljQQbdL6yQSwHG3yF5Byftin/CKhbfRve6kN6ZrWtnpEGjA/8GUNHv7D+7FpUH1KI/ACXKQKhGXntKMuGiEi0UDNYvy/cfvmrq/aVqy82A/ejxrnc/cMgpJZCFy+rmpo6sHPql7dyOaRB0BRXa52J9YNqInmGVvJ8zRKI2cKEocVulUUEEw5t/g6UVfHXMfroHSTvEq9J2veR9ZNaFDfI5oRjDRJ2TCnLfwdnqFbdOVcr6dXnA8/zkKOhxD98cFObab92aXCl3y1oGsNDziyHNLadDawuBOAk0qfXJ7xnarAxDJ8ntrD6T7g25yskLFeJ1r2vBJA3NV6UGnd+ggROSoq/T4fpZ/nddaVmuWnHTBHUI6Kwj2hJJx6rm3J5ZWunqUGc+8snFyHaHMj5MhyI6rwLr9tPVWm6/mZ1D+G32q0K8Alieqi3yXAZU/VHw9eOCtEftyByAvF/9bcV8RI1G+dvIFrDg9H5yuJeEMuMuXakQ26BHvdjGMpZMfzIBdB8QNAD8/yaYRSQise4kcIJ0EJp9bdnSfSJEAPBIn6yzbBktb9Na3NB5Z2WXMWD65pydClsuI85pdhIC3pmk83n9v+JtiJKQruyJXiyeXi5S33+dOulDOV3wIMz3CRNO6205ITYtMXXIGoBeUnUkcD/y4S6ZKKat91i5gqX3HaLYqxSl7B9Id138qrUm30GuRPH9ywHrMpZFYWga3fDScLhXw63gwp91aFJnvqK8y10lwx17RS+dc6B/PSCMCJcZ4wQ0woDEwH6KQ5y8toIeGxZqDYdcMvrMV5A9pXr8wxkFE39Nzvp/d9yKL/NI+MVLAEAJRol68U38PrVa9ci1U9fxEt48KqPAglx2eHjvA30yz4kNHXc3mDNrcR3u9x8rNRTfRLAanU/LMFJJBKoMHNbfoCsEwdCKpiMitbhlySUzkufHJOgouHE0p0+uX41Ta38lTQ+rd3fRKaKl43qqSA4MvplnCtMsK3HDThMYzYYx/Xb6tO7AHBh4U/Frm+5yFpCvzllMd1ojaOPxX8tgBEia47qWO3SoGc8zfkH6l3DnvvSZ6lnZ1WRvR2r2pU8tvgXjjI9jH0puivZUrTdBY2eK+K97/wU8kJCW6t1f05lTnl4yKrlYPxObvjcqck6qeypC6qhM8PsNsYwXTBAwbnYekUsPHvBWDe75+x+6a6loxaXL7GZGsR+iy/PZWCYOl5AHCtx7TOq5Kwx+wyNE6RK8b/98Z1PWf+dgtu4SIN+SdZBrpkuIYyO0d29RxZ937Y4Ay4CsDADKOb0A/jptJfoYZmVP/EawpfVFRz21l9m9SdsBYh3x2qf8xt+/fCJG47gUbdnrNXKfyfIsOEwd2NokMALQR56VLic+7XPVSngw9ILDa/4SzQ/OvDvxghq410x8COpun+o9ufAVh3sAM8Sk4KtIPHK/UwQpUX2tmPrEjTCbFn8vVrNTl5pi56haXk91USePUPY7dAnbQ1l1fX4Q/slRVdPIO/YpxRmLFsKuk06qrjIZOq9ezn2dy1w9u9B+qRBqfGnqFjl2c/iB9zpPIkpeh0Il45ExBeb6pKX/46/Kn0BXflvmiyMVtbkQQCm1vWhEzrwbziXtS064m4aFYqimB4HIzahNF0BpuHrZQV3uxj/lvMh4PrxPr6yCny0eUxL7WqicPMwxKRSQbMyJEt5+lekk9ErCaCDquYIEaztualYfUX94rK8vNmUjtj4QX5ZbfCcJ5pB9o0rfrrwX2FS1VcXz8NCRMRDtTsjE5SPdFTkIEjexVQ4vFlRycqPxB7EcDed2T6LFFulsnqHepaQwVFwX2nDppbPzlqGqzZuzC3n2XAVKlE9PDNa9PALtVMffl1+Z3sdOGHYTe3OuYT7mFU1QMIVjS12fFniJQZakOvOaju/pMCj8lNTofzB1VP8smYBsi1WA/IfEe35SQ57dH8EDsnBzg1+NAYqMMZvhtGIQcD3Z4417mRCYzkd1axmPi9zbmPphGPD7jgaEzGFnv0S2oCwUqC2U/pSrnc3NoMhrV+X25OMpYZjw90sZfg8/bOWZnv0C9CfcuHNA61Ze2lCyucPDHrqOOAl+VX6Hhj/XjoiANz5EOfVgsJV9nYh4dPYXdJNrvvNuhJyVZefsP7cvQX8AsJvMO5okheF/GDYhyBBE4eT2Mu5BU0RhAK1tEuu7SbACDEW0JSKEllj0ZPPy1kxkVWbUCw09WlOY+KW3fh9BKbrZP7/QeAB7Q7czgZJ1P1KobhQkcK7Sewi4a5t9L6t1y9zVr5H4Y4J5xdCcuVsaZRN+4XV1FyckdsXrPtkAfugknKGSm8886tLMhf6E/cX4rqHK+t88SxgJwZMq6+IzmlmmXoVzK8g4L4+Gxb1f1YPv+8xhnL6jabBKH5yPhdUke+j3uw2nYGgOeWTIn9gjMoUj19gQBKdb+3pYaL7vjCG7g60yO/S//gYxVbk3sPGyXsmiejZzkEQq8A9Pg/Ak03ciABljKm4sEtLlqGIoattyDe6L/FQjP+CI/4Hl8rxN77oihoV+gFFnj5/A4OI4jyDbf1fKW484VcFgA8nDIbCWsROADdCU90+Qg6d0KGfA8xT1LLAQHUrFHpmYelAtgra6voUn4QPw3JgacS31YR/ym0AjxC7iqWolMHEjtOvk15TMtDOO+JNSGrY5mH9LnrupBlWbnYFNOmw8ZFiQuBA0myyNNV0XmcdJ724fOUe4KDkAgusnYqhQomFlkF7vNBrwFpEkg7b8k8Qzgn+VnVCv5Xtmh7HdYhfa4ZBwAvtMjZaHOHIimkj/Bxc+2WECJQsWSDFF7CNxy/SOHY6EqrgtM2/xK34j2pgZ6uRvKaAQoom5NGkIzevZDT2NWalIpf+ThtEq8z2Vvb71Fk0IGTIBdeGtRQnXViNYesyugu7YKs0G68ID+4fkkOtPNKZffoNzteD3czfpWrz6gCYnLPrOTTsE+ZV0YiFgX+ngbbrjNmQS2Q5HcKZrU9sdYIgAdQ3fNFN3SoJ99C47K4hr23z0jEZsdgVRdOTDGhh7Sd5sErp478nlr8i6LHNcz84tpidu+VR1pYpMyCPK0wrah2PAXpET5jk8E2HFyO/WmLRglb0wDGijtKRn4bpCv5Ikp1PpALdhG4LzT3v+6mYKIH/MDTxl1hwq6URsu7FEJzF7FwVhbhh/hI8of2dsBG6U2hOw2JOcJWslhPSrmEeJLU872vZrSSGtMY5mTf9oSMOeir5mwPS8MaTelo90cOONrQVUoGoVnU0xEEl/uSu+NUPnKuxxORz5aOKg8NH9HKprAvnu8pGgPYHtITba7fCyvaAJ4rVvNQZG1GuK5YmvVu3HT4bgiwDaivJ5TDLxgX+4oWhCz0OAZZ7kkls8JYgfnz/mhkbtelwY5Bli2siDK/yk7LV8X/MjSIVISM9emrii8e+XGZcKNaC5gWKY2f+9OCYw/gfuD4kHgtCvtJpgLJwshdORHGeWkj72/htNy65udzITEk9hhFGENGa6+1uGiSTERH2MOI1NhdSDtT7aNHRsbZDEcdkkeAI6dcE/drkeSpRhH35EP4DVePcJLOiS083uSpuXaL+xoKz5sPRXez5Piegi2JfDSoDcWVf15Dj9okR0o4/xFuneCcjhMkJqGHs3/HM3kC8Q98paQz82PkUu+ym2FdJOe6PjySa7+eJl0d7rqYyRCNpJRPeb3L1R7wIMuxJYTYJWKQyfAqFKHdVHNL+fF/9ApPRDY5/UhDSoGPkiqaz1uLs5Bp9p/5M1DsY7522oBBH+KGfS5O8mmBphPvfQAsQBNfZfSz2lIn077YiIbhvVLJHyAh+EVrb+mayyLZj0V6wfni9puaFRrEFkf5K12fybiEPAeRNSyFpueT39obMapDUZJSlx1T/8A6fmtZ36ON7gpQAbWFO/f5JmVXdmxBBhOivxDhik2mYTK6INZFe8XC7CEo2urb71QQSUf0FXz+Q8AufHAvVXp9moZVcLe7rM1rC5EJgHfN1HfVsSYUJiQvLfBtxygLojtvAwWz+bxOJChT0tyxRrQhnt06MU1SwHL/Q/EiZp9AAEQmwBVcIvQcuOZu7x4qjRlggpGJeUpjswtI2n1TZ1gD4GpBsWrdPgt+RYgJfEv03RB0GU/sIWzwUy5X68GWjUA001ykrYeY7BLuwhB4jjp/m8cnHWz3fE5aYTU72I1NvIW4yqythgmEKVud6+oI6Ge3949V6huhRVVNF74eBc9x8NsGL3sGwM7mKI26cjTVrc/zdo+vvqJj4YUxDRvQmSEXMm6o+OFJ+CDlzHDXR5lqfjTI7/W2Ay0RiRAylULZplfV0A2T+TSieJtSzeqmjZZe6VIi/hZ8vcIY+1AYbpTxtFZYXRFFj+P+wNDOFv0lpcBptckfngsGbBflDQ0xeifyE1C6sEtrm75CoVRFq9kUhbqhnUoWJ4aLGWBK4IJjnvU9EssdyNCoEnKqU3Wi7AWMI20FkIFO+4QiHWoBVJHOH7UEACte7bOq+4+hnMFWzqMBRUT5LMESVxyvp7RhqfUk49ARXw5RCJzQJusupnt+N0lf86Ama10XVPkKL5Fz9miRS69Ss4hl7XFSAfJiQuCFnCPRmrbTpH3OJxcD1PMX5Sh4fykyxmQZTa/YQux4Yq/wX34312ibdExF2rDTlRSk5Zncv0StqWjZxramfA/PIDSagKfs5gI00/MywGGB7EGbfDzU3dO8C9F7T/YGJS5VlD0aksRKvcI0IBD7WDePpY3iyNFAEQYu8MCsV5kTRbiC0CqJMDf1BcUBqjZCOAKRlxw71Gi9lYYcwltOsp16FpAs2H2Dd25uffR8IYzCQ+wSINLcHjkczDIx7nk8WVsqtMK5ZXxrvLe52U/aqzvCpsOyYaAlne9LCynA59gBOFfjZ8AfZJARf2HAhX+OUf7GbFh3i4R8kl48S7FldZRtWYgVfQEPa6xNUltO3wTCRtV4Yviy0RnoYV7ZO5cFeQOhwkUY/tzAwMQuzQTVdmB5KkODH06UMg8fr+Hi5WskLtygXZ61KgztZFaAPENaEi2jfCZ+XPPQzZ+fyuUr8FKYRiCeS6qNhjzJMj2AaXIl+dhG35RWFCm78mVjkEFFXovG8t0bb+3ocFjOQGuxgeQBk5oonFtInXgWvwZcRi7EOAG4wC1Mx/xi7R9slW+0F9y4g4fWRIyetcm1OQRC82ybTZgHMPGqncNkAfMAyX5xe7BRDeiX967lHpr+MhXQog3HYWgEOusXWL9XpXYbfN7Uk10twTD0Eo7ylg2xNjHYs87yrDIibbFzoyjhIr4rV8LCCq/FT+1eCNkOECwyY9rVQKTAogO7s0KCzac1LfMmqiE7aINCXVCMIKOgUpOl3cnBdrDTOFf1JXUFOJMPQCyVhpkglw5u6v7QdLN44HC2uZySur5xvGgW61tpgSbNUvQVbXKuajklT1z9Y+y40j/gzOBH9lFxS1oO1t1pUosoDhQLghTWRX7wLWCEAFF/JXBKXslQkosXzz/NMeU1JDD3Y8UavSWIaZOFaP6ezga6oA5XwTtB5oVJu/qk7w0v6xDPZ5OEV09i0GvAPtWeWeQz6l7IXfh94ffp/7xnj6ugyEty/CgW//2USWKzyAvZ/EImp1cHTVmYqzCmRu8Bj4WtQ65FmzMPoalwe4IUuEFOXCeXFIMVfC9An+p3rcRny9VPTWtCz5rarmzC0KbBIZoyVFRrRtx/CGFNvIoZSNefxZHBTzL2F3ep/0CRo528QFjqBh/ScjcEchHJE/+NewriVtoeSfcDakcIVcP3/AuCSQEnx53u/YLO7L334uyEidsnxiqwsMJU7xDxY9aggTdikUVntdZPa9kBy0MamB+3Yj4fSkpD7vNuKN1/CkCXyoZvkUV4WTXaCknNxDYCSEfnZ4Odk9XHn032dyvTr2c3lb8+vR6WriYgIkQqSNa4Gjf9aQSH4V//6zFukvcyXk0+2yv8hQsICJU/nA0RAWHnaULKcaODOmDXqO5lX/rOo59NE0jf1os4gO2CMxiQhD8vFhXOUk0Symy1u+NS2BGnirs0a/skDQMsj66FglJyGikbBv0eLTMaIEpv8pEhVyIFcdpthHsDjK8s2rIGJxl4uMe6ulReRYQD7Y52kiwoVMrAX6POjUezOT06A1iCVBKn2y61etF7rXh34vbMpgVCwzEZEJO4cJ0hZdJP6qsSmxA1hLy5XKnbUxHIHpNuHl9dk6pj3gWMh/Nqk/qmFBG92vIYltaQjzvW+44CN5V7JTeKaELyvBHkcsdJuAdpzKlRUwo2a9gBikNuo7ehsPiPHamB25WDNoIhL+gicSx7Wn5WHBoNt34o4DV+9F3YOnGTUy7bzKJ32wOf/ohwMiUeG44oV/MsPqx5JbzrdkCUf/a6tv81lo5OrhQo7MDWrjSQmQ2pjSCnR427lvpKXcOxsOmOlr1plJlB/u4+p/TRcOdEQMeBh+Y11Hqjp2+1kkrPm9t9qyUCon9y/y94v4OKfIKJbJkd9PZ6JPY7cjycGFAXP4UP7Fnvj35ED8+Zxf1rHoY2bRDELqa99nAAGiAbSADBYNI3KgNJy/p+gzOJC2DT/2oaVWFkKpA7fPdHmGnH/r6o3q2HjtiFptDVJgit+oQTdOZOfQ6LExFIh9jU7NdqYYa/46ADCnvl8E6PAKwQQSWF5Tb85PZuwZWKSnqNM97KyEbsm8Tx9t7+W2FYr1E682ysSgkBVd2+dQm0CIZ4ZxqlUmIxuIadbnCgXhKWqYxM3EKNV3osPxmU2w8+jKIhFJ4ALITGvJNJke8bSEOzTAgHcV7q2SP9d/0QJKsPcwezR98enEPe2v1Rsmjgh9jSOTtnvlxcCXrGFKQIu/mst84JKnCIawmfRR3M3FI3SiyJwjSU5i3uctKQIFMaLzYTvIupquwHIAPQw32D50tciMCeOmVPmRjzE2jiEOCGeBWWAEhazpygmeER53uwoBc8XIoMiWR6gFlH33lI/0hdJAE11qWTbrEuFk5lA/xr0j3RI0qkPa5x5hvqnMWCNj8lqNsSrmfvHSz8VxCAe/tpxV4cQ2wHiTxUNCku7V3uufyaFq/zFgsWrvW5tMp/nWmvRVM7KBrOgeRNxPsFJTh6gO9BzMUedSRLlISPTv8Y8OEkz88drc0iCf9ahJdSJIElAdeah09/x2iqcURo68UIpim0gXu38VOItizhr3jV5NYMmb5HoF1DM2Dk7pmPHxAPDa5BhOoaQMe5QT+3flseeLjtek9duK3qZQ8gAdj0hnVLUbZfXUoPBekr+CMgORXeFye4ezbtJM2OlhxlbqafR4dxF6/0oR0GmDVPmRIWl6xTZy86EYnJlG5/JKf1nhSL8Se+zui5uwqzoP5zaEL+1Bmp7KAoMdC9JycoMY4Gj++osl3/ZibrakefLSYcLoT6FyTcVz3wRqZgf+flgCvhGo1VDhpSLeVPsrdAe1hbW+5EdiPJIAIvErm+vyX5gGlePYTzsDmv3f9oSP6GOpKX1Q5zqazABd1LAGM8iuPyUWaQaK4NPs5n/mC9yRstJnGmaAmwbhsdcpJpnUoKoMpu9b8UWuyWkI/tvLQGeJfgnv0sixTxND4Lspj6bYU0DO81+mEQczpMv7DEXenl8S26xxoFgKduGFjPScnkkK1lj1dsgnPYrGVMCrjv3OUT1FH94+EJpLzE7IidZWikH1aLJLTTnIDB67rzKjXjuciNs28eBK9jtrQn8j96gY42kkYELgZQuqqAtZesOkRPJwdgJDJEFRnyWEuzrQL1SZSeuUm375MH/9AQPIKAk8z+eNwna/0NqhPDtB1PGME0GB+NfEuM0zHKSpEL6KngLRHbovJg6tP/vRR5a3pUwUHW7UIBG12AsVOGmryAI8KsI+ui3dILFmsH4ZnRX/h5vY56mJ68fYUk824rNCYDHEPOwJcJlP0W8lXVf0UNLdQk6su4hEUs4PZD+4knrDKi3ou2OdEGUzHExcyZRwL/UbbN8sXRaZNbQPsU2IjHGYvKKyl2XlZpESf9H0YXCpIA3D8YE6kdSAtXZ+YvyOqucZC2iBeOB4gN0v7fgi+9gHXOhmUlZZKHfTaI5ztYWjs3nzj8P21h5zBlnsk+oWKq+fTffg2qT36uCoDZfrIwYGlW0tW6YRaQ1PEX1JnWK/QmRzWQkJ3uHwXMhbeUCs5MVicvC+hVkj+b7t4lC9KL1BUVkUWTJ5F0T3ICjhb517+WVUTj9SP7mjvTQEVCNOdZkcA/xTYqAgvsTaBb6Vns7z/CxTURDziJTqp4LlAZDU1qk6vTmZlLKoWL639c7qm/MNrSybmE6LE3zMd+iwigkT/Eg4gTp00FTw6EZjjdH0TlfIZxuOpy2tJsvCRceTwfhuJ2yXWZmXxaDwijbmby/Y6nRpzcNC0Wfza/PgmCmOnBOR0wi5fCtrSGjLLs9XtzMfDxFjdJZuEMz5Aib1o6RdAWM4CZ2IiaZMUDp7Oqpo2FIz7cDmGBkpfgVIgHoQM8a8Gyp1N3GzdMYsTa64c1X6aStMofpRS9scxrxwEKDoAlRTgo2G6x3Xsg1BWWfjnIpVvLQX1xF1/5pHBNRKGH7uru86O/MPHqfOgI+/ypez0g5pvVUi0mFGJpeb6T9I5sM7wlCd3wDnvKX2ooDz0+UdQqFfLs8W8TBp2pwmA4Mf7O9SlTfA1lG3s0y52F9kWLLLEnQwNcd6w1YQCt8JqJD5ppiacFiX3PNi7/2F1uWBoURJDsnt35GtN3fvSMZ6fgr9rqIGr7HAl2mDK/WfwszevCVneKFfDBUjdfdIlgpxtC0Wyi9X5r3f1PJHWfO0MHo5VtwTgeru4RKn+kXLKlZ1azVkJKzH+6n19Zh5xX1b4rYG2JTp7MubVe+lnKFywJc+8CAjo4rM4GC0x5ziNIj4sLg0tCf4LZ8cx71cMd4G8EmJ+OKALGsge5ec4rWgukOb535pv2Ml5r6btOECFDBfsX/vQRP0a6PxDd0x3SN39hJcPKohQGsnNSOzy/+Aw8rN5VvIyUeAsCaJwCprcvB4M53jwN0xlswoXhAq5Pq+LxmwqkFpUJgVeZvtsTC04abFhdbLktHPPbwfy6Va+X1Hlar+AgqNtziXJ0VGzs5ZfFGEj08aXz5aifkfksNiPZMgwIdvJ11t4cwuw2kPIuOtWoLmh/x8FlhC//tsRSVkr7F35+k4Pq5siLRWLrP2dVQX1hF+gTUmt6cP38RlKCCAFjhtDtlcu0rNudqMHNgfTMa8E7BWJzNGK0+Wz63t6PS2a+yuYnKN+plMJMS707NC7WVpyyJBYToKWGmM1ReXEbplwcBEU//AX0aE4PqWTRKNpI0fsMTSh9GhHNqD3t9c3iU6Ked6OJt5aUHgzJuIzPesYSe0akW0cgJMq+ZaYq5UiKAji3OMCB7yaBTxSXUiwlQQEKr9WyI1WO7UZHG+w4YdZ2z4F68SwSFIryGzsJA8WvyX3hUB4/zPogvMUVWF17sgnmxazmZToAJCMbUva6Gc3JXJn6nd8w4s6ks5zO7KmFfCs9+v6Uc568zMBOnsn/IQfr+ZtczKYKHZauQynk27HW4NA3HkpXsVBh5uhXD3OCq0bWSehHKr8qNuxHutwh3331sNBj9HHeYzYFd+174oSzs7RfB6Z2wVpmU8HEDDOw8NIIVd3AsDB+1devCk2R+GljJocubP6DtcTeYWiwtY8KUY7WhNX6Qc6t/tn8cRsEuuug6FjD+cdhqeSosg1AuWyvKRjHrZuhPs5GZ/rhLdfYJwrOn0emQCG6+wggm79f/cprdhCT3MEOBaqMYNycCLgF03rm4NnQ1xxP8Tl31/tmCBcTPKY6SaQ7ECwCk++cL4G35PZ0CX3BBtRSJ5CIEnmv9Jue3+8n/uL6xpw0N1JnySFwfhuKfZ/eX5ttlLRMb6b2udgmjtjpwCrLpCCo8QNEDNysDOqTEvIMAkp2kBVYtP3uyRyy5qESdhlJFEvzLcEbVXPtx/LDmPP0UAXcuuHsmZg5orP71DDYwzGTKZn+Scwl5DtowQMrba/HjO+4Dgk7eHHYG39poAxgzcivvcm6QRUrTn9U0WE5OM845E0iMbHPxU1iVMPvkfaaeS66F/LIg9lLK9B3hoxBqz72TlXznHtqgjShkpw6Ojj16ad+ON16FR5dyzz2lAORUSaJbMeg8via1fXMpFXtOQHJuMxe5vq7wb+AVJVyk+f1UOXTYRKcoKRri5r4Dff2tkNTdxA2sOPY6LywNwR7AGyIkeGj5MOnArP6r2CMEyM22itNtoTTRBJvqngr51jrIfSkpz3ZtjC6vPy1q68jzGrK3JDtJDL06SlvX+7ngGxkuEiYjF95f2EXeEjq6N4COLHo8e6yKgEcQtH8u9k/Iunk4LAeVIVBmbWrT1Ud+RyOtQwDOc8BTIgK8mSGr06kJeeQI5aG9OQZZ9bbqGloqfr7Q+twk3c7nH5kduLV4zvrHg4hElx7xR15INgQu7cJcAjoeTC+S+bRrRZUabuZtWYaumUFNdaw2Y78QNujIS5Fc+qOP1/VgfbmbR0gzFCpBSCjZ+BWPtQ5N6W0YMVnK5DRc/PXQwUIyJT98ugNL2a0ySUDsOn5WkDvpDFVlHtvLMGdEmOX6vbiqiZBDq2TDDO0NUKYr6WFKZe+IGhx22hYJR+49lVhXas0mOAZ1pGomslLo1JpaGnJMNh9vaVJh/BZFIRMi8XN9Q7S0VWW6Vk4g2R0Q0XeQcTieLLFyZ/H2rZbIdosO0LGFRtUIvRMODePOMZ1hKZ3VXEViy0RlSUXr4BoS0WymP+dazbsEa9n/NZyyP53Ju9zxa8JciUg6xKZaszHTIQL9XTX0h7EMZ/jng4dE0uHxBWmY7Wax4QIVJUJCEO91tUbAZaaKsGt6hx4WoFRPfrc+QW36MVrC4CPJNM3BEK22DYsow6E/OMtWIoe91Hpvkl0RXLhyUPlw061V4E6QNYUStXfgJgTUm2WS9pGzUWlMI45Z4QE83bfxv49H3ItM/9D+Xps2ZDv2+IvAU7UmydpxMVAv9sh2DKOlm5MI4vuIIy2RDDVcmNwIrFoprYCsvuheLwFJ/j1IIEPbvTHqV63efkA3P+VPXQXqRcrUTqGjyZIHnnU/y+z4lcYba8QQFFuRLr3ChHHWzFC6JyIgBiR5Dh76GJbc+cWj2b1zgxHk4seGYPWCmDDmsvXXOQX3hbKaKoWCDqrF6JbOPjw1ytpcmizhq/SeYAWbQdD8IaBSz88MW1U/2lYbFkz22AR/t4l8nQFWKGXx3NlkZrlY5uN8zQs9wyCBNGeK9Y72h8R3a+HnEZh2NBXp3gpQRUvSEvLKqCgBHY0Lg/UlXEkzXOR0Sa8WOmWFzAiYlvWDHOsrP9WuenvotPoAWoz8OxlFVVOhnENoX31AF7MRlKvPXf/s6uoyiFkmAC0P/Hx2n0wTIYwWFPW5BqX3x+onZOEkvieTGJmlIhjwwWQezVay6fRlxJN7F7+xQgjcPyTjeqXAx8Il/ucbEV2guVQ7oAqyRCOnMTBHpJHfbt6+hndNU8sxHSqb34u+ZrgM8+RXrShmxRQDDt/5NsVpRc1SqhtqQdB0S6VBYiY6C8usf+ipwpSoGgJJdof23Z9XmiSYS1Nw4mjWtaXvtWf7lnSTeLiKpc/ZXKnxwwb+IqP08REinZ8E2AIMHHib5woeGKnk1AkS0Boa2uiWVicDqWfLhOPmCRB5GVJgrXdTXLErjD6wLH1T0WaBHzX1FmaVjRFcUL/81hS+3yvj9E729XBOEuZwX2WAc1bW39Q4up3HvXsR/bALdrroK098nP+tEUtKdgACqxj8GSYr1OFLrw/7nUZh93EZJYvFdlrWrX6NygMmZ1ttPqqi7i4SSMti4PLArINsUAMvChIWRWeeXqZaMmE3ef+YuoqqbAkU1z5tdQvkgcl1rmD8FEZRiPUvrSTwHBB6oPowyQX/30ZX9ku68p7dfr1bIXC+BTsEG6/XodASwGG5/ZR5NI5JkUwjIORd24cllTKAto2mBtidUKxFDbvpLvE0WaO2xDU8aTFzks6zgHDuNT9kgP4Kg4HzoV1kEHELr76ZI+ejKlS0wKPQUxl+ofn9zD8I+pVh26KpmkZVFuwhnKraHuBMTUI7W06o6b136iIOItBebEi/HKnyhWGo1VKSIqLjjotq5T2fKUJk2vjdl1gVbLUVd4guROn0+HBWVZ/tYmXnqEfHLoBQiEdFGq0w0X/0zWUStsRcPovMCpY7J54OuIyUydZ5QC7kF4CRPBla8gQGrlMKWZFFSDZTmVnrbuc7ITmnFB0MfLlcqDtvx08xIrx4HGTL9AgwGG9oqJe65/GrXRUPyvx2IzKJdzqs4HAlNzC7D59SBa3PXbjOzUopkrPKDyaDFRwSOXlYYw1EjZZJi6iFVoKo0Zsy9T19+hrYkZWJXZvMZ1P+FvN1D9vdf3ZLzDkeCnLbRiilRqRqaTRBC6OcqJhZOo0bEWcjwFd68af/CxqESLi37Wxf4KP7n0aerT+ho9fKHTrNuI5AqENmns7TcoE/3tWP0SJmoMzGC44+Rg9z9uMQd8ai1XePbBj+79WjKA20VdmzhoJLEYb1+Sn7WKDNPRMzMMdkeq5CCkMkuoXutUq8RAD2gSrxmOGOzGzc+g6q7DEwfgN88YiCMtCZ4Xtp+QqMq1PRvyddXcjmqVuT3jqCiazoTGG5uM4fG7RnyNGzbyaNZmYMq/KJA7NrBrtGpI0Ll/P1XpsZtu02vOmcBiUdqNXh0nidFnGOzBECzz+rVmAJ8qAca9FAuLYGpDBuJ4HAx/6iNQuA9rfqHaCQdrHNqsU0naTOHL/rJ7A8FCVEPZEYFAHlEKUAyS1NkjHxrdU3HgSjZC8icZhuf3Hrncp1dSYyiUTV8Z9bAylAAe0lNMVbW6kXxb7WOZy3OJt3ZPDRaUjWUe+HRP83ZLrN+0InVCS7kdfT/pWrRHdpoMyNjNE0vvGII6FEOXx+XQnwxoM38OYDHQ/4gGQv2SiNLVRxeOhcE9cUxovekPq6fL159NOw2C7ft0OcoHetJYStjTmOdBYc/KbipqG+3yyyJZcmgnntPsVRLaRHqb4Ay89eGnG1yJh6SDfI7x02RVoRE/tIUkbEr0cZpwxRCshwIunIrzIHXFbekPsga7/KEPb7X6of346QgM7gAsOLk2/dB3JTkLl7BEJBRWzh5XB29POdF41Z0gKjZ0TUvZ/msgdYjLSlbypYKpBHNBsbiINwbEbZdv/p7GssBAjZufB3nlp+GEBlqhww1rNyf4PFyRgmEeygMw0j1GGvH9QUuRCS6s8WmlcA7/Is/J9QJdX38dK97mM2QYyJYtMRtYOH1++/GvfTn0G3svztOhAt6d9jFsYMeWgBi2ziP6wL7/kbhMjM+A/xNsv35JCWwujuFDToRW2Jpkgqv3OEiGoipu/JEu63gjfgCiWrh8QYjgvQVfZk1PUg3CZQPVKHXsFe59YAZ/RrNKMv6W4MZgoY76KzGkAy5N+i62vpbbTLf3Vf3oVIVDd8GFuZlrPq1kxJ1Hqz+paFY2SHYtQxCU+Im63I2dr7Tm1Uie6eqwD5mIoShYQHODQvZJZnwu/5u6LCEKjyhbKMgXRPDTDjLwqQphTaCAq5KTC6axvVnRQzf8CCsKmz2hSnx1wOSJhIymhbu9kIOS03VbOkkK6zMWXo+Omt0XLrnoqaBISYwTeiAWsbJ5QoPtJEzQp5G/dLGcX2Sr8miErAHZzf6MEaLlS9OgdCBRR2Y+m+3jWsZq67rdRl112k48RXaYTS2Tuez3qEb7RSAq5zj3FbxjCkNYCiHG6So4pia8KmBUZ3xPIf0ai+cgi4FrU+UDiI9/bQ4r+NXntyMebu14CRRPSwvuYBNtABrOVKdx176WoWE8/w/UKEYG85U91M9YFAT3kXK8RadCn1Eodvp5oLXfnlCxBnZU9Wf6ByuZ/rSpuOv20b4l6XWPF0my60E64lKc3EqKLxpFnGRaQW8KzH+0i5ZV+fPQnHhoVFWpLfZz49RDGXrWEmxNlG1bdI4mMfq+SnOF3YztDKxorP6tanJDtDIALbUy/7hWXSNhcsQvSBr3/MCVAF1+P/LzUv31FU3tu9jz48k6RsqzWbZBczecDDxkf3Bux0D4hThlCLrmE0dk1D8GxOiOjYOfq41QI3MsScBxxD4gQVaRMkyvD5ONf4IvPwwVuB5GGXhfzELLvrZHOJTtulXln7oacMQUSMQ2j173eVweKshd72HxgQRB+KElspOAbM7S/CBOg/s6sJT9DhDWI9Z1zHs7InjccMxUAxcDXpxr3bwIkxVK0DrZ/bW2grmv4yIgypOIcggrMZ1h/6sLwWrU4F1M4iGvjsY5WPkHLcp6LhotXRNFNnzONKDxH9fHM4oZ1azmJ3t76fpT0tp6nRmAmq8k5V+bOhUq9aD00G6KUINQUjQg9dVCxzY8hG4R9ELa5ObJP0hJDDasQY3ib2cs2HNYJ85NcXTcqkZgMWCeZzx7PqCRNJHsASBgg3wiWllqyCuDZ9hggY+7BVci/iwbPbVERw0cRx1IW2wv63Zl6exJRHz7bWm/jrpdHvgYCa9RZZRygAlHljelPl2EzOj8zb/k/FEjNM1FKFtprMQbmvAQlTAvmCjoKC6zfCmPRc+1Q4z45kO4Zwl7zlbUnzipEGq3q24QTGZO55q/aIz1Zn34XY5IP6yIaevextPUGEfwW9ouEE55Ep1HfyMATZ7H+/ZLDui+TiQzO86EKedddy17s0V9zwtNkQdTWuhLh8rM/140fsZ2jp1JWugl3IEf9VL+YIRfBXieunOqKSsfWJiVv6dJKtvRD9uKuykdreTm98OFuWSplFRv+3P6Hw2okjSDoiochF+jrOwpfN7lo+5J5zWtKhKG22KYxl60BSfq2NNl5vn5mOuckxRQNctM12jpLR3OY9dSV0rb2tU0mFrIid5z1ikuh8MEM+054rhJ57nOof6dNZ9ZyFV9gti+ay9MOGdUJatRUK9TNZlu4gLgwdPDkksT4dYeBNeY/xklMRFFSMb3lt+kFwymoHg+rJy5ByY7ixrWQu1U4RNKyxMb33iFhQ2U5Ylx0h6aAAcyqMZ+2s+P5iOCDMzaOyKAkG14Jt9r3sZeR0N82b6wxtTB/0gffJzYrzIHf0vFM5/6ZrWVJf6tg/TYQ4O/R1gJtv0GC9C/cJqxiFmiKR+am2rToX9BkmDwckOmxRxUI7u78DZyFUTuuSwXhqSua5I7ExapsOAuBZrnU7gszWtvruqvF3nTQgQq5EbAwp6cgq4kE9s1QZBFugt8tTW5Y/Pv+sD6d3YKDg8FwAlO+XME5oqwV1/Jcp9N97N2qYHgL8XpGiwQlE8L59PuLR1liVuqMW+LNyYeL7Itr7X7h6FJJkTXhqB+uyH3oTk4TKRIqJnpPXGuT8IUbb6V71vlWnW9Q/568NEVWy0uZZrHUPvGWuj0ebo/Z9xEr3D8EeUwOj5DPMSU+fcEMaj7gaW4RTre2gDWdFxooHyBRmJ4Secra4SQQRchWxfdz44ZD4SBhRekPnKSJHj1huSYxJOuY8N87GCyPYQfApbPKWvbNYL4MeIzcoTblTqfoY26LSTTRxcwXYwFURUB6E8VWWlLKyayRTxzO4zku5Hqy8VRXOiPLZOHrfdf0Py8D4n0gKwFXQwDM9rN8wL1YjKR2ImJM3V8W8Sw1mnTGVkOH7pQoW+2CYOqmQGT/L5TL+tc7G/rylohRcKNSfftE2OglBAPv/OP+x4ZYfyL5Y1Sc+etI1bgeKFRKWXTWzq6kQo/irL/pYJ/IZNVgXK6GXsosUIe9xcW/RWn9Hnb6TkBClSkXmdOL/DahJpRwtBVKWhgmg6x1NIGDAuO0W2xgmKbzqG/UDX28YRuqv3JDkk45z1HjGJLFUsdRePxzhk2I/1YdmHxdvAvQDEgiYEfL9JfEwrMSzS1htxFmbMG+YrGJUmIrWsLMFE2JhrTll+ZQizvciQ1LiB760TD72+FwzZnDR7RyMs0qXcoj11SdqdvvWMa0YZSa1454ZUANLgE/Gh1rQT5h7fahPIdE/SycAV7c5sh+Z1odgvTD4FOL7T+83GaEBie4oE6QFbkRzRv3kViexh+zncn3yX2Gyrr4C5y9SM+/YaKaj9ukSN0g2lA9JWX8df6KGg1+RQiFBIZfXglKm4rb3saDEDEVC5iWvkqP9k4szKwWdUih/gJA1jyBfyfIzvPs0f4oiGl56JXYMtqSUrdfoOEnQ+biV7EPAnBEy3o8lD3Y8XqGW1S0hnb9PjU33ad3kQs1C/MVV4UdrgEuBNiBkTFQwld8USaSiJ0WS8IEuNGWE9PkWSI26l2TqPKQFEGEh5GWcI2tlVnqJhHlp6WuQtLEsWTdgxrj8DgR2MUD+UTyEzfDNtd1upDUIJbALqElwgjLPxhdPpplXG97YeDcJvGhuv1/wS82XC67eerpxz4Ioc9+rjJVdDZwocn8Hkm/ONqAh+oG5WdYpN4e1V7lzhsdyjehJFek3/vY4Bd1glRK+urNCQbztx8894uUzQatrIc4lo3oi2zRgxzDJiammS/HTRe4m3XByPROsoGsvJYTefw5+Z/MRK3RWPTnJjPMnVgbICSGyzeDJQrRj1Q4wOJnkGn1CyR4rOVqnwEGI3xo2qK8NpWr+KHuhC01V9jm9s4y94/5sovQKTFwFopnCZTsfSGJDkfZvtomZRyTeQtE8yXSYcMV2G0ZZEv5DEC8euyuuvBGYdAaqXFXDKs66h0HhQkUovQ8acweDNT5AIcwESgDYqW+4wJgrytpbZgwakj8wEA2wc8s4FzqfC04q6VJesERnaJL0O5q/bkm/h215xqDco04wK9qMmozZZpviHhMfm1ohz/PudtYsVw9VSsT0/WSMDxHp7UO3SI+t9cnpc5exBVPh+SY6wuF1FSmrdB58tJEbN4Kxzn+3sOPiU/iCcX+tN30080y+2xxE3ApcQv/6kPryR7nRh4+KVsy6hu97MR2/ijkMD5GvpTZyYvQSSP/YiUt4nafiVDT3OgZ5Yjoi0wV1OzZf/owtm3HdU0WV4exst1gf6/KIB3vYHp0kn+NjNrkwM0DIMNeSMKoOtbzPb0brN1zqDNdhEIWWR37gn7Hksavtjx/c50vWQf31aEMdo7DclIh8dlNh1TQVxMqFxvn4wZ+1BOGJn9S0KpCTKzy0J470QvvGj0l2n5Eka6ow6M+dGMelcPEX9SbC7kvls8zqd84CbA7IKEioxgZSdlbXpZopXTLTJjl6WiJqxWr2Mwwq7MLkRbtMFz/nVvYlwQRUKNN/6X9nIjERBrUx1u6FdgUoY9omZC5GLFLoosHghuodScmqSXovUo9tad+hBfNL4e1Pzgcek+mM48RZ7Tk2vPhA7IIWzYZpeTCfB0zXSMa1xHHPhXEFhrTsb2EsZPrH4xa6TH+CS6E/GmVAFDykLhpSwjdaYZcDxfMT/nvHesdyEW7O/gIkhZ6xYPhKG5+fW6bGYID+gS+eVi2JaB8IBk7BQjqyIVc/TYpR1TY/hxGgthLbrYt24C/CYiRZ9tq//Xhqy52LWxQPFfDZW9xKWRP4agxDcoAbdGOW+pxJ23sk2vk4haXCJN4ZZ43nDdfuhIeA7yWID0+VDTf1Nn7PmQf1+SmQyIgDVPq8H3Tiq7paQx2TqndddCPfsYhFJOnGiTOj6aQVqZbawq77iq5ao/AmjQtj4ziQ9xySOWNy9vvqhW9fbcKXW/QRIcZJkNr8bsgTwgjYFuIvlo7TzqtRoe6xBt2QPapOtyVP16jeH9aHFSKLQ9KQ6Eix+8nJXuLt4iwQVvcbI08hGxwITLp4eX+DmS3tZJwAsqMaOWkJj3lu6es7LTBPo4mb4P3G5Rw9LIeJYb2U9GFPTBGtV32ivlvrZlO7Jehg4GmJU21flS0dBF8nk44dEDGb1LilkOBCa7LhImOds3hf5BdiuquGPfbYnnQn242rSaiBEgRv3Z5jsM0rpPDK8AAFr07XcEw3Uiogxr97+CccMHv7hiGeFBhrkai1g31m7zl0vs0QpVkmqWx8oCFgxeJEoOA0fK5bNnbt1HDMdUIlxBf4pdbWsw+YlSlTsNXU//Eu2X3HPDfNvq3TYL75jB79txNgQLiM8Z/cEb/cv0y3uI6gHGcOxxNNkjU7Y9FGuhMceCledA67wS2UrNcmS+DXQghgLYK7unyP0gy+rB3qpqTgfMoxQbukr8CjyMPVVwtP23tHj1YA6Ryvn6NhoJvr/AEN4sZn/wHL6FqAafw8LnOdsUvrjsPa7Oq4DGjbzFOZgdTKPK3xgjQFagTdbbaGPQye7MBpCss0Ds01Hw6Ui8eorRSMAYq2dXnhZN/w6eb1C/4OvKxogfmbpDreCX/+o6Wur13kCN6Flp6kevZ+hzSeiw9hkO9MA2D0eKjIjvUevjnRsIy6C4OUdPLqs1e7pEvmfdj7yB1lr66820gN6aNJABVGBSj6oVj5W4lH058w6DRzNNxsPF2kY2YbTOoFCIqPyTvHGzCY+m0fZfm+88KbKh8obDhv3JK+N0Ilx6oOktHHU7iIyRmJESvJPh/FMFP4QtZ2Zw7RNXQCF3q/EX3RKQ8zX9ZwmgdEQrrTXdYzoscfh0vpNwf7M0od3ULhCuKlhObd54N56b9v5BcruIebtIe2R4Wye6BsHeurtSgkpCZd/5JJDoyIF4txhQauHmGojghdXdl4v1bnxbG3k33+6irAb83vZ3w+hszCrvoc1VfwtmxzMB+H6m7McAOw4lpvgg/85Uh4kioGb/iIXZbu74jUcDfT/ves6yWJ7Fa3wCPxTOdwWx43cA1misljbrC6Y4VzykKsef8LUEcG4yKk3Qx8coG6D6Sd2qy1wh1bhHgKA3AYP4n9W73/07/5oeGPuUdg9szP4RjeLmwJ1DEWRAIv4a9C9oQaIdV+23rxCqQ1T4CRWm4evoJE/qBVmkD89D0MiYlgPYf4J9prS4b2/4cfM7MGHHoYqqoXThLHgkeLHxvR1BKsn31zfICcyVxT/0MyWTVBgAuUIb2C6/p57p4ZNyPbaaWSUbq1+7ONqiTLrILk6eBqhV1NPhfbXBzeZnVQUNFkEp0Bh2RjQiHq3I5Iwy3H+6M1wKus4G4agM6AMhv6qiHI5MlTdUj87bXjwkRxhpexMQOxEBp8MSYF+Tb9Q+l5ZzsfW3VGPIerwkT0xcGI5U2XchygdJ8zCNA0uwgC1IfxSc1GYZYcYRFyOba6qtzNib8X30rPCP8bIh5xK5dT0V2odzwP2nvfLtUYNkEm7+QZ1T50q1Vb4iu6WqaHcM55NDL2Gmt6hse8YkOxNQ4EW0rfjp5VyNWD2SWLlK66jGqY56clVIfx78ACKl6im9SNjyOo012z7IjneFN38LLZYlJrTEK7jDPIi41lKKy/SdsiILjOum9+pNil/StJQJm/+Rh64bWGo7GcsElIzQo9JlCDtmJh+ztHlopvR1T1jQUxS8d5SaHTYQqPn0LlD8cyyzeiAdtUBNgNlaPuN1L754vmGRGnp8i95+YYmtzioNj31dJgBRrejW2AoEoZMArqvUsMxYLsFhBsAp767smcsggcHxZWBZlRGJXWS086P3T9EWJJ7okI6F1Y79tl9AcVv0MIN7K2PolyzyfaVzesdaesVVj+qoNqtXGkRuLJsRp3q1EqSJDxGpsAFbGVaTT0zYMl2rcgHy2C3B5FM+B7cus56ks1aAB3jOFYbYAARnFUrd7QFBRG5OVAS+nwR7LPHZyv6zXmr9OxeRSkhEu1jRqFyGGpAKlfa9Y/ce2phUi2V0WJAlm+82GNgk3vIXlhLlW5OvENLSLSK2tEiKYq3o6skqHtIdpVSRuWqHRL1uGpV/Otd8iFkxeQEWaGIuXMqwfTiECUirTuGZFJNcqApI70qPEBBvW0ZgxStzZl+Sh2Nzx4Y4F7qcgLWAk6FO1levF8HSBJcjemBT2OVCnbpw4OQG3pNQOs0L3fUKy0II1TkvWy6uKyC2/B4wTQezGJi4JUnAGPeqAOikoMFgvrP0JiTsGDsvAD1Q3TOiu8BeCMSgNFnqMgV9shl2bIs20ahteRAdJG0WDeO7CCWoA88jdy3yqSBXld22D7zo51jB0vBRJGXsd6RRYG3fM9J86tKD9IhLGSvXqjFXpxGLbN9cKyR2Pl8YhkH1nVYeregyX3ZDyTDW8Ge3yaApiBLkGB4Ov2u8xM9DE/gZTl6uW8u8c4g0pyq/l335MLek+sv7TSq+ZLjUeROKYHv5pHPETaOLZWdcqsknpfG0QgQEHURjYRql6cy+voHtQS8jrb9UjI7nYL+Wb47cPFYhqyoLr8nAt7JSdPdzBxQw1QcdQMSbc15BuYjWPtQdh6ARIneZ2Q4xCf0wzClRQ0lc2z3xsydE0hyBZlW7/uSxK9xjE6YHzozNSD/GCnfK2BzXgSvC1fcUOVMfumWp3fJJhUpD3tAfSUTLlwNZzhMs1V+v8W+U+KGcclLL9XtL5T6QHOEekYpYayQ6MD39Rdzo72wRgwRDYIl8Sx+gkHIqpC/ho0SD9im2SwKRHTwlvcPv1rVRl9cthers511O7voyNwmyDkcj4cQG37FoXgkVaMrJsS8j7JsqSaWNLqSRZ/oC7m4UkXYFf8WICnk4tPgzC8lppTQ7wWMluIbGzMTOl8zGmW2UIKG+jCns+3RduMT9Z1LPd63qC1tKsf0GhFgYPmDDl69szdfK0BxexB0uIruKQfJatwVxFkJBgsGDh87O1n7kKG4DJfwHcqgH6soFb8YoOnU3p0RuYKCKd75SqM8JtFXMB3eB7zKwqPSDr7VMnzUE7aTGbVcxakh6F+Z8kaU1S3dUxDdCV3ENAsXGecoSVKqJER+umuSyH22HPq0UWq4z5XXNSD1Nz60q/4r734e+74vt5/EsMYwFTUKDX0L1SfEEns5dT+pAls+5zSi2VCk7YzrSE72mHcLY9bhPGqK7gNtPTHwr32285CR1fABRXYiORZgRpBeTgqhE9KwoY4rrKzLCT1rv0IJ6M9jgv1kijpbzkwM4xe2tqnJnPsSfslQULWVDQ8DfXENKT4GGjtbDsH8YDxf9iVF5xI2HBSTewiXVS6P5b04knOMQRcXzggqTQLRzWVk3fuB+w+nuebisOAchgYtkQREiD0UQ6BRrYDHS2dYBp3uThteVZpO/LGT/vK/HR9efpLv1Ox4ayBBWU/8/cdbuXS5ifHVgc5wYZ+DMZJBr98//rJsuaoh53T+LHV86ESMRfykp3zT6bqKKvrI93a8MFWVBsElFd5FCKqeYYrwf+PAhc7TJkccXnCTD8IBmgYUUATw4LxshamDT5tIGl6ZFf2IdJFCEHc/DHQW1kWyFMlnwEvKn9CfVoiPkMTLLYRTU5Y8eL2qv6cwirTncsD+nDZRA9Q2ex/REv8cxILyWrWKr8zivv/BcFNA2qKh3l4QwtX8JsVw+c8DPgw4PDU/FVI/101JPCUr8JfWJ886C032H6ZGW1YslK2zFtkOwgvt0rxrveEoxIjm4fJgsxW+gO1ERef/+1jlqupnKGVWujDdrDDUTcuQI8aQ0aaOfRr3wsoFlbWy/ptRx9RSw/IJhukIokqyqIqdBjAMyZknaqoNq1iu5418a/AQVH7414SBB47io1L/a2a2bgvNbsUahrK6qbuWL9NQEQ0DYJhZHLdqxRs1Sj6o1a4HpWGXH2P2GrNED2ACW2j0hQ+8KPD0R3RZh+gPxNo/cuzYhBWEYAs17VfR52Ol+83OmGReBWkLXnigJAzhftO4vheiWJxzS9yDrbSSe/rWL/2Itp3lPY/RQb9KGJUbHAAuxgCmtnj0Q9NzOXgxQtKsPHZ33sbP7VHj7R4Q2gQ+3T6eKCTj7ovWP5Q6dz/wkJEREVs72YzJALFUCiwixqNFp7vr5Zt2fDx0kBjoFFub5hVUzO2MglrqqFnIJsdpEIEjgRwr47AwOfyCFfRYdxPV4tVXLXpwpw5s4NE0EgUJFvZriV+aq3h3WSRrtBQErDVQM0ILlLOm6YLIaK2mN7vAd1Nk3xmZn8X6FtpGWJfqJNhILvbtEwk54UBuKiEfCb8dRrnjOHbh1av6fg9JcpHB4uGAPBP+1hgXy+m60Q0pe3PqU5pnHFMOeF8+VGiMysjQjouS1m82QLo5Dafh+j03qRqxr2ywLjyWDVe7Lk+vLnjpCZQH6ItLGar0sp4lRX9FhKMBUKlERuJKxNgk3FdiLmWdJ2/1U3Hmkq0+rMvknTv02CcvtTPSc9RjGOWDFVEr8iNMXMepSi6kfvu/WfQeunF/4lVH0+kf1LsjN9dIuNSmGT52FsKfRVPpDFNsD/2Z6ORqBdCrrI14IOiJmX9EUzI6pHZHdq+EdX2WENAPItfazJYBRDBtsR5J4TQLQi93syfrm5rKmVdw/nAG97wC2LSq9CZ6/ZHo4mqq9E5YZG+QFdLvUZ4f39PrugftR9YQecyCYUp2SBNTp/yrRwHmpLKZqhnJOBOasm2VOXkitIFo+bkE3Sb70M0OF7t2vm2oacy7evItRN04v64soHDITwoRJEsdbOVZ180znmYb4AKSmhGxcc4jSh2R00rLnH2gezFktbNR7++uQxvYNFXet92Ckl3OA8nhFpLe0tZV/ajtL5AtPRw+Q0YC5khL050Gik062v58cA/w9QWvgpAGILC9KvkgbubUmV7w/TCiidYIcJyswWpfRg5WAk5itgXeCvE7NH5NAFwogqTHSbdo3LzWreAAU6vbSyDy1lwkdHTzv+pZHCvBJGLO0E1xQGhY6OZkGaWTF6S0E3qF3klvQ8zAJPknw4AVquYaaZCviVJIRhDx4ys4cRNbUfN060g5DDM+QLe3oZ0vzigBhvvp38V7uCrbGt7BGe8xSmsCmU3pffpeFpCHrtsKy0sDR5BibQazJGgm2fcgFnv0XvNnkR8vQjG45glyE9SkBwK0FSlM/vUd5B2PkulYe+f2q//fPTS+O8EFQaV1G100YyU4R1UdMyRyd08YzzuJmsU4MTGUDSn3SLci5XN1rX0wVVZTF0k1urxoODMqqHnEk/BZD/j3R3nRRsrAVlLf3JmmA+rJm7O7rqFQz+Hyos675/HYGhq5OkekOvZnPkLXo7wWEClSKu/ZNAvtgMD+RBa6jEBYCpCLvINh4F4LNLfBRJZJ2Oo54XXE4PhdQVpUlAJn6Qcuh8T+m0KUV0OaLPvuilv45eCwAsQeP3l5EDJGzf2roN9A7Q+HJmxgNMAw4ymw+PcChVY51aMp2Qg6VgOkDqAYGG7dK+jfVnuHDCc8yOsmDPf/8KrmWh+3MHCtgeety8BFilo8kAEtipk8hM4xZ+wDAAM3n+th0XpLmiVZ4/BoTe+74KdHZdpsCK/ED078L8DmZhszaaZ5xKLKBvYGZbXyZEDwr+ODmSiG9rlpgBTD4UrEuBNfXM3tH3aDDq7zyhy2M+bUmvQizoPbbaifpG4XNB/SD4T+CQsFoA2nw0hlVsU6nwPe+gvnb20m8ZUMrlZohvIBEw3oYoN+6eI6QbGsf7aLcJ7QINWB82pYSLJxbAb21pgC4LU6enGBOSOX3Ajh4K6L9KT1KJAEIgvcfQwBjaGnXoGZGmivAvT57F72/JGtivhPwAZHMeH4h3OFYxV+hQ7qJwvztiYUkdtJUPLlcdbwEmMmTlpKOIJixgoF+2x3gq0bsjVdIUJs5a2yRb7TiMOhdB5FzrAFVH9Vro8mRZDvrMnXvjWlK//oWRedKsOvEtquS8ycj7Ak8xWGfwG5uWcCVn2Aue0YKsJvpdnv5QCY1lqFJPyz/vUwiE1ONr5m9ZrJ6M//VPAUO4FJsbbEKDMGkWBw9FFfHbtQ80E/9dwWYK7lmzKKbSzIZ4/W5LKN70qEJhqOxFFi661uJz4z4DWJcGQ9FCV/NF17NBxx/JeuSPmfV85sJ2SupXInFWxQGDXkeVjQ0OJavVBtU5CxmgyxoZFRh7JL9sgAs93mEH8+VVwmx9AzynYW8nw2QdP0amVY3M+jNUdqJWDyMpMONeTUGmsKW0+uRpg5lxoiPycPRE0f6X2ygATzzsxWLKHHR2Twz8RnF9VjA/f5Ljskkir0QLtBb3hEFpo799etPNPFObqUEHcZE7iXhHI9yQOzWpbvHqW1pnH0LoE7BjB2Va1SJ0w0LnAA8HBOm5IbASl0yefiV5muEwnNyxgGi+guzB0RaNOSX0w9HYbs+TjSQHpQZuhOvZ714EDgt38s6kFKGkC3EaAZG5+/9VZm4BypkXXmCrwJg/BWwQ2od3GlDwx/eYu1aNzmGRtHwzHMa23B1/DqfpO0qFw2yD2rH00IagYCbBy1NR5ulYI6vIDQ1XFLXbdZUmhrWdBCR69tY0t1D+3opBOq1ap8lzMazxBZ8+UIZ/akTm+Djb7ZbIZIttE/ejLjFk7zC9ItpVrqncqQXD3haX9zJ9w8VgUywJHY0hsW4K4Cwu7PpIMPAIIkyYMX20G1LgstN/pBZweCKEER8fmF2MnVZda7pe9B/EJEElmIyhxMsgDnI5267KIrq3BOHyALHk2GAtJr8D46Er09cnjgjBXO4OUNa+98kXEV2Z4jHrkT1GPeKrkbd8ZTJRq+HF9p58EOos1WuhA1MVgnXyBYUYuY5hPllG+tmSujEi5qhRmOX/cFvXpuKUWAmHe4cYzT1YJZBuaUb6oybfIwCqhd2dYs4SNupJqMI3PIRYhlUHA9q70E5Eq51i1sh4vr+UnAyqe0DLSdJskdzxWl46dlsz59gHV0hYxFBwIu51kbkvBY/dogcBU0LOjV2k89uhWAuu1nypB5EXRRXheMn2H3jNE2yULFxTLf6POQz0+AQi4/d3GL3naod5xPCxrcg9kw9t51IzsHRKl1ZCWlj0cSiyb2r6njZQEM5pLk9OiBCwK84cOBuG0G0uW/1qoLEXzLVS9NB7G8HpK5KA+u8EZN1CGuxY22mD4ubbVnbZy/Yu5peKzFPT4Z4cGB+U4UC1tIcqz5RdFNOCClQLztFyWF558R//Gqu17phb2T2sL7N7/4Z/BePb5BdAt1pmTzKigkmkOPxzeU4poNFkcxwiQbQqj4sy2E7o2fo8iXv9lkMHy3REjC03D8EP8V36WyG713eUDUzMMlefFAiUlQN30HcVGKyEB53crmpdXXN1pAqWM48shJ9CwOetQA8xsnvmLn0D7jLUGzSl7GPpdy25rSNdxgSCpw14CFeVSTkXEHpz4Tu6J0fbmYQ89ZfczeQGIcB+40leB6+slCPEs9eib0ogxgqNQMb2cxH8D8qmEy5L/A+PHWP3Gnf85gHPg/XVyMfwmCkMj6VHPLakPhVSOUmFoK8S70fon4ABKhEVllKpJdTQ5H3I/icwJ58Cg9ST5DmFegm+xh4z1VHU3aePbqcwRXJOXYL1jSjxtGCFzwFE8RnvvWlgFiSK62FVFow9rW6cJc6G9Wk5G2jHqVtIEGuvQ8J1PaI3aSVnF9GicILR1V7o7Hcqwh89E9fbn1D3Zzj30+2O6ekcIVASXAPqA323DIIXV2guAlncdIePMxBwy75Ip6Ci8qSsX5Uo0vWsTS2hGrtXJalxxlW41PsHiG9qZlwFiQF/cR6jQwYLUK0898y51IZOcQqsdLDZUXKgv4lgVMJ/LUkMpsBTaFMmMNeKvtFGiXjIYUfvxN3Lo9odkKnuZwu/GDvLg6C6Dh+SQEvJEyjSkYM7sxQLSq7RPDHXeS6tIqj8R9YlYbg3UgZz5lgZ8K2C0usdL+ylVFsvQJE80WxbFLQHhkTvghOy/Mxp+QrbkBgcuvp1GIxSKGLo+6tXjQm6rAM/TSIABTGmu+hRPjsrR1Z8a7x+yYigdYq5kFGYZlTShODPQY1bolikJJ65XpM9+55JnvKhocO2sM3pMRcrXAma3+ZgkH2CRhYZ4/rjos2eELWTj1x2Js3CVK88sufbeUHD13aGk5LjgVJcQ+88t0DWj9aDboLGJ/Mvi1nTFO5dDhGOni23pfHMwv1AaIBm7PsO3cp7GMJy0B0UxU4jKAvMSlZTdCTEexkrueUF8glBtMphYxcAzl3Xhv/oFf19DYfFyPpIYn+YSjYqdlQnXY6EyUuRAalYg04qU+sPlB9vewdobLmNvN8AEjW0yVZ/RM+TW6YkmDAoGf6CF72AKeXQlph3CWkMBhi/QpmQWQS96oMYTZOOQV17vLUPqM/jq09W8/r0xt9gmAPz100Ayw9bHiFXyYdS7gVJfW6jufRr5X1PLzYG2bxjKQlaW99hBWsYUAFdS6OOtun09FD1zMjkPsgdzluOPaHkDRYiTVsGAAmDXWu7G4MsBHKg98DnUHr2JhoEH6e1S7cCJcnssRst+muKcQMf3gSfao4NybIfCJyzMsRzdd7hXpjTpqqUZonLw+r09tRcZUSsMvJnOSeH/OYoulKMxcTzR4kWuBbFZ8RXudU14NQvwPucotCH+ZYtDq4UoTCnBUuYPAOVMKrG0YIzX12kHDzKaj3EHkTQ/JlxxGWnmZF5EeBpSolz3/yE5Byht8/izeGWSRSXqz8aTt6qDT7/OJWbY/48YfV5HKjLJR0vXFRCms4xtpHHfwibbNj75nLGfvzUU3vl+aYce6VKqZ84u0xQsAIn7u+vup4EE5A1NYWnEF+d4vQesnSaRR6o83eGeaAU5a4ai/qMKit7/u1Q1A5EhFodtglmuqD/lokY9DpiYbwB3Ug1Ll7+leZavKyjzNkDFdHMKPXiWfDNXk8QD0ZMMIZl+U1LqsXxZQDBlPoyAHbYUfGHkBt7m5lM/JIcoWzCFm8qu4XHFOPFtO/kTd92qQ6+nPv11+t5GNp8XY6evQyc1QvIZSbVz7jXEF5+ZDltVd/ohyqLb7QY91u6OydaFm9w/RH9WbOUPyr8C3O0C/juBA3m/tC3wb6QA8klSRXZKoRYZ+NiPxHrm/7vLXaWKIemK+bI5jQhIEpnEiG8xzTmAsOUFr3vWIXCSY8APt3NU/RrlgNPL8uV1lb2Qq9jxEjmKJqPBRyIugmNKyB2xE5CkpCdS1dHnn1xlbDLtq9V4DyGdTTgaX+Yyf4Y9w5uQ5LPFy53Ph49gchDh0f6S2K7ZciDsDjvtqChNi5zvA66ZdbmeD1MfYuUaoASLxzz28OUBNgQq25gU0+y7Rsjk89La28OBPEwF2KLMgMOQSG57G+d7+oR0J/JQD7MpOXETqEvAyvcMc9ly5zB3wx75gNxqTbB4SZX7FtZHBRm2f0OSv+XdsE+5952vuOcTjSpETEj6Us7g9SPlMLkjWqELy1TeIF68V3s0aag1iJ23g0ZgI34WbiZgVxT1wltGlciNnGSt0XEEf7M0FF+M+aCozpM7syxIW9mxENsi6Lij2D4lPkXsWCPM1Mt2sbvYdvpez2vEcYTjHvT13qwupjrA5/JXH1uMSB7YYWSb16bi6/UbX2Hj8nNcCr1WE7v4qzsxwdBszxNndCjUUA8BLyZEAOm4IS7SnRoNDKmdz8Yqz3sOowdJw0Gc4tqeyDfUUmAr7JWJEocvMlsMHIwKnxZlbxaTpcZuAT5VxtDS30JjQjSNLz6U0UU+E9CuE/KpaSn0quj8ci0zb1DICWk/RcfwfuoXb37cQ95jQ5JqnrKF6eoSW1//P8xhad2+2u9x76xKc92F9RLmnxkzrpvuef5PBHc1loTQDcH1VKJICG6Nmm16xwpX7dPmCC09kScTefh8NVcwhm3//0I4BD6hhD+4QSTHcMherhIWjMqWB1xTKAJUeZLeI5+sP2S/QQ1y0CALFcqjY94qrRI16EVhMDW3NbJH0t1TagWcw/3WSmC08UOgXkCzk9zBQiXfreu/AdbrEGq3NV/rr8xfNVAvtyG5iuO718bto+1+//G8JdziQCXTzjO/M8PXMGSS+nAC6yyD2WRhtVXVxyduKiH+LENlcqCYscIzXA+/afDs0RrohQ2fXubrR+l/lh5Pn97IGXf1ZdQ8zMl/5+ha8ZLNaCTkjvBWuKqILbyeNz8PXusuFJcK4DIK6qwuh0oyKF0xDVqrOzUQmWjjzEOO+FqOSZDGHUi0htF+Z6QwbIAi8LuafxLIq/4WDrPDibC41HKQiXkOrNLSTFVti2ImfuIOUdMf4tg4uWAao/n+xtdghJEIxii4X7Zkb4pXP3xhBRW+EW7dQh/vRfUeuL/L98iSm7q/65CIGex1Ei1fTS9+8iWAGtSHYUvs67QYUD8XNwzpUkWbuC5BQdjERhyrcqKHlHjhWpyNlsNejRNfxTqvIS7BQ9zMwzJAq4ltAehz55eSAkl7GMcz4YVQo501XxLbxbuzNvbnIHFhs3wT2PDSaOIQoIAJQk0kV1tnji/LF67wp5PZFaz2jPuUPbCAYSc69a9vsxN/8mQ8XqgMjP+OSZ/WLw4FojKhiiGgMEbkznPDb0Q6zwE6/iMUDKZGQPEMDUGGpuzLX5BmXEcUVOINRXfXLmO+UaWY9JVoCquA4JYXhTTTQ/8mEUSmyWxZl1p6vYOCOh6C+575JWApbNxOL4/ICvMYljFjoqzyszfTvG/Wk1mE5/0qoGiHpw7P2O3zTagcKDIlhYMQU01D7RSlJctrv4D+QxenT0JUZF9AkwteKcis1SvCMjoLYskaaXLzAPU0+EUg2S99CEx9npiQZLgFU19bsBOmEcRKH60RKWeyHBAIu9Cg5gamt7muwzmP6bR8ZNPs/s8m3q6reRllWey4Lx7NBISdWg46UeOAFdnxtfmiC+eBPkCoif/+k7Mb+mWBIKhc3R6ZgMT5TEwCvEhPGwXMxS5SClDiW8ElEUDEtwgCSTRb7c5o8RUnhroYnWXtLYpP9g0O5vZ1MoY6DXapSNOh/KXlzOBQk1sGVFPjqV/36nxMvnCsT79163qwY/RTTOJL3zfF8bzsLf69LAVArDT5G6dT7Rktk8uO4xiSB4Rhq4V3T/R0ejRsBAHLWm2CwCXXMZCC9S7ZLk+XOEHv6qcuhYz1UjCCb4Xw4l4H45/gjbytxdjzSSm8GP1cU8p4RiYsOnQu+TY3vkbq9ccuBdhXFU2/DGU81TCOX4DgfJ4UE6zFjkdu41a9n4IjE1WLQhlV1etO/4vFT1zKINdeeCUqTt8bi73NoDfHXKEy4sNn96PRT/06xvOKL+E84oEuRxtuJygjLaNwIhcObIkqRbQ8H5kGqcjHFwBdH/z8D//tpTjeamZVvz4dAN4rHfoA40uTSQ257LZ4AgTXXXXpF8cwpjq+wH6OR81HJOu0LShDaB8dcLSZrCKe4esKwkiWHMXPI516dN1Zy0yx6cbfm28zQ59KWnTrW41daWtZfXTuqjBkcXcbaGqoxGB6G1a6BFEBs/ehSNz8Prh0RTmOcoSlHKHcwuNQYg2SxavlodgM7fTKbqSK+PnXKXEsx3gs0cUG5riFEFwhG4on+2OhcEbQ6wZOjwdGqr1arQeZpfyZG84a4oF0sfoiZgrPEADkKbc2f/+v3s+yTNTAjkjjGxuwjMMeUxiDJM+VmjcJBwuD2Wg5ZujKiaDAHguxspT+JA7RJ0baTBRnnHtCXW5WF+3WHzUmIaK3p4rdnMZUOsOqijHo07ZwvE1NCcB0hkvZxGndtu1D+S5+XqQ9UYt2rHyH20xnQX7nLUq12HiiAqraDZHVSOCPrQeIewnNSpwHRJTo/89MkejRUKENUlxraYXDWwJ19KDKx6JtFTYwYwjnCu9T8js1j/TaIucblIGIuErQ1i5BxR3CO3zFcxe3GcIewQKPrKEu6f7h/CRcRU+xdnKVPnspKborXfEWEEbiP+tanWjBNfMLkzfYyG0Ta8q22Y3p/4tdwB5My6bsI0y3BDDLRayq5HUnw9OJ+u6dm5V4RUg4Vdwf4CF6h9y2FFLN8pFknRFNmQCbNXKgRKYwd1dvSY0Org5RspIESJBBdYyPx/FcEW5GWVsd9O2HPi6uEGtVP8+J9NzMuOmTv3L4VPNNMna1/hIiAwlhjoBWmjFM23sxhfZhcCeJ9wEyuZhf4NBx8NaSa9em+Yoag6FtuLZopmGrTjZBORpkQKZNCLqTjk4oAa0I++wlT3ImGhnxvxUCdUJbXeyb2id56T3fbefk3m/3q3vQNukb/+ubRT1x61xIVaTDkTGQ9AVhq09wG2p7bcAnA91LGlhD0HZQZytZIGvAFu4iX/IImKy0doJjPcZ/ekgvXO02MN8VGtNzDFzc87/jai6sGbIiExEdUJupjIwYH/zftT5dsn+ZDsoQCYQhreL+Lw0qkp5oetAYd4CZhLm2XO1zVRWJXzRhmB1QN10B8RXF3ofqfq2h1husj/wjqrPLadJaJrWT8dKBr5LT8tk8OdvuJdeGSHnTqQJTFTEhA4b/lya/CSy6EZH1ZrYgxEE0SHUWDOjnvYvjgLQr2hJKmGLxOvtZZvCcSZNyRSvGCxyOtqyF96L7yF+uUrOC94t2HHMkcuTOk7v5ExZKvWXXAOCykXL7MEg3YDqUpyGl7WpV9Pz6sHXOYBHn8HO+HtjnOzQwKC0/6AS34WZ9BnuzOGIgAU9kR1SrUiEequPharRZv29QoDHgOzlzB16BnspkANUpTd1S/a5wK4iTDhR6u43ZWCCu6SClk9J/E3EWAen8d5L4Ffcy/vpLqK+tw9Fxi29N35cIkPoLmSIPknjBBgiGE0H9hd+m06b+ATh5zdBCutnLaG+JlzokQbJrCj6/AJ5z8rtnZLaCuiZYstznuRaxLRWkVvelEqLuvkHjE+2DXV31mg/zHp1wMOE9IsIAImyScsoNYR86if4ahMPRVkbsFmh0Jdxv3NgPtGXG2H9Jd4ZyChAIwbP3E4Z4FMth6rTbDrwYaofxMNdgRWQWaAAS+PjTTFqsyc5zqcTynp0jZ8Gkl49ore2+7JWSKfJCSy+ovSHhCQiItB9J2FBAC+R3PZUMf5zxjoeqcsMJKvEkJCuHVmKdzwwoITLIcuOyLUr+Ard/jsS7kZZHBJt/jCn4gPfaZnh/m5xG8pDL3VQGvt2Dep37Q5LCTryIxbacFUwvJvoGJ0gEfqJOKXZtYzkp6sGmhHOD9afAYAyHXGAArS+O9uOraRSxdKTvo/kAs0P6jmTnIbnq3nfEK8rtMlzxlTIPVxJPlMNIaiggwcQecBEf13kk69MItEoKh0kos0KFVUxHp3axaaZ15U8Y1PM5mez6WXcMsV8zE99v5+aO+ZX4jeqmBnX1iUomqQwdb6AdvzsPAD/Z0sqlW7XEpNQg1JJjJrdiT2NVoQSKEIU3FIPhv4jiXfBrnIltNj1iy8NkvmrCQgenibWXN4TJ8bCZdcAC1xyezc0fi4Q9qeP/97wvkVNPafKwKIJlxpsa4qqFP5NLSQCW/jNTt9OPOS75ZiKyZePeyLa/jY2vY4Hx1Op+qFlfesrOAxoO6bmvHmESdhma6u0RxwVnj41PdaiFwMSPgyul008qiZHQY0KI2D72tvben9BkJqe3IV1XPnCAvH/VX1AlPFQ3CzwtPmkshzb999TVLNhpk9dXqSFAoCN6VjejgJwrj4hAosZsXxjEF2xqlLDsH1Fs9IQTTU+a4kN6WO+jkECiwRf/huE/U2xJSZ3Qs87Bt+qC3w0KLwJe4ZXUNyhF6hVtzZZqQJdZjXSkVrxCtYdHPNIq7oSFhYvyt8oN9GNDBp1H5dV4qNmCizMsabcSLEpIcW0aqvvXd9n2mET2skHu40oU0pHojI4IaRK1zjFd89BClH0wdY6HR0k0ev+D+K+UIGwxDXSDw0y/hU/1dK7ry3prVZi6kk6NPqdc+SZ+GwhciFKkXgPG+yuKH4Hc3D2ryaKQt9x1DlNiZzW3BMKCK9MKQmQO0ryHZW8uK4G934LcX5XreYNDxu67ARbQ37Wb6qK+8uIswABf7+4gfKIzxJj1H+chTFOf/iF1ohmELmF0vLzoUvgbW/2EEfBsEngs/+foAyZP5J+ius/ofwoCaNvWyN6jCJ1o1CghRJb3VVQw2Zy1b3iKUWR3Ezoqo2qF+wZWtX3AOWjSX2Yn1OzRmcr5jzoCpQmcan23OmZ0YMBRxxQzMnqfehBxGEVA9+6Y/ypapASAbYS0mNOlxz2dqdT7idMgoVJ3MTxSviz2UwUqen5EQJWfIsmzJM8KyUpSJ7Ms/1Iw7HvYfFmClXaDmfzF2Pniqr959ky5g8Fkqtn3ak/397JZpp561ef/WiM/D6WPNswTr5NKGcIgr5DeF6M17xlz/Hwm9TeD7voAlCA+R3CRpEpyHt3UpS+kG0EjSIaFOK0hfpPJqKOiYFWStJvbUIZuFUSJb71Th/kP4qFImOe+f/9GagaazJsEpmCm4/n5UmuRARYbEKokMt3uwhYuqV/R33gMfZ5HdiORgogpTX/39NiDQkcdBukB+sOJP4ikCdjxYZCWfO6PiiP0jgqk7gvjhKDLxuW0nKo2nOS1Uh6U02cCbRsCxZkf/RfkIxw04GazgyUA/KEY95wzISk5/ZIctgDeQF8Z2lYnvqS0QuZYA1fS2e1dusqiXmrYIgVDkdFgcL5CJnS45XKvih9hTB4XSAm9Q8jBbGrZ+44Rk7ie2YNDour3G8sv7WoeRJBbal8iIPqYb8AiEvbF5eFU5hBADvT/nCyMzY6HFzednSJDt0VdnWXlYEjpW1MJ/E7zLmIg9k5DoKobQyo6f+saduiBDzfsOsp9rNKW4YIMuDYaQzTox6ETottC5aQDEWJiHfeBNDl3ou9lQM5pog1hYG4CvLpGSb2Yux0esebXyj3mqIj/7FkbtNDvi2JwIaDY1QO+/9CZa+Fnoo0hP3Kl7rzCDtJmGFrC9r6I/2UyT0FSPmmQeUZZ17V49ROQpHwiWUaLdpbflGeaEzuza6CX66q/5+eexgYyDKtPQeX5L7bo3uBwJbjJI4Dp5f3W9uTrjiXZYTqJHwqt/XepIvb7i7/JCpwK9GCPeoUoVcEjZ7/0YAd/Lmt7ckLC7mAt+lKXiyE8EqIkgd0wI6X9A5Ih/tAevqsdo9YeD2hqwTL6ChJxH/y+dY4DSYm4rq8eqWCvupHXJrwbVAjQklzNMsqArAEXub+6MbIrj8ELeM8Cc1fk2XiYlhqtfuIWxt1d1zXHQkPveooUaZ6tCkEvH8ikkfyCtw/6HhS5vy5ijckes7x74H86n4tOtAPlKt6iTaAl0p7RvN083duw2hG3zHNgtoNiRK0IO2Cc+TfG9wpYMVac87flP4gQfidLEucoXKMO/32ToulEVbnVkULmH+poRP1Ingtibxcibu3x7Oq2cIrw0Cpy4GKAnTPLtXA3AawN+rjk93QBYI0zESDCOnsWO6krfuRCl0/LOc5q/Y62o/pyuhGhaxfRzK37tAZenj/XOb1gKl76pfskeDvSWjvYrnTiEdPoEwi8c4zrLkwhlk/dh1jFdM1d3bArncUitFRmxOYHBx+XIFljxxDkhuDAINi7wtbxjJFVtROVFww2r15ICJEGa4itutT+g5MCk5xO00W0lGkyh7Ydgt7QJzdLdyUn0SBpcDvxaD8jacwvU2eCzbrhP2Gil3ltQfnpbSSsGQD5I9B2OxF/4yYGSenA6iEd0fCtP/w9634IKMhE8HzTa1r4zPC5mqG6g5P283/9vVcSzwRt7JW89/LwbFXJYxchqsHqlc4HK1YwJDG9AjqjjNoQH+G6BApG4pLFY57kHbu3Bvw7x2Mq6g8jm10tWf+mSmZhZKpZ96/AoSb8tLwGDL1AelFsYLCGrkovg3e4Tq7FimdZJVenVf1yhZ9gckIQZq6LeVfBNLoeU9Cas6bsQWZL9EpiBEb0/E8/O8GOlFXZVLwyyyC4rnlE9zbPFx1x8PuxEWzGi8VDIC18Ne0QC6wPAEtyegdPRmM0Rt5bfDMkZQZQxw0fL9eUGiltMq0DW0OTHN2jVIFLuCeG8w0zAAa8ygBSUpkwMYPn/EgimaWxNj3etYrICoRDBYZNpfiT58IRJ0Pq/pq8j0bhzJN3aYpxy7vmqF4Bs/N0djuDyKWTDP8y5NT1DPuBmcGqyZnTBNAHfI8uOoUVNgkyBDhRPH1eYGyullnDEOJR4gqzMbNVLOhTp8jCM0xRbzN35z2hKclPtnZoHyueIki6ZMWV3MGPwak2b2fDNb1HmczzvTgvQJ3Vl15BCbXkhxYyFfAhl4A8zhJSmlz6js58Rcpi4qSRgA0fQ78QI1W8BgRQrnp+Q7LhJHDetn0whGA1D3S3TjGYLO9Qr9tjnYlpABTzTVVhZs+PsC2ZUZcvZXyX12QQH+WkxK8auFJU3RX94FDdR7tSexRgXjOpBmUkLR71c+EK8hNe2oyN2vIgUNVu5s1iSgKa8v3wQqbU2K2RIRhcMA82VIInL5dUonEfQ6EnLnnobeWMpUVbK35BazNlwROAFNzQrWzkkt0msEeNgyotr68xBNV//PXBf+XkKTrXeRmU3+yXo3mNUzCne0IGUzkPP+FEZjKluIBqefXZrFnXnIZYBAtxgDTE6E5qgLz6p4sjVQ3QPdgCkfrIVkNxAOGDXDQ6LO+i+21CQ+RvVU7D4RWBQb9kvh7o+7/oxEoMta/kXdEfPppzaYcuOF6F+vrfAbDOnhuYHxQ4TkbLRnlGfZa/cFolWE0j2rfG7RpXe9VuFcZlpsYyeCejo8gAYWz76vFklfXKdvhxxiZAqsg2jPFj/mVq/7j4ygY8XWo0HyuLNQKG06osofbg70khF1o75rl6Y1PGzs0GmxrQ7x+3hTa7fU+fDLOkSEUFFh7s8YZkv90aHhl0NxSjJ0ri9UPBYKdh70tsj6FjO3xyqJGxVq8dn4y6IYqoLCV2gEbdw+TOrK8MnC4th3UpQNl112O778tuDLrjh3i820bS1sZ52bZW+ocbPhcwUEfXiKkH1La9xoSzsnGOuduVzFOAGV49qvWvFRJ6W1grhlPb6rKkp4N8H8QfBKSCRDrHpyipiEcLjzpZnZdh/HoGlzahmZk0/9iVwVbGUpEEwe5hl9zmvYof/0Wg+sU+l8VF0FkCkIt8Oj6j1etJJ460PLo4Lf+JgjJvYmOeLALXr9ci5Ce5RrV4WOdZQ8sgGYKdsTZFu7dUKzD5cpOA6r2YyYYBfTw7lb/VIblJSPwfQMg1fSFVQ9KyrC0ECmxHqOVjQpOtPp7AD8ubGFN7qOp5KlTGYU0wF6L26cUx+MB/kuQnUE2SMTSupsQph6LrEaobXaEHoL0LHKdObyQPKI5J2Wr01H9ky8OKWQhvZ1v8aGkB28VHTxnOteW143A/PDNmRdUDXrv1oiOkDslo4MMb4jZi/lBCJC4/L0Gi13lvuCwwJ8w+VPBrdlp7mqikMgRN9xaFBuNZKbtNCtTIfczYFemeP4cfzl3PMZcemRDNAqYbaGFZJqVNk1TPkqdSn/Zujni8QXzu1Fb3jRsQGkiasVf7BQbU3NSBSPBgtSaDhbgbybujflyiFXmDFrLQzMeQRxhobKZkPQZTNyidOManKQcskU8zGks+j1bTBxAZHaBDtGDe+QgGnBUQRH6Bo7AgEbo8MgQ39so9nhU9m2o/rPtbjBvargffud/HdY3RlfjKOkqKMp1bQyGRgTShKyZIHQSC3D7/0x8EXZCbYJRAmrrsrmnus4YqJKf7wBFunTFihEBFFyRKGWLu/uZohyhXfLPi/Te31OEVFq0Tm60IFzOjb968YjRxEeHCobOrdKtojMtiKpnudYidKQKbhP6CxHR77vujf8kLwJNuZz4rpv8H9l0Ab9C8fQ7Lq1Z74PG4M5c4/ah2xiWTLd5v55THhyoTYYSYfJc6kmo7cwovtON2qIwjmMxNvWCQHpvnnmfd56WTXuUN9B9uM6Tm9ri4dcc/6rJGu6xHe+6ebs3m5s79uiamWIsahZFuyq7NRcZ+dz2xR0I0ddzS9wAQEW48DjElfEJiU0WFbJf8z0fWZYJj5jUWhusTuNRxBOoAxjs2PK7moBpigNYtEk9JP+SyelrtmI46nt5XOOlMDmNp9OV/HXVnRIrbCzb86VW40wBmMa66w2aJmqlkQzVZajjWtNfZ4AS+mctuGUSlQippccWk8Yhrnkj7IYIPKf3RsQ+97FoOF4WEF5oaF0XIh9ze+drFB/rGP+7//6+/eC583bUuOG9CAD/BccO88+EK1NzLwvxUg8+oJuYRKd8GhX95SDUdg2advnxSCuhF9D0eb+KDdtvTQDzJnHdP3jjDQQo7MCQfdv6+bpZx2Yc+0T5I6c2PV0/vLLfk40JcF3tZDxvwcG3WQ04+FuPNYsA4IrEhsBNInkye3K+MplWIrBn1yZcKoInWmzYeFQAVFG4itiEqEwxd1Q0NU+7wrMXS2GK25Q0ZDJGb8e8jsibY7ubGQTbElQaukVmr6maEB3GgbzzgIc2c9pBpV8Qm8I+Czm82HcTWQQ22wG4U2NFU8z5vh+SINtF2usNME4LAUKId92O21mcMKxKiZsjDwCCuko2ZW65hHChyg3eCTqPIgUqEqX/OeilVq/13T46RvYKr7qmPWJABeD/dJitOpKWjAEHbZW3MmyDKN/AqhZFFHzYui38TVRoUeNWDLj5s2QSZuSP0jU3vChSytsVLEF2olxfJiJbyNrBCnUZGWIcSL4YtAWOdnlakzUX4v9TpVlJPGaTFv0j5EKFENM2sXfpE9FHdxLA9r6iHwWbuizyCKhXYEabzfOEa3m/Iv2m5swRFkaLplKj5QBzCsdWDbCaTkSpUX4qCdMTwapEMpHhtjffCQUW195UQSl9yVc0n9tDHx9u10EWPP6xSTVoTmQVsUy02eoZM/JcMSeWkWTR4bZYuDVljmfLIApNcqXrN8Ivq0AmgkYPYfBoMps0vgj2l2gP1bLGGQyZArpTjU+sV6yUCA9bMqZS2GineGDoAjspF79wlFMODK/4SPXQ0JkZuuujsJgij+/RfMFzJhbzgsRC73yXOSyumt2usvbhyF63HBpwYH6qsB6+CR/joExeOfVDO+IMENYiGWFMBMBP4KJ93FPLtyoo2j3vPAuYBdRmiAG23jfotUISPqQ/RDaV3XPvR0bCAMaVIos8eWFQdMs/vCF52v3Qv6dmdBAPAu03/3PIQCpmbOw+oD8FQcYsIbKF2PRS0IoxOqsYMDt/ENrJ27SpkJqmI464pwy407L2QAMUIoxXD0hI8rnmzjBFPd/Uu6aXDaEPHlHcYiv3zrszOllQR9cmisR5YKz94Gnj2LSx4ttcstrpovCoTPZc5+xIAGs8z8VMDg8WssqXjqsdnmshSgbxsKu40hNZeRfF7eBpkL3Ssv/jSFTvdAMG8ALTgc2P3EgPi1Pmigs1tCP68iTF7Q94gp2ZY+SnphfhCXiAq0WRz9A0bCEZxSGQz2xwWSjiSfJT6v3edaYKttYCPNtrHWYhF3kzVEcrQkoPcFkxviDYLQPNYTZW5N4E6ESGHs7Mg9sDFt7akmiEl+kk771r9mMCPQHAmf3iHGp5NIuMR/ea8T44GoWFpsY0hTPBagMWYzFHIh3IFJzuEbGu2/eMKPsxv7TYzCA8vIkfQSuBGZ4iuOyMxXZGaPZi6+wZqzJt8agWXKa4KwmGmF1riNcEGZ5mBFrqtLCN2tyOc3RaKgw3f1UCgCMVykqh+XxEgC1GlVgioaeGg4rQvqKzHb6orcgPKDVLIG5CRRtwilRBYzsXA8uv0DMkp4GuacW34p/GxyIVNh42OkaHREASXLuMaOJ5bgL37DoYDguP5F7zKteCAFJ8lJMzgdhRTrCjA7G6s6C47SewcqxloKUuXnj8d+7gBEUhKE3m1cg1eVeyQg7LNtgjQHL9tcDa1CUpV2uYI2T3WpzOGST0Mq+XxfJ3uwtpD3D3K/YlCFovOW61uAG90+dwUYkuKaHK+4lMTyc19B65T+PvT/IgmJlgFatw93V9inUZchuMqJ+EJCxHUI1G9Wm68Z+upyokLjiA31jgrcqC4wPQ7pyY5rCVtxBZHi86q/vi1F7oYFa2/vUk+pVHKVqYVnCucqebQSSR4YY7JFmuzdht+6BBgg8DTu/PYosasdoLWIoxmQ0sI3dk8l4bpaWWqCfxaopCf0ByNKUo+xVgXullza57iA6pObpxz6f+blVU35aL5ktu9DwFNt9eGA4wh/WRN9heH2FvT6efA7usuUV+0tIEX435+PELL1v9u3r8ppEVBXUJIvsf9w60lpK0JCTYlmgylKQ6uUVEwd6FG7gKN8epv/lkDoXR10+QrUz+pXkbvqUdvRoL3kKVwNaoeGwtLkZtqdvT9/zHFKtG6/3K/pmuRDFXybpJ+w7iKzTmxgkbXerAJgwCLegyEPnPomHebiLWGN2rAApn7XlgsXcGnaIsdVPd6l9pq6DkK291kpn79XDaVrQ5GSAAFzl0i/OjdaeDswQq30ORA1iAg/9y73bREpC5V5r7Ry8IhKd9M1v8wzEZmoITWLG7DoytkbuZ3EaGV3O90MMenzGQiJWsSw2jZfFvfqrC/i2KTDUv8xbO/eOIZXPZh5zTciddurTuo1deP5DHiGrx0WtLzoMP6uPPn5yUVMAXEjVODi5N9TBqG3m9lmeIbTE1z/9K1/E9pCMMXutmCS7TWlVjYlJEheEMBVR1XZ76oYg1wd/4cajSxRgfZxqYrcBH6CufJTbIobjWOSFqDGQ4ShPDffx0at6D34QlpV60MaGzNrdvaTigM+L32diBNlds7saaIK9WA0ZotiN4Tjd78c9vIlpi008psIRNCpInMBvTi6R00Q80W55kvI2nDVFN0L04AHXrn8Jp/b9IJ0ysg/MnQm4Pt4OqO2NwX66buEJgeKoCSkTmxCp+jYENrvs8T1uOKV9RKLSVpr2XOAz7Xc6qniJ2LOAEqt4EVTn+PPt23OIWyDYEJNFDH/emoRFaaF+RmGRtUiBDpkjTX28/hFoTSCz69XKmC9YB0Fh/tVDQJWDJM6GC8zXWI2DPseoht6LxCUSVbl3qs+Nz4XB17oHTbIlGgoLmpYdA0d4m49zbT69n7mnN4Hpx1bA9owD88XvXdSy+T5lT1p2+gV2YndYUJRMwki2Azm4UzIxbNlExUrufii2h2Xm/YFUygpMouqGNSU3Tct+0PpUAT29+09ipEJ4J5Mb3c9BqV+Xs3jcYJvm42B0MYGALNTLzDKytS+1ppPHrim/V8q9QZob5UmisEEikyHHtNcLXfc0F99ohzcAjjQUPRD1yKO3Px6kG4CuuaMyqiSCxC4qlMSSl7yJi+0L6vBIa+8vmxdB4RJ/h7OAIU/f8MsLcdZ6WAGzwPVAURbfNhg6UR5lJYc8eYWvjo+FE5QFnXXKvYeodQnxxihSoL9biMcram82P4iSzzI9bCsS7nbTuI4u3ZzyzUL8QpGgztRPtNh/jMmR+S0zUFihyk9INAh7RiGFxGU5mpZW0/roXO3pAtUqo1uiePqNaKUdT1ayXC/KgL1cd2MGrd0T9egl1y3U3ipATPpvKOkrsK00EGM61wJ6Rfe0jKRB4neA5fb0SvBwonGnoIE2BD9uZfCspLzFk5PywwO+cO8eiQIcXxFEmg8e9yJetQK3FdGQGnwJGRRYtZr9MfOTej+zc9fSGUSzf7zGJoZNkhE3kyjBbTZBwE3JUHZxyyF7IAC9oNNCIKGAyI/yZPwCEF7i2kEvCmFOFuGJJuTw0wZ5L6l6SYg9mXD/TZXZM+hN473zoRcvPWTih0vr9mCOTQ6ekV7ImuCNbeRZ1eDpHk+SIqMY5nm4Cce6De2GkMYp0FKczGyvSjGMZokctuEZsLqMhtp2pyJoBfnGpM7FgCrUwmuI6oJJbQf1NeLVzH+Eo329Byr6g1hYlbKr4VdZQHiwRHTcH2a12AlcJXqN1OYERd3eRKMFwuCnzCqupF0rDguWerK4Xu/GHLNJjmwvjNl5WmtwrX7Vf+3h2GqzasnBwfoat47v6f/ce7NF1DhnSTfR1h/XlnurfErP/B4ADMajTBHWKd4jKQBELc6S/Pezw7f7wCcp3MB1znaAZQxezbhvW61oHhEvlUM0qBo2GDIu1aIK5MipZ6ssC5ZWZVXw3A61lhesTRAxMiG7F4UAHSpgHIuVKovAgXVj3yBDkttvaYJGOyYv6ryhqNTdyBqcVPiHLIk7IzRfGvJ9EcPfXGpWfeDCEeD/1ebvZrxtrqRwzAnUVEJQXJi8uBemhBybnxpKkRABYkid4zOEsF2AirRJnsxMOZJH/QNZwAA/zncEuyuuRHbzA8HnFFd98OPHMAZXCj8pDBE8DKYPd5Pb/+7/dMD5xjRf/mIaS314z+allDBOEVF694LXkfdVUv0UDZgyQByeP9zUL9DQK26MXNna1iM0NC6K7yfI/pp903LLG04W5GWoXot4zVp2wD7nHuV/gKwnL6Zyc4+HwYhLZB+wIGLWRv+l9hzcfulOu+XQRdUG96GODrggh7W7qqe5YVHhkMihGPTUqefC+Rb6jAB2xBOmgHH6sjVCQfUNx0SdD6NNE8vf/prQPR2mQl1j2k23f1GhgxFfa6hwXLl6oRtcvC6F7UaT92XrIZBhKuTSA63kTG7kIWaPUctgysHv4f7WhJU8U8CZEqKLbIs/iabWobvgLbt6ZieMV04CcLZxEVt+qAQEIDXFNcWUQmQU7mlfjvaMHxZhZ2PWNueKcJx8FgOPN+CyIuXfv8iL8PG8I3Gcnf7tTvE97yR99n9LXXDPw17yRCHr6Pkp6VdUmD5LnDl/ZM/SH6zVdjmD7xHK5a4IUp04qdTI2WX+tTyjsfc9oT15n+baSt0YyBIR4cqlEz7c0VMkaHdueub9mjK4d8xdn39YP3DqcJDVSmcomAYun6xf13dOdlyYitiL2FJTLq+HUSvkSziMcFH9lp+o6yKQbSZqd1j2visoNMD0q0M7h9b0L+TLgTVGi9i/imZFmj66fDpLhP3GoOFLP0C+qX0XbEtxQV/iNYioZCf5cs3MUtWf3s8sGEw7HFvuTy6U65ivdrchpPV7Qlrq+OH3BZoKvRn/85eNg3w/gEineD9gHMzcJbMsKYHnUXhTpndMzjpN1x7COF5nwwwuK/fpTPVL/BgBhElJRV/ts8gZpgTAq2J+PhVRklmxzS5W+/lMg+mYpbqhgdD1MUrJk87pDX7BJgHHT/vL9xXqnnL6ySiF7PJTxVhXfcFK4S7y031mX/cgKfHo+KN7Ex/1Cjah/lnhX2wc7rQHp+MKujk9qCezFHYedRLdCVrv07zsk51bmUH5OIDhjMXduEk1cbVBN22nuSqGuizRHRowDwlsOY5GBzm9GBeU+pOPDPAm5VBCBq87XryIP0Xg18NWQKLS/8naWNZR8Io772L/ufAVJVPcI0/aShCbxjZP5SmTIcZtt90oot9q0e+IV4tLQEQwkhRDVzgs9FHEenCujucXqSgTXLyRLWR0lUYioeVDHvURmobJ4TsoN8xZSmhwjEUA4b+ZOrIJX+cw0GfpbvnWlpEsWF5MI0RhxTp1+XPwWSqPuTwO+sr1mdMZ+e+dKZexvZlepJInUJ9rrgWEN9j+TK1yXx2vbYPKlzYyECMmRGvdCoBv5shzovm/AmWYbpmIWq1PLmktyQrOXZqDwCih2SWkl4Q6Cdff9Br7+JOz1kKOX4T8IsouPMt+Zqh32dJLPE+Z3inGV6j+MpcWTzMjcZ+4UX+alk9ejs9CdIEWE9eGzYsqpJhEMKeiEn/J8wvjJkqWETxvEXJD3rwU8LTWgNuxTo9oSmlDEbQhWMrklKVOXUpP5dRB3SlITi5DRBc/agaJ2wjG+lsnMHvl9JeUm5CqbZIjDURCqf/UH9T1Zht4J1CIjvb+y9WUIRwPW6eq+MXSgsRMQWufN51iKVfserrftYUi9yIYTJnYqPVOLR/onbSoBE/vDcVfcpREa6bCCDSRLp9QjY4u1ZF6looaDazbf3BWhAhRfsjrE7TJ5RFhV546tR1Il83nCRfvR5fgIlY5l00hyrOibtFFVGbcgGP20fcVjwZCJLcCOpXNVhsSwX5xrHidlODqu3E6zAYkfrfbUrjRpoGcER9OFZAu820rOHcDONdeHe5vf5Hmi3YXgKvWjytUXeOZfWKr9k1ItpZCY3kT2Fo+JaIY4IDGmQAIzBJTfdm9N+L9MoZU/tuIP14Ji2/5Gw19LWmYeyenkWPBIiljbufUy6VjVkDRfVWng786zqsh9yCdPgcoBQLMzx4DbTnt+BGh/76flsdTsToEuppO4/GKSZ1YtMBjYNOuaHmyRt4505znt56wOz9q7OqVNXKYf3ljhhZfGFBTN3TkvDasw0Adw/AMVeKppquiTZEK6Ax1a0bQp1vyR+Sett94o/enVCHm0GnYbBRF6lD2xLfMZTOF06cwK4KPicD8dGQ5FaHPFzLQchCOs2xhSXUyM9V5Zzg+mWvTIa6jr9mUiPaWktgvYLGlsQeawW+RnPFPLMP7ykOWt9mduB+7bpJvvFRSmgiywOjN/l9NqAAf+5HoK83xNv/H+hFafolA/L2XT7f10/vkwwNXrAlVuxSaonYkOWuiAopJEK3PMjS+X4PAJpow7eRCVbj4D62KqIMztUjmlln1xdZD9zwASKl6blMjdRZhMef9i78VMffp00Y0LCFyNLlqkfbiw5bK4ERcp0k+YgPngRiJEpXhoB4Hhk6o363ooRP9b56ByR4kfpW2mp9eCSPGET+8Z628jbBqYfS3tnv/O2pyY9QymFI6Pq2drcjjIhq42jatzgUvJPTUyRzNcKUd2HBHj4xnX7uNYdnSWBkFDhZCPHRnkZliJ+SNVmRo7LECQZKtwYLOQYSSFgGo3cyjAHRH+Dt9/WKX6m55SeO5UYxq+BdHbPXafNu30zMBcfeAbLouhchAspQGRINtd7dmwOeuPrHom2FysL5kjbCyJ60JKQvlMPCVdsvf00pvMyNGkb/1kVF6MGY3slHNjKVhYwwr5GbOwwQEraMtoLnWBmekwgo0Iijswse2vpVacueunHpJQNTIOwuDWpRlbqvndvgh0VuuaTnw3V867oZmYXQIbRB6g9TEm5J0SyLbg8hTnizTAPrV4ZWbSxxEC3ANYurwi8fJ6xtypyilIjf6tVAvzU6teZHlOuWve+TwdcFw9a6C//HvxNozAKy6qhmCB0ncS9GSS6VMRjmq+2/rP+/xHIx81eS66jVlmsZRGEPeYCdVCweLHC61+ek8OlNU+sbDd45ABWiXCYKNc0+1P7z+66VOOM2ZDk0ntzhZk1HxxCctuAEAGW7YiW/AaarbkwRkHoh+uZ7UUZc0aJBErv0SWlNKHcef/EOyVdiBe3qAuo8K90Xwzd3yOKNnw6bt4mdKJJBY96/wDNtFuLJm72rpREvBLLVZgIP5ShIuhdpBupXMq4Lo3/s1/TMLGnBPu4E8b3LG9iswiX6IouCS/w28L60R12RfFi5FWXugpRIT/LvnSt2VcmwzBAy4k3fVOJaee40HVKnUIhCc66js/ivW65y+h8oyY95T1XMjvjJMLouovlCxcGuv0A1ElVwrwFUpghipN9Xa+lNQywMRU84atF7V2pBlZ5lRy9UCyHIv/+/NpX8r1wNvs22ZxjG4k0ww6JlfJIlnvizs4TzVdQml9Z9wNi4On2YGK2TCdaAtY8Yr41+reVDTiJ28xfT++AkxwclQSyXMLkms0aHkIZOIl1aja91DoLBmhHzCaHejUBwdgz4kRnq+v3vEqhno+6eMW+ynsaGMCehIFlApBnW54Uh8NsH/AIU3KhKcpH8dNGowMu1BZ49oWAcCtcdCauJ2uY71g0ZQd6Q4dpv7v+yGNzsD64zo8Jlfme6Le/S/lamoNGQPh0i/Z0s2pmzKRlATjcgpwnGK+oT+NZSD6RzFm8TGKYOWPCC0ib17j8SBxd/UUuk6LkvTiB2V1TlFHtdaWEKcp9BUWnHrY01xuiUrepjJC2ho4/tsVqwdV135JYTdEYKW0U6eAq3uv8gVe253RM3xbVQAedEqtrQEKpp+IWZyxhWrf+HOhUv3Y9tPYtBZx4zj1i+wfdVke1V8OjmMgzcZh2aw09PMJeS3nA6fNivQ2iGdllNW/rgOaybXSuw3WiHYP1C9ug2ygW9tX9sKMr6uVQrrNPuABekctM4x0g1FHXgZEhvqpov9k128UaO3JGs92GCLAkFKO0KoNrm9jGmh9/1boJI7n8Cd5q3EGvXiSXzMT9+RpZU4P5Z6dJamhWtrByjRPmSxVII/fw9pxCm486ajAHT1XpCU47QDl8tr8vN956CFjsI3EPSGfO00oy0FRKrrXAXCPv3Ye1UgSNvpwdGtfF8RgMMpFE63IKoUkUQScVu3fMwwULDtjeRW1cBR47Xo5TZKaRDkv1Ma5IJP/iRBHUQNU4w+j/Y1BPGR/c8D43D1vIoHcSNG8JRAH6WgLgiqTuJAwnLx1d0uli4dWGfUH9bE1pCMsHryTCIKO+OJcxsQboGox2F6PWQW4jtL5PD1aRo8q/nIc2TgvFtGMkGR5O53bXtotoHiwglik+3+9FUMhHh06vbR7o2ElHyuQ5g1qv/zrE5nFq6IYkG4R4k2W+XNqkcPZB8CReaYQoDGIVcdAOHExwtF43zb7x/+kTPqXHfbBga9Z9R9wcPKGn1KijYCpTb4u9DG/+XuyOszwHMcmiLVXXSa9WXWAFHCy40OprVY5NSfL0O3g1m5eVgEUEQDH2svUxowT/++drLOKtKMBAHmhziU2p0VfSIDo/LP6TJIJt4wb0BMtkHcsRtfOQfM1NQjZuExpxaanpQZr1xE7t+mMU3PVtfZoMBWRBI0aAMPI3VkW/bD1FBDYooC3gpVHTjvgXkk0Qy1/QAugaeNJa0rOZHP7tWLnOP8gTg0hbXcq0D3qYW8CyMIvDW+xiLRR2Lx1YCBz5VlTxnBxND3pitNUofFXLWOxqfkM8xzRE44HcBqlCENXJF8oHPJLOi34aHn2hu3qznOPYg2NtKyZm5gbGTqKvRhfagZ6ZyoNcuu+d8aBfP/LehKXAEVWH+I11oop5TqfrdxdX6R8WXgO5Je9G4rlu/5D0Fovf8NQUDCYwgdmMcCtX6IPI8gzqBswDwUYjsuJSGEUaqg14rVY+EYjtEskGWp6uhHpoAHNlI3Yliq79s4BI9Nc3pW/W4zkjQVJWq7sqX9mRjD7A7SFXnPYNbKFfUsMrKs485GVkVUCzKu/Okom8uZmr01SfPirHcD8kV6ILMMAj7JAXY5DiXN+e1WLWLT9UI7f8QVKTfZKmM/INrgdOikHbOSeTfWHZBDlIoC0t2TDCokNVzPfzqdbzKDMq3TNrpqFOUiE9WeASv19JJwKT8Ww6VLJySFMQa23z3GI2/OdWBRQoqqOkSU0sBWLHLzjkwrfOf62ymJgo3Vzu/TK0l6lKV9pwOHG0lpJkTDe3/47vPWejjBrDBJttAwclKDeofJqy82RUUt9RwL43IhmulxsCIuhCUhTz5zD3nlwKv7JIATN6FvZDybxHmCL3vLmmLe89RCLOvZ62/1yZz2WV9IqyucfOcTiFzNSDipSAiEi1d08SuJT1yysHhMz928hnv2OdK+IVdb9vbHl21043qfHqFo44iBmCdtvO7gpDF13KluKzmzIk5jPY37bm8bziLjZU0GGbcCtPU3QvEAgxT6JCmW9G/0kmRXYPN4K1N8wt2SQChayAlptgCK5YYlSUj9owkW7F+8+GAXDu+KdHPvlcl04CDIURHjXwSvLpLRMP9ItX8DKsqEeQb0IBOdGC1GwbZl43R18UQGlKmmDt6UOTUYLvZWsafmtvi03INjJjelKgQwoJeBqq4J+DKineorw857ty3PZO8HRyj+LqApW4mXhJ17xT9pjmXpaAawt/b7J9rZXp2/SS8lQItFLnW3W3Mih5BJXHRlQcVkzt03Y380e+vAqKsy7FqoyuurJTIrckHWNwyOyGuLvC4M+N5hVzeINg8sE7JpytjK4zHnnLqnPoXeABLwWNNuGD6zyme6rLppQgrFeSrlxhAb4WsGnQaPP/c2J7cBUZjaZqxRvYczT4WNMyFoeBpzl0qojlPJfdPcL3+nZspMlqWC+Z+YME9Bm+GuhFBk/ijDtVXfvzZdXr9wEnQ1WAgLbtC/efF1m/ZhejpKbOMy6YShKmF/DLKU/BmYhntTvq6RtrYq2c/V16ImUzgMhIJawnmuJVx/Ged67DzHIEBlJ4ucvsb0K+M+4RqteB5zknfAOdgEK/IAId1W9PfXtenV6AvTMeYvuWWssllbW810arb7bxHwdp8ePDKFQiYu5C4wz+206UdOJFzHgSkHcP6oQiYj3txwH0oyoq3i+N0b53vDoCi5S4+ALLHG3uOgxLHzkuUWut5Aoc/6ER+x1+l9CCsxlnhx8XHF/4xKcdIDZdW265Zw/LqfMF6HHyoYWIpfPnFNuIJfFROTmx8Y0u/BM04IhFRIizO5M6g9KL5GIDrizj45jLhzbfu4Q3BMLg4EXSniBj5B9kFKfN7FYFhg6sQXBhFHVniqxKZ8WyznKM8vHVfFokgRk6/AIoevlc0+tL/900AKu7AFDjKJ2uSUP6tNmQIDtWkzc8Qx3E7KJJxNhx0HjRxre5YkmQXhGgRKi2mOSnrCN50FvD9TMIyrD9R09OkULoupcNpTJ3UyUJEYlNDvpgMxIIdvkUUoGYXW8YSJod8FtK8TuMzmJe+dTHDllDnJXNhHf8TeX5GqN/IjrA71ahiopkRWiZ/BtBxfmdkDqxqmkkZ42vx2zS1VnxgC4wOVebEHvGWgIw+Lg2zJbSLPmSOg1TCDu6z2FVJzgOlSEuZEEjC6EwZ5OF/0aqfkaXDX3INfmxS6fKjH5Y5DJJujZqKCHV9UlX2Wh7AqQ4A9+QaRlRGrhLA18RKOnmRclKfkYx1Qq5cnz8Y3U1yvP+n3IN10Kt5QWNrEYX8H/g+96PI3mi7RwgdR2jrTR/ED3sbdyPhtkfqp7asiP0o8qNcKlgbb7fvTT/oasFH3qPgwqOYm7886dMK5Talxy5HegZqfFetKQqjNMSKvh62bgPBM2zuSqIVOm+PcKiQzQNr9HNYB2p7FyDaqccoIuLEXndYoP/X0ECTTb6sfm4ef11us0hteIREntZ6Thu0Jdo4I8a9IJ/6Y8vc8dmhNvlE6rY8T3/knXWguO0ZP7r92LQ6M4K2FhI94cyrqT2aANCkaFuZ/zTWk524ezR7yGn0zTS4ytlkWRAdKpjv2yrZZYmFL/tij0DlFTUtXP6+3ITRzqXVyJHC7Ft6J29Fskbj/w/zl+Od9PGS97lONaPxVNFjcj3B40rQtIGESSyy/TseyBnPNlKcfcVCjiIKz+Swt6C+dTRfVCpdkLo3CNhaQMI3tvBJYUCBbfvDg+3E0iTTzWmbbhJz9rCTloE1Ab5DtwSgt64AjZe0fC/gJ/upWuqnLI3YhpOHr3FLFLsfqv+9OnFoE3JhF15u8CvgmOST3UvfxQkT1/kprYTPqAmQzVrGIMt6nkw57EQMQcO+YCFC8BWdUCLHouXHigFTGjuW3AMrVyfLEn1jCFglezKX1zxRCNzo28nuh8iLiUexww6GeMoa/pVtSpXFKSjk6/enn76BP7KHruBcfSWKAAFSQ1EGSTK9ZXASi3BmpeXcjyX8a1MQMblWT3YUAzbgI1Rpq7QoP3KZYEO0i89D5anBn0SFrfLlbwiumyXpJjYEra3u2qrmNVDWojqu8DWurKpRUU4v5FchSVbBLG9tAHw5MlQgbR8PAyVvzEwF5MgZbRtTt3LL2ZbXQs0jbVVhfW0JSyYY8RPi3rIjQ71sdHF/CJtRTED17R0vCiOEtYH1rjsl1elzqiDheplUEEWbHziJ9dE3L78P9TZCzjge8A2yi1afS4iWq1m/w5wFWYAp5/W/lHbkhx9ShupSIBoiqcaRkggAtInJ2oKcoyStKtmL+9aCMVVeBbIaZDp8csuo4JhR2eUP8b8hn61xOOb6ATmKugnPyO2wLijI+A7+AGKzZ+lYzAqBECYSWuY5VXnAYJzIfiYT5cbQvcSqn6/MftJpAgIBuDAykzgCbmROiB2k2QfWuyLWMsBJfBcwBVVcsGdM56tWP29mL4k6gs7pMTrxN7TtUPtJSbIX/ZzW0bBfTqnny/staLOY5Y2bh53lIFPq92f4MmuTqedDJrLRhU/TLWoeXT8sAfrb7NZ5QGqseUCEXWqwGrB8kF59NGZN1y7T3AQNV1p9HjsG6v47uaMRdA5R/1geO19EUEIYw3RbkqbIGwAUdvI2nXFBp3BX4H99wtqo31/GTN02X6UFkol2PKUJeNrkA8vXywjckvw/mEW275/zOO4+EykXtMyR/+fdzaZG+nyh2rfY7uE+5a/72YKQGoK74XPx9PFqf6bYR3YqVzc54d8OE2WfGtY0IOyP0K2yH7gKFPqnbk7YmnHYUmriVDr88Iprq38fnXb5wkoCZ/MyTNPPCdMuAQlKdr3e35c9dDKlfY1E22YvRuNRQkWc5qBLwmmNmxbO2pkKLGhWrEsPwylgoe/KhzV42pJCHrsD8mw5OTO3/+ze53NO0BOtDNN7VNvNrL4bwhqdTmQIFsl7lNjMEc3zyf0MG15s4TWncmKlCmqUMA/g2aRb6s/G/P46a4u1GXxHTRui1f7LLvcmj88w99KM44wXY+wNAL6CdDNQRXJkn/Th7pCV5dSdsb+TYg6+VOoebayqHSgIFWX4v6fZydmhwAx4YrTcUKkuvNZgNqQHc/q/2JRwkJsR9b3kbnN5Fl4sDuT4JRHqeAb9kAPYQKpx2iJqkbD5QLi61nkMkeJLKgLVIScDWfyRt5ZbVJ8EGyoLG35PEKLcyY1q8D1oleiZTwTzcYGL2tjhYkl0Mhl/q9ghLeoryU1zkzwYu3aMEgLhTSDH1BT6yllr50bWs1IjIrsdPj2B1yjj3s7CZITyjTcHoV0h3lmT2NybCEztxMu3cPUReIGTzcBzxYQxC8iOv1AMHBqWUZX6pHU8jbUh7xRw4BypSYg1E6miZFEuEZh+k40Ab3OOcFyWATI6wCcCsvl36w8gE4Kh/Z3r8oA5jUiW5Ptd/c9+cvVBq4yfvv50B4DG9BpS1DX6dBNavZDE99YnFgb3jL99tegmcHuLn6D5Jq0oQ4OynkNpXCSvl/hRYBixfdMdGjJ2mBygjz+Jww2N/yydgaBel89eUtyLuj4yC3AhuaMstw6n+ugsidzIbPDUjMD2lucN7fMcBmjPEz7dVovnU5c6tEc0mNkngdm2nc6PWuxAuLWLX/MNd7XAPkNl5vugczbfuWTmjJjWRX0kWQbP17sz8Mr4/nMYEItRLBYP0EPUrgRsZhbFcxIhyihCbmL3rP9sW8Api8L5P8dsiKgzP1Pyl0Z+XdLi5sdrdLpLTvr/tEH+gEVqw69jj7fl4V3u9iEdyxMLUDcATTsjfqHGVH1AQEoytCak67JysxyG9vISNWZEELHx2bDEbuYuRXibmysIJHuKLv1BORhdgmcDP93Vx1vlom0qz3Zf53l6VqIAuPPlF1jYQKwxl/9AsjlHm3t1z4pE/Pk6BysF+5HF1y2N12JGXN8FtGXwXufqyIao9x6poDy8Wh07AVD2Glrp820EObd02keQINwusvTKcSgvSV7ojImU00yOSp2MQYi4lk6M3EggnPz2kI2ieleZbkoJyB3/1snrfNaKBfYQ07D56qexh0Qjgyk3EXJs/+qTI/6ec12dqJdduWYxCAZ8LtNUCigUbZkNhWTbEElBPWyNGU6m4cxYffm4KFGRGhLyCyLSP/qGmHbd/VV5+cOYctwo/Hv7crv3+EhLQgN7Rz4yucrgo0y+DJcuFuGJjgAejPOIqzhZHK2fbf12jbBXn5JlvZ+dskaDSPwnRhXQnLrXegwQC388TAA0wdGI2asURDyK/szdEAMHHbM/9uNWt4KZqIrm7uNVrncLtHwTvanauOa0u8RO8An58RUrE5g74zb0vIvl4tL50CdsmVvlTSa3sjO/rGdYPTU/M7BdNRqNq9/eANgYbf2Lprh77G/Ji4sMK/yh0MZUy5F/Dd29osoIiIWcll8frg4TF+uBcF54a5AvYuMu5Mo68tGJ2Cas/w8XEdG7zBLKKdd/OpF34qVMYn3YcOVrbfL8qG6GT8hH2mo/13bbOy+ZCymLsJVIdUqUNidV47y+zYtAB+CzudqQarIdi6H3NoV4qGHr0hjhxGAR8GK81nDiqHwdHdtfCy7K8JF9f8nB4GOaiA7qfpix0MHfFapkh0VdPZltrMx2ro0MHubwVrFoYJSwzGHXbxPYTe3/9IxHH+6LPJ/uHvCwToQUFRGk+p/Vg5hN5vATeG4VM3mWmDaLSFEUgkBGzWCYDhqc2UuMuVgYsmXWqZ28eL/RubfsKt+Taic3HKGdnaYKNdeze1XFuM8FxWPq7asV2ms49qen6LBKVm1epdORy9hafzw6IakQ7DnjkeFs2Wnc+YVJbZ+icnK4nan7qZc9HwVDK4oIZqRR32SyhXWBoF+u5D+pFOv0+JwtFDTqQfLHPzyv0lU8zVULRo+A/DD5oHzNrjtIl+vIb5Vv3iyuKPq0Q9hLYsFzVGuRDY5QpAB4mYYwkvz9d/J3387IgK4+QKuipd/NrEUPVbvfnbEszp95HVa0bj7aoYTAhOqd+C+fuaychdrphtIroQxuURStpkkPyJ+uTTSSc+QJml0yNYHtT4D+oqBaO92XyY1tqT6V5jIdegW17Ozs9NiSTm0gltI6vGzjc6hxa/NnQVMBipPn7qnnFEN4oLtOFMovLbtoQaO3ooadaRue5PUFFp+DogyUIRhJx4hOxYThfTpfs7Gaq/pH8qr70+9xaxrQbNp2W1XlGPzfXArQzbUM8vcJJSzYLNqEkKtZY+LztLCw4iab4b61FKeH1MzQvEXXBzDPLQn2QsLw/jRb5tjL9VkNaLagBIM7qe6rylgcKVq9+9LqSuJii7LMXsHl1HILSrdzOxpTGmcJHJ8FrUEpWIrk3A3jYXTmqgEJW8yGuxK/slS8oZARn92/4Vz0zBd2VB/qdy9eu/A1RrXg7CXP2O+64BDm20YT1dRNjorSYKAgRQViVrkAHyQzk7aaepgkPqunztHJn6pqyhlBsILZx0DvUQcbuwIbXFC59ZiKAhtEDF8RBYdqSGCC7BlxWS+I454ofizze0+6qQTT4RxxUSrD1g/dUXOjElAhfJprgdfVRtkZI2u4N2iy203yeBbTDn8lB+92JFFAxaP/dDwv6+rukII3RF4/slNTTqlFzw3DQjpEnI+Uctry6SWI0HoCvmW6z4tCiDvm25mkbJ/TAoTPCUHWqWNo3NWI+vJP5IK3lSTrSAvFENhZ0R4tVm947QZecKcKOljzFjkJXCUwzIGz2zmu38BsUO8a0LJF8h4OPjBObceUtwxuMNHGw87lRZUQXpXJvgKpcCAW4TseopgsNp3rGbvltN7doeysz+j1L9MqWrG4EeG8kI+JlXcN6ou08kQWrr9ptVWEiPYD/kiAla856gce/0V/futEDOgplfjk6V+GY1f1uNDRDr5uPu88VdZRcNGS2GgR3MtLWVtctNZGx+DkOS9SxFuWUZR09wiYjVTgTjns6FJIlwicw2rwqNCzaxhlymQ13vDFdB0pCCViKEIfKrP0kYW2TKgQhRfvIQjslido3FKc2Oo6cBU4+T3UM10hbQDBVFEwzYAniHeHuQPW68wjwVvnEbK4G9WT9x+P8N3XT+piBPfhm1aspWhYAR5zDwbIfexSw2+UCC0dsFK/z16tZeuIo1mNQuGPCGp+G/Uxklz6HFgD6ngJRDVvllBw9tdf73HNzA3CZjOMNx6r5GnybwVNkTW3fkOQDiEPY/bkeWI51fageGGkqtaffhjjBFgfSgxlwk5X6tkfOmQ8iL1t96Z8G4jLxTqsJdL9NjSsZ0JBR7E1UI09GKyB/fB0my+KC/3j/cywLMWoG5NLQGD7mbWV+tRSqUGDetKnYVsP83gpNE/0OkmLmsJlMkYdfQsMgZIvUvolY1dLA8j+GlLHjYuU3z/5e8nn4UHgLp8p77R99rM6xAHmBDvR7UAKnkN06macpqmA2QNaJhCRUZ+W0XpOvH2imzDxz7zqXm2MHkTvQJA+ttltGGToAEBcKteNSJlhb8PIklItmbSCAVdJ1aTmR38eZkLGQcWMISYNgxdTcHmHFPvkZiC98/mYk8bLW/eIUflbC1QMxdW0gR9W55pL31f71+bs1UMGSnAYJYiMHVqv5TtwhbVzkLQkFWaSqG0FBpDqSoRi7Q89WX3hTxIDxvv9/q2y0UJy/wSXOeH3WGQmd8rUf8bPSQ2FfkvMnWM52PoW4IMcg4h8T3rbYtmP/juAdoY8Wn6B53Zmtcjno2ifoFNUcnQeJAREL2cy9smCnoAovyJVBvnvqPcWCIZRjnFwOhj/q/74ebxAX6u8M7NJnumz9xq+qAXFMzJIauxSsoF6AciJv91AO5mA5wodv/RGVR7uzSeWwBlYRGOxdFuF2+hxsJbroDzQcHPARBZSbOv3h9XwkAC9AW+dFbjmBw+/yv6n7kp8xAAvMqgBkGT3DLiG8wKfvXNuurEWIvnkKxkpS8dx/F+sfG5NeEk5mbXA8VQnKqnJHeZKQ9sE7gU6TmXECYIwmb6YR/m+e9omj2K4vqfXszD7D/tXSDXg4/ylIw3KSIP7cKxyDoHOTxkdopfFD2SXppnXlDOs/0Sjp5x9S8psDXIfBxGEJY52ntKf3ym2kHF2krNSVxJO3XOPSjgdc7zWaFK1NAb7lZ6Q24nEn30FinsffjKQZ2BD/k2h+aki6v5KH1u2cJJDZDre1vJGCxzH3gR547tJN5bx2Of2s6OqgA/LKVjlVXSjILJU4g1RWuQz75kzYCpPWX/WeGwcp2a9cBVanw5nzBiJGweyVvWZAZwe66cJ94usm39JkHG1EJI+bpbjAN/BLsqWgxxf4aiz0ds9UNIx80LElIlvRXY66Wcaba5D1e71Kn/eoTCQMT5SvXXOyCnIfcPAYfwJplrWvAupKKD/LE2aZOHmbSyf/ZXx+bLU2Uge03YfiIKCZnlYd3LD03ZdlxlOO+qSmN/09CYxKzuMS1LDgb+pRC6BfKfjxhWQ5WcugbVvUkA8YrnbjD2sdjyi8f7YKWAXdBjEOq3aio6T3qn3K5JwoRJ37xgfYRQGtQ3ttM75IVpOmDky03RJ9iGfXsOzdDGaslf9F4NTiYQwxIOJCSd6VLmqvovdNaDBpTdsbzP5Z8m1ZwenJAePZM9ZHKsE9OhycdUBTcJpOsFaRgh1aEHp3sRaRgEOjP57+be/0Lsvx2LEJwKnrfkJz8aXONIfFQlE+n3g14kpEhSeqrkZXLNda6LeJ7GPdyHTPmjhKE47kW3vXaJLkq/gFD7OHxwShFK84JMs/p15mg/YSj/VoKZz7SEdzppE9ecyBJqSRouvKvs8u3rY2/JxjBAMRQgUgRplLgpYmU4hkGZrSLIfzQnoaYw6bF3L4a5QVIaAOmxwQ2hLjyFPhnoBKi/BSLjxD75nrWBtt7DAL7Oh9fBpW+Jx8SAwKaLhzDQn8mf5WGxaMDKUEKWiLgnOFd9EhPummEKJtoGqbgPbTLuoM/ZMcVvfHxZ1M5jtCT5bNDDTwxTxdlYtzz7WN/69qHqUH1/qe7KmktIPC94n1ymbOykHU2Ji62EgWezD3NaMdjYIZWdhItYpPZuZLrolARuOPa6UaKz4K0kDOAgAnMtkcNulngdLvIVzyqZjLJfayqe/FF0iYPCncbOSw5wME9dhpTLbP2B9NmveZufl/wA+u5VJQPMQOQa/tTz6lCAYFuNwaX+l3zYsohSLV3qVem0U5hHnNI7JGoa2nPyLoUWzNZQyCzg8q9lWSU7m2427O2aXs3yx88H28oHmsX1RnOy4I699es2xKWnAM22D7ydNzaskvcCLpt1/QQIMDO+9fskysA5ZVuvteZYG/JqqofMeLY49eU6DkS1X6phJE7BJqNeui/P3zKWetSruEtbd56BhKUdAiG+CdYwowKsi+4BQi2tKZ5TABq98F5Q9x+iMky4DKwkaDe5ojVyS0WhXzmo7idplvd4ipTr/j679J5g7qHbTJB2RYB0/VOMf4UV8Ahuc7pfD+fxDorW6lOJcWwohozmBi5lpadvgCjNn/yMiFFeuK5lE77QluRNE13OM/wNcjqkFNXv/82uCCFPiaYovk/XsZlW1rww377W7ZV5wsFyd+W2xL67+4/Maw3Ta4cJRtCY1+n4f0iSbPCYyNTF9y0k5LDFuNAOyGA1K8Y+bfWOKfM/qlp8rBAsEy27cKB4v5sZHtYREKDhszNL/eEZX6zXAUndl4x4x1Klp9iJANMTnuR/qLrYIvqJXQQMWyEVMeJsJPY52M3AvqmbxfYSHQCG29Q9mCNIHvQijWtiKYxdOabLk86GwBSIIRe9VzwCjdKIFBhhGMgnwOyRQ1KcnWJwCKmL3igsqr3s2RKfu9JDRL+xkWP0aALz2TPtVnqsWvrIxaCHwWOJoA4NBp+MLjUrmZ4kk1UyrjKQIFvS9Y+4iTz19BsAopDO54WL2jZXJM3AiscoD3J0x5pU/NiohIDaa4WXvvT0JlQ4zGQZ0fOzTIX8kFxetIGoBvRdwuwqPVC35/8+kHDXozoCT3w03ywjnwt9FV36WP6DIJBtV9X0e31BSIvfNs/zZyhEK7plHqWtW/sIudwiEBFZ7LvxeioAtgOyJhoHGWcBAiCbkGU4vIMNleelSV8sHfnVW3r1ztTMYoa/ceNYzK09oyIoQIusk8I5PPVJufoARUj3DAaFRm1XZMoqRaRiu8nueM4q7fLbe1GcLr5KRn5UQFM/cEe3LHx2RgeFJB9shY/Lmz+R+kUz0IZVhnR5rIoBFHblgPxtu3Uwtc3aEM5lu+FsCmgUy2LZTuehB6re0e2JWxM9a5I6cMQ+LQRBD3lxoFmd6FxH3fyQIofiCkH1IIyzsBdYw5PZk22OaSFXkcMJXDvhco+NGvqKz7BsS1HDEfFs8i0JqgzEaJhbUnFBd8GRMa3UzNqDvn2V1A3Rojt8OPB/JRw+fOpN39q3I4UgNWuk/9ea/L4yUyNbgJw6F+Q9MbjBdG/dKdy/eN48X+OFYP9Jj12Zc9UhzHFupreW+v9114rogiyszovntmMvAXBnJQltHBvr2N9vs996mLF252RD4n7OqKmFtZoBK1FauAxoEq5zb8GaYwrR/sfHFalExHnrcHFlcLzSww98SGHrF2lZXqrzFjg/FJA2WNhjUEH82Iw/XNIY8X8X0bmfU9X8UZ2TwTsqmXyRiWoNVRSG2SDGoBWM+HLCYc5a19VkrtE0sKSoWjIVEWBRq+BOD6ggUF0v333pcc1DL0uVunVBKtZbhUgMF3rmyp2V91B4bMkS82JeWiEzYCTscGJFYFZIlqlq5FXzQvFNnc+EGbUHGJkMq5+02gKzg3f9ctuQuXfU44xwOqjELqb1SMHn6jjPgSX6vAl91SD5WUBv2rH65oo/uYz6WfZUwYHSbsOo+rAFMDG4AQTd2x0lI3QKqePnE7qQYVRbuDFE0DFE1eLPUdpeamOGH6DDpYpiEWK63OY99cowSCJ38XJjpOTS18q75reHZ1KK+73RuH3n9mp5r9fc5nHdRtMinro+zyOlpk2fpj6ienIRTM+aZULVZghOijqrTCX73CE7Hxt8CnXIpJLo2b1jrl37B1/JR9MGQVzqrUoXLTzenZboFw/EZdbH/XJHI4/03Q5wAmTfqcwS+gyeCNwO5SGBPUwSDqmCclNVEFv1qjdxHdroZEi6S7R+fQ2Xd7UkQN+Aw770SpCSZSYo8kyAqbxopEBCvlDGSsdBBLn6Si9AIxtMNnXmqJnnkfrwkQWb5xmw5n0xhHWDXxvaF6CiUEOkVOwg9WkpNCkoJ3iPKi9gqEMCAyYBKvxzLl3M7AkzlUxIWgR51Yhfve3FhOWra0Cb1BKvT1W/uTHP1U7vYOjL9u7ggR420NVVXGRKbWtQElJU6j1osL14/cWt5UGnTdiidq/6nR+HfnqUjoIoVKYAJyKMCf11SCqNVNVa19mCbF+HcHlyGyAkjj0D9RiaQz0lj01Y3pPB5iQPRZCQgVWsX1t/YKBpEDJ/16dvbyqvaPXfUMdeQeqg8g4+Ohk01FRgCT4lMx6IT0vAtOWO4rKzZyhJeNYa9irFXWVy3sZsRLRb3l3rZRHl+GB8uPfOUcSPRur/98xgkfiX43GPoQFbgl5sDpG4FSdWpjZ/aryVkxKdcEKCvUncz4wbwT77plp/6MR133Jljr/7gQZW59lIyT3x/ZqO4xx8qw7f+ztkmbXXGORT+DGByxAThpQ67YoZ+aBU2GVoj7+UFkmDiBwoRme+z9NS5xSPnHv37Jmkcn88rG0VZj7dML4oetYAKh6H/CcdRXw6z9Et+A9ayjvCVGcRA8PP8syFDVhEIphtG+ZIPRukGYssr8cerGnn6TqK3mZUF79V0DDsgtsTL6Ws8SMKTlo+1HTpv00SGXwD6kUSI1NHJ7ombN1mcZ/Y5hhL6oT8/OeRWqLzbuq1I8GbwVtFbiIiUaOXWvP82IW/MBAqtM8XfAz2fhklUdSZN/WZXJ6COAsoVQeL83UAGX1Jp+MDKHiN8n6uaC7oTt0u1RPLpgEN6FqyMJfu+ez8Noe6g/KdhQ7+Fr4iI2qJ3Lj22P1kyR+1zzaRCatyWrq5CpppBNY2vEhJoAACFyDhXunWhhlbRdEsLCP2k52KfnevNNNsK99/iTm6EoSsbGYyGe0qd6yN6GaKOR9CMVgMoWSvCgsRVFyZwREDhku3OYlFLaAtYhm1x7orKOIVoiptxEf074CeGCsSSbMx3oTxt9+4/iRv2jKlba+MC3kamwBAUiDou64dT9nekbtafDCLJhmxKOhKZgYflHjIaFUPIHCAl7j7X8ZumQi2uEuLGoUAni3z+nn63MMpAqcvtp3getc0+AhXyaP5j/hha+XZ5LkKitNczqzwxqtn56y4rFAYtEKZsb0vVMh4B889A0ahbxJsH79s+FJKdllUL7Ev36LWw5qyY8om/be8SDHn9LH0X64y4JHUhCv5dWGiIc5Gag5QJJReqF9Oanyy8rgIbtim9fEryCJIwsf1Y40nzkeuYIYRbSobYdIvj+vfmKF/cglJe3z/1efiv80kPhyWoBpVd3MGSFmlNTJ7UbWRiLAzTxEKHWfnoHv58m95Dt/D4GAzYAGHeqCXyfCb0N1qd4fQuluBOu8hVeWIC+/0DsDEDTn1t7PL2F9PhhquSGolZy2M/vpiAhdr5GtL8/hDJCYtm7Y5GTrSzNVlIsBlSuZzxpf4vRnuGSwL1HHHIVg7YJLpf29oR7f4nGZBOLQ1OSa6xSSBPNSSs2HY5KiNQQbk8VdZeHlMsNHUBMIMYLelqANcd3z2FrvVsLcxZvXq9+1csawlmusytRRw5lH0vlwbH69dD3cuRQ/GP/c/QvmmXKLC30tlN1WD1wgTFNcRjNkU9flYoVupCDKAH6qwCUxgQPdvRPAsEPYMIZrSDM+MvnkEGOcVL+WyJvlqqnbYB2t3kqmtM1IeUupNyqhjjP65O0mAYw/AzBH/ypWSMeMAKB81al4aFli2YPadqdbYZjILd17XClzRSiuZHKnYUhUzB41W9fY8psc/RpDaAktslpSHJo3+Z6AE8Fu6F97T37tj+KTpBhIFm+Wn4MNL5Ar2uA4dY2YxfSJh3D2y1Igfer9d+vyOap0iNz55kNOFukXZWPq1z73L+3UWooYiuRSg4OS5XZZU7+oNzAz/HcN2t4lREme2NEU4ycvtAezYYPWYSYQcJPaHraUuQxJmAGB/py6DGDJD3zvWYMqMwGlQc4Rvr8DP9yVOfT6KImNNskh75nWr1G6njaJps3Fc6B6gmfyFtYgsuKxTkqh9sftwx2UiLE5EXrijk5CpD0aVloaHfxpYgoSTKeYwTmlapZLjtul/NKrAF56mc1ccKNAlUjav+Xwm6MxYbmUBqiNy++bRAJOrHnYF9enSBirmKR4Bis3lyk95vm7IZ//9KvqEF0twRsRlO6BgE1XMiDAIOWyY6WuC9gN7Z972MN89wrXfQgvvtXFNNqkAGPQ5k53l4EuroWVUTgGYcwPnizWiVLJBSZQJGK98IBGondXmU6bcyM1bfUOX8LhxmFjHwf3FzNe8SC7RcfILb4stfpWbFJHGLFOKtSH6B4RSy8af36C85sejBtOTaeodrBUJF+/R/sZSu2cHSoXQhOVBf7I/cB566DHqaNjaWpOemQ3p7+4DndnHPBNZGuUyiWwFmOaQbf0fLB1zfe5S8kxOzuzwWgWCICupp0xiGzac+UidiGIKDXU9m1GLut+gDtBBlU1oOU0vbaNAHIdas0nffqnehMgMo/iV3Bc12k16Y5axwq+ENs3iMEfq7eHMottdNAG+yw5yVR0YcG4j0KsZQsl0kYEnKE3/zPxATjzKpUGcxcEgvDShNw1xDsixLoi9EBK+6tu724EuSSBDT5yb0VjXswCibXeeMH+if0RufAqvBZzDGQf96w6/EWLnBaFsu6l4EchvTfU2vLNOGu1vufCWe2RuXMqUcWN8uojfCM/NeVXojKMUPNBdWEJ/4IZBrh3xkyrmdlK7vhLzJbX4w8gDfO1YEDYofGsDE99L1eCRy2s0FVezdho6ZT9tW8ZzJmo4cy8g/vIlqCH2F3FoSZyl69qRLIqOn0dzVpGbDvSf/1NY8gnHQ53sfYycHzpepmRNOoXNVxBtOwFs/aKHdbGFMjymzDx/vJsEHzKramXWSLkhiCj5qxv72VMjNHHCBeT4RCW82/a9DOx95WlGATFGNaQLpMnzLQ2dzMnKjPbeNnkC0KkqWdVwUT/wR8OAvrIRXH/JFaJErEnsSXA5L8nPCMl1cXjEQCZju3sOlIJbVx6TSE6geNdcfHCT3aM9CDJQA+8Yc5epPShPfJDnNsY7M3asQ5WkF7jZ0JOEmN8svZomrAaNYaRtjbGQGVecBR4psxggZioPkN8va6QsD/NQxuoLgOv9Kqz1TvXTbVm42/hgAq8xUcJKb2XCtvrnQMmnyNb7KAvVGzqfs/5WrxowATtFJX5hRCZ375ko8dWxfjGP8Rl9KSlzz2uRZuZK79vkAFB5r/43PCZP9vdwkZcdrWb5C4xq0T9A3mzAxawMMepHsbo2Ps7gXy1WSS9I3DwKMKwgORDHGKnyZaNOaWWs1klz2wau6K3jY9qdVg+R1wftg0Y277PwKT+03+0j4vaQ3mgpa86it2IdqNrxtt1CGGYZsH7K8OksoHkTj7wtvjzRE/GL6GhHifq0jdBSf9mTMywJsYba1eQSbrPZCfC0lyafNMWLuDswPEvuf+WII63zAJOAVvSWrbn4TjV+S9z1cMM0UGbbIGmwgtQ97KnXm92vt8/yrlH2jCri+WLGj4JWlOS62qaGtfx1ghdvR8w4WwRPPbETKBN0b+t63n07O1gmp/uwDFnE1xcuf4/rUZ5ZJbru2haYVOA5/mZwixaCoL4uupw2oYrj2ANIyhS74pl9hlS8i2WsNh/zR22in4AxykZ6UlUEELOOkT8cg8bhig8MhP87bvdEHzQWF8n58wWG9vsl66vzT6V+4getswN6HOvGBvyjaQsIkg+sy2kwRInKcyLEm4IT0f60P0sth8/R41vrwKBMyDUslwij2cu69u2+ZbUtfMv76NhHqhvChisDT9pT07pE70z2LRD7sl/BBeFJq3yLfA0IRS8+TN0fXx9Kj5er3V4/oJCuMnPG0PF0QSsvsD88kIViFFOXU2UDKsQnxljgGhAnWWewMGQy1jeCMR4UonkhgC01sf6ZTakPramRbUgrLpuC6UjneehSES1uC9ydsp9vuiGGfsLwb4IMbkgqU4bl6UE78TK2h78XRRzGwXvdmFcy09fE2eIIobTOrCbKavlBtJKL0xr0Kqq5ElcWtrUcvhk0QaS+EqMAH8qZzimwhbfcThBTMQDEDRjqEqv9+XL0lip6jESxFGuzkU8s4rmPfGgK/benW92cBUqJhfFY0Rn8SY0Hj1W3QaM8OEfVSckT4IhxiQ9/8PrQ3P2EaYkV7769xqPUV9Rn2iPzmSAR+Li+RBiv5167whI8zoBES7yv8kyejv4DeKR/YlhzfI9Rvu4n2UEA+oPv36mUVbHuDMEWhL3GtQdQ5GeVWEdffqBd+VTna36gs0VqnUJJBx2SaQJpDKsK2vhwhrhkaTikTtRBdGa+ys6ZnYPMid1GlVnj6ZqcFzudbEFBcAAssE8QMiTM4wcHk4BGNAMJR0txVdzhvnqzkTq3GZfPBT9oUE2mfL/FCS6A4bZGhl/di4CL+IgOasBbmc9TSO0RLPMwXnsyAGqXXYO+6lYXh9BnPQPuic7+7KxifHJk3G4nenTWuti3JTs+VIGIoIf165Iqu71zBqN+UrzUTP/vV7caIFvQuQ92t5cHrmoUlyiJivZxU71rsAymzGFKWiQD/iQzM46WRzl9VrbH13CV6gknfnsahu9Vf8vaO2CMKxtb3CP9Jivq4LTKitG2Xtfh+udm2HmQDnzWcoksfS81qJz00/JoHs0NoSAoR/QFJqlN9Yf9IxqnVrm8+VYyqM6EA7fvXCCTW1GDiGQi1kQX1tEY9CuPjdGpoxP/ENVnIyMu3hOxkvovxVD94xIkXO+QB+H+WvDVHs//KQW1CsfPz7uNWGBMPT9hjDYd688LsAX2ADm71XjyiNpFYUXYlDLBoK7jYuvOBkfQMRL6CkNlk3KT3CZZNooz3lulP9xrdykPqZODz4cTBT0xcMVJDZaR1uReUxRtFMuE5HF1AONbMRh1i+GaFB3CYXxU9OSsOc2v9pefZGjHi90K1SdmlCAkL891jKS+InskfqMYYWw/YFtcoDswYktLtyXxe3+55hnq6FsKXC50b9xjtQrjGmGI7zBf+SN3XTsRLfnEccRSTlS0i2btGv7XcbvZHWuQQuhqDY01SQp4ZvVYiHzWjMo/7SZuuB9G1wUdGDw9xVi8HnRQpzXurZXa7JOgFRsgvIIWHMn8S15U4Nyjw2HJLm7hwmA2BBD9LGZo+xNYzIPvZkz9qnHMujUdU9a4Fo2t/Kblt4iOR1PX1I10wLA/f8HtFvT47WWn2x4gtbTq1ryPcMay0D1cgSh29bL/l6rvtXbB2e5698Y1LxSy+GVV1hpYEsMBK/mFkDPMKVmeICOYwdpb+tUiNnAVDfK6EBwS+Fu6Y+FnpXjAV36FKL2n/6Pcs4EmMQbrNRe+n/u+iNNyqQuD/NBX/vOWo3OYIyAAdguvBK7/8djpsIb8DVmSAVsk7DKX5/6dNXIYyrNUE7ujh6vYOiJYIHyUId0OF4H4RI9bVJ64OFronb9/NL9Ul7hCeo+J6czcRkzXJu8kKDU6ocFSZZaHvCsdxjdSv9c9fUKXHPG2nPLp5DA2wK0eMev59g02RizTejWTtyq2wp749/32rvOnvDko9naqKy+xTY3VhyJfR4YAJWY4wGPmSTcdZUIkMAj1Jw0WV7mm5LG9SLLVdCo1ohWojSUaVax5lDhAq8/KyNbm5sbZmBFR8Qy47wM5ADHkjHecLPnhIbCe3m7CFdU0q19fXKcuSkMVv5CN6q188yRmQrM19p5KlLjj1osBRe5+n4dd2S3i2JsD81ENh/KPVyVUQO+9PZNP8xMQCbYJc/7NDOy6MCHgG/ebd/ugPDLISewk/WRpAU7Fm0Sb2KUlHrQ5m5Rf1+iNGES1C9ME7Ak91QAI8f/MF0AMqSL7uCz++yBJRPXrCh/IKJM/uLfsW98NcMSCXWOHAZmwygRc61uLWo5zTgoLp88yvIUiSp5Ukr6n3yIG16XGXno+Ok+845fggsxt/h48bP0onywZnR5EkYd+uWVPtYqPPLS80faBv6e3uMobzPYlL9nbtVmSxQH21k6hxUkUX5wzviZqlzYAdugdQq7dfeSNmPH91EoGDpHZS1SL21piWxyiVDhwHKNL6WVgeSZ4RThnns+hwCCPQUJsI5Xk2bTpQ03NFj52ygydFJU5wXZiYU1Zper2CXMYtNMhH2NqsePklIQVe3BuZEDKbfA/zr3ytdTNnjSEW4CZzwmhifc5RioDwz8gGU3esX+5I/eYiBzWJMQOeiF49xj3F4RyXDVvipe9+qjeXuqY0Oqd5Y9mX8fNCcPKzkHil+7uViyrMWz0f2A99lwpPVWD7kyVEsmgZr5FaPc5EgcdculQF3Do/CVSetriEea0zpk40WoJZbR+iNtSCrvYG7mXCyMFyjoFDb8FlLmgEhz2E2q9x+i5WMvJPM+eopRZ/VajoYg+MPO71ysD/WZJjhqEEao+gXlNBeftyzCPvIRd/56bfdFDYNy7pr9cMwG6DtEHHeCxmonX/D8F38DGYLO72P4y7pLyu0aHlM5H67IEpLiHTjhByXTsBJ3pZ+/gqf1WZdMFguDdLwyciY9SJ+/4w2imZtBhGGtEN0erOw/h+6nGlilc61QbplpN/IhxKw1vo+cdWmn1N0TymXxS9mDn8nPYbIh6a2eYWCWFvTjUIin9BntEwAq09lRkbamqebUw5pqWl5dX9WMCDMMmLffKuFVHxJqF08fyUmtspLoVDVc2rjK+cHUQdrMZOWXbUStkaY/Ljow6u0gwNK01yiaaV2+u4zjT6Hvk2L7Pp7eHdYkHSMu7eGpMqvx9rPOBDISuENYgckxs02BZ+i9Z2+UHGWUH3JF5U+DjJH8YG1LG1+CEImyFsrYWAtHmlJW1AmHbdRMIpYjDPuu2jetIAsK4DFyPrqTaazXStsFPJ8Tkaq+0M1BWg3Wdd4fWYag9Div9eQoNRLe9HLQGkk9nFbAr2skZJ0mOmhIqYyTyaQHxuwrDOMgl7riD5pdXPhDFQHNJX69A4n4Pr9pt/RddDpodY5EVNq7FKvSIJcgzBluD10OShdfoEMxe/ob6BjsBHyPKqmW5KYuYbdxALjyV/4bdmehtbahWoZm2lvA38V/yVC3RbECsBJl9NVyt+ToaafqSef+hYxAGtFgc+/Qjy6Sik3pwZy8bziRNRWWbKq4zt9JLADgdb99/vBgBHTS9iR3401bUVUrnHytfU365aVabdappRKgyu/+Wl6O3t8fbJBydV3IpowMeVUX+EK8Mz/4mI6R7JFyjvxHhnixeRXG9sPe4wWLzGhIwesJTtIXvRlxJ46Hbwg8HokU7tLwjXvjYgq6BBVIsmQSH+33gjJJ/RKxZ3muJmBySDVMufgK9Z019D7gsv44iYwsyHwl/F59YnizddsDC+fsUncD49UfQQHe7FTCUehh30s5aTEFrcGBuzR20lkwt81dK2q0L9AK2FW5A0QwPrfKe1L8lLeZ+EHoMzGSs8NeTZ3E4eWz1EQitsEGoKqPFQgZd00/j2GhYpBm76gjmxIXfmzllvoTznvhV9UtcdtTZ9X1Lyz5isfaNkGfYnKIgYLD5gzNysaOrBnS+bLAxW1yUv4f6qiMbLhKtsnKElg7aRACQodj3j7OjVu77AaDcQBp29oSdB1XzWLsDW+CLjxnMBOtmRBT7znGsABgEl5USyoedh4Dt/DusjqcuaLQl495O/j8fhA4pSZTy8Vp7yG9TK8xVLBc2d2VhojDUjH/eUWx395ikiTu+WC6hvtVZ1Dp67vNsHxQAa0T4ZsRv0rPpsyDrJsvcUD1R3vvdL1tbDE73EvLy0TwuEcy9OTm4Le/HqTrX2sgzAZ4TqI/wUpYkYete7T9uJ6ftF94oqSRo3ymWD041zehHoL9ADYc1Lfzvo5etOl1AAAWtwrxwgwuMNCNioO1FWcPFnUmvztRFM7bTIiJqg23r0+FLcbXOIGp4UjCVxcwnIYZzzwVjxKvUosdCvcF2sDHCks6qCjZBfc8sr0NbrOyQ5A2CVAuVjFb5l1z3I8zRdbAJrW6IOiSPumpAh/ZAYr2IRonJnscdIWjp4Te8Ji6WmPewh47mBd8q28z0+gvS4gHeclwpxSh5RZND/LBR2wAZzi0tCqWze2MgcrXXrTMd1vuR0Zdgj21j+D129V4LP7PAxoqx78gPqySG5XndUFGOGG1LV5h+fIc6w1lIiGaLzDkeu7i/1mJtQPHXc36pMk7etxGR7vRGNYc8+jtjbheusj7bCDBKFUWexdeO7o6dBCgQ1oAFboA/miuH6Ts13LdDafkttU8hX6Dku9FXT2+Wu4lExKFbpR6AZIwcu73oXMMGeA/ncMqW5hZJR1JbcmrQOZxGoNX7l4YWuqwytR4LwvHS9r75DSa1iOJPKSHrrxP0nDN+V0njZeRDjlnbRwh3IPq8epsD0OXW1z3ENhCBvfp3rlVdbU6f3MUYzUy+ttLjZkcWHjShjzfVzyGEKsl83xpbQzHBBj3mQS73dCDtlHENewPWbeq2dKX0QqM70/QlqSUDunF8yqTM2Sa6OfgmjQbLIjqv6TeJn76s+DJvRKvemNpgeGoI+e5k4640wcpDpjmR8ebYKabumIwZI21pL/aP4sFMUbMQsoohe3LvPBkz6lNUS+bmOWJ2IDuaVXK69kd5LTUiUws8q2VJThUFEkzY8xWtz8/OzQkMLKCq5E86EkpZgGmSht1TJWwxoOUd/rcR9zp1cASTbHxnLzi6X7d+p4G/r9EVEC42yjouAsU1uqAQ+xyp4numn9O/bkFwJGQiUQBjHB7qQPNwdJvKTkxfyb+64k2BnpabFBV4VTIB8kB+A82Wr2ZYBWljK458V4+MRnwm1caQarBbrl4Tz7OMdAL+0aQEz4p8HXqKsHKWxUUDA8ZmQfQNqLQpTkQEHqMPvSKa/TEyxAqgZIKqeGadTgnWtv6OYRobUzffSb5/5sQOnLEF8BYkfIH4GuzizJLGhquBX5w5h6mRqxyVQOobw2zbJo8ecWrNyBS9DmfKu7+WeUy/OJ8uQ0cwWWosYilJZq7jOd5N7puJLn7wz/7aBNL8hzijeAElnqIklwu5Y7EMNhvyyza1yfMZGgCkzRxUcRy92YY1QqOY4wvQswwHRiyt+IAv6dY/T/Pb/GTA5INLzVvgl5BSCgaGso3kaVfk0rN83HH//RQIisEseMXT/fv4nApTr7oCNhr2X+4SZ9ob+oKCn5QCLN8AkwOg4sb9LBKJ8e2SUKVzi80uybJQpademOq3CATnyquWD7x7lxStTHQdtqqovPelqr0NJbG8s8vZkuoVMJ0gOpVHwK3M/0dsSXH/261mNefDTEbnNF1md+++I0aUqdSrwJ0YyiTRDLWynZ5UiXMwxZJ3xXa6pwx3EZOV1+iaZoswXj3Kf02RAkKXlqDcqNIkbzYBLUlFMRqZNCwrmisHEfCwak7LnEIAt+KG2YHk1H57eatnGEXeFg13LTGxH1jams+sar+yktI2/HJZruLhE/eLrhZu/VyaH4eEbwDt5yU6IqPsIfbbnqR0RfppEW2D9ieGbHQnMLkeMoTlGDpS373Sg5m9AxMGm4J4cQNnl4kwSdZc3FtPUgUTVItttxW9/zD0gzVzmiVin8macK6GNsdOWtdTWI2d++JfeypCsfh69MoevmPZyahmp3JobfuKldTTas2zBZdP8IZAKCsE9AbZC81wW47jMpD8KIIyomEMYgViW1Q0pu3X8qPRdLvQphClZSB1T6+1vQMpbkYufDT1WK/TWmfB1SMzp4sFt6tf7rXHOYLPXjpyWCwjwQH4IhGo5hH8VuLDm19n6GvhajDsKwT4zoYg8AQzIDwobJTE4Rimq6M+9NotvpvjfhAtMSU1lR+Cd7+oEc6YmzpMEfuzle3t5Gsd2I4FqAJsJbopb7IMDDBM1fjU2mmvhiG5fv5sZiZmc8+k1i0D/PctSHW0fhARwK8VJf7+A5HbNpCRTY3MTnyVppFfGClN55EgYH0vtsVE908JNsOpAHV4JFV2t4MvDOKLr37eMMT2Z7sMk2b3mZ9QTvnwJUU3Uj/3qiJN5o5XhrB7ah5ZagM+4e+cjFhLBfw/HKIeUSgantF0Z+h1JZgsLJS04tdovetR00dtkldlfzJTaCvjyu0cRx/bSYp9fq7ZkYQbvTwS/DwmyP0pRcDN2RsY7+agLMrkCy/VNftFBkwJPqxqFyy0CJiGm7bFp7CEuezPsH6NLnDHPWh+ddIdyS7gWkb/K9UkiHCf+sq+0sr1KxmS3XwJE31DQwdBUdDKIWC0hR4yiyJzJ4EI1x9xjPeTcZgRBzRiZ6UMpgR+dBO0E4hT2DXdNVbluUoCrEt5aPqMDfV+1A/L7XLX92SDlhnWe0MhVxOUCblrZoJsodNT0bRo7SlllLih6Bwfa+sPHbiypKaF1c2JA6rx78nK/vO9wulJ9J0qljI3mto8OI6LgkNxOskRZmSeyDFtByw8brGA6NY6LEYfhZlg42WvCMsL7oNDE7CzqKW8NOLZgz+OYWeeotdjrOZ6m/9yXvNSf8cMivPTIPj796i0UncZHA/Ok6FOwjQUf/9Gtfn7r5eokmUU3EyojxSiMlf2tTVej94M0TPWFFv3F2Z3EAHjV34a00iUOxbRjxzIhfqC2JXp1k+LCrNCaAjxpm0b/L/HxjJP1AwbeqwslHDMcGBkWsiihAHTOQplLFJERAkJXQr8EQsN00izJYU2s93Mb0U1wVNQWwQU7+u1/vaen8evmOiVZiKzwOm9TCkPeJg04keNd4TkfJ2hAqBuetkdWj9pLs7Fev/4ZnhFSa6xGZOJrImddf53K3o2l9oBGHhn+dTk2pQ1aXS/zUGJeU1r3Y5oPTCPxVfSRSbrWkbGczQfhVSDsFh33PWTuFH1/mO7sv5dTMjnWS21EgkrFQ7DBkHxwmJeIPaEcurmT5kPDqy3THsm4RetUUXSXi4nI6kS9HRSbOj2eEcmB3jOGnkicwVkGUTP0GKbpj7C+tpAKKaVlVBuUdjoanUZ5A7nN1u9BrESIelzcD+xMbt3Q9Ld0GOTiKZYTMtvoMHAZRT81ILWv/TAa1Ru92khQ4ALUt0F1bPHm8PbL0+a2UNzsBqSca7R5jpkg4LOFtMS47jmcjgvNIozl9bo3uGunvXNln5vM/KxQfnfEXoZnkFr5xy7S3eYEBaGcPo1y14aqu54HEC0NK8lucwb/hJBfYfJ8SgpJSHYp3m6FEgNeHCD/3Rsg/BUQgcoaKkmcssRXS2cxel+/7m/T5e0tfToxyisUISCVVEV0tc4ZZ3hxsPz/s4JZE5hKpM6yeX5oiq9CMC+dzwHWd0/8gbZceQZb2PteTrfORLM22Sc/TpzIkIQuzZhwHb9dUffnL5iZvrcANW/ZoSai8Yt8RydEvwVOkoJDmlUZGqEcAp1MQZX8C3dPvZnU+cML3Y5/HlTcGfVyLf9JX35BLemD+DkDMvNuAwhwNd71r2FALWeSgbtBIVFtosODwbZB+Dwb8I6g4GBF4ag1cf2e78PXQPVkwigGYfRc1OOfOA3qCIGouEmS9tFYSK4nA1NSxScpOE7ibRIq9E3OPZwSMftBwvagPhf9f6zht/lUc5/brnZDc95lCiF0iKldCCJ4hUkFPem0oan8eKIfrNgiX69Gsvn167dNj0XYfNcN8NMbatEN1d8bsAB1wQP1b1U0cwKN8H4a8vTzxeyNasFNWcV+nZB849n+1Bm/TdI1W7PQQ8lbZs+m9zeoHtnkJAInZUyJiZj+639eVuMiwrT8jo55qdFM/gtISEaOKBOeqIM+6iNoGogPOLCBU+Q4imAcW2S5yyvw5gzvIxPdV4VE92seBUCL2le5dGHN2dSyEb52CfVpkwLN5A6BaAjP2iPk4F4lfH4Q3doGJro0yWv1z1wq5XHp06ZFl/sMppcvHXOY8Y998T2sIHgN/npKPmArXPKCGgUOdJoTHQuF7wgVRth7Q/ipxeBTm+M1cY762YIJLxiW5EQlEJCsQqBOvw9pyDkCQ+sO2wDYu+Csp2JRJcv2ZWw4mAX8qcEgVOEbb3HZMyEeIjGNPJa4cnnh+nYg2mI0nBAbFMvE1RjHTQ4qcFWTyuBep960lbRPkvYb1ODOWIAqnM2arM3+KtnJmrDKeVNyy+apzOY7px03P2hiMPKp4n4Hc7WWUnkHCUSevahnGcfb18RYrB3Y+lJXv1cjKK58+ihAu1WU61HC8+ZqilLTphgpsOoiJtRcMiwA70jTI2XSMUmKf+T/VVZO2rNX+MFcHUQZ4Q1X0KhRa7oyOdIsWGTzhNjoDEUvZYdkINVYeigFlDCmAA3fs+21RgWnC+f9FelKYqYkqIBVDDJqdAZWYxSu6TTs3+nFJhqe74M5BmwvK2wGGevQSVi9IRMwtAwcKccq6NKGKVVGGj94M2g171U9/00hn5QkcQEY9OOM3s4rYr6ebkSKVQqWDKHdThCa4PTWDVmxFj/bmMnVEvOTmoRcqnRhz2u1YVY8mgvJQqK2Da1idjMR9jaLvMXg16xDh0IRvLTuZFGxecR8T0a1bImi7CnaOhOzONB2HV27+jHa8w0IIF2gK6um96XRJb1/E8wmeYEHceKfw88LCNiqORz3jeBYycRYGBOCf5dUJkS6+OXsnLvrIKEAe/F5o/XQK/N6nC+CfZogEj/kV7ylYg0ygHspeTv3pTGPZlI21uwN/gluaEGJV7GeMTsOFeUKL9Oe3RrAQbcZmFVUwrh+KXKtPDQsck9FKK/aokJe+KiofXe6YZpMGjEnmgXibbYWT4rsL/KqhbfxWfx7VljwaKe/Kn3xcWUiCxqyj2IWUQf2Kv9q4G+GfCP9CgJ9WlUCYw2ZpKCtjdj86UVVHi3qV6Sq+lj0B7mJsRxa4iPJlDOBV/sW0BxZQNXgbRDWhhHoQzAGTvIpXfoofCh1KUzL02tzfCxZJeN+6XaD/GmLkBT2QEpxJcxN2dHFy4zhFXaOZgC7QKSEGilOYz/iAS/yffcV+mKWBnAJmm1LGS86diEGW/6sIqZmohviGeD36mwLYfCY3+kPWpeY7uPCDUtG2+dDh0BoiCy2n6nv0UYNlBMyMxpdujLWZOJupM3/tbUtvzOepynIVtQyqOWZoNegYP4a7uBjRmnP3D6pNVl8YHBYzdNvXIBpbL4B35pmiUjRchDGPAFTZ5KjylTeUzSLBOpkOKJu2oEoSlXguc84VAALx5/S2JiVGG9iNZ0c3kE2vDh5Rnfq/t/gtpsS0lBwQDshYNq4a/AgSJ1FD0a+z4qZjTy/0zF+tBggXeXdELDX6+iWzNFRJSwzWDhnbyEOhiqoDo9RL8nVlO3X/IxCqW4T2MnxBHSRvn4KyvtWKZU1EtS6VT9MwGRqYImshJa+9CL5NepLfDNnTPjMqrfqYxOfGEp4+NRQnpP2Bes40BAlbW3XrxTmWEv4r0NmtphNgEdrknmRm358c2XjutIpaVelUZM3hwif4dnzSyee87ZcvOCe54cJcknhOkJrbIFh8xU8o1wrlsRJdhiUY5QMn7hcmrqxWKyz/DvR9RXWiE5lZMwvBsIC5r/ohJFz95ZelZG9EoPo84W6rlYOLw+p59VH/kVwkVc8Wgn8HzAsKHKkQBnkxqLsbfAaku9SW9Siw+1xiasOCdgFpaHHOdp2iisLd5MXuYiE4m1RuCY4DdkBMVazn1UH+YJtr4F0PHL26Rlasst4OwWQlm/b/L3FT1/fla8k4o9vyrxSgtnbpJMf4IJvvITXmC28Q4fgjGa3lksCqjxBxDwOxBZFHiXswJe4LH1wCYH94Tn3a8dT80oAzyv1zPfg5YrHetKB7qXf7KE8+KXen1tRVh4oRdb+RiwdNo/IXnew8FUifr08muq5jeYKGvObGaSUswi9HKcfdWYKRi+uWPzAmoup7hqLS0aRlnZH91/874LirJSXDeBC9iw2ZBXqSo1y6Abix9zzGRGTbDVwV2/pKIb2TgUVXne+rdOW/eCtlivux1CvvckfxpE/dirH3taD3IjOkJcgbMIXG/TUp9izJjJ9HdgnrgMMZ7znIK0HJsvlwIRsHvdxZluoebtM/4EYX9ME3JS8MeT9LS3QzMQRLqFv3BJXPlUhetUcew4C6CziBkuPn5TJ9Ais2lhXRGxpBH28FniNOyumZZZdhyMErLfvxybKj3g6Ip4Dqj/+mXhMkfb0gbRrETBDpixJLA/kTHd2lrqQ5ALV2d8Qd3jtP9MZka3Qa/p2e/mXkYJONGIWGhXj/D+aGxTG7FL/Jz1C9D5wZ6Sq8ilTdqf/EPSLLGQpHap9QU9N8C0Zvv4yEdrTB512Km8DqA6DCteFHuevJE3Z9Kjk5hdu/Q911becwHK8bLgu0AWvHOnounrkr5x15XuhteVdz5OQKoT0YVb+XRYPBaCSsxL5SiIbyVF/XYQEr2D8XVQYOh/GG+3Tiwq6AokZfQOqMqUfFOGp/2qCKZ67LH5oIac7l8ELhgoDYoNXQr9BghC1Sz/kq5eNPNpuNu7K+33QkDwxRsFWOUDrMzBJEBfKz4jn/bw/TeT6D+Drv1iqeFSqhFlEp4VXAHC29xqprxpSoF+vdP6O2X1jbKRuxwGUB6H95akHJompiOY9p+863jyBRxMgyiLJWkFiBfUj3c+6kFFvOP1JEAJEMpgJfyGU+dsAoZMLlct8go8+J1gjbeZV7U2Z+/O//uG6APavnnLOZvrrMV8xWoH4yYL5un14Q0syLpzVja7Z2Qj2GowbbJOlv4dzkySREV78lgscrB+WIBcQyuMMAiC+i2Hvrvd39E46CtqOZJ3ifyuIw6cv96W3gJ82WEL7sOHBAk05fctT949UKzTazooNzFRxJp6/kxa0j3Al+/CrhfUIv681dE1rCHkBmv4dpejGTq92NPy9avFEA0Zs04JxYuqzvOKMGosaOEF05Z51hHDAJMcleDuUYp5t4Yo2HvmbsllQbPTibNEcMB3X3B5NwLGFwaw4zKiOUbHhOolue3rgxpqpzVxCADvybGiA7RJKVOB0ujyf1DdNAtn1++9xJ4/x+cBLgAeg9LTdT6nSGwQF5t7Iqyy768QWytCeYRKfqXRplIirq2OmhmpsWiHa/mrn5XkZ7osJb/43qDeWEqC2cn7WZwpxBpVWcfVjUSM2vEOb7QsaezdKSL86qRq+3ITxG3fxQ/Fo3b2FGqlUue/dN+KtvwbqTO40U6wlR0p0HNU1xvUNYoI/iwL8JQXTv/cm9uHopFjGVJfhEydQnfM48KgXACZ9/u6m3EuNw2QO9kmm4Ouoz3fgb98zcIupE7DRc1hcREJKsTogDzgoQQPzTGdICkBkFsFrTkl/yjEK5kY5h7jrzocbuc+d78jiBQhOWc2V7YL7GhoyrHmcr/gtpNmV7ThtQVqunrmIg9VTt7xj5o5qRk7sgLqW9ED4CivUNaZ9eHkm9+MJTrQF+O+IEtkiiIX6xydckSpVVcWmD0knnwbjVXgqn7v+tRc1Xj+SsJoWkFrDjYY4CdFsGGSUwBh5/rztg5/VfoMxk/pvv6SGD/t5zncmXx381g/V6bGrvC6Xoa2YU9ePr1PZPSl8VY2nNLlLoOaGxBi1jAE4/jh/DnStiCwFP6Vy8sVpmf3BmlEYqE9khR+UvrSfsv7uDRlBaAK0r4Il666FGJiM+VwFz8j/kNbkV1SpGBCY9BsiLQ4nyy9aL7tOi8knv9KD2xokszQXc7BDyPGxoOKYP/l12XvnWn2o2W00KdvlQQtCzn9+1w0ONUJ4L1Oi2XwSzwejjsYOqx8+vE3xOqtH7bFE3aUg3n3Al2ntt5EAjVsFYZ+ak5AiVCNaIQmjHnS/1gjNSuFCTk0B6j/gFAy7NHf2b0wzX4UXAq/E16sDSx+2WmtP1aKYhMtTpXROBIpcu6Cvrtpb9Jvvlg+b8E1bpNPhd6Z1C/vSXn6kpj+cX0RDonCTVYz1S5oBQXdxu44kOM2u+A9bFVeUBZdR+hNv8pxQjPKHcK1VVCrnFnXQQUr29ogQta3HgTVMaaN0mAoqYipu4N9ilU/SnwvRhPMY0TeL2xmgYzg3mwctgvysA4NJuAHuwv0TXMDIv+nDQVIkVyiQdyQ+c2iAkTbVNFJ9IZm3usKLf2x5FHS3PdH5JATCrlvUJzHaONva1EDCF4/wLKALuFMDBUBDlK+HhayQnjE1Erh0Non4yShe5yLaW4iESvv4GyxkAmiUJXBA4wQlkz2twmVoheuMy7RX4siL1RRrQdJPQEDJdncIXo7TBa3kslIDhB7zVCD9+ZXTcIgJkBVguz/WBo0ezdnDEV71bMgVGxJYPqntJV4SbaGtllI0+3DdzqbFxHyjtNATuDBD0ZoymCi/zNTnHyF0Kujp3HRtaq3JVv34xSX+NqZBH18dacgjTce1KCNwlYQv8NW5CmRk4MNkZseZgG5rZvtYP54XUP6gQqZ18q1yZrUw2Lu8SL4mXqYUXHfInvMssrq2pSI8A0pYGawKHt3Wg5yHyAwr2wefO0RYRkZBY4Pweh6j/V8kwPLPkF8meCfMrVY6GWtzrY5XEfgGLl7r9klCFX44A39Waaf8PyVdWyZEvjkoPWizFV54d8m0Jhp8/lgkVzyDR7w7tDXBqDSrMz05VpbuLNZoOozi5atITo8JGNaf4Zwp5bmkFhzynrqhopSODjZw6G4akfWlPq3rEWzihu0P9W217K5BuxyvKzno4RUBc0sbXvtWzoIjzdbfRoRaR2tNrLuCb2fTh1TLHDMl7m75DigDiWfWs0Px6ZHlMluVCxcgv/ceqt6l6/P6NEIkSgEOakSpGIzsjFS/pHjlRoCwb8e0oTCCDoDRBW9c6OWn+ja+WbELTv1DC/zRVImNI6pHp7FQcsNa4AYzXdXVHx4pXePXSSRglKs54ZFsHHk/RSAib2tb6Z5EZXuXC+8mZbSzvQpt1jJ7igbGtnYBQE8DUI3WAvUhThUOSJbTswPJWE6WK5n9ezV57xrkFW+cmEvBQlDZgauHZT3i06GMeiIJQsO6tZr+COh9GXlpt1VPABKd2Z4x6CJzswnv/SsNsYOBgaaEXfgDXpVl01+vv5Kf5m6BLnT2KZI2MjUPCM78kWihO11kdqXSB20KQz7ARu1s97omu/7cL6rfl5Lm19HMwb+yNjZSy7neUupsNwoSepbBJ/5qfyeHKAhN61m9M0frSY1IlwE8XqlCbd4Y5jCyxNH7xCL6vfBaXQawC2F+WPELeBWsM+3PZeJbJoeHF2m3dFa14mM9rjcP91owS0A9e5I0ztxhJjcgrWKJuer09otxRgxNEW31nb02qQ1whvk7emHYvtJ/yrSyuXzUPhDw8YfpDp1rdA5JTOI+rZOOwKwxPpH+QRJzWvORMGjndcc+5zrRhDmHIWGUlj4t6HC9L9KQYFSvo3r7FMqiSSU7BwjUsneYdoKzqNLtoAOEl9S1hJgb7aVIb4JbumtLDMRdq/Kj+hQNWiN7ux7I7qgx4KhJQEYxB63+dSAcEP0YxP62Xy8Ke72yWfArN1GBPNRZ9zBRJoUHMs4EWG3LBL36cYUDVeYw6kYunir1ZHaU6b6Tkoqn+7agRaiRFCHIVeyZp3GGLlW7uCfb6vWU0RW3atiMkV3vTiyjn8yhNdJ3pYKSwWVsvB4IAOevDTQhINXeCE/oofZ/j3yddBrE7/75wC0dvnBmX7d9nidXEAPHn/VMFcaJGJALK4T9E2Eaq3OjJF/9fTWSfuqzvTJo4RvGuOxMl4aFAZ6iEg4oL29JbsLtzjXmIrSwH7wWDI9IDu+6/z4+WVMQtvJg6oodxb3/UWhtqMHbcPwbTRJINcSRvf2I/QUSaakdQ8ps/PNmzoZK1jlgm8sQPxxEUueAn/lnQRo034XUy+sCJCf/8vK/UOEbX0xbFvEiTrnTZ7e1xdgMmfHjHxKoyLqDTRVVdna2mAmOFH92NZSIxNwaTBCR1ZjP3VinNKKSYkUeiri2l2J6YLQWj6Q3KLW0/Fkgtn2Qci2rikk0Z3/+QE/H4kUElCD6E6MH8lrUil9mZ80F3fAE+PCeIumPeEbXTJsfhjF1QgJ6GS6eKFiLaPUgWgg01o39lhUSaCNx6VqXbxxGIeu9GS9XteltT9GcAFbMFAIE0NJCbHMkxIhDKk4qwBdq2ZmCMoGmYijfjgci+r1aCtRyAnErtSVRfBpmRiZI57V9qdQvNzRTy2ONJswY1oaCebkwgIvsWw7IeF35w4oOwinqmq4FLoryxQJZBxx/FKPidTgw15z71TxaIH0HQy0oybwlJokP0QHB1iTf4EQnD4PbeMvV+b8zxxmO3Z1gzOXSGEndtTd7R9BwT3NmPv365+nhunwCV7oCSHl8+nqI2H2DNAplLnIqytDqMzMlCvTEUw4smeqDBAvtxPFc0T0POSurjvr5aZ8SHnMauIoCttDfHIGe9EtXqEU7/h+001LqPRuQZpMnCz2wdycLWqdxkvjx89l7rEZttfCHoWFDqX0TFLhW7/uAZ3lGL8KmPzsnuCdvLldaU1RoKl/1KVQMboFJBVu7sb6C9C3nWNwZmcM8D7YIBK/FI8dYxHzMCk/VHXU95ofgd1s8DN8S2CvMmX3JmfdRsdhWss9o+Q/liR8THf1AyDYzQ/RgUizry4R/tJ6ckUtShjUqG+nQfXPz9afeI1KfsCZHOAZMlBCXTOGycNNBfg6NYwIt+eP0JsNZ8+8QMzx3OBXm55O6hjeeh1Yq/ShOxQWdN1vahiRPyK9XPaJ/BFJvTue+gR0p78frjrCL9ll+lDljqVMro6Z8zg50Tqz5riFXzIPDK4GEOMmkPaXcNRVyRk6ElYwRHfdEv1dNrGIB77Au/bIH1BSnOv2tiCkWI2n+WZ9nmgnOlRqXJvQ5dw/2UeD6N3bi2xgAxH9RlfZD9ff4GsYXBWVm7KRXKYEVeCHRmPHJol6Es1WDwIFzmNVAx+WIuAIgH0YQ8YPf0StNE8NE30hgwXW5Yat1XlpuZCwLOsF/28KPApgKuYifNrarWHuTWDiGxeqtXRGj1cBLSjgM/S75Kaw5Kds65sYX0uAiR3+5/TFPv/+3InroPnovp34pVU/GqJUawSbAyQ9fwKY2f7LO4WkrCyKN12c/1gRjIDxBwrctSIOM29o5lwXla4tk3IzTjrOCXp2iOmQIFXJSNKUOT3YsBS9j4gz8BXf6qdiRM6qfuk3OUSbr2aDslpPetQpocJhl0atrAt7UC6zj0Gh+FvBmToj8zOCYz6DQIh0nOJQjrkEU8YTv3Hb735YRjJn8n3cAiGR2dzzIumBD6u28Z9vr5EV/TZM1kBxWNE3XQi7rs6dnbsqMMVCBVrk1h/Qg2yE89lmN0sPWWd01MUcej696A3Omas5Sg5yV/3l2csNJZvNDZkytQPDypzp53KqAOWkYCN9wvODa+mGvpccsIRXri6zfhGepjNumYIkFYbEYIZockq5/DOKfgjdNtKRU2/WCu3QhhXw/iw/yyIrM3aIwjb19pYQXHopKvbDQeATA2IIAf5VEalUfFkHf5cs0LxtX2ICrjzN3MTTBT4qMgYKXtl0BPd23xxp7Tn01F8ZBFMYfIPMxWWuS3Cv9MSm6TUpZR7nCi/jd/cmyqQ8Csu86PAannWcDvRMCldXItbXEV5cvmVtmIB1UsahgXKniNYiHB8YE5hRgGqouTjUWMOHp+FXm4FrtYWKBr5xwMcdCNAHf1WMoKNsum8YFyjrYTVXA7LY7WghOFEMwssN26Jlr8eQR70d+n+XKrrEW060m9G3jEU+4dCWsNtO4n/kLOqEkwPTYu/jc2vW7vESW2gYC53FTFllKfvSIAcqYJoFgwoD/ftfj5XlKaR12uUv8B5sE2f3Lt6F3WkJyUTJ9JwHUPSEoqb7SsbAsb1xB/5TyghQnqbQ+PzhAwEBu7dBzDivPSQ8uRpoDPqZR3e3XZtF4c6QusYhKTLYGaf9E/35R6Yp2oRQV0JhLd8tflu3fPkVXIcDdYfLddBXr9mSAieDw9XTzmcJoSwrK5qrb378v1qFbhri961OdhAinBERGda/y5yy14xyaQL/tcZVEDjMQzERtBXZl6tFBJuIHESJlfMAdXAKohF9sT9GAhT3pmPH4Tm+R41xM73inp3BAqzp0/ynXOynnXU9uM0UpAyql9hcPEfsX4D7K6gxySkl/1j4kzm+PBn2zXZTpKJCCbmT6zrp9DKUUsdw68gL6IP4HJOko58g4i08Pwcuwzun7c0XRX++A7FQpEenHV3i305Ylyj9LWYMqu5bx2UJfdoeUOqiSgRTYRlXMpKx8s4c6zO6H5Xe1rANEgLKClMeoajDXciUreBa9veSzgP2yOa1DUyORccq0O63/q6fyoqpiTksvDD1krpdYtePoxbpHixcetgvLvUChdK/cOR3jRkygnM7ziQPYaDFZ7z04NdIUVMO48hBSFPrDQeoNs9AMEApWg5vK5qQ5YiTcFhP1sojnTQ8Vi+sVXOH2oBMKIWjY3L//hi6JXm1g9Ph1Sr/qKQr7JcBVNK7FtIzR2J1WSd+rEuwLL16GNzV0dljSAZVPguNiestcfJ3G6E7+X2GZBmLXUaKWhGvSZMQt8cTDoZ4//e6kswbWmQrJZjPCy9FRzhJ0GXWu4bDjsOTd2Ira1IX0wO2J6DKZh78uy8sruaCaBEFTUzY+MNkUFYVA15ZUYtjUkMlig/9Xe++LY4IAUk7vRLfxCe1gSJrydrQ7AdKjgNtVd88+5SJ1LCTKHS51GDcq3m8Y+1CbXOhtmNHHaHGrTQdsLJfV2Jp8WjLFDjdroJ1KkwUrXVm8lQefygOEDorRsxduRVUrZ5pu6azoQM6VVNstY/MC+bjvnjPxAVjiXErWX3r9SJqLXjcotKeFNS6js7FT8BkpVMQSdPGEAo5tyCa2MDZp9di7wmGwfvr5+MJqirnRgYHWUqwaAJGqie6odiKJtU5axdniPIcE8TeuZO3yT951KNKZQXMSH8RVMXxuk9Bwt8+UZmIBKt6dcphP6wedyUXMzwGppgoE9emAjusnZCft/Bj/LeU3bmvr4k+o6ICb54DHGxsVzqaLZz7b7NSltt1RHfhtGI4RwRe4BLYPGkvXpARFC8vZRurqX6L0bQWZYyJFxnDdQ6Pct4FWbVMXC0Gl5XTIrJGgKOzy//YrOZPxAlcgbzVNYtB0da9Duk298tfRP4FoPGcu3pLrjXRTn1wJsrL4aPXe4KCAyaK9VnNIaBenW9euRxkUt9MY3CvzZ7dXa1gV8WH6DIXV+hOeOssbBd3yl0gTSUHe3V4iNg46+gju233nKn2OiQgStxIBWIiCVk2iAD+5Am2cQthtkBBe9rLXmrhtdzjdtV7Eb40ofh77OjWqaYjalS7b8DPdKG3l7ZxmHeZXTJpdlU112YOvhhwoLesYiZQGT8lx4CXzEznAXBAqvPEJRlG6ayzYEqzEkTaGuBC6ZFKgGe4Ygzz62SOV13aE2iVwhIPH/FZHWytiz9jvSng7oXZYBEeqwmuR8jLxMzrXGYwUyVvvsTgPnWvbA7yq23i/FjNeVxDfNkqpXLugr1g3zMRWb7Sj8k7oscFI261yP7TmrmasqHdwV6VLUtemBNV+GYS/9W2V2Jbr3C9YNGuVZAD32Qrlop9cS7+LWFMn2QBjIJtW8ZLSQWnaMLlS9MB7yKeB8YO8+/vPv65Op01No4I/fzyTi/SWXAL4Ad5l/78JvAqVn6Jgy175vDSFnp6jqcLDFH9hxN+TqEyiRD8Wtr56KYo5XaG8xK3qskqfkE4jawNX7E0EHkirc2yzdB7UxPatYnNVzjLDkFvaCi+6L4v3/cPiMzp1wbeQZsQIYDDj3j3sz/htbm0CSKR5ePDiaXbTSvxLMYccOISiwp2acKLIscd3A2WCeVImBbnLk2zzOOYxR4Zxp2FKvaegGHaIrrodTlDz+5XwIfHTsEOlL5XabdB/0ukQ8Im6BrlBuqyw9UcEjwzKyeQKbKMzcuHz16evvaB0P/lMyZsIu1lGKKusBrsHSditCNrdb1ZWvOIl4EEXQSSPGofR7+I6y+YiYk22yN6IMKilz8CBrglidKgCejk/Euhwv/nSILPh1QxeBstDRbgZmIeSuY9yjElppqoawwGWFgiVnevNDaDRAKnDDdAD6ALnwRf3xo8MGSy+0k5kMowWx9nN6YvqV9zO/VXb1JOvr0Tf1o/Eu9YyMwev1PM3IJOvZKQqEE3Buk6TJKW6bLqleayThC2EbI92sUJgk3wy43wRJ/JqJpIixQFLlabafvdOAGIUGWGtMTRx+EL+1/vR9gaXOyZi9BeqdOyqqKjlYVvcyyXLpw+z3IOq3MbeEckvVRNHLUimnh7v/0kZ0+b1dDF0CoIe1grXkvTnwV01qLin6eqd21Mw3cjaUE4t9HpjUIMtgRnEJMsNhji4/kBeEEjL8Jk9B4cGqY04Z59t1wl8Z/2y4Fm2/sYb+pxQoTD0nhduGcmE8KSkd8wP2GcbfrRxP+EcmgfBsc/Sq9OtFwWK9v42lmcvDdvJl92kCD4tD9BMT3K7LUBteWUlXGzx4/ldYb3e6iM+6Mxrff1/84GtVophuu+xtumrtJxldj0T1pAtcP78CQ8a6WQden1+Vx8pn6ZdQH1LKpJhK+iR3OEuT2JmM4y6pdtH0iwx9giM+7iY9SziKj1t7D5DAZ2JTzmVPz+nowMtzWfwDOo+jMGnRbbZY647+p8PGCnk62tEMjDBYQM1XrtzUONGVAFz3zf6u/DsA3iem8RwzpnkFY97PfK+qkKVSNUJBupTDJu3kGm3YnqmZ2b1JYIPRhtP+mOk5+ShStHuyZjACOUyBz9vCg2K+v3pmFavCMf0RNddeB2LpvQtdVIOIHn+nB8w+Kbj5Kr1IgLJlkV7uEclJSH6L4goKpK9pEPWBdYO2XhGhQ8uyr6Da6UZwN4eq2pAKChYvh3RMkzqvMNFMtOD8bydiLvxqIeCb/GIcjBniXgEzOr0qiUlE6HulbiC7iot1wY/YULUobCOtbWqVEpEviJhduJagI0zwf9/H9nTxmnCxzkqP595pm7Bspui5s2sYrFzO7DyocC55qEDjXofhZlo4fvIBFN0NPmo3zcbb6uDGd6PkcRfWqSU7jPGDqRQXOi7qge4qVZRpeAFpTPNHWoKugSC4gN6ZYpG4qfylJb66TiLySS5GHTZJQLr0iD9d/bWQvGKPWXeKX/yBOmMQAcZj8FXXHEzCf4ogLOOf69SRAhKajgb3jp7EkIRRaXs49M3On8lQtpOeEKwIlj6DSgIWTCUQ9XNsV1r8QfmuCxA4RJl0W5SvQRsxf07OuorqFvHHwMNTF8xUULA9+nGnBZv/nQc4LsWbmTX7OT2ioC3KuY3jlMfD9A6HaqrpzCc1N4Fbl7ExCHU6tjyZvn8BXLN4s3Aqh4AV7gMrA+mUPPdE3ZH7bk9SkVRklvdyyJKBw3uqagRqOWHDaqQuIN5ucutBst8y9BL7yUUSCm9MkBBCzRgN/w0I5IjfbTHs/DoP9GjzqtMMPDXRioYoom/oXhDjvyZn3ZiWa45Ckru23VMM9kAxlPT8YC4CtkR/PTgbqwLguihlUb4M4u2S7B/Bp61coxfLR6oGMzNtkCOqQJYTLjLZ2A3SzDj0LtOaEO2ZE8UgOwRjGkOL/1nFE6AkIbWLK2vT1HV6iePQfOpx4GKI558zV0ywwce889xiSC4pMnpqbIYQ/2QBPTfCTzi9w5ng4I0HKWPkfzKQUyars0YjOdpefWDsL33Ruu99ep0AEWEFlLjpIxvDOf33dyjF7PLNme3l9Kp+aM2GlpEagIQH2yGPrAGXdMPvB7DdF+PiQuLXrGEyJERL///326SkmNVf3ERVlc5lqFsoFyY3xLG+ZHJ4ywxIPzhXoSd9/il55N9G2KKbzIqhjQAtbw1u7RrfPWo8noSfvz1O2B8X9km/R9HieZH9j8CJODqM0ttTTNnG4Z15qD3RcO/5gT8PShjQurHwCxJzWD4RliZs9bCsKFhRpy8o9WDn0PXOS1fiY1QbwL1gYqsefvfSivd63D1zJmLFViQhX/xLL/1xozbSwEHZmbqsQlyQsFJPV3xP8qNRLSgTBUa+CgXYBK9TVtYUbD7XEoPNaC0swleCcd/2pn8mZoZ2eQ+g7miAz87Brl1vVB6FQdxFNO94pknBXUvtruJK0lHpHP6kNHtn7seUHXF0hzJKWnpMwaa0oijSe5gS6xG1vizA4Q9I+YpnT1/LLRRP4XFQzICGHRPmY1hLOb028fIP0AR2PmFxYoVOeT67vMgKJcBj20CwxC5BcsVE7gzIeLZsjufBLHiIf334ZWkpuIUiWhjlzek/l2IYtZ3pJ4uDHjmR8MKVIJvbbIrArjWTNoSgoXkAxZjbQ82x2QS2MF6QtFsATrE/foNr5yJ0UEYwd1sBOGmx5SB6xEOP00lNqc65+rxmJXOOIcnmxTEaWkidlYu9uogYjC9gNkCkJATTg82lTc0p7FmQ8AIVS8Pw+CU+qMknCPgG1xGvM6AGW+I4qUbRqaexsEQCqW4lKUZedAHj34Ng3rHaw7gyH247iNTPP+aFI4F9IqQvwvEbXaAmZ6/YmdZCPbTK+nFnirYeodxxEJetwikH7298YidNhMvUfN/TRD1BVZYP3jYjorErm78Nhl81kszXs88+dub+lfkadtgvMLlKOksgCr6vnze7uh1dES1Wp6gBuKof3+i9QCHjXRBAFNEnaKrRC9xm6TmjZo8bjh8s70n2doMheSXuQWEOUucra/96ocs9BKCgnlInTmPYPGz4BjpCOnJuSfQCiW6qSaHE75iL3xm/OSpwJieXte/+lJatngM7OQ+osHfq8Tc6hyfctth1pkzL7/RIgOC7RlLAhx6VNz7wn4mFbWaGAH61CvMpC+fDm4FuY9bF/dFn7OsillYaNfLqrzh4a2SC3ZydtJkUgpf374NBxCqhZccEXgqSEUppSMZFwunfFrOFz7tA5eOT71JZMEm4SCxC0lT2d9mKp2OlDRmeykNRor3qLotidmiJD0/RBuGRvfubQn2/yQiB9cfIRYvGlfDKRNraMR0lsmSnSE6zt1w0fp6ykb/q17rDt35BiA9dFps/eMJHYsGqLOkMqt3rwe/nK8q7AkeIhRh2AlXHo5L5VsCtF5LCCKMTRxDKETpT/fOngWe+ZMtJvvLlwp2fftvsvHglmLwdf8Ub82hNsBVypv2Fh9PqVqZ50eXT69TYR48iCw0t+dkwl2bfgnLmrA9Le0A1rqSGopRAlgQZ2uxlvyT9O79YQDjybIH4+QudHpvmy964HwqvKOhVdVk2pnpRutcczsJeiIiT2r3CBhtzIGRcCk0eABowBK5WQAuUhKRY/W4Ir6V8KY+ZxUf1YB5VidycXMIerFCENR5Ds8ZT0l63gNG8Vzp1UemSwgLtc+6J65nWD2Ji+8acIX3FfsGp7Vy789Gcu4kaWgyNMOxTJAVm5Oz32sYT1pRZseoM7fQ4Rv9FzkhbRtOK9p5JEi3v00gD6WF9iDEmNzvsqsuYrvXtoSCYHLNs9BdsKUHe0PpcGrYPr2aDydCv8Do4ShdqOK186//KSwT+0sSq3T4VZcQ3svIaWD1I29UXlX+71PcZggxLHRiB7qcMJt/r8B/NOstt1mOkmVV1GmTfuiwUKwH+M/5QqRi8+o7WNgz0nkxMxQnYrhoNvHSyb4hg/dwKxr6h42WLkzPLQU0NE0y91j/WbfrKyQ8gcIztA0ST4KM1tQe+SuhTf8h/yYq5CAC6DWhRCkVBYVsOh7UU+jxqRbtu97puDVbywwT/oPxirSPyGQyuj0aeuOLzA89QgpFWxorUJQphFYmXUIlLzbX7sN3jasBh68Tw4mwLU8HzzX6ke4J0wgbOBUXXhsS/LcpQp8EeBuIc+RKZeEVFv9dJPZBTpvct5B7OebknaWJJ5RMPawvxtMfOXQROzMlzURyjlfZSYY0acmCQnlVXAcpSYAHfdqrY0wpuJtOQJbqLhwtNmYwgccR4Bocu2qqV7XC7BoPxjxGg/in+QblTyIkMvDq86yOoF+qZP82uoKaK/OBhRiCG2hLbMRt3YZhJMhrDXQg5BBsPwdNoGkmoVifj1RY/yEUXzD8RN7QtvfDdsAYv8Lcs3YcLG29I3yD59vWV5iLVH83uCExxOf5fnYSLadrbz72xiq0w/wCFS+pp+Im+MMUMAmyUAKC02dsXSa1YEQi6CQZJMYTMx3h/VEU83vZ/CofF7J4UMS3PsAsN/IuASwOXPhMzUUidr1L1nfXlS3WarM6y1rgnkVtynqyqoM1vT++aS35+BazgSoYY7o2F04SYTM3RzSKjTMFZjp9CnwBDUCjIYNvPTw/83CR0B2yilyLKxIFSclgcETGTlAfQwcLcTYU+C/YbEsHr5uu3Z358hI6yyv/wsear+2m4MP30dRh+Ju3GPT4F3FRjmnQfwqfSk5wRIn1e9roNy7RWBZLstdLgTjwxKtAsf7/BV7EtYdpY+vj8DrzwnAMhI/F5v++guCylDrpE9wX2SrZDd5GZ1Im0Lo6i+F8ksbMcnR640ub/A4wGLZ3o629rza8Cn+9DfE9yMbENX7gdhtQfde46bJTSRDta2bPrUBFXGCIGQ+QQGPrqeGi06lnYDYMONRGx8cHjZhmwgrsxLdkiTPJugWGr4ywh9DcOk2OmxLRZGnMqAmrl+FnSNIg3lF/KsNETe8O+jzlWkBwPSRexiO/3JBqO0sqhXRsm2oWRk7YUYuMdUannOGtoKa3XzJYRSdZ0dDdzHmDn6y+vdNJcXh5nTkWKZYmMQI1CJ+xGUcM6wl2aTbiFyDTMU2+jwG64SkvDAbJyUHFTSo0ZOIzezNRtdz1b7dU5e6eTg+KBUiphMK3B3CPIMCvba2jx+vEy+shBb2mL/ahlo1buWAw5Bwf1WXDBl1v7gtK4PQg6DHG3Xtfda6sJHn2Po91A0h5j/xuKA6T7hgUCRD8UIGemy2sODVvw0Il50WDtYPEfuN4nNuwJpaFgRAHr3PSyE9kpX+Qo3g6X0kYLpONTce6XdwmlWB6YrnZbwu+Y95nADd590AHpzTsp02BBWTG5yx8qby+WWD63xQ6O9IOAcBMfQ0corOqzVPCiVXdUvAenpxQddV2Mtj9N5XftUeT8yF1qq25Jxq03EnVUFbxr/q1ZLrPTteHrEAEFIxCpKu78k+MNlji+rSpN4nR1pQeQ4jPWewFf58Cd3D7vj9uvsCYupMOS6Dc6hZ5JdRAOl+gwvuTfIUcejoEynx2ib83wyCvQSrwVw4lciuuZ/QmUUOyh5b4mSVHT2p4qMBI8K68yk7vOjjW/pFzF/3mTFEFHGJyEogvGeWjtu0F6ZZPX7djj8pPIggI5+8seXPHfIhji35LBhaPwtRphfBM15qYmXSM5ZMDOKCKfMIigwN4+qDXlqTmd+06sP9wFAW8adf4D06FKFwR35vKRU/EgzLS6h+Vymy4F2tvXzOZNEF4OMzBRFxW1br8eTdR23su+1XNqPMTTQU+QBrbJzKWJXzVNaxmqRBRxN5lURXPQgV0n2FC03Pk0iJ258oahfXSyvtb6ROssTwT4iywTJ/EfUBnVt0C4VaMmj1wn/Tk8Hr5ZBlKjgG5SebXlwttdJik2tB/xF+OMdWM+8OYmr/xISkW/jXkGfhUu5c/FJ6ZXtx/KrixRRMvxr99B8RFlwO0ebR8Lxh2oa73gnvR6MJEYJYPpMnqywJUxxTpVXYoQTk9k9svtBnPTjbFZ7QaXFA4oxE8WKzqWOZsfJl8UIx4aLeLSF6u6O7MbCK+Xg1DqFkOiUbtN3oJgRicvrPg1Io0JEI65uT4j9TUOHaDzuKwTbFDxyhpNGd3M73J/gasumHXJgHikBp0CwsDGkp/FkD1O+mhZumhTHQ/Vl11xR5x/RUYa0/NOtqkDS21jROYdUOF2Z8kzJwtvSOqcHHpsStxdDu2R69xruMK/2U5SLvoPDYds+zyRsWcuZkksAENvJvioWTYJ6OFCG2GeS8eG9YIo/3D5GNdOEaN/AoR3pRcluounekf0WweszbiLYZA6UASCNTYlAMJ3I/3vxpebItu7CGLj7t2O8s+Xlk9O9czN9VQFMWaOFSPN2CVUDOIm+0XxAqIpmD4flJx/UE8qWkwGGtr87Ozuq6ZQEJtvjIZ4Cn84fgWIff8FIex3kvnRIFOpZa2S1IGwyk6JN/b8ZZfbGhqu82iMHUQjDkGJdUjW77OjWKDFtCMnztgf249bSQUStp6yYDqyvU3pPWdF+AcoE0E1NwjjEhEFmKAugAwg/zkT7T4l6YhoRMARcl8V6w2RdmoRaLgWtWowuuU3sr+sGYre5UW9ClQ7IH9SnjqR2Ng+l4pPbx1Ic1DTrPX9Cd1dH2dVEFEOKh3/v7/fLkBacOxuXaQ1v8mrvmvgXDEFOENlAchBmLPZoNgOfRWJhZs+3GYZJ0EgRsbdC7pWIXe6EUBJyz36lFu62+57kGvFByrDKDj4Z/SWwcO16QLaFvD78eJA0B0aSDnOlpM0ssNRvUbUEV6H0aLgAaVAJeVUDbLHl43tWWNNvY2i5SNWYEMXtnWjC4TqE27hysOJGYivYHxegHLiIAQlKzIQ+yWvmGdd9Z2/DDaeiKkiW1hklSnrywOrK3oAtHt1RHxPsXaR9nl1K4k0JHx/RGRuTfhb/FeQtNjiIc2RyKVoeI/8MOTN02FOZq6aAZ5/kOu7gw9DxwqljjJHOQAeoIBt2y3mFkRYQdRw7ygXTZIWIhN4VjMtOCNG5eY5VNTyZj125QtINeTvn5w+waxV/PW8EF3zofDOlwR+uUbyy+5O2Xri+Lwp2FJnFvV5///x/8aHj+Shwoy/4BYVnIH3r96c4pL7CVcDScSpkP7iU83KwcumesF26AtKjTI6GojE54Fbq6GpGj6u4woNqIPSE0bBr9YPcARC5ryfa4xFHHCRaJ0INDtUvtqD+LV1qs4EN/6TsCBAkv3zIjPS/fOJIvicwlVQN8JRHxzdZrSDwoq0lqCrb83ibQlSJ3t4Eu6Y1v8aQgkGFL8bP/3N6oKPhOha9kTRx5wt7xBUUzkAqLRA/MxovXks8PqoTxl8J9JLmVHlq1Ba6aZxXWdDIP1Xx0+OQVt1y0JYwhsihIIbYSSNm5sMJdhzXgXvwUt1lcMVMfDnAIlPIlyCDjMU4vPUhgcW8NbJ3I4A603lCZmv/1CIwynRXzbmEA3uBkS2SOxSmcVmS+9ypT2/Gly/KMwM286a/ZYDM8NFoh+HJNtlskrEz2BVf8BAlBXpyGB3biu+T5bSBM6yhnGHrwnrPOrgA0jbSjBRyhG2jQRwZmUElfV89x3oGmlqkwZ83baXLlUVQ2FFQgjChXy/VfRv/pPSySTNYRtm7UngKJzw3yKaJED3piDpolZR3ei6Sf5bl5SlDPswkw8P3en5Mdd5tXWKRPSVl9OLS3q6yegP45zeqJzKanEQUc/47xcBd/fcscGxryIlGzqxe8RTUwb8GVAprTzz//2nfdlt5yLt7rEK0Ia7hHf8PbYYItrbMd/ZmVhKtMvhgkhtU7sAniyuAyw0GsBhAVrW9NQUcYelHIQG8WI4PsAC2o/6dCWv5QLIA1rkrW7elEnv81x90uEsue5r37aRQMob8+mcjNj8r48CWbUZe+uQcI2I4r2qxM+eZkBOdLITlbgWC4OvXbWy6FTAksC2zssXpT8ooj9OvhGRWMs15P2V9POSW4RI3ZIr0UyohVTAMOM9paLVqHkxFrRhcOpatnGECh0KYcpJfShhNRqZlELbHg8IQ1ca4fy1Og4ZPWOefgABVZtdTa8CX7i4ew5d3WSaRZt6qnWNj+EuBAqyNwRvEHVp+1pGtdEDylZjBY1e3E8K2GPrTnR98LRbT09JD4xJ2s/jrVoi53hRpdveuDby0OcPo4PXsirDalBF9YwOX4k1Z/CKFbZ+8toa7TbqOLr9/GmwhH9dDcftVoO41U71YYj4mOiUfRNhpZivSP8PMSILSjHhTVWJtsHHMu46+fEOkiqnaclP0H/4RTXikw/xmAVDjimb610nn/1X7tmtzwgjqYF/b5lMaIEi+lIxWhRoal8rtw0JSvPtBdBAeYPNrs+a4svdQc4GmFXgM+uoRRhMhuihepemWoLDu5KgE2nuTy3qu7uV2oXANTtOg2/Or7n7jwlmXZfKsmTYPGtEIgo358tzFqJuXBB0S4uRld0kRbGmWUszaM5V/idsysIKVX/PkhhtJBwff1z7RxhkgEEL+Lq55J9/caJPaFODrVKO4mrdjKgI7ITFRfEt9f7F8dfmUAlJttaijVbRrfUKgvEV6jZU5SahHltN/hrJNMv5lcGp01fTUEpf1yv0evPJJP7dj/lexK4y4AuVBCsX4V+qDrHHhezFIC6pDDAgs4U2qlTbgBgdbqi+O7m+mhD17Dx6Di159qz7Uu1kP9rAvKW4PltEdZezJzKwREn2bAXF5s4wPhifquLF/4UkiyBQmMIOOPt1RhCNuqikoE8LPBmpKkzuJFW0zvZB9WOzaxa2ax9bh4TzIpvMBHsuJGxy0304HRR5CXpbnh39Y+P/LnnQA55mTcyY2aOo0iUqClfBqAa6eCMD/DwLqPjIgJeY/t4Oc2nlN4XEKXlRkyZX4gnABfWDMwyW41mSJ9/3udDL52R51JjQ8615vPzBNZwI5K/L6BiwwunjLcNqsjWQ6om66WbQPy+VASg6jnG7qZJX0+2tteA/Td0Ks5wlPJ/mPoGw8x0SG8pEB8EQGpRE0pH+tIIR4j8dNcBufG4v1qybUhvBDI/IYpvfbal+mudr2v7oIiChDFpjzDU+40hSZkPWtryvzYi3UO9XOxbKf0DaFTJ3HsjBi7jdLjrxkaWDhFqyZFd9d3s8e0gF1o4um7TcENZH3ORcnIfj8GtD+yIG0urSCRlDAvrdYsQgSWmDoRmVVmTbkn4tD8u4mQ1mlCj8lVjUnVJ8wKn3tWzxP/WBPbT/GCbywDHINJfSe7yWCu8FStyW55qAJn8g/ZHDiPOc9dT0gi90+JYqS+/gPQ9/IqX0O71ufJTHfPz+S3ukI576b9xly4equrCCa+99XZZRgBDSe9E6t2JQk9J+o8FwiG1sbhXyhOdDmvJffbgiRYwoNNFPmCn+sxlp37uDu/Hzssd8+tsgb5Qh9c2bergz1I7D4z0wKLvDRPqPNknTM1yzqxplnNa3DnJpIZ1Wxeh02PJ1q14JjZIDMAboDXCjzAjloCnsqBwUtBd6pwCLMVRed0lxMW/hxa27rCM9U0BJ/cvnQCCuky88k2zfz3XTkq1W5tvLaOS7izvsoaSDvB1Ium3ZxcvSrdtWHgdhE6deCitO/bBFQ4/46rsu65OmeAzjVsj7TN+ZUSv79oJ36S1AunFqF7mctG4mLe8fOi4i4XLLB21nRnyPCPpqxeI3IJuvEOc++FkOeURdPJZIjmuG896peux2fFHk+JtqL175+9scJ9dobby0zOZaABjUUgpo7KIJnQJwLmZKLyU8wFdlX3+LHUNA+0n5O2GZmGH3Wp9WlH+XtlJEQY6v/9/U8rZAXEfTsSB5H/gjFCBxV3p1y5Xlsi4ebPkOE22q4a3997cXfu24V89EhVRqRIfmXEBtDadZR3+0cOBWo3/bT9RYZ6DoabMvUZXzD4rDv70Ofj/uzWqAKdUukGjKCioRxAopwBrLrUuAAThp5uwoWwmv2nk4FpXUW8yNvFvKeEydtdzIn7MzC4akoFcGupEjY+PSxWtCt4d0dWXpYU3+zKqIA2cEw7Gmm0WYlsiEfjTcJ3h4UNzkTMVh2Ny1Whxq5li+EwJzfG7fBAF+LXp7sY2dG2iIPNOkCzw12pO1tvfWWbOWPp6OrQrEmh45NNhZpifSESwBkvgrZ+iYiMLLT06+WYhett5aDiyEGxNETCvsWEtBSv9V6is+tCP/XBdmd/h6eJ18rRp2Iz3509bgRujz2NzxL+/Q+s6Q4T8AZPj06A/DVbTiHVxV/Oj/HMZ21wWhEhbNe6B8wnzbbofxznUulo4nB3SJI+FhaG0BO2/ZF/FfHHZPBabPZF057BW6UrVJ+OEKWq8CYXTtfxudzaFY+dwpo/zJvWD1W6UtxGXUAjIGgg7wfwAYWBk9VL5FUHiAclM0Lf88o7UIfVrJFggIQ2BfzrqBW07qmRR1yRzr6TLAiJov9js2UEtZ8iciwpZsEIWjB+Y6rOBBVYTtVTm73vCUK+cpB3OT7xIlgOK/D/+ouIf6ZCuCPvdBsoMyNPQU4DLRiEn3P5+IT3QspbTfBjZ2YRyyOsb9rc9rpgiDdxpyeTQOVplWv7KVZl8xr/I2aVhw+eNAxNBrrc1g96VxfVirrkT8w3KfXhoqPNFxor88ZIjRaBJ+hc8ydXI7Lwe3ZLLozyielXpUzZSjiWizXBdceMIcObmw/ysQJCeYLfKZU/vgaWQuN7xL1xjHhp2VBtRGgN8plaIS7Sxh7IqAPbktoboAbxr2sNiifDgVwmuqXm1dNXzRWJcTTC8WM/3OHnbeXvi+7lyzhw1CWi5MJTfdf9/mPpXQi0yQsGsh5qL7yCsVse/d+yJvJw/WQI5yvWQrgKl5cZgd468OnlAiQ9rxulmKrHusCTOUv1hoTVZkloGW1T9zV1riL/seRAl0Hm9l23OXOFMjJWzlAqK/cXSL4+iAPQlZwtblBxWxIhi7wmWb1BFqGpbue+iJaq4jEbJvWUA8a6C7FISB+sM95BWBrvQyAN1QS/yR/eRIAIN8WvvkewTJWMuQQMqiNi4+IhNV04u4p1KePUqI258X4i5JRLOSEhbUJHVBeOZ541AhPtCjZPIqNyPUyAABt6fKt1C3q0DlLN8AiS1zAmxMpXYh1iUl/GErhRPGJjEo497w00c+P+NnpxprZXKDC8muji1LxmzB4WwL0tLdTXofRz52KArCNiCT2khcpbVqZD11EjTkubGcZqCejlr4EI8FbOlymXgEixfbZkBbN6G3YpjtLOvRvvsbh92/T3SpHGoRIjbHJgaWVU2GT5b++kYGpm3apWAAM9Ul24GjpjEnzvX1W3aRpg6HLcgXzJlr8SrXbjpSiX3HiRxAfK5+trw17C0EzdMJmquFEp9OXyQ+XcKvsgLl3y+84mjI1TK2L1JIfjrdKRXlTCKUY73U4zGuoIuwNxeLgjnHFoQhBu5T8e3FVMXe97udZwoCESRX/I3HEDKSlXTMHwzOgDBQ75bkef2ZXh2dHdVclx/B2FNBFvsK1ddxrc4YlDr/8W40ZNXtqbvG9IwPSuQPc515PV7XpewOa3ykASgWq6RwLcgFgjVVdAUoGF+14Ij4lJJHDS5UUJkN0Iof34yczAEvC/1BRRIhbKxDzyrVG9rMu6f3USSo3jROBWH45RVLB7NYeDfdGtPNR07g/+tLZNke3mwHVzQagW5fjjJ1RJv+5L+2U3UVHL4usqXcLlFwDGJD+YNd31V/OUgXyPjIjXLUTRMRZGbJKnulgvZ9N3uAzvR0bRzlJnu4ZgsC7WcZIKsEgaP55MAV5YKTU/fK53CXy9kInwo2Ds0Kvsx4zRJVEIBAPcgRs+Bo2EHjVX/1erojrDjGWJ6NFCWuBuOSD6MXuagakF3iH0qsfKZppP++cC8VQH00HUowRGXeiK3/s1BxDKkhSKIt4FKJZifqJ8Rg8Z6ArdjHX1KE6H6ZhjjbuW8zh6bAkQFwEkQAHC97Yv+B7XD5OjSoIEOxJxQ3X0RUnuRaqDtaC/Zn7C8SZm92FPvcBCIhRMvk6C99aQvzzTpz1P7sCiDPbg3w/XdQp9LIorFQHEYVNI2dFucaJmTibV98u3Zso4USZfO3fp0BMx9HEBbAY00/4Nolu2qt1c+DnRLhnDyuwEC48UYgJ46dWWTsvjips1CG0GhMoDHE506FFVKzgwciy4+816w69ODqb3LprOf4STIuFsIl/bHioUdf3MX/aG6BuALNLQNJ7NA1u9EgVp5MWiCium7G5KIm8Tq1d5O/tHQuDSXyORqYEGv+ZicU6ZPieztSQA9Olw96sZqdgdf/ohdXcIdspkkO61M3gUQl0VqlopYjGxqO1zRGKn8Q/5gCmqz/Al/bQtxReAX6PLAd7N+XHvPWDv8jFuOcyVnbldJU/D72PKeNMkXKBLK9Hnu7DMTsCVu1bvFXZftsIUeczyH8oTeRCy28fKvhwxzws7Flcu19PtVknOXotw7sgjwhm28FZTEckQLIJ2dSuaojydGckCaqxtJDImOrR8xvR900mHDaMS5FZzkK6c+qpoHZb4rWGQYqPsEUibjkl4tYjsxFh+AU0KkPgEFnSMc4wyR2aco3gf/CutGS5eBL12xdB2gP3cLL9i/s94hpI6gTm8dIksDiW3Rv1yK0qQW+wo3pBVrAUtoObnbATKjKJaZpx0ReHAujoIBIaGhix7P9zevfXvNHO3wyQD0u3JWWeGK60cdkautzzyanRyFkfwSCVn4EBrTYw0d/GFfyuXjaxurQdE3Rh5r6TMO+qvSWsgYJ96dsooG+FrnKpfd3gn51OPDvxSFpdhAIE0v7dNHJ4tSeaX2UV4+Jfo1qkpIdJOqvDRsYA/7IDI8U2tl1L4iVdg97e97F5+tzeaNgRxQNlt6r2+pJCpjtKLKsgLk2hr+EKggX91+xY+HbkywXw8wheTJs20sgY4uyygmyiz+4ol5ixp9IQ/opkk8MExePeZ5rh4HNQUZBC0es8GRGkxws0WbgBntrNj98o3CCd55oE2IJZpyzxhUOGzOjvWwfctB5drCVZk/GZed4gCMyFShA0ub3I9mmWVUe9XZuqJtAegs/9oD7FRq9yHi0POwbyiNKHS2M0iKArEFas6F6YZF1J3IIg4SSuoWJuc9R9wVu+/K1guhaQUEe3yuK/Js7UOD2SaQ1DJpkGCbDrhaCGAXFrXSkSg0WbjyZIrL5vuqUcNJ0WufTfD8t48aTunWMJf+YQUUrVlqsMI+FSazxgm8dd3rnikGm2i9aWFOJfzVqgXdf3ahlOoni3CQQRDtcWoGKJbLZa3E2yNrXtFpPAg6xetBnvcXdHy12YyOsFXkSnwUmlB7Kme3nAQNvDAzQEJU9R6gYaIwv8NWhKhzmNvyN4XdowB19puw181T/xlp+BiDUNIwnmzZCtOd1LWiJEyvG2fheUgLM90ljZVr2Ew01WTJynx3objDRhsqc3+6LUZZHaqmFP3ZbWSH3pxouTsGwgBLP44aLujCGNvT/zAZdsvw1WQoOg5fCh6+mfeZH8uoimX5vdrcXU3lLdQEQeKmFiMKRavkf9yMfJKYD3e9/FjzX9+vfziQb+N2saCK4LiFGjt1kXWErqRgUizwVMpyYzDB/wJ23uD3kwk4deKLE5WdhnJYlbWDOrhrUSzCRK4x8VdZSAC9zwvO+XydoOf6phaNn/HXeHvWv0MhNVh+0P4fBJMUCm5Rj+FKrzAGNeMhxM3EacG4Pv6QN0dHj1+VyjqsxpGjf45kPPt2jtWdoectktPFPBxceswpiE2iUJBwOA+SzxiBL2vd6yr2Ub7iE+9DdirDmxzk8XJ1xmmWSfXWmDBBSHCIyskz8ZY3EvX2BY3f9Bno1pghFeuPQPSpoZRuKKaZY/wCBYnDfLGItq+NNhSiZU+nZMtjt8oGRtCDmySS0PsW3+Uf42LiPDwbfLiKsDxqxnJWysxcKo3AC5GzVqGsHGou/nXMdjBetAMvHgY3mwmwXLjRg1CSi8SR8tXMdbuz+bDSp/nSF4aaXbps8lrv7c4k8PoSP7UcSHv0A+l27IhYIQQ5EX/htuUWm1W1q7H/aRB/WW2QE59INsFbXvF9ZLKa2WyX/X+c5iHaoUx8dCgFnzt9ON/qgUsrwVODXG3D+GU3nkkftTa9PhAccBz1zIfG29hlors6zf/zIxHThDmWUAHsY2V/iFnDwVSxZExcyUd5xnYVoBbplZRB1drUgTrIuUCZ8xh7991CbLIauyejUsbN91OSvJqnjNJ07X8LanOCTkiVvsIcev86JqV9VEwxm6617SoxEt/vLlQxMgmwAP8f8Jf+PnR3ffKPFi/Z5u9fM/RYzBElmQqdLGJv9+BcM6a0FUjeKJyrR32rJ735ER4usaPeLX0nAF8u0/tTECuHre3Bj7eFJxQMnS1cuxP1ix04WzgnIlxiZaVWCFhUp5lOODHxU4MUD5hm4qEPscM99Nd4UiPxP+EvlebgNBh+KR+ewDd7In+r+56kGDmSwKE/o2RtvIiqQu5Dt+kbmRHiTliHONd5k5Pq+pqploosjRqBFeTtC5El9+nfXUA53JyY6++sjNq4cqt82iT2l7tOeiDSDeTG4nqUE5o4S2IrySlDVMa+ducCVBF5kT1X+cBs9I/NMx01+GmEhQArouSNOqBK1REMmRi3FhPvo/u9S+/NuYUWQc7V/1qDti3cPdEXnXkqBKFg5VzixyYTui0s6IaVnPCGbn35UvS74F2xFIFrNUB9YIwHyQh3BWpFpNfsKD6VWgr9mg5ZTcr+kuchg8hjHCR6ySha5WtqSJsjUtkPHRYmQIeHxOuHu00gP1n7Tl1tuoGTWWfac84mX19ONWpzFU5/IFI024yhkbNChR3Lg9njF1KKTzPfm8ehd9vgf1ujdaSV+VH3YHc3PEMOqb4N3hGe2bShqbyFXiULpyxbHf39igLTYyxx1V8I/0LjpeLCB3w/SoD0856A6uBsYjrH7ta+/kBmSYLGqWeZc12EsQWfFrNUNm7N3YJRrTROa3H980IB6HOAOzmfxynnshUeaL/49i/US5DoMa26jOJ9o8L4nG69r9o+HjNcXUSd+8TdzYdcV0HiA6h9cPJ0gtf+jrA2DEysDebmd3V1OLymH3vOa+/k8kxgVv3u8VIzqjKkMwBa9VadVuZViN5Uz2zWnaEPyP4teMAlo/bMdXmZeOJuaR+qxj4uYQPSRsSuYaYPWdlTaeRkY/Gc7OuJH1Hpj/tndSsAe0MK0wRwPrrUB61B2SmvTsbar4VY3cJLnLkYte1ZWogP59z7+hp7EmJzkCzhiujbwzB1aEDh+/lK4Tf0wzZwngr/K3L3rVxizbEGJqvP7uZK96tEAdkCkw+0e/yFX8xpSPbhS9qfuVv3j0vHsvJtWiYEV7n5aYEGNS8gl9wCOpw1xQrNryYlbIxOA0KtMCTKUPTIAWX5FG46+84nhKKzxCXx7xtDWrATeXs4SjFwa4D8qDJb+pw8Fmn2UsBK795p1BC9kaNy2P+OyNAIB+pfubF1IdOm2/rdPQVIgAz92Rr14P+spCmoQiZRzUGPY6Y8D1JIcP2VWi2YePPz5eKpsbg7gd+iw6CKpDEJVd4Ngw162IoT5LgNRrxC/z9GJTyc6QaSam+z2USn8W9TDlV1pvBXVGc4vLMvB6mbijHsjHpvIHdSByQCuY999LKatin2YdsNCNITqFsUpTROUKcluMtFU1ubrFsZrE3XvLvRnNN4UKfTcAQNnzMOi/nqlSIy2/0xTpdqvMhF13cqh6hDKRPmbvPupdAcjHbR6jIHaE4zvdYRH/LDpLL6PioIwRlVfX+TFpjrCPVHg7KFS6yt8EL/3jY4EtnqE+mu5idvhq8m1bzGr9wrqNoUIjUkSSF6x02wZYbn1yYdIeMISwO2M3q3ha35UG0d19TYnVD1J0qbkHulevPk1suUJHhxmgdPhjwJe57h9xFaT5EkkXqA4EwyO3/hwhOaJ6R/N/ItUbiu7kY3BC6f69ENWBcsXYleU1kgqdfBCS9+M5HDL5Sy/CVxtvYPlnIr3Qg7v40KQ/Mx6oJNkdrq/bL1becEiwSZ7jMxEftJTkwnhO41/uOrjectLRYPgKNGJ0acplMxBPqf7H1C5WMAkK2On69Imdo/Ge4OShqpsIyrV4e74kqw7rh2WYbJ86FfYBocSi2StXdKwZZynGgBgfLaTEnEeYVgbCUa4F71FjMk7Dwza6EKZ89Tb8pXa5pk9bSAjOdc4zbcsxhvV9F7/cmtyWuJAKIMdLa3a/up/XFjJfdb8Rl3Pos71+nwwzuJgIe0/gM3MuiCv6PiM5xlmHfo++tkck/LS7iczOfwyyrS60Fj7qpDuq0txN4V8NgdwwMts+j892F+wTT9bnhjFcezG2KkqE93ntpcU5jY/oh2q3ibOZxpBjoT04PLe8W1l1VH5zXwcIWO6plqeaLf2/4HvSeO1VNNpjc1bpzL1MvXuCDuElQe0iPllTYuJsqzwj5zGpEFYr+StyGdXuYG+gXnzd/DgdLmTw96LKcHKGq55j2JfOLTixOnirNlTGIzyQFtjAYt8h1dxwd3D2d98nvHOOOeUvJiVsEtx9mQM/eU9r8Tjf3f+xNKteilREaMvbJH8gyyKsCJqSTKMDin7bRTEdO/nTCSOXWD5jAsjRhym1RXS9/dyE609kqVcVWVRkRMliM06e9xcEfLrrHGU/d38I949hPSVp9MisqHSYgeYKAFvlasnlvXm77OwSoQqlbOxA2DrdoHb4DiH15YnEJs39X6dqjpLN6y4bnEUjKqHNLc9RtazM2kwpBZubvIcMPLrw9p7W7lWGHKQzW05hy132agPLch7mmM5SoPbuiZrOZDSKuAW/+Bqi4ZcOET7ddd+4nUYNOieScns9Vj4a/ONjAKLWvlMDr56dsBOr9sq8iZpnpD6BjFxbxzP/igpixKwr3XE6F7UT/83HCMZkKMSLzdJdV2wFSlf2PEzgH0mDHq55vewHcQi6tdTUIw5RqrtTRWC741x1FhlZoHYI8so2YJOGuQDXejjJjx39CTt5lufpjSQUT0CXoiud4i6aqEyJJHW8aLg8dtvTmyCoVmISoZ2qLgVySpkjOtMT+psOwl4awMrm9GIn8zoD975qf0LpjATUslrL+5+/d5gS4IzqPLmJs7Rq9d6xuP1HeMlnI/e3pDuZDcECTLAI6GYZy+ysteqnmjxyC45FdVKdtDNwp9kzhPeg83CPlsK93umqfH5MZlI7jHXB+VHyw45FaRXEp8gSg+M7aVNN0gbKBz1YAliHZpbsheRgSMfeOtjPbo+GAsCc0zfwMx6lPWbq2bWmp61Ow3vkXXRzSPmxAfirnJbxLHokMso8CIT0fTFsbLrc3DoPem48Xlaxh5diHOZcI2aMkS54kgH/Ni/ww1NIbE+C4Ek1KnQTCm4lW2YXRfBZ/hBUH5g906P+Z8wZkas/PlYZHoy9U+rBla5O6jlrHGExLKWnokMSbyJKkhMLe/wxQNKm4Ou+qaCBrE7U1EgJyt4mXZtnh5XE0fELOQU6R/g476xIsUDcPTRYPBiz6+Z6leKv0p58PAZQnHd+J/5EIt8b9kcyDG2i17JPks2ebip7lEzjScLC7oNkBsUtKMEpR/E2iebZ+KSxM17JC6oKzqaPIaPXcRETPd+GIdWAQpenpZvNjiBoQd3U4/kzr/mZ+h0AcOoy4jhVtMUjo8Nd2hskYsHO5pZ6ras86ANzcnTwpjI/yhpDY36OyLMq74SVTP643CE1LTmrgqLweKIGQp1WhzWNVfj/IcEppsjZHjfqKQORcMlq9+QIOYFfWsBuDH3y2CcoMin67cDu7tDR6WjYsQQZkfEUG9IoC/xVc9w+8CeLdGsrr0b9kq4MtkFuBh0cnbV9BAlNe84mUJkJOgUjIdPYgIcWjDkD/aHfII4MFQZoEK8MNtRyx5/qp61lNaSrwQ1R3DGCvCysR+7F6brqP4b5pFxDe8ZxF6c9zEyob/sFRD2MAdTgqHbjp+x9SJWSZy15Psf9DBO6727P4znBrj2O4ghhLhg7Vp8mZxXVlyWWgQIcLIl4LTmmZ7VuMwIOOgxOjIY+PrQ8W02jKuYQmUaKCUq1WkGNb1C87eljAvs+cr1ZCRUoLoS4jAImQd4HX9e55V8ZCvTfibi40CHPVrgb7xqNgJZQbtgIdUtAOc7D5IpuH8fnizdxoLsNCUYIOh0hcOo9b1tbLhr5rCuEPH4jEeOhRGIXsyKVQfYNYAfE4lM5aRUw+b4o8TfX2jgjcJWR4dg0J7ittq4QxZSR2RyUso31U6HalK0yZicmPOeewCFuVA2oNb411MORF2g4JXlBKW2t/RIpRADKpmi2O7KLzgk2R+ROhj0XcRDXS9NPCX9ocA2DaT0fE8YeMlZOOO2rR2xi7iurwQo9M2DcNykf5+E8CBcsU3NAUzKMP7dBW8QLk7L27NFPztnhgAxsIAueNgrksP6rqnEXyuX4VKbLWah+4P0X3Ltf/TR+C46vfO0gbEKxVzRQbRoaSKwUXYs0lR7uenU64VsreUTYB5reryEYsVS6+BHdNcM1WlNhchL8nWXqZWQh3WK3XdycDEImnfjTIv51/GW+qbSPkxv70rLX7qIF5Fc5mrbM4ypGiE7vj2wr0GCI6uf7bA/xneuHgi/30TmSxFR4CCYeJ3LY9JLGZgmKNsRBBPJLcl7L+q4SZrbEIpfl5LadGoSrGVQnREpN5DXFk7BAtvHE831w1BTqaTZyID79L7lK73nBRTfpyPzSHUqw1UnXvrxOqYP7b5j9jP6mGLowR7UAL56/J+uKmkFY4RwRD+QrCpwaPFmiF4hZpejc1Xo38+l1El3V9JRxHWgCAdJp8VxzuhuEJ9nEMBrALT6QcbzK+fOxaBj8jtHGPu6bfnrQE2wDbjcu35ho7e4Clyb/R2NsnHFpdkDK5VHv1qPOLkUoFQmtUrtuW2CUJrnopWJZ8qB+XUMxO1V1ZkyokdiACTzwkuXEuLkS+jLVs/KdQCNyFf0jgD/AHdVa/Pz3d5tTQ+hZksZpiPbofRUfXQWl34oJwhyNoqCCcRdxyuKFOOFjwhQN2STHV9Q7E5iqGnTXkhBrM4IqY5qT5h8TGBe3D5RDWOPf13XFPJJByttPHhrVNwRKHeL9coHtAsm2Q9VQgGLQ2PPCmt+3QGbwv61ndk6xuNeJcFxHTJRngbDFqq3plBT63rakysqWlHK59AAXl1HZaADdwbIPfu80rBIBNLcFugOKLsBzNFhOAbGkxz0rmuHg732W507KYtOzHA0pnLZAl1uTBClEDDIk9TDQJ4aq6XQK14NbMF0Uy6CD6Q3RWSl1wDQfNyQUF3Vna50gekrNsJbRbBnB+CKSQB5aE3klqpHqT4e+9I89x96+MG9p4rs6VPr4p/f9dY/WWbnmdGC3dQQ4otKQc7PNGk7HjjLdqPYxdUY3eHmlc5eV7UGrraM6yvwAE3NlHqq5Mt95gCQk5Hje/IFPjQvcDK1XqKuZzt7jPaUBMXsm7GlI9w406QwRl8yT9FVVkNr/VM8e8lSGQjuOMG3ki3sqqaUGFm41RgxeYjhRebiz+popCQF4ovhwYK/0Uvjka/bys2FuZYe4OHwoVfZSZZ63zfz1tz3pOBN/DgRXJ7X8WT2iJ/z0S0fGAQee5gwWS5tbWU0B9dFhaD6QveLXIgz6MVJ4v4+E2ft5E3kLXzKEPmhHojpQzTCfcY40LptyNYwTRw/yKEYHM0BD4quT/BCKZjX0Ngeqim5xI1pS2jqAH3j6sif76tNpv32vYQjBWuBLK4BNC4W6M4HePCfR0ZPyIbMKBmsYDX8Pk368438iqIEkwzc4JNO16zmjlf9RSGQE8Pr8peYNgvt3nvyvxnXo1YnuUW/aQBJZzKytvJQ6lheoXyzYybopwhx75b8P/5JouwfoSAje2pQcYwsKFavcijZiispUt8Cpf4DBu4xhH9sMjctWp2Y1awCeIszUg+MgIqCR6e7RPYLz56k+QchtfMaEbsJqCKopHsxEN6gHbOG7SfL0zhpNjr1wH+kwcY442+ElEZz/ZHQbbsTgOcWsV1e4sD+x9kIV3p7gFdFIUgnc7irZtxqtQscELi+idof33hVvWsz0vwAcq+sKHT3DgrO6/8yGrbcC9Vb+EP0pu2iycWBFPqF2Nvn8t4UMoTRN7vL/asbhZ/rHoXJ/Jb1B683BuqZaC3niJZ00AkaHBzKGtuRdez6JCSxdzQxExc0Fx/VU8kfvSSrjmZguBB2AJjjgKzG9YOcAEFC3p2N4EyHwcEcpeDYbA48B4OTJ1Mdd84TSqVzQYJYM7BIaj7GSnlM7jxSQNdqgnvqzBwAPHqgV9qSCiBYRdfmXXm5l1/Wi4hTWY+eCJ9hsiNv0xn80qiz5i7GOktbn9A6xIvTC8UGNDxpHR3JyzmSUlqVVyUxAOevuZXF9CaU4Fd01tqfUcS4TssdLrQvBhYCyTOzgngUgVGW6c4yVYDMe/8ExrE68B6Fe7Zr9ihkpYgP+ODn+l7lHAzSG8+Tjs3a2xy5CEbAk1uOO+BKcb4/Sk7+08DibJx9C9bKRFepW/86MRglfDpkNNL8Q6xfmBm+mHc6eRL79QK1Os+nWsSWaovgpBuyOHZdWxdjpLSBVEzFg+NraZt3XEqNRuJw1Bb/Y8nJyr8EwuYxpwrezcpReLchIOtZR6Pqn7IkxYCiEe0tc9OYz5ebtbtIJi46fTT4XA4oxuK0A80hBDuIwkKda9rpAPSFIcGr/cnyXbwOiguHa1dfmiCMsW683UEmf+5t3mWEfsfi7ID3+u6fONUy5cSE1hGX3JRGxc84NDQanypWI59XOdSIiaXqDATHO9Zwr657sSU7Q2zG41CrapZgyQNo84yrQ5gaqfmqiHiFHpQdElY/6NP8Ekx1G55tDb+L8bp22cCymkPmugSNLFOo6lLPYtfGleox7uhpAtn8WzounTKifne7IqVLO7DlElg/eu/Yn0eCKS5ollsvZYkK94bA7v8JyUmqoLnXaPspPFvuY0N/JCjekUK3uh90l5HcgTI7TjOZEbheZo+THhmUoHEhy87Fda8jQJBXZSLqXqZNNoEgkfqdjVjN4Cos/baZcNfswzrlb2PylRCi2CtqoCPcSijqb+wN9uLKzJDE0x2v9IOwB15Pxv7cpK7G2wnrG9suN607RXJj1am7wPrT3VF89Ui3FsK09UGga7Bg0x4zmbKy8w0T95ZYAU6z5cbqOSRl+LDTYTWM6pDq5hIgjEoLQhJxdu1I2bJCfrpWJR5xjE06LtDfFlSACndfgYBBfBCKqIUxBzEWXgIcnfxV0RPk4Ap4hJKnVejcr8DXw+jr45wQcpkFzN8VRLOZjeOxXsyGahHeo9eAHaf6in6WqjlPse3z98OqdxWpokCN9zq+X4ibuzkDyJhjoYhkDXBa1NqHrSnyNVTUdZeTbEMCMCILDmqovk9lkwhIlOUGjzT5ry6UDrhbtkCsByc7KU6c4Ue5qXBeGpWhdqGfBIYJF++Xyj02trJ2BjW/XTro/fupjn4ls1uFRKNJhl5WT/IwCnopyUHl0iH0WM1tqzT+S1dfth6irfZKGV2Fqw/+8wshrqmlmPWNz/QfR08T4nqVUxQRny8I/FIex3AxfBnJPGq52kWsHEO7CT9Nz2K/bposmEW+JSNpiDe9hOdwtwiCcsrvhrWwfbc+SHtcBtwgiclSe1lPLO/Tif8psDAWLlh+IXBQH8ReJzOYcmFiVTJHJr1g8BTAaUNNoD7QhWzxeUbU1ewHh8uyqnwFHIXG5WHTcF9HEEx3gmhA9IHnL5IM23e+os9e//nZ9RS1ReOqFtwXblebENne5IZAwcQrnWObFlmOxRhn9tTL6+5uePTLgAAaBLBH8V/FW+4iP7Sv5H74xkL+3pekic5zcafddY7rOPperX3y+qDRy4E8tC8iSGm+QkyLZb5u5fYXQ+qfle7OV9JR3NCELe2PMzEkrYY5dFxQBA7mS1hmBVIDIw93UrvcG5sJAnF13oTFyOvE85nObCdqh60+OiGceNUo64xLO/S0lhYJJ1s76zxVN0iF1NTmPX19H//DT/3odoQ9fLaOLzD285AL7S5fTkcM0I1A1v+UH6XmGugYTDtdpvKTlScQP5SOVvigKPhhAQbor8VJPCamdmpRwuZGPTXBYT7cG23TZySafu15OBFA9PXb77fcC+1Wcuml0LbyWJbPRRetrM4pO5YIpoc5MCrGMNaIqkifK2i1U9K/JqzF5TEwLYThEcg3pVdaK5rOrK8Q93d6cuGzq9gg4WHRlhakkbQFEYzUfwCVNh7eSXPYQ/FN6MqXqPKbdzoHg30wisylsuZ7FJHFtgXzQn9TyXE1L+MqD9mmFmH7vcwd774KeX1JcHv2+AfYs037d5kzRVEJyRLyCBQ0FlPdSHo1HBMWDRvq/j4knNh8seOcC3eZA7rWs/NcrufLX4AHmAovRu/byHcsA1iaMG00IrHqcHubFSDTD8JX3fngJ/uIuj2mHWbaWAxYHfk5QeciIBFCQZ78ocn6ZgZDaMqAs9skgZtDkVKmE0vqGey8R/5nQd0CrmsCaxDuVgF2NCbhDgZX8ljQ09SUjh8vxQe7N68phNwd3tFElTgNyWd9ubfB0dNPBoOwzi43OcidDp/LEWr9ywkCT7U2dnWBzUi7k4WY7za0gfSq0S6vxNZHEN2zqnzk8+SvduwR6qohABKhhVPsftkioaMrZadDEsz9ZBiLr9q3TJ1hvxtEtPWvynyxO51mpbbu6HEP+LzER05kxuRDa1WqxKoqBzI0FaUOnhS6EpmhzZSoGBxdMoQUGx5UffwNFbe23QpDwbQrkKq1DQo75HQ7Y6/TKjJqR1aRnOrYRetfvH6w2UjFgXPW2Ahh6z2h13Ol6j7zT4ne2/Rogmwjshqg+ep52+iW5oUfaHnf7MjWe4bRPhnCnA9ZlJTYApuJWGvDjY12QRdagGiQlhr1poIxWxGWLBOGbFtPk73xwENxqb5NCp/q5j1u9zM3CID4nxX7KpHRLiB0UodGZT5AxxmizDMdQNtXjsB3AdiGsWsOjlAoiqjuhvtfba1HtAUcTGlRs8DySuhD8JDnEg1rYWU4bPGYjmQhcwZpj/jLl2JtASYup4ptdIgRTxEU9pzmvbdcHGFqr6S6gBsjevIeTTBFxCPNgSc5wMmWzL0z7hOI/I7YBMZ8GU4GuO46Q3qB4AlOt74jAqkXugTsJSloNBxgP0xIe77R2eNlOhqdInMK0HcIhcqv6Dle1Bi6GvpRUkBQVR7rutqA2ax45v4S4/iumYsuXdZfMufjBzNXF2JcDIOSvgH2OIh8wfVACUlRqFLsaVj4GByNG0RTjXJaWHFj6M7V9yZqEiromjZXZRJTqnXizvbNwxgra0W+eOxRVVX1qONKDJT5V3B51K/AeLiHLZsrdltqV4kRIETF6RIwVDyeXjKdXnA/hf4/DNaxxxYbx4cOOXhwhq1vW3K6KLe3rOIZnLX+ZBM2h2//KdemK/pUTfbgf/T6unyf+1NTAL7DgB0YBi553ioz2UnQBne2Bay5MjxEl13plHvmdjC8PH5CMJS/M8K2P9Yt/YgiwRxBjAkdpSDpYLOR3LS7+94922VcHb8zeDx8fPqGQQsxiCOMC8ACVQS0SNqKdGf1izBzfbXDIsZCybkZ3IXt0WWFFZYCwi/oisrhGV1fh6bfbZtwFWV8PO4OieN1vndopp1UKPKuUvsg81RanXb6nSDZWtbPa0U59gQ6qaao0mi7QXyv/eqC2QJHi1v1JWE5RFIlr4gMC+5mj94T6N5ePwDK6ItO4/lSSoiGRhUwbZXC8BeICR444Sirx/j26/97Go5BsrM3xKcLbhc73aYf+0lOjXkcKAp1XCPI5MhRGWqIJ2XQGohwNymie1pNz1dnkIE9NpyePKsqMvuP0gn/WzhG5UlvcfENkZ/0ZtSzrg4of46ReqRkpHiZDseqWrcI1v9YK6outH2MLBBkTZGzbQNUGfRwxXmDBfiF0yz1rJ1FLfh2ibvZAZd8wu55ZsBBK4gd7F2XyoZQDK+nOCUHXzqWk5bOklOBwNnuKZuo37QKI7qCH8Qlp2llMXbzXtqA/uH028Lo44zCODkr0f4LVyEIYskodERWu2wF2GlEKs/iilI2HsVCbrlEB7uADz2O6yaWfnMkLLM6/vE2rTKBt/idqjgEMd0YCWfWoMRnJrO1dKHAOMtWPUt6J7IwW8/T9R8B4lNh78JKl4qMWzZj8GTBQmfsrZbkBmdBgukB0P6mqGpCgLrHrz70nu8PJFhWhX+QUH22GJTQXDT1IIpgf01uWWXEg/i51B5QzAWGOPmUF9XDK3lRT4b7I1ijBicJcI92EkWCvdfB2/3FiOpEgRY7v8aj4lYNsdZqkwKfjVxz6GJFmM+epo/VWN1z8UMVzZOdzqXcrBmcKpU8CTDFgwCKNK0dtpRtpiS/KcM4zyvKJdOt+e5aUbgfuMqlEfi7syQG410a1j6bLaYJ/0aBdykRyXgqRq/d34uHm0WlxJDYTavCodX3yS7SxxYrz9zETFQUB+ywwOdpX0nGT3vvJwKPYEJ8K1asigZ1TLXps1LKDTh5iqlLbqgAyKdlDkY7v7ZHlDrmdc7RIQlHZrzLMtS2yBNshhfXoQHgtjL/mVe9+lTdfIfmS63B9qgt6YhGXQ9BROfQkhHACfmhXul/z2iB1zLRKpEjzaAzotCiVVSMYjFnuWZx7gLtlXER/gKQ+NyWdlLBBM3pLWIyEBgDuFkeXqLyiPM2Vfd3Q0OHEvr94OnrRfriulGMqu30aqbUn7XTK5GrwJaDhCiuXPHdtjoYir8eKPj4GSfx437dzz65sXz9XC4c86ntDFx/qKBYAutsKwzXccKpYqjH1MOxveRCNEHyiS2AtXwpMkcDAIKhZGwXTYrGcv96BOXiYMJZdtMRAD7aGAJEh+5+4u+ZWWc0OKRCuX0ZUGrYf5kgYiuILt6o+6enwTIHo4Ot7DPrnY9OgfMyR37L/f+zI+RpHG2eGV174VzdrXkViCjwIwV+4UPsiPP1qse21C/PPMDIU7tepweYZBgjSPSDCFCY2pBvIva7bTbYFiSiJ5jZNxGwTfPqIlX70xny5oiOxuLiiLv6BAlGedwIXnuibbse1jKhxBrcZhTIUU/dF1JooGn5KugpYzs2e0VzfkuyuYvXI6ltXUdnOAgvcHNVYec4EVfIzAqBnhQv15OZ57eJSpbIf0ex1cZKyZzcVscHG7K45Dg/s20lmfXxPgTe39yNEXHT2XUA7kz15W9Lry6auXETMpasDrT3Y0zAJf0tobXOQA7DIJ/H+u+qvkwdlj+jlMTdSqpELoWVrinIX+AkIT/9BONqX2EbtpBSa9FfpxosIhdhfIV1yv5hr3jXOiIZXm3+TdiTOPwyowwquc+Fa3kYHgvBNYUfidgi22qOvfIWxO4yFLnmgaX5wcZas7FOzl3q0s/LKsDmBO7rKEfszUrZlT1PaUttf9iR2alJCitW3klq1RGf+qGUop9SIebWJG0z1lWFhpxBwC9IwfYk5gAVCPfOVJfsjcHqeM4TMMOAcRxKlRw3so+qRj+jocYKV4WbD397zUeym/S4lJRGT0NuzErjL9F0hoNx5rSoH8DzoRy+mkj2L+3pSN+7z4TPp5q8oT5R+9UV/YLiIVumoXwwq3Z8iZb0NWCgJpVXtJ/Y+m8N7ZyKQNUvHHsDPj6AOOrGqQ8ebtoskrn5PW1DSkWQNb1N6jSQDNuuURZcxaPciTaRfigY64S+pbYMlYsjHhGGDGyDmhOH+x8YRswoJKQeyTnf5BvixtP4mFVKcF7q+9t21ceeCS7pxuaDfqNBHw9vahJnJQrfwf1VbU1AE1ztqr39gKauMxZWm2rsW0ajy+/yqqaksg7uTCkPs1oeiJo5L8XHdmPX60Lcc0eIlYLxXtM9n5G0DjchvqqWgZsEIg2jM677XwE+hz/QxtxVIPccum9ifn1pyWBaorpQgogqFqz11MssNdLeFHYb8C8JfrYEvZYapfUTIlZ5o1RKuFFE5WH+zxqNaVca8rBy+KGFtKrgLlC5kk6hi/q9VIhoELZ9gxeRJpzA/gawlwz98aVAYi7SmpY4Grdf1Au9ArXqd1qoGMrboLVIXEpaDI653k4K0J75gmc11HLdewpwGWr0XA+zkTpIvLWXEOYo3Q8mPVR3o6SelVxliOESOJgjI20usVjuuyCjCI0/dNraW4WozgOH/343uz8DhmBWA46E20HY/tELlCckeqUvRgcYxONk3OJp1QSrLosLhoOAmMY5plAcOYSBs/b2+iYpd/cp7vuwZpiQvGkjWrpsNUjHrf7Z7w1eZjX8sJ7QfmpyulCgyYW/czGVGy9OXfz6A7jOB2gF7t4Bj0gFTtR9wvzdKNOzChtCxL1q2ECxMjDhiDVjDDh7OanLf9sgj5atLR8pIoJj+mBmcUVX/BNe8ejD5+1ZrYxilxi169P8ku9/k3ArGgpmRiVbR8eQV/rarI9XdwZsiUK47ER/TgWIw7TOyfCjRH4bpzx2fFNKdFXazfeM0Kbm27fI7OtiD6bgq3q3jKoUTgKTDeb3wMEOnSJ4DMSjSRa7uwuFD8Wi6Z9W8GjvIZRLTnZkte/P4SbHiIJp/vhWGfCQetGHXPbzkKad0aDLJA+IU3qEcdst+vEXxDNBcS1nN5lNq/0cV/GXL4NW3m/UwBi0p1XWbV924j3rsEZ9D9JQTaUP6bNTXomLpzf0MqldXqdFNWsbKtlO6p8frl1XJbEBJy3bSG9bfVjJCe9TdJXtLDkXyQLjwfQDgSuBbSpKznqYytn0SXV+WNXB6dVLf59pnHUfOE6nSz2zXFZ3nzSmXq7W2hcCOA78gBdOjnSSOCbq6y2IWawjovyPmEap1G/Snb5EaURFTsr+nBSIexYBFl3lfxW9o2E5St/bvriyzQFic2h0rwOkBXpXS+Tl6poxAR7gyFHS8MEaHd+TOfm5JfJ0upBlcGxCVX3DhQl37MgKv/8J3OGbHdZLyese6Cbj8bq6Ewh29rGqFRUKtNqWEvt7XN/qKD/bp1Nn6TkcZzfpz6nbiUgq2zp2lY0ttcrYBNzguTt2hrM2ncjvHhRkdIrjl1FKPOw8IIckKehCjQj8gfdDdHSP2AKoOXhATJdb9HuLCPhWBNv1O7xjlyREVz38MRrq7tvf083+ZQzRwY9VLuQXJSQGrBLzvkmQjjbuEyi5KWBAwPaaa1BK5BS9u3osBtIYSkpurBwNNlTwCK3fWC1Ofp7KdUUU8MmeAymnCp6yHIUcnrbTwKG0LDyFIUjIGXq1juiflYngUh4dubJEOO6LfV8NXzHGVSRvvT7XLhrkUcC0nx56dkaJq0yQQXjCTKscach3q0YJn5a751C/EU10bpVVRR7eo2n7i3LLac+Kbh5Sz77yYu06ilMTyaL9IaLyzptUParrBgPxT0pEvNsJKaOLBYo15efCi8zAR1cgow2Vsk3YmKOcBZoROaTOi+qTkrYuhroeHIc8AmymSSaxr5k4IqzdvjIuUOiYcCfBaNnTKbbLa4jX7FSSYpPwxvtC30mNEYbB0KPNkrm5cTlrfg7l49226tlrlbqjgSdDfYvKHv/PQfuqaq1sNZNEiA1sgi6vYsQLCG/jbTyKt2Yny1fI1FJfr8hHKlgjbJizIbF+OBcQNETpZHOotIHU08ow5AbWGhoA4MmSyzc/+jHoKfW8Kh5AmCYCmA3WMsMzZBirC/zkG1NWqBszGqtv/1gmqN1zecfuPw1FIqre2sE7qxB3iQhsJRfrgNAF0KIcdawj1cfiV6xkgpXgcJ+thZd2T58/a2uc2CeBqwHB6prO9J91teuDKxtAUHlnBw/FphY7HSTIBfav7EAWrsP9MkI2rJ0R++lt8SzC1mtVInwOAERYzmk6N7i85VJE7Hj0wzQtPUSHmWoNmsdBIXhKCR87amnecS8NV9/dNflS5O2ZvCcdfW7TJh8dBMu4y6YHqzqcDayeTRoNnaeJ516rZCVKKF7dtntLWFKYX+WIFFszsZecu9EOJjmr7LlBXvsyFFlhB6JLMua9d9THbjEwGzfw/q6PbvvzX/JK5Cr1IK14pqxhSAFadcu10Jy5ZG3iQmXP9+cd5YuxiUAKsnHkN9EYDqajQR3lIf2dAWfJCSfGPs/WjdPxZXiCdGnmtjEHnRVGQwP8BPFvv5l+PNEvi7eQ+uOleUwqgoZ/SxLEUXUGlkmtgiVarQbwN+AA3O0iDVZleY//DvQNq7ufTHEYIDETatw6zHCiPxerOU8uY4Yz2O/HFhRdBLalRJU8nKClmYNNFCpzut2D0ZWcWfCMGPHXHAmXCi0gpf9BT1eUvysFESi52wef6rFZwdukmI0/Lbl7XmazHDpBTH2c9K4Uvn6ODShG1pMj7NdytTxNNS7z/skn+NXnHFUaWq4CMDvOuslr6VWNN5VnGcZzNo1k9fDrhCanmZ2VnGLlyiPuSPvckggGG88Rn4e24oF0oyn399m4XoOtu33KI/LQaRl2L4EklxQC1xe/hqqj/yvcyLukQyEsQIIE1nZwe3CBoj9VWMQDLipFjJwZPd7En5tuMsmYWHZliuwx6uDbtp7BkJZTVD7FJNkmrRFeSuBHgfi4UAFXN0LJ1OEc7S/HqPJFzHp3dUqMGnIyxTPLsrCtWRhY2MKGSjmBerCVW4dvX8YZJUCMfYGoUM7XHcKruNq50QQerpoQzQgHrqHJChkxYgcq0qHEaKAdRqG9o3cB1Pgm8t0flegTZEwHL+xnAon/RrMfxxvowOXEBgOcD6tSC6dxlhM48aJ8oMQlZ5vtbfW42mSjLmSAqNQaZ0svfMpTYs3VjKKjx5IEfS3B/e6dSxacenbXPyDWA7zlrvgdROlR4BPfWlqOWin402/jWaNZ7Jkz7lKXplgai/Be4jEurvVCKNLpxABKhe3/FMpY9We3X72pq7QMCB4L5Oa8zcIMiIP3Eht196/wDRa3OW8uBeszWWh88w7aghCmoejiYkwQXy7kMmDi1uAWwhNYbgFqoZn8PxlJHc1X1Q6KOeE5kUq9F+PZK2PKHIknAKjRUDlNB2NQuua4cKkZZ8lte9hM+4Ddmt+rikalLZI0sLopfIjGQ4+BkAPmpdK5QwgMBPNIID6YJDtrneLnBN1smuqswVcbmVPtiVl9Pt1tsX43NjdxBrbHbNqhkEqjY2fl494alcC3vhSjI3I+M4kRgf/YJvwayaQVmD62xyvZHev37ZCYbAGdG8urj6xAZ5pYyPTBUv4wQOMRFOJtJvQ71/1rCcxVRAUkwNmZhwWI4oL42KUBJSKYdElSPm52B9d6O1noP+kDxYz4D2bSW6/p8agHrSeVrTxSNRy+p1q1FL0ENaBv9DDOQ8nZNAusuHaw88UsH21fOcOtqiCXygWsrs2jU6myLm2cdz6EtS3LIdQdRL3gtQ6bBwUtzHah0C2nkKTVhmOte3Z/BK4hVi/UecQEtKGQm7T3aRxCxaysQoZP9ELbXAYqqt91hkLN+Lh7RJvD8FzdmItIP5DEpF6ymgTDLANBcMrSbq3+9vY1PciKHFVoszfdN+marOCJlDl3osldqe6+uFfENjgog2ZwuZjxFYoBhsHdCvS/McpmT9arIVdOJr3KN8z0VLb89qGOQ6okxXLhsBGekbR4ALu0TBl98CKn5AGONyjIhpDTqQit81Luu0/35WTGQoh3sBC7DqJOR1UAYEuNg4w+HCUYjcKRkinRuWOo/Lud+yG1fAaFLoW96jRsuqfdaM7+OYTX0Ihxz91jlvh7IArV5Hq2iecaAolqnDQmnoGyiEKWrxXd0ODcoA+FEvdv873ZYxBxdpj0EPQjmArYesCLUcOPSVcTvbVy0OmALzozUGb2OG0/SAwkypgpl5ELW17R0QagML3V2xMsMj1p+W/Y4Be8OBWYNqQ7I1Axv+/2TorTwQiZCSAwn1AO7oD9WevOme8ihvTrrB+WyGAazKunt6AEDwwxK8hrxhLVgWfz1nvRviiSbuphgU4W1U0CssSeFNSbW3jcB2IdOPH2SKb8SF/DtZH9759m85tPftKLSlkOQp/o+F8NGWsK7Mfoi9lq5LDpabbLL18FhdxBdKHE2PwfLwS0Vso/kBSCOP+jweD5Ry1bm+dzH3+u427170geCqGtwWv4S7nccH9+x7pzWWuGn5Em9oJtkoQdGJi8omBXcJOz/lOq3rXCjk6P5uyAqKSdMCL1Fq8IJdPRCHKR/2723Xw7DWDAFEK6aNelSqggCyvKGSrpRQeW1QzuKSv0a10X46TjyrtzJCVN8ELu28mP6vLylXuo8IqAAhJaSToD59AptgnubBRQ0hwhJqan6ofPZyr8wvqYq1WIKYSY+5Srv4qKVRlqRphY9ZG1hL0jg/9NnOjMjiuBBYHxAzg57wVxFhjNEfMtztE1y44nNOE77UytbIeqXabfy3MAMpSXrF0mmlNNoR3UbBzElUgrRtphCn9YlrgpITi1EuOvWmupB9nndRE8ufDR8o9Z3T147L8oUaTx+3kSAVloW3+qkqlPfe4ItPM9cI1Bml77NXZvR6c63oxQdTvjmEDpSjeLuVIGaZEVdEhAtQMLq8Mj+ePDuHwINTkndTonqW4AAn4R6So2uwOJoBCMKDG5DeYicwTv2HQccVQCi2GARTWJ91h6EGtr2NXAT9MLsFzimbaVBTwaauBRkTTpMGBLHOgfHi3z9kSb4w00jsryNGFiH7cRvwu6gNBdLwHsI2AXymINJHXplKsVfaRE/RQODPLIEacL3h34HnNR8p99eb+GlhzYg/A8ZPj2ovJyTlzPkxVMMarWeGZkE7qXvnnmNHf5emI7GO5w7kDR489hiEK7T4HCo8jt8W54ywTViFWyTDdessvT7DQB+yRmzTB6/Es1d7yeZnStj00RHwDN3ZXBP2yDyolJNbKzc1rs43Xo5627RV7PWS9ip698KpZsGmKkm1IjNM739nV85+cp5ktB2yun7TgrygK8wi6CvVQnY9KX7coVhI5mYBN4yARNyfJrd8gP9nKw4gx0LXtTVq6yxV02dcYX1N7h0zyzX0X1AA8MCU0jujCLKdKGDvVzdh0l+CwbRcxCgUNe8b2shgypwF2VE156iS44/NK0UvubGWv19NOe/eZotCXYuaTIwjoDHgcQzjT95QcK4OR0rCuWHSwaSjHQyf96mBvXfK3R5QGf0FEZcVCHT5uFVtjBsJjJp02nVYbeBqQ8CcVmmyxc+G2G7I8QyLIbiKZzrQ5pe/XWBsadVVM2vPMed5anFx+NfFTkGDEBwWrX6oIVqjT9UsJqO6CKEwr712cL36hy7zuH2NLhSK8FESMpGgVVs8+RrqXP5oP90k+ey7pYoQvfmkX5zMW6BKj7++kpOcvilRDyRd6iTjXP39QdlLFRxJBKl3qFuFCMBRUy604TFqkICBkVgEKx+5MCf2JNbRS/AEqLgm3iJ6MdGewNo5EvIcc0sJvSiNGpaVtT40Xojybmsi7BRnPdM1tI2vH4EPauwQlvpRSu5poMAX4xGC87imnXvQYcoSJDtMf47QMRqGkJaC/HPz23LcvZOVJXMDiJt8yhCPYqzRvOR1aPGYfN/XYy3zNFgRRsiv12jDPLnS+XyYLUWq3U1+G4iwY+HNAjAufambTV82LjBSBf8JfBftVgQz517LrefChujZFF2x/IG5sQmlWYYFa1HDB0jXce2UuKhd3SfzQwcp0Y5hFe/cuO6F1j2mCPkcUcID1+WfTE7hWCNIz5gG7P9/vxHcriLaYWnO/Gr71Gmp5pGzR1lt5TVxz7dRUoKzbzOqzH5oo7VNDxl4o7h+s4icPDz4aA6HamnvhPYeev0eC3ll7t+l8KSPHccxHB4Zefq7NyQEVzDyBN8lbCNBb8hwJVtmr8b1176bboA1xQniOhXaVKLw6FlUUfindyM4OGzBwe6haWlRGjhck58cvcMhRITloZyA5RNA8W3AX9OR1b8I83jLN09IFPWF4AqeU0aEg1O8+i7faiYVb1093R0nXGVpNOo0MXomqRtmQNs18JFprRFxqr/mJZF6NeKuyz6W0R8lxSaQSuRgOaKGALJymJhQMclsm1qqqO2LqvqkQKcP0Am9qVPItdmsUhI1Om+7QPJfAWdZ4bb/BEpAJ/7ipn8+GALZ0k1aIrfbR1+BwX2Yv9d1yIuLUgS1sqUKEsPS++yJDGVC1dKK5IEBfaM+BD7iAR9oa8th4ew+z1uOAC5JSddlThXkBDVF94usvewLVRA1qT3HSZKB3wrtHmnLOKr2XpjTP8SEgMfUQfvmVnzTr3QSnKF3dcO3hq90+HzJ9WGhQTyOiuVkWm/QxqC1iNXPmhp6wrpiRtV28EAFU0fO9uW3lWU6IGXnGzZA2vYNoS0s0mvAvwmAwscFkPO62wR579/mB5GxDdwzk+FzVpcfgfdAAtMGSAfG3u2WrJLj/zLnusB1J/CyKN6HbnnhV+EDyGb7kPK0avWNcz/NdvwJTTa0aphW+o3BYzQUi2KICU+kp6DaA7qMQX4fb2XLufQhKPZxvDj8CenddUMIJZ+1XLNxy8BN+2a2NbCUDkl6uFJOaLZJ4n4OIzG6a061+FHc1eBSqJWmBK9G9Ycnik/T978y8HFG9EzoDLKxAtY5Zro6ho4GFiTKsdEUi+zIQwDrLH5PA6ZiSFj7HrbHAYsQqIG963wEFUqTeGxLeix1tIjTXEhwAH1698wnDIsGSaUju+HTIMYetCVFhe6S4GNs9R/+/T5w08g0RRGV5DmRjwu7W4FVjpENHYBrVtSJ/QI7g5Y0yFXIUGwKzrHr+ktoFdbjDWFbuLcXSTATljyMmZDRpJebUwBSVP+2yBQkuEQbiIaQKtMhVl5PQ4dD7At7yRumcKWYp8aE8j3QBI/DKD/aloy9YZExkl75wKrJPk2QX3gX9mOmAhoCMD6L+od1zfcjuzy322OXQ6ys+gj99cO/ODlCZTQrkpYi9JE+GsVO/Hwafp3a//o6d02t5eWlVUBCQ2cyVEiS3u9eshbpAomTRbGAQoqzNd23NcRX8HHXh4+fqD2yt+/EMKsaoa69xg6qPsEvUOR7xPnpFOO4WNTyxxFvFcq6UssEkJ2y9CT1L7/T9vFpjUtrHtOZMjtuz00x97dfXrb38rhx8B954+Zoq2eMqoffWt3dWBBGNzgBAeeBzvxKmRJcHfy8XLbrNedstmSXOdkueefPG9ZVkt1eqBbX6qsJReBw/gj+yjlyyMd0L8oD+yzjAo77H3tGkypM1RfbKHJZdMfw+ad1I6EXJYdtImjU5xZl3STZn4frSigDHcFcLvMu9/TiBtTFULPhHnThTQHFGlWdZJ6rXfxQREEX13W+/URtiWrYf1XmDxQZFxOI/bQizbsLq6fmuapD65bumtzvnwl+JY+nGkpWM/Vu9MvPwtn/F2LXZ7YoreZN6ccpfXV4ubyN6SpdOpjD1NMR/TsERTnQGFGxHOmWbhKmh5Yg4ZSs5K2z9xIW9D8IQYHxzqb/aFI5yHkldtopv9iJSwDHnTLRzb1y4/u1Xu5+hdNyBM0dQO9cKLfDRPphXEJplynLXRSzItqw1l3phRUHxznNoQkeUwYpz1xTLsrSnz12kQt6F6bX/EI+4L/2AutJIj0bdLKTzomYDlisWkJA5aUabV8fBbvuDq/+hJJLUAd8K5PPcyOzDXmMJ5BOT4QmYOkcM2Prqxp6hp5UgvB6AP0BNjdRBDHFx1dmc/gyzlgBhup/YO/5eaG2d4Y+oLftmCVnbyICmpAzICeOCa8kPT6Du2qltcV5hXj/YmK0uWfRCu6wMJ/lGzWzVfFDgxOXz5CGvVuuc31e/wRb0cF4g1l+fiiBJ2suPvBHjQupRgTI357eqv+uZ7nwBz8hu1zVJ3lGy/8xSxzX8SlNXqfSxvbRIc8IMjobEwcc3CENtCwnpx9U1OGYolhzvelqINSO6+GTOnDzl+IefU/cgQM1zUvcDPtRP02Z0VvG4T0nQo7o7GN1OkhuSfKVFlJ49S+WwBRfiMG1amM53joUdBohd3ot3x+pL7Xf5P6h898jZXdG66JOj4gy5WLvkND1opC+9D4Mtu84VR+Dts1w/HojlNdosOFfVlxi27WxBAlmp4qRWdE8V/k4zZLvvwcbZLYnsKdJE6kkDO43t76HHcWRLO51RydWt7yIfv32vzcx12vaaLqpjV58siY6wLPOsaKe32AGidbnITf0CTgOlIoXslAHGe34a7y78WBo6za5aK1RpvIW4OgbTqEfM016YW25IheM/tP0wv7dKKzee1rcm+9UKvb/aOYJfp5U5C8BTyQ5JEuoHmwqf0lZZDniO8NSXBnrjngZBJy5lcCzkRulIumnLdSbCojmA0EFWxPSnthOryyjT0WAhJ9Rjt7RHw7epsKB8lGY2sYOFB7rEGFbqvcYPRn34OmeClW7hCfMOg82E00zmC7ome8iHFEotbQIiuWpvo+OymFYbwZjSvh6SZ+qKJttukgUaKTMALyx6aoQF4HoVRu+bT/YSAk0fjvy72Nb3G3N8D/wrWNdyes0BiT0e/xdzdeP2WnZLzbxvKn6bFkfKjzStrxAGJEboP7HxVoaTNevYnJ3ZUV2Lc+zmmOAYllpleVYwc6fx/Y7BsNrmgLIb9yVygGKNo/7lqh/fPH1Oi4H+S0WZ9Wj92ZKgj1+PHCq8Jh3NVS3xw7u7yMeU51OnDOu115L4+j7yWpc53w14FJCnRuX+OL1Q+FedudgiP++mCG74VZcymi27YAfVo6TdgjpBEjWmo/MfJKAOUXSOcObyQOn51wNQcLXl7TnchJjp5YIi2r0nF/dg39FrJXdz1Pal3MjZVGXpiCGLmWQaSeoZHwtKnli4T6C1ERL5SWEKz+aVGqod8Z9j+ZWN3bgFOY9+vRmqe5kk1GSV0DRTDc4dmdpXImLMd8/b18HkDGr+1NIvcxPENCeWBbgTqGjt1szfVgZ7dbbX8TcqFoNaiVNct9itF/E1Oc6NyDyh+sWBxJcBArDZB0pnjB+X1S6BgE02UtJqCf4xmEZTWAZmjxY4aSwcc/C09sCIcQnTtNoqVdkB6aleYBehCmFRh+w/i8bDZA3m1Vt9mHe5oSLxdoJdheZxdZ+dm2n3hXj3JXJULm8ZCRf7W6l5bryFM9MRC3b7cNflW3ADWh38N6PV5qAxIm8YqYjxUdMUS1Ut6EMZ4Gcx2JctxON8Egkp/mLt17+FqY8Gyhr2FLAuhyIVdeAwZ+itQn8juQ6S3Fx5OO2a4/xXhrVUjwQl36xhMb+EbH3t6AKO0tlqZDQJkrXQNhqDXoN3aP4iSyP9ZZaB4gG9zYXBVulU8gnzdcktt9On3VLAOLX+xa/h4VnM5ykk7U7w4selrzprEnjFLNMzTY4cAgt3pi60rN8sDw7CJ/UOivoxmVka6toMpQs1f1zWQOjUjE2iL4kluVkm/KeD8iA00ju4v7LoXTOejSTEn3giZ8iDtpgiTb+As+C7yXhAdBAHBJcILJAp0H63XQY7aEJ21HP4H2FYnLJ1CJ5qhC1PRcubvRKYgiqLGFTFyPo8YNAEJIq+AUvqmhEhDnug5g1QZoI3VDP6nl5JgtzUWcPuelfMWXoUycbo2CmTdG29g76x4dATuQIfwETYx9QmDDqqSC+ggRAxCMN7tGACgjWOFBhAxLOFA3QcMrCwuLaxBWZ4yerSuaXsHVTiCqHkoHoV7jdoceTk99plBxafwO9TUG2gUuoe3ecgkHMSvV9a8roJrmEZaZRCcJJQqhOgGGIp9yXOuYOJiwRyl4UxOm/zGpr/K6rD3Ru6OW4GnnpH7SXyA7/9/Y337gUhnrbb10r8Fjju3tHsBeJTQkcvWBS4/xnlYXXk2ZL/CzCfSdEo+vFvqy4BfWojSnhGUi6bGdiZq68Z8qVLEckXr3Ti04Yu6FhRHzMwVODWZBN4ImokEbXwe3pZkPSc3k+Yi1KjRfBtOfnGmN68iJmx+qTdPwhMoi8E1WXuWeX/WpdyEftqFYdPPbBN3bSxRSe+wnIyNC27CXro/6GjDRXh9F7NOYF6Whq+oinYIaoxDfykUemTWiZd9mMeVE81pawFEoqGHOzGFS10riCAMp3cMGmnD3LGJ/rOu0sdB59hel0/H6gXqWyKnHEl4ko/8ExxI4822MqkPJf62R+57As7IfDlEybYUA7kFs6VlaxBhsuUUaBK/MeLQehsNWrSwYWwwTe8caOPHkcNjY1a+Ma8EpXIUFYVxtnIU64uoA1zSceJeLjPp2Wyctqh/kvIRRv8RLsn7QqDDjsj8MfzCBdqBNBzgwCZ08L9ootUbsM87BkQ1vz66vs5ViACfQP9s5AsSS0CjNlw8E8kZDSIGx+maAMNF8PirRVhyTp5UriboiixrGqruHao+/1hhcg6KpFPe7iwPj28PHbJVz6zGyooxvbiooH9glDcQiqPTBh4gsE+PhKad1YQYNuRYdvzcPEQf4oW+K1ZyEcoBbs7U95V7cY2bnJrgqF+66ARN59s9bo/5AWlT6Vqa/xeukFvtDNqtr6zzSRydMHoVzYRaUTWP2+T0G9H2KPYdKPV/hui5TXKBJAIHvyz9Cn460rgqocTLw0jJRKjG+K+N5S0x/7IMTXto44M4fbHfy0IK5lP5eH7tvl2TLEHMZjhAoE28DCFHNcBQ43CcxcODLu5IrXpsoLiTSbQpRX8lmCkrUeT8Yf5iErE0dJKcA+awoPZt1ihywqRInleNMfyAZYWGi6ZOTW8gc/YfHiZ8TO1g5TPv/7bnMeAV5uTcsgM9I+tTu5WytvDSqBHr9HOoQ2GRqKmy4oLApKciSHZZm2/AWom8rTIU4DTlvaOctgf7ToTM5hSDK+AejsFBwxyENlpDNvIEgLiohQbBMwO2nP+fiK6+ir11WZziRg/mvQDaw1pZ7OQr9Q1nqL84k1HEdm21Ag+QL4WkZZM9tJY6T0YV0LA0Cvl8pDbvoLuSARFO7vx8/ksmgnBnOClvD5RJtA7IQod+NznrBmSkAJls4ySPfismx+z3c0WwdQxqYfcj8GFF207Tljyszyu1rXBH6VtKdqBmzA7H7mbY1p6Mzm1l19zfblyZwciUnekyxLtEeC8b91tcMuZJEXCGQP8Nc7a3bKd+iMJeFTnH+7bnn5/maqjymFG2OLkvl2jjVifBzfI9osfoX+q1zYmfQb3h5++CIXgD2h7DsYJuk59JR4bBO/uUf1rp/vDl79CUpUA9VKsU1pZY/qcyl7TRN1vx2RLH56zb1pfpMJ5L0567vCGQLopI7tL7qUxuFIV7pG/PFb/wMmGXuqZBiO/eD+tONf9e9m8sZxPjkLFKRbmlv+ijlLAe9RzDy8l+0O/DUo8qJWhY4mQTe3procdTAtDgBOPJlY/toQzAGc31L1iA1bkOA1w1eCMXk3hsDK7SPZwxk/fuHW6VW8acmUas8Mi4kGk7eDxGAW4yf+AH4qkwywSwUa4ufqHDgkHtbAbcLIpde6YJdoluNBX1+Soe9zOurKXZRpJNci+P+TJ5HKtYBK2RlqfTZXMpmztOB1xam0O9vqDGnpy1brTqBsamu4p+/BzSVxZjAkgEN6wg5fUDyiAvUTznaWTbYs5vIk7iZmcMMVZ+qOnLpOejk+YMR7reDWutrGbG0wr7U1c3E2jcVwGPeXGArmBdGtfWP2XbY1EU0C9ydHJB87O5dzMJW3bNQDd0XCZII+gOgKBNN3PLHf/az3k0tscH7+Qzz8B3iDuLBTm3GTxSdQtF5a7fJDiM2y3UV5XCxKh4Sn/zWwrTH7N0Ierumpm2QI7CvrxITKAkXKsfXox5wKrhxBIiBnjvpP76tqFmoGOY3BX/Tol3hJsbZj/jZXvpjI0dy4L6ZTW3u0aRg3BKgNxbREioLJ5CsHMxNCZfF3poHSQ9in8alHRmga9Ectb2JYg/Sk2zmTwnCMzUGTMhrIAqpPwpskMfxmTxNcuoIONtTUAfxoQyzbVp9qhAFuQ2omUDfVniNyEJCmXR0YVwaj0ZsGNLcCqmABn3/BVE5BJHZ8ztsV7SBbTopn0wd99RVbF2zXQJV4DqZA65JzXse4MHWSKUbC7Y1azdXq/ijEPP3I0ryR9MbWneobXcaBqziS2C/pKhnktJI9qeXlRw9uJr569gW9CP8CX+KWb0KSus/KdM+k+qPT/ivHSud2IEFYBImGgLt6xnWVD3MNEKPtEDtLr804IbgFO9RT76hZWdu8SNxCgq6sZpefieyr12/om8vQNmCoSX7n4l/GXwFLW3FZ8egV8Yh+UkRX6csZz95RDnuKvOpiPxVUyMysq6BT4wfVKg1zA2VTjueQeQLHQBJ0iLXqsSbcbZEQoKFr6G/53jzaqPBZHp7HhtDH9dNCJRbjMyV5UIBOCc5gK4nwWGEV2nYqQMuAU0/FLV671ddOOMEwDab3i6Juqjtf5WLRqwn3zQrDMMOAnH9Tmp3fQGDyDIy24biZFLkX+vHWrH2HbNgoD3mSk3Id07vsFuQFOlUu0FOJk33opyhrFVMKoV5haN4c18z4zyCl14AxhvgBz9NXCyLQtB0rB+yy7Hqqi/lZPKHc9Zp3KDacVSeThW1khUAFG/QGvpwmEYwBcCVEcG0yl3jRkfV5TXLQOlI0zQ4JZffwLpRrllQ638q/wFmoR5W14BTshEknEUAvtyQBLC67FjRQWF+3++RPuGycJfoHTaD69WzMRSNtc7ixR5mW1RyUuQiURMtANcczBAqVe/t1A/oPAQl1JtDcD0XJ9LoCGHw18sbNbx3Uep1eRhflQOjIN/ICrSwOtTPXubKMybMjncd8gt1eLPHGgwooxXT/ySmbh+P9UPSAjyMBFAuUlRtfkkqOXGgzKJfeDXXjN8GyG4sCpjyjFgh1R0DamTTW2c6PKPpCi2dcOsN/vk5ZvBtQ3Bf4eWmmLJD4V3oSKL+xomVbG5McFgrXnrj40lZRetCPWWfsFbpzG7HvLXQS6fdj/RJc7YcE7D0QvkEqwAANaTJaKJJYMrEnCpkzBRSasfX3fBXSm+LjZ76I++RGJpxEO1HCXUpD9OtR0AhcVWZ71bFa9XhM9J8KAqslgKFEu1j44gYndkr6SvUpcEc6Lfy9jUgKBFmHhndQf7za2oJ4KHof135InCKW3daFl+Zwf7SC1fgndaV8XqJtz2y68nEREVcTpmiwVHZ4B3om48GttnsWeWInAJPNKCdgY6+vZ4Ge0VL0FC0O8ZeE7cNuQ6x5bN3vRdYKG2QIVHyCuj6qDmNbL3r2w3ZLSOweG7HLO6Ykacw/PdCCdC2t2gXWZP70rOkecfEYXsq+JboxuIQtkLpKc+KA7fc3Tb035wwgujOYlVD0dUVI3SlPCvl6NtBqQ0d/Ng/fkcOqmtxY1WhC/unE4Uk0qNwnMzkzQ5PaMDrql37+Tufr741bzpXJjTKk9NzYWhLQIIA6K21p8ysrxJ2VRdfFYdo+dQvXeScsK+7HAsh/JGSADeHRSLI2dUIVV9myi3s4uGh6b5JgK/Gy368HYF+lG3jpAXbGftqdJoyvWH1ObmORGDsgj8EV4BmHABMrY8V1Y5sJg9R/sOfyhoP1zVtSzQuu+rFDumThNhhBcHGi8arnWmsWKixuUrw0NZ8NlfUiQGsZ5qkjNuI0yZJqIyfVFz4Mxiu3kfX+UlIOMPeJD3XiQ9qhnVr99R9Erc+2i3uK5qwI8A4+/IK+Gy8790lHfkMcxrG3tF87XU5uenVz3/J5UIOcgHXVAWe9nKy3WLND6kwYtdlxcxfpySrUyzt4f3DNrCCoVw0Rocu743dH+npun85mGmakJwtDQQxM0l/ndRyuSJ3UqAYUKcr/UnjRmN+6Xl5D91LfPibyfrtUoleVThL2RrM01CzJO//I81aH2qY/e/KvDQX4FruarO0s3IA3d9GJmdpsqrhngEfa2a03DwjJU/rEMOhnwmNGVrk8d+SBPj1GlrIYQ7asqB8PTl4F7b6EHxtJv1ADl9qriOSz/dSHJOY+AC1e1nog58WjBCU3JeA4eHJojWukwWNQurm2/zJ4mxP9b5rVNIO3lUWNWhCBp/eTiUnYkLqiKDqYSs8bD1/WeFkRoVwN3BxPPO8kQPtcGjZMkwjJX+QC6hye7tNBiinG3gnqdY2hNKrS/gu4l6e1QIQkHzym4qKLihqickEXG0uzh1c7mzj2cbuVRk0THlmi0HlFbU1ZFguQKdrYuZF/aX2d1+I/IGfrRHuvMBLfKoWo3JTqUEaeK8COEO40hlDRtv7rFIv+LN4VAwBmaingZ202It7uQVRi6g0lQg6XiW1586Bftpt0/2X9tpaWZ+dJDrRv/AbTZ1gJwW2xT/EjMN0AyeU+Y786lftwaYA9I0oRZ6NhWxr4gbR0jWmu3uJgg7NYf+nJLl5kqBfcjDFC0fIlXShcTYSZDyn/eJ9TE+d/5/vIQZaf4T8bbPXvyFeWfyQfiSVVeb8jIYBssJzIj4D1JC0iuZ4uj8356XIt0Axc3j1GTJRFlabDk+b35SX/Z+OevbuE2S8CoSAnhqucmPj9OWYlUNh2hpjFDqVy2EKpuOmdJpGRirxxjiUWROtqd+XPyeY2349sGOHeYnpAIHlNuE8DuES6Na1Dx6UsuNZOscAMNkV9E+aFxIgY1yguPv7z5j/dXCeIbxj9nmZpmB+CRxBdjTomK6QD2T+SJls7Yg2KVUyN2jSqPJBBYnGtzqyzLyHwJ0GsH0PpjJveuIY13cE0b/SQdv1U1ocoIYjWZj2MMfldY4fuswWYMPZxK7mvO3H3H3HYrzoY8FIQUPXNqmavukdOPCtWxyk0lwgzia1DfZijcgYz5VA7xRXVe8iA+Az6gwnAEPWYSPSoyG9n91T4d3UePqvvF2weZ86tgqlJygwFQXuXDgxlIKft4JHgV0t0kvNx9ThEWZObGhjIcbZ/LUWyYYEWIlPtFlmGN6f+jIPYzcDH87pqHHdo4bDn7hUJwjwWAgIM//Z0XyfMKsFJUQv7gitAAnC7GD3ISBxTl1CrSFVIe2Q0c6Yw3f0xmARfKPL5PmcpKXKTRXgi5kl1BfkJHBgXsW6UG/Bk8Q2M82jVb1gwo8oCfRAW0OXwPNyxPnkslB8xhVSiXz6XwVZXvi0/30yIr4Qu4OAv+j6EJ8L8xvVe5lJlZeahp/eRZ6JCGqU1UyavkVNoE58hJALQPbuXtZ3aY4u1Z1+fKIjtSvCBFp2d2YsVYcrgdOhPO7hrg/pcoqJDgXCsr45djfLVQ411xw6sHI314f/y0QZbYMfuKXp/29dv1uZQUy23/3rie5Zki5SecNW4x12PvdYZ0qHz31lsrtXQDU5gZvqy/1GC8Bd6lOI4miT0xT8qnjiAyRCm3n6la8J5iO+wGUqPKW1YzLs5pgMKkrH3QYdXI41B6qHFC4PR10QzinLEeNkPytvwzwdpJgm/T2dQ8N1950gXi4FlTcr/1fQuUaFDhy2WX6TQXI3NxEflHFvIJrVgsdAmr49pkq/+8Uti7u+uOQeMWxth1YMd/ppyuXACD8vngA6aexVVDjTE7ytlu+Pm9MGaGaoCw6RxwNHggIWh2zU+8c5WY2Gizo2ZB3Kwanlko+Nb6wqlztWypIYtBkFiNAKeGYTNuF8Ma4j0M55HumFQz67/p7XlM5SbBoWd8Nd36C2poi4mZFlBmrRRUVU7ATLjl17EPSWbJHEgjta5hVI2HmrUDvCwO8u5lvydbs7+PTezPd6fBR0h3jXElU4BTmZ6Di2J9iNOF1/7b+R0Oy4X6HU74zct2/b4AzYDzG2lXUuoHatUi37GH18DFDgDqdgtdpS0yh2Ov4C3g+L5aAXfgE6pzGOATUYPXCu6F2qwKsfKm3tV3CgcnwYCz9NxaWiLyA15Rzk9T1WVn1TH8n2ZobKS9xnEDLifwmlcOB7S601CpetP+ieaEVow7Mn79eRZdUzsOYYaq9yzJ8cvkN1CFK6cKBCeogPqigYJeKeUqegX2txxIYqhrDKE6xgALNhiIKZzdUG9IpRpwzAvMX62zg4tKKvALQ00fKZUcV8EToksQw91HnoFgOzmlwFKfai/p+e9bXbFQvNeto1M+kicShkl9XoiIUAgshzK96J7Z2H8drkUf0FdC771JvGOFAit6Ln0cLT4TuYzF3u5AMHjNj/K7qd7hV9rYRiuOn23K+4/UULfgEP8g699Bz+u7rdgdPzrdlPybAAdOhZAHesIIGfolWWw0P5GzVmPK3wi0k2yGkmBj2ulkdCe6E0G9zMPE2fsp9yl6DCt4YQkIMzhGxu8SkCiMFuIjzAx2QOSeyGN6N4y93DlS6go2ZiOrAvD229PfDeNJPgAnF7LX9p+bausOlCvEkO1QJWBLzlQUJbphcWncN+7EVH1AbJVdRnGPyMwhRKQfsbCEf3hahMqrMN7PnJL/WdzvumqcvGFWEjPWg6igRYcKse6lXtZ3Oprib/S+Jhkkbeai+ZZg9IvUkcWqMpoJFNk54G2qZ8JNLYhYMQoZrrN2iE5MR88vaabZe6wmXz7t5c/dTEvTTdzUU3K3Lvig2z+88X2ced8jKh+l4heK6EBVp0d3nctp/xvAcRyNAhX0diqtnY3r3Mm4pOb+tNtfjGZiAshD2llzHlcMsZFo7mMc5g7RW0vhNVf1kvjpiSIeFcBySJM4YvySRDr30+WZ7YxrtTNTZg872eTDC2ARLqhP5iBZiOIEHurPNKmRScGimO0bBLjKQ+zZPHKPGz5cbPQ7cDKGp5RtxOZrB+E5be5Ers+ohgzlQK7Yc5VJu/q2U9LZlrtx6rQV7O2KwDMLL7YwWcN6HaCgjjB0YNTPFcpYaoIzvFYhoOwGy3XLjjH3iGo0h3hrYqlCHPVrart8jyiVfRDiNeJJklBeoPbZufcbcRKL77uzI9lz5d+3VEeYei8Tu6Xo1s3V6/xnLlh74qPYG6Sfn03TD6lsPOsPwib8KV3tZ0gND2FWPUHsS3U60xo9fGgzo4PAxqHwZobREN09khW+etEg9yy/2iPCAXsM9W/vXkJObYhWo5oEZ6ZS9Zw6mNpmItnyNiwh0L6UJLwEm1mXi9z6R9LmV+HKXCMsI+1HBdWMu7NwnokyZy+G79uEzy87rVsBhhBWAnt1oIvyoVB6FPea/5KQ75cwWb7dpd3NEncB2q/uc36wOAytOpL2iGijcJ24RG69qyJPqlLjnF6aRl3sNP4B5DSCRpAMo4Ah7RdEV3huCJ0KkNkHxOOPc24FQldAftTVF1qqsWrr/FCpoOqycjuZwRstjMhNnjE5BRE4YwWnOLWGRFLzSh93Errzd9qfJM0++p4mVzuYZ2OHAS7ni3fwJwYNeuIgccqs59JgjRImLtuwI4ZuD6ndZGDlOTYQtAly9E6UfEBBBCpgJ7ht0ZVZ0C1lozg+l0za168Jmk0jlDv1NNVYy2okZXrU3f210wdiJccf73G/qdrVKkGBb6a2OKt3ekrkP+gTFYRWaUbg8uFlWHQ2iVMjvsIeNLKfNK2TS+u63OulkpeZ0Fmz450HBzb86HRMhm+lj0SqmbIdrQycQV3EJv5xfkoLWzwmYo8iuwPHNX/9u/7hYGOD7f3s3VAcwGoVF31lJ/CwkYHkSWR4LAOtc4PfoRTJrlPm3jXSH4ITCZfhxJ/Hec72mecOwTrvjNRTl37mdGZP4QyA/ASUd5DE3GjD3ZrriNV340B3Jt3l/oqMAS1Y4c0MCHAsps0SgTR+58oek3cnduhtWk/l0YvW9Iap/fPAXfNryrxwbHjNzu3FEFcBFGxV1jRt95ffv2VJFEpGu1Ink1TH1PgM2LmLixn9q8cxR0vP7i9lcZkbAfgzjT7apaw1sCFus5mYXp07naWPcRgeGcSKazu4/x90S0QigahlEMqu9qzBtiTloMv5GGW//xsZLYVPQf/7ieykAKdpRJeV+uWHq4Fgpl0yEscFbRFMzMVW7dQ1bVjhvzDJCIUAiiw0qQAEgxtB/fAmBlCNbzEBfP/IvlMPsYPmRlbVN6mjNSKEOTI+muIMhPcLOTZoqqBhrOQX4JTVt6k/eO9kXzgYaehTBN2h5wIzex2RV5O8iMZI3OJY0H0/G8Nnk2RJWYHR6TA6CT79OnhxTmVLynowP8ek+YggCYoVw5JS6jSixFQXHjWT9nhDRQkL7/OV0gV46e5CV3RufA3qF9sNLTMaXRmFkQBrOAi3KM530Lg3+kpM7XHLQP/BNDKU54NV3MGe1tN4T7a5EjFYemziGPqS3eD0944F/M1eZcY05KJuWZiTE0wMCYP2AYE4lG/oCuLBxx4SbmfMPMri6B6QOTZipVOW8s5vTTcGrEfUzRiJTQdOI0G/YSJSPAOCyQ72Pw48EkDa2QiW/7EzmtkS4cGnglgBWC8FYrJza0gQwi8XyciwijMFQ9I6Rw7JuOwACxf+lprnawWA2Z1hHhLtCryRGKqGL732ZbCWf1AeAKV/KqXRygZX6WvN6bhg3wesCunk88Po4j0bKbciZVsfXcbfO6iDnv/U5E8JURxPNrLiaqeSToUluA+pmFOlM1c3DksUIrQc/6Am7BQfzILzm11sSkqhAK3WpcSd6zCmd2kMM1dmUyIQw6prjREqf1bH4DnTMBmb3dpEH8TulKSpwpJdKZ7ZjmveOnLF2NXxgerxD5KBc0qHzw41EEsQ1moI1a1ZuECaAq2gd0oq67bMJv7Br66WZgi+Tc22hztq4d7hjb1ZMo69Z9l9x96QSbTs13cTPOXq9KtQ1D+SYvK4tzjsOht/JJbExW61XLGjBbwklNh3NdKYwRwD4bwgktSxP4iaLjH31asRSTdiN1QglDhGAG87qmlDt0tykDvQaRtdqXTCI8hSlj7OROXgjBlxVEIEhplm/q7J1f9+dC6A9c+xLkD0Avx88XGACTUmN8zNZU1LLUrd3blqIXI/TwIaWbUmZLn9t0YsgCnyKM2MlXPe+5b5ABmant1rZEzuJUxaigP8hboSFU2d9ONJdoLUJK3lbIexNa8cBQLHwJR0lANRCIQKvd2wqSxl2FZuqTa6PO/Q4Fn47b/LwWAEubf4GUjbLJBpj/Grsdg/3utuoqbe8er1mIystiDYuAJvTGRlppqZpk7XEARfMUTUSH9Yn+39svQVoovWI9M6WCYWapZEJXYVioVsqnmygpsOP0+AZJuFP8jUrRGsmb5SYqsn3y8WdsyxnpPIVQu3yz0Q9pjNKO4ehXQOSr83b2P8ihMdHBPQvveWirZkIH/Hj6MArN71aLgwrYGMF0N47iN0SzDezgx/ysm63AkKq48DltuhM4T/KfV/+1lCJIR9sqTaw70liYnz/FwfHHT1uHtIEVH6AevjAPYHMxEn1kH8LFD0LxYonKwYvpV0fZuuWb9+80xb+Bcqy2n+ss0qrj/IgVHI6RLle2lW/JO0TwZTmbbyubsT8tE3l1j351dF8xNtv8Wan6tB8ejCzShdXvh/ltVUQGxB98FZp4alcfkCHDZ6QYRAOVH15E/3WTlHsN6p8HLM7SysAVxriVwivXUOzaZ6/SiUG7UYQICCdQefGAUAyb8Omh9mbMyI7MbEx2BQ23EviJfgdHwJXcGEW1m7S35O9Za8AjFCROEvJ1GUx+UNsGgbs5/UqTZ89NmrCRTQSKdbEdK2EKLxD0LNeIEdckaMHMTXoy8J8VNIeUEe8G+rhmCt/Y754hrDNRK52P1SFdFg5lPsGRVDPPeX1LCLLP8X0h7Hc+FCnMwbOR5rgdup1hXMoPL81gJODH1mUNCdfpocllAjtRc5POpMVlXXmyTOckA2SovymlbFDZszzXlyMU7pWTqHxoycYxUsuDETKJi0i+Xu+1/e2BuFYgiXjdDLbn4x6GdB9qLGtVGL+tg24oZUDLTlKw5YRJfRBQe/41TAUZmg6jHFpZld0Oggk4kUvIRuK90qg+Q+MQzm0mmmFmUf59YLB9XyXxe0dQSU4qjIDHs4s8OU+kb3P7NRoradkW/J4pfqdlqE+npaECBXHzEbYRicxgfrz/AKGTaqFaRFZuwXrHgaLbgTyIo3CCz9TClIsOytdQJlNaOfTLfcIwgJvaZX9pVPFuDRTeFO+wX6WqW+KfnPgPQUh3cV9dnetKAWX9aCtmMFywLMsYlbVx5s+no39ZlE/iExtgoujB1REcxtPL8OaOBqiWsOuiTarzJ/xcjJfzWDTBGDZ2nIDK1Juc3qvKPxYyyto4cysU5SsPtX2204v6nhRS++8vMC3zdSmh3j6+0LthnBwZcZUNE47sYuiEbvDjL4KH0g6H+XIf32LIZ9vf1oYB+rNI23Qq849r2PEw3sPNdhBQ5pKOIpL0SJcqkk4ZQoOtmwgexSQUZL2JKvV7Lgf0BAd9s8MLysxJ1Bgx2xLDh2wxIhxHMcnfdYo0uar0RNKebsa1Su/CrgsbDSjPuUwzTo4ktUiBiEEgsrUiYlQXLxfuuvpcS1NrWMJPv6MfigPgxO+IAUbuY9U9kSivOFaUJL20kuNuOSnGbjwk0xjMOo3ZLZUJkqtJvuWBu3nqNR+nIIVI+CGK2UyNBVtv/QBPganyRzmLILN2kDvfKwDG2caCm+H+ru4QOObMKJ/IxWdn+ySSfJWbivTO4yESpkEV6ZPmPhJmVJTZfv+wwNPtxFx/Ds5oGJGc9MTMunapTfENRy9QtRggpYTs21CtR2iunTsUC9pTtd4+xIUpJY4nswvPCoi5z2Z9OIihSYuHzOAzDIkgBZQw3b5+C/xgoztywf1O8f+vV1EFYca2SgYoUlSxgBdIJDIUDkIFg/6zIHgGL5a1k9O18sR5wg/fFsrGVA8Do07Z+jMHlMGUm/kb0K7qJ1EZY45fhs+HMsZUrpPF3MKP2RTSzpZs5aAr+ATZ2x0rVFnn/Z9KNeGntB1DCLvDG1mPaf6KGasLWmXVuctThW7xhf5a482QQq35qvHXoi/khZOnqn+OoC3Gnd7BCdpKO0Q6S2EgASjiruvNtAsmotRrE2ahjb725LnztowN8gyVlTrSEX6p5AcDE/Qfdl+8ERgU4VeVjryhN4FpsYDQwd9lYB5lCAkVw91z5XtNc54HHMxb2E6jpKQxe7Xygp2fktouLRNg2nF0mTku6EmiUsdEQKHBSy/iarhEcISeQ55zEhcYHgeOARDHxgLZi1iaKa/Ijt9iUcjRUtPB1rmgMXoFktuT/04ry8txbvzBz56DBmyZzUjL6/aql7z5mNUBD6GyBlb/2zSjfRCb678l8ydK7Kg7FowkXK5+/Jh0eWOQ/KbkLVwdNhkJauSDAZYJyyaR7631Zn59AiJ1TNqhehwAlU9tGAQ8gzPu8YbztLnL6/gkQISf2kmgeQwfrbgZBTasT4sGQ4pDUmixIodkdHJmnAfPVIpZuflksyxkB66n9GQb+1G3hHwM2d8RHrkbUZSbJP79cwgIZsu+gmAPfJMzR0tPR8d2vVAaaZRnzEQV/WSaGHeMeDSgd8j+nfFCN8pJjqnq/AMsTEwaIdrLiVvMO5XDSMAA+JfCv9+D/KidfBKHqVJK3byDtnPS2bMRYSvdiyOUnTbHzRdV1D9MpSewKwzlggwbDIdhTHGfFSRjifln6HZInLbAAtzI89t3Sa9Bv5OP1jjOTD8N2DHpIE/QY/VvPLiIgP+W4asShur42i/qFJPRt7odrb/NC7OcGMsBuwSeELX2DVCQf5AkNerHHiPpJD3JlPl/4FmQb6+ku/w+/1ywpph8es7+PhRoT8oLPwZXEg7DoWdc+fheX+otOqF6UY7fmdrBzR3U0wczv+a/7KuXOkFlCvSWemvtqp1nr+BKblxz2a5E5DpG0SxxXLyKpyBerI2eFls+X6mr2jXkcnPkpoWBoHVRSaxxDAe5x33Ri8x+UqxgZOFCPT2Zo2WjkUGjC39epco/Ub9kBciFB4384qBnsUzd+NuZ1vsOHvs/Kurg+wwIjfsB3IuWMQaIFecbZeC7HoO1qPuHw7BmK45+ECo70W/hexQPxtRrRlGcs3aH5HGnUwiXBa3Z9Qvb0YZqui8eRsuAg8Y7O4w+z+IAw9Ve5zm53RnDqm3slgnY0g5jhU8rxiuLq44GbgedOoqzeUqp1zEhKGMfQEnaN+BgtJ3yTAH5LMAzv5CsZi3QE15/Ih4dx7zLkokcNZldWVq3GO42mrUpi0kQUmtUFv9RyRDx9nEQlXt2ERfMeVHFc9FUwUPnMoDAsvwL+J/Vg3mLHtX6Zha4S2z+0hZywNwMeRnVubrwiKRP84K0+JN0Dgt1a1JsqC1ncNVEk9Eiqosz5iWfvsTIIZ8ySt3ywKybacfzjV7BwB0eQ3UHHm+37tqHmYYQ148WYQcO1CeGt2odj2O7fq09Wo8IBDQKDYH6tFaU/qDs7WE2dnKiMdzvEupJ1ifHKTL/d8mbJ/hfvRuaImuu8o46qvg0TT5QJ7dYqYpztH1wzIVgYBZHQ/q79CTIkuBl5cLUDOZx5OB1vnC63hUIbFb+lYHZozpHt6xsfOQTruoV+ZKIuAiXIk3eZRsDkviN6PfCxtOK5fxiS9tfkuw5SEVvVU4iMzvwq+Ysj8tvGrJH4t390dGVdswY0XPA6cx8pEHtZx3BV03y+y9jLXdt0bqC1LAXiqi2F5kcTN4QRfGxPza7QA2YIPILL7iBfxLj8i1xNebtxVR/XG6XcKCTj6iNbhNrSLAU7cy7y8XQQWp9IfVrpZKn/UfTU/vieExsIorN4rP8/QnBKX8cpZAqiZ+7LIiyYSWoEq8A3QqNMs7lKIMxuCFY5gtavyQholEmbFbUfVS45uFogHpIyHQJSQyA93xo0uxvZxjQvjch3Teco2fBpGZyBOm1/R1Vu9ju9JRZguFXedCmZyBhHyBZ0qpAfnpQUxEC6cjwTjKf9ARRg0ubm9+WRtb5J4i71U/btByM7jVWsSNURlHQO9raPiWt6KYn+xlMFPuOv+bcZLlT3mtYYPnZCgrnI8/d98hz4a4JeAxS1rjuNdxfFUppFN9mHwP8Ye5isNoCUOdHlFJrsKvKKARyXSP2kpgQM3gMQ8XzYe8EaY9712mArTNK0NS2yqPqCiNGKqsROaRLJLIWfVxn7EC7cvjmX4fERjbfUOnx7RhOym2BdvuednPvla6EMbaMzpFS+9TJoY25zQyyzWEpx+deY4ButLEPs9IV4iQBc0kHU0b0lRhY/dzkh8XLhRjda3T2z8Uf7mJyJZ7Z6AmWb9SaFEe/rj5pLcbOysFlefvxCkbx/7JiDn+bosSl6uunHZOvn9alfZx4UO3Yb+i1V4DTNVp6C9gt5ciOoEEIqGVICEnIJKExHuDJauxZSD5qPv6O4hllg4uveEaYe9pqs1owxVFuuC/QX5RdFxPNKzzd7a2ESkPSvfYlCxpF2rU9weUnKmLHyp/4QXpQYjHeOSLtQNwDRGEWHqcrlulaaxGKdHMixxWeghbEsSY8geB3jSXSujuDa5T9AhcuH5bH3kGaBvj+6LdIzBq45BvsW8+lt39Ci4+5Gqm9f08BRpkfSTSH0RMzWXCwjPrQ4QBSHC12lrnsQgiEVL9LvWgLNiHaQkvl6nm6s9c4pt3GaEhxkELSus/hnNKJLeb41UW5n4wHGxxO+3pX0fwbS0MMdWommvb0c3lz/TSnT9hdfJ2K1goeKC4uUhmsjAkjLLMg4pkrRvyHtwxK5ubUH1qeLrTEeDZwHd3IUz8p+Kn7V1m64++5fiWUHJWrPLaxwDhVBf4HbSK66ZejtA7jjPSV7eX9559aLxNctos00VYKex+YzAuLLj8sHT61dWMoJb43SITHfGujcWV2+mIR8E89Rat3GzsBIbKN51qvpziBZeI2SQhEBAFUFLOjnaM065wDT/maxPzW7p5ZUkpxSdDS1vdk3IsSeEIupPmt2wsSkiRUyHy/1uqsRD23++zTMaX+S4iKt4HNWAbJl8SEKCg6q4CSF4euCvg63FYaV8cX6EKk88ydS7BFgMTpuBdvACuYpP36NE8YorVvGpxkUevaYUQb9W3mn4UQQPKq5iI8JfrhA7I2mcNWWYqUUi/yK2iMRBmYGWJnmbvUUoOqOM3ws+DLQWrUWAgL5RdxhHAtq+yZUoXqUIlFcfqZ3VFyuddICLFoM/5AUOskYq6WcMc/5vRqoLQPIpuQrvoEdMulkdBWD33a0ibP3H9fbNwCY2UKYaCqBaJ7rRryxVyTQk9rnQ6Kc0L6MToarxAr2nWFa2t6IY3VWr6mlAjOvXU89TnrvJFg8evqWhQAClFjVUIXShZrdvzqgCOXOyNZok44Rnmr8iLumMXYprozCMrb6Eu771MR5tNX7TP7+hBwtmXJdbfn9HoaJDmCPXO5neO4QmJubDqwyFUIb07C/+se834TEVnRF67L9tCn9wlq8bsiRdgZqimMrqYrf2shn0yl6peB2zKlZk6w4t9jEUC48c//jHIzNzj70ntol1CNHNbCkeCkIMhh5wQR1Klg2MCOtdLCQOPr2KCReqMN0nJYYRtQZc/0KiiVkajWtiCj/oiQmh6ogR2xo1zgQOUhKdbwFY0gR80vQ1CXH2tlkB1kdQrHNcheqlEYTZCskTGzx04BFo9ZzEBuvmiqFIohh8HaH7u3wrBYZnYFAP5bME7Y/1GGEr6QZ1CfxBYd1CfgQ9QIfG+u91tjShOUUSixRfkt2b5X9gD2iMsfCBMxms9cha9uG5NraNjq73c+4yF9wwySatW7yHKOS2YGh+5qjIxvWvMANqlmOGG4gun8+iBFSNfuHUOsdpKmIsKEP8zjC5i/2eWM0dtq25A1sb7BOShSjzrLzju3Ug6R6+/SEZYfVn/9pLUHC8umBFY24NF12MfPLEmCiTNiHiLuuYfAcjRRZF6zmCDBfVdqP8UKeo+BVQIjkA2280ONNG+nS1I8HL8BPBg/egPsRvF65N87tPTXvabEgGfgv8T7XmBmd4TDj0o7egd5qQ33l4mL74jr83Ba08lnWgfo0OcbjR/BiuAr2tQS+EjWorJpa5YUkyvBUdorxa8kgGNGX4SGUFFZC/rGC8rN1T24zvzh2x0dCVkdoCICQ4938xI2t2jAYjtR1c5iL9cZwe7g96grvYCg9E584HvjMWrbwjWxFJ/HJV7qdZSkOqKKseh/L+WcUU9tfawaBzDrWd1yYEa/urUJ3y/P2pK9Fb2aXm4FILRg25f1dyEPvQa5uFfQQkonH5s8FKFXwbRuKiyCt+2o0LT+ewaGRYSTAy7caQBqeOns9uQXd9gxqlfO9LqAGEEWgpCoGCpbhSj9WNdwQAwka//whnJP80/XBNNRQz25Ba32xK4zFRZHNCtcDu4QQ7BKOGjsiAfhOD6xuo46O2AEcVzr/+KB5o9PNAsviEqR9gaiYYdxFHmlMvMHIE3BDxHUM4jgVKT5/y7GpYBL3wFSFRR8C/3Fa1QJgMpvsPQbTEOsgC4/PBiM511PftIHujo1R7tH9wgIb98jqZJyS+eD5KDev8141VviMLZaYCkunbNmlH0ba3dlAzlxUlwj9oJ75xl1icuKlg25K08lwDbq7eiDQhMMBLfsINKomjKHHTEqQpmyQGJN2Wfy4bsNFoypxYkiLH5oE0W24+7q5GQ0t+R9IoTHRAGUE31hSzgkLe8TtP2EygRW+px9NrZIAaOhQGQTsJSkk/mEpp2iGNuRH3zsLLXycgM7jJL45orRE3wtBWgibj9HF1X/rd1fWRzP+/p3NmCJ/uq3JIMDzh3K+D7tlKX5KrFiqhI5/qDoyAFxVx/n4egHHh12/tbj21JLB4J3YiJGBdUUtnnOmN0hY3MtllI8doc1+3g+W547PC52NwCAv2asxMxISt7bq2YjhTYGY06LUf5EnAlSXOrTMBmbksEPgy34c3gd9cbOuRQkU5yUdSPq9qVZ/aiERyk7bWEmAeQavES+OAn3rc6MStupmIs15GgSe05rTU880f8OHZWF92sJNfRthW7RwbngAiR2VfhHka/IrQ3200k9D6X0V9bXHVFWY/Pkw8Bz+bhlkT4rKBhA+w64IZHyzV9C5cO0PKUgquBCJhuqsQ/Sqbobq6ytc8LsuKQSNClsGrQJcpvnP9JfZuMyL26n/ETv0OEgOJS/38ubUvOaQSKxi+M2FpxVdvw5iELtFMh6wemgssyH72ogKCNmiJh/NFNleikWpRw2EgGMtItaWwT8MQf8M7rN+7Q+YQtIs0ReUUeO0e3CAVOfPRrGjP7hnvum+Nyg+j4TO6Zu3A0ZWN7l4lGcOP9E8plcIRO+9/jmMMtBE9ybnw6J6xVJhDgS3OgW4F9WPiIFkMDPTc9Tt05Xp2wfoCQ5pcb7n1/UDqXc4bkuxbY+36Q9nnJ3wV9rSjZQ7oLuRwm8IRB5ZR3MLO55O3aq3xtm5HwHxQ4C0PlvaNo206dJ/GjVcvUfpDX6ohJ38RudUvU5zoz3UZkbvuXnL/lXRYZnNOjAF5mLBKirK2iwZHC5wh+hxUDTT6Lzy4FLTtjr+ewk4lXO8nwDAnwjB1uAGkZ6CGHwgCvn+9gdArQp10aefHERbZy134eO8zsSufZKVS/eb5luRgO4AYPOWoGOQsmFNZRPjTUNgiCjEj0EvUTASImNkUjKNbYqAfn6Zd67d5+fnqs8wlwxoWeJtM6A6y+2UsJgl/PBU2FJQF09niyYkLhdSvFBm8b3THEIoU5JlB6lfQmFhgen9MtDylwwYUYxdQKngCpTKx5nu/KtQ06Xf3HIj3Lv8XZ7CVKWXivC5nNMrGB5Isr64CfPQ5gmJD8IjcIJBoFSHUPY/1VBqRNYy3a2mndJzjrefNEF3Id53NXT+d+FcEI9sfwUdSgFX4GRChLavaWidWnwv5MvdRKWPQJclMNV1gEVzVh3zWdrIyVYxWXDBY9ZKda9M3iejCYjhY1+T4e/oBFn4m93WQ/5qUOaueDlD9cGEoz6iw597hskqRtBU6ZlGJPAervv6dxs1pL087Frf9O5WPkk9ZamDLjXPw9nIiWwVFfel0Im4P28vmNLdJPWvyHKxSmvg0YazMwsXcSd2W/mOMqAB54k/HX4ab/80UbGxusXnrS+p4zwfxowmloESd53t8cr+PAXSdMwH8z/OueYrf4aHoaJ/IzG8eYY1ykWv7pfHth5DwtFIoArQ+Fnh83o+w/60ekprBkI7ADtxhqExH91cEeH2G5Zhf6EZbpW81OO85vCv3acgVFjL6fxRYGmkcw7Bam4MxcETogUCFxs17dSMHYQjg7zIP7DutzwsuFngth2UvJriihEyczoQBjQCNg/Hif7JfTMfqUa36ijXPmtZVgizyakFahpPAu+CyTbxoeOxgyIbL6Sfbfvq3+NRuA+iTkkTVMlhwxv5QUufbyfiiiJtDPjZvl3tpSTqn5GqDAJZbr9PsAa1xSStgeq3rnBXIDZMoueWAIm4ivw3WGgKcmWrDBb0g4TWGnEzUIRJXS+qgt/vUjhNtnSijCwx++bSszEpOotyu3jOLOl2vjSd0i8Rd1/yM1EaQsXP4Ll9jRiDWyDBHEJQE4nNusSidfV5AxtwHeXYF7zIwmJRkfDAAeuN2aoF4cnAPOfWOLSztgkm40I66dBVnkQw+yUOmZ4DJ200YYAE5Mypz4KSDnGuBJUmowXdYUiHB926O3dX9U388iG5SL+UywMkhDOpmdQVWit7U9hPJLNyCmFw0NUQBnihZVx6zvc6tVlUonTQfw1P87Ya+tVwJXL1XO/0X0I341knCKXykQh581t56xSVPGJ3ETImqoTIgSY7TH6A6N2oKleP4t/Eic3VPzd8QbBi7QaXKsY/lv5UDAy4fVRl1emTLCOj0eWQj2Y4RcZBkUXTcuMVDGfWSvFNFSVZLbOlUZOf937PLGIQbUyLIhVYNXaDWIL/gJv3Yen9xmZ0yEf+u7sKBIBH1ZFWTlFHqnhaPjwV8dUI+NSwlUeO7UUbcdDBbUi0768DkGmsBxl3zlAU9pVK0CJPdJlSpdzrAAgwMKP4TS1VlTZ/Nnr8TgZn2Icl3mLAfEWrNbAWDTnFa67TS8oa556kMKstgL368Tkwh4ulyu2QQrq7+xJtP371w00HRImwa4B1Fk1DxirmHcYdn+83+0wMG5kr7t33bNmpzZE7cPwROJ4Pldr7HMFabB0drO7Hc+OzaLVtoaz3Jy5jd0d2foSAzjYx93iLEKbyZ+vqkySYDX4qotilZ0d347S//QF2/JWLpMD03lq296sHo03/7VH8VZXmB4XjadH2EzBSpVnctNpYVsqDuZeo0TPjiuF7cHUFnTnFFZRkFAk/5Gk+PiJClJe64EJooblDty311VCNvSORy/YsY+V59Zmx0sY7K7gi1WIGVd+HfVpnCHCA0qBDBu/EZeNh9kA3EKq1J3PxGC48OoZ2ckOK9BKc25l7riytGoycxfroZe8k/pyt9+FqzsQ2n0DY20kS6CEHv13HYlcFAeYs8YQ8v2v7T0JTDzsPC1H+cKpLSDzQGm2vg674V+qFAEP4nBlRg1SFEmXLmtyqq4UNbTLIcnXujt4tfgQyZJjeZrbR7nFJz30X07VccnZBQbs4pM/CQEv4N+kxUtJFFI+JScXQwdZs7hXWzYdI7N8Nw5s8KdL6MstHVznOenbYOvDq9qJ+F5zG/JkMFIkn1YZLt48Nof6lW2ZDL9tuQyISXKnTvdn06WZ55pKMuBWIBJO850PS7+KogLstDsAR5TW8Fium+C5dAeARX9599lNXzOIwRz8N7Yp0s6LK2C4oKaFpjaiTgtEyYmYEKjigxmjKYIMXmfq/qsyaBJk+PYHLvC7U0Bca4/AJ5b2ykSjPAWY6nSi7BvzEG8UCQlIMRqX9LpxV64ePzuDEo3p+hIKNe/zFoB67AqygCTbsqGRMUQM4gm74MP1514Q59JICEJCMmrHCxS/uhQRXIU4joSFBd2bBDuMKKXZcEPwTXqZZ8Gsyyodda/k0AH3JJr1Y7pWDDRwHE/St6AVLFlL3jEbWyPOJUkZFKywT2kBnsbYgw/FHPlXHIHl0mCPudiwZimb2wOBXecyc9GwmrLP9Qqhpy4WQeu1yYV26qJYLLRzK3b5o4HU1xQLRyqBJfw6+bDv4i0M2YI0EahcIx/f3AfZRSU+pNKqbrc6RBz1CPgqNlVauhMF51qbkdyvpllTNNRU6V2i6J4a+NABp/2xCTb+l/zaoPzc3pcn73vqvx+JT1EhbITUodL2uHVp02iP7oPm/X2tBJbkTqzJ3YWMWhnx87K7JPOrqEHsAHAdjsogtU6+4QJzm1J3BkHehuOLFV4ZLRLkAsbw3iWH3LBUg5+c+eCmeBbA0jtwhBtX14r2wdQdrVUVPgVTw3XjXvrp0+KhPJMRRoAM7sFdAO9erPRS1fFJP3y4huu+V0cApGPuTBAICDil4MCzZJ7rsHW+KoimWhJh4beL16wjUFtr8AyC4Hnl1P6gq3B6uozOekZMcuSaD9Vv4bM5Gb6ujzhvxysHAMppSgiHH4bNg8Tt39tA7wGdX0qVcEF7KrZ8SDOJ2wThCCAdMFBjQYqczm+m7bRkoLFArwv4HgpsiWtr3jWJy4hTwiWXZGCwj6buZ9zB2ibDl75lTrXN/p6yVLcs/3P9o8W543hyWW29pqEEtznfua5KDCahfcrDuGQf6dYGEhwwRMWP3yI0BABnrFoozyA0qocYeZImrLaS3PVzLN+A56cwxcYEHTjCvv0ZRqccO8gXvZyZO571oPIbsdjy25VTJvJl+dCnBeTgmp+ZqIeyMcrDJxNzX/Ss2Yv7l3EwtH+4dQ31J60YX4QAJkY4m5Uxlt/XRI7SYjWUPT4LZSqsIUgvCCPaFNP+Tygng43QR6V2JB8s7ZR7k48oCWkQP/NClfn5+qvPSpFJ3iTc1m03Dt+oBGv9/54rxvdc/0BNpz+6RwmQm3R0EPBvxvyu1m1gA0ZGpTMgADrDmuZnf04xYf+vK9jxEH0nxlL9xYs4jzhVqHufVDiLZknBuraxPTasiUQmhWj546vn2UURTNLJcFPgNaL2aBNM6hSs62LYQ+ysOGHgqVY60+QkTykSbrFfwOkWfbhYUi4VPoDLIrBzpbME3ydCDudb62ih2cJ5i6fWIXB/g1CO8hWeo15/fr7k0wGVtA9FWbuD9YQdY1rgtbBNtuQWLoD0KSvcdTQdB0ZQX1W6fT/PnFiiBDMSyxelvii9d+UkJQ535Hor3ncpnbRiruRkQdOwFaUWPwFbWqW+HYXDhd3KYah0wOEKtUKfckbC2dWQz19LAjDsJP1vnrZr02SBNBmHfjpLubB8gHRCU/lFe8z9BkJfvjUHZPIhA7YByHtjqrVBHR1Ec0FIHWWg5LXiGCqvn2cQc1l9eeq48/zr0gPvREHwQaknV35EVGpzZjNeq4oFNwmroaGLaZ0whTfxmFinxW11Ufp6zKZtJIoQXhXThMQmmWfu4c6Mz5xDLsVD3nn9In5RF2qli1TIWLgorpLiMQt51ivZifVW4GukIWQ918ZnHxj4DrCAn1ZbvzrGqvKuxRfBH1JNx24osz+YOcn8V8CExAUoQynyUwhRu1mL4vW4Ze4qXS1UzQMg+VF5xb+T5t1+wAHFEpApumPTBPsFa/nDf1m1EUr31OUqqHDdU8VE0dHB/NwrsPfpFFB5rv9RX1GXMrlgQMW3mzul3L5XkjwO8rZYucWMprNY00plxuanyKMqi2J6tvy9qe1zrIdULuHer1/PZQ6D4dJxNjqspn92zS6/Cz+/GYKKAoUwNtn9rbnCPvf7aDeGiUiO3RiagqjmeDZsgeM7JjZOSdOsQ4BppsyXQOQXYGmScAhWO45C7+U2nZVljNRtjQps6Qe+iiRhHGhJSFNC12P0zNK+kfWBf93lEtXUZaNdZZREZ4pRbjdL9jhZhhMcUUzfy0ImXJuHlJPa7dd52HrDKpRJ3CiMaNHJYhLw2KKRvpTl1me1Gr9emY2+PA0SFlHTYee2ThtG3xQgNV9mLNL3Dr40vw1iHXDwGV/2favButwnEBplPudgLO2vm5jZLTEzw4EIzvGGFvfQjf5D9xOJLYjUrdQJCQeu3+HhrtFZHcm3S0aNmwIXVbTbFqbyIWfz1YuH/4NAvTXePSpFOs2n8jcp5jtzjL9y1NaShYx2rTzgVqrO5mSd+bCHst0AktFL3fxs6No+6DcazkJHC6Bvi95IBrQKD2thnKBO51OENXsqvk26c46qAIGaxqwyRLU1JBxZf24hK1KBP4AcOtwzGh3ywjjZdWzMidnJtN9Wbe+sLq5LCG2/hA/PApOB22VyMS5a1P4fBUJbF0DDx3Etj12POX/zBTNXWJzbF1PKwkcG6ydI+fGNzNmMbA2ii+EtmQ7cCdDDml9rqizwEp3wyhO2hv1Zqp3eDGsWcvGdGG+P1fHPMzhMlqJry/uZkqa4XUuiW4s9OQhyhGl2eT5FFfVuBeGojy+LpXt1IKzSKRVthzODKgoGJ0bSMKcLm9EgNTb7SzJwn/Ml3almaPAJ0Ga3q0sDxFFlHmuZubNIhZ7nHm5XxJyxTlORDAAOAqczq1G+LC/B3HhCb7kXJyN25b00OQeNu6g+7lDU6dVrxbUbbC0Q/qPoQETKwOyf1bHHn5lKxNVdHRQ7yZieL6blND5qEgJQeRg+J3EcPwF0h4eEcdR2C9UoqWUu0cRAzDJpCP5d+7YPWYC5pU8eZRfJiQIm3ncD3YpFCFTgMXOu2RViexZoKbft+px5hUg5BA3fzs2i44TNWnRPEmEgaAMP/IQS2vgLLmYUbk84xO/j2Vq1MyhJSHTLRdilqYs1On9nZ+awFkB6SbyfqbLRuSMmifSYdH3LzQIEAaSv7g0t0g/w67FewqJ00OyV2Q1Bj8SRDIUIYzg1P1Jo9LfirCQZ4hCjxKshjTRl4TzZ0Fv8u2FxfBwuoPq7dbYPLLO1bXBQbvJQBq6hTItMO80FDW3E64XjFRLsClDOoA/54oRPGjJ+jUZXr+9CHOYBWxskW3QVu9j+SKlXvophXTLgWcJocR+NsNZekUtzGoudbPpwEBGwi0nqz2ieTsq6ftddmx1295FN44HwluAJrEJv6qK+Cn1oFPrrFDA3d7flo1R8Jbw7E8ltiahbVMNVD3iKyMEl25jBFBbrvbG5zCNw6vqJ6RjlgsUkU+6g0VV2hToqXvtVQugm4gSiTg1ZaXq8d4VsgbeHl7c1FG+71dLeIVhyfzxfHZcN49wKGGUXCaauMyOybFYmOjvcEhEG0mJuPPZwa+C3UscNUwk6koxlFdmDbsEJfg7VritPpfG0kj2QTggx0wvEabVWIGAXHUQqKRnV9t343W3mKN9u8kSUxUoiGgAFc9oygGf4PrbdZDhkhmDbvUH7NpDuwhut26ZGvEPTNCv4KgAhmPQ37NW11KEO0SZGFTzixeratde17lffx4MYmhYl+6NrK2ywTrSYwNtdwmtrISuJxbp6BXL4JTsLIHlX/FzrPsJACzf+B5uTVJg4BB8dzl5ARh7t3fRrkvVhDdltoAnv9Fp0fbVMlp4S6wWX5JPw8uFEbgH9ExGTeRc2PAzdTB9XQChYOUAfjFqE33NEEAPIMAJA1/ueQfeV7+AeL9V54+rY4wmQnVb9ZKmKLsHEqxXqCfZ5W8fjgMYa7+Rbv/bQuLlejnjtmfp6P+O3a6bFX0i+VmFL4QZD/2dbyxn4M9O8ynIbyKFN0HQhBfo315LngUcqdYpsNlv27tl9dBWI0YGLl/AGrj/qcQmM3gqIAIgPYA2OcM8kMR9cqldPlRzlpcAmiLoKKJh/a+FlRckJK5VShiNG064cYrgbTabsJhoYmZ89GdqOTxYn++6xE2JEnzE2ICZPK28RPInH5lQ5e/SSKnbDQONhQiXuvautlUDO1AEHjuwPISKcmmwqt96VWOOppp5LOpXhJ5bv1ySL6uTwykHEp01hgOEZWNPNwJeUuqNr+9OPbC4KaA47ykujk5e1vhR+n4EdNv8nfk8ngIEsXsLd6wgvvvqWcPmLBvGnIgJfwtnJ6miF2P3AT4TC6i7gwutW1lTrTjdbgN1q8/jxA2Fh6R1yCeYwoZ52Iq9loGcctYQH2xS7LewRpMNJyd4QRpsS9TO4mBH5zoYK72AK97cvaxjQqYFVKQ0JiO6MfsUvoWkNJS7BFL4iL9ECeZdSKggdkeV15ewGxc4JjHGBd/l1UxFU31ItVWOsJiYw52gVVK8BBUMAxJzbvGorbtaOryVeHnv00jWBDp0go0ytu/kgs9cmOAEQFhjsF4hOiYjTOkO3i8EMlLLCxFjYT0wmlgNPlESuGZ6+PdiaVAi30eKYyT/s51CLUxuhkGIL0Q1dkKyOooV/m306kfDW4wz2FpeQNhhWNM1rEjCvZAigjq2Z2MCK1RDYFUkRAx5PCyZ/2KMhv/Mtb/OedNDX/oZWttgZZ/lODYyKESh95+bX/EdVWODesHT9oZYw9b4cICr8kqiNnbUBrCZjx+izkJdmvOCLdiXFjuUjPt4ahqjLLGiW19icBOuCC6QvuaNaor8CdUOsYibJFfbQNBWOSdh5AQqEyZbtg+KpTLpDYnjfHtEZ0vhro/SM6SvapzRKX3Ou4IyHiOdCcNtNG8NBaA+TyYBOg/mY0oKIH1z5sVMFT5et2hX7rk6lZ6MPSSsyxG5DLMqAT+QY7dnphgOdpuRLjubu5WCbST1gql9QDOxxe0mDo8cpByr7VSCX5q2D01FHgygtc8KpE+dyvtwCJ/tt0/0eK06GI/qwQHuR62CEbx0IdK9knzN365/2h2Zby7Aa2qfePwPsaJdcF5p6SSfPu28a/oF5crotAZfqqP21Tv0mCzRy5Yi3Sei6MTyL4yb3Y77Lfe+TpCgf2oqloeor2CDSF4c1PTQLBAVAfwl23dNp1qsGWyuHoTz6yaucw4uPNyOKFeZprClf4C6PPt3coCjUPIGvMTjSK0w/SoCRrocwWRv5i3PiKhdaHgMxGQS3qVjRcATl9uIQZf5/SymfglvUN3GgCgLfcrDYlZA3P8UfIkRzaDTLnhWtGgme9JqSPZcJumFW1cmqi8IPiShWL4Vwy8ya6819mFjbAfAMfmennhkp6PPNWezfBGggA22PI1ETmkqDDOFspp0IId5pfWng6kYQ8grbEHN2XopeCQJvpm8iQ+RmsyT2dk7h7LCHd15tLmYW5Z1DnWUB02BShV3uIvOHFL5P+j1VsrElGZMPTct2dSQDn6Cg6Tfixpbk5eMkqAGW35aL702UTEc0XaoFVFLlInIgyUqKwe59OHC0V8S2NnU3IEDC6QHUKdWsxH7T5Ij54qmJW7fayohg9WzQTOUpkTYgH9rkyRkAo/S2JTCspZdJqnpomnWYtVWMLBzX0FrXE+q6myLBebHWLk/u/ZF4K2xaBHa7SZCSTy5o/PyIYmSWuoN3Trkc4AYDaeANafPFmoTAmLAN1vT7XzGv7j9em8yzsJCT20c3dQix7J8p5Rm/y3jBe7rQ+tamTbwq85egljh1ypgIwGAa8YbQGZgq4DcfY020AULA5lKwzj1EDsPwxEO2W8u1Z7p+ijgQU5wks+k0CeQkMgOoLkc+doC5m1XctY9nnBdVr328xdgnrtSd/YIiqEiZ2tGAixw87PpmGCBXgZxGdtGjsd7Pe7RThYK0stZevXF9MP8yxkfOxtPBopm04Kp7/SLrKEGFg4V9Lf3H1b1uiM67btIsJ1xjaouSZ+prghS8cCFwcuuuZ5DuzcFG9VMUxA45akOHhIP84YUWwQm6veU4cgsAxkFXrjXEAROu/GUwG27NI4Ghf2Dx5x4pKYBZZMeFXlYtWcx8x7YoPv9Q1jzvaJ0sPk2n05TbRQnQC8NrMbU+oE6+8/AkbM1BvEoE5Z44sNI7WTFhyOU8chELEzEDCENFbZWyYWbWV6sYbnZ5pc8xmmf+4PmPmqqBROQcaHa3Ep823jxzbeqymkENN07vQ00CEmILKTRiVUlHkKey3hcATXd7Swt/c2LKMVZ827fQJ0N51GLXTCtw0kS1n/9dD8rwk6GMp56HwaQh4w8++bOFklMdLGlCK7rOvYkcnRVKuSVTnc25+s8j5v8Wu+JH+nlD6dXfEjntJ4Dyj6nmcXYxp5TX/e5QgTYG7z3FDhIpTrAqh25UZubYUiXi5NZLFJL1eQ+0BfnRqJ878M57Qe1Y1cD+cJDsGLWYbxVYD1TdE3sbQK225wsBD+/XrD9Ek1gybAN9IH+XysY7wgFI4C5WdDVxZelUvXgLYDJSjIRY50uILf3aKs4DynMccMv3OspYjnnCsHvJiXobjkcxLiog116jFGgMvTgsSi/j0pEbyoRGFZqOnIc21UHt13MoIDcWMxh8/0IPKDI4lNVQ73HBSmBTHERA9ANmALq0Rpql+iesLQJWlNM+47Xe0QbdG2rPPTs/mymcjoBbYJs0uL6Ini/WV9ug+/OVfE9Xe7H99zqGXxNZbe6KuRTqW+CWvaquw4Rz/4Nsvwd4/ztgiAB/m4uhoN9CRKJLf4bwpZgr7aM2/qdVTTy8i7L495sO9gisaUadJF0zn+Oxdu3jlxZbyee1tCkZ1xR9dgTbBpHoG14jMtwJkiGhnWi6I074YAsvpMGmQHVeJ7qNeIRX4V1D6uOeXJELE27qog0pjcD6AESeh9yRdb7HNhbqXNTc2sB6fTaO1hRYfmDvEHTilvzNEQOGgTaNW4IFU5kZax/VmMfnEwS2yyjFt0+yATpFFvPR+guFTLiLelHqwgzzjMZ0Y3HEuCd2hGAU/wIv92ARVqI4ASRluC0Ojym/84SxX3Gg7MSFrM0Z67P5cKT1gzye4ETg4IDdnRf9AuLQEKC9pT+ylq/9P8fiIU5uHKmCUe8wcKPgFp4adOWW8slA9WZJIUBpoMQIbLRsl8gwYa1XjPHW9ZhihBNTQ0Og37glaCpmMVtWgt2upUXYR49l4xNFvfOBlypWRNeVd6HswPcC4ThsbvbIrhhxxEhDnd3EgLEVlWlSHhcl23md+Q7u2FryfswWlkD47iFL7EyhGTQNAXldk1VAxx0uJBPBcDVpfLhy4zbJTy3r9ZKEmzpazcMgciV5lXdxGTh0JPQuSXzjJtHrEU4kGbab/GqeC+f7JV6/5Iq0iAdFa7mT01tikfFWjyaVE+6eeruzSEiCmhOlWoNLH2hiVWRclDixCTDzez2WNfY6Z9ecFLu9bz2/fr1VKFxJo/IA24z0WxfPwJ43LzjbVIjWKg9hfQJbfDapL4PFR7NFOxrXLiQfnEcr+jPCeUKW3hMjc/nflPp1LiSYQSBF4kDMFfK8brJAtPzkGEPrD2rkAnGfu9OS6KhqdaGCXLQLEs7nfaFG63D2B4ItFRVLy8IR7rBA6ABGxlRxi2T4Kt5pVmeKJr2tjQbsdSebMiMGGQOSNlrKNtKdWTai0d8gJE5QyovFZVPdHsvsDhMNywxgJokAbaj7qgw2/q2Ap+tgBZzaHKsGGT+3NMRbX8OEvfQODTE8DssBaaX9ZIh2jNzDV3se/BZMTfd0zJwQLIF4VCNI279K94gDgbVtIJ4RgCAZemZ2rPx99jwhfPHO40VuLOVlELKw/m4qX4zHUitUR+aNp9FHnymD2q95N2nk44dikfZP6M5OHg6wsVS2Og0b/hYI9v9xHKq2LcKruoRo06gh8C52A3oH0CC0HobpeQFYharOE5aP9mN0VX8QAzVPkqMZYrIhy8cxk8iHraeV8J+sJmvhxrHCOU0onORS4bDIYVLRra3JzDgCayfIXU9VuWAMD4LO5W/a385c8lePONMyr+q6ZHyBxNvuKYIyfSPlhP4DcwwGoMGY8vJ12wGs+FHByRoOBVQZLVEoTuhX5N4McQqpyNo4txVqDBlj/mxuMgHtoOkWPFyxP0sCn4rBOibqfJU3JckXAjdT29fMyCgDkRcuKQK6IbOXpwynyDgNW+MXkNpQo3Ku2k9WPAv6wdfLxLmGms7anc9i+76Lf1Cvxm0UahGpK3SPKtFBpG4kqYSr9pCtcP6er1Dzs/oMoFDsLYe/exzM6ZJp/bSel8/cotgfAZA1zOnMMfwWCwyhSK+GlgSr/QXJ6ALt08apv0/7OtwSjbxHIQ5XZUwHfGD5mOeXbSawZeZ57o1c1TpsJTlAFtMJX5zsvvPTSL/nseeWoUgMDwq1VZpwvQ49/JfVFNPbXASrUmbIwkMdYfA5gq1m/3tEd/Nm3d6FkJaYxr1QIquE7zlscAausYYgDuKfH+Wa0Ie8Qbfs8+rgWxAHLXkymE/is9kgxgSPG4ol9FT1nOuVjp6DmafVWeCowqXVuG0n9NEh6Mjo2FMPMt03t1LGPdccwUMIa9A3GLPOWYhTPzOG/awBJqAcUvhAH3+4M4v0wBNbdhlZwZ20qAv2dEPIjzDJsdMQyfvEbdlRfaLFrqPRxXtyYC73caF1fbG5nrEsNZvc6Hpwu3qMHURGC2RPY+b++SO4pQgzL0+yPllAkOcpDuWZyH34I4MIqfw0CUQFDynH6xkQKNgx4iu0Qi2yfVqhMSc7iiQZcwgr73e+dAJ1CCGGHJggBcCa470NLvopoKPDf6iKoJFsZIPnUIAXbxUJNSt3Fbc3eD65avlw6Mu3SsWtYw9FpV5xCXjLQZ64Vlrxy64naucVMKkdK5RR+B4ND+dVau8zyy+immACCK2srdREao27HvimVq65NLf/7af6bG4GnfF0j3sS6blwver5xRSiEUy2M7cStu+k9AWqH/X3aFsBe5c7SyXCDHs4XBxx/TnX1mbo5Y2Ga1M3Tpkhd2QM5W8o7bVZ9Vb+YndsrX45mrKEr/rxhVlUZ/TYkM+F9FaJxceOJDdH4/iv6faVDecZmVMA847IgFNl5xSIBhaY0xtMHqTNTKW8hlHq8QTDxtuUcpp2GEiIJFX0vElW8WNM+kAey8YHbiqgqigHqNcvHmj7mgqQtBiTp2mXZuDl5j6yQcsH6UdVEmIXPDroGFudbOTA54VfOvJQ5yqxpz+S1PRA7ny/JvKWdV/pZR16fqYrWFGrGzdzjkU4r6rR/5gjDMD4RltoJ7n63S3Bepx0U58fkf7bM5ygxFCgDHEqjmf/YNju8KYIkOOw7TSKp7cJhLTgxywmBsLaHh6kIZU6piZaNfnU3Yi9OAd95Ti8Y9WhYH79NpKqXCFlcNjnhSeSr5LLBbH6PRPRx7eHg+4CiASzFoI6efXjq1cR/KermYzDWPQ96B01paLVisxIjLdlAle7H7taFSvkTQlW4r2uLbkx1haxENkzhcpWpnPGDw22IArAYfCkiiWOw0LppzCT5F/BvvoNwhLWsFSQKlimV7P9K+5+cGY8qzixG7Q06KRbQbwYnKVQNVw9SErH62A4P377G6S5u2VOYB3xnlvcWMAW6ELhpb0ZQNAvOrRRJO5wH62tgdrWPdCDKPG7fNE/Od7kS5kau091pPlOShVMRr+Zki21NUpZow3NEC9G1ftKniKC4Q7Sy1ZdB4SWcdvTGwtyZ6V2w0uigwAcQgg/teNlNZweFa46+tTVZRW3WiO6icJ9KS9vE/hHt1FXxWozHVj+ud67xz8mKpRPUHFMqcCQk7ITLfmBwYng10r34AseXo0iiKsOoDx3j2IHQuGKjIM9MKABu6x3/UgPnOB2dt5w2veHU2Uu+FyZWNAYUZDYQVrckCUsfhmdWPVrt/3r8ku0cJj3Z5qxQfMQtspkjrvb89WfyNYPGp8rOk/1sEzWBEL5FB1+DMkAgh1+pU0/O+MGivC+C3PGeocC8L0cXoS1d0m9Iv94JRQLco9+n/O5YlNGl0ArIqyYMGowUAfZxWpGlpGLzTq/Ixwlw1qMjXEjIG+V2AOp9+DnaghxphwI9y2TA4lATaL74W0xwut9VpEW/bAQOTz4v3PHTdomo34Kf+lFEX7+yXT1FENGCTnZGILnJkKDoHCSep4b0Ipz2uJGjljEyZMWYo5oifRRPE7y+fngX2v2GhlafNB4eVHFBsQtdMHxs5eIX4ufh+Mq1R8UGsd1/rf4UBIGxIBe4fp05XZQ+soaot0HGLHjz2L46DxlZUDYfzLtRstBYDS9RlUZxN7a8p0hX3QLrPsiNyMl1IIC2ibh95gtxl7SJi5WWD2BTI9gu7XLMzexcTg3hBKCsZSzsXPSW8+4458yYKr7aoYjpSUnTlt56dk77OD65/V/pJuKNW4PX7s+3gKlR4AeeVMAXK+rY7AofgUnQ2RZmOmjDwGmvHnUtaCpSqJS5pHICPG++thbZGPnLRWg2sMWYCDAmKmoFlw4FFOBw5FDGQoM4fDIUkPd34VbTwgNm5y51nz7M26X9q4Yzgvo1LaEEy+R264uavU3AlHjoSq1Vb8NNntTb066SG+10lheexEFT25PVKKGxr0O8S8qahB4HCuxmfYWw1Qn0cOs945SjugnnV81X7XJpI1M8HZ2qHXOzshxcfYusCnNh3ClhBzhOQH9HW4DuBnVty1KylbzsxzHOKw/LbZovIgMznpDAUOcvxLlEK8KXaIDtz8Mbso7/kdOqBKM5zn4u26pjc0jjZvH122uKhiY7yvTQQN+6CGeiww08uVKbJBbrghs0T57YLAwSud+sRIQ6OJJanAMwVw8250qEInJ+cX58U0uuBwknp/yceNSjk9R/B9QIMj5q1PuANICkVYHGcIWR0ftSJ/PUCdKBoExsuhE+u4PbLwGLhYumdWnhRO68f3YmRnQ7CC/kgD66mWcpdbQt7sgXMOlTZp6/ttOSKA78nGtKlLQ7U47uqVaLkf+SksUVHD3lkf84InT7bgUIhmTsrs6d3rU4r+T72h9deCUoV9hhZl6UZv82nbYERLhHqo/atDi4zy6rAGKmqDouHVGnuPVlf9y7KdqZjhwb4EO2bXgTCMDMfgBZS/7KiGFW4w6vfqPU2Vk02xsElBRXl5o9eiozpQk3ANU/ddjTwMngRg7M1MRnz5haRIr/C5IzExsy+h70S++OUJyNTOYfv3yG6jU/snbYVPvf/l16Bmbjq0KYc8aUR+qdfTz8/BYGEmasGlJJqLkPmKUyz3P/tXgBGmfBsGCqyvzOiqxVVJSNeOdRmuEp5exI4nocuCjSd0vBPpQZ1m/ZmAwwrbTaEnkAz3wErPLNJdcLMkTejBAygpCTj54vOynmk5rDF2NE1mncrcJBBzC3szlC/8Nhkfxat/2lvHrIOrm+u3fVWyx02hVBRGl5OabZhxYfKE/0LV7Q9SxW67CdSvTmLiaZSi0yZMq1l0yGJOB9WFOKMHYCCDJJIedGjJqh6RbtFm99x631UXLss0RLWsWcYvNDe5NMnnJKGtfaDL4zdV++tx+af8d++IfpuBnq0i37u8+7mtRRmeggVY3ZZreyeBbq1LOc6Lqt36KJOb/rQ8HK/Zr/+tEAsz9k4+ybW4Bkslc0Iq/rInf/UtRO9X5OqMouT1hCdlor+aDyezl5Ter3P+Lofu6abMJwV4lXPiRlxlSOYueYHV35z6ZwA9RyJyjzVA/BIV6vuFU0OC/6Rtfqe44pmmtvUxoA+zVfpDnQ8AQK+dqgN3CH2y2kJrritziLejpYVmjtq1HjZrYalXH/k413W4NidBghjUsr7iYfoLh45hORsJ2Hv4JdcyvNrByf9yF7vNoBjCeJhPf5bOSVqp/GHn6cm8bv3T8x1J0Znmf3Jtc5C9cl0Y/Ia+sozAeGQSNqntGcVLSjxqQUwV+giOyAr52gzNJGnsxP6+/YVxydLVv1vUW8B3tuI15lhlEY3GTIKH/z+2JfzVauwd/W1r/w7HI41hNzT9rf9wABOYqpIh2Nq+tAR/8FlTXY9dvk3vxFpd+qqFyh4UutCEGRqDNxdkQVDZuiKQKHkoNRzeC2/MN3eqlbXmw06doqOt9pTB9pWQP3STxwernuTCacjEq5hCK1GHYQ5UO9PSQTUVwj1OraqncWICOPGIzSL0dkqDdOm71KiKzsDT2hdTNFlRwtcT0YjZDQlAahO0uAb81vCzYS0e2tAOMlW2K3iXKnprmhrjm2z/FWblQ/MH6AG9a2YwQqgzrxwWnjbDNetaLy+ZiSqhyRWldNzjBHHM9MBA2+KRC02ntbLnMSit/ay6Sx3D3e5HeL4lH5wsshYj58it7Q6g9xzKwjqBnzpKGd/8RCxGF2RAGrCfTBOC5uDFrKn3XmdJevygIb9IoRBfj4SoOCzoNpi9CjScCrsYydieXR02d7iPT9JjrOxnzKThkMoVrcBVkJTzo5foKxovT6jAayfbLwisv4LsD6BDtTQV0bO0vw5MQm2fM+2nEHAS5UIHGoCah+6KPQnfHUlI7VQK/5fda2cbGxaGbazf+Ji7wkD5SqGGBsiC/egEYBKsGLWKFRAWGaXsBx7X94942EBr2Jx6s5K6b+MQrPUp5xy0Lwydoo8NzTskGEo0W0vPLgyxDAPKQTDs89jyH0RV+IkiCwMiFrjXYeUOF74APtCuXCe9apUWMZtImoK7EpShL2BLcm49+8e5dJYp5q3AvmisaVTgEGV09WxQyuu6E/32+pfgnIQTV6ixAtu/ICOdSCB+98qC1KHWJEvAr4JYdB5QqS9ukbnOIJbA6F0y+95Pd2aUkdAmiA6F6QZ2hMSaIfVSLVMpGlZK18CqrwfrsF1S8p0jAqlkAWuAKFbRyZVNv4clv24rGmjro9Th8GECpzsPUi538Sk/hfZLbdpoIDJ2Ayq68RqHzsMfYvKZ/XT4k1Q/UD2mNDWnJq7KQC0pcQnI4wHfCVoez/7t3i9RLFHWcVlXmnJlpHqZeYhThc1g2qI8qWUZvJ0fEf3ZptU/OF5b2qrje73Hf478+FRTngkNrZyY+T3V4hH7GyJHbCTByrA/VK57GV66d4geIehijd6eOji3BZvUtDVTs8W8Ys6JuJEjoFgW5shgLkHPfCh7qGtAu/KVD5bl6li9H0iCAzyY7GSFKaEI3zZN/TVS1by90/OozIbc8CnjU1uch0dByXn5qxycCQEoGZmF9k3Dz2ue7vIvn1D5RFgf57hpdhe3dHFwoT2VJsyPs62TFYFgg4wf85+vJe7M3cJh6oT31x2JxEJCU84k/7lDhaD6ZdVMzeqq/abRvZZB7ttU4O2+YzwlImhKnbIgwbEnN2codhaEVuH9uhu0JNzP0vPQS8j0fuhlIn6QZCycTpcGEj1cXBPAQalH0PW1e8IthdTWNYDncufSp2L3IKnNExs634anBTO3sOq+7PinlUqUdbR9DIdg4qgeRv5nvvp0zBYLDnPL3oNDjkKmhyrzSYxJayyVkxXUSh514Ey6MylFLeTzuHFnfCwivBu/XcnwByNeYfdC3TY6OM71YXuJ0/qBCc+kGWCrCxkhFNjDA05Be8WOm4CL61xVEm4ebhAUaUjOzAR/D4wvdP0WqOuB2yDaMHAMVx0hK9RkWAtnp6/gZG03txA4niogoj2GxUI3UDZm1PKJiQZe8QIatOI6ffi42btjKbvhKLeaU9QC1zTSv1hl2NF0/2Ze+PYr2dPWV8zrDVlyJqaxjDgjhGI4HSt8dqrZ/lZuTtowwgXyI/HEsxFV7y5norgvMwc1EXG7GTo5qugJrPW3OhoNB6AdOU2EQMN1bWKqBGug70coqS51PFCrHaDrdArkPncF5jhM6/L4f7VbR4s5jbxtPnIFFa069XSfCGUeqcd73b09/WfiPUSdbUWHSbRd18o/W8nPCLiYOXICOaBR8JAzfxcTgfFPh8H1Y7PKu2n9KsRxhaE5GH62lM9aDAHOsX4h2WUJ+e5l4oqf1TFSMGdduAKTWxhE5OhOCeVi3JRs38XvVxLrFPPSoASliwwh48zYiIczh7hkQqqtuN/89uQA2KoP5xjtefZ+kf07cxUSxJsHi/P8FpHqAyI05XP4noVRvgMB4bVDY5f+znVDQi27LyVbPwOeLgznisOkJ5OQByh4kYJgIAm2bPpVtPSYx9LGpKyoCWYpbLWbOxnHbXd9VaH7bNAnCh9DQLKxJzHoetGCnZn9Q2OfCanHHB+QsCWIkuARJrmdDbcrTDbxRbjU24Fht1LwekspZyElhQw2v9paCF+iHwKzKjrqENVu+Yaju28gKk1I0mw2QgZ1IXZgyvz/+1Wp2Uk9qcP+Sd2S9ztnRkfk28A0cPxyY12JHjXxI9dzm5xO22E1Q3OPy2ohPsM9fiyYNbDBW/tmpP4rNWNNL0i22KNvA0YuMjz5jOrkSZeDNeAQ9EXPJN2Rc8LAkAoo9txKFqtmCOjMl9bG9XR7COWcf9PtteETOatApFCnmx35gxB9AyJJPblbv823thdbKyzEOA0DQOc80jzmNDgCIg4xFLjMwURXDaMOLeOY1B0biaIU4xJoWEQLwY3KwqEU5Qej27PPaoa5UvjlF21gD0BrKkNn7r/aoTnG98gWCw3ZbuW+bJWIkkOy9+h0F6fiAHWHLu7Qww6tzND2c/Suf9buwSqbdy6zWKJr+wrj/ePgNJyKleusBGEgUlwYfeQcAkHlgWfSNYeZJOjKb3s819ByAfqnpIZJNCi3eM54U4X86WutqG0qlz0ZBYEPImtgOjmdbnleuMhp9oLKpUfhKR9B0Y58pmQoS9dKUNggQt9G+kp66YfSC36V+sY2e6Vy1nZKCmNda1+p3fjhtmjjWoIqIsyX1L4SlN8tawjpvsnuxFgAFM/WHqpjGcza5NT7WtDKHmquLSZFe9WbVgu3p4OXN1c5AW69MvDMu5yfDj+qBNw3yZvS04kggeo9IIRzXIVeSGvCHHSFyCHD9XYQYZLSUoL/YaSKiT0H8smPagZTr+/a5Up+Q0iIok8AF2zsYJTRQO6plvxgDrrDT+jUrVc3pvs61SJmtecReQxG84nE+xlrUt+VRAVl5aca6GSwCF4TFE7yxU2uC9DVnagDt6RA79UnIGsnnEUZFya6u1UsMVQlARevImfBmQB4G3bFobFmj1EOvuBQo9t39Ku3QeU2x6YMvbcJX0hOx5jwWNxqkhcksLhTB731o4/AuKvrQgM5eaO9N93LX4Y5hGN7xHuM7Xk0Hb8rsDaCbqIyNutDtIX8Z6O/egOk3cMxtta/umWXjTdlhsOsQm1S90Vy+LNRzFZEHb4LfyWP7evX/HnWRepGJKZ3GKZcjYXWIXTrgUeqLx/WIGwEDgMWEm8gkDUvGXZdzBTsvnSyux1MiZZSX8Q36NgpfbeYSZCpPeDg4ustEAARkSuIDGsqdWpwDJDpO819Qf00MbZtY5xqB4qWrH+NHrxxET57INHRmoQTZCQidYwwI1mMVb9Z1qJMmdH9F8cIlqm6iIHIiF8bvriPWrwSUQaIUdRJeL6oQrVDSKW77oEwy9EAQ9XmXqJA83pjjRKAV8ACBx7+D6b+FIKeLsPFdkCT1hovmgLsUQ8shw3nutTg+yB1n4HMlch5GIj0Qp9uWqxxoceEGorfNg8IH+6Z3R82Y8eU3Go16OhrYvV9LbZPrYP8+Av1z64b2xb88mCc+0/zfyy0J3XeR6yN0QwLDBGuzXi1F9p1+c3wJ2U90C5mc2MySz4C2UigiMYMupxOvUWEWiV05udPObiQd7sWkalCgmg0H2PMnMaj936N0zhkL+nE2TqjQfD60PrGiHN4fOdRlw/8LnCrWh32zVGCxLgHKrNtgILmO282qcSaNr+b/00OHbJqQ7B9elMXBGCctBtN3EhwYf8x3TjZJlRIH22I9yWayWtio/S9Ntt+/IXDklwO5RvQuDM3r2Lg1jcZjTKTYysHLnKX7ZwDOP4pQc7Tj0qnZJ/12V6X/4kX9jtNvS5nw19e1cOS18SsQB6Jy/2wdwR045Ayb/BxDRIczA0h1AaCMiU11CT7sncSIlawMUyjao4pCFljFVbxArgN4WtqUPj4Og1L7Z/FBOM3pE01uMoR0om+V4vq53R8246zqzooyOjH/RknDYvwALJyeyrH5rLu8IR4e9o6B3OPQ8yZa7CwSAUc/SiFNAmYX9LmCedpEqlTvvatUaDRK0nDJtC0mmwl4ciRdAHW6Ym7CmyTZtVSMbzoSI4/9zMWZ3rZtC7V/S4+1vPCwoG4tcZGi0zKszqfPRs3NgpxD/d3vSH2FIqAeftv1VtM/VbZgVQr4RCR/c3e26UM8atV2/Tw9Sqi2Hvb0YXG+J/GapGKKjm+HjkaZ/yK5KYQIUUyU2G1lU+jCUo9TDcyeIexdWYSFJ1hnwMmWqgyLifrD3Jj2igX3Oy/ZRSpyYr/dQugYbjv0pG+bO4Mg+TBy8Clm+tBDi/Aj/gkqqC7v08Nj5/KrNv9ysbneO5YwFJoF/r5A4f9XzeLBt7ZFzBJgSQPs9IQMgzmAfFPEzjbi/iKGr+BvK87SFj7tsxkJclULNCbtJA9vQM6X/Oz1bcHItZLL02HEOAe4e0h1EvtnIkhbGiTm+dfqhnxAr95oAeaIxIpzlH+aO5XL+Cr23YXI0lCzpLPmumiEUoECyGSJatzfd41EQIHVNqH9k3i5OtPzUHOGv/lRVhzetvw+jWszrlqIxMeP4mNojSXN85ECxDkap74gTPVCndxL3KgkfDLk15u0sdck63/2LBYG4JMgX86jLmSYomehrFZoc2OcQ5K5MWGxGo6xLQk4G73I0a6sm8jA0Uf6mPzrd7mciL1w8X+rDm3Hp6diQofO2e3wlCvxdrwtF5YQ7cmVT6t9zJgVHTO+uvwxyUZdUtjOFKOCZF+UZ5wQlvfw08E0iQVVAFMWD2dLzJ2KEz6TVKosVfzkvyIrX/AF/s5eaUj5e3MtCj07uIZNxWlXNIyGGhQCHNUY2IfyJQttenXnhKXr4JLNOWaX1XFlzKWkkmB49r2+jpJoUg9PzLWXUVGlFsgjE51yxLd0L0he8su9C5hqAnUD31oToWlKS6FZwqECBjoEqyro794QZxml3YfesxUT1HSgdAX9muNQfWYolobLkJusAHHoE39iTv5dcZkDPZElvQuv7MohXi4XxKsP6pvTEVFTX6xcSQ7MQTsaqoGjdQ21FSVv9SH/hBCgoGabTZtxmfyY4lRUIozHxbtC3blTRsdpXQZ1BqerS8ed5OWz3SczXtddf9hqavUHbFDQ1zH5Ql7l1JMH4AO+GENNHWuw9Z/jtmy0TVBEstaAqhIVCnsixaxwjl8HOebrLRWaQ+Hg9QesEAKcm6RrrcWn1pwqq2/ICho3vIUVsvMemR7Iwnr15TRsM91Rf76rn1l5oif1zacnwr5KczCHHn5yi+a7aS4vhV5fBuk7UjfY4p9Y3Hs7+NmuOFNDnqDF3Alp0tDSd8rkCAC5+JXi+91tHWgr0JivruxYzDEHa2f54GOJnpLv1azgdLZsGevojNnLWarD+PLBcLT33XN97x0kUaiMgArcHaWkkhppFAgWDgWKVRHbbD7Sc6tUXUWmXBDM/Hiz5l/bvNS9eeyu+zMlOD21YROOj9PmELiuvFXj7U6TNf3pDTXc0JAPk4WHn2Lze2MzgNuyTskeXvqiBo3AJ+JWuj9qIUCJVYVWAVxAGOK+JkdCZu9ZMo9q4joBXt2mwvZUuUSy3GJiR/G/8SlxEUe/h7rp+uY1rRUSbSvgwijTpF3t+ne/HDyHltVsWVLX1zKBVijb1zmy2TTVwDZtkggl+G/MKCQz+BJ9VuqAjILPs2AHF5UZ4NlOiRAmRH4ZHFomSE4Yme2m0zzGoVGwW+p4vdtJOkGE6Q1gRGuO2g8XjS7LrFXmn1v/ZC8GR2jYz7e3PAc1myVrLw28JlmFY4RHIJoxA/o7uxPChuJAbcPKEI/tjjrqirCwPNNFAmPhQFV8yKBDX7FebfStPtBcoLaSwXaU2rRCAO5NDHB9BMOj/0WUA7EUxy5ZBQaPnf5lqG/XDMEwUn3ry14IDBV3IWPv9r8hKvsCnidjvHDmdXkNR2TBTp8iUdZSw9lzm12aMXeQDDKZnFVtRcoavQaWbe5D4ajB3SuiUPwOqMUrx9aZl6ytDmNDpoY7tZ9EDgEn+QUa2hqg7/EdaPJhEk+/n+FpyKBOCbNDgX4qpV3eYYw5Fm//9FgQiZcvD7Qmqmfl1cuzVfMeyldmiX8ZeSYWAqG6ra5KpG0cl4MQQwk/JPIxNOlhNYZXicp1RvcYAFt/AURAajb32UlINZhDhKPhZMpePRrMDZx7pvta2VrWr31klzrOTYNqefYIcAI4z2Utm1CXcF2ejLE7AjmYMBGgVqRx2Ehor51YZKQ3WxTckb11Ae4u/mZynJ6CgwiM1o/N+HigvzWFBTDqsvZiNTkbyqKyGlDHfLTk7l4QxwkTjDOLXsUOztzDECpEI72SToUNibbcjqbPmhxVgavMNZ61E1+rgF1KpOOBkM1bLtgyZTiD3alah/Nc0FdLHL4tjKZUDjFxxf85Pr9jgIpdGAUB39WxINzKVoIm3Zj6X74h0XV75bEOIPKoI1gs9+MRIMRXV3QWFxgxQvjfLsdFjz8r4rCMCTnyG4j4vIrUikCwzB2ICN6Sih/s0+Mp6X7hadqg1sAGTxqN7MK9g4uDXVahb1G1j14D3hGuoJTpy/LlfXQgiYsmE6846ROGBZywJtZwAIvEAS4mwiYGyqDuWdI6a6NNFMX2NYrKzg0Di61crn8ugPpqlpMT3vaCiGaxNVXxyfUUWxBowTaZUPlen6rNsDVdcNgFc/LX0flwa5sCTcNs4LzhAcLtofaI5uIbFkuRYP+Q+HvFvhmCd4cOhcYUoecWw4eF6xrUllrlD9CEHERIlXhz3DYOO3ndyRY7ZHkX/TSkuurd24XaE6pVk+CvDeaFjQEQGmPJB8gqUsCxernYwvL+9QXImh+yWQbQVgyJ38km/CgkAaU9IUEPP95Xhgfq2V0YW9huXBPDbXtmDX+QykbBpVZm37c9/7MkvVRwPn8BVLrtLUMW5RNZZKeXmqpbdvTCtkLavW0wKoFVT9JL/K27kX/fYffc3smWlwSCS824nkeOxW0z+12bM2vhdHexeI/FOkB24a0Ef71lCwi8aDgOHnfisi5YFf/XfPs4jFXK8cXlc2DNJ2uBJunbX6jid5gp01Mu8wJzG0cTlCJNiGeptsklh3SLQpNR5Gaf5Tpan1pX42CMbcXTYC59mpsZta4fKKHa5VbsU+pAWLrqGe02DIw5SUWVD1RX6ucyLwtdrznEhKG6BHr/zwu0miFOgDEIUqTiybcPYsHcYlC17HWfK8+Wn3QWZtB7QBo0WNQsyMQA/lxDyUJHRR3fuZa5u+gEhI3MChpZ8Rfenj6ASgBt/2twAEyxLpmu8SRC49VZzcESY2Oqgi9qExdGwyn4e/EeQlpJ91QHOcIfC+9M7Vm+Trp6cExOo/e/e2LQh5bEdcJI41wGbbjdfErvS+IIsLJKJghUkIliaIr0I8Zc51uhPEqC+TvM4GFjjkkOwCCrwlx7R5hXvP7/YwWbyDx4hVOBHYhGBYw2/lFBtpv4NjUi67rRSDT5P0TKXUu+Oix34BknyQF1TsQA6QxDfTPhG9/XQyuuPXBp4HanbnxP5Lq8BZOiUBU8+TO7TPTt8dGjuDrDMkhMdHo+/99r8flm9pL7NToabOc5Cuaz1JTpzek0YvO3eyGvgNbLV0T3RHq4uR/dSdCdztLXQ6ZYu7Qv4Xcop1Oh+aFx0SH33QamwSnU5ryDXZVEMfScRUdel4l3cavxh4uODyy8GsuzdLLzT8oulhostHRFkM9FWndhQ4i0ShqNjV30wcmXS+hPBzmSBuJ/ENsFPX69QnbcxXVlE4qkCXOA8ajHNqMPtBjIN6fvTYlN9+7rvmi+OIlxHolRV0T7/0dZgIIwU2givsU7mHymgytGh0a8S9uqMHVNoMhnOUp6XE9WOBUOPftL21J95xzyOz9P027uTJCFOUnMBLAuVBGaRNp1OeVBrnV2koprcZizsOBJdZIhdaazEYuGmM9HcPWwzBrzTVBGHz+hxtaANJw+OwVOusDgAKEcOTd0cerhyPKfjbE/nNcYUvCtdPxK6LdWxCrNobx9NoPRmuGKE3ATYRveubFxeKaneOfWvujHiG+aEKmvAJPihisdkbnJd5m9qYlMTri37vVceezl6xq8AF/W9BTtfAo8Ym6UKatztYK00HwpoTcL7NtZA5KiFBrn0Nm+YD18Wx9XpYvIA5vYpngP1ygWTm35SAH+h2oLcMGKd+p3NEAWYuqU1fFg1IoKpYmqYNdROvViEXUVd6mWTfYL8zNwCGRb0HmEV1x1/tjtzNTJ24in/iMOChmdYh4M8RVn7Tywqm+CCtxTsaiyunDgCLeObVEgrK/FLIQbP3ztbht2x8rPkGjzyiD1NZ/cuRNAKU3lqGnXyB+xsneYo5gj54FJd7RYJhoMhf7mGpnwmYJvMYrvqbJxdUnkRqvSmhEButIQEk1iav0wDQ500sBQz4uk+zGNjk4H1nCKqvld1NY7sigObjprzXhJ2WSS82imeHDDAv02WGZrz+A1M4JSrUmyut0dQAAPYWrHzczrT3DzNCaFDaBFz/0GwTl+Njh1vv+GKHYCwbAzi8SHka/RFh9dOoqJSlYc4MxQ/TINGp1RqlIndbk6NLr/Tm2NKYMr7MhOOySBevxu+KdYKVNKh0frUdZpjil09U/mlB1XImryWDDoxxsMl1tW2wZ4F+SaaLBkWa/SqfYDMkUXsC+920V1iE1ap4Znv+y3cNrXYzx5YvyrgbWaTV+tM1q/TL4kHKsIVk/vHm52K9EcK2EbZLfUnYOK+phP5ySPoDXeBjQ8BPMP3VkSDsjmtTkPs2qMjUTrK5vSa7fr0zfhqxu232IDdzdT5jP3rwu07Siya2IpbBhBOt7+3iQV9JOdhzlkXk7zn+NoBaRjKiF4Bc11zpJBrhKN7ceI1Z2VrirrOyyzdV5KlERQdIGmfmliVAcWGaIsUnY/fXdi1u0HaVvpXt8xeXEzBxezt1/t/cWajfum7P6KlCb0ydfD9O+n6vnYHskqwfyG65JeHDpWWorZcJ47rqQ6Ul9nFsI7jgfgt46qCjdSrrFmk14iRwaM/4BfNQyHa+xu4SHpygRl5rVdptHBGQmAiuaO1mfbdxCk1ZDvYe7Cd2UZ6KY0osGLAnsrux6Y9grSwcwGvbns0sIxsFrj8uvZY8wBMAuuebO2iSV2Qm2GXK4yX2uaaq5GYaApRCxn5NZ/De0yCKg5soZjmKKG6u6Ev2j9uKz+EUG/OoxiUGWrF3qLbEbapDDfsUulPBX/sdnpBXwvnKtsYCjNCr+EbNYsyNi2zzaY9h9tWkmF2+DTgaNLzlu4eoOpvPNLQHL3cedeuzlWKqh0QnsAAF5a3SfypFiSxi3hNxzkLn3AcQgqRfp6/GnyqX/lHUL8DtbBkTkkHGQERn9xzsoG0O9Olk6aVU0gbx2jATG1WvkXEvNPCL0wmVSLv/c5mlvZf/dzh9w4qQJzG9M5Klj5KDa5HdG48RkCh6RKiwFppfTzFrcoeIFaHs8fP/v0L7wOaXiTVfbTBxhLhz6iTycEciNfRs6FILgTA6jGJ/C5imWWLjf/ha5IpfqCKq3YQVf15I1PRrKLZJa6RodC4t7oVKn/z5QzN14sSq56m1wnsRp9BGeqgWjOLJJMgTSeoty6j4uGDar8rMfJ4nVzPYm7mQ0f5ObDxVZZWISnClkEZPo8zj8Mo644+3kpanc9+KnrjEB7rIpri16o0sJPueUI/c4xcv+77HmmnRMg6WwXtr3n7G/NV+Ckgrieh3hQr2jmRJpgcDAyVEkRMKHasf6LGDOQuFDnCZ+3qs/rZENNdcM3nuKdrS4K0z6AxSqietrxHonP1qHi5qRXqVhWNDyolvjdYKmWW5Z+jBW1pzEIPEFeDyTzx2nW8qyzcmqqMK3xC2BzWW7TenhFKP4f/oVuBn8nel0Pyp1TyaSEz3oKGnhVU6JiPybQkmdLKtxiMhonQPlOIfEHTbSitS+RfHJ8e65vM27ZfL6SMkP+FDF5yxDGVsJ5w8GEWVxAbrevAKu5VLwQrRjKvG2wZjn19opK49baJ96iVLK3FACA4E/gaWRLpWi+3jLOUBC/aU0VuSgp4kq3Y6CQJXXYaqZjJQQPkAQKiy4jIdpWuhWd9MEcwvGucZZshwEiyIk/bD+ZgGvDiw6xx6ffOCr6TbC5HAf39RnW3cvS1M7y9iQg6AtuwCO86N410iktAYLcZ7YD52HxCXwv932Scz81eIqAgVeL3UgRH2DjXSN3LW06UJV9MiTlq/Bw4dMJW49mgjQ9IX05MjuzAEQNXvIJc8w82VmO+kxWiwsmRxJsgYu2B2KeuuOu2jxcBkd8ghVh+fbvCHrTbcbIJLHSnVRsZnZCaORFtBYGLR4ZGaPGKOtb39+HTmIwQVefvmGas/q8v5P7vEsLHmkXfoCM+gRnZWrwCdezMlQjfke3KakSYsWjbM7oMYGM/+GphvL4tzXfAchUV4ZbwFE+wIbe/AmjCom1pOMIuSLKr/vRa5dQYPGTYXUKbeeWH3KEFv7ctgs+5+rG5/vOjKNJB0fYz6NA8fEq6DTbYTnIi6lDBinIK7V4o1bkMxZJRauxvPoSjGJm/efZz7oIKvFZrkqd/7yTrMr7UbgYg6nACjXFz80C6GPKPR+cEPXHmJ3R8reSSkIFu05fKS2KZMUHp81mQFFecUMKt6BRuba/ZXfuX5T56x8OiWJiUE35LEcYe022WEfhkjz6wBcJUn8Y7ZP7dt/B5i+tmXQO0/g9FozJPuhlqb8ojHotQcIYDQ7mMPMgsWzlqbdZXzpTL3fyMFo47ucupeK4StwvQUwYWx2WSU4yUjFU089AmXl0hkzzz4U8qayTi3bSaPIJ4xo6NZ7UlwSxSqTecdEuyIr1QneyMmX5u+ZR+X/oeWuvLlwM0C5/8YSIkFwqWCBRS+euiwsZoFWlJzqi4B9V09k3BacPpMYmW6k9XWXffBhnm7Jo/xLjvN/ZTt4odzmb2+4ZoBOqYwU6A/JzyEceWz8zi0a7dzckJ5rT2Sxm7EKagl2rrp+JdNNfoj91iOl3HGULmMNGEPDRKXJpxUrn/IsbwpBQLw2GmYqu+5ImQmpZwruEChqqy0G7NvYsaEAyOx1S8WsaJlAuuBrqt+MMzgfU4GGgJRlBol7KOEUchUVm5PwP8/66jPS/0aM7HAKBpHMu7pQYLvGwLwCdbXXI8fE2HOEt+l7fmQSDdZQFjcnrktGPqsnEsDl6ggXQzaAiZxMm+BZOvUoN+YZ7dzMDKRGkK+m28EtAxhPvLcO3R1mCQ8XcQKomHEfmzH0SkGoFd30GCZRpAkyvwJg8PlNOLsrt5Io8SPvT7P1MqUDSBEOiCnJrksI8cG/BIeLziCdmFjC8H+7bFmx7RkgHAJ3Rh3YLjhtHeVrCCaJccckgo4WGzWXT/vlq14tEXVXu8wJh3WqSalNZ53YH8X/QB1PnDB3dB5Dj42u4Q6iYU5ZiOBL7Dx1c8NaID4PedIxBN+41RgA/z/ZpHjgUYIwXNTb/4SWUEuHX/cswfgMgB7awvtBUa23TB9a+p1PLDErJdezgopCPBjmf3MFuM1a2Jfr+/Djmm5rkExzXzmjN0LKoqo/FJYySE97bRpsAkyuBLmvePzndOTTdPX+BvQKg6Wkyj39nLb+nX0k/2HuH4nlSZjTzlnuBCnPg7G7JtxYUI/ilq9O85cRS4zEFmg/P4Hhov3jHKsXdRmhyXpHuPic3vd5h2nnPa45zKue5g0auEJBiJT3ufZoTFs0xK5hYAUwzPKmFIQiFSscfcEH7qVKuhKWTZsZ3+MEak1NX7poqplD6BzJ7RJ7/2otDla2w7F7BBPdfXkczNpFzSj4ui8nLWAeSjjgpzTK6hSxatwoeDWCqRl0P+OEMrt5+HCr0QoCOieoK40jULEO4Rtx/swfwhdkOxPbCyTuCZbEN8czSsZnj25KPRkcluArckwWscxL0+uZKIqorxqQv6Ga51MhrLsc87ssmeM7mfWo8OYmvnp3vkQEQoLiH6nHh0Tvmr0YMXLpgiGeODAGiNGWfVhevmnOSoQgHj3zL4KTOQwdx+Ri+0dSIqGBmpdir37P/hwhcHUG7HDxq0uW7+r38GPgnELi+eCvq3JAFTmt+vNcpT1wHQTyWaHFhBnhei7PFcolW4N62dtHmeOV0xW8VLet2I3OstCkfRySg8VRDzmkVG5f6GKDbU3FfnCNH3J1QM5ZsNYVFAH/1GsDCA6ZfOlNUKHLvuYfZ0N5u9Vrk8u0ebhVua5t1JLbhpg+nBZ2ncStT3ZrdKmJhdSN2a/m7MS056zuSDuUQgYulbCRb7iiPLKmBzlFhqMqBVA3fImp6DBthSWSdJQsJYtlKseIV8bQMMhqXltvIv0l9EGvyB6LBWNoZm9/AAeGD0wuNH3GuS/k05bJ7FWH/gWZkRmOQO8My9msQnm1othhsu77t5qPWiXT4EPpYNAM4673Xh7HcehZ2Z96RwTsuhNGVy/fuUctHOo31gdEoK6uSr4tUoLqTuU7pDUTu4No5fq6eBRACsIqOiSVSgw8OSTe1T2q190GhY00CG7d2SjNoJR2taioMBwX33WIAO4G2qUY6qrvSt27m3hZc1V2Fgrq4cxomQ762Ka6Fff6Cy+CwYMwNymiKOHJ9b+twTsBq8fUu5uJ9TiZpLfSAMMfEOKY+GRwbdhq9spRbOBjVmvDfLEuzfExKSSzyLR/mWAsrcCNjq44KwCCOKftg16jH5yx47TtYCgoV/4TOqfJQZ1ueAE+TavHYFqkhGoWKSWMsf0ogwoVohVtCWkijQLQ5WBQYTe29j5Iqen6Sty2iSI+cyF7gF/5REEzRrqKSA/QNHicR2T6AUt84dYIT3+9JoFkGNlItvg47OwbMP/9MZ6B0x1yaXe6wpybca0q7MZFN0LBitP/3/ytGXBzvq1HfGn82pMK1aT3TzufJr/jPfkMEn4+3fEtX0leDegj5fVvsj0h+kLML4tXpWvYpV2CkKxXGpvT78eseFN1pTTKRTjLYsglA08HVQsnuQjrUAuHLk0809S4HKSJ1+cnh6PijDtCielmqDcuwUMgCHMDppjccV5dqiljcrdMwmpjBCgZ81I1w7Aza7996rrb2VbAduThLdSUqjpFQsbglPL370ejbmcebt+PieOw6jjcxOCj+YMzrsNBGwVm2fIfVPh+jDmYaaJ95lGou4IVeudlR4l3zMH6Ne2elX+lzlY6wlcuaGqNgvSeFFKow4CvB7fwSZkyXiYNAin3KfVBffakm40uUXH8mA/penycQhdz/bpBEflMga7MlHcK+J2FrwDvFunc9t3L0Qa4iYnl7M/iSsYnOQpjE8xoIo4pJkNREki3ZUHZ8fpScjiNgNw6CEw+VzAOBIEIOlr1T8sBGaMja/ZKaGKCVXscZVOgD7YtxUyJOP6D9IsY5x7smMRTtu5qPYoLCJAqtJrM0Jnr6YcrmbYXK1YE//26vt3UbrK5V3hj8lUJqu2GwXI5f2VYCBm+toaENoRF8JGBk98gtS1RptWVdM99+2qfQyXZA4OT6AQXhDRuOnZGMtToVmmyNmYaFwlngiJIUdOOeyhK/kQ/+GdrRNlnL5G9mDOGcHs14qe5HlTHClbkpykwIiRusZXs/GkJzXGiIkmuDqGY62gcHc/g1P1Kd87ueKIZIulG1dZzSX4K2adBtSlHBouVulujMEqle2Yg7Q6qNfW7wxFxr96BuGM8RxKfhsFP+s0f+clWwXJmDXIqhbBUdCFS+s5MEUZgHuXM/ZFE4tyj9bijKZboJBj5MQXKPIX6ii6YgbymoQnoYHQKENbJ7oPQv1u69HbTuPol0v3zAEdjbAB5ZoFzJQu+xjOvDLrqrZWirpE8Vu8Xr+0ePtQskgSvmPBwdg86Hg9ZQnnKdIb8eWpkqLkOPQ0bkzPhoWG8j4yMkWUcee9duF5Fq/LdTebpxdZbj7b7LnbLqjDZ7RClaX1EiMCbR2O+WuoLbWMxiXEEX4PMdbGWgt9MsOedAXg54Ovxd37qBXrN2HJ9HKskzXS0sIT+/Dcd7epsOs+v+arTK7U1/7ClXFpCk8nEAuVKVUNtErlrhuntAN4YgxVqDZEtRsAEpvQZ7hj+LCZyu+woXeMX94pRuODDKKtmjnDPHVaK8WwM7v0ed/TllxRp7/nrACYsYZC2lT1c7UBBPzB6c22r2nRUcNQn1zcyTefkLjRZp7ork768xpi+yLcoGMG9fAJDOCcx5b9XBela6v56AHX1hKhL4N3AN4BjA6bkxNJz2C8ReD2HLzIRCTqAm5+zjVe68689rX1Xgy/NPgijiBv/8XI9d2MkK7P/mupUwMNz/GRghlGw3WixT1xkgCq+dBU0N+S3g6ddRxSO/hq3PQRHapqWL9vBs92cq/o2TYHpptDUuJk0OkyhIsYWTOIgSeTGLGj6MgDGQ+ZSLotWGg/OGjSmTum+OYpqbMrQ2vVzsMXtKbACtFCKmH66NkpJbmzqnDwyY/TB8Ck7KGWQIRm/FxlcZr5sj5hZkEpJpnmVBcwbBSUvFM9o2nXuSU87mzyf9ugxjZFQGOOxvEt3abOd2FJdDwBglQJOKgVYz68g++3YQHvFhjoucs5dJNvjXzfGKrrOhTYjHzSNZ/hOumQGNNEbGF0I38JQORlaO/nvVS40eJpDRqFS7nl2F91KsX4pu+wPFrJcKnL7mZdsBjhFBq25gD5vNbhYw07TI+qFE29VzzXJu9HZpSF6dVSgOR/vkpAinwExA9CB/wTPxPOUu1Y1HFFll59hkP/+L3v0cTufk3ypVAOk+nUbjgTgNcs6YSxSSm+a1SkZme1Ij0OuiNGfBIOQ/ST4H68Glm4iXpYox/LdE2OREhGRkAnsr7Hlp81TSocuGF3SR/UlW7aexcGNqU8jptQBq5sjYzdUy9T0emTRu+j7qIkCwj7fX85L5f8t6x1irSqOi95BxEBZeaXHgrAvrjAlFMndw/dqU0PdAtiuyWkczubccf12TR0dYKdVdCSRY8twip8isRtFQbV5SNywy457kQVZzeJj1TP2GPaW/U8c1Gw7/yxa0WUGBWf2IE6rBxN/Q43H5OIaJsrkD5XDRXCN1sgdkgYJ7g8mgjQ5Vn+Sv1UKHuIRkrenwFEJfUrIfNHDpILnoYuU6IJvQ95SSDGTbbjwHD3vSKrlXViIV+7MYE5P+f+cyxv7ps5NWa+qhI4/lYIaCj1xgmXul+Hzou8ExI7VSUqs+n3vs8hnjh3cMwqjeYF9hz2VD1SNGJNrwyq4NXOrW8QhgBcWEQAFoqWs/Nr+UHIOHDU/MyxvcQmys7uKcgEif072ZQxZukU33Aby2XU4uCXaqPShxlHWwvQIpNXPXhy+N7MxsB3qbJBWpO8A3ENuD9QLiiFHnrdHY7gIZ5BqwRbNnt1nsW5lam2ezj4r3Vqz/oVF7pezG9JWu+x4zfedY8i7r0ESMiXDWjGQ1f/8QKBX3J/DkF6AaNKWVPbENXJG18Fe0Izj8DZoBiJGWugdrswVCM4B8hWZtKVpJbMqY2ocmRGBL6gfUuOJ05waCpqmlJINiDcoehnRuuBt+KVCDsOeWnMlCrTMHeX8axM6YZVIRt6Atkl5V+1gxfEVsLyUK1dh6Wiazt2vzZAl+bFdmQLh0gQMFbTLleJy+g5XRYwn8XHFu12zCAjxpg5Tt8yUH5HhoOouomalbB+0u4CCr+yQD4ZuOFLMpBn7pFIP+MSLvixQUpTkLr3URZ7x8J0vFA78mI7AZWlkLgTwvQ1SxY2yx7dRS7G1B/uDAWALwNCUq5cS9DwjD2qn8bXnm3tTuyJvn0agyut2g3hv0RcrFJ1v9m7svMXO+3q/hlCIVDlQ41wmLL2nTfp71A4Fpm4AAaV4SxqnG+RI0AjAiWMUaMTx67bCKhNBa6hkSBQFi5gJH9z2CCUF41t67BS4k4oqdvXqutMYdS9vvddNZV8XBl9cLWwz18h7p2uBYftpBrYy94LauFrukg6wAgn2VWDc7mIMkzr0CJRnhR+xneVZOmGL8BnYCpebvhd8xVRb2AL6PGWCMnpaMXl5aaIwdGdyQ0ZgWsUAq+oQRK2xJuQm43A9a1/NUyKz3Y1LLY4u1li6VoP2orZ3f7m6AsZgSj8VMk8qFVVVsnmrk/TTfTz+vbYWImOxxs0SttqQMi11LsyXnia51uaUS3GgCMf9mnSKdeVJwNmfzd02lV9+UohmD6zuVI1LcFSiKBbMGRvSUop9kJPHeCVQsADCahdklYjGQYcgcyjxof03GgKPX4/9il93WAtqS39c3fc2ZscZrWX12ndoHDfZhxeTUNFbvb0W/qyBbr/emr/f6PNnhrWORFO1xJnRLJCS4zMMvzeGIopbXPF9GBS/Ht41Dy9qz2j7aPfzspR6xz6odivWz37GkTv+Ec8E2gz0kYNotuFUrdQ0YccG9KDrXE3kBHiAYbDwD1gtsIZlBzEC0RyDvC/KiOHUQOunHRsTRK12Np5gd9DeD9vghTXjM72Epd19gNeXRXoTC6LcNaSkXNnd58FawpRlVJfWDR5gO1sLHv8u3RBhbZgIr9blhUjIMylYWsxt7Jr6B8YN844JWWFocMC8U7xPxHefJxCl63YBenE7Cpsf4bAZm+IPS16TxMpV+q2OiPyDz9tXVxn9saGh29SFpdNT25d0JnRrgnAYeLoNlZFJ2BNakGXFX0s6nc+/IrHQLSlLsZb9ZMgbkioiQoAeYuMDfOATaLYjDw7TTdrDmm6Fu7m05F7358hmtWHGVkknE3S0ritF12nMQcJ2fDTvikf9t9GdnQB+XW17OoOS2OFO+v8w221Dl3/1qpikqZBBN+mDSGkwjoG+acfSEDlY4+4MBKeOQJh+mEm+GmCC/LI8Zv0riSy3jfrQxIa0eLzc3KImYpT20fu3bIPdd2KnDydUo6vWf/19PuRl/F9m2BhstH8/pxoMkAtd5v6Hd5lzx/052J21Y5wpoT1biOmXiWlc73yUOb1NEmNPj7hMYXAwfLvpLc7egm5/BGotQ5drb0iOOZuh8OBqjzyedlNu+ZB0C7OEFO1PDALDo4MSVHtO6EmM6maUbODwTXSwn8H5ZIjn3oOKsKwGKfRnBvtkAICD7YYz7lM25HWn3EyehlN7ethNBulOFFZg5DgadlnArY2mOEGDfL12sHxA0LYGyShvmSOEZrCln2Vq0iGslVXqbWFOAz+slHxiynHzrknLr5Elq7cHTVX3/1uU9rWv33jhTo+Ocd5IzhaVez3OmWFzq9GEykbbxhMMYOU6g5Jr/k+CfbRMsqiG4F7SXLlK/WnftU7xaKm/wD8r03YowZqSbS58jKcDzgz+FNUFON6FeCtLBDkcaetjURoMNfXfjm63F6cRsvjfjWU0h5JDump4W6ybqVTgrSOqMlJGL+MxavS48pUwu4+iMUbmRxroIBtyPrUEo/4v8GyV9k0GLHNAfK29P6ZX5b92iziIB2Mzc4lgZa2dl6v5u+wVdHrWsRTwNVGe4qYR4Kk/bYTKLTkvY1SWlQYfNOA3qlSlU9TZStoksfaRYyZ4NP2o63UiwNQgx3+0nN826CYoXuWnPgZhAWeVqYY4+KTA447Ybv9Yer5GfyUvOu3g+gzg761VHA5Zo2lTPxZagHRWpVxE9hB+97wE+rPWJjzCMs3N/i8O01ZoqqXGNqbZNZqz42+1b9BXoUWh4o/9Xxab2P0n6g5ZGenjIz5/CsxobeQdlEwbufhNz+TxQ4Pq2D0Vd5TRqtohhLMSlHncnzBdrPSth5tu/iD3jRDOJZgoy7EbDgdiMSZn7wB8vbs+xwaB8LfkMSD+lSWfs2Su0ybjMtjvygLJFyuIKqkBUR78SyPWX821Lo7QRw5F0Rd2kCMf/nKHTfhKqGYU2bjW8zWfDVfSzzt7/F8gv0Pi/xAdpyV8Uc7U19sKhRtb6dW9xsdQMPZ4WWvrrB0c21QufdMZwQNhYtaqpNtoT5iIM9egnI7Z/q4FSaD5bvIVVyaljYFChr5rIFtYSw1BPUHlbA3EpgvKpF9knzkl7HfHiyG03Jk6Ar2nJkiy7txn4LJmwacPwlPZo5lo5bDeZVQQtBByrIjXy1mEMaKSeCLHz6F4CT7W3VwSXr62Kcdi8Y1/riINmj0YSvknF/ro3S8fdUjiU+ivUn5NS0oGVAezwG2Il73vje4rt6kICHQmMh76DNBe3zfT6LDHzkhN7crzLBAk9YglPBb+UdeQeq8DpIcvvfdJg3+nrPCYbWQOQm3zNp2u9vz6Jo3hYkFnEq05aWPJe8XlIMk2G5gQSEjgTvtptHxqcn+LmcQoyoBO5Ougy4k1/5qZAkrhHJnoRYiTvbQ3L2XynsJxoUGwQluIf7WzXlOGKfv8GN3ytNu/xAShDczMVfUYLBeiT3qwDqNp67cOibJD9ovPD6ChuR4n+FebAmgCgGWRsgopwedQBaHSdxDEu5T8vlqH1KAV5RRT137g3/9v7LDie/7TUxofajJT7MVi1nwX5aQjlVM4bO6OqIC06zMV4dD6WjPRhxo5elSVL7at8ko3j9ujv4LgQCQG037qtk+7yNJbN6u3Q42mJei+tvsInpAFUFsKnNLMQFWGpklQ+B6rUxf+e0IP72j9CzFBdBFnWs5WaZMaD5K3lN8QDD/a78ngOSC/Y6bF5xiTEzyS/MUOb7hlGA81aBoAR9/2fIBDn9a0GkbyK+XcJA21yf8ER2FG1ePKWkvyOGrltSq8W09QgHPVEJNkjJ+lHAYopUSqB5VK2qRWLdajlkzFIn6v7ptarSn0KfkcwwoOZWpTDBMDKqTR5gZifugw5BNjRdZHCliAe1yVyGcURJJpgZHPcL9OTuj6pnuowPh59wJArJe8ZxGnLf905NgXQ4Lgrn9ebuSPcp6F5prZp6R5CV4IVgCF8iYF27+QSkuCzkAyppMv37Kl/+fyJ0U2QvuCelhc8CWta/5qaQITz8/tTHiEtdOFoXvuKniUteLXoRQ5zBRJXm6pWBFgN3UqlpR8AQJPJvTTetYGckgm7j7Z12AS9Rzj2B81SrTdCEJ3mcoRibfTdtu8lZ3bMrWT+QMPNbNq+tK6qZueL5e3j9GPAYB6aXX91jTizHAqg7HTv0e6C0aRLT49UK2DZDVPy0EbgJ6vP/kkfDIE+LalKqC2O2Z4E2tgXWSg/QtDTcjTwnd3KiQCe2wRLc2du32o20NEOVBSCR8muSdjLEFZe7+PvRZlu2sIzbRP3kGw2S1r+KYNCcpwv6PjvjCnzF+2z25stQ1Qu5cNNdbZgtg/YNPiOkxSBfmTpcON1oHYYIgIpQtr5MJ7Zr93spXGrNbCC575wuFqNGq0m6cP5WlLOMUUv0L13/E5SnIHKcIZ078l+EL7PZiqqhBVU6j8TM5bSaUbjyOnGSUUAG4rxci6apPQCGICs4cSESl34CjrXLSL7/IFPuHntYMI/1OgivniUua/RBDs1W0sidmj+XwPVCE/VPDdUFA+6UA6yAq6fAcNhExVF1rLRPNM5NgCm1N5S+5UtjRWe4Bo18uGHn3t2BsM+OptwzGRK6hksRu2HEjjOX4gttiqvBRKwFrHdC4y3Nt5CtD+k91qncIRx2aFQV6fzDXAkD9KgaS8DaqSyZXFsOh+ipSZnFuO5gevoHVjYD9scxex1TMZO0UDASvju0Yv1pqV3yXNHoAnm4Qz5ZPMjuWb+2cXUY6RsIP89USvDJWaYO5+nh8R2wzlvnc2eZNeAAxVrCVe0/rqRW9SqrE03Z12F6FBIxs9DnkxuGbXzTrs51wOVLH1l1nVTRTuzYVxjGqXNvztqaIOhkfDM3/oJVccSw9lXiVfxwRSDlr/6PUT5HIIHULPZpOyoZQcaRvJ56zzucwHmr4OjNQHY3WdYDBmspYg1hpoZhBa7a7BTKhtMyiWK7x0k4veOi3VYfUut17OZqoC1cKmtaPcNlfdCB+yt8Seg9leISxS8AZAwGPa4X/akEGBLDL5QLD4LuW0AuzhveKCyz+5UIxWOmilOFX2p/3Uh3jFbh5sO6tj2h0JND9K+9O2zeKlHvSok/uB/7TEsiqAyFoFXuZemO/YYiE4JALhLqSFEP04zWKXXZRwRb1t3YORvKm5LKLudZEUEVh59bj5HrDwps+PkO1rWRzAQ9YBKXufzmURpd2Ebiuek0h8rdZwovDx6T6GT51kDMlrlkMNO0fubuVnv+jC+/rvXLjtpBEAhSoENlaChA+HQB3VBPseLnPe4qZrPNeIukGq2o5WcWBsL/IZjBZEHBmj1LEcoen353iNn8b17rXVApyoiPBg4pEhgnQPvo/NNVXKJ7AlOoNP7YD1EQ+SinoaqPyAwxyW56MT7nsnPdKFOY4wOyyR4jD0jiMEFxngqac5rODUW6jDYaK5xYvbDY4YXYubP9sBuPQZWqScI+pcI7L1hactc3Rv+dkEouOa42kKwUnHGsRkhA6tb1vZ1nVg1zkUYJnuVNGiWY+IozoOCx3kOKpbkC1dOpaMBgqx0gRjUzQpx1tViaAwkrOnD+Nu6dGWGHJdpjW8Eh/Qk36uWwbquve/MGcTmq/mAViM0VHvBb2mqqKMnh4yBdbU7dWS2GL4bZHB8eVUD1dtC5P7um+mu14MII/W9y9KthFFWQ+Ivag9ltrB3FexSgIyr60rrQkbdA+c2ZxaAy+ZFuFMEOjEwc2qPWqN6FMKbrU4tZjuF3vdBcKE7gTGNS5duignMle5YnbqMseD3Fvb7Z0Ptw7KMnB5V+Mg/lJFr22meV5qMSAMnjVUcC9qgh6/NAEj8Z6wDmVPd6uYdhzVXEdkftc+evBMdYFt4yO6R++Q/ARa2UFXkT5D51e2k7+QHaWydSNMwYI30cDopXpMuJYmCsh7cNo7zvcWj5jo7wQ+6zyPapJ0qNZEZsetxl+KaN7fx5x7SaPRjgyMEF9Zye5Z24EgH1wjsnln1CAlPD/tRuYBOo9XYRm11YoLG4nw+XeZY/JY5fB4JV4ig5wCJV2df828f4Eu/KGJQBUU/dqm/jFCq8LdXc3jyQO9D9GgrSbg+8HZlg77eZBLHmQ42YXRtQFzIGuMsu+T5bsPYWMdkDI60vihk57LeSV/8wxrqADwU/k2z7JZE8b7G9Kuk9hMbGO++HIT1wH0brWviS8i2T91sBKI+r8u+8n9QHwUEbnvnQgysVZKehlnZaD0/Anm0sd58CtYL+ECIkrbh8WoGoRsVMGQwfwvlQLE1nbiZ6InLBvrpVAmpAUfa5tTwgR7ZBBcyFLcMYsP/grot/yv/iWYSCMNFV6PZAyCZKW4ggwnIpBmir2T/bOHBiaSCrW8+6reFlWWUCvbwup0DheT3CU/nUBjMLDUPWy5SN4WtUg7X7McZSLdDu8Sd0B4r/y9pMAZIxLxyTkhvuuo3CEE4pCRFzHwGpyvxRzVQojlsoe98V4t7GwDKmY7eRYJmQOWjmA47dqep5zw8WvnsDZTp/OavW1eu0OhS9EobrpiW4joK3x7ILcGjxLcp3f/76JmdoB5sX+rI5xoDa1sDVUj1xCVbtJHBlmfhH/e3kkPscpqzO1dfk+mMEvrLsh0xujd5WBVBBbcRs69dtlXYWycFTy2gef7sP0PbVutTtpzvWfzcGnlKcw15/99huRTkgik3PmFGtuFO1V/d4DdyZB09VnNfUNUyM16pFe/N9QQCul9+jr04QnTOOy/ildww5Iksi/3XpYiSq7jpj2rDKds3EuZGY4O89Ny0geeiwD5nAJE4l40lW5pRIwU1yyk98ZhmyW0eKwZf7d1AuEI5XnLwxbiR9RASuGU9WTrr2IvI2qL2CbUx0cOuVhzc2ZuOKJLTnTW6ki3FJIrzYgUKuYgmgvq0cVWTcTT19wojcyTFFV5GokwLvyawhwod15A0Zh7Bcir5k77XDBpJfAA/X2cYYANS9nNuGdA2F6OwGOeWk8PfxgCG1o/et3TdOInmTTnTO+WEmovWQpD2i1OIbdoxZRFQpKCL4gXbzQI2Zjl1JBnL6WYA47RibOksP5C5/78JlOCkc0c56Kpc+zsE2rs7ocaAWtlDNrIOzRUTR7HbJGTp7rCgzNS610m5rhfO6C0X22XucVzs3XDnRweFRWUzb3HULnsfGjHmm63TW5CKLWJGKqs7dJjXBykNH09se7EhTndfZkXUYE5ZicpqZnoBJ5MskSRSoAwWPVpZEPyB7EjxzCQYpM1j348ecgu7H5x1KVaJ6UeMV0yXzQg/OdMT3oIOlwJqQ+zhLA2BqWvyxEwkdu2/IWW7rkl8426suIRrEUeufQibVCt7glIaUyuFlShn7FeqPKRDUrcvQJSjdQUw+SujZvz8ta7PwLWiUpuji5hGnW0XgsR6c5eoikKZ1d4R4w8UwzAt96ZG/9vHkeJFP6mTxQOlKeCPJs/ExaTl+F9oI6oz6PkQRk8oJxi37JY4c1XXrHqIOZ+0e1n4wg1VKbUNy9nwYPDQDlmAy8nqXmW3Hnu053hoeLOoSopzRkn2lC+KBlXqduQbMqakTHEftsMJTptCGrch6ELfu13DayxZFeOqWcWE/nvGKOSjXUUYKmg3g8lKoU4HH/Y4PwHueC8fJJpkiEyjXwj2iGx13EXpvVsf6pZM9gNM/INNI44+8yLyGH/b77NomFDkeJ7DccCuui62mgV+ggvpkvH5EXmkzqnzunQ7690vuOjofrQg45AjiSR/SC+s6n6nhVFbzPV85VS8ZdSvWwUJ4UUbVlSRyguk8mk1hoO+QO8DxHWsoVLN/+DrMr1VUkoCieJON+DqlEzFkoi5nY0bWQZKR7dqaV2qge2Ou0+dR85zIl0OT0I/FQL7OFJ4rUKvFKUCerZ5V9H55LvsjN9AXjhkH2SSsTpcvrnIqUvqbEriea3uHFuW2a0coCeMVRcdXAwKZzFXG2sOcWWrr0tXjYQtQQRwyFL2zV8cWuPNCu5PUPtq3RErhemq0bCDA/LZUY2qZtbw+oM1d0uhfYNlEfM2Ufpcil2bmg1WD8DOsWMQ+4akuircizqd3G3j11P/lc3iHg/4sEZ0g0lXYT8lULL0kX0MTTaHZm9eG2bP2RPzQmGharQt9eXLAGLHBaOx9ZeeXzM+t4lgFZpRByqVdWMqjE9QkRytrx0vsOgcpJN31W4AWFHWQpCp+qKNTuAZiyh0Rn71lR4jrVreaPqy1j3NjWdbMcB93ZqpAar3TfRiwBMKEe0+os5HwAija/7YZJ1CAYl7o3uDAmCobe2kPTukPw+A3VDKwxc0jqsIJRHQtSDlueLw7ZsbKfaCaXHA5d8fmOuUHzhwpG259Z+tZ07ebyY7AixmGfnDQw5zKlnlxvOI80N/BwfuIHxY7LKmv3+KJZ3KDtmPQID3162KHzFM18ZI9XrWkZ3Yq/WtrF3vZ+61KfsqKVHLXZBUozYNCAkAr8jjj9sssb+9GTmI8aKaIOPXMY1px34rjWMhBkExmh+RRmAM8eflK5iU2so2d5pQfGmKDKbNDqFvHLf4E+uVZ3qojV4GwZ7yb9Ke7/mh/Ww6k8ANToQUEW0C+qo7ft0QWw8AS9CR9Y1hdDFT5MKKvjh8UtcjkLTNpIsNR5m+gMtSuRdfM2rWOB3jBYXXqESBeQIObuHF/q8BztOsp0KlueB9HdYNf5WCO4nYrfvTgXM2Ouk1aOkeBsfaQ9i0rqM25iUKS4MFB1P2aWzNZjBoTsb1QQu0UmyLWSlxVziJkMou6jQgahMmc+reyz/hqS8dUK7DX26vpJt0u1XuIkxTZAAVlb8OLjRJVPbNkOJ2FrZ4Ydu1TgeO1kh9Yydtc7yWk+NaK+RpxzBRjcai8ByGyFY9QzyOBU3C3g+tjgXSA+QMEWajkXhI9gmUkSU/z2+vZB9WvzlR3rOfogmy4iLHoc/p0czoHl/pCUqMV3ME5zS2WG3XPChYQzDkIMKoBOr6lK04ujPE8/EhlkFUrJSGLMNd7kI6lfCMxQbp//YrvFzvCjFT18uF8i9j9S7O/DT0RCjV7RXl08rKzciQ+ppY3QHAA/BSt2EYCsdAw5aH8DqJtxOcghim5pP7ves39MqzU0ltCLQlsssEWb2pIOh6db+zxbznRWnEOCkeY277rM3SvOP/5mjF8XwYLeAP4zQPHwcnwn18upTDFHK1rPY+gUSeQfmf4vzVUtGJTlijkNo6dsm0/qfec58/wVKFbmvxIVovTnE4be7mVAqt3VIiaUN8VVH86oyEpiJJ56x3NRo93u03dOh7ksypBjSXYoP+GmWaNmTvdyumbF/Xa4xBFGkLzU99wdV/NQvDi/dZZEE9DwYu3s6ZlRHdVw6t/Mcy63Wg4119zaShk0UZNfENqksK4cFrieuAuzcerakgwUubQWRBr8CI4bg7av00sErJhMIqa+D/3n4kIWgP5avAccGD4mAt5U7FvT2rJuszbc21cWC6OZgPMToLE3VpTntJjAevAj6ZbbMEV82vUwx/opdCcEC5pFqiijCUq05P6VhBnXJdGxzVffK/FztToPXqEmsvh+DQU+VVpxDsk77qikixzqwgndfvoQxrrIGUzdhH+Cc/03JsyfYM9xZPoWTHEEqOA/nCd187N7wIaXJzwmYvSssGED1VQPDFZgPi4QCBx6TBEnXy1ux0CdiN3Zk7gvLk6U0432whuxrASUlMLFuzvfzqd4u3w1FAvh69pgh0BnEfsLdFsHpMNhAXJpx1z0qpBBgyhbGujcMR2dtl0IBkd1VzOYNSdr4iFNN/6hif3nipxeqQAEpfBgQGCnrWMDgA+Jna90PMABh3XuQBqvHGn5LDqUeaS0flIKnwOvcc+Gc2l716eIheq0BUBdSaZUWIv3ogmzQc8ACohwU3EeH7mR81aAAn+mfDQ4c/Oty2PVd3Qjk8jCU3XNTEp1E9kqtaGwoqMVfBkBQDT2AOIoU9FREP55Voq55XVTXGFI2YmyAfvDrHYacIRGhDhhbeJsfzI05jkIL74ejdRqkZgsmf2jeac1W5dtcrOn5Y/H5NwQX5UnuXxUPJLIxcEUilQZcj7wR++PG6JnTbDDLo8DD26OxXlXmTO/f9XAq1PtU4UK496a2dZskeUYs3iY5AYqodedWcdrei7CBDZV+ID5ZPqIUjQOJYs4+hCvFqjK3xTT5kToe6wEEkPPVgdZh/VEN9mLU6hB1R/14S9IBNWwrvF54uz5a0AiMtLKcxpfRfQVrXzvV5jFVFIVAyiVQY6a0lpUWRKxtipr7nZs+JHKqd00lJHCy9SAWzSTqUpkIwKabjvafEE1bL95Pyt9NusPvwm5iNYN485xG6uySZLl3jpilkVO2RYg/w97VoCI3a89y2q3nK2+pYjcNXPauFcWRvzasBv4PUn3LtQpFc2ck/norUJZUMMPi350mPZLLLIIxHBRenx8uaJwtnfXA6fzVIwuB/jsO/p0yzD4Q7cUMzaT6kdu8KWVDJjWNxGuoaI83YiBpbuX20+bFuPlK3bcOwqGf+OONlQpe0XGobtE8UatkpJUQc1FT1Bqssa6efIlXBH50InP/1RTv611tXDI9C/z56Xih1++qiL/d7P36K800/crEUZeyIyW/xwDhn0Qhq0Ql9DXcItU42Zq+9DOIKmEcvuBPrn2UfnT/PG3Q+NGiTpNLEpiK2x68ffs84WmA5JwTVmCDY/1WsJ5DpgL4HuuLl05pWF+ZxqZk+ltvyAFBjhUoWqIRSzwsWZfaj8TgYun258qeI0YGK/woJ68S3kdXczdTl72WS2YlQdGpjPwryXFShly3HlP5/owKHilK80fYpP6tpnxCxO5Td0PUtn45ZEVQ8CzTdVp4n6czL1lglSds79k+uv82s+5N+g8Ako2ADYSMwEX8jJvLjxpmvBB5CGD/wM0I6IbTxdPizH8l32rsP/qjAOajdGXEoqd8DMVjDCRyxjQkuIkOyST0QJ98iIcO+5y2cXmCY0fixi27F+kxauPH18B4SOIgQhI1OHgQlySVbM8ZK/Gz0yhXZwGwvDpFDGzwG9nixcJk8gxFKED2gtUHBDEy4ftEdLh+LA6sgLSxICuKWa4Bew6dIz9kH3Svh4SE39HYE5JqdagHj9SQQeWMnveUr5OhlNz1gJ1c7yE/xc11IQDSBsp60TIXNGMhE3+P3gNrIPPfRdXiYcsx+eZsHFrV2dEkrEg13nxZtsxMfofjq+xK+B9/vTXBW4451QQt6ZAKQ3DI2nU9ci6ApielkzkhWQrFH6z75yMDchDUMoS1YDgEkCUvxK1kzYgQz7JriL8HxUqSNjufTKr+tLxpKLV6Z9AciUtW+NfRncy1QaoBg1gc3UM67U7xalD1r4sbeLP1h4hmSAZkQwDRKD9kjjPGAaHcZEp5oouGSsXl9fti2y03vU1VtOqY5a/0YdGtMhXZKdss2tbrXX6lb9iw2EYhw1PIv9UBjWJvwmro/O99klTNk2GRcBlXo9+dG1rbBvhmNFEJavoY8Bsd59Kbdrw+UqWXEglznj2hTjgFPCRipIoFX/j8AxQ2naxMj2SQJ9KZYrRZGJMpC72XOT/EeVhKqtGdumXlesKSStFgD4VyB/LJcdLTCZS4qygWBgJZBLIe+PybOiRCU4/VRZC2bYnznvhC0CcZYdIosDQYOy0+dSulgETerAhyk3LsMV5PlhIAd3hFzrUiqkW2u0xNkU01yBIxFS0Lb8FJrhBBBwEyKD39a0yj3ZDYblxs/Z3/du+4+cilLwfjMWn+JykruAXe+LmYpwfZO5oFLXPfl4/LD62mU6Z3ZNfKcKBa6+BulekKCo6t/Ro3FBACN6Qzta/jQ3jEwIjjFOguniU9iXVTdL90h5RQfEsI4RaTAtuiRQAlu/xE+Kqm7Vv1Z5vttBPEpqSRaYQEjlbLvG1ZUsAKpOTsEwT4wOfnDEPba+9XKt9SPr19LmvV4txit+pwfgNeoLRtFWhB5Fp2F7rKcGwBWFC2FlteOgo4Tp/vKoYnvuwOxpCzkazEr+E68mP2Que9oXxGKVsFOjia1jCc73NE2PFGdQAH4o1YBHgiBXhJoeuqMaYMRrsF5x2haQoBLx4Aath0KPT5UVvaKCi+xK8Mu7W9Uqjt3peA7blfcVs0P9ROdP+8JyY5GkaoMJ1WDRngj1zOZWB51aWn65RluEymip0QBsJtXqmiQcqtYYxh3zV3E+qJCgBXeUbD1Sf3k2CDKd072e7FKgFy6l+xcMVWdxI8qqR/e4hu4OpsnDQxh8HnjnHjoNzMjjEzD8vRMwc9fxh7PcdXZpUCg1gn4L/XiDgg0gH1koorAUlfqByH4hLIr1+j4c41VIlOq6/BH4doV4lscBwRfsfoO+iv3+U4exoSfRdZ2wcjFNmzvyHDzpmVWa0A91VqGdsJy11It/UYQVdInqdhlHAS2Pe6bZC8qcCdqp/TZl3Fow0QQqPKpy7nA7I5EAs/GrhI5qR5fS7zu1GSZcpFdZ/h7EC791s2f1l0HmIdXx/lHw9ZXDmjxCILa/mhczDnxyk939opqpwI00u+RhKvn8hg/DfEPzuIXIpOuQTK3/A5dQAViQnTHutL4JeS9xyPs3Bx5Lx7Md6AERbzNvnnDE1p24ogQsPyMSsqmU9DCv8T3UDJImsfZ9PM0P/XNn5ysChTZLx0sDXYnKw4U9al7VMVsQ07Z24YWL9ZnOJfub4z1u2lE/8GckB6sE0hzzwrD7WsDMe2Jk0ZFaJGEXq1kO7hkaWm29GKxUlye7XGjmYOTYcywzlfsg5eAWN0+JAAXgR8J1b2wlUx9CRA7rP1GWfGS9VWpKVMK/CWJ5/4Fs6y8iWNB1w5XAwB8QLHJXmlMOy3s/mT9ByoeukM+ChXz9UsQ8xPb9UyyQbJkdL8gmsc0cYdagJrAHeHZy9wnW5MJG2rsjCdalQmyhNrYRMijEDGFz1kE2Z9pCEtu321n8GJOT4whnhTZLa/NOauX3dlzuktvSEbgLI4hLjD6L/qG5LEcEPTmTVw91BG+MMKvjR5bNw8A/FTN+VJV0t1Y8M6SJjyTU0KsHn70WnwkHVi7KYMum+GX26q4w3QjHeI0yrNvB/2ZoUMS3jVF1E5LTi+49fzox2g0715+MmUrfQGx6CDGyLpKcKp5l+IpaL0me/lNLc4MQdXwY2+u/rwZ4Jniixzq6N8JqB7un0mpwLWvhreiwuRWgQ03VBURknFW87BLudJdOsA4LRtkSZMLef4ui7l2yefTh84hUCXw/8tGXDNOJRd8Hzfumi4TlmrXUDHRBdg7na2nnwxW7bZ2NxdJ3aLp2XkqDkRGFkRqB43dIdWlm3iixAQW/7/NbQZrxSUPQMpGNSZPxaEKYQkQ4pYmGbyI/6G6FazBhwI61xThVre/iQ/2LTe5bQEVk8fFHLQFnhG3nrRXh4SEucGZJCjeTQxpQRNWoGus3TtNV/djtWU88SCQXgs/K84Nt/sNlikTo+jHUNHND+PkET4sHTH3m3JBQvjELSp1WIaKtsntYRDFxxM/9jI5ihibIqlsfsWn4LmWwdhwEBtppDja9QEJz+Tb/UCLVZxoKYwNxWAdlxcmrJotHgYT+011TpQOcfKMELVUwj9C8OwA9PVFh7agAvTVuh+KYUnJ8y2BMpxfVu6x4e76lxHa7UnlqmKb9AGH0wryPu5Spp/Q3pA71jbZzCSvRqZn7CpfWNhrm+3aawKTNqTZBdgx34q9HTgs2G4P6fwnAWwCS/u1rT7WrnHra4W1Bi5tzPMfrz1H5wImLOJBk5qROClcBIyRpAgZNn9r2E8waValUTB4O5qgQwlMY4iY91yOtS85hSjuBZPLRhDJ/GR8ZB6/+ttsqG1HKC4IhrlRxwWsWsZtSuI2cctyPYOqg5KpVs2PRp0UjZmxKPY6i0tPF4SzZqqYbs2ByspIJhApKTJf+KbD0tTKcMpdbBGl9l7JpT/K9nj5isrV1mDv9+a+6lsJJqDa7FLrR45MzXt8DN5FVk2xBKOICH1CxrmzkppMcGC8K1x4HhI7LSx2PGg3WeNWKr/7Rd7QMClqJSbdclrvNA/sa7ATZQA39lySR4tmwy+oVxjCh57n0MSKRQaTyS5MFPMES455RMAMvAk1V4Ui3EbgSAS02xzwzItwY7tor5pqStl4cHANajJok/nKYTfWQnKNpIiSgeWsePJMMUg8EJFunBGGlFkAm1UzJU9mfcFxRHb10D7qxzybGFh3XuGoWpWWRMImMU7+/rvUoEYMMnpF3ofxW+936487iBGMR0RQ/0V0HjglHrKUkqLvDH12AlErkGXc94dy8J82QDdHNJ4LMs3DmUpGJMLoDnpLS0kOPZGXHvOT5Khiz79ROatWg/Rdo8usT5bPARTTAXxKejWVzVT9Sb36Ln+KoUtwvosTFUC682kel0nTiV0EJjE8OWeAPGrD/gxHMJ5HOemB6+mC65C0jl1abnXDAo4LGBcz0nhnMB/EezxQcCXW9cjDcQrEPr285AyYc/bNkXI850YgE4Qy3BxoA3Ez1GxYqmTqW2nNRzp9sm+WB/cZ+Ulnxs1J8gR+FqBEDzy/QOLEHE9H4U5wodUQcWKxCnYN+w60fGy+iViM7SKjkXTGrf07bhCBSTEZMBjhDMy/vzNvwXnX/+6/YBKWPRnPHEMNo5Gi4nDnfDYUmt19nBW//MnkRkYOVvf6mAv2ekCuzVrGKmOckkeezX7MeeN6/CqGNChYY2+cMwmaSrHHdOHr2TL4F6QUPk7re7AkLPnwSL77oaGcmH6O0JmRWukpvDOdIXUHoHq1Xz6xYhsjXM+9tSzNHrQ8ZFZVHWi91qqNTtAjAi4ZnS7wA4BV2hx+3z5FwQnbkhvMxbp/Z7hDFtuaObU7Y2PH9Gu55LTX0rUIO1ZKbKGMcWqsEbDLizklkprlK7ICcnvcy23DG2DAnctnN0Ur2mSOS/58h1vTM+ksTnhbgHrE+59CQLHTQFLCCiMcJxDAxMpf3omeozacn0jd4P0+MFecQPRyeJ+uheWy5j05nqMf91NhiJ6KqOxd/DACsiQfdRpa2ksB8uOmhA4YEM1GJmZzhIsT9RItnieo3fldPUyEKa7HBmUOkS+99wXfqKmIRDEqKdB3cCpkjqxOytBadWLpEUQe2K6n5ZbZsh7+O3+pBe8okklREQSHuSqKzfk68rpqPI/OFDNy4UZWaevnb3bUyDw21PdZbktI3bzfz1ML4EonNHo3nWsCt7UoF5NXgcr11hpH+iW5sk2j+XrUvRiUob0qqaDVe/7zZ2nI5yrmvNwOnwMy02fj93qRSu+eEhqXyQasnCG5NzsnMYAje+6KKLR2zwwxsM/4aIRAHxHFdzZWZw7D98NZveu11Zm1ZgzLEBjAeq3abVB2W9w5pr+gWux2SQuYTFlD5LYFqQXi/Jh9SFZUHEVrxegMQiyPxIRAzalbKsYDEZCcwMiqPSiydLOU3LnXwkkMbM89rs/pZ661+GQtfYrea05qUhQ+++dDgqXWKWYEJx+95rp4JDK9iW0D/m492VtGNkQbwQb2rbu2ZqAUm/taRZoA5r8cmCQx+V3yV0TM4zXm9FUKZLbgleeMZuVvGivwXOyxCZRCNhzRl1HpdVEeXfEilJDBL4swcHVMettV9y8hNLYw3GhqM7CFoD0D6x21MxAsUX+EQ76bgOIuNkkdA1YWQZhR3moz82DlFDNVXR5m/8sCqC9emYoswgmGYf8d2t4GnNeI6BLggVc2zpo4ebX2rT2Hps5wReFspT0cCKV0sitv1/c7+aMt3wgImI6ToDf0ydrHthQN7JViQg8GnAHiUcTwYCVkqnOZtTvn64BAqZkq+YufvhC4B0KsuHLCdRX5wGpAcaW+/CoLq0IQOcyxzgiiqwZYjdJdZIYbNw6sIfmVV0PtlnWDuu4UFgno/jvtmjPCS+N01XUWeIQOrC44YxSuxofpU/xBJsGfe2ElPHElkvS6DIiXIe1wZqOSh9UjR0Ue+u1zH0JRSKut+zi8JHVmmCREMO42oLDAg1ckmCMDkbvKCpjmqUaPVi9EUhqAfxfBryoGu/w88SLknKOF4gwJUeKLY95zI5786oBPH9KgwmVoF2XzTI4HWZZRdK/JpOAEQlBL6Sxz4HDRRBf59FjmnEwJcEIr21FhRTACBqJdLMPW0gZwZ8njyTBww9rSWvjM066QydFw9/oPN9TJffeSj70ha5RUBLkQN9/LryxHI0zAjMk0QCIcjNLcmeVXvfCL1/64fF+39klIy8vpDioRb6LVDAd08Yk32oTyARNvbhR8VAWPAdtMuSblXUaooU/XExpofJGsGPOby/xGGiwmki/mOCtSHdVPlPx0HsbUhEwOUF+0dwrHCDDRAs1fYWNsy48D3adkdhniWTm4EhjnlLxg6DezLB5Lmw0SPBXLkQTVkkzQ/yzAmEUvPQ0Va/8EGWzcgUo3vszvVDBxV40FnXnhXZCHXzLAmfKUzgbINrHJmQZX7G2cVKxpRypxmj1i9ap61zF3Oe2glUZsioQl4vZy0L6rpg+dDKqg2/C1otA9b34S5Rsu/19gLn07ER/m5DAlNnEsCJghRTx7e3aKKwa56qhM6rtwGxwptD01Uxx2DKvpd7oWxNA6a0/vbRb8s3txQEuTyu7w8Hj1VOFU5F06MyTi8tFxLDvFkE+YVMM4mnBx1AWN6fnXqRZRXF6LE3EaJ6Dr54fiHDNd1AC6pQwWlKdX3bAmEodCa29Um/02KUSCmp37JzVqaO1s3Vw/sPJQfCMcEYJt9SsPx2ZB85w0+4sDdZB74PAoJp9Leoo0X+EqkevwDgIoxOjzTLD7+fnAYPLD01q+kchLDut6Qps+jOiw6FhmEcNARsfjS9vMJyNHkaERLnJ3SjeRhNUDTWD2+L1cuxAbeU5IYZ6SQ3fuIRx5qjLEp4GFrVchtND3X4iEFZ1ahyJfwfaND55Y3Njbv4W8DoJc2+bDIGMtsqrJTJlTy6qw+aEbjdB6RMyTjEp65+DrEh7a+PZF3teNSDx0R++if2o2cKZUNaKH0pWMTur5HkI1gq7o8HAIRIFiJB3Qu/nsK8fF1vKRz/JTH4JIlI8XXcNX36wm+vXFY6Z2554VcLjAKx4tNR4fA1TxQO+l0d9RaZxRtHwiJW1pcHMU7I64jdShDn9D6NxUlQEUveLDrfTOifaCOpvM2knnxJh0xd8p1IxLpMAq5UODEdBEYavl42SKqyaENKPYVi/9cQtqgf/DpTxsFfctBYNp+qBaMLMDlGaEbHcXoCOYLMZZadpDgs3IrsF9xB6twX8MQ0QpPUyIy2ntq+JXKzkVRyCmvWMFzt4cprUrX4l3Nor7EP9h2mKZXGJgPKaHVTtom/MCk349u/Njr/e+pnKYR5Urd6PSSyGcm3nWMeMvlwQgh+J88uvry0yFAbAUaK46044un7doQ0nvboi/i7g8W23Vk4EbcFpejzynolNKRhnwBUYhHBHCaWRxx9H1Ddy6VDUT6TD9ohN9z9VYSqhahzKETpnG845G0EA+LimI9bTaClnVCgnDaeux7P52Kzevcp6ENQgpIhFGPsvS1jXe895NhNrXdRWB4dgMRYD0sXx3UBidPA9+kidt8tMeAdkIPAeCC+YHom9LSbKyowVmEQvfSmYjGAPcrwTTw9fEzLnnAYSiuWvP6bch+CLv51TaclN6FVwyjYRqhXm6Enqq+VkZMW3f3wmmedcac1uyHPR+nFZjgSVFjd4quEAEpLokUY2M/sFn+u0SCYukO0BT5UYxwt6kvmwCp2XCwYy89zPqJYCFrCsx3UMbE6/FlLTOrQzGDNr+BI3A2fHr8qCQT8bqzauxCJT0SQfxclGgz49a3H5TjoCXdYDqTZf+kOvWxGSonaFQ1L3iZxdbXIcHuMSR3S3Tu3PUZtbXgBuSY0aPbg4VdYG79HresoncL8dVZz/XyFAA4OgDQtdmItd+X4CvY0jGqtlRJu0ejSOQJaOHBr2jC8lEmpDiX4YVIKlUxpjfObXJAKYYzWaflgP1FfnA9kQJwUjHaMyXYLNinvyeroWJyLn0zjdHPdRxxP0HKFr/WrJbKg4fqMKmyAHkNjUyeQxovDcPGqU3CgIDNinEr/AUctV5AiWHH8SVFC4C7CEN2EHMp8+9N8sxTqVrpXLy+sSZ9I8LyDn5mLNMgT7QaB1wp+5Xi+FFPGXU01wVx6EnfTu5PPT/0uhyI6VZhD3KelQBGQmI/wtHn8YtDpL4WjhK7K4dWP/jNJ6Cv4ZltgevWJ0OgHS3YTZy0lVyHPtHYRsmfVt9oKlnD4cAr1aTCZyXwhR3ZjfiKpQc1QPuL4kZ6JdwNNYsKMxL483LG3nMRtVqYgSoZRP39dZHvSTipOUHlBUSnrBbeELjd7QYCX0j9aHVV6Nct4pcyi9nhIGe+ZwPUuAM0vGntDXcGkvYuKHfiMz4+U9frBGnVwU6kMJ1lbO9DnEI0QANzemOgos//dxTQkekl0sAzV+SMAHcFeVnmo1Bda6ns+JNWRm6YfEEcEkcsUPcXZJUWqG7mHqh4k+hWk8CtHvs/h0mH50SV1NETzJ3rVOGSflPePuhIEY+4srhRjhckJ9zSjpyLHEF9VmnePrjE6Nm2TrmIM9xhFkhG9rJSoOhWuRWHtU0sMI74/jqbBhHtW/b27woXy2axGXBtwmeIg9tWDk/MBnqAAvIlSx0EpdvBatjjHXJ9PAixFAbr/7U9T2cq/LOj2a+BDvAeXCHcLTVZY9tQPLKWBMgLeEh2R4tjP0uIIxPaqPHAbe4fk1dct9mxLzqSqwvA0DJLRD9Nf2kCU+EdW1SOv1qF2c5LuMJUDkQI5gzRnf53MtUjfpEjPfceqhFI3sLsrSwHNONNExmI361UcB+yqSDkKdkQMqXLKO/bew8+8rkMOXZXC9wfyYRuDfN5yUOUQbsuQpxqB33CYzTa1nXA8mO6gQe+9vLeB3hXhZ9FPGWhKtmh5Fb2/GnOVYH6itkL4qWB6+CSwMCYRWLCmWp787reuWhOpFPhqXaPFdZDITeyE06/5iBO24/2je4wC0ioMhAihjgHU2+2+VOMnmC6Ku9yKGrBTnag+OkxA04Qmctnai14Z3AWjiZaDFGBiUOSGy3n+8xcAWWepY1mmNDfvoyHkHLtmiEENMb0OLkH8qAr+P6ElGj4ab4K8npK4QKOWp0n1u5SOWOgmmFJhat6HYyOIX0zQ/ie1a2J3l9QG1PIQYO2VkMM4k7v4XkSKfmZ7+JGRYbuTPjgj4/whQpkTwSkAoSrreoGvKIp1dLY0QDgOux1CEsbX0MfWGmJ6CyIB+amt8EuCRJnLq2BCDiCh4C2yjzvRXciIUOEkXssi7ASILEl+brbZ13bRV8vVAHJBRZTEFvCTGPbU9eixJoVrZwIxP6iA6EUS9bbx8mJdr/t8dZxg2zBiB75VCKbiNR906sUrx9FtAORJ/A8+OqV4S2mlXAtjowPQO0KQc5/b5Lp/nNIclHtQ9mWA5PHpGcfC+ubt5bV/eRqb4s+5dSPltiyeuwo9XPCq12s6pWiWe7BEo/k57qymMcSV8xHzsXx+fwKPrXnP4V+orG0t1CMWFd8kA1B56cAOH2u53ilH3tIUZNhlL36MS7yzyE5Za2nIUOF9zzJ3ODhoKsqCucBZ9tpBPR515BU/xFTn8/09T5RetIQMpqVeY3osIfRAbw5Yv7S3VuPcPLH1Tfpo23DTsilraNUmI9ivCxyfAUtth71kyy+hW4H2T3RvGaca/3XBcOokvsXjeV3vQ9MY3/QNLmGG7jIxJHRfQ0PP+dqUnXKabKADWAs9U+EVEmQ9ewWPDaJZxuULhgn2Deb+7uO9qC/PiooUQQmvQxhDUiyAeElMC+BsCa1v1kjnSKoEnS44IWLWkOdogkx5AkPzZiY9Vdq705Cc51mjtJNRIWczhCc9GEwtBhdoWxK0DSa5cAdaQu5JjKj3xLUo4ya9PChBMoqJGpPUAYW/kIC4Mi0xFSYRcKVUtniuOe1c3x6ZXImoN1wBri2+4+trV9sbbkAJzwvpq8npi1Ysj1CzvD8ySZnZKcJC55M+wXvM+F0ZZXR2EV/ys8fFdDR+3sx7T2enc3QZaBTDtMFDmoVDF8+lySQzGwM1Ns+iDs7zFEjCJE0QTYINZjUz7I5FwBx5xcOrhxFtx4ekGBAhSGffK4V+tnKkqac6QnB55NwbOQah2Ti4A3ODEO3oWmgRHZ2KJWts/M3NiXFDv0LaMF/yejRa2kwSGHI+3dZjfwXn1b589TR4rYFY9Zs/koEOQQjNeOxYCpR7MG34TkGh1+NyxHOTqa6O/l0go2h3wwmG1N6aRGKkofpP8IZRyx1W/bq/l8AjVKzXGjmxlLDSBW/IwB/kKN+0HCtyzHBECH4/j9GnM4YcmOHM9ZlUkuNPyQG29iGTVPfVcebAGzRCCwRbiOR2dxNlg7jb+vBBA2ON6XR/TaEOZeiFNeMD+K161Rm/X0ouDbHQLQJaiM4G9yfQvzI1zf/UlD8LsfWDVH9lj8+eQBUo2WJX71CV24w9OzVI3bui3IE5L9GTyk3rYVQ/1iuAqRcPWfQUfYjoaEqA/bl8jVJZtkKOQwBrC5Xn5IUmzF0c9VnZEk4zXoQhEswNInDn3dZC+gIbDDa2MWjQ+Zf1Q7z/KHKHvlzrUGYWvnClx6MG7VI3XVx5o8RwzcVyS73lFGsJ9qdJTZ/cghrjnA/hhf3p9YCR67FIDZbQ9zZfDxcuDEUvLqlIblOvN74Ur4VQbacmht7hdUUI8kNyv5WlW83W5vBCfxx59X0Wf77kMs0wp7w5G27lZF8qOKzarslA7iwQ9brcEjR9xLlwLL9YpfqXF9tdhYETWvZTGsbw4uWmbgIuNPwRajxfPkmpbJDrOAmVNtmakDibP04suf8oCjwPz+gNJXcB4L6KMBP6YVb/tCrwLhn2mcW3kcaT1Tqn6c9IVNoRXnf3L1ABohHAtzy8rXsOW9uzXnDc735xm7/oZhbRi6ow0+R7o3yyCL4fmlx3xylBLcl0aNfMm2y/kjuzprVSnmHIOylJ0+2u9AR29QwEBge52dl2PMDdv8AFBfPhqsWpDIoFIw9IvEjpamusnvl1h/tmvNAw2rvEw75rBM7XXnPs47pg2qjpLUui2ikQ/VYlzANkypzytDJkuQsw9Ul/awG1FXzdd76eXy5H0x8plkNcZCVcBZa4Ps3mZUqAwJab6k5x732xdeE3lSWNGsI73wiji6evZ+xGqbSGWwzkiWYOwpzM9emZbp3bqFvd6IjblPbStlHNx6v5GQJRPDQHLf4t9g+UQf7J3Gh/UrwuMTelZAvcH9+wwLDFL68b0fqy/xdaTaframT4NvsBqewHzZjt3jfoeCLDIDGMl8tRSn2tHOHmSPyceA79LvVRQzaNqIwCDqLMyGGEoM5qQnSytgfV2Zg+47VfCKjdNh4iftFQBQ99+jk24wwC8/p9ISkqhTEs4lkZX6pb24hpdBzk6m15ZPsMANDJVVX2PTxbxmeFKUVOI1qkA5VD6M+6VlYQGmThnMy6qRomp1T43qz3faJefJ8OGZf2q6rFfzwBPFieotqBWWgP5d4AQmFtcHpPVc/7wpTvjpaNaXM8tpTPK750xQC4pAgogy+IFLKH58oR9yTqgu9k1f5Ipo323DnxiSj2Z5hqJlvNTTWIKOizLundUcUQ13DCrnJnFnkfnW2sMloWyBOmfuKZJSnzuOATW4aN5sMxzGl8Sva9zaYNzSaNCLOlNVK3G0HcwGhm2tTzUSi3UjIfYGslgC3AZxtPFde8nyjQdOdGlGLW0ihC9iVpjqlMzzpbM/9ZuU/mZ1+/URsblKx0x0U9ZCc59ryRzizDPBfsVKxAaob+fe1wpjFfWm+8Q2DDFUgYrScpdFJzctiEafW92UpXi1RjxyC1MM2lkQns0ls1n6MeV1Q1n+ILYD72nk+mJb+vjhA0O7kojFGTmujIsFgo1JGP8HXlv4gVBXR4flpZY46te36hRnWPqkY7LSbdD6XK3KrP1adhNPaVwiC13qJrUtoAlY73Zk5/2yjh1kRVRtC7q+Oz3YI7f/d0s4hpGUD6AuUh6YV6DDmm2fVXjan4mxMxEA6PJkvxMMJ+Fdh7E+zRDHymbHk2GqvMK9YFKssO3tFF3jQMjBeYSRMiAezm+WWImntBIgaAFP0Xzi5Y0ARIe9tW300nHib/zKGo9hvIV5ExQVLHjeak4w1cRahmTT6oyPfnsAphIolgTM7O6ID/ksGB3g+5B/BteFzY/Q/zCpa8M1I2WXG+YG2LDd9dtsrcYMWJCUIVsvQmS3borJ4CaPswOQaYdYd92+OJ0vuUYQdxO8GUk3WcGW0R+MCVBwq3YKt/eDLwJOQYEy0ZHvW41FmAI7clXNHZOzH4S5YIPkT/2ByVRuFgi81c38IH2cbaMsxnxOqWftMJr+JCicN0KT0ShpSqLzrmXiB5c2siURoBtsq/StsAPw88RIHj9OH7Btww8gqX34D93Lwe/aWmKpH8ve/3vRipkZ7sL4JmYbvKblIyfxE+GB4PcWn2e7PzDqvbBJDNQsenBdYVotRA8HX4pqqkjJfTQGrxpVdi+G74JcBTl6A/5/ZFhRzHKuvGEHoSuYc7gqgdnhiA2IdT/BmCyVlox1ylWwa6HEbROxBA+Q4V96Cj2WBaBecRnFK/b+D4GfcLDg5XUGbSd+dIz+pqobcxvWXDWjMlgaN8lN/FU8YFCErXkB6qR0BlnhL52ygjak4Eunq4gqi92KFqI3uwboERWIBtiM8+hzMnespJQ+DDNHLjgBMkrceUr7RX2fqzXpXuLWT5ZsfBg6L7DEnElm1kxN69/kZnybbuMIg+03yEURPek/10V0FuNk4X8lbeF5S3LYc3c3XTzjgx3BUjT0kR4HpijtyhICcVw9c9J4YCTNLYQYPquF10SXPg51PS1SnET0tebg3WY4UJ4M+T1ksszq3bjG/b6vC00ctOGtc/u3CShLzhzg30DQOpcHPpZmib07ehDTAny+z+rA2gufDunUlcwllwgQBRAi84SXG4jq8keMfJ94ys0edeA2yx+hWmKxxaP73jTPJsembZGzkEoPrjmOpAihngumqo783BRR5vvE+iwnjJylmqJFamwChHK7mDKHa9O4OXNvINUkioVpni82mX1BZ6KvmpJ4Sn6QegQT/Gsc18Ua6kMFuirQKeJ4A4qRlZJ7sZLpNSvAKDHv+59VyJCKZgKLUmxguCAhivKjgkArcK4jWpsm/NWiMANsXl8+ulTAp4B4m/uvYSt5FzEW1kGT8BTGn2/zlAx5vMQHgs2hiB1R6i0PKOEVJj/aROIRIQ5GDjSBuF0e4MC6TUqqaYf93fbJb2a88KSbzCliuQeY4csZMtO/Jzt8CbH4TRyx5Lg+UKbrb2sOaJ/loqJx84YlYVaYpm/ve9uw33B6XoqaKHRyU6sB5iC2knPXtEovl+S+oWmuQYit5tXkbDW65MeNayZdsGARYx8pUbeEVw4y17CPCdr88oWRlZdChJwrWa4xwUENWvKmcIqAuKc1U9h5nQ6jTXTVYm4GegI6CFi5zsLCOKvpr2g6yZkuuk0feP0pEbWltbDi8SETu8Jzi6KMqcWAxsiedzgoHSSO337FnFz1YPJaII+e0Mp/ixpaZwUp0h0dE7I5LJfVT/f1zFr4fv9sz110nXQxJJOnX0B1MGySVqtyC43E48gZ2j0weSsIC7+gmSv2WHHn793upScYOB98ipeSUt8eXkzP1wYhpf8k4Y2duec6f2+/Tfs/HCoPK1baVHqXvf/K8P3DtM39ziK+owV6J4z9ZAWxoRgvBy3NEipvNd7IZsraSp+VRw4zdTx5CZ5YtLr47hZFYPTtopUmN1nFQhs4ItH2AeyScaiUTrm05lRQ/uIv2kJKOuTzfWgDkjElu0mfUZiFlFNUCt8AHyfzLSrjneG+OTU4ZGph7simC6PumodQpywaa1FKIQLPx01OvD1iQnkC9AMRD5iRiW5+4PxJ+A2PHSQ4Kj+QaAA8qQSGferdwUCJcSVC/X0Z31327HMFyyJ1sZnJSZXuXKAn688LPdaw7gm1W0VgzX6iRWjtmgSr0aVYmmIm98yrGorMaMw5TfqC6U8H0hobEMMqFj4Wp6+wqoLFtZJD6pghpVxpFEKe5Rbm+22Ry6TFuteVBzVMrpUIA3ljo6CcdbXsWEsS3L6mtDNiuqgIN6/gQJqnPjBK8R9PffphCdH3yl8lHEZ1Wg5LE90uEOKIPF5mV0/KhPWlTPaQ1nsxNsNDIqkhtuCAGBJT5kNROCjHh5fmX0Aufzj52mLok2KQjyFgDXLO61yPqvMlO1tredCrSabvLM338OOcXezLTCe/GbgkMubk7b8Oj/TDzBqkD0DAjLZsmYk/8xCRBsEIO8wnsOdqvVnARSIXz/G/bUYEmNh6TTTtebXaUk8YkTP9mmMdLxMFtE2+r0TjhwrltWg6cCxmhwFPTcJSdOv7kz7RJLTngf7cq/fQCE8uq1oQXQD9vQzhm8705ySO0UquAD1sYE8yLZeQWScsPbJ24nv6+UdjGc15h3KhZRmUNifrjsVPs5oEq6fdsUQfXd+9K7LnfFTPGkSWIdlSONNeOVFjv8vbRtR51+Fe4YfRmy1f368StljaMYpbMVSa7EHDz0wdB0SBra8IxZf7I+b5RstzWMr/HR3pbX+wKZuisBOKSiUNlUx4k+p80DfU1+2O1ZY6EswR9nNkE0ZU3TersEF9WBF8npYmurIAvZUaJ0M4JWGnGuoDJk9ACNUBmssNS+K1p4ieqVdjK3QBAhfS6Iiqz0ox2VcFHE7vhRbUdK/4MxlkIeeLfKFvfm9NyewdcwQzAuIxOV72YEpXSfBF5ZhXCwLDXsgn52WlSramZaJyTPCbTMxbCf4sxtmVy3FcL3p7Viq+biT2aNxzvmHer6aTywAZIz3zoK0FtY73RRwdjXBbg8lCgGcPfvKkJ2iqpbWLS2Mn94I24zjKQoj9B30AKPxy2Q6XAy5CTutLY/N7oZwuRBN89JYOy+F9vyfvQA+Lnx1zhfVngbEsOxXdtocZ7hAUgoPACuDosRLfqSn+F3hWJtb7QTIduU6noAgrnCL7RBJm31npllWD+KFpYySTNlytv2tLpPQ5wPfULBoosV+24Z4/CS/d1U1DzBqUkFoXJp1u3IxicMuPQ1/eW0u7rbB0r/2kp3qyso9yJOfMCela8hXkrmLevcoo0+cue6C4Umkz1i1JiVhcQDEzdK4l6d/tklUi4vjmjYKdBI/snySwuqLZIKMWmxpiSrymCbxNYtW4vbnTFw29q9iO1HI2oIpaz5WyTJXGSTmUdh/qM2iIh5I4xFVbCj5sTjJuiD4sI8hRqFx4LsdivZ+8W9285m+fNwiMIFN5N0u6k3uoDDDHUGTpyklpWcj1cSVczuraV+im+/2mLO2E+e6jbObbd1NDUnku9tx0L6JYQtxgoRNTQBM7kZ1Z0ACXWRb89mmF9XD86fFZutOd0ymRemBrU/jIejxmAEc2EKcsaf1rgZp+Kz46/WQUPOilXW7CKK2mtmRL85bnAmVAJ2cyFbLIxbqi19bq5BdUeMGNmFTSwn4oder3IEgMmdpgesvnbh1QVbwL1p8off3HJLMj5Ft42G4j7Lv6gQpjsD/0vgdXrnKbTFwx6uiqXzmvNfT15+7jRaxFtB9VJNI3goZgp3gzarV39FznQs+/OuErrsIdTLqaS4bvJIHmKy2mtzuEd5sH/yNVTVh4rLwFdI96RAJptTJl7wUYXfV405IuIxOSkKBkhYhyCreta8UfXAJZah8ES0aNaWzWPccvpo4jGJstofbKsMcSDAphG56OqExRpn+l78790UjQoK4u8dexHAda1EgR4yF3JshgzNzhn7OtczX0u7RMr/yVaGfBaqVmcsLMuF9B85nMwijkvq3FuKYBPupt3dADBvgLts7ISLHg3ml/fVoXfXWR2uK29vDapTBRo2tS/2mrIy60siF/3KcdkdYqRy3pQySN7w570RctGH/7H4DdnWn/iejhbiI8DGOsZwjXPJ6oPbDocnZh6ukip7+/z5y9FhlQPWzFa8tuVpecrFVbsOgHed8VaX5w0vP0oufEZgIVJlacRbUgJJqHiNahDj0V8wQEB6f10UbBJ4fKpPbOVUWM6S5Ek0s1I/Uvz+UxS+mcdm8Fq8iFloTKn9spscLROvTXX6bk7gFsXv8GsipWtfLgUGkci18SSHwCxj/lCo/g+xmmnmjigneXYG8bPNHIfdyrTYAcJwq/d4MSpdS83V+r8lLKa2Zsnc/XN4c5cxFI0SsCF+q8fc8zeqHrdE5q/2wPvg2F/B8NtcKPz5JmcvErswc/5lZLr7ex7cQ5pYOIHL2g6nmKjsVhQpsUShurMEW1m8Ui9B8iMWk+Vm3l7YSfO1SfXzAWcXrU2LdgFD5uwSLqz+lyYxi0jMVrdbYsjcNlUX7Ak/pbapEuIw5QnNM0e8EMluvspCYtSpZA+YIN+2ZRp/vUJ8MYCmoaMOs44ykhnOzRrsZePnIA2MMsQTgcsiVSzC5HdNWm8CkHXQShgke3waaFeYrmBsxHcgKGYgqCgQvUl2zE/qpRxxAGuxBgZPvt6hEmD1SaZqjhux7PcATOBgbdIhsUxJiS0SwE+Coz2nnx8KO+Bd3b0rnY90uLnez2i7oIVw0ufRGsvSBRvFZskncDNUjIQweSLBEgJZKErgzd9walj+jsM/kg4jc3flWWqE9RvfNxEQGo56ZeQACXPEWDjEnaK+4FUIj/z5hpjOB0FPZ5fbJDsvzqOkaC7cPJT0IPzZ3N1wJJRHh7bgehWupbeoCcNHEcyLj/NYccH9NWl9ckmI0Hb0J59vUF+x0bZmrClHTFzbzL0NbMvmPkPN1QXOVp1h4oxmr33UYoZyH0BKVu9tXdMyzXYyz3uNHpwENlS8CbW+ZVHJXMXukneyKmq8/NQ10GzJJkfAIHVCRU3VE2tPq37DY4Zbf+xaxtd887xI2eLM6AEw3wtWyHWDjqWUBD9MyAatc/SUXdcVd5AxrSW6eeOu0/AVIHtOFAUOwD3pSfmq2z7FUKOsgLB4IJVAJO3gDbIGoSurCEm56hRsiuZm3djnfywSkBIJ86+ZsooZ6wS+qJuT3WPNjKB22IysbhH6EzILshWkV18Kglb8lTdI9YIM7IbTfFSlU/kmxrPRmg8nB0aEIwrnA8eeH3CdnaSS5nfwCwi6pCnqijZIaNjTv4E66qM0hjIuMFpbWp4NQZmQdDtZT7iWody+uHjCpEbAkfH2ODW6WY03Ih3NRIMJiJ5zbk0aDgFeC42aQmN63TDpEbmoh4Z2A40mzTHdO7GZ+uoc3I8o1R81N70Bxb/dVs/nINsfBwgOOXqe0hqXL99qxE2eqTsrhneQ+duR7H1P9IYx27mQSwLeNO9SX4yuvsU6h2t1MXDnWiW20QIEcCxiDYiTwdhnEZ4MYo/rkwks2Cy2ActxiuOzaNRNDL5N/+VE4KavmeJ2bQkwT5iewRX8LAUxDLM6Hof+PErHN7CSyNXKVKL/Dyp4Vu1lQi0QxpPZ9RQETY83XX/xjjS9YXLCqtFezqD+X8S9dP4ADpsbpM96j5zyMWpnZDQpNdqBfO/Xt4IDTHdBDUIcnYPoqEIIt+ak6E+kI9h0rvMcI0SV/ZQwut2afBRUPXDCAu7+xW14Oh7uR6LC16Q8gPsu09mjrPmht80mijrkK4qCvuwZxa2RtF5Wbk36EjZ/GObM78qR7mHyFa6wiv7hbCZAQUp3zYikytK1ujBT9lCr6uNQtbAf2hHJn3HEdyswmrA+2sTymd4sdhSRo6xtKQgPLWJNHVC5XfKQ9DHKw32+dMfAg4WXTzYJm0tXL7v4HUO1YLGEX3QMZnCrxZUUmzgAi4i82Arf7Li66UM2hHBMtfswheJa4m6vBbO8XeQ9Yb9Oj4ef5R2PaLssW67TWbFAFI5POe/cywVtzIbZlJbFrfHbXNJUPepO761kCZBrgEDNpSaLnv3BJx2HNrDvXqdaC26FqLmG0ylcyaXYuOgCUWch9KOPOD0K7MBCE4biEGKcSRD6cFSSWhQplCLnmLLcYXJL6V3FDVzX8usd2LDIOTna6XcJNi1cvQgnDcufNRTxxJ9zrj5ZAgrMJ2NV9xI/39HMVke89S0XNm89Uwvn++39814AxUrYZMClz2AXvKr6H/bUgSQMh7whvl7MqrGXomQn7sFANcOYGUzVt2whBUgDskckzFmQly8Cnc+Gkk1dIuusO6CeXG6/2YaTczeTIqozYPJrqMIRUMNfgUGyNXhwhoqA8e7f2TDzOwR2lFUdc9IUFLMHV2KdozVGek62jXPITfk2LDKL91p/eI0Lt5Fp8L9ENo1TlbWXwsAgVg9p2bosLDn5y50ZKVNe21u64891K9wBUjFb6CKtgywo7xay1X7RmWHtKgIfm2q5N6V4fooKsoiJq89pAmlHf/rN0oTVMH3ObBlHBD9R1fss+DfaOVIHcj9enepBQnJy12lUJ2Z6fRS1EVGnkRyBOmiYAr6fMI7cKbsBfxm1xAeNuE42Tuu7dn1PtN3Ovtg+k8pvLEXIN6jbcG4DC7O8iEmnRQpnQIvT2qxus/PQqE4mXk4BaXsP9x2Kb0jHQ0t+rKR0dzGw6hlEPc0TNheRiaOdDTeJaTCSXnThf6vRb2Qb2r9END3vQO3YdP2p7cgvKI6ZtedFMnIH60o2/jN5187dlkWWCKN2zXN309/vZnReFveblrTS3JuSVVZHwFPez/JKu1xs6PxLxX0hKBaV/V2xnhR8Gzui1zTB6NylXwk2ty9YHsWv/NSU5SnhnintFlyY9L2px6PT/d+8ek/MhghHCqhSyGlsCww3J7ahhJ50da4N9FBiR3Y78dMfCLLi2fL5xETKlG4AgzouCOdh2KT+AAn4aCDznOGLsUxonLEakkGynmA8+mUK6749gEWrw64GVlmu7huwY6NEr7EcETL7o5s/MyS0/Z/yAgYnr6uBRT/9omdw1gNL3ur2I4VPuOO8WagEPo3xjsFshRkLx0ihSLu1rAf81ZUxd/uG1+NkJ7Lnid0AHwiBizmMKnj8197FrPJU5AT032LgMgzg5L5IvOw9vS6fmEO4K7UllrbpPwAqlXlHTkU1FaCy6LWJB1OKxpwhFbYgDCw6sEjfKiVUfR0BVRt865Pikey1CZxwGnpJQB0hx7ZCRFyZWvAoM1j8CdkxpZtRsZzCjXFZbSqxOKc/S23UY/G8kJNAFmBEu4ezuzFo+spkJEXiNJQUpx9t0Zam1A4Th15NfbYklylKRgbqGeu5rvVB/8KYJJYzC/64CTgEhXeTYebCDpnOUyS9yBM0z0QT64fTeZ6m4PEAbXrcR6z/2e8Gzy+qQXxCMG7z+wDsd37bo/EB8g29NX0Fan1NCA2p/ier6psJmN082zscN6iQ0/gZeEZCJcPKpVd1oejFbiqFY5eK7URtl4FPUB+s854zyNeRw+29x6Y112e9tYkwUd6qh3A3R6GFIEjUcaS2F1uveBLF4Oy+9ZGKLYjpSp5oLUqiCYyN0/6SxkXkrKTIQXHu4lFIz9ortZS0uTDEz2xlkOOaoQQWO6V8Fa9nC8I1jDk/gilTPtEbbgSfEgf28kV/ih2ROViTCGd7WFEEEUD6aI7FbISFdtl6da1tkepz4zdMmdtdZhdlH7YKrJZFQhvfPVBigTSQvcIX5RaIaldHLFTxNhsrUV0N1g7tUpWd+DoGPSbu+hUInBeEqW3S8G1T2BXF+li7SLtJQzGEy2QkiLqwLFWN/L4lQqUSg4CpkmGh56RS4iLBEUEnjEYNPncFEEP4x5kAf8b78TH49ETAiW7io+2Zp2+Oh9Js1ZToRk3MpDhlX8HRZjrUkta6aZKiVZ7NDyMRmYT0BNnfqW56LE3kTUKGIoAUje0SVEgOkThBcoPlJY31OYEJCKGevlNONArKf5gcEvZjHoXdhKlTQBq4SvBcTP4sY+vmH/fCm4ervABKa+R4so87fhAzjFqbZEpaE8xoQClIYJo5SAGsFS1RIwFmVQ5dhYpE9l96nBN2OcVZKjXaF3SBZaoLFEZT2fbbVhxa8lW0LbA4cUac3tiqnAUDFuUxmncJO3hCsI2MMguhsd9t4a7isJhzzRJVNDnWs4Jopqnvd2nyJrS4CKN4Pr3q9mxwJlgdm2ekrUOxO8OJVcU2C9PWfZfiob6uadc1yJqEi62ElbzOqxi4gp1M5w0OpkwAKH9IBhaYlOPR5W11V8tcel9V7+ZSx10OtQ3/i2tnZosQ50uMe+J849nwGo+vYZXWHl1s7roEV0Q9DLZ6jJR6CtElDtRZuLVuWCEhKVR1CTeTBTiTbgjgaJAgndA5M0/y3lyaUrrubwjWhXCE1Yx5wb6ypr7UczJ6L6IUVnoDUjRqHRZkODVEWs/kHpLIWAbF1H9UWtbus0gHrO7+qrEj2NbD6P9RYfoJ/ahDgJ6Vfqcj3A7Ccy3GI50hvuKsOZCEeZtLw+LwjA1kvmggW87uuF6+MnYNE2RNM/3d78J6eSZijEASnGu6OSKEARq+URD2eTuWoFRApS4z/U/CBWBORCVC4iVawN0RIWRPCmBZhTk+I4xs0NTitMBvHAzWpzfw7Z4qMJ1Nu4PYnHrzqZcwgZZ3HgVmYmY0lNVCp+bA2jh9U8PWkvJN3C/EyTr112BQaA7Hg8cG2d2y3B6mhmmqntNWsJYQNLhDzHPedk772Q+s87augsJ1vSTlfieiDR9rShhQtyblwqtQGfGsK0Rlw/PVK2uCq5QgPAWlL/jU3UBXI98WOeeVtqRgfW5rM4KApeFM76EevWKivmaS32wDtgOxw0cybBHO1EPTYUzB6NwSzhDFIVXNy/WUfElA2RgXWfL7tgQDIVAkKbTeg+5UdMtIHynRsiQ4TL2IcnY7C9EeNGJo/w0xLhU2YUjTHtWZr8WQs4cZ8XVA3+Ht3NK6SkYxCmPyARoE9jVpt/O40fxciIhHDcANJsjcZZ0Crk1QKV19Z6n5hDKlkOtKTWn3EJoIvv0wVj39LJ2V0unpnBLv67a3hu2ndK1bZxWjcJF9QknaHJ9/+QZqVPo45vvW3UlJd9pBLAhxdLZWEqRZjI2F+QaoL5FYd1es+rHa2tfAlDD88KKQ4++B6p3oVolkdmN8uAhqXpcIvunUFA95Lyz7YLqo8QfNVyDxVV+cZDPEiYQImEhnDtUVMYe50SSr2JdYc97oUuPuatT/+CMtFx0f2vwrrBA1Eo+JCd19GZMgfniFWtN97HTvfXgRg5lLQOUsmz/7KglIJFnxdZxhlVzpAYF5QaNCITYg2UvExo6/hz9Sw6u8NpkXvoPjk/G3XEm0W1TzA18hO5ysw7EFZSld6JehQVUXfVaWr+M7TZ+0a/Tb6LIwnauaqBjoPlemHErIIw0FeWtxQH6OHEBNdxiYwh/qHanV8zNOHJCcegZd3TTXqhCk0TUYq13CQuPi3IBpS9HQcdR3BSrGUUVglnvwoYaupi+SXOEHLUm0fA3q/jKs6TA47kgIlVPqJRCKOXZsvaX/nJ1F0/2mgt8ylxe7qxK9RQG+swMRhQ7bQ7106fHhN27/6BGdWyPl+0rTJQF1PYTwXT1XIJqt6eMZTuIENTSC9DddjtaPw6AJuzIGzgg57u0g4KgU2o7iMPGNoODl45DuYJtWpe+LGsTmYsijAjUeIho6gPNxjKiCQUEVleN5xoUXJSZSNVTZjFmfG2owGakRursxZN4TzQk/7mSD8GjHGvo/6b68kcz9widtWss55Htz0YMH47bjeiPqzFk1tos7QzZvjw6Bp06oyDcoMTSRolrlDotfPNvXlA+xpIGGJzSnI9iWKPg3JqgDPiDIO0OYi8Oo7Ff0sNl4r3Ub3XlVndrOLg20/ksTAbPPiJt6CKKnRc7qNI9YmZAuLFCQC/qSB9oOsUCfrXIfv4daV4OlVtBm++lpwZ+3bBK9fXXxliYJZabf2/G1bpXr3Dbj5RKG6FValZB4EXngDSoGSEJCf1xIJiogohHXRXQPJPv1vm+Awa9grLAhqJt84df6Gc1LUp0jj1jGxL5wjjhmW/Sr+rkYiZjXBbrtcwmhkH56gRvWlMxAijBB/hmAMNsTsxMLGKy2RlaUvTv64ci7tGqwiS5yNnk4v7ANtoisMREieFn4+6Xz9MYBmSHwIaaYsM+5zMP+m4/0zTbBWeYNbrlcRW2RMe/m29zkdKGL8S658zb+WG/MeyCUD9rLIvOXG7egK57J4R758UszXID8ngFlCWc2YGSv1c44VqYUF1EzXKj04c43Szq9jZ6TiRGoiHH4nLnsHvHA3mlzNLIORBLzn3Lk+gT0aFRl1lD6MbHZcb64Y4dRY/E6Nu8dWCWnEEV/ay3wYoVU38MbdOeGc7Ph4xWj65MpKv5d+39N7qTAXr3qT2cAifQWo/JERFRTwhIwgkvEADbtmhBykcj8c0V1UuGYEmg2OWjsqj49ofrDKUZ0ulGN6lNZbeuLeIYKtX49QuQuYY+ygyx9ZSWyTpSDQdLr+NdgJFI7J2KpgGHabfRIZ+jzM033pZA7sUX8PxiiGroMGxSslbWpnGdFFEHsaIUUsk806tsMlD63Me5efGqBFZX4nUBC95I388AUm25dWd6fiZ1tJncG1KzoHUJH4pdhJ8VznsI9qIT3icCar1D6FbK8Ef9jBKPNa78Lvo6FspDQ9IFZTugpCvce3ffNF0W1IGpHUymnvJuB3ueMlJBtidrfk+954XM3wg4wTqJy+I3ZOZcZ+iFFAzfQBJ0qiZ4DSesH18fozz364e/nQmLW5CwGCAwhVPdDSMoQytJm2HQC3E6s8cKyd3UkKcjkqP4UMB0Pvv1edJjN9Vg+DKOypScg+xhq8uJaejV7aL97b4l791XPifA9xn2sC+9Y891EYSyd/3wTtuIHhJCPQ47RMKuEznDOSDdMzocwT3lCAC9vHHvsQqMdrZvXbH7etXmG+5L2oogLrvgdcV22HCakVbfl2OxwAdaSdDE/RfbUAz4pQ6NUjhd6QevFHVbsWQDQyRXm+lXSZjcZlMtW6tqcEdBdR7Hpdy4bhiDkuvfJu7p9wuyM88ih1DbiACvuSkBTaZ8VcHIGWR99ohk9SYk38crxel+213EYcX4KLILLLDeVMtNc9gbDC1eDEo8YNMsw8bFFlu5yYORzzAIoqah3KyCJT1FrDRp6XTX/l7cDyu6BbV0iBH4/w0QaR3BH3WSLSySlxaM6jhGd0x0a/6KTJh2IktyFti2uf1SOC85iS7Nw94OKrG9wAhtYpmG1TmHdw59H/KwgYH2ANcwFY2FNwXv8n6Z5AhFZ3tjJOy6eucgysM0egat4y/Awrv8B7tL8MMfWGxxYYrUwCC+OYABI+FxPou2DCdkwr4cK9WiOb90tRc664ofgoxXZg7nI1JWbEVnk44iPzsJ8H4MaAlQcLFu4YsAv3XUAh6awAXZCMLO4naX9CwoQK6bznBV+/Wk6xcYICnuMzoQMG8tWUhCr9ZUVJVjoghHfeacvX1LAAPzOct7XGGH2hOycj2kR1HDWi0vThkBuLMQj0ihZOCTw0Ee8BE2UvfZBiEtoTME8Sg8MTqhIcxqYS9v1Zh/tLQpTi9f4SYF23nj7mwTeBdPGQOMKSr7DCCpzgDrVYjhLF/1nV73ogZDGwhfN5sfjWnfJLruciQtT927xW8cvwmAkkQbPZwgCp8fg2IBReI/0BNL2544PwyppcPdWujbEozK8Arx/bGkYx0NLN1tlHQ26xE8jbYypk7J0jqH21vK+/s+pIlRLvbJdTYxdl9x2EY+Uy8rY3yhfE2xNiQvbMRdtTAXnm/paUWgddv/IrNQH2VfNcL/mQmHKhJgC/sFTnMK3x3U4vRiP0o1Fpq61n3x1C/Z3RWIQm1GRfb69Ws5OYsXJIbjFzm0B+m1glkwfZvj/03aAZNAGgst0NWBDSpeo9MHU5EBjhYVSgm/oLBgz0D23ZfZFYr2tSH3FHb55zMI3eYR5HWsiqGhpgjlgXnsH45+dKiygLvsQWhL9KbHzCLr+4YeExTUKHzcWwCbu0P8K5V+CatJ9C7/nt10bnh3F/w/IRvCUJ8Sa54C98PCPLeK5miykJMRA0YB1Ey+hDiYW0tmUoKXAhF32h9Tblv2lLHSWFmye9kb/oOXFKeUAVk03GwV4AV6akkoY9WYXEzDsnWD8iQadsMBu/LV2SsjewFKT1iiUS/cy08KiLumzQ0rq4Onde1ZnWi+M3is15gk/TZCZqqdS2UHkvRfcssP5WuvcF+VS0PnU3LK2f3j0chp8h+lUSzP2ySqUGtcHTgxqI05iNdhfNH2eZEvT7pdVt/sUwXZgPEAST0mzRAflvBP/8iqXayCJzX/0HhXAu9/8OgYW9OrWZb0wnNDYcBTUzLx/SlMvapo9I/2mCzGC3yR8qxUeaAgLkhUoW3zR3jnLfhNnQMI+SNwL0uXvXoC0MqVRmnyM6igtFC4zwa1BS/Jc8rxyn7/g2l8q33ChVMfuW6qKj6UG4f4bBsXLIpomI/YNXjzK5Vl7lpuK72GTjSUxee5ykwYk+O8LPefjarHkQu06l6bgthTV71+lGY7Es1kw3yqWysNP0hi/V05KNo/JK78+p9hzQ/cd1UGaRrZeTzOWKItxi/57kIty2NRppR87H1AnB/e2im/hccsfU1P0Y1xX5NZwGCBUS8CwGCJv7PU87NJRDqqKtSMPQMGlhJSq1Mqh2h2nyaWYXaTkqvSWoGlrgLaSTg0/1GcEoBSY/mXsABGgMtF4y/N4MkhcI11MO3UDJqiA6XePRSoZwWj/azC6RA5vFndY476yEIxJ8kSlxf85zAglIsHZtQtF+qTo41JO0NEgmHMAJAy1BnI1XLBNdNIW27KDa3oNDCc2TBGvPF+BFUZfnfF9ldNQ5BMJba/T9fjPogl1ufd4f4MlyiLIOaV9RLZmEnz4wgWRehnSSmNmdmCIlTptwle+ed+FSh3rvOFhgky5vD0TGiTk2C5qC/Okar/33Kx5/xQ09rDV/6TRsf+l64rL256h4x9EkiaeCOjRdOtTGUoQGQlOkJeMMyu6t6nmT3JTeXh5qVxqjpmTiHNM881Tkfc3fO1loLT2pPjKdWImaMrQ6+tecEVjAtw/6midzS4ZjSDHzCmcsTqEeYxPA7qZCfl2shZG9+PZjwK9cyVsudDCfH8VOHaB32A7yfx2FYU69NT7YRsqGFnzgbnqfHUvwHJmQN6Qml+AOjmFGPufrKCiNIOauhoby3CxS0Lel2KHM/gQ+4qpANDlaKq3MXE8QiIlXl3qjsf8+kn2ZGmTdTTWjci92suBV0dDwIGoxIbPAGwoLtFc70woj4VabVVgkDptluop1isJFw34bJJimawmeLM/xeDY5/I9IMYXPAMoyDJUGz4p7/CKwO6C8oOk4udGPKLqhhrvMrQrTqQDJG3bcNBiqiekI5L03q0EiAvqlcPIKVyb2sqCykmRfe/rdYBzquVPWopNNROBvBYEPKMpWvhIxvCOUy3I0yyYWMAg7aJa37Dmc01qCKGjTMV5FPu3YS4uog/3jbnuJ9ZVhElEsC2ZwrWu+EgAInYqOkHfq9MuxuWnibPj/qnlIAOXGWFw1MAieR5f+LxCQZK4lEdmI2XxSwf0Ke9NHRn9ZdFOEXCQFcEYcPyG9mixFNLgT+sLtspKUGsFgM11ThSRzZNT4wEXFuALYo9VmG0gLQ6J6mPas0Zmy9jytPtTmuii3kLzdV/e8syDuZiqnsf1svzDMU5ePfbYpgoVTMIHaCeY6jiGsIR61T9rP+jrKpcLy3uFFCEos+99VilyAUqfyWeAjbgi1VPnyCGtV549NFjL+FxfkdiQmdv8qOT4rjkSJo0LI4IZChWf06jNLWvAadUiWauAvWZ+CrZnZSnHXukgVNMnr6sjz+CwCDaQEcKqgPfoi94Mf/sb907fRQ6k8TMI7yUj9fPh6IkxE3MMSWwjK9EA7mIVh2opfE+Xwy/OddNLYYZ780FShqUrYWUaOuImMyRszzFWgLaoyE2eokt/BjZLJuDSuTUm3bInokpT7yGMCTvYjk/1GYYWrxTKzDStjDdcDj1V/fWhqyrgNVwVRIIxLasJfyhoFbmVu+c1oe6pQ9ZK/QAJtDyB67zKSBQRSP1IltnOQo70FbD4Cr9bx+Hdjr9+h47F5gN3XTq66OiYwPDgi3fxfPho/yUck5U4bNzGJamCqGBo+BCMsRr1k5GolAXsQvPPNSLlqNdn+6qnkRK0QyBdO2C9I0DFGcy/Pud86zXsGF8tZNmH4dR5j+OVwQiIe2EEaL5s+EP5W0tHqCJZG6BsxRD5tpQJodz6y6HeQWtJN5dj01RE3s3lqkhQkJ7rINrkCkj9j8VR8/vdY0VhDXhhbXvc5Fc/TtDRTGkOYsEoN3RjAjD29qHI/lOuKBX85zbdM0H3j/NMRIy/x3hGpiEUKtXfCnSv+4Nt0s7byPsHO4RijeR3CcfQajqjOKF3UlmRvdiim0zt6hsRm21IhArPhou+mwiCXpnpPomMSkBh6NC3iN9w5+AIJv9+V42aoBPY79d0kn2xVaenE18EYBq0dzXNPOcMGGZZCdDXUgnNGktras76N/+vuPYCxqZsOH9WKwUhM4bF+o7bKhFi92B4KnfwO20PTrSRP9jHT+8l/MeaFsjSlZiS4KcwEGZP6Z17+jd3wb3Tr8VhRd0UDjDjERvhTMVtOnSuUmwbE6f9ysRnhMBE49ebWfmydD99eE6yVuLhCTC4PlpUeH2ComW20cfdbMfqnxo52vO16n7x4nsZJwDJKsjeygMP71GT1laTg02NoIquBo3Xd9aGk8C2qniC7Xy+Mybnjetp1BbTSyGq9YZR7U1rMlLTaAAvjYglf9xuDPXTY42E8CMPGh0mYXRj+cqpxhVYWQNJNDmjhT7EFqIzgBWN2HRE9J/8G83OfvdMzmDn8SjNIGIP1Avvo+3D2j8h5mIZdO23dcfnUyl2/FELzfYZM2gF858c5HPxICEvTeGI4IQqUAoly8tDJWg72SGgWc2gugu/AMT2yJQvPSsX82hRdI6OHqmR/ErTJZe/Y3rADEX14oMD4WRutC5brA8cXyR+HB6Egd0OZeiQ+meLPCAYZxv+M+DPfnp5opEC9Q5BNlbVa9nmBdT7EBu0EXTuSPVvUm0Q49D79q07LfYeynl30HZ8/SVD0w1aDgNPLCbmxatWV1F6HxQ9pKLc9NmaF7sJZbWbnadqr3EqDGclKwaliZRvH0S/Qgyo/wD0dQO7QMZxZ9FXVq7KoaEWvmaJgQ7XNZRztmFMJ5Wu9b1fRBW/lLORvrEydvdkl/vDVpI1MWHSc2TfThoP7VTupA4zfBP1OidJn8JRnrQHVVPysnartANa6jkkzQrA5GZSBerfPUQFrBZO6K4MMikOYOq7oUyfI+LBtww0v3Ddk25QSRY6mCJ1iGEzb2/+fbe6V91ft77pesJ2lcWLeTFD+/0xhXv2/cVMd43ctoZPC7vxmjPlyitPpWGHXmHbmYcEKBXJ5Lrw+aU5ooVHvwK+N5qUx/QORhAvK9oGXxYH5gKxfh5mT7dK6liUBkKkEd1Xm8Vs1x8H2sGIixYrgJvau6jyIk3Q3YknAAa4IRHXjYx4qAgMh6Yv6nt91cBFQrNP/xZ6y+EwiPGZWmsWJ0UbBx8L0Sdc9vGqwI9hETDLLTwWwEuxXPWYhcP46l5kLNvkakJQyHNqwmaPb7Epwg8FpEdAfmdL5AU5FIKt8Bjk0hJY69NkOHU4qSTWyuBe6ebNYtguVSBBOUMqv/zeazcX6uk5Io+YuxSGLdNeXHQiR2wQ3S3VzN6sUMK1zgaHDDCrVawZo+3KOaEzh9d1Gu71TXq3+Ek7jd5etaGxnx4NHveBmicMhK2tWdsFhpJRVSQLhXcVNnCR5oyvW7ih+fm+SdKyiyiZPBGPj3+O5XsGuWHb6/+KzuWCBSCXLi+J36qXURmTq0b7sX6j3ajE5dVA06gRjHCzVYPNd8+RXvgpOf/JHweCRHndXk5c8opbRHKN3CDXCf/mGEqHOH6BjBrEtyiQyCkf5f5N2TN4N8+ux9OQsHiKfXmR9beX9clz+SJESlQJENF4SvQwdzO3vbMB3Jx9K47E/8FB50gfOQGGPPFC09EhCxVj2JLf9o+Nv15i9hbsCq+LcQdh5yeGUtKuAGAjeUn7Evg4Fvzc5CnG5XYwgtUeHKXx2DmR4EnVLbEfkb7fXpnYvZ7vRb0jmXPUAaPBMRdvE0Fal7y7RcZC91qNTFfYnPzeMN7ylZZR0C/Cfws6gzrbCnqton+6vL6c5ZF0jzaA1i4fWmFti2d7U+Ia9VRn4SJLcf24dGuPdmB09Luzsk0+/peciJZku23oXiI0GN4AXo+ZXoJfL3Bs30HmV/jcJxDLEnUtJh5sG5EuWic8PXXww/Kga/YDq817JqT24NhmucNJtd52a+FFxeDBpi0cSeLjiJhxf5W05BIqwKJ9sRd84uuX++AxuBqmtDAbjLpDXIm1CJFKJ4Gkd4Z/z1Aop9MIO1dfeD6ffNdu/RQZoyHynBK17fIvMsMfU2rpwzx1Ti9zqj7JvEdvfZv9SIQWThbnOY8zpGtGYciivvCZhI/zSMAabfq/7tm0ymS+GhZQjmNuGPS5Y+ePuQIx3ntsesgshYRsIV0dLNeqgOA8LmyOR0ew0L5Yw1VU/5eJh9aXYE4nBnETd7JQkGoIIC9JboVRv6B+n3+ieHUl0Ul1A+4tGaarPRoycC+Tai+dXFNzoZ92Cs0UVVbZhXY3Pg7dPhti8umAIxgkk6qnerVHWF5eOpletAmdB1uyTxrO4N3VKG016ruIGVB4mJQwJLW99mG6PWfhHGYENSDV/iyMf9I4nTXmCDdCucWuaR78kF29gt1T+RbXlmYh1ZZMqQrdgHAwtkco4LaJWowLiZiJuAwpsKUOULUC8jAxgz96nuRnEyf7MjWns+qN/+PQcyO8JspzmPXsj3j9y/1EfjpX8tqEStm7io1KKtsjYMlJx4RSGzhOz5j5mlGmQsfsKcw2aWwdUi8wT6kq4jlNWBTXD1ycinF7d3xLGonHVkZJ1sxYGAhSqi7Yc8KuBxw7CFmeY3n7vTia8gyh0uxt6/JBq9QqCLsKA2u+R2s67Zw5jdWsOKalJ3WiSeCBM1NbxwXEdkgf2HCPBCwC7aqGEeLa6VwF+Hoi3hA0RAjkSzA9JMUwO/wS+1PRfL6XMW0oa1cGtfSPXOp8GOwHT93QdIUd5CzOkN12CgL2gBWJenEnEufVACvJ4MoLBNFkMmxrPcGekV6cneChNpPFGOFrU0TihYzQiHBwiolT3E806Dqx8QSCnzlKoEUFYvcLpdDdMUKteVFpfrbVWxUx3YJgTDh6ksWOVK6VQk9Mcbx19KZTb0QKBJYlndX6S1LjmwXslAHpfrWxZ5hofnBdV0zzpWILA+aSplSTyCIkJ/SRnmn9FCE6GXljmYxs+UmeJmCJhYpezZ7AOv9VRQp9fsVZMvOAP2XS2FbVkKL1+g82agyoaYXArrgMpL3l9mUv+qa5yRe9feWURs0rVLhAUDrU8X7muw5vtjUike2VhzwLewhX3WKx4tloQWZ3R/P8ltX/tYaGmXRv81tW+Ppsbx7GnXdIbc3T68a3WbPHIN7nT8bwarQ0+e8KMrJX0RlRGYlYdkkM+ursUgYbsja2Pnxn9b7pYfvK9GILYsg4LD2OCV0kXDTEstjgz7G1jAhCMh1myCiM3p4KE2Nzsc9Pc3sRFCu3/BMVhwPxEdQW4En11XRrW5IbDIUknbU3KwOreVDVfs4yAmRCNdymueN7zfdEdfTZ+1ECTUgCOtJQOUTx7KoOwPrhAmpCQMoQ3JeuYK/BiKJa1kCdk9txX8pB87t5x7ckKi+KiH394TQwMzabZTUrXFXyRJkXa4md1CwSL8oYIlLTsYQ+ylwFohD66K4Utr/MCYV95peCvbLRrx8Oq1tA+dIU9i9pjkx0sEExYZWhZAXmjZ/dQwX6zQwkiqxHIR4rU2UNy04xXKCSKGnekYnlXHag/aC1mJ8cD8YuNS7ZSiF/emq56GHI4M7Kh3s4kZGyu94zk2rNbAw1PlPlxHn22juk9J+3LCocTmNIk5e77lWAszKAhFC0wmCbgQAlq3OUwSLfVJBZcOm6CT82A1VaZnLsGL9fy8/HDar+hqmDMShFA5VFzJnIxbNb6LkNfy2d2GaN59Sozz032Oi9eAaJP2Cl9NveP20x7Ir6gEbNhRmF3t77qZ2haMG2/XAeMz0k8bxUzhGCWf0tW4OO0sqLiHa/QQaoxZ0ReJ6pQAPsnuXHiPBqrURoamhEsF24Vs8LoajZIvjy2l+0tOCnXUxVzFelOQgu1XhcYEudtOTQi6blU+ZBLwhAGLA4+1FWNJO7FNq4xBu17XFk8ebmyGV7g3+NrrBgTQJ8aYVHhMP3V9ZI9rhRlVtXNfA8BWuIw10QiGeP93tT5Zekq9SUkit4CeW6a7U6bUvWbm/uGET4bobqs0iKDjS9iwUMuwXmd6iaiwqdkQ3a1S3P9KOyWUoN4WduZ2XFI3PkOYf76Snrx9CQIGIpThWE046dcUzZZztzRqmxh6LMa3y2KmABYAC4/v2f42cVBfKw4G8cHJoNAGxV0dw+PEbHytJZTDO0Bp/b5pTNWMYufie5hpbSWwh74Qkhg3ox2fxG0DUBj9Mk2kmZL+5S4cUi09p046VwFLK41XhLB6iqrAziYpE4OYoaSMrPiH36hnLglsoCcuuTY1+HB6QwG1ew6SXo0wKzAB+oR7SrS6xdhup7Uf6jtjCfJx47K2auB3jB4eVzfL4xsR8a1Rx167CUvChBlvu5Lch0dya2oWgrt7QLZjQKnJ2NrDOgPfeJCmEp0DsBcmnUA6foD/QSsXBFD/aScybvb7CnZFuIjPGyrBTYswUsDxjZoFPTIw3hOqneGuMEqhIGzFfs03gxkHZPe3efoOrOPFwPYyn8SNETrznkWfgnisMqCE98vhWvSixmra3Utk44eMt3sD9qzzeGkSoNyKgOGqwC3Zs1IKLiWWUpSW57L+eSKO9XNUvydCVm0JNG2VkezKDgI1w27f6RNvSnZleH5rkazo4sAHL4srUOfrzW1yz7lI27D1Ggu9kK9MToAK7sIg5bq2cRBFENgJgh/Vbi6qtEmCc2/R/Kw5WtpiQiKgB1zAl0mr6TjwD9S2jbKxpv8gK4/10H83UKjh7GRrbF9qijo3Q/Q8doxr7ylbazDqVQRJqUadwdhwfn99HraMr34E9/m5ZZd7VNcbGNF1XUNe8ugqGoDLYb6eL/NlV0DgP6WFKKleF7bwJsRCl9W6uwdIwUU48q9XBa39iegJ8i3ixLnzYagm1cyzpqNDh19unV3KSfoKqMog3rYzWCXEWjI4frzpM+sa9R0UaKql4KJZ3mPXDCsd6aJsNnapqqdZxcxr9S6gtK0o+hWkyO79/U0CYDcxk19O6uxtNcfSLWKmT4UArJezTpE5Vr3CvObCz7xXDTl96Dv7FNpYC5+TlvSWA6byGvS3pcOpb5k/RwXcI1ipnfHhqnwd9GvNUoQXe7iR07CR+wk/1RplSesciXlkcAlUgIgq43vRjYoCY+GiJ7h4BFBUByx557Nbud1rIQZ7GfaS6YR/2YoYZvips4v+e5YMF0R134QVfxFjo+SjhUitpqMMpWxhSaseFCD0ompuCh8f8sMTVcM3nLg1QJ8piv/tRdA5/xhUvy43yxp4GRvQXiRCwQohWVQLeqsUDZvzBk7MWzt8xvD6SYCiHnpe4zu2+xzcJvC04KDbREvjkmL0wYY7acYc4nZbq3O2mOVyh8w4AnLaS1su1Z3B1o1DSp7tS6U7FDF5oln0G5q8wYEOZqO7EFwUStjLWrtAFK3FQQJ1dtla7o+RgBDo5h3GTPsuas0tNNAwecxHtK3jsWgZgo5Ypg8s8g2vC1pt7kCo2E5Uoc2JWAu5wVrqpLiPKD5HN1N/Z28omC7f8gsoLSB+st/7HOii6+uphmF1AQRoTXmZYVlks052qk1z+M6S2ffcO/g7IUliIbAubaWR9UqJ8m/i6n4zuPzHEJDqdqG3HtGjU3T39jX/tiDgjWb+Z6UzN/uHbYlas6a8coG7FGxhr+NGpVKOv3zm9KF99UhcOUA9h5Yc11MQ21PxG3ExsGuxF9WyreN0MWkP09X+YJl+NlrSUwZwzw+CjBIT1huPUpZYKUKBvxP69AqmCF9Fz7yUJp9CxBDy6KwXosncwpeert5y+TI+5bhZnoBeE+mBarPKfZBs3IhxTVgmpNPAvY+nz34Wu9ytRyRb8Q2PbdfAkxCUAMKlOznK6etORSSzJ1xCUEmbqqwg1RqHoGEQp0AKDALjNSWzhmZar835I5deWt/NWzk8uzjMtDnzANntULlYe5JVmuU2EuKxrbW2rfPHW3rz5j591mPIJajtzy6jjFxtcxp8z6ompKpmi5ZGBXAHZFuAbwkHE4FvcgHB2kPrxWsEmDonLzboKL6kgJrdp2bih+s0XC/pIHWjsGL59K8/oGct+IYfcquASQ8a6qu5cWO1FgXQHwyqm/IX/hMhNAnLPL5q6HWirQOa+HC2Pf0sqEUx4iWWcKzBBz/tP7BqZ9kiyLxaj9gY+tzhMIyQsbxBHsOAiOwDe5VXYmC8Rc78nmoRtT8kiGXzy9vKNiwEdXfysnFSfLJ+T82T7tSwTwK7j49qMEOyQMLR6jWAWJlK/uTngbs4rnmiJMfelbnfnKqDD9bXjNzhfPaeLGXXDCF0+j+kRg49qtQyPkVeokxmQa+xy8V5B/jfaPLxE9v4Z+PreN2BgrC0/Sdis187U7cco1+Elwq7Pb425E7QUoWDa2uNV/0dJVMJ1e4xvSXlqeOklI7eg34Bxs9yCyWVunIepc9rwj3XpndjUoWkax6KOxotSgJNcBALVAW1PwXDDNJnf43QnCX4e62O1tB5x4pkA4eJvIgpMVuiodiTeDffZfPulGCrUD6LbkYrXlVMVAgHfY5+QuWbc1KLf5xGTmn7LyyvSFkX/G3Ks/SjUGAhP1wjxkQIiHsezd/+oUcAC6HhezuCv4Ej/taPfNjGvWuk5IwWmEr1peRyICQFESRfZiwHGV10FmsJHbLD2JqmDyFkYIMx9KSAjehV0xHIFtqdecRv3A2l4NJcFyJN6C25YZbxL7mPZlrEqEIPomzY1LXc+eNMVUs8sySj0qZV3PKp8l6MU2bxbOTI2ZCsRDy/k/teMa2vt5vAw5Zh2u/EUpl1//rLSpFQGvXyTcfUzXX6aLPKqzB5lJg2Ho8SqH6P71AvgkJ0T1ntS3enGakO32UOmp6kb9hHBu68c8JP7lzKSfksA9XtMq8NJ0yv1DNdi0lHBGH2KXECKSUP3GyeBUivu1b9w7F8Xz6G8kqm4tM5jMGbbc7CVsQlyRL3vxOkhYrfTgCtHmpAPgl1Gb2lHIFlJS0tuJFvr+iz4T53BDugfp3wmujef50j3k5gh0etxdcci9As6kPTdMh17Q1PLjsNsLVqYqnIneOs5T1Ietpl1kORmO9GfcfYurszRF6MHSzuE9Uc1mV1iM1YJMsVSamnnqXdv4MK565bRj+W1HIkq+YhLh4Kl/ySNIGUJreizd1Eym+L8U+sh1GYQJB0kNDw6hpb/12a7ZPIGYkALTb7Edhopd/tpUcBSx5PxxrVZkdln3dVlqYoNYPgDneBmocj4aL+9h6M0fKxiccbGUDtmfSOjO22PeCeZw+pAcs4z8i2mqkzA+4pGChKu152AxM9fQo/SHvB1nn5vzdf2ASLjq4i21he837l31dz5PxIGCrLX5rPwuL4th1sGWXfoXiPg0OqOXBXBedRhZIrCjFXXnmGQSurvLhjDMyFQe8J4CTI4z6MYjqE8H381sY/mYVvGehbqMkeRg/wNQw3eJNadg99sk0A0QcYJqETa8nTKteBHSjAWcQA3UQu1xP1ZTRWJhh8FaksJdckx+L4iaV3UhNS6JnJSj4pToIjTSlVGa3Ao+pcUUjaIL4Rer/dDjEJEs9c614UmibreL+WtPLmNTO0MrSYmjlZgApxPNUHr+EacaLC6cSp/bQaagkH67VByqpB+0MDqv+knSwEQSxQTESqjB0ux55GtxhL9CqhSjlPfva75jFvu248l6JjBUsJSzmI6J9nzw9O9VwnpegyuV7t2aMGQ/mmq2XoFoa74kAAQLUOyBRLGsq0SAfqOT3HAQlnrVu9k7br+ORDlRrPNonZJ55dvQ4lmSuePsBzgy7o9JZQt5CA8YnuR8C7EkTc4T46Yg17shTiktAxZCMR3p+IwL6XVADMnSoR2YtnE3p0pjMilrYN9eewzm6kbP4H1d8aIDZdQDdRw5GsQeJL5prFWquv9xdds5cpiACbazvxFBEuc4/AEunMHRV2flgT9YUpW31t2xkViBtNu1PI76hhNwbw7aDXtZEuoOvcsT8alHpkBS/D5jvddZwuJdG3iaWW7PEyiS4XYvTXQCeQgPOeV+qlRm2g4/APYoj2zxWc6nP+OIhVvpRHf5cKewekW4q+atESbAPRI0dWCciZTgkvRg2MG1EB23s3kVr1/rD9J6/jmiWoDrx2tXY8rSDaKWj0tuyFE+dKuoujmlzLIN4GmV0Nb72ZUoxucvYaQqqSCiStLf/MNCHOonYi1K7/UYYdwSzDpMRgKUKHMKQis50GDR++cznBPr8/fLPn21uzmKPhyhEOXyRJehZEDZ5vidDdF8w4e3gnke+pOvOaZ2jpd6r1t8/SnwttMSyidkD2HzpNsSgD665XnP23K7z82hbirQmsaPexgioY5CKrSjUAkLAA1tXdS0bVTeAneIPkmqfiSM2I3Au3kiessVRmAOe/Lwx/e8eAmrDLPjmalr2aVZmO/s5y6lTPaGW9QEhD6X6TDKeXnRdab4cLmCxDXjyrQI/mBhJwNudNbpm314qoV7qX6Fh5GhUntcHIus7fSHH9RKyaA8jVDtA6dSu8JZ7+9vzpUxWflWaUfxtJLeYSylx6mHoiZCSciyKRRWd2E25+5lFM+eVcmgH8IsmX3v9Q+/2zv4EEB1OhgAhe+0CFxkkcWWNb7rfi7E76fEw1JA2ooMqQA/JYEiRBcrXR20e1K/R4JEW1mYfr9G+cWgpN8u/bGNPZTiaXhqJEK9YhhIsbVqnfr2KYk3KMmwgzYJqBC51XowN57AL+KY2gn1wdQxEhPgTz/qOm6VBdviGB9pTR6iBth6fjnfoDxTSS+RAb0horLGbqcYsMdVul/AUgS9j3aYyal6Wvj0NeeE1dMcLyoGinXToYBjCCnNlwA2t9WFj4ippVve7uRNPl/5G40ePbL9cMPIgghK9UMxs4w/zrob2haiVSKH2DHPrmz5q9hqCT8dDJcLzPbW7WnwNIjW0CY9Vvv3Wiqf1ntHNcsR0t2+94FLfIpM/MsCLnakX7jrUjCHiMLa1XgveB1/VL1kHeA6qahz5kZo70JNjvtdw817l/lkWziB/7xMuSn+PWbRFHknsjre03t0uGOfk0f+Y14E3BUF1Py5jobnJS7CecxK2ZbXxRzy+YosCfAQgLwn/hq/zaZ8VtfmEqXu5Qe5zCB1JHoKNWME1nlTM0R3oM1XF9iUJNtwbHp1A59b+bqXNNFHDV577s5yBLi2ovhCsE2Bh41DuHeB3UIAwW74sY1UyeQl5GGpxdee4ytC2zDbPwDGIOa4ARjTNAnElu5faMdCTe26wBh0KF2cMSfInJLp3By+GJ0ana9l1MPs3YZILxE7sMQgSKJ1OvloP8hAjJXFfBNRgoFgloNyhHCNFDtb/E2/NIZbNCKZ0jnmGEGNiP6KPu6wBvzw6TUgfKDQVhy8xi0YeSQv+pLZzS/04qS5pRFsBUXubFnI+kbZ6hcw6zZATjYmQ/nlYf7qXjYI7kCIs6JAYKpTbUD7KIb6XNqPJ5HyYJvNKBW42pWTz2esdKf0Ajqm6myMqJq+bXuzcNYbHLWkRCnvuGfdPGCncqUGp7z62akp5g+pxcxR4PkAPIf2bPEFl37AqZqZ6/uP3ki3LI/u1O0xxfVRJj70MtKYbwSR2v7FcXirPT3V5ll33vugNl/HN5IvxwHnq3qSedFeGZDOJ8CUw7TTETZOYa8KOXGkp7tL0svXQ7hkPU8/Lwh4JgHo8KCVOvmmE408JMURs5l+gqyFxitjdhV9vyJ5Cr0qQt+GyfJ0yFFttAxju+uD0gHShcn21xHQ8ayu5xUtxyyVp+eDM0P/ZftA/3golsDaGjgT6UITdYmtOgJSYAn8oG9YHshTAIo18FQGoI0Kasr7BzaZOAdtG+zW0ocrbQMdEaST2KYzEnnV+KzyRPnw+cbQ086EVw2uy7ijyo/sOdN7TH6M6LIas30h/+lfNXTWLDDJrflNrWlvGBaLpd07hsJ+qvSJXRkq3odIwT3BuQ+/nPjIbCiMc07+GMMp0IVWpy0/8dBp9/TDDZy/W7YHiREknXIT45YvquwP4NeusiDhoylopk6VyKi1x+rxMy61D/q1nxvfLvGRS27lXn38E0t3eeFwNuV1R4O2l+YolmO0d0d63HrRzVSXaBAwAHLuOaHbIEjTuDvLNDNEMSmK6J+kLxd+CQbsc1/91Y+dqfvqBu1bB9ayG4ib73T9JQkd4SkC99s7HrVI9naATGs9RGDWuk7rXth97sMSDpjnmWTcy78tXHhKiRvt1Y0MdzdwZiPrhogZ8fIhUzx+uycTI533RU+X00Mt15We6zcEvfVwniRacHKFvU/lP3BFBkb5i8VT48O4+Ea3sPjPo2v7iqCvyDoUcLfir/GposhUS2BM9z7DucH2AMbmHvs5Qgb7K9NDrxSKES4MYn7MEAWqAPN3CBgA7bvCQH8BMyKseMMcrYoBdYRwoR4lbbghJHF0KsfoLXXX7hhCJG5fcUisuGV7y05do8rZ7v46IBqY2oLLcUEBxPYbQ4H3Nrijud30zwLJuiDomhg7/XtuAcE5V4JuKSkOuZw2JAkY21ZiAPaUwTOnhd4iKRsxJThF9Ifvr2Ghc59TfB4A0C4WF/Bfol9miOa49ajKFL1itOqgkDrP0SsQS8395xJ2BK4WjX3NbAqddYi78cmrtnlLAE4VR6YEmm3fEsOWhjXkVkwC9XovYROZNCxTrMu5c3UUxPUk3PSCBH71CTy+qRkammbLn6iDOg4YclsCpQq+ikeY95p2K9KdZiJzs8RmwTXXPm+/nmGLWkuCXUoURvJgPmJguweeRXS12Li7g/TyCPiKglQ8jK6tYMgFNUwbcaK1rxCN1gXdGSrdLIhD1Sw8NKL7wCgL6j29yfdjatyMkioLAcsQ17xVnFCXO/6kkSI3A6kC19Apu30naRp7JWSONW+A1h6h+LJpLBQCRUtiug4ZswQ/v8TpYBfoeznFAiHG0XUjlENB8OQPBy+ysOsv0bzeepWzUGrje6kz+8HvdBDHeh2z/+LJSQWYHh24Ek+ZCgJdDJrT8AiNDLpu6PEkKsa0Om2fUwkQxBVxU8A25BCmAK6ReyeKQkFXBFX7k0VASz5VZNMPSmu0DtAgaUnt1uVIBj+wv1fu4MD45p2Mo1dhIKufpcyzcJopk+OcQCyiCvi3FVI+uODlXfNF94CbDhmC8WnA8hdju3bFIxJIAnfNXho3j8g2DVnQNAVJ7o6ABiEaT2JbYaaox/EaxcvqugcvIDau6S3VmAWjDo1Cyu7vshW5c+eJa8AABJc7esOfKUHXiABZmcsyYY9ItgBUQe1u4AAOXX5S9LTxXStcSUx1Sv+WR/ktgQ+VWwIij7PXBj42j4iULT+c1xWMq3hSNXx4OYo5ygaR05Oc+FRHLPYutrtkI7InBHRspZY4ELi11ldDbnM06uaRGZlKDT2yMrY9dr4baRtHMKbOOftz9SYOWdm2X4XQIxSiS7OsK1Dfx3N1zNqEo+hvstH0nngpNTOEajqmHIbSDgY6jqFjhRiUKMYjOxpTKoxyH7e0Iei2U8diR7/BRtGlqU1KsTm5UQyjya6RqtPzbDg3pUSTQa5OqbAHlX0s8QOANWp/tfZN9ePo4kkeeIkCyFcoGB0jo/cPKl1WpQvpEyKfTlsfw37DofUUy+4/xdik2J2ygcRz9TFYiOhUWpTY58CtF6env9E7krj6/zBfixrq46qZeBu5cj3fm8Ojnj7eWx4PVIjlQXdluq17brogpR9sDhlfHjgkoR1TmXxJgRt+Xuz8iq3c9Y6SodZRYvWTcpM1r5YZIaKqZMihC09SPc3RF9/E2oF/2JyUNq1HNY7Mti8Wt0t0sgUs/zsxEBU6U9ae4fhRZilXYXqRGodx+lA4NeSJzFJCwLoDAnENGQntA+Fg//tFILbLFf34ngMGB+1XpmFFrD+2TOUEKGubt3e+oZI7IC2FmOfQjZW/8cga556Rtyug1LhCmLBy9XRdNI3gcYrajcdx2kFbbxBi5sHinC8AHc38Pt9EPzXnCWSc4ngPO99valYlagz7BeduLfbYXi4yMMlV05gN52TwA4gAHZ9naGmrD9VzqjgArD1N4cqVjR8yGkR1zS4Ja4U5bWjbGzFNPAtJ1aEEiB32NC7D+ZcyzbWAZeyGj1sWKXpC5T1kbVpW5TJQf5Y/3bUMbPGFgCsrPRMo3tiE5cHA7Nq20fQeaebx2gJmOJPUkjup9QfsLIoGUrygZUgQttLNo2bJNFJchgIV4ITFcWTafxjrpV/kO3dFcZKx90KU6/2fRbfQpKkPeY8T2qfRE3qYOYucB799ExfNhg+PWwsTMzJzBD7hXjffnZgzzOsJnANh3PkoaxYiKgtKo9kca0joX/e0ogtqjGw0vQ74OmLjaOpeZv1E98QwvLcvtiI0CyVAk9Wcl0WpGyN7y0JjZjo6jY+mj2Qfd6fiFO1ksSZRDQgeDU/QlGa2d6Wnyaq436Ny7mZEyIvPEizEsn5Mz4+eIKp0f/SYwymkbLD7/iW5eMMMQFNX27S/vsMHoI6cEWQPrGvc7hbE2lLE7qrXU1uv/mn75Q5L8wfC1MW7SdAMbgzXF+WBlekjeezOLOSonDi9Ox9KklTtUzxMD6DeDApfUZPstLBeF6eT6ClCSHNDPIIixoE85Ud957ONVQrJZPMaPKE11FDjSemRwyJzfAk6cqy1LK8YlhXyULZosslmWhfc9iVgfTOxg39kpa/MAXofZovdqCYZ0J+s0hEIG90nx0U6GZBZcgC0m3/Ey2yTLaEHc3NOSOFYEFDx8oO80PloO/BGHcoUJ8YWw0S5zK/Q/jvZCiT8EiZBno/x3ttsZmMOPjzyNbw3zviNN+xSKzLDkhWbwDCaOM0yNPhcLufbhYW9ZLJgg1anv5kF8PB6m+/mUD45tInYIOh3Z2sFL2J8mb9Pncruzp4r9Ro2kA6XZXITrc4Vx2QBeTd98vc1DL0YjbMYhmGfw4weK0L9+QdwD/qRYy986FgJyf5A4/5xeRj8uwkAwu6uB1BHOIQiiZ8VmChothSNDJIj0IXsbF7CNo+TdNLYfmKIqIkklAYRTF1IYwCTojldcSck+YduOHkf5O6QfJPv7Qqj1qg/D+SsJ6Zz/CPhqJrnF+oou/kuPpknTeYDREPPepDKsSsQLPU3E/hS1ldPHPXPj2p/0i5c8R+rNNPbqfZQJhFDX/cxA+bQubhIpGizvhqD0qMhXv5R2QqsdqL6eCdMgkuBomNQiuK15DgGh+8QjlDuRHJ36YkA3CdPXV8INUXFCb0EWBIFKEqzMYkzBdNobLUb0ct6qwWV9iUuyfXhfdxyu8G5k5YuCdIuR7aGPaafYvtN7OT9qYu4VHDJykG0c+OmA/1VDAmSUUkukKBNUGMn1v1PIWR8LZtnNbCGsESRhywOxVs80aLGtoCcfRdcr6QnqPEY359+x6hguc2FeoGXgdDgQlQGogYkHcU1U/Fd1SmoWAqi/+bUXL7oP6QvwJP2/WxRBWv6OjUYiZ/14iedJfhSZfgIHVEVoUlhec0Ei4quFYjlI9p5Q72GyUDbCsoa/9ebdI5Lcvg3OmkKC2wXtWPHNTksj+zrZu4wvIWNwykf1Fn6SBzzCQGocHjF3Ri8PvLsezQJMhSNUe7oJNjmxR8emEVe3yUXjWsgeKB+lq3MTKowm8ViRCuyBAwqFkUL6EUDpJNIqIfd1DlXJ5cxWHxqSOw/iKsNlaZkzrNehdEAFyGiCXbDOfxc0Yr3y2YTcmd6Z7uHYMg9qjsoHFo4QzdUbrcNxxAYbFXnoJvhSEtFZNVzNo55azZj9+bHut02pMh206w3ssyLO/fnS6aBSiVdHAf0ApJKQvAjcJ6WXUKUZDQyQ3N0ny3zd/Zo0urpgpyzO23O3quU16L30qvwmdcWQHC/iTzmp8G/paABVyQf/4PzeqhTAxnaNdG69WBUR18yc+K8S7sW0+FlYSCIiJAVlHPwBhq6sGA0D/t+rQoBheFQKEXHwlwLZfFBomX/5Ui8JCQqmWBS3JyBbqZ0tDl5hGDpRuyBcG5DKv/MW0Sp96y5rih/gjPZs99xZshKWkxNqyhh2w35upZJk5Kyr/F1B5eNMTs6rGSAb56MJVlPK4hmlTOXN3OoNGxT4WQLcGo1e0+Vc7XOosN4N3W16Kj+19evHdgPOgoo/V7Kga2AqxKyIS2ZcOR0tELdnaIuAmLZFrb98g6IBLpo9U3JNJS+preUMqRYE5kJlWYLoTOgcXAy8LrpW7dqcZNXorDCGQp2w7jqA9QXdPWpzkyztGlioK25eYTpKQNKFIGBISZLIESgNub1VlhZw9aaLbWpXyXsSm0tXa/dYblJu5oo+srNFR6jQORgbGySGHA0ulUgqNIjFv8H+N5ETKttyRufXBPyjpljqZfhvRoTjz/RYhmtXkLP0jx2SoXX1AXgVLH7LESxOTtiUg/QfXUDv4sosy+3N26XqHXz/xCpxgim+W21HepLkwgwS5+vlaPbqQXQmaHLxuYyl1VmpkQKzmnR2lSU2AcUFg7R8Kojuv2i79tFPl9WHjVmlkUPwn/4fiHKzsKEKslEsABGhZiVw/cjT6o7byfFL0TnUukgYhwrC/DFq3oapnv/dQnhUIgKeM9zUtGdlP75Xz1JT4kk4O4jfd3wua0RsAACcVbhjjT4kDvhP89e4YuBPp1SEwBRLCTwdmUqW2FZgtagjbIgD3/t2ffH7zkGsqRihmlpEC/l/0WG8rfAb0pSRU4gzUO78b4sHM8bld4XZRRvH7TTQw5kun7M8E77AGHXD/eVs4zBWeZ6lJVS9T/V9gFEUHCz9f7HRiQa7t4G55J/RqHqNuEmlo42idEWbk5pYSezsuNcM1aG3xB2F3GRIAi+DLngeWF3bTfHVYSoLIMDrYrvjezaU6XyXMhdBKkZIsYuep3aYLrt3HUHlQbr6CsYmnruBMfA9nfPBgilw4vX8b7iIZ0TaoWAsImoAALsPAWdDoskBaXQjtlE/9tuokEaeXnBxlww9U81Dq9ToDssVh7d+syB8fG3bdhgfaEAcX4ApKwdHY3xlY1umyqNO3okvulzIjnypTeBwvDwbn89e4e5k7Rg5/6w2S8okr8l5/d5XTeMw8uceE622Y9yQEb+3NVV1KrV58CfxhGTS5qHY2OXhvFSs+BuMxyOKrt6eLACFnWS3NcYupq/WSBW3231xbjRdGmPIC8q+/ifuo/LZEupLdabg+infvrMgO25jEETYmJKchg4qx6NT5sHpgU4S2knIjYyiLTQ0uYfy9Cu3ksKJd+CHXzHJlnlVzXNwuiT+11rruJ/eq71pfj31eenhc+R6jHkqyjT85/LAkGwLDrrddFDR929Z7oj+r0UxWkqbsx8BXVWfuHNnm59HfxlfQ8+XN7R0vEifXCZw7aT7xi5imX1bKEXyymZpD486Xe+iGmFnxNdId3VqRagcEB4dPjmyCX7fGGvlPKCFNBOanjg1iSTqG11QOHfpGwVrn3+EsTqoU3SDty7Vp46nhX4f93Dh0lZmkByYmmKVQ02mgbaF31LkqmXAzyUbmYuX5hoB3/X22EzV9nVcDsjOPcAz4EUws8cUCm02dSyzrZNUNmquTWHSE7u2S7Cb3tEhX8m0of4Bkq2PK1fJFWbznsKqoRtddTPK1fCn1dn+QKJy3ac7+eMdQQ/skTopP9rAZh9D7/G8zwfluOGxr3PjDLuWpho8SMLgZnsCtdd+XkJe3TiZQ9IwrkcAu3JX7edSUfneuutZ3SZ0dzwCn+e8UcINaf78axyIpCyuOMaVnkfLqRR1FEu0TbWu7S65ERgLt2vD6ttb87iHFvh1e9Eb2g7gDtqi6PZOGc7DIpYePwAsDNH3lhijB5xGZXvlDzVzRHwBl9z0Tz9E02X6HgBW2EZbYNaLLCfyk5Mr3pICVJG4l7f6tosSajZLjJChg9ZJKU2N/qmT6idd6L3cc0rC5wGvdYauv6cED3ROG0mJJ1gNt0AB6d4p2Mz/lQBVB56FkHZzGuk9O56/u6Hc+93PdRPGyebYSZjhCDk39kwyqhHonI60MKq9oTGgGD230ZctsixcMk44E37ZSk6dUf5MqXxwALjsyoZP7sEORnoMj1FTuTtXHjANmSEXtwWp0G2d1BlN2U6XaK684ST82a5H9kehNMURVRFlYx80Tfj81F8ltXpG5XqRloBotzn7K1tGD6r47DIyTjNYLtXtbZ+Nlurd2UR5/PHOMMmcw7dnARzjjDdYVUwnoHcHrCB+HkVGWNKdP2ZOUnCLWNDM5QSNw/ys8zEcoaPQkfdFf61Vte1uT1xmRby8KE7A+Jn0YVcXbkkD6niM8WEzFHMd0bgt3IwgrxCHKWilrZSHkcAsLLdFStObcF1C2QPXwnGfGD+aDx2iyuSIFyS0qWI9xzDXIGmt626XrQAI1EieyKEnQ1TkiDefJsiehNLzFAYhjLiSChnfU9IvCUi0PVQNWPtV6H8E+qv5TRvxLBUSb8EQ80koVIISLb3ClBs79HN5wIHb1gGF+igOC0/UhKLldFp3qqHH9OtxI3h1e6k9Z7GhpEf/DATtQo6hhneDkmBgp1oZX3l9KJQLfXLuatPud4eUIETXnc5D2PARHxfAL4OzK5j8RW4SNgU6SjqLixbhTpnQMCFKr70IQZ2wn+pvCTsQZJgYp04feWyJmswcXDv4OKSYVjIe3a6JRIes0frwxuJxmFZlU7NqppgQF9Hk+NZXUpNPizGME1QD4+2ynb14yqVNPGznFDHBJZQe5OAo2gBEGG5OAYX0q+1etdufVeodMI2mHf8cdbw/M85ccvjPnLLL2QELAAf8l1eCHCAOZtuDNXIfMHtiam9kMmdewCoL0IxCr2fEMdwzNGEtQrgaKVWX4/Xhg96u2qRh0VWeascM78yyA1sptzaLQk4i2bttN3zLjKl3Z1kVgM5Fn4Boi1F1AKGD0bKFWF+UwsDvU7LObNeXK1Z/idSxugLFWsYjkGWCVdxR67WNRVM+gmwWcbRlmTcv8ngj15d2qsdJJlRKt7+4YDyn56d50ZoMhao9aR22KVnPVN9zd6mKJr3THA+bqy7kn+4wm6NYP71w6JF4INLA/pjF0VdZosdluaT4e/+5m3SOWCpg9VY+EpI2mov7HHRB/RKihg/DDo97apBxJ7M8Qaob4C0fZEDXY5uTO3hqUPHRs7Rn7BeagYz0SHie62PWj5ARaeEjRA1R/Cm3CoNih5op+J7L/2mWoY+DfUrmDlaOl/3cUGGQsr+uRAhzOxs65FGEfxBgAWi1rZbD/gRRHgRq8wmF4Zk6FzN0AZJi2OcVpI9OyMEgm8xbhJi/p7dLiwx3t8b0J2bEpxgYtqOFlVrMNDA2SNmMUw8+JR4/7ac8OkmIqP2FIDyclfuoHWNFtyukx1u95B30SUwy7kBvb8ZgeZmymTNEZ6H4lLY+WzEaBw5WJ17YLrrFGMOb4PWHLp55TGrjSZr7Hcf9RZUHljkb/vPkcKm7XexdcHdmGSpyacFQrG68ksN75JDHWZIkyLU10P32cMaF8a5X3oQ+nKMfMFW+mtA+E0dZnhdNBCnHGJ+/su5PTcA5CYQgVkSqe2kJD5cLbL2HosO23PD68ycKYPkpPH+yGTOM5UN0/zHkAZUveaamRWzZ18ruUjEbyoa6NAcJpS0ZLgCZoUxp2lGJubvdbPwc5AdQxsKwiPZ0T9cErK0cZ/MPfwTRBGM4CRCvFPplya/nVgxiWtQ9XN2IWuahOe+LMKBQG+nC9d/2R3RytJF2s6dBS4dH7zuOR/1XtsEMCwRMjBRMmJyR4EHulka8+yYl6d3aUW/9ZWK4kp4W+WsQ9dtq+w/ZqZIszLycGr4YvVhgtZT05lA3AanceC99RfwJCdmILqs5E7T0j/TcX8lohzinzNC9uQdhw2sfJQmzEjE3DM1P7/oXnf+Q0KAeTrNYFiyKNIrKcXxEzXpE0vBRKsAu48rscskj2UK4ewA2IYbfEJ7v194uPFtIjoKkXQj0hhpW+Z8Thnqp6CJ/z04blC6je0G/diGyvH8ooS/XgdLGZlC93eS6upOB7C1Ddkdph8l+aA6/rQ0z3dBEYqDEFUV+bws6+eUGm//lrNffEstFK29u14E46Ujj4gMqanPbz9iWCGDSL9ygfZZAbiLjaizvDPfy5+4URHFM1m16bVCN33rIqToCB5/DniYf70psOu1EP0fvP/S+Zl9B8Z9np+qbflI5K9hmHHcWkDU21Au+0daJBKqnY/huDMDxkByzYQo8rCNaI5TY54IGg8b9yyFB22Tv5wKEIHp7f9FnMKPw+c9AqDLK+rGsUXYWHpWSjYSfZbff4gkodxgkJaiv9vSvfKXT0drNEiblzB+O0dKWt59ArDHV7Izulozd3VZdvO5nrYUKVtB+fPbSmWEqG5D+KADhEm6y8MPXvVLt2Uhj/kiwPHc2SrGkffA0gySDWYt13LA8Nti3v5Pv8M8rd7SipZTvkuxV02bqk9fRl7g2kK5uKXt/U8YuDEElxKqLnez+CqZO4Fr/3rM74RN+Zbw9jfYaF7rcvSmNtgF1nzBqhljugHxJSXryvn3SHffxiOciZ+6LVhSTQUAgpxHXmXn2RBOiZVLkIiqb8++JoQsB5h/11OYbcmCjwsJOO+F8R3lmZbsW1bfV7esOkJH7beJnapO52HX6V6Twt31SWXLoneimOw/Mcs8UaiW2rc1Ia6L9zMKyssrTC0R4Ny+Yh+2Kg60SY9dxHCJJkjzvmIkAG1Ard6TPWPPwABEN3QJeo41INt3xRPABBNaEIEWqW7E6kRqJq31nJANqMfMy1HM1Cb3cMmAvaGUPY8W8E4DrJ0DESN6o2EyqxdiQeiZV0hC0CQBXy7M7yQnYVw9FkyRKa48fvjpx60ii7ro8HVW3JdAAMgHpI3Uf1FPUaGR6HOdHwG2RCWw4JA9LJHrZTf04LlI6FNlxK295cRHX16wqO7nGh9xfTreNu46HaXWPRh8WImWgvT/R7r26XZkAJnapPF4LrATlH7CPMJB5YCcp7KicZYoR9P8QCLiGoveD/VHBHt1Zh+CDcb8a8hh7+7md+HRBT/J2kvxuY5nhPd5KN7BEjPz1s0Y1sWl7X4LGphA4D946eomjmlG4i6cWl6eEl8+/5ivSUJp/uyUERpMxZZpIIL3vo/Gz6qeWHXaMVBtKYFGw75ijiLpTpLgAzJkeAsR4li2ECj2JavaxvOozIfo+NZ5uropUxV3Y7py2IH3QWUxMbxHZQxcMDQClFr3RUd+tao7hC7o7mYbEcQ5kSosgLdkfWykhJUDeyKMmz98dVNMd4A+G6LQtAZ/GtQ/qxhaRSWf0XXYx9ylqf91yMPcFMY8xAaf9bmsx86JggUTAIVnXA518EomUAbEjhjzdtV7MNbqF6gjxsKd59wG2COFUpz8F+LzV2G2thuHHB32ImK49CGIx0Wj66E5ifvJ3l8RVBORNEpofqYaWUtP8IOj0RdNI5PqENHfMJ6CdGArtFRKtwskGhbBJ9oK+Sz+OeohUFturda+PNU27m1JGNnocfkU9RCVMQ0MbZZ17xyLLAGZtE6Ob/rGA+3MnNxAVKIKPi3wwBdzyVTGzn0zMHPOlF4glzKCXZvqsQHsWtvZ8iKkDQtJaXQiSwrQYfEzWfZxX6lYXjDzcF3UG8izqVVS8UBrI06QsVX5QMEr4WX5PHLMfYGK4oOfxQjG5ixkv206WrCUxfaWP4YV3c6Nua+DywBq03E55MeBTVudtYenXTNcU6c7Hc5i1F/FJco7AQ3PN9tp/+u/175ksIfJxXzjIVSSs6IBL+0TPmgDFgc/xoV4WitdnMqiAqXX9+iWoPPnQr5li/xjoQF2peVytkfsmWqt3/p5iwAQQ9daWvSB5oRmDSP0cTIbj9gwBjzsEyCUQeUw2eM4T8aUqwsDBt5mje28i1hIPFwQAibUy6IB/NTqCfhsjrWobfd10q8jh72i9Um733lbH5hBxQPETH82phTMZgDcToLXM2KOeLCgvvICcHp9qwCPBZdeQlTL/PaHM4k3jwXzIIytfJrvxK9134tJm48ghad9xI5BW+dByB/vjmX3FotRQdXXOxS9J9bGwLdCWJkhdMeLQJqudnmL+7I+Q2Pl37YeYvpPpw1u25T9jat95SaAtyVGgbTMsD25XB5GAN+0ru6vIrOfq3hVDZQxNO0QEKettzlZYmQK9+yeayZuA7rA5Wy1dvbDQOmeHN7064ZzkhNL7Tu545DsSkeBhWhqm4wxcCj7fhZjvY/AlTt65cm+O09RRbNMcPvcvfNPPVn5JN+KCYLxfvPzJ+/bCEG4rX1NIFCBsYkdDPgzVM7W/LMrpt/f3KgodgQ2FurASmmrcRkCKxdEB/6UFN9DsD91Ar5sJn6W0vXsN3cpfz02TTfBA9mVGFbKF/U5aRN74FaTn5IvoZyUsn1pj3b/fshLp1f+2Ys30u0Ime1edY7vnCA+lgrsCUDyiBisXXe7Ge/apZ/rLguXsUVbBYOBTKwFQqXt2z5ADq9PHvNHP6e3740hJLbz6O+2HBIPmv58z9Fn5LTu4K2J6TMtptcRUjFbIu+4PymAHGH3cA5Z52p5HJnTdA2kO1ppH7WVDavciYWPTFFrj+2O9qb65jIwyRDTQi5oDw5aChaY+EQ5oYsIO4WdrjAS0W0PvH4tgH28zoMjEFfwACooDl8SASPXXDTOEB/LXrk94DBvHHwdJTjStk0vqC4xpWrfXR/tb991ZCn2DWH4UKppE0h1wNLaCX9/jBVrduFddTtZ22ds8fOa6ZsezevhTRzKVg2TXm3yP6H8RsugRbQbNO6o2BFn4qF7e7cDfqh5zl34ROSicW3WYWWbqHKGURiSgyI3ez/bn6ItECO2jn61nlTBzt0nRDdugpLh1995/5rRm9D0MF/BBKHl2peeh4+xUmk4sc/Fai0wniLiwsza57Q2riaMdKTb9u8DqvuQbAZ4GP7qdOVQ63XaPmLZZiFDKa4FG7NYaMAWRVU+WYsIMNG/Kv8GKzvKHDTeeAJEv23u7+JooZCBAb3Fu+xBxsrRlSudDjdvAW5TxE3Z4aCfjjPG/i888lF9Up5QyZiGBj5YQ5eGEpVQ3hn8LSsJWFYlAHs4DHaxMkO39d7ZwDiF/rEwcH9DMJhY/MlMZdou9KPttdPmPAVlGBag2QciUmpbcN+QXCRufdcPAEs6/muKSd580mAa89DkURuju8rMjiX9S3rJnmFQX/mAxLoR8aN5W2WSVwsEvbAc/umoKQIDLZMcNaQXXDriDO2qHRhghNgBsnv8+5dNYiZohiSLuJj8itBesS5NWPWKc+tRdnMWPFrGpmseXQMPJ0L56pLsnGrgUB+d2O3qxhMM4uQp/ub0b/SDXOqlUzqj8rK9GNylDAOep2vu73BSd4S0cCIkuJ6QxrNkIgraKoks2nunPXbHDPGeKXb+W2OmRdMHkhaIcCfzDoaQAOOz39UUe/xPLD9nXqMTRyG1omw7MOuNbERAY0D6iZ4b4QnAe6ifQhLM/Sh8XPJgxH4/mzwNsZBT+fSoPflYQUp3/BkAKHwltbwirpq2a7waJF5y5wIT+JMaamMUB+F5mobMqnQanLfdjWFm8WQfR5jDolqICOl5/dnSDcrvzx0qrC/XD70jb9kMScdFlimfGtbLoxfy38I5h8xxLovsy4MQVdQQqTwYFiynvF9VHe+wDZ8hvj1rpmQuuK3/ODMz7HCWmpjSDB3kdJRuPw1wLqR8yXOTiDBLpeR0zlZywcqv0I9NHAMh+rhzYdLk3sEjde6pVlPpb/6kqOEBJCi0DIhqSHUhJ9vsYXq3WCJnagditXrt4ghQTr8T0dRg2Ew7zO1K8K9VpJ+dmz2j5yLGgL2Qq+P+uQPYPjQJvpOUJcMUxBeNSoxRfjw8eFU0L7wSIIll9Z8kcEtlp4pqHER2E4Nhb9F+Da/POzQek74EVm+hlhzt0wAqQt/U0jsPWgwCnnyyBXIhHOUozHVitEgEsQ2ZTMim/ckb9YMwp3wzy8phsd4sLpheNQit+PHx9+QbEi1I0mjxxUOtmGp5IX/sJJFVJi+T64gkMZS+J70PK1aDUVdGhipligD0BGnxseyOHHNlEyvP0AZz3muUOlDJoA8TVP+0EmbviXX5F9kSoWkj28pZB73/vNcDVEF+3JX35AQBDh2ZM2fo+27ArsqUumLSFOXoaTMPQHR0gRuP0FQ+LHe7PGCCpP9SdFS5dEwrKNLWlPLOmBuXvD2x5+xu+vegq8jdFetCDywjtEicCKtP+k+AtHagor18uEU9hkn0skFKFkXY5o/17aan+lLCKcgnrf4Pbm5hu0PRr5hvfLGt2dK9FhZQWeev50EywuYX41n3fmyTu3iu8v3sgE/DciL4RBy47xiZt7Y2ZqNGYPdqIZDAlxxuYM8e1A9xjBn7b+2IIbxp0gpWQJ8av3Em+woADOU3MKC3xfSrcvVQVnYMXE5TblxpIeDYQqlqACjgQ/9t5YWL+iXo7W+GQUmNPnkTQgejf4RyLSP6JDKojAd+3MmGbcRpqw162fREqRPQylqpYiRjYIr8HheGLb5F/b2eTI1/FPCcLRluW1j9YKU9W+yu+Jxva/llHIG0Kel6VRLV6mCgn3q37MvQqtks+pvFoy6bwlh5FulwiUo3sQ8d43GzB0oE7Yk90SkPAXyO9qQexWh10eYJQEegaVIxVjGeYGGqwRucoVY005K3hXspsjZKxQKKQQdefTpjJgrSA/OihQ8jZd0uTgEjW/APksvWlMls3F5mG7MQMja5gEc5Ki36DAvV6J7H098BXvlszOBjOvj629wSWcho2PEEKYH9rOsDiA/aesdKwK+6mlShlj7JNwWGPb9iM2TKJKpBUb8H1kzpxBtkIQZ+nBcr7m0iQnAqIMO0vV69xuMrv2s/NQhmIRR9nsu1FpJTU07reQYwz1NPUDX3m/sXGOV5gWLZTHmBRDKSKPrK6uB6ub/10dl440DZY21neV4flj7IQ40/N6aQALr6xWDMuEba3tXNrmibLTeqL+SIXZuajnsED7dHVpAUbCZ/2payukawRMNFLlxsTF+kKzPCTVQmY32xScFkKrZbad1AmiHhr6JOpvLn2ReCdS6p28XQuXdzKFcABPfa249q1Uk/LYl/WSBWz4IElEnrmGv/d3ULL+uGn7fG8uSL0bBtS4MBeTYUyZLH9bKvncpjb1EveGv8rOr4cuqsvkfms9KbksiVcflGvFuBiAjpyqXIGrF9Sxj9xUDEE/fLQh3mWnL5sNXcy0vYlMaTBwtzsgoBbDhpKQ+Eu8KTNkmlU3LNci2/qDjKEOzYDkJnY65q1isSfEI4ILxYlZDdw1iWGuq/zDriow1BiMcRwsG9PiL2sWDYK+YPDgULc61NbUFDSuMeebAhJ4qh9Z8dSQe6HOGVc4AhkdPWUrDu2/neTpJJRqjj8dByQB5h9zU65GLe9TU0KUiU7Ekj1qGPiSyHTvN1SQl5rSQZNkHqYMY9ZlPG0oHXVL3U17j+uunA6pfW25Qx6r4RpRc5buL6PitVb7spxN77jtXAY2z9loK751h2OUqAuBbmn5s2/SG4OEHzFhY81/2IRM2JiogxtCv+voYRlSBWrvdsmrVOV+vygF9os+CnCOopNQY5U0C4TJ2X3JESk+z1cEKn42oXGYbvSXcaMkZz2nLpa3m2GVleqHLieztDQtE5th8EoC2WXaGl3fK7zvcyKFqM//GpdyrzdqTDQ9sFBfKTNwkUjgc6hzPE2ODG5rvm9FaIwh/nIEcjG+aXJPCTA3C7+qohK+dBOKhTL51hLf/jjdAJkThA8kyLqoahZiZct91KXT+2xCAfNSHakt4S2uPaNGflaFvi+7udWM3B/mR0ICrG94AsM0xInaDC5kxt5OIG5IYqLC4qSK3fEex18LvuP7FB7bLQ4sEMEG/cfPx+CJbg4kTvVPItqwGtlLUb++ccsDODoDtOhgiuSdz6mQ/a8HcZZb4qajH4WedN5y2RTOKhkRKD9a/AVWpSioVrlUKqaEVxJzgeZZefl67xakDV0n+JrvrhlxejcL/Y0V9O72WYWGFI4XhGk5e/dZZGcXlWs5QvM6c7wiwiyaYjf/Gl6sG/p+r0L38AuAS/SsP6OAHwv0ntXy+Ckh9lnL/8qXn1oyysNlW6Sbwf11z4ueooyWMwFR7te7x5jRy5FshuSWK554qqmZCPR2ImwMa7/0Jbn7TGmkFa/83WZZWv32Bv5hn20axI4ctPyTLfSCagz/poZT7h7W9uLUyWi+OtiNkrdB/DDNIs9V+vqRh8s1gtF0uAaTX8RWodbrI2Fm2gVE9XKtGWPvJyFynm76WlsOfKuusY7MoRPN2Z36pxKByUUCWnawYLOQ1F/Y0Wd+OKIRpeyUOgpJfojjuLUDhFeyaj98FSPs2tMsRwPqs/SnVW0B1APOdAyp838b42NghS0wAV3qXy3d4GPat8yNL0VLnd7dVW9/UqmV8522/7Dmt1TOnFD+mB8TagzVUtJqxxgEVdKL2TgrePv1KYCo3+GytAFIGabYXpz/lY9t/cO0ib96eKjvex4uBRT/po5S2BGuYwqRw9SK8qB96dKtP8AaMa1bCrt15NgYrdEkrU9YAVtDY7koNE3fjQyL8l7D1X4GhW4QHUqPlze67fxgr+jjGh9BdzGCDUDORm4QgkgZ5FDprnO0nT/d8IXxtUyqWCAbKvXzbTpKxvMhVoPt9FwdiWZpey0HBGcdNlI68Wipl0RonsZQv3vbrG/w08z2/OmMWCOHMiCaHm9GlNwH1YI4u5pZfBFGxw2uVB+ugBYvqUac6eAaMQDKwLt6TeXAXTrdJ4Bwl/ydcrivxTI3Zz/hzgDzoi4a0BajnhzXZKrI1LxKgIBwELtTEHq3TvHoNwuar3zDCyEraePmzYeeaIRcccsrBqokLPyI39zY1Now7NLIaS6ccb8ZznRRkLyTgmE0VvChFL0NSvwr4t+YgaKH0f74t0yrTKk2iUOyFYAt7aQouHjVf2+RX/Z0a8NFrljNHi3w5xi9XjcwxT9czy7h7SkfHFQ6Diy2kcvqZDleLIIMJBdzuwE4YvEf93y9Z8Fsbnq78Du6RXPjWu8kfz28BRXA0PlKHkncoXeSl3ANTvBAHVQhmQRhz2dTY5RYUAlKDreP2t+pvjemrWQZX+vNTIb3PdJVWsi7IsqGmHf9IywHW9ZO8wqEGmR4TlmaIp0/zUByJN7l8IPQtOUuGCLkoELNbCU87+95pmq+cATjoW+aozBd7yyTI0AdXG/mWA32A+SsFitBkOZ9yer8wwtXMR3BsJd3nzRQKaZMEF+bEpawZ+CEaJSCBq1oaJumYs1BP7Ex7Fggey+59D/oLhuna2CIycpQeucPuLW+9rB745EPRAUjUayoDgV8GU3MVGwvtLby97vX3tMk2pxawnkmmO6emcXjj1qnFg0CHD++EaaDnfgW+FPkumBtTwUPuGfkAFAyCk2zwbSqfBiUEL7CMPritHmlp6hoqwl+zDSeqRrcdmPtb3YO8DUITOcop+c4fQOlhTKK5tdFAt3q+m6lHwzBroVcO9jbxyIWRIcFowz2hB7TlNO6SycN64s3jwqXwqOvURFIBkY7l3Hwqzi6NnBImuC8WZL2JEWoUHgPV0btzctXX8UiGo06itFrzkzs75TWI/LxiDfyUygRwWwbhoDxCB+nkddVFpeFDH0wfcQwkpKxOyRqb2etVO9adroatXsh1nhK59KQ413OktfmX3QBwPTLU1yi+OeSDgIbTp1VXrJrWBSe9X38iuwRY6KCh3IFSsYqWfBmWXsE8rA1dXOHp7XLfIIxOmu5h5PPZ6rySFjhV9K1g5cHndwtJaGjUgRVBTP9V4PvUMry/WWlTwM1Yw62e6H2FltAu+uLAZl//rhoX66of4l9Dba/vYW2zaFUuhqkwvjU8lF4Qv0PlYeRO0ZzU+tRqDKKQYp4e0B8m1bBF0w7D9pqX5M14uzg0CEc2VhRvp5IRelpTtwCYx6TF6OND0iEBt9mShIZMECA0ndYZxhL69pk1xbb00bLZVjSoS/xdvEWaX/y2gbmCHVCPaljLSnddrBs2qzFPkYtigpskyKbnKyPrSQI917ftMFLD0AEGjTz28ZAa+Yva65D7vjbJO3EZOZPTXvL3X4BQuv7Iv63MZ2U8q2rVXUUGciWf41qWztHYZygsD+i3m/R0Rgj9nLqcf8gKqbTi7dOiGG/bRhahAClWwY/J6rX120JiKuvLZAxaNIpHkrf20coimkXD8kLLS5Oc0jazEblPuI8T2tamCO7mgKLwjHaKwkV/QOsz14w9IemnYdsXbKLVEygQ0pgebPJF5oL20HEILb6VqZ9zC23X6GVdoqNhmIntJ/6gqyZdC6F5fi8KTgGWL0BFeOkLTRyP3nPGLqEEtoampLTtfZPBwJ15JpohuFN2A5eCcmDFneWNcULaJPgpBkp9MUCt2uWh0iokXuL3PS2pQVc/uzkFDp6xK7M3+Z45CYOxkp/0K8xwdRTEWbKhCDcnR1jf85vQC2h/QNkJJSdsJ9vEApnU+nQUqsYNI5qlBEnQCbCSMSGMVeGvghjV/W9395OPEMgvPHNGpW4dWs+YgAawjIJDh70alwkt3uBiwBmkFW5D0fXWv0qs9JDPrRMj3Rgixb89wkHXQ2EX8JKvY90reqT3HBMCn13BoOWcous5VkG7pyMsl3ckcL8taOOXyrQ3pe38jo0Cl03Gf9ZMDDjupdl2Pwro0DggX8wIQiTlIg7DOR2PIj/0sH5JdUlg1oGgr1xzeaqaEX0KxHAkCbSeZYnxR2jM3M2LXDTDoKsy7yLCMPgNjgNH0Ec5im3YdWY5z8RiocULCQtoQ7vnXPpLAc8hwry7gDtfR9J7ArPqgYD3ban62EnIhrJ7ThwcTzlGzu9AWcn7kw8Fiu8EAsSe8vL2DFhOjrEyIWXNtZma5ZWO2wSzsV4kW8IQNAif6w5gupsD3NrEYRrxUJxvIICma2KHxvvtksS1LKXplr6rK3zXjdy/3oBKUJDpdKi9L4xBHm5F+pK+8loxyEr4NToxMfLUpl6ix8YTEkj2I0h/xppbUgq1zKHHMQ9fcdqvyfbt73saTXbe3E8KfM4WOhlEcTVH0MCpxOh5gEVl+YdPINeZSQ3T/JlbCvORlaE0ohfqh3GzWm3bNWEuwHIvyH0c1vEgV5TYXfRjUv4+yYJJo0jR42rGxBTQLEYQKJLm/wLEtmegpVIBvi9yAnESHTxj9Qz3u0LwLycVL8AXq5I+G2b3/eJpEgDhZJKaf8q327uFul6T+MmKVC3vO786F1W7rmO/uBIoqCjzmNRhEZ2WrLzgDj8jZCnhnRFvs7SH4plm9uJkcXjN67+j/j/a6sFULxbPjrANWzc4uaCQ80gBpd0bk3VK5l+kHV8VUZaAPsQjQqUadQJrVN84uhBSZa0F8mw/sCy6EXRhbt2Bn3Cwqt69Cd4huIHsh/8poBuz+dOZ0Iowb+j7FVwWzdiWd2edDRXt5UJlkHUeESMjUTt9ubgZf5EBjGIYqkpMoqMyyQaDuSig2Vo9hPAjcUPvrO4OaOelCrcIJt0bJhDlndBoDqtAx/A/Nie4s6T4odvkkL6tzy9ge1OKL51rzjmsz8Wb8xCtHa9BEaPa5X/LFu97MaCONvJ3uXlQlhZOI2213GdhYJVcDc09h6Uy44MPnVEAyTZzw1TZCMNao4JOZfEB1QrXObUQxO/QyhPKmKjsZKIawuHiN4DfbKWtyDm6d0APR5uEAPVHA3omL5Q8LS0UggFoxCd6qaiU7/ltEAPzA4+BZAQTn4mt4YV0SzwSilflsfE0sBSHOioaeMu7QbTlurc9vUVyILdXeq2FmJFAdzUwBafM9QJQskJ1KusOHo+71rJej+c6TFi4mcA4VsgelNCYLYbFXw0JNzcq0rYikjTIC/KZ3eucV3AI8Dn4BdJ1Hfut/74H5zyXjYyy/0a7ylXiBOwiKVtCVDFy07L+K6pQtRZCOSwCDNkcE+I/xJOHt7oEKScldIfJhDZuTd53HDp3HXGhmggPTyC+upcQpNg/80F20RdVQiNC6LMP5i0TDfw1LoIzkP25+8hfZo4UTcJ4+PkY7TJWPVludBVgF7PXuzibpYaFal3fLJm87ONWIkcl6BLUGTXLXj1wQ9BZN/0DAnQMLfhrO+IinaAjjSp9TKwmOeklRYj9MBWFuWIvPgWeqyVz75Exz4/pSXPcfGh9NIrij8+dZiJS3JqvzMLetZxXbHDv2CpRk/sQ/k0bKoG1cwbpLAjwtI3tuw5R6llV8wei7QgP0xYReZhbAlkx0THaQIVZslAvbSGjmSK9ng2DEsDF8JJscK2HcKmTdicLX8Qisr9mRN8EB8WZVIOcGeePBgNRje4OxmcPHafT49Y2T/nGYVCOecxkoAakZoiX4+Bf2OUcwP4XihfB37Uj8h6PG2x0SD8MP3HqGqa2ab0CCa2LeYsBNwfw4Yv2Jf4QOoFapD/9tNrfs71Iu1lc9YYwGxjZYBJGG/yDLvA7ACZT4aPPZMmi2swmKLbXOU15j0pNgqJth9J7zzhqJTqly6ZlPSB/UU14o9moqqMFvCSGaFCH2nAlso40zgMLO7NzttcxoNdspmXiGw+fAxGmde8AEWQ4/WXt7zBtujyORYO/LMZVb4/X6zrlE2mTzlDhRg7oujGmZ5vIXqH9MWNL1LxMbVwm77mTAeO3c5w40kE6dBP3SfTyXtatNd/mlA6iRdrzq3vX17a2sOMjR3E83KifRJPSQ3zoC1ziNGGBppxxJM0H9t294hQr6ve5nDLqzqWrsCIr8kqxIfLPR6UnH8XX/RlngIqkljnsSCkR5YTYBA0+34t11qyQMeWdC1OWww0ch/gu83j611gmiXw+58Dhv9uBPP51nKJyT7ZRye9XNEAahlEEymmfsdEbyW4QzN9LYdpsgefQrohKlkfY3BtRDwJmquOYy0Wb4EcfKq3ZfkLNg4axIzhetyfNLMfRFjqbhuF2LF0d5vGKqfI1TZFY01lfFoBsHbm7+TGShIvkhjHkr2fGnJ4ZNausHBtsqY6WnE5M1WR8aFz8snQq2JEGW84Z9beAg31urTiNwK30GgeOSZAIJHugUDaFUr9/28yltKuA/u17PdVCrz1slmo+sBZanfvKq+crG44oi8ncIxpTND4Iz7RnsrnTziwfdI1rkZSNnEmsyI+CvOW3WaXQ4B6UP+PZay0CwSYBF6BMxreHx05QFvBa9MX0lsMVx38H4AECni1KM0i/TranriIdLnfFxMTpw4A8zmMXNvNU9TyZ+OsygONUq5HQf2FfO/baW+WD8/q5MEBVlR4sMddu3CqN9fzFkY5cdmSxDF/TU6hXUtebrTZqeHj1qac7YRCLy5W/gTNQ2Ue9QGYwXbT7le3OQtSRlM5dBke3VRvis+DEDXShSw4teCd4y82xzVKMmOilEgq0Tk40KfmamAkYvOeHRNF/BszPXbfXk5M75IZN1MBZONR6qtlK7gpZxx1CgkCR830x0VBRstB7oA7xIKyyjaK4mn9gHc2diXd267nmkVjVBIUFFT8fXThamB7R1x5xDp4Otlhbp0lXeCDREuH2XbOS6uiKHhPqhDA3Sek+V3eW3gCU0Q4KQHo5x5RioEqm2phWU3Ag/HA/LN1yDsh9S2fn96YJ+RXozCUMaZNDl/tGtb5fvEK9ylP4xCbugTzMlhL5nqNjQ1Vo8Nm4E2bHsGzx1gTAQ9PtAf+1zuZWqXwSV1p4FENqN53G5luGJJq76CzaOpXvluBIaB40/lSG/N8KudcUeKS47cVqHTq1tRoRN/SqZMo3IrrJaiZuSsPK/opvNHhgIJUJHi4sFW4sgQKsEYISpZCSXTtOQQ3vtG8UJB7CqxNTOkFgkJ7cY/wwWQZKW96hDP9cOAz7YoSLKkvaCYmcyZsvGTYKz7Rx5duosXEXwI7uDRHnxpbsKtnipTUxgVKKAuTqPcRn1d/NtR3b38hPn2XjIK1/Hhz8toDRtMBbztkudnmYBv8sNPjsCBHZ/TNy8fsdufKj+7KvBkJRfgAjjZN9pHnIVsncZDNYkPYP6bKDUQkDgzBHNbXlj93IwrbzlZDK3EVpjrDO98InvP08WQUexTwQ6Xu5DdH8u+nt8BMF9snlXEY+v2K4MFJeTPlMW2ep0LWEpUTEMvmpo2JEdmhQiygTJ3tNGtBA3k9v6kAByAlhnHBUB9+wgQkXuB2OEZMAR0S9t/TeGEzKij3LGeikQjkfd/MR9rnAjFnfNru5um8UshhephN+7pJLkgtEi8gWf51nOrfIYlHsqJ5ezVzb46hZILtvGY/KLl0vUCR1XLPQ8ZiJvu4THrm5LrMn7ue2KpbtFPnBpQtP1EICk5XV4+rHo8nOMg/0o6sNsKD8YlFEep5VjEaWBd212tmYU3emfE0Ij0zC+FB4m0Owqd6n8v2qQawc/rrmZiXuQW+VryhBKjIyxYNUScpZzyxAQmlNtQ31cfPXbhal3TFOcvhEN0tEH9hLUC06zWCS0/AIsk1C8PzQgh3eYQAXIBLwmgcdXSLPyl49vsmPFok/QrOfird3xsEiTc0AhwyfBy89Apg/EdmjNI0n2kneUF9NMVaH0VBRyBPEBVIAbw/SLaWLCx5lurMpcxZE/XYD/K7Uk/X3ifjX86X1Rph5V5mkMmp9PS22htCc/REQ8UXUqYk50Eq8QGtDj6/8RARD1lFFpqRxrHEmQdEfOLtCu0zdJ2iZg2+0gNc91zXCCA1CqJkAQcO8HIUnTuzDEFmuLqCmrDIaT5MDQdbFblWQ70vxzftE6PdyDafkLG+rDTzq9r5tGeo5MY1ZQMkwNclVkyk8oIkEvd7620D14bz0iS/rTa8GILpm9djoK66PWgCAB/LUvQdUHmoSaYg+cP1RZ4aot3T3s17IVkjsGAI5z+PYXYl050K6y3wiGOrDFPdmXgU5PnlUmWF79I4V7WasS2suqGWE1QH+Yw0YcO+goNv9lnUq9GTZx/MU/NS+puYA9AfCJCAm4jkASKg9hGVWEF41oGalJ0j4/wieYyxQFiHoZG3gfCzdU8Mk4eqH/OFiBKzjAUD9EPvatyzxPgPEsWDG1U9qRC/lZDeDGtyvPgPeQJZ34Y+MHSzjqj7lVcA2W53uZaHrWcyofa15slkIHix2u0GsS5UaBaq0yv1izuW2cSKvkPfIDT3g7zW2tU0KbqerWxKRGXyRHRnw7DCbm57U57yk9DR1pckAFIOT4jQGTfP7qgeUMYMnSlP5THKKy1nHAdxSM2Q3x3Edsh3ARLWNojrLeqtpA0XatfdCg7L+cL9fi2EnjBf9vAruHlk+Gn/HJrF2ZQqjvbhtu7IjbCuUOewGHD59o5Hwv4wdtv6g6P2EDhwYYC/wuX8rmg7ONJjVD4LabYo8Wr2lbrwHAsfEZx1v0/H1N17EN+5v6sgEf/OXrCKSvX3IfWQesF08965qdEQ8wmwcmqsN8BFTM9lRKC7WJtT+iYwXDTeMqxJ6iy9SFcISSldcIVzPV3BTvUp6vV8dG/6V53kGi2EYUBj4h5WoMNINaNE71tGmqPCkKvqn9gVbs7ppd/reyJ18cF4AFWlulwow6y6o9LYY+9tGAgCSghxxJIej/dox1tYxT7zgEYT0UwLX5kqcQCh8JsZTzLFgZrYnFDnkF1ARj3LNqm5TV4RymHC7FHcVgYGyb+/S87dPcLsnpeYEk9d8UHsweB3QokmOSBdwvomhTcWlewfIK/7UD+zUzOauzqU3REMqkG3QpqKn3SonCmwZCKMvBjqjb+GvClEnNsTdOvIXybczO/MKmR9bo2syxOURvO5H9JIAjytfsyiV4gV7SQeUzu4aP/wKkEphFU32eKZJi8UZGkwF27/Vczh8UzRmU+CPH4ojD87kdprIVim9HKeQb3XnKLzHyEojd3nRpF8hoa/za7NC/x6Z9L44ioAeCANEShaIp97KK0tvO6ZkjFUfIwHtaVnRIWZET23KQzQN4DagheSwaWK1MqK0tI5WtFec58O17sr4sWCQxrimYL/cvnS24WsPVrSmGPL9b+1Fr+eYKZLvQy7lZ6zmaf2wD2tFis9OMznbqHYFxLNcy2kAfXRYpPXQ89JwKIHfu8/6V0JZ2DKgHR+r99mt/TAzkDZ2dj0k1URfPLHdT5rkKh6QKhB0a8fAxbvUEU/0nGCS2bTI6l12K6+pjJi86OkCHR7McF6rc1dWrAuGkMqf4lgG+sJvg5t5q9ePPEoGtbZi/gTmU3KdMMPRxeCtYYfvQmQcjJHVynyyyG2ixkci0dIObEO3inCcPpMeCy7Deg3Kfw4mWSJSbLW2mNFev4gsmzNpkysuicfI/xX1XzooflTXU77G04EIT31Y215pAy0iRHFamsfh1M5m4oaA3EC3y2e4GhNGQ67tXnZJp2IMHw0ABocU7J9H7UOjLnQjW/OmbCBbufUButPOvUds/EwL2unwF/KwqOWPvvP4qHzO8PRBt5oZz7ebgNuIBV3BxKXFLum2kITQZ8jhSegA0AM0ZwOXIwiBhNYjOu0qjOko3XJRIJtqGiLB/RDBY0bKEqQjW9jgj+Rm5lpdz5y4wquzmsGUYpzJZDhu2mkCD1Un1RUT0iES7TGX72O0+pWs5ZjWbVy9p3pxxSCMZQMsQXfTCpZX+K7cqCNqAeCdObwj0UDLbqxZvY6DglYhUSjnUGgMtDbrEP6suV9R2K2UAfqY3sW3h8wx080RBFhLzjHFIBvMooVuYfnjSByH7llj0OAaS3Tr3uUlNqreLyWpLHMFceZkpkutQd+oTIYP7d8fU0WajSIyi21bTjEWRLsswaLW1h7Twk62vwSxptH223gB09FVR5LMXGmxCeoukz4Zl7K4vj/BRz6LazdLEze6xko4Nqr+IYO+syXzMERcrdsPfLRFQDp3oIOVt2RbpU2N+7napwsmyCrgL2WCgt9TdeQd9NPASmm+RsEjLuyx4OTtovd+7vza7tirpDh1V928xCE28YKjZNeZfS9QRCLRQUqNDKt+1BHZADoZQ5emR6IiE88ioQyx8NVocH13qhEiXFY5HJgYbqJe2WXSXRurJ2kfhU0bYIz3qXnP2erefsD4fJeEteIPp3mCW0fnKBZtXD5u817hvfDpRSECEW561IsqJlinwgKfUiZQw+auYn1kV6ZWBV1yo5FOe8PoUZZjAhokF2lInTVFPyqSrsDSxGMO48e3LqUPV5ilzWQ3JIwh2546qWa5kaCqsbPSISBYKEpSuELnDaafuyy1Q2xlnkP0PEn2W9ZY3OUh96oBMgfac7Bo3xYz2cNgw4MIWdsrWePox//Rf/MPLGMkZkSXtrDVwIWhhow4feiP/8xWCyI/kRS0jhZkHEGZdDObEnAE1A2MeTCjLom4uDNOb3zplh9o5a2m2orlmSP1tgYTx2gc6/yhrrHObRYtl5HZj6UlPL+zxBpH5uNkjiTCsMPpro7gZIfyH8MNzYvwbiorSMlQ+varCZA0ffr7xdIYF3CsKHNMkm9oC8cKKUku1djSQykWhkei4k/Mb6WTjrrthU7+DZ5pMXgdwOG7Bxxbggvlg13uFWyhduuQt+eqzzNO3vknKVWmEb4A8s3S3UYsNRRhKUUxGdyE02fNZ/L1KuaQLpc4lmKu/9PazfrO2njQsCH/pqtOtrDeCYsVMJhPRuNCjE1+boLEWj0ANpd94IgwJwed2QqgzYF23PoYf/Hfflk3rKQiUjwRk3hlS2fAMAMsyWRgEv8WFRC+eoC8wic3dn4jUePJbxWT95Y344PpxInm7KolcW+d9kCvSCgBZjZAV914ZETha5qACrOAU0d9OjDcRSACne8i4kEhDO83fH+bjEie27cGmzLXvwMpp3cYklPBe9JFUYGvzTi7pLmlSukCLf+z73Xrx7uC5u/c2RCEQESJCpwKGZm0hJhSBM1Xvjy48nvWGxj7WdoavQ9SMLkRiHHEQmg2NzrOreORP99stKc8QCqJBLVCVbtItSylEUvh/Kx8vbyz233VcKLYIWaqHORZZzRCm7q0TLJ7JF5nH0xVHyjKPArn9GKlL3e5uEv9jNvY0j+Qga0A02usnXRes75F+wdosWihb6fGS3LywBGPsf7LQ8uo9+88tfFJw5/4qNu8K6d4vsRMWcAkVsFlpJQ3l139dF4eY+tun6R4DhyLObzvW58pnH/v9OonL6JBNenYyy7pmqYJotgfccL86GbkkSdjAu/THoyFTvR8tP2AOe+Clf/9YlU/9fOJFhejuSIPr9/pAWmajzKeAG4vy0Eq2BQcGV1H9gEd8Crp/JDfVpSP6wf3d5lWcqwfvzFxlbB2uXfozrzey/tjNLeORtIWY8YhEPRRS06aam25A+AaVEDGiTvz7hIGcei/Tl/fnk32IpBOWffZXWlCwXBeD8Rioa6KbeJmDrF4Wb70a/9+sVlP+0owVLN1x7Q0n4DDJeG/ZVjGPVJ4Q3DGokCojEU7gIYMJ33VTjXHRQgYlqlEBwKct0j/8afFjl/kbgo2yaQ5/SkQCDtX1Edq06syR48s8WYdDt6f+1zLnF+SlJHPRK3yFIPH9D2nqOlMAdWHrCnUXisRSmaHG19piovlGqRBesA5M5OlV1nhVEHd3KlGsgXqSSrdhPvr/5CeqcbD0zh/rRt1lCsuD8m9iW42d8aNJyPDRgX3FCDpd+xqHJBCUhovdNCp35HoYrKEFZJyb2y+0orl2SbVflVsHTZokIMLH94ucQAq9w24LIMxEmDya15SUFu6qBKQAoQ2G3QC3tMX8gbXWD/+bphaEtvQeQacKXgTBV2qPqfD9D/8UlCmxD28PHuIoPgfRywQG2TpUh889RpCit9TOEKqpWyfLITi38oJy9hh1oBqzfudNHmgkWjxIazAvLwFxwnfYiBEq36rIsL0qyYDBO/mpyXj1Ng5arEt4mGJ08Opnc8ClGAHt5LgRjrhdoRbj4Ra3+5zd76T1msWol/iDGRVjEow5sR2aDrOj8CAm+jDpowGwi+6Y4eDmtAr7vr9OtBUbcHWpCEEfbzgfLOT//n9YkGrdN+LrF/5UeaVlg2bigku6y+gxmMEzpDbtuNFIP+qaTZ+EcrF5ShXB2CuKIo+Hp7rvenuWPJl3Mai8jH64Pbr9X12EMqNos5k2EQP4a6oLSv13NzyBMfdtjyXbV9BDh6PKLNB0UDV9JAXyfiHCf76dPVVRkx0Q75jT/q9TOF3Pwu717ConCYULdAQGUiDVdcdrIih8JoNLdSuEyuoTStURKdQZuoV3jjLFnLhcSA0TctqzBvLdTE/2xkuZCPXaSARInYS8Ys6GbE7dfe4GtGHRX3Yy6YR0SpQeT2Ek9w7LVbM1D2DuCtbHU1Qt/Yrb8A6BKkHWCmCp7+3ok4m6uJlv6G+sThTsTwyQWRkGuaUn3Ni+Zu3L1FIfvdUezjxUtFzCb9E4AAqLqt76UjouXo1jjzWZp3DFzT5rZQFo8w/ntMYWf4qpbCJ0PCzByRg19D5yB5ibfqtAVy6AfO2HOTIbUixacIb//7G0qz3rD+8lkHT9uDlBwhd5zp/tsr0QN+BuhMlM87vnx7PBlma+exCbQiIBTD1irDQGGQQlL3fb0QNTB/pSVdbDOkkbfgqTtY4HUkuPwqb8rkKBQ5Y344rpvcqpeUDPpdwGI1C2/hU9hd4L2CAWk7V3/69ItDyJo0gyo6bVqsS6flQvQvZP954YhXUawnP6RfuQ52QvkS+PSuaws9OmJ5NNMgFVq9AIv/ETxLb7yvkMmhZd8a1OsjfFZGDgiKQTExpcwWZohggGXdeDmbiLOu4RyOtXXF2UOGEDU65B+6M38y/bNuMEah98x/C5PwGKbeKFgM+7m165IlBz9mh5PAUrm57iKNdyCvyLSmvRpeS84gUYh0hccNJTqruf/GAwmCEbRJlkBCqWMEhoQIb6dB7qv/o5mX8AmOZ0MlrvMoYJOQFbDG/bz/2eiq7PB395dFB7klPXCkZN7jAqaLwQ0llvy+KQEKIJb2BAIjYCa85fOULU90HxlJJhl5OCNV/+o3INIsCWJntLRzcD+ttDnonKYyI72G1ue7FC2/qsTNHNYi8BZbYldDVFMK+5mGN9B7/SXtRrwrUhguCKMpugw7x4nus33lqwgKNRkm4oyV8SO3AUh+S3dVhPwie0fcm99UrVhNVogpEaTlx/xvGkwySUDziQ5ZvC46110RxJeEeQL3BaOUV2RMn781iMF0VeWMwiFuY3VVRDOP4YlNSBmmbws1/gNqMPCWw72QQ+DjaN9RI7BKEaYB0SZg/RX6+6OGxn10gVldz9wrK8Uyk+80nI24fJGkjZEg76yOoM1FHzgFvnBZTvhpg9yvN6Ps+xQi3rBcZUOEXX/KrTt3AB6CgWk+xOC5jeyWpaK7kOGho08fwKdw5Pdq1P5o6yDoX43gy2JgBGvkD9QOMrhzPHcExvpEgw9XJ69ENZ9FBl6DOZS+7EaPS/s7kZAXlbQHpI2x7qqmRpoK5wKBSqhXU1VxFaiA0KQoZRBNYm666XqMPbVLwyGMCucmzzrekvcZ7U9UEEn6/qWpeliyMLrhGBf3e9/5wSOUKmEO03DfdO9oGIMhizQbkxRyhJaZSr2xrY92RGU8bmfN7JBCiSVfv7e+niNkb8D74bnm15Fjpnq3MXu6RxkD6DCqnHVtp+Xf3vA611QEeoe5t00pwYM2qe1gtZ8pMG0pGjOqDrnMmVQ4lyyyIDQyTD7WvblB0GsvUJU7LOb77QBtyWY9leKm6826QDuQI7OVXEySK7L+Gj3yJqaKVMYlFtw+8hdqNLC1S6i48aZ6TohNoejPa+ohradz9lamghnoRkSHaZMBk1iMislLFa6dkcB77+y+EycvdzdSx6TE7xA4DF+lTpoyoYmltA8ngghvihBAkYAWPVV37pIdhk9jAEP6JJwEAYZ75rueRUd+cHnvQOVlfkxX/W05Z85nEvl6RRhLK/UGtT68TYhaavUPoRFWnBlDjkx/XUpyNfx/qE6ezmejzViK9Knavek7kGtob86w5950gcrWvcQtjsFIi495K+znkS3t6O+OIkAumUNpsCI2UH7Hfqmvq9+qEDOzVrp2HI/R7cR8gysjkcbbqLt/o2KHEstHg4ybK2AZ8JKMs0BZKLorJWPUAqtUu06JDyIMR7ORB8KrgpLYX51ABY3VZFha+KbUdrRJN/fJAIxz7QFWNxBj5VNjZ/WLMiW8tAvjiDH8tI3xwBCz4LeJ9w7qy8ZL6d/gE+lZdx8tbTsP1aXn8r0I6WosyAKmN3xlGSLf7KHZhohgbvY4uDZLHYbKEFCbvb2ZaqaN0kL9dphK1Lm2rOoDPSFbxpvv7fmx+zDHNLx6zODh12M4Rn1ock7hvzG2ZN2hXlYXWBglpmLMxOzSGFAaDSiL7jSfDzU+yOm0SevVwuMFqeg4jkrjcaL6yUgPeSVYCorCuFy8QuIuox+V/i8nhoDpH3cpJ5bWjUBxzbZNFBzkbzed4LjlLbwa3LrU1L4Dqjog4EdScfj3lM0TYi2c/K5END/4Ri8ldgFJ0nSMww6hJmCwfwQIrz9FNzeDkHCLCrdEUN2vrcYv0tTGQL1qhCfmQ+LkfMjb2YyijwLi+PEYhK8XZNlypvR/VdjAZZdtk6/pLSuhY6oZXP2+OUTQr3z/mPjxfp5FeW9onKRU7jLBZN8YigBjOMTcbpGl/dQcZCyZDmHtVU+sr2WQXTmTCoJ+Cw+kDuuz+Bf5bdl0SigzP+lEM0pj3eQooEj4Hxbu4+TV1Nt3+NNXKi9EO1ueHsqJuF5JIOkGyKsWh5wFgxxspDA6w/+p7TnC6INJ6jtt8P2eaa6B5x+RU1ub/0dPOGvp3AI6JbobBvNW/PNIsAWmXTjW7N6TaktpUfS31/9P0O3/j1TdyqtA4IUqGq2NLV0vsPmT4CskOuCcB1s1YeErLRNmrdO3gNgdS/CGGcUP9nAZxzcxoelhDrmF3C4tOIdBIvXxkgzkbrI9GuAnu2ArXQcvUH6Zi/7UL8QFduWtE0SJx9KSZbi7WV+Eo7k6Kwpzs+3cBAUQn7/tXtQFUr0e8Nw8mrGMnHG0cCiZTyZKVnsrU9L6Mye+BJeK30GvpqlNyqVHH1fNTJq7Jy/8zO9Uorq9YvXlm/QL4706Pc3XlVqjeQe0yrMASnBIj8MPeQwvKyZ/ZbFNdngNnjhOpv79xcKkD69KNVRl7pe///cUH809ZxRPNpwvCfJ1+wR212I2IbpXfEJAFgXeBRWz9ux76jrPCpMQp5dK6McbR5ABx2giEt1fIUR117408iLDelsIl8Uu3cFFF22KUSh3Y+mFIx9RywhU0UozEoQgfYAZLzBec5yiyb1bIagq0iyOYYNjyFCGRC1YmCoXqfJXTFWmTalLADfL8pYgAZzQAdeT5n8s2DBMxyHaOaH+ES2b0j8uDmSxQoCTns3gXrQLFfbfHfJm8xq6yyBjruQCbe3BUwwwPYpSVB5nNGgnD1aCes3oce4s/dWC3DDw8PkDUDQTrXxsq/Z0b1snIfHbO/bLK22TlFRblIRMeMAGeK319IvgE2UtPrbyKPejAFYwQ4tC6Ui1d/aiLs+hLN4vzK7+HEW9e7LQ/i7t5fOmmRHZkQ4lt0EgxUpHd/IncoxDUUTV+yNeUtyL8pFsL9f/omFqHAhfGHMlh2/2XkoYpP3+lhPH9tQ1NethmwOgYnwbfHUr6Ql9BB0gwP3dOyl82+I1ODiijidJp3VDnLXJ+F4/nwNqT6/ByaR2Pjp4akwkzELALbdnqhTACGMpIfqvUkb0tVHQL9LcN55QeQAYKTDHyCAHzKez7IP4aAqQHYgluWMjjZf0W6WFRhZb7H9F1S678VVkWBd2FL6QlaGGjAUsl0ElLThyoRBuYV7YGMKLSo2CsXFf7bJPG+h25Mhu34wvFg4pdvs90s0pWrn2P1J3Uudt9VqNY1LvIOitM7+13U9OmrXnZrf/7rYJzDP1XYqnmQIsa0cbiQKIeIGNqvE+8VBTziofvFxTtoQBXHJK3MTTNRjjJg5FzpGo+O2/l9Rl+wMf6RKqjmkWhdSmaqUtLqxE9SjBPyTBea0453VyhtcwCsb5sb9Nu4l57QiGYR3G6xxUTUO480xUj8+bDOPXMtuFIMtix6JfS/QyuD1Bd4Mx4bfrItjkNBGtxP2Vk/2uDSu5hqUGvhTMMFnaGSF0vsXYHBrOl/5Lzd1Xr9z1lB9VuxxCukq81fARZX649hUrvBVNKWUdgd8WiqyEBfgmqrZbJTGvBUkW6QmmyYdmNAQlg9u/AzLrY5SHMKO3hVOkUeRh8LxKZIgEkcIDnwT7yADCp9ULDgVP06dw4nxKX3JVTsICFb8mcfheSR8C88Be0i0zHe2U5VpGN4OqfblqCEQfBFQI3nbfwnsjsiwghasqpTXadY/WEWGtYlPbXVtM5YYmrGH2iJSLy62kByBvC5EL1VtoeJXJVRAWKj7wJ3nLjHfyBWp1IQzALwqrttgZ/vkRQwK+Hdv1DsBZn9hfDR+XsSGDrY5fSQS5FNmwXQyZa2tOv304Fyl9XvYgfExxKgi2gTOY1ikyqjXAbY3K14weVv8GDXa3czcWZ7qcJOHwKFvVX1cUB1wQqvGjw0aGe6WzlqJju4n1KRqzzETqcj9ZTsuG4YdpIi7WESg5HyvqymjBRM7X/dGxnjSVGQCES89/6y+Ke8K92jr7jJSGy3bY8T9kjKJ3G0UOMIWZ2szSFIQfngE1A1FVeeB2M/8NWLxbYKMsFfjf3/ByHf9Hu+KO6lRUWG4/p2tU58xVOGn5EcMtsTM6HtetoU6DnLG0fKXMlRuecfRC5Kmu7xjRC6fWJHxcDs5wiPqbZw4dT4c1VchGzzqxHB3cV82vloru68KWXg269OM1k9WZkmPG3OzYhpBuFOYdhXcO8mvom0emg5fVpK1K21H8rbGpyjminZpAbo+u5i7Jqqmracmyg984Zw4ptnrBjklrpJ2E3E9dKfpSBAq7AQGoA/gfEfRC0ZU6PIrDUe2r9iTZ1P1Atb/lpeqaInoyvX+IqZLblBoHqsFF94FR2kMoj5vmoe04pNgCpl6MjX/rF84dMKExeoPGk1euQ2h154FOrZmP2DsgMZlPyRghZ87elaJ4AJiplByPqgsBIFBrG/VVShinnNunwUasVZS/4I6MjhyZN8HB4tP/xT6FljrtwRuE8o2fYGB6nnZjdHCH7F5DQDgpc1N+95acxhvXxJAnMHTrv+SuRLcVpnwrVL9Hk5r5WgnH1YAVuJpjk3hrOhMQ5w4gVMAk63WIY7vubIoHsERcxyq4R+BjxyOQREjdDl3aRYMZcnFJf+OteLSiwWtOd7dUJc/4A4plZqOTE/mL+dS5db8C9vx55dEU+vFC9ZrSHGbV1KvH+RIdybYsHlqM5EwJiQSB6oCIrhHzt8zo0WrKsTKAbQr31c37nRAYqrQ617X5ebsio7Xjvqfll+josoT2EBy6h6buHdLnj2yA+AezTCuCEUERjH0tOLoLT7R4yRk1JtAB076oMz0DrjesTze/fYCbDIgIw97tN9AYFd4Eue5f0oBcmaUKeGgPOKV9BO5xKMzkg+OvdloP2Yp6ETRCwDuJeyh10T7mAuKNBl2uTUzUef09E6a6DCAiIVGKw9TfbiFCehlshHMMiwtYUIGBtyc1vgUethHwJjQpY9EyKjwmoIH8ht4s3K9I5v4z7yPta8r+NxTnad7O+lox6lmu6qenjUvmTn0nUdcK7ZPScbnEEN2rm+wjxdY5yVSHuivEntjEh2J5VyK5ElaP9r3hYg4G6XjxfYIY2WpvlRYWjKMVZljbKX+O0rPhjHSZiAgqNbwTXuxWIWLzpZfbgIm1HhfEYa4pdADWD1KN5AsAavY1m7Ud768KUkYM9wjMGo9KwHq9rlB63h4UENmTuULzUavw0On1xSd5BWPNHyA/DKNLY9vQguPZFQLRXNbGMVk5cMdDcpfxhwY70w3sXASi0++8DZy8ghd/vdLheut0qowOUMOx+XLqlUd8fxoTymXww00r9bnXUMDpM52orHGemaVZZO9GizU26Y6/t2dkQ3kIDpLnQUKJjLQLD7tkWkaAMllihMSITOtf1VdIUpBRpYahJwAjgorhxnknHPw9FQOkRwdhvs/dLLml7GXkrSfBh86ygfgblcyDu98DPA2H+aR9T8hRVKnFQAPDDw5Z7SeSkgC03/hMon7P8ykKUm8RPYBNvsbwqTsO1147ej7uFHQYnlp9uCDaOBMU5TC0Vy8cb8hEwlTrmWruKYcRSrri3XOarSFTzf8u6TbwdcBtTns4ctYbmRcIroHRZqMFp9BWG6SedBdclE+zgOGZ/kknUwh0QJyURYLhXPoKfpZO11Zxl8bfNGxoM7F9hQCkI7H22zgUoq7LO8i9oXn854LswjmxZD9AcKAK2a8tC6jypr0Sm0PvPcEjcx4hkq+m1NroSq7Vo6w1VraeEgP1aF/uG7XhSLdUzRvq/hGm3thTFIYlAx5jXxBAI6yhNjWesIEdT0u9LThIBxQsxYp/VpfQeikIo4sL5gOhywjbFoJ64T4JWmwkyoKlWhR3aHAKr4b0UEjjXvyPQQ1SOfjF0TKK/riC7VZu/qdFi1UfUblAKx9DYA3c3cLOGLo8e1GUyPPl7n7KgsmSu/79P/Yx1NvO9RZMeq9TVqejTKLALaO79LX61vhHFrsPFzHRuYS77c7EfXLL/ZhrekT5dHr8u3ZrDMOUOtxkrfznF5phXkwLBXmSTlE3pJsbhmWf3kozHYtd75B0n5MdZbN6sMmI81uWTP6kaUJrwJa5Zq6wnyyJ5D40CdmEWHCyYP6nvqjUA1RFCcrMKmp/I+6VBR4F8kP9syXwFjfTYw7qycvs+ngBkgt+6COVW/XZ1XAAdOXNeMC62+rbUTR2GdjLNC4MO+YSDeNUHkx8UKwmK3dgpR0tOsJGl8TNOEyToQO6yI8wrk0530dCwCwgZcJLuxXmUZGlEi4i/l7Ssn5wur40Ig35hKxLwP+WfuEDcy8wjrIrCUv9dM3kay1oyc3liYFScWfVc+YkedyhTWjYUH3YiCnJrAXMZCsWfAQPg1nD5LGvsixDuE6hJJCIRGMBlCshl0fEIk45lYdk8dj6NLkFYJiwH8aAzaXex16LHchcHPsO2HW5CoL/u6PR6Jl50Feh0zks33hQ75lPmFKbQE8k6a5x+sxQaPZE6BxGvUEm1N9hBpruxjgOeTqGouHoSrh9Vj6Y/Wm7TglOkQMcJkCX9DzdiFMuBSam8aeVRHVrstA/KJ23R7VrBrwninzBcYiJzgOr/tc3xIZxPej0uuDZ0uDymePMWyO1x0XxRYN4219067mWUiZSjxg1einFaEI1pbvVmpi2lawus7ZWlN1IbxVck86Rvm+JZc/gbPBURwF0j2xjnikbaUnru9RMxWilfbFRT48UKGycCrrF+MhYfAIM1OsIz7pElOPAo3pOsw0Sk0tJqR0CmtyqZeDut9lznBbsI1R+pqjCQeZ5Kmbi0qBZevcRRKYUIv/zvFGrHpabgRoBZpo41dGjryJ41PWSiYllE0OEYgh0uLExbl2M0xEd9p9ea9IjMLN7LKTu0LNbr6VKD00j+OpQgmgMG9MitzKUQO74rF447h3iTpyLnjmfxUXVck9GAc+eqzgGsNbmsftqY0vKu9vcQzvBmbKm1/xmDwGuKa1rLygDKXEiOMQ51TW84F3RTSiAkGOaWjFIW2xACVxLlzM8fbD5UuBdroY0E/U8HxbE96QmK4oq5J/AJp8nI/ep6PnPMq9j+fTJr3hOl3MuEWNRk9XSs5PQU1ie5LLcQF3rkMRT5Yi+JV+UUXUvMDKRm5H7hAZu5FrshGAFjyamQ5XQI7b73X6g7DlXHESZkXgaegE0OyyXUxSTzFQvj6F+a7+gz3T3UQrMNiL1GU/pnwkmmlPMdJsTkt1xjfTEr42Bqymm0i01BhWKY6C9DDfWCn2+ivV8Wv1bhDXMW1BaaKCuhmiY7KrAoj+I+Uu2cMNKG8/P5tcaTFFkafhU4ChkeQcIxGn3wClMWbEl14Y6/WAEhdA6JPZXnQ57QKbVNI8yGdSV0UH1q7jlHeS9FrWtt1X0owo2iBg60kdAM4AONz8/8g0FHs6ZjaFe1joVX89X1mvxtVGkr+AIXoY43m+B0CRFlwm3UnjOGMvxB+QD2rs0HJBm8oytQcw69OfEMUw4St8zW+blft9LvwoOkQye+uuByyY5+SNmrUkh7wlBkPmtYruBbGdOQzM8FI9vXnYWYiwpR4HlqXXrVq2TkQO4Vs68WRsxK6mhwHbS9SaaDxTMh/v4K3jZYah9dIZRDPYfyw7F3xpRoEd/086oT8m9yx7J9WKPKettMVgGlAh3i5NzRXpnAsy5pkqy8IBL6LJmKJUIeVbtYMiyBfCK+mee62aDlbKLXVEhj4jPo6LqU6P4G6JCg7NmYFSuG8fqpBPTmBy9ABDnAkr3/13oBmZYz2ugrsEZCbQfwEQX4zi7Iw2iI5EfyS4zp+pB88OO2l/E6LId1eRSPrSzfmgI7++uEuYugr9FzG7f97+L3v7LxU6QSANuTh1efm77R4iuPHcMe7JVKBnNMH4CR+blfd50+/4hi67SCfnoP80J7BwYINjxTQBaNqdprSeMWJ/y88CHHiqT8hyKhBX3NAgaIJe5KBdLJ5+ytnG45g3cqEXJ4wS2HG0vUJ6YwWwjOYaLXi7UaSQjsUBt/lAqW/AE1zOSGmWrdilUtIFKqumHPN8HEMJynqXurAXMpV3qfzBU9ZtCXYbtyQ+ho8NjlKa1dLgoBankttHuEQ2i6dUSYKNrVqd7j7BoxHY1Qk/A1sWg/y4JibpjUI/INB/0mwvh23TAakWjc8kL3tETqDCg2OjOZPUvm4KoCFB/Bra6vS/3lMwEG0BhhoClRtTCE4bjpO/koSdR97wErOlf3Nm+T94bjMWl7qNRsam/M56+eQeD5cp7YrbK0Nr51X7uz1hpIx2ggNKqlB6o5Q//Fgekze96NsQVOjhjzRPb6hbtYb2jXnZtFS1amSqqlnQ6n8Jt+mh+pQUxNv5A/fjQbSo4NdEA5VfkKjiEORzNbSRE+5+YwsO273/V+rVe6pVrHqS+Xx9qayRStmeusfwtUGtvzHEClWoPYlmec5KZ/v2pPTtmW0vikVcJhiylBZtGkxgj0mPNWuXMhgoKVPePFTHWJ5UtCDS3FsBzlZ1dftW7wexvtx9rL6dA2LfgbmuCSNss+nVvZ5X/acyREdOXSsjUJe4kLYni3CqCJhWpQjDIvgcqOg9mfjJ4+DnVjLdZalUo/HCaV245/oHyWfNlUaGli2LSaB1V160DK7pJiFPNbiNMlHMM3v1+t2cOdqehes8ym368c60v62KogBLIuP45A47W/k5323eF4kAfRnDkdpDoTonyeEvZAnlgoGIxrCc8tnqrZGVI2kJGSf5HP7sPV3xEjD+ATA1LyqRpqfCyGzhfXz5lA8MLDlGh4+ockYufLy79towun2WQC+jCY4Q9RxNssmLkS0YTUyFL3Ch/QjBOvSzEtlzT7xlUVlcOMarGEKZ4T39RWHEgm1hR9MzCC2KxZlAG6imDZpN8X+R1Dwuo0euc85rUvGreZfPbgdkRWwnQxNBIQx6C8IzmubKaXPh/R6Pr0pVTsyaei1oDkAyQSQtrWMZVrZ3k+xq7Ji7N9YOYFnDhsb1TS2TPNYMmaHdJEzod6hCdX+PPeWsLFZ7oRdpC7K/2KSAFymmC+V46J4IHNCOYb3ZmmlGHNFK9E7CdFkL+f3128IJVjyIqN/F90AuiEqz+2K1Gbzpsv0CQiS6duwIBb4/0vk0X3simgRgTAvWfHBvMz2SnutSTIzNi3oLWwt8PkgE7hX9hQloXAiUMJsNRfYoxehvkT6BuaVvcypV7kuVRJhQiSXezuMYGZVXFdY0j354u28WgAU76QOYK69YUdur8b0GEmXS4L8PrucbMTvYOe3AgoLGYN5h4jcE8ZzGhqLL6VB7+WhIYwZHEeKd78mIiIt5xoEG9LeQwZGYRlULqwkP2rgxJGjOmpESA9tB89f0PJK/LXlOhz3Lb/ey/aDHK05uf3bVGOT/iyp51jkY25Eu0cUbDfl8HuVf3vcXcUFReOKEH0bOUn0KWMet8K95LjawL8NUqvimLCZI19n/pQ7gPRJvtJIfri0LeOH3lYlKFWlM9iuPOPm+qnZeKnng4CvjAaEU+vuA02eYDycPWc3elMWC36AQBvSnuTFxjDkxDidcqJQNdIYmtiwKXdHOI1jOA4zU8/wl2oSoHb+JFl9VB+Y2Repo/Uycp8+DOD6I94sGXtx2LAE0faa8MJusyrIVALfm2/m3prXmS/paN4onZQwVfOVMv9Q/O4skTcA4RMFzxveB3yBi+eFbNv4Zhao7NSjFSohXOFHR3ZOgtGM+7udvq+imbahS+XbmEMhz2vfY11+353Ex1Aucr1D50EIWU+h7SDdJi9VnSHQNWMoCOYHkSxNSbyfQXm/hu6xG8jxala4spowN6Z5xptvAKi95DGLYHI3tJAADH9gLHNQQC/TZOOsiStcthK4zvlqqiJn+kQ+EvCozEJEeIZlg10VD/4gdXpTY2yBAn8cc5lvh0u9PCWrgoEyMYzqD0MQk5LAUiF/uTmBh50PCf0w7tnxyYn2ECELLjxLvknOV4e4wjppGe3S56gYimcD0A9OguoX711O9b2uu04YWicRsc9Kv/yI3BI1F7eNtAGcyFFuejqvL1wfM4Cfy5z3iDsQ6q54PyrupfGmYrfkif00t+d3taTewXbq+bgOxoZTPr/rtc4dsRzY0vamODAVsSiaPhtVDjHt7lsugRcnrGo+PewOjIvJ18rgjE0gIfjzAvEpec/AVyj3tZ0h35gXULt+fvaDJ2txBU3obq1fIMtLT98QbqF/9ix8D5L5WJv724HLw/+kV1fF6OeEXlkZgIOPEWXMNoV0faer4h7dGVNeI5LzjyWuOF2+o68QaD3baPUxR91rUyZl7U/cFQUeQ86yH7NP9Eg7O5DlfqOKY2pmNwbS47EH0AUzeidHu8Nbz1GlEri8zy4n8466wDjJkuKVDXkWjlUwn6QW/pCexxlzU25aR4dgrzOp5/15q/7hG7rLxIJkPJwr/bcDgOqb+47wEpjf/Dkky78x+oF3rS2KxKqc1slIE7kIO6cDY7JA1tW/htrGo99Nw2cJhKCz1/lQzFla05w3niOAzCh8I7Mt1PPvdgTn/TXO6RqgYqqVY8T1SrQruG3eRwCkhB1x6aJqOsxj8Lq9cK9xIhMLl7vrHkMI19kGXupwTIn150RC/j3OS+sOkHnmxeN4qgc6D5vHTJ3pwNUa1pc4GRaXxdD5pj1yUp49SCVF4RXXzDCk+zWzx825yYHwwVH3XqHT2jaU/zhx9nlGxwZvZe9sJnvb6ApfhiiMK9ruqyfqpZ83wWDlpKko+KvCPpI6DmOewM39kg6C4m8Q+ZDpYuL94oHQ2psJRiCBdaX+49VjbHVsnPfS7k/3S6uH1QPa43QpSLJAH+97sZ1iPPW7H+zgEkEIwwObweGoPs/YA1SCclPHHRNHTjzHnMlnqWbulIjs8wILkkOgs2NWLyt+byOX8iiFRbW3/0G1AYTntwoqsWfbRgxp8EKJO46Ki1Ben+ruQ2lZsBn7vkZSnGY3RL2hAMBFyCwnvwZfh8N6r/MNxor82Rgh5jPWXVrxGGQRjQOFQjxAArMm6Rqd7F3MTyD8guMuyGO0KPN1E5KZX5VesKjQME8Xlap8T5ODY78TkhLbowzWJR22QehQ0K0LXf0sTQFEyJ9W5AiCmdSEMYR+s71okea6QsP4qVcn+1Ui41eEI+K191PIxvlD92IFYB806DveHadIWQsNJsgYn+gbLrZnUxuEQsZ2DdngoCq2FxRd+2c/4DrxC6cizcEWWyxLTxx9vOchAQ8WELueMxSLOkmsBQFZXXNZZ9O5bE7Cx2P9cTyIA4lsSxv3Tml8LXjpONzQWrzU1CH1rLKaziu82AeZj0YXCXQ5wcVGA1rk/ynvBYu3kwG03gJ8okPERx5bKjJtqKJZWJqQLKM86cTSsJfT2RUwT2Sl1RiYJyJmwVat3tk1bGv8lWHEUecjN7iPSan41a+G4SOwnHb48pk3IpnbLmIj9So7KvDwyAsgmPfSYYmmKJIFQXmFLDvKcAeN31Hlvqcxu7pRIbCWBc7710doC/GugH/7g82m7291+Pqoc0RYxDtLd9qsyyl3+7w+KnCpT5Xg18FK7bi2so2bgk76hv6qJES6kbnNrevkYMtMV0TZa6ThuH0FtAyJwMCNI7B2ST46nXJpwn3sYiFk0t1aCUkcD4KnNYZdSVi5qrs9iWPCndqDfEyvPEf929Mozv1NfTAK/5oyN3aTQmGhieaXcNmdrZzb+AZL38sESeYxUhwBe4Add5ZR4ERXBcRi9NRhqdj3poH3qizm3S7IblPVTXWvrpQO/V4kuHImaNOkYnHTq4BzgWgsESrBiTqvgSIqBwZVAotP8ifgkzwzAvAlG7q87P0hWOGfbNnF0UNSfvckxxXg79k56y4/EXuSesMwOBBln8pNyW5/2pvedRO1mDBJ2CCJG4+IanChhJcmq4tmNixD5HFqXqATfc/8AlJGYYLFVQt3xko/Gdp6lE9XnWc9Mud4zCfrLUGOKEX0J1ZwFKte1ETjEh8l99PvFZtw6PrazubNWBBVhk+sXqE1Dv01X/QJnY+myZ/xJJK2gtS8sYS/MvmS/SJmrR2+UXrsojSV3hPnqbdRLmuuVx/4jfS2XswXJ9U2/bcEhQfHXLxwUakg0u4nw54kv3mJDcjRB0AYMdxll43cA41GPaMMg2AaesmNutqiEqFnwbzoSqpwF7HqRLA4qEh5IR1Bfk/pKvFXM1Wx94lt4tjLjtbRfyt78Wec6nzXZZQTs3Hr9l0z/e9zMt6c3Phvf7eEvgh+II7bwfFUlPo9zG73B1TWePGNmzoKRMq+hKxZDED2reNcnBBS5cmhtK2XS9oB0m06TcKhnUagUwaD4VJG5bR4hgTJVREB9PJTMmbnZd5Og+k8+BjdR35OG+aPfse/W8SvaP7H+tmj6HHcRGDjC+4FyN3Lqw637iVpLMPH8te6RMcyG1K1zvVhjbb1UWKKO9+B0TaIcSeR0vnyNF7XHIdmAYLC3Ixt2RvDAfMXwtiY4keluTLhtWC2feeqgIxZsw5qrUFnpFKNxykleSqCwgNDM/6UtXDjCdqFrDslJcF7CqPp9MFODE2XQu19LDYCIRlmluJGIfS8QI0ZhRXmMDhixmRjiySkX2WOPDnU1919YG3Rd2VRIRYnG9IezWhIyz18tk6sprtYtz+yleZ5JomC9T4p3rPpwntEnNU8pfTLTpYjWrpZYm+PoT47kNhHcicyz9zlBTGssSY3UCT3QFR+VVotnKxSRdCJfbwG4S6WW9RRXKZxfNbDe+HPJxAnQdSpfk7gvCjYHV1Xg/arlmt7uagTySQBHAJgEwdmjI/Xi3xrfr9xU2VqetAsYqDVW5drts72p1FtWDSx5ZkteNztdPbbGbPnzrQsLUO85A8h//0PeVe/txhjjCDWUqBNRsqrYeB1hUkdSbiYzVg5Z4Q4grpaBmKyh8KuqbFv8ACrLUzGcX4RlvA52aAwsRarOs7b/Ja+Rph5mB1hJ8XDMUcIK9DfU+m7IWqHGaAATaU359hUEBWuurKiF2jBX/QWmlcRTkKtdzryzz0u8TGrMym3x7hWthLH5w+bHfFNkZ0QrYOsJDRDhyDNIxIqHMfUazQ9SkZN1OhryjYNkXknr48w+7YtItj3Jbx9gughAInTe3otf4yYNbZq2pqe8GPsIwSEtrXc8idBVas7DPjhF1F7FFJ+Vaesf054e6RRwUS8DXO/KreskU7v9winmpsu7KatcXwtLarPMkGo1YvEKnGRCuaIdb0z3y7yws/Ecq2Qo4ze5hdCsjpksIDgDcdbXFLqp+SV+kNNsGIIxaPYwA+Ql+7yqtpWO9He+f9jmiO7P0AqQE6U2dlBJdDVtX3WlhGYFDGu9/WU3/eYwW+JQnc50IQahjS4p7gP+A4loa7VHQlEhvgHHvwlE1IdFoToDkJ94eHCskdQ1PInkhgbWB8a7tteBh0Q8cF2QCB8k6P6gCkNfaTrhmg8884H8QjrWmWV5BUCh5xbN7rXhVLI9Jcj03HZjeoCz5XOXSMpQEeqD3ROXyggCOzGs1+4u0P9WiKG2hwUbBi1kFxccdqKDyRxN51Vv771vaou9VrppKK5WN1J7j1d6rYxwcIJhqoKlnqPRx0yYKDNoueAoCJ6kwZFI8oC8GyQLRTcFAa5aVjyIsZ9ij60LVqIR7khswHgY/WALJ36mc90+eGdDMqkQWt/6ud3h85iWg3ApluOg1UThvIWhbRX23R2Ggq1O+avIspwe5/AMrYpQ8KJ+IjcRv+8FvKs62AWNhs3zc2KDnuIqybec7uG8shgSysgvG1zMgO9pN//NB90Kg5lEm0jXbjc97rZbXlDmWAwAlctrgmKU4J6IJNi6BszzzL4wAR6vefS0F/I+VfCxQC8SX+oA7O3JNiz9WY5kYQBHl+ASMI6FL4uOxMz934mCdmqAhS8WQduabGDT2mixHotutB6+RIaQSpEP/HGhfk7CWN5wFpwGY+Voupqgaiu+0JNyplrtBiTS5mQi1tZtopDIZ6pc2OdsG3uHg5fpVoU9GP/6lsHYLOrkehzWaUNPgUa8c7nJrUHcFcMT+kOKK6YbCz916aZ2Ltg2AU6I3jB/B0z9YojOdMgLsbxHq4oMeDD8AvPcUGtAMnGn4Xp4O4pXMaW5pvI2yhcxFtfwBgE5ENaXJarw/54FVFeNld4NzKDK0S8uuD2JAA2fZIH7AA0l34zkFl6ZEKD/G54Hiaf7wqi6F0VDXkxK05Z41mEfhjYHk9zTrCyu9u7idBrxcxzoS5NyVCWNtjEKhLGL8tZjUP1SVraDzJXuqOBzXQ1RG/G1UaK76ScuSLa0qnJG54wFaAfTaZlHCcVW/XJKMjarjM5/gWZj/XnnSbAOwZUBCCcG7yXVQ7ZKcoGjF0Ahb6EhbJQUWpn8sbuopO1TjHmkpWbd2yXBVToxlz1aOO5gb+Yg8vUR9GqoUXJ6VBxxW9y25lF8Tu0vgf01RCp2gf0UP4IF0Odypd7LZANnVyctH6f2nn4QUnrUI9SX8eZoVqH6Uq374hWn+ipPX1sECQqBKvd5ntty/mxfcWc+5Pkqtc/00Ovl/wRt5zZHB8quDkMKzaGjmqwJExOHJdFcPZZ5ZxnCLCpFD+mZLTC8EAzhQfbLhgeIt6h8A2HHYpRoJGvO1woBtOTj6wQNppdWzWtZgP+NxqT0W0P/H8SEqnkQr8x1aAYzGn6S2zJWp9p9ZefDDMRgO9R01oCEgCJxhqgBHR3ChRbP0YO1T2Gn5DxjyLdL6Md72xQ1amDL5aRFFIi0bosWAAOX/qdQwjIaB3qhJ4oV01CfuqDooxo5ksYILJD/lnmyPP9k1UKVon/JEbmIwBx931/tUAirXtpSYxnG4fVOKUzCX66IthJn+ZToOEuyR1f+gGDstFV2w0a+RZEfucPPMj5/HFiRV7SWvEbDQaZptM8Ra+bNhNVnzJOMaidb9PLjVwciXCadXP1DDl7J2qNXzbscYeTXVok71UHEuk7dsZxg/wyzqz9Iop0Nlwx7QkJZYHQmcGjFbW9KJGS2BD75v1dV+iJ6iWy2ix7fUFAlRM7SdZJnCdhv7idgbn5gcNZSZn8P35kP3OFJEhA1QRP/G2rZVr9iBXqYiEpA7O0ovZ5/LQdKJNZb+8GNZF7xN8paMEH1wXkZ3oyUz1jYxcGFNZWMdIl8f4CQ/kFt3l0AQ0OFvh5X/sYI6yIFDGIWFykKSu2oQQWZ/zvUQPaZZSu1AFfkBYKtQhI3Nd97Tazhg6Zq/xbz1T7f6e4fZBIMJ1BNG6oeprNH89E3djhDj6Xr+vANh+hpJqe9bUj/4/sW9JKf2UZU0YoakmvfXFBJA9sI9M1S4OodrYFLYApFZXD1QjQ1oROQEM9tgMTASr9XHjeLcFIOI8KsIqpu5biSNSrHmnckouqjzO9fog7u0Kii258aTIhrvw7t7S1BWT/k942J7OJM4v9Qio38Jacx7HO4elmdDORoIoWdztDJTjyKEuDJHibCQzUC5ayXiC/lcM8O4KJEzBI5xn3Wf1oOkmF3w88Su8ns0OJl3+FQLZLfAiJ7FaK496UQN3dCDXhdUFne8yKo0TVHAU+Vviad3B3PUzBJue2LRReGVaaFbQupUNDSnJiXyL/AiG05LpmtRq3uQV5K/44EKR/uUb4U8mEglLsqLv10dxAx0s4gaQPUYxsrMP82nWGo005l6Bq7bMCUwCK++6Mkz7u1q484ovufIxRupWqAMPqgYW9/a/8+yoDzIHrlulfvv6Rca9yzLGPt0V2FOvMvoJxhdyMck5712PHBKGfOkE0KMNnpbavbn7/rbEx50fWk9w4iR0bDnrKBNw8MF3K2Pbyf/IgDYhpuPZa0DiRzJmHNKaxE0Z67ylaUG32+z0y/IJbXn1FKAFG6mBsuOYvlG7w1EUioA8/cAPtEIlNcCaVWH2lOD7SRZsssnPxPH8lcMWK7TKIH0YvMmyb+5eHZ/CoWNSIEOEhLUVrFb3AhjC0ormuw1nng/sk4ZL18dWkj1pU3SmFftxgOPnm/G6g5fIVzCA9tVDONFJA36ttD8T89iFEyKBj/LSYQlXcVpxx/pvgeIt6kljSmBjYqgf1YbbpaqsNayf+zQDuNKhUjS1Dgf6bqlYqjKgKJ2rpSybG40ccWVqopu5kyPM+FCyS5Y1zUL3xZ0WRHJTm5WzIkTS/tEwidbulh1ENITxH8bRGaDiwI+Z0Zg5CD8qLU11T3Bxw/itpYvTKL+TtmDcsHXbch4s4MvMY9vcKPJA0rZpNIunjfcBym2jFOXLTCKExVLkMoTlaDjKyAA86YLVVEYmgCJcJ3avSC9fjokMrcPS4JRXdXD9NhwBt0TOJFEqrZvlnxSZYo+Za/xi5L+jSLq4EEr0FyIVw5g3dIGWNSChljcabDz46q+5M8o9WkHPrLLj2iSSUiYpCAz6ZAI7shkAifGEPWyFxo5fvoz6Ph9h12y+Pfwf4nbVIGQJ0LCeGl7x0EBslQSMhba4JdfgO54VSu8B9ddhzM0uPshGOP4bFKsyc8V3ZQPzJHOkI38vb2AunrIiotz6w9IYEI9jaBtZoSs/inSUviApOsE4uGHMGFipFlnMC94qzQgO6U8JhBalqyz1OxZK00bw+yVJl9M22DScdvBaJwgkEfsM7tH1RdQALhR03nZgLVyUx7odWngwzd92ouFPdkhCetmg641e/M/85Ybc8xZQ12/1otACI1sFVeM3euq9+WgACaEL1GL8EZJ0JKHUc0vd30d5RYTtDdbGto/UlexnHwbp2us7norrWr9X/stC1rK5g9Yq0VMBqD5XYO301tbnoskj5sFlu4nAuE6EGV7gWAnQdxZesbCLZ1IqZo8SZ/XKjoaG1xDU8c0cvegES56ZPZoGOAYIMgnvF9teLwYiTW728o1kluciCPeJwEVBPl0JGf/WQA3qtju33TvXdjBkHUnE5/Q3/gr2DmIrHaTU7B/ITnY7EAXeEsmTAL3qcKZSJEjbfkshuK1xJ8hfSC0ZMaYAmLaNS2SDOLx2nhwS80DYSJY6stnsVaEQen8trpxIyGdSRDpyWp+ts7vUF+sp7Y0VPOk+w9Nioz1aHs3yKwgv5le3pL4ajWN349M74SOUwWr3PahbN2fqq6El0ZRsaf/VFFK/8vX5r6KdwkSXlAexQo1gIcgDzanlYo8JSxt+xs36o+g/CRbjUXUaSRJpoEFAjUNc5pL9Bk9Iiwidh7AUdHDGLYMlg2vYrS69iEDllWEtyJqSQtYl6nhpOYOlzeW/1rFCOajPxqan5/E14ywD5zz/tQQLOfgz9FzPVQOpmQfiVholWShEASOg6rh/RQ3Ws0zyHYHO+hzeidB+gTVEYvZJIQoOeAlclGSGtdvU2dJQ819sX3RURrHNkhNOKFftutDT+4UopU1NVyLzpWordKSZ99VXL6/bAa91xLIg0TH1HnNBM1St6O5XESnqbY5ZnJaGGvlJyCa83K0L5YI2SncE9hYS9b0gCFDRnePc31wsjd7xsjIkI345WIo1ShhYbA6MKQqB+joXSC0iERuWhYqf2lZA1SUc4eUKwSODdaiPntPbSjyvtgg1hDBLhr5NlxvUE0LweK5Hr/hFmD7jDAKSdqDD3RR7ObeCN8+RkWHxigH24SagR4w/zLoKqeWyv7vkxvQIDOgMt1lKtmbhPfPdsFGTpAtKzHSDZrkt1a3bqzxVFaETMB60UgoF0SEXddJcKURQMCvgvbDoUWvs/M5V6LY1TjKX2hA6ly7cEwVz/dL5gqeqxO/YHB2k1ZXsIjSXy82JNBYpcvNp7PowW92Ozljsxpl6+K7cWW2q3cLqJMGMmJqVON2Uc4vftGu3fecvUwE8TwpPNGq8FKTH0ZmM+vWANi6Jj8yKXQ9pg2FXNNt9F5Y3ZIT473qWn6HZzpZufYKtuPgnbyoHN3LBFcsDJKbuw/aqbKLGuvq8a6beBy+JBqhnFqo3CQ0PdmxMpoSXS4MN0divqHSrWgemtOvH34Gh9Xqfi6HoPo4O6zFglk/JUb8pKV7PaIJv4ikVa63r1tPI8xchSTF+jZSUfFx7MRrZZKF3nt1ZJ5EJ0qQPZljw2biEFXYkJF7Wa3hsMPihCq/lGYL3BXcnD0EwqR29VmL8NPGyxQVKaV6hUxfWPNZacBBQOFbhM5tW3CzG44YC1OWh3LRrqH4DByWASBhxD7dyfcwEH8Abz3SFgEUe00REP4g28ECSK2PUOi8B/AzxWHIcrkNnYEqC/pZgvq6BP7X2wDPcm3yVhFHqYbRQUFMvTHj2DB37R6jWu7mT74kMKF+hjGh7/WILy1VMFMB8tKsu6lnROBE05SNQ34f96ZQZ97amhAFyQP14J5RNW1DY9OWaMV8FCEkmBw+ZbiCY+4aSQbY1OpIs4R6gwpPpkO+o++mB4m28A/fl64MpcR+Yhbp/38rrYBVSF4+jPMy0y/VWgyqGrBeX+pE8iyhHLEXLzIahaLlobHWxupwwUcDSjMvsv4R1Mv+qRqpe5Rp2zWJ7tZ1iiA8RyM2vlDVGizxDnQaPbe0SbmqZVC96GtaE+1DeuhZF/mTSkKIN0LvZjVpQZcEirbltuzBVK55XY8rnVeyLzEm/uVF7vuZJ7+vazou/IrJ5QhDXOfQlz3Y8Oh+FTu9uDBRHmtxMW17IM5cMnZCbPfzjjlXuCIF7JyiV/ooXvUrYz2sXSQ4f/+WK3O8WneC0/pg8nArDcY6maEyRyWfICAI0IQtDckZq/cxu5O07ToIznc6seOHVrBVgkoC11SXAm2ab8gOokLBAaFTa/56S3M3mJx1YeRxK22WMtI5jcSrVadr7AbGQCc4/V9Ge13GigaYgQ5boxe5SrbCgqMpR2TpWmLHZ93+8y+wRYQuWMttv6fHvMALNTxvTsXkbInIHeTDcLRwFtSCTaX46Rb2a0XsRg3YFlAEz2jOSNeH6iA8jpZ5g4Li5i09Ux15Bd9W7NqEDz8bplNdPv82Xaa1qs3mqzLPBETnhYKWgk10u9TfuQR00/6JanRjpJLTEQdSjFR/1d4vNRaEvzh4ChbhSAbB6ZoYNRzL0XhhlSpvzGUxcLyhl0r+nnmRHEYYt4CYeu3nS3dGrkjPBCTBu+2aGumTw/lnZktMjM7qktu22T/kP1fjjGtkULITACyGQ3QyBQmr67RbbheG33DPy4LccfgfwiiZvYG6LQAm5Ga9Dx36QVTumEOSJerpfKBZNFGC75HxD2nwiDGPJTXTMrvsfTlMcQa9nYlO8wycubhKJ5YoUQ8Mvl+8k2cnE/QxdGQd1ZUWaWa1HNJJxLLBgcByOuWKc3JsmAblGHjIaI5S3kAFcwLBny2vI168c8HuQtoFvEprVvD8l2ccSs5FxOS0Oqb9ok9QAavnxa0D9LD/OagpfaTRLpH17w5H38Cr0By1SanukH7hne+GCIOByrly4ek1qt4oFOgvbHmuGTNULY12o3muDNoUnUpS/AJavhHDY3dMazS0pe/gSB2he+4ZYlw8M21tEguLB8LKiDFfS5pQ8ie0PojfFaHGfE6YQFGCH7Co1mq2CdyINKa2r6DVDLKMSCBgPaPl/lhwikRx7Zf1M0kv83MLLtv0kxwgCTy7hauxRwCo5B6OUTanG817LL+87k2tRd+pVemaPQ7l1LQji1RHQ2M4Cim6mr4knSZAY9DpSRLiZUPve3nW2kH6XStMAYPx7fXI/a72JkBaVe2GvCqSDhUJLZIw88+KCmVNd1eMqB9jiVlgY/JnPQ/CmRVtmtbYuMEbCoXT8M2ahpPxpr7OzA/xKnTyrqoB8Fng10EepVdoQdoDPtxx24ONQwBEP8cpU0q4cmWswUkSPHHU4tFOWpcqEpeYz3PMQMC2Vy2TXdgOE8D4YrSWks1AbRiA0OzMomCjZY18gRJBmeb6K0KhAjTVno816KcXoomeaYSlTOS0WhS9EWkFZ4bZl+L5P6Txf9KnC726UkuYsG11NcXeDA9GUzb1DPpHkVHgyNbjpmCY3FHWEwGJl+/SgNFcglEElayeT/xE5vy6xsgdytn5cUPJvo1ECUjqXJCiPYgCv/CHgHEQl94n9OVvcQVgLAvY43Zgi57O/jLHxtN59kgN/rz9d9CFP0Yb7uOmJ7Ixul8J7eqHyGX/n8DzBPjPA0WfXd65TV3Ka82xVihCDgq+rRrA3vsOYOOvFe0EHFa+OoaCaEmbUiqQA63l+C8h8Z8HR/thC4ciiWwCo8lKJNPI05qHUBsIUKrUslbDi2LeRvFsaKnwIj7syhEEQBLwNe06eKDQlaKBgOXvR3f+ITDkAewK1WqLWxlSg69cRch4yVSk2fAELeTvmN+4thAB6njZTTM3F2Q6U2mcNjZXwLvP+xnng1QTly6D0d6DHdBEljxVbrtNiQ6W88g81/s9OfP5zASs64hCLgIwHWtqIcwFTBigrisgbwQrmyByDMjlUQ4wVqB9lyws1rtOm23AzqHPseH2t21aa5K3m1BdMuKWeQZWffut37bmvFyBPGq9XvZzY+y6loCY8S43lKGGKpszhZGv0Ru0AKQTBz3wP/bnzgr9mn8D2xiSM9NO5NjIVSoqPhXAPBlpoDosgZ0vsq8xlrNXC+/OAKEspzwG0fUwsnx+ZJ+UEVn1jCMtRuJHM7n/jMlkB796sf3IJ6ixcobGMJCAN866Si1uk9v+/7bxAx/vxyTXi59paa9NW7rSlDWTclLcRXqXWEouc6+TEw5raw4sS+yixwzMIxMcncwJAUpmiFFwpt7eiZ+Z+zsx5btyBoxvVsjU8F2VIQPIjRgw1VA0XOINuLNO5M4ElOJiTOnvxvzjW4SDQStocxm8T4Z1FP31gS1qsEPGHhtDFlRqGk6Bk2LdKvzvlXG0uzDx+ujHlA8Qa9lPWKK3j9H4GwOXpaOaFPGv20wVZDfOTCu7HMZ82jG8AULaKks5x/Puz6KJxe7lMOqWqJKqQ3V05Xf5dCahPKJlbAmvrXfElEsSBKsn/ZPiDAJWRZzKVfHHcKFf1gK/gAZWpBAyIhwrwNKXfbxEUHNJfS+rZ2qqCDyl8AfesVR6WW/xEqg9gNbR+QE2DGjoeHqdX7wFhWH4cQsO2P+4CmHD4GNHvXSFa2Jc/+nfJvyggmyKT/7KW9F4KFmwtbKgOh1o8ml4vX5BaWe75PYld2J1/75z6ETfXMsDX4G1c3iZ2DkLDrgm0JkzIEuiYW05QItjrQeQWlYO98mxYV/zUl5z1H9aSE3cKUOSLhryNFUJxX3HShV2oarq1PlvOhamfyRmACSJC25CMZoSCj+aeUY876Le7/hVKDCoVY3K9ee0A57FYoDGJykCW7g2tbxipM8mSIvM6D6Y7ZbeABJLhfGh6h1Zf5Vwii96uSmR5JQjyXC7aBtgTmwDTejjuolsQ71MjAvD+vuHfxEyGVyKqnbQ3zGv/le4Zwf86xaMPNKt3nuwlbxUKDBRd8KZ2iAQ9hpuTC3BzXmv0+NFho7CCOUaNAV/69YzcXDUz4U/s6Vhou5iyg+ALK/QkOFTrAxRvLW0a0W5kAhQEBqR9T8pWz3XTg0QaIvZt/eSeMM3pIVgygMAoo9xSkwbp2mTg5SsFFKWxWs87l7dB337FI+u3/STlewsY6RHFiHxc+dGTD8OQ/YCr5807XsIIJJIufyEIBFOhOvYcUYwPc+WjXsxKycMED4p/+EMVet2zwchXSERNpSrwfZjYLUZ6zvyLIbSqFinm9+owxS7Y10x9G+8VsFFgaqpRiiaKrnMFRRz1w0Mzod7X2EC5G0Ofvol0MWA33wNrPND91gU1/obv1g4zD/XVaAUrMjWCwvd1WjIOTwfANHH2tPAoA+5SKsbsERnP/cv+HxC1JC0k+n2rWImsTIBh5kuaKYa8+Sebov+J54FH2iRBWcrvprnYeOaPP1I6cDIvaflIx4E886/VTvks0oV8oCZyBpIOBG3D4hEDrObigtoUInVJQMw8+uWzjwxDb2ZK6mz2pucMmqRQgiYfpNX2WJ9wWAQEWE+uSvGC79mBHWB4278SDypT9/9hhOjRTO6O0gt3QUNBnnrayd8zJZWNK89G37bFk9LMhMr4hXWeTGtnuNsubtMFwZh8VW+5KPLqIEKcZLj+3sM98z2x1XdOEHzEDHoWMo9z2VCmO/8J/Rd6quVoRVZDKgj4m5cpD6mILmuvNkeCeET1W47+9PFyvtfe1+d/4eYu5HAoTU70WEpSKJ1i8mZdMg92CLfzt9TRN/MwarT7uiJGG4YWg8/hglxYdwTM9qqS/UyNMPcU++0TlY496UbVCZdpeFJs3fBFEz0r9lekMZ44d5Qjn63rjgKr+KSXVGbalfLKnxzYApC2xmOOaHNquQPH3pGZkk/cTLrq43ixj7KKXJQjmQLQ1wNXum600p7gX0vY5TwcUy5U7ymoGPwjK92lYEph5vMc5FeYtjT/EzquOYXo1LMh7sbuOONyX7/L3HLolbT2cNoviNAl7ICZvjQ0C59zkX2P6iSsU7eCFajSb9bte/1eD775Ic7aAha6DCkMDnMbdm9qFtA8Nv2pML+BaP0vQuQSJSoSPAPFQt4AlT+WCRwSva+ab3oi7PNZDWr0epaqplj/M4/wXloLQonYfcXAKC2UDpTlR6aS/3E62Hc5dSzyAGaUtpQxwmAowbOmClrreo3fSeyJsI92X4kGO955SXL0u1gwvSQHQKQGo6sxXnaJ/hTm/62fT+XKGuEt5N21mKDQqVWts/K/V+ZgPnHVp+nQgbFj1HZuKo8qAyZbxJt76KvHcoNIenIP9Dy2M+fVJYziReGKJs2KHZL9y0AsqxmHsBfNxZ60Zn7v/5XO9yma0WUPrh/Y87pOAOi/cDJ+1l5CrTkpNRCzq98YneYiETMKnPLEbgEgSQ33EkIMj5I+nvKSLpMxX2AVVuVHgztIJAOoAvYQ9MS7RGMjtGDhLYzwU06aB0F15mevAcwqS8U4Jw9Kf+2e9v3fNDu4qiIQv+/07bnU0BRSlh5Uav/sImrzJyCUWOWRRvxCLxV5vduvcJ85QTPpwwxEa+zkNaW4/gWyIcu1tIqu3ypBCL6+PDZKNQ4Evtvs9Og8g3XK+XlouLXEbC1vaoBC7B9IPKMUa7wAO3+PcQf4a1nhsT3FsrZ06OP8iQYshZ0YFXCB4D1IabwCGVp+baO6ajRIqoIDADxsTRtUFz8Tf5GQFvX40H2+RsnWDfCYrworKhA4vf3tjXJe7tvSpZ98Ddz923azCKMgjqBlmXQQVXQtpvVCO+4YSojOVs8ZL6B3mhRBGErIlKLYQxIVpQTdxr/kaBbBu5z5oPKNfIY1rdxQo8SVoyqRu/ftoBFJtigOj4ZqrClGfSUkNsqagYzsgjCd3OMZNEWIKsXpI4zJ3J0CFNc152Rv2tQD4OKLw2OCMRc+omuFK/ZkF5yJoxoJ61Bo8A+WBCm879keQn9d94Axc34rYvcEtSox7013/aGwCE7Oi/0sewjLOISC9RKir3xO46qgiDsTS+2iV2aIjqnDCBNE4BgQ/PUKr0tNukmlo9glnL+HkReE/YV3s6f5JFZxYukCOsuIxQOAUt9iUyYmhjfGx5A/V+KRH7WB23/tAVGWV+UikTZo/XfujmyL0QZgumdSHgmlZNeHFrntMklydLDQQpbP1DWhlRTMHIoD7CZqZDWNQqVATLaYRNUly5V9Q9beZvs2zJCpxo4jNaN98rT3vW3lZfVOzW/IYZYBcGm5Fphvir7Agtxg3Ln5oHEm7cQevynmwUrQyug00A5NEqrn9tjx0YqhJrvBo+VdxbJ3RPmZz8wrQttASW98pkHho0rrsoO9xOwa0seqGcfzeCOCJyzdlOWSmtDsM27+Bwx2Ek204Qw5R9n1udT3cGG061kGDfmwBxDZBahNzRJygqRgR337lZE8TUdNN4wHS+dGjupMrpXGYbFqAOZbh71dInJUUnzGHtgafqDoD8t5/fXjkXU8zGGatuVICjnnQvQPLysywDBfztYRPPC4/uz7YblFpJ1oacCkpJgotft10ikbKkS9ETdvIn05PcuhcfXvI/TTscbqpz9rBGlzQPnWaYrOL6dM3py+OKp86bmN4dd2xcKA5bx7R6MMfv+qfEzKKszjRV5FetsSjfSa2TBB4SLVyuBUGwhrHSBTxj/EJmyKsrr+LHevoDIQxkdCXTwyAznz7M+7+GMnXwYpm90j/otxaiCOe1y041hOG3shFLdcDiG2mCyH/yz8RmExzw+NQnOesa9GfePLkW824PTMfbfTfeSI73e11564/diEb6RICpUoXTwK+FJhaEvnggEZah0WKsfEIP4W6MWE3S40idEfgmck3UtXj6IYKeLEFDCXEJ2HlQrs4uaKhid7Q3gCoBwnBhyyPvc+PE7B4sFMIH/+UiKmj5xbW5p9/OAyvJlNmC2g2xpI+MowMMa6U7s/rC6++meOkZ3CHhdRt4uKALda78xfzx4mMFz8JEXbF3Lk79FYm9mGk1txe8SL200DT5XtJot7CTWhZXJwdsLAH+Tjno6Ny4r9B60W89lwoQl9PfP7+f8eqS/DfLshp196aKvVYEwpgC+/j25L2+hIFDXDwsOt4rJnJ5nu65L1LCCU1VR99GHTl0V4jDAn6feeMVpTAIWHAe+54bZCfEEvb1x5A3+jpi2fzmRsAJdkp4N142LiH2P7v4Tts7pjxb+WDNdCwAmIrG/OJ05o5BXWJDRprVfQ8xfrIDi6EAAN14vHjr0CLlgBk7o3vLNpnV6Mrq0mFRVhaLI5Cp47tcHZ3bZNM6MGVgLUziKwQecGJkbusTko07noFmtI/SVMBl6b/RZB72JH5J4Miu/3bjlMYhVrTuNsfJ62xSsXW5faJr0EZ2ferRXrXrSDpyqov+Rtptg7UmOFnkgivvnorZvK/K0LlLBC85tW/8Pyb8HU4IVtabnvcW3Z2zNFwLjvTjdB3exZSSYKRfKb8g5NOHE68QBwYpD1Sf4/aaFNi1wA3wwK/LrxUdKvqXqMd8sIfIcTpQ2kAdqaIo/gig4pJ25fsrdVDANDP53Wd6R1nQrlk3GngsBcEt4CZFiadQrAPbXTtD3AHRUC3elEIgD2PdKScUODTtsunJ/TMLW/H5rTq8zXacf0stHPegVCG3hTdLaJ6MYOA4zmNhh6Os+R/YIYE5SQl8juyY3j4HId4B64oFWCxo05qsh1wsq1i3YGOGVKlUlbhDMAxgnrW1n42fY5yTVJKXusyNia1dPhTcPHr0womwrmKCzxI8yn6BpBAuVu3eu/5AozAD9rGQqSWzVS5s6Bt4/LzhMEtV8LPRPbANVzJhbwqKeCLtUwpDdZ1M/udJTfTseQzk1ipqKeKo2UCezImd5O0nC8H5CUyJ2wSmJFyJWVlHXTmfXsaR6O2xZc8/qrfYgSw6qa+oWIUCBHmV5NDtMZIIg0qrluQB/WCawH64X67Wsond4sMwC0Nn20Kr5ccH9K4i2LLs451LLVFIMOD4AQIKJ8KjZO7XDQBDhFHUL7GnKzKnj/Ekje4xpI5hUq4wEMKZTwEGufbNmyzvGvn2JN3eQcRrejBhNQtzNmrEU8Lwt5KEoPl5JFOBjU9f8Va3nbhRawU1vSIHObGp+PotLAdg/xb09ct9/XImgLnmU382ScZHnBYy1OWYeUWP8hPILgksEeOSTHK5nNk6lIXyTNCgVcrZovONOJ+W2Nzv4hkQEezWfYy1aNoxfnLI1ReqfPtCBHXvefVjPI6IFQN9NUuHl8vHfXFkVw+f6OJ4MiiVMH3ukf12jYmun8uSvjIuIGwvFWdWj57HzgxLUhPH+Igfk4yUelCKqyQ4qIobKMOEW6LmMlUu/UbD9E1xUetnR94Fqrh2Qr3j6L8NOaa6tYg9XsnigxvKjbd4/86elwpXF8/5gPYW0ucEU5a+wxr+6FM5fNYqKszhZuepcDU4Aa7aXulC9ml/yWXEWvo/s1l1mcQWq4R+2xxn3N2GlKNo+Ra1HkdTizM835q+sNM/0qojOCfqtxkbfSI8mzgfzFHFoiByC7al5UBiz4ExzV00uzdBIKW8fkibxYXuzi4t3vZG0SQi3tLWTAK3elFvh+/zomWNvLBKIvUXssiLO+n+6+k7MTVNCBwM1RAVPrWeekkOLTFYXfmqkhSe6qYWOPtCo0GXGx5wpHiN795rR09toW7fOKgDSnGh2kKYwvvLnoFW8tb9fmlYf8mRev7VBYtZ7meJCwDnq375i/nlK4gjV/jQYrt32iJcw5cjZMmaDjbRi1+GRLcqWh/v2U3/igBTAjP80AnZeSypBiPJNW8jCpJWiDAyaCqFXhccHwUXphJLTI1dCIAwVMHlZd77ycSuG+d45i9+N/AXDzgTyUrYf1mZd1pm9vOK3xo4frbMv4a05uHB5/nmfRMHqqq3X+zmoK8FfCD8a/Cxb/W4uTiZF3ZZnYXfxq1TiceY0rze2Xa0YvvSrpLszR4sphxXF1zJp4SnzNzXRqjqLZuf9x54SzZa2QH8aDsBCkN7veFnS4Yi0tRbINfs8wrQAHvnRWm1Zk1URYxxtqS7G9MfL38MyxXd4qxl0jTnWDLVU2r9QRgRagDiOeUxoJiA11r3eLmsCz8CT4XrWcI9ylvqQuAVEQSugP5mYquSun4kch9JH7NFdFNhvOyjVjagLD9cwD7R5mBeIX75ek7QMS3aXXj1CZljr78BhwXroTzmOC5JdUWdJ6eSJdeB0YwXmVM+k9yJdPqE9YXMcqEWpTnwzw5MkolcB0t+vZkafpFO9HHXElcSWDIOfVbA89RXy2tHHOimYoSTAY4v19BegoNzCqPB2MfFtNFiXECITIAOgVyEoeSP4GY8OaUuWDSuiFpp5XhYs0rqjqSOUdCxlJh2EoyXF9QnjYhNyJbnh1nsLkAZcHqOFaCqnDQVo8N3UeBfyIBSEUj2YU6vUyk0HhQ/srreZR+oyVCRiurdsB1f9EIyZjKnQEnhdF4/8K4VGI/1BZn+AetVJv+QuWz3Q/q8ceLKEFU1HPt7+IlazvmUsmqGUnwV+/GBzVVIrXY6pwRIndeav03Vv8i0yWwJRtZaEu4Ed/PRMiqRcZo7OyP5g2quMUoWh76IUL6WjVvoDHro2vGkMSXqZQrnNbV2FCkKUwgQrpR0GiY3sjf+ZlEEPyMZuanyNuhjKNCcfcCcd61G/K4LX2A0VIakNkS8FfEQ26MoYz1duS4RYcs1RNnclWmPN2DeRuzscE2L/3JvTn/zDtdm4cKU5VI/9cPuM6fmmwpRSUU+Q6PYLllyWBlNvKv/eJFhOMeEeJI4Lwg70wTh+5DEM+WMv4cslOtYVqD22NKBwE5Ahscd1XHiYz313RUn5CLGt6znSv+4emmxjLRUZ4G5DoZwwyZF3p313XP2KQUXj/CQytgUKGmezgVDxxzNGR6XY8xI8WR9MBIh/exnc0DpREKy+pmw/5pq3FWMXt6LK7+KrMkqwW+6jjjkrnV3o0UCXSFC0/+gSfiGM6JYvFuiLbpDXQS57zHUZ6oa66bE2BCfg4LXh9do7HB37Uon2fdwZz0bY0ReFIIas1QQn7StZJEMwXuwNXZZSVDXlE5VGrRO25XF9S2eDB+FnIOSXEHE2a2DQ+iN7J85snZruNt6Hh/koYE12Nr6ZsTQ5o3LseXmr+0iKVdBUT624EzdoCOY5X5Yy7M/X+58FSt8dVcSm3HbruUGJR9oC0fls2EbI/2jVMI+CZfTftyLfCStu3A6zGCwy/lTTtS3av/pl1srpkQWawvPgC8uezUeL8b0k6BguETDtuL/3FwfjAo0ejwHdWAivo8cILxp0c3D5lF5iBYAeKc71Q+2F5EhYBPeOhIvawDFQNITQgQRL69JvHZlPWkoiK+H4Ifjv319/foFx9Qu+mx5mCzBtcPIZ2wqDOsXcYiQx+fAyVj8dCkHMeO3sVC5D5fz88bps5q00v1fSp5psFHko8jKqRXvZWdWuorr+aNRBHPXWIGNwr5cAxwrsl67TApL75RLKeB/9MBGSgoc1MyehZBCMFL9nEwQG5AVi9bpt3Z98NBgBJ/J26dRPDv/oLznDq3YdiwYJyQNHbuWvX2VKHxR/nvv8uaxOOotgIe23bcdL/Sk/uaoPY8Oz26VuJx00rzGg028rORzJq+upB8Pmu/IEGNpeb+Jf7QTyFTBlYgWyooB87oBz86gFZLZeE+eE+X8GGXEF8e1xTgFrt4LH/dcyMA55MTQhXubkTQGe6ngsw0uR4f87dgpHo2gdU8Nz0l8TkCM7V9opHId86OTIqNPVyE8QTMjmybiDuWhn1ViBwuK9kJs115W7VRNsraPIvp968ZL27b/zyRuCSbY3WlY/9Ym88uFNyUGrX4brFHbQw0k3O4pMZ1Zsd/Mcs1BW+L9vFVpCocgxG3NMTj5HkRU2nzqsfATaNuGNjkKZdM34lKXu9HE4HydbhItE1AoZYrT5SZjO46WhTAOaq+tpzXu31MvO/ldTrx8FbD9oOVSK75o6lFTFSbgMKT+4SFI2DaR+bxDw+5bL10Mu/ks4l0gpIXH6NVFCTekZygw6N9tZZ1/P3EMrqF/q9cAl0cOJ43Q8X4uwtqteu2MPpqcXVa6RtaoiJPufnqn39N1vyznQlE1kaMnJDg+QfBCLBd6Cu1h95LAagGQex852Uq+QCa0Z3Lt5t3V3APuM8y1cnXr8IZUhepEpOtMBEa3xikIziCYromx75qvOy7dIYt+5TUZqsWB9J9JwlWvx5nabh43uuqduxj32Tn1OWlQ/9ZNkXls+SGoGCy31ER8+Pka+87WH9fKSSNCdYbylYCs3hERiKZbv8hkhxJ0MkKMdXNgXzm9mF6w9JcGurwRsN+nbHHQTMZFo4z3Q2qTTvd34P/HAyWy2KCkUW59fWt71fuvF3N/zoXuZ32LDYQu1PeNRTIKnmlIZGZzr0eq16WIO1dYC2pFMFQU3ar4fVRBD+PpzTqGlPO/cs6X7+E9pslFFUd3BFvjASBWRiC9dsNCFoDh0SILDzq57659veV93d/xrg4jQLheLTAtz+29qYvE7t/Opsz9q33RUH6W3OTk7LFIrfa7Bp4XZowiFwsknjEQl77n2sG1mTWY9c9xH58evTvHBNYdixYHLP7qxFF1XZ7+Ooqf5SN3Krifp7MxIR7ApVPdKH7/+9rLne6xm6goR7CO9VcP/tOJHaTjYzIdJlEXzmaCdIcTKLP+adOkUJgMzYV3ZsP7PPmYiCdx1KDY6dHok9xMmRgQBUkU0HCgF5ZsUWYE0u4YIEm6oo4wTUe51+k6f1b3d69vAvF9CNR9nqHP4072Q/FaH1K89XrlkBjt7hDL+JHol6Zs9jbS4CWQf7djxGpGI8u0lMtEeKd1ppJ0P7e6ljR+z5TTXWKxyT1WwyfaMzz0s90IGP+59XTdgI550LoHJCxZRTez/dNfIohYicm//l5BUmVzfDSbeloeN12braDb5GiawqnstFWzww0PorundGEkpHbNCD4D/QExfQlZrBD+SVJVS8+FlSAmB9WmsDHgWV8QCM8HT3PHPs/fpCopy/Rcudpbl0e2Cs/oBIv32voMZWy+nfVARGyLozsDM9TNqmLp+An3Xpuq0LcgKQMiK7/HZvAlJSDWwxT9rmPK7s7Vq7oTKzn4xeYEEFZaB2nGeiTKaANRSnIaoWYM6Q5fzLiTzHoRl4pOkFQn/CJSq1cZ9TZHn/oENUzgfddNNyvZNsFH+VWXu/hcosRB+lC+z4Y+Oxv7JSMh8RsTtjEM01PvXzFQ9lmXxrbKv1GvmsOoeoxvssENGsjepxGvTBckO304ofUDMGhHsa7oq7Cs4ECS0XLliO5OQwiNOeK2oe1EiMIpAjrRDpbNrMchUbONNVaCJLjPR5RSA5jzFzCbGwmOIaphkzpRjkdyLT4u/yxVb2/Zb5GcUaDl3dw0xPq+qIhBIEIh372RpZZ4JB2jGaXl73n7VEVyOvRbmDK/1ic0aRWLCgXXsAP8i623LNXG70pQgVAP8S2Q83ZbcJci4zvg9SPxtHbA4IkRHRQ2MBoF2CZPVSGS4+FsJleDYmET2YHC1/RaQImil2h19mC8JjgrHhmtzWVqys0klI1cTKLGpqLyy/OR4zCrUFRw0tCywBrxEoFuTwAwCiQUwP8UVWaHctXdVqj/we1D5/GsUAaFQ2DtS4s7ckHVpuIzVVcsxHXPyzouoSe3Yrw5EQRFk4aRKv57Ez0ZrBVG4yjJjGeDTnbnTCCmGiTZ3HdlwOhvL9tiCMwzj4CYAxLzBMVeZuTKGGlVteR0RjercRluA3pIkz7Cnjnvi0eudNaNck3v0Y30GxjOfUIQPynrY0DCC2JqdcFwzRwxfp4+WZuuNluOZYzlvUWCCvd3QDtpfANTY0eQZIxyMHiCgLJ4Z9hFLBLXCrzL1RDcaaLilHax1mwkMcmnqXQNzSq4zbIqL7OYGCJwzJWl0hJd4y0BomQ+cTcGeApQ/50aKznS+WFKQGp7zk/dqkQR/xAI6XyHRdP3xfHQkt+VNk0F50nVyBp14BEW/wPnd9dagu2Wb/HdOZqQY29p5b+HmdEptcm1LGv4CfRpKFFkHz5omKv9mp8KMCLLyX8SFicKOEgAha5PfbXGueE9/f0JxFDsnir7qORQeymIJHd5Mdax2Knz7Fd7zP3xL2uVWtVP3I4oDo9ECyikpOAv5cVMgUMcuQFxjQyMYSJINUocfkUA2x6pZlFOnlJSkWNn215+eTt81ifbAYyxUAw4Ci0/YsAuFCmpJHmjo/91V7Ay8p0BjXdUAb4/JOq3mbpnnvMJR8hL3EmtWjkoy0WKsqA66/tBnKqWm7OBj3amYb8JWicAV0XzVRoOR1qHb+vkFn3paPdZRRG6yvHuTC2p38ShlKGvB0qI5vgrnZOq4gEmcn2Ps3FROTX3iV1aHrLGY/eQS7qZnf3p0ReySGvulPVY5dAVopGil6k+O9f8du8v7v3mNOm+73RCQqJ8fSgGsfyBw4WMhv6G6NenRZOxoFAfSF6UHfHcI9+QKk96jWgt80oDBFyv12LhLYkLMa+4eSbarQkY6E5E5iR0FE/MDAeYHEH8I7m8dDREZUJNZc7HazODE6mKnwaNNwm8lI/Fkq7HY3FxtUC20gP2LpzDDhfvU21SJtN6FQ1qKe90yz37cKieA+/nRWbNGik5UqooikS1pPy2s5vmMv3RNuTcdsywbiJ18QYqk1FUEFoDNPqnAjwW/iFRBelw7otvCjBa1AMduxiCwYUXZE7H2yiY7EGPGfMotSFHXyrHPCQIkA3LnZk+ei8MUb7h+QGK14bqQspq6vobrkxYRxE/Y+JWREeK2fB096WRjxHeY+6v7ntr3k9cP+p4p5uZjQguIiysgQNoUSGjy5HYRUSOL4H/N009S8Znd9VOhgsrBEuqInLuRjiM6nGEXjL60ri3os7jfWuXUYjfvIrAOglUMzRQqLz+7zXQKYzN74EvoW+JIBAjx0b2wwe74ikIgAjNMqFIZHuiKLwwEWBQd0hHFdz9sNKr9ygIoyLRqwD3W3ep/eoCbAQQD6fL9LhykDf+UY+6wkd6yFsP/RkvojwFYEo/enf4fgwFkUazxzm7O1qSv1LHN94DRfcmUvQu2kSb6UhkEbdBAG91K4AwQNKAJGo9rTU2zZStf2ddMrFZxWMgZzFu1zseYQwCEDm5/QkxMEqdj0Wc5MqDgTCbzVdFnVyYBm2ssdn3W7ZP5N2dPKrRZzO2rHtl2XQ4zYfyrwkCusuJWBYpcrr22L5TJufPstp1caXXecCGRsRiO6PAHYknAcCJglOdSA6qtzfKxN6Byh0RoTcdfshtaVN5qg8Gq8cA+MeKWjZHnj/LXTrTG4PGNnJO8xKlV7d3mXhFfXqouxwADL3s59OCKhHJKXXEsSvx56TJ9wFFAdRkJoKGul4Y/D4lA1mgOSH2h65sX8idM08VNXAexlFIsVuencojD4baZzhaYxR38vLMA3VpDeISS1HwXrVSJ/aCgtOZEMLayyoWB3UVUiB+nHkbyXsQy5klXhDdtS+Sqh136i4PdU0mrricmAR86vczJnAKpG/kQQqenQlTIVB0GOs+pJ8PpWgFnxpLxuhwOWj44at0uPvUxLLMqF9A248kiLrDE0zpDCmN2GZ46VUwYHuFWGO+nqWNtRLzf4BnD24NTQIqJrTZZdx7C039H30h35Hol1jiSdof2j/5f33lyOaR1wtrgMLaVBy3ZvQpPj9qOiW4k+7mNCpsn1plnG7EfxXlbh3jInDVZv4mW3x/x/cNJkil8C7jRuEGbKZv8tTtvlNA8chARtzyyCQS4s7sRIFV79P439O07ge3TdzIrDmiMfm2R6ZwYk/XN5FIS0I7R5LVO5ueRtkD8O7NHMoN3iHIzkk0HuJhT4l5r4+H5pka+O5IZlN3fRJzYcUbYxzJ/6RL76fd7zAjgqBQJZJMFFaGtpAVARnYHREB/nEzUy4cdFbO9nm29nC7Nx/XPvNOUL28AsthYbYdJPNCTrut/mnIqkY3W2boxLYAbKTGO4BLw1nZ10ofH4WsnCak/8z2FXEVTv9eVDN4rOt0eQ8zNJt86iqn5rSx5zZJQbg2keHqAe7aSaKX8a9yiuZpI2kLLnZ662v1OVA5LBgrRytX4cRuOG9qbBxhFyG2Faayw7xKJ/SQERJgzOuO8MW8mgi30DjSPwS4+OaY7BMnPjaSBCyYPT8dGRXnJCSVHPCZ16uWqR6vsBVkW530iF/ky173t6NpJk4qKzOmONgcDblDFlWpf/Mv8QhdDbrtZL1zSnhfiS4hwhYe0gqQf/wxw8sgzQZz+5Uyv+s+PnwEUvhCaC6i5yHdB0yhQAgUpMJDCWiRkr6I6Edp0LifxybyKWXGWrvg6bi5TD5MKjgKDLDv8IEpEZrf1APd/s+sQrK/VLa6Wrio1Xu6v3sUGJTkfzC0u6X5veG4wYbuEYLj79toVUuQzs1N+Ei7rVwrSTBMBg9Yw7ttLvx40ZAQrJX8S4imuT6Xsbk82QYfchjbjiMFks1P0ygYqg0C6wqHM/xmtz4KtMIRF2cB9TKVpGrGr+TJq9JX/8y6E9n01GqVp9X4aPONtCztjajp/2usvx8sGP/lCSBYXJgSdhWAS4kRmBSsslNXvvgg0pYrRfXPSk8DFzF7tuYkgHVL6E1QPKn7Oxsiv48EZ1MYD9+oyaKe4KE3w/1hYHHTUiKV/d51UKy/s+AyGbIa1AsGkx8ncj16QIgdgYxThHaDBvtGwG8AUQTOLUpVX7WDQOVUvCbmnrFZszr2xgryIIEe7V5W4OCRQ9btRnOMInLCTLqq7oWrkvzq3Xtm3Ueghle5K8717NoaHcr+bw6jXb1ZyWA6UTDH/LZjCmzpm1qFHt1eVhSBbJhObPXnzkYuA4vR58nHLzRnnmvFys5/pxGgSbhCOnb4ji4VRdLk0rFOAKRRUJ1qeilYdw/lL92J1G4hVUkJcxtOqnUzdw3KZLs6LLxlswJsHr2bX7C4jKa1/QvZ8WJ464/riSRCjb3XYgECBXpposVids+rmKDbIqZe4O6Hryqf/L+5fFzRytUXifLW+M1JHNyCTgsSxB82QHms3kNwR4xza9o19KWhZ/09BdifoQrn4nHJ/djs1Yz6UYr8BCfrvalMVmxc6zDu3ZVlFLgMNO+TV9i1Uw16nCI2+mkJeoTAThwy/ntmc8cGostvvtMxTOXr4kevcsRbDcW6FVOel18BFTRCjAMonPrsZmrOUvdlvc0IsF2/o5mzdBzg55AFfJ552TxolJG+psKwAcFE2Go1Q2gUY/gUObcKyg+q5Dgui8eJQaBUFc9QvLYbe/NUetkv/n9TPvBJVR4j8Q61c7r8jpz87I7XQmvPHW1iis3CHTPOBzkDXmsgngz7BzF0tNIzZsl7eVrSDwSzJ16J4AnAscIsXpVJpnQnhmZnPVLAWp4Iu5dOkuBpz9nx+Kofr/RoawpgCn2PnVrNN0b9mUVoEqKx1pgaFri18C/gKdtpY/OtK9cOzu3M5Qdp/QfHbSYMNwuCZOmZEvvB92R1Jh5W1a8qEX8IP3qMS6NjTD2h1pmdKc772v1rU5mJ+MuGSwXnFbYT05WUXkEZqipcd6mLrTujTv/vw3cTw0CQUDzYLD9zBlcoe+5S4z/rkipp9ZVpNH4QNnzeIqQ/FlY3MJT7J51rvEFcR8fQMEJy3yWeVBVo6+VPO8UWFZMz6KOPLnhiRRNR8woRF0rU+hMjLx4I1Phg8xQmohOgFWlqblYvudL5ObH1FEyF/lhswVcXai6aBslroozDWQA6ePy1jadcDoEQU1CkkSSa4/r25B8HdYrU4zf5erBqaMlvp2o8I3a33aGoV7nMgCiwJKVhbI03dLH++RvtAeh0ZzniJbYjBk7dcsFFLDYUrD4O8L7t2pSlT24+iSGOnvhgEEZnXdfQXj1xYj1uErSIyZ1ge/uxcAZyEvC+5gWAbifpvQ9aVfGAfwwbONsmKtN3AOEcIMvyWyRxOAVtu331cX7M9Munt6xcCt1eHbU9S/Eon1x48BIwtIJ8wZJ5/T0vmz8zscCznw4qA2zc2hAQOLS27hzvv246eOz6eiTQjgzkskhG01l38D/BjUZSqqFxpHjEOgeeie/mWLGEDFxbmO489H+EyKSpPc7u+RPWtzodynUImAo7990fvhfvLOGAwqFhB1pKEz5auMEBXKb/8x2SdoL850zyd9oRmvipTR0hv5xbCv9+sshhzMSXEwa9lT2Pn51Qudh8NqkRHCsOiYB2es5aYRJ/h0rKJaveHfKK++BVHnM0WP05mJgrHB/t4XJHhxFoyNqIPfEqrdgNK+ht9E29O5jg8CT75tvT1+n3Ylp7LDps41mglKXfdQNKTWBwPqmyQ+SHTjE3pv66ujCNE9W/DuJayPjHPEfInmU4D5MJQBd88O8ATISE/Ja4X3MmIgLXnpX7Bf+OOTDmBXiJqfwbp6Frhi0HosPnwbgLndWLH6px1gVzjwP1PA9cFcMCBuOho0lp7VoI7hMBkoXbSBZPrZ3xMJn4O0YRdytI6gpimIyr1Kzx5PY0xyBTK9KmYfqiEVuJq08H8cr3rj7f9ACcg4em1qfluzYePLrKmWD/N/OFDL2pU5yQydBgigoFgAet2GoM/xvnBdTcziXi2jVPcgkkLdJoBiaXa9dH5XcM/3OJxJpWiPPhXrokAWrZchWX7EQdX3vHnb3ShX9Ufw7/3QjjviULu8PwgrtImO2oO+qFYEy9ifJ35bq6bDZxPAtlopoAE0uahVirsfgEMjDfHMBFsQK2lxu4Wbwx60K5KCiz056LRjXEkaQTC6pwv25YtxM8oKy5QvMR9xnrewOXtBD/LO/WUkdhEaCWVJ43o5KEzgYzS+3re6O+5UjEQwnZ2KcXxqP2ORGMwZAAc1n//MdpC2NCY1bWrP2wwX2tWQ6Te1WAkgmDvziyIk+oUb3hrLjoeatV0f6xf5UV77y72ER2T7Dvd/P08yNwi+aHB1Nf2n85GGBbybHYiSJEeKtkRsf7hreXyAzAKQ4MPDLjMbp/aSn6xvPefUNexVMQMavSuLiZZALaRlNmXNmKVWJnwWZtK0BdDvrmlV2Kxq6BflFV19rvg3S0MNRg+sWJZRNRL/6GRSaVdhwukqxRn3s6+YXUwGBeAh81itQtcl1noThB9yZKzzB8IC2XPgcdU6C0od6VrgPKhuF6jA4OBkuz32otrQ2D4m6/QX7I2BnjuiE1qJk8WM24iVGJ6kZw+svheXyk5eosuZO1HGgD6ikjBPc0AQ8uv3lUFpdlWm7+r0OnW8JtzFJBYDK72pWQGRJGbXTillwrk8Xu0bbAuwYz8hVs3cmrVB3Wtx+Gau+fgDJxcQ6dimsbh6yT4/TkGs5h8x91YywNAU2Yni9kN4HVvTlaoWTIpZf5EoDkm4vLD/Nzvdde1hwMcuwkb/8lkzCr2UJvPNLpTXwGm7pI5nSzoiFa4+Ur1NzRkwB0ZGvrjjTPBwUjOtyS7goErhHY4YSJDvvREqd4ZwO5b5h76Te9iSpe8W3R4OLYSN0Q0gDN3a5zXDu614ddYe4eqspzmFuDEwg+b1xn2ONh3m8yUEOwBCbaGNrwqAeth7q88frMkCuJQggDQt2l0Qs6ocX1gEBwhv6uEa2WIi/uARaUTWh3ftDOdXHYc7Fd17gkA9/ogUmS3i8hl+Rgx0ThhmNTNKh62PntqAUSWrI12j7CcKSVqnWNz9R+/RZKWs46Rxcv4DjXGVUMHMc21A1joc/noHQCXw+bdrrjhxwCaXmZFQVrJizsgcuXw/vKdTrVf011tvqJkrWYkLys0+22vbrM7Z8WO+hRCkgpLCFeWpgZo7Dw2iOqVTPjAhZqleOYM6lzMZUl5ModedTezGly96xXTHXTw2ZH9RGB7jO48JOBGqG0tmvQCuyG7oiwOUp9r1dvvud8rE2q6BvWq+EcGi94ogk4gO6M2tiOh3UoC1CGYc20Mu1EJytPxGCFr7yuoyg8KnrEqQAybNyUd5EBqpu7n93Hv5IZYXwAA/G71eHDLixB22+8auCXuiYwt9QBgD8y+Aeh8y4R7y4nN/qz+11USSsXcVZeu7SaMZT9qkeXCxbRt6Gt3RiYjRG6iWd+Zy4o5Fb5fA46oTZUF2JdmxhTYil21eJzSKy6TF5+05CQ1+J/NYwk3ZvTbSiZ5jXU4lKwMGJ1GHir2u22Orw1s+q1zXCH2hMFgzW6/eEcuhKnEaQoqQvIKgVT+5NSQ9EAzWKXh88b+ABhTW07BS+QvbhyeqOgUNkZTZ1ksWA+OvjubI0Ksk7z6YEh8aImYBjldT6Z9T1cS6k/1e7n+2ijzuUMIEkEjUfePYihGPcS3VCfeUNh1clnbQmHaR+GWPdCup4WD3vFt9gg4mIG6ZAG5R81K5cPMsS1tVkdbOJzIdt/pw906OXdZ66ZvMuCXj1hOzYqSwFl75y4ZIRT6qmVe7NblTxsazdxitZZr34zRYFIQVdZB3eXYmFENawSTe0RJxtYdUCML8oqYbi+jROEnJ1IOV/FrLjSkGxz2J05WH6eoXJq+7tob0FdYDNY3ATkC57Rqv5/2JUWbjAUygR/xRLYRtyKX+ex9YsFmFu7JA0neRx+oyjYtE+v98Had7QNZPGIiP2gyS5Fj5v8x+9VSpRd1rXsLpJt6xKii14PbhA2Uf6ZrRgpNqUC+TFSzW125iyepL9yHtROmSYFBTIGZcMs5LBErHC4t9RVp39JHsmf6YOvSuynuXA0M8YJodJC5IvnTHYtdvQiPKQZ/Rbh5DwS+OoIH0qONrlbEJksu1V4x/VaHok5unZ5pzB8r+C7E/x8WxRYVh2ArSnKcZuEXAVIX12UUD3aLz74EvG5ewXVCQ3I4sIdDgUJXwFsCeY35m9A2PVkKf+4er5g90IYPobtd3TL/BFvXhEJMS/rwL5NrEW5ey6Tlg7IPU/jvLG3yoq4V4QA6bjKBG2H83dPu95yIJWqUmyQBq8c4ZggBqgbcmn9J4c2qW/xX3jSGyIVIS0eA3wlK3XOHh9Kb95YSj8XcmPivcfm6cdKpAkdNC1ybzD9GrRdKKCuOmdRIjdkJGUvxrJkDwz9k9Aa+TEXqwPvNDINr9OT+JP/4BtMUj4rXrBOttJaPplKkg1BKlN5iUM9StYLO9Tv/dG7SYb6/3+IP6vhM0f6aqvMB6+REPWk5RPMzCg7UJpATI09HIWUHIHXsKkqycUnOLv3rUJ/hlerEXiJqqutvPGcPNyMlH0UNuLAWGEOFjSdWXx98JbTmfs2ma3lUpRkd1xAGZmgi6ZVsLIVoe7j+32TrBwq7s6Fz49XMRL0GkZ5IitKia/qjf71zVqY0HkKnB2wWPE33JDFzzDubfaP5MH+ndAl5pHLZeoBQkMS89UojO6mTpWX/+hpBZ/y8qmOPeEKqs9oSgpcmadMy27pwmaDwTds+yAgNzJ9FZXP1IFo+mGqL4yhYr5ySVyuxuFCIOIMnGLB6oD5xPvtWyinoh7n6WKgy4gSD7C8oDPUR7E9MKGqLmpjy679d2n2+A188wkHBj50onkMwkh4KV+9BRERt48P/AilZt26vjLgfyFlfGEeX4LWR5gPqHh5N9QBtSMqMrJJwSqepVglTa8C7LkSl5iOjJBMuTGGKRzXc0uAZQuXv5nhMa8F/vLmsTAlIQudwDeFUJMnkdYjsehc6c0v1qZQEigADVqQl1n0V5By0zv2pqytAxk6CP1FjWQHY1Zf8vxKeg54VEYxFJM26zKap+tF4CA+g1xqTC0nGWUzJkWRj2uw+BzboShWayklsfxPBSO1eZWygep+D3jp0rZFG0yow2QhLyyVTthEwl4YDuM7bV5rYHo+ywVxNFHnzFxJW8BctS+be9sA0vGkBAfHyZ/XaI9nWXfoDPNpc5ELCZxMCW40Y8CQME3zz6WA4ul3mYnjowTpIydYw9nQNHbv8+TuCXQ910q09XXwvGuFaHM8NXYd0JcOWCALP/OBbwPY4U0g/d+24bvT0EPUMaukWkTbTkPXQNMJ0hcUImruUfJ43H+H8vyys8mFICiywTOfSdtCdFQvl7H8uIgMkrGd3zY3vFUxFG4WAI+BtYuvJYtcQbQpbVaGYJU8yBllWtwsjAnxH6cispt2n5z3ULNtnKmg16Nu0EXMf2RzKUzSnQEFcikRhkLrioUblEFvNmlUfYLoQlbZldKsd+7Fjq7HxyLDOAB+1KwPUb1puzeO5bkxe0K7GyQyOO18W3/TklsdGCdc2QNALlqcWy6HlPgVPpVWtcbkjOYvXwnOPt7quM2QOJZAqjL+7Fq5iBy9Vdes1UguR21q8Yjhe95DT8Z3qeimtsx48A+JZohcGlf5S4p1M9ZUZC4wxSGNbgrfHOkmDPjaYa2zrg+YSkf9HgvEjUtaQpWDgGtiVC2/SfmO1DiWGz0KS90I/7yM6TnrcofG5FybNiK74jgWpGZ+oo6c9IqYspeOQi3Nw71RW3kIgs1AAZX2nbbITEhbHHxcrqBPyL+pSZVljOvjvzQsr4RCm3xZkzq4mA6trmrEezNHUD2Lk7NTOXv00lOujZmIAZ72H/jWNXNmolItuiO+lGnjfFzeD1wnnn3YOj8cBovwiwX6If7A4KsZHqRdCodN3CKisTxbeR4DQcMmo2YACmhWmpHB6Hy+CRrJ2oQJkyPUchHgLzsKss4LFKGhWzWKnj0ggOBIsfHT5KJkKFLa0ZP5uPSap1BHwfx+WV3rbFpwbPq2cDKCMj5kAdLBeadCs0ErZqd9oDfZrwGKRgmiUSJ4zoLyrvL3eU/GvfUCvApajdDMNfYilAmYmrW+tLM8YNl8Es0vWrs93ekIBtWI8ms7F3NZwnz+Q3kIkH2cm0rBIpeaM4wZg9QP8fcvwGCYQaFd9mkPqu3Lr4paWnomWpMwflScu1AMGUbN60Py1jI1hwMNtcuLjRtpj65O+qP7XPJ7VZlKqXLwMLTLMf5uOsnHh67JvUb4Wj1wruqZo2CJ2Yp0YbCsklXFJaOtFPF94zmrlVHxMmXAk++R9LmpO9UL49YhdhNo1ZXSoCs9ettrSQQsW2M89xcTv1bWuibAu2OJat9s45/5sYZtBqWtEMKTX4QYzFHY4Xxw+vmRcY9mOsOMDFNwyRAljBpL35b7inGSbywFousymnj0l6UoKwZf9WhJXZuzaYd8TcwW7EGF9dnlb0SCLKSSnGjEj12NgCtpqP3QR/9kCvOCILgEnI26jCqrFOUaEQEXAt/jLgKiGCy87Hea9tbC+bYyGDsimbzoGXw0U+LgEX2atiYmJUSRdnUIqGHYzc5oTXQgm91f7bnyqmuVWUFxazyWElA2X2haHlhAfEALebiJ/qFbTqan4DYXVpeb+bI9+YHFpbiQ5pIcvyd+elJ4FBH02AAtWCKJMBBaeoA6QUveZ9QRiHCSa+WjT+nk+8zVC+ziHBPeCziXH5o7YPh3vjd3Cf3luU7lmIfzE6lyzZo4qfPWQjvuyy2HQTFWbAxBg9F0fN9ktyBPiaV0zN5H7WE5+C5iolRdMumrGLswLuQe7viouBnL8ys3voLf1np2WLzZlSg1uuvUnIvClmkyUSkP9RmWyTk9TM/0v+PjfGngOD/RLG1mZ5IEJlaiA6VORL4QCxExivqWR9dr6dei957N1LnCQnI5+/K2FpBf2CQ4D34bO04Au42miPXCz78q5bPwGuq4sfeVsPkj5TN0U0wdN9zuXWxV5ptbCjPN7M1xIjQn5Z6NNDwutS3xQ94CPOdl5Gl0YfjCR+U368hCGbpSSSIBdRcJetW2FeuIKHMMnk3h5me6GpPTKCykiDfsAlO7RSmRDpNkKtYSwZHXuucjxiv8aVicrZQTbYLgJyDeoozmO/DCPG0eADKbdcSumTSrBoQDCeryPJQia4k6aBbe0gIVkcJHgrQudgyuRFUPCnuB0a8lnLVsXwzgLZuE3oGi++CIbMaYa7SQYpXaBwpISNdqZQfvy0BuFM3mQsX7G+GLLn9Md/BtJMLP809LqIdbwiSZnwbFXN9X8YdzarJEKmQY8AXcrc7t78nbsLd7TcUToZUAqOPNLtdZZDhIMeBFIou6IihMMP5tKvd2hWq8Pf204lyQqbL5wx4aWw7iYYbRzNfZK8EYyz0o7K4cR3PVFxXxPFa6P6kagp3xS4Hp+0i/KvCr52KVrb685zGgm2gG8V/FCBBnug+ke4alPpus8MWuvxy6gvOqeaNKAT0JA45INjTxHaRTkG0FsaTNJeCDzoJhhcQf5VaM05pyvrXbWiKNH55qI0KbzGvUXOGuA8XArHYHhAO927Gv6aSTsNyhOGcZlE1xrwas3lwcDvgUPBk0UdFG+0otsu8n0cpyR/CSqv6X49BhtO4tePZ/9sa4jV86TYO4eMUcROjxPxVqS6jZ38bU40Tqz604ejpv7v/N8Suou53ntiazIQ4pEFiKMuFCaFEEbfIQHwvtmeti//WLrtPipi40M9na9Mh43fVjxkEMt5OSuISm1dPCkO6MBBsdQLCXJtES5SvFMpR8a+Y6CS45RzwKUXA0+kNHaA8F6lVcKCltjLq1sdl4emRoEnxoTUjwaXhTIdE5FdLMJDUwi5nbYS39YF1mo7QJ1EwTYvZP74zMJ/XrFkxb8CK3v4gZbY5eju7roc5+fkgu7KmTON7s7T6r/I2u1q4vrh+xlKwf8FSE4IhH+Zy/I0nCcvJ4ogAbPOVnzwmwFRViLEBzpc40+ipiWYyVqT+kYD2gdxvRkqiFmyM5UoFyi4WLSY49gbZNShxEYAD4Gk6Vi26Z/SRMQrUppiWKMgV1hxtHmLgqkWGdxPdwZXdoS1w2K95MwlH77VFPEw9yo0VHTpc2k3P02KGpWiL03+UC0c9RFQm5eQKc6kRNWpHUyBQL4MDqP1b/z2yvTtS/kXd9qt3gMyl9XfL25XQUXiN/dmpQnSG4SKbag1Ntt2zMeN79MFdQ34QYTdsNGwYsbt668A8YfcCXczVTdba1eprlsL1eqqTxGpkIC9FLnhRKW10JRfowjUiu318K3Vl47IbEgeyWzxWxtud3rFLSAR5gkF1qxliizQ4nQkZQet9DeE337etjvzRHAqByAsg0RMJk9alrNjQEUhKAmC+XwIXgQntZZOkbZrPugvvN+jqpQqGwSTRgYFfRxqIPtHu7dZcS5mXjeykf68O2cXqXCENwki5DXieq5tpyebuaqZs08ghi0kMRu5S0coGK+Rz+/oxUluGnEynul+WNJQ+OzrsT6AiAH1h2JMlEfEb9cTDSF+lPrMUF3lHN7gbBlhXpwmUeIIuOqpeEBUE1evojrpsRV55KywNkVhLNsRDkZTnPDj9CXdzuYQIpVkrd16abRh2M0q7VP91OEvgVP7mm7PgNm6ebWl7PxM5H74AHa8a4cyQMBeW3VaE5oBiX/tzo7Jq9rkXopIINF+C888yzZVKMzBXq8MtS8Fo0rYrxUj1259z9KVBcHj+K91v6xWAS3v3ZTJmQn/KETF9fEq4wSgX1NsEN+Vm25o23Q/1H3sOHj1FqWsFGte7QhulciCTRX6Rs2ioI5JCoBpELxigVSK5hRCe3W6JbxAfF3G99Vx4eAefTf+z17cj2lfMWj3CGymmonuko+2hfJZ0XidgRq0T+DTo4iWYfLcGhHjq4x1ct7nE2/b095/wgVltwmFxD9N+WtSFkMlnoktgfcGpBHht/Pb4fYp4KRvbggzVElMHurV9n1icse8iG1DOfSaiklH+AWKYlvrg3+gGywAuF+MhO/oakYMIKPa/ZalQLIuxbyv5sccQvMR+L56hdOefasj6mmNMcWXIcldxKAjC8w0BUzniEBayNLA6kxfjui4P9jTGhG7rXP2rmg2pIZj5quW5G4WlQa8yYEIGP01s7O/WoYIKKNFQL7hYCjY1eu6ixnVJJgS09tGBvzuzpT/7eFoAddrYSyDIpOhJ5pgaMbTk8iGSyoMvejRBGTV6pW6PMz90hzYz0JhKaZ4iHNPksM99IsbjRGnZGAmNJ/IhuGAPqtuStrHUa09UadUqEtz7P8UkzDIxZfwQHasuMXzNgWraEcGtpnB9qBsJafI4YUlrCwrbT0UjplGdeL9ov0mkuCtidhk45KqtNAiHOMeKIsb4Wq7GnjqPHK1BfQn8zN1g8H+ga68KexK2rv4GcKSWJlZWiD+zvPfbCDpXox3d6QtUqITyV4gXwDdNYe95US4lVF6yg8y1pJKRKfc2Aw5S3yrvHoxHqEBYttFf/nOXZvClMAG7llpu6Mpr5jcXXfFmtsD8Z/J2TAZ52AA/Zot8YVwJTuB0z0Y+k3P0898ZpSWxJv9iPsEl8647kwXW3oqQDrQcASZBLVbp066wNhAtGpoh9tRZ65sgCu/EBr0jnZ4+X8typA0hqrC/k8j9skIBu8jtzRDYafEIvo8Fqko3hCpXxVfXllVjJe8pPRdi/7ewDnNpOpzcLI4rWczWr4VWpDEfN+se5/7ZEIp3t3rCA4FwA4Rk0nwpER1LlfX9BdnL0v2D9eGgB1i2TlV8W4I7b/0jfW9MWSnU+2FKij4nHVtFJfIhDLrq+M+W/owBbGLVpbrPkT5JtuOIYocHxYDgpj9D+0i+Klhtfj//59ag+3tA/vVIQ8IlSHU6mtqL5c4yn+zvccap+mRY1BENWsHT63BP8oAyXz6za3e6/CnYs4kbFEn2B2RexxFDcy71+qhZUNY4u7RQnlMJEDjI7u9RrzC1nQFbFSh1pe0ZfLw/WlDT2g/g9qSwQDe/Q0E0B9JtgIJrggFN2xrXzbjySzZvhWqa+2yE+iPqe4J22H/UeRuCE8/ipKdzTXoaIboAU2c30R9KspsykpetLmKM4XZ/KwR4aps6TcthQ5SbNCVpNNZaV7bzOlxFL5v3auUIAMr2omFZYLgX8vV7FqcXpl1lam8J8EOuxWn44sxjV0V10hWu3vPB3UL6dH8AiBLZY8mrtDMdtzm6u+f7ISNKhhW4OtsV1B1xoWG6t1T2BhoAZjMzuQqEmYM/qlJQrtUStrvFvZwVB4E5x4KORKGScEgxrTJ/yu1Il4mKUzdsG83QVCBTzF9TXnnqhC9r3zJJBsuc0u/m46SpMOiV97prkcfJ6tyHMtb4h1so+Zx6BrRP+vTaIgyJqOz6qwJcr4sXTBNu+hv/UAiWeJEir8xArCG3dDAgKMy66rUD0GCUk7CYTeSd7ADCwUBR2swgLriaGuLZLKR/H1XZacFfIan9aS0E8yw7lSOf7UjXD78Cui7OxOKML2XiYKwimbIfCXq/9xp3vpjQ6kz7qEFrneHDq7J4SjNYaY250/fFY0mBB3+fOw8RnK7s9ZXO4sDoRVU0rpxETynrILG2+izudhuffvAfCDekbnXheuuuMsliRsMyui7BBcSS7NNk7AAAiVjIDhqVkihT1XVvFWgPJztH3UJmYSbqMIMkMOku2Z1v6+K8YziylNe9qQretL/s020Jk5iyYz8GYxttFA8D9IwGuY5sBc3yEc1Z0ZbDNy7foZ0E7AepYFXJH0G8iJNwG/O/bQb3KhvA/0+2GOozls4Yen+HZieuC2OiDanZEChhf4/WvSLQevaBvZjlUmA/10PbF0lUPGRuYZDaFfGwFRGF2uMzU9YvjFWcVd+1qkocg+jFQesj8uFjdRULTGFy0RXo5aedPPDATAKpUJjHAF/LyCsluueL9sBL5G1T1HWjHczggsAqsQo0MrccHPK0ZcQNDaYGGsvhIXxJVVVo5eAQZElLl6V2NXrQBgW0LTuoqdVxUwFAGu6ggb+pjJIR31bP9d11+0J5YlMGHBblIYruCKuHlTqvtrrXXqaiUi5y2glwwSgMxBWEID1PhHgeBObF/zam4cZYysEfHxL7RL7vwnjdFV07pXl+yaPAoo3MpOe/FlBQUW/HTczB5BK9+TlUcVe0A6wf3K5wAQGwATJWa0TiYvjkV+tK020kG9EWtNtuH8FHzHC4FxTVsDdfAbukgHT2uN2nii7i+YmSXQxLvPlHQsuMo9m6Bi/etbG4CRdlQhu7ePmbO/WKTzG1PdTjN244xsmd8zPJue3M7pc+j8TpMTku1lEBzV0xhUuFwVdBDm1K3lrw+Ca0F76MiXhbPB+bDJyVDnBa9smgryVpVLcEyYzjMwyrozxXUXwiuTIPtJZyo2cc2++RMjsSD6erryr8avVV3+fK8Y7zkNLwv4X1KHbHgTYQVwCQdIE8/dS/oaFqQtNgl4IECGJnj7tsYJ7maWYS/OyvTWzSzPcsFJWin/49OQj8nB98rqRAQhlLZj/6rvJCCbsM1WpWZVL0Cida/CxHO9OfoYhLCvSZMEgsF1f6JpiKmWLQV3YkoBnTiVosc6jVY00uP3YeDZPFbAEbaV8vvcT9TQ2HhSm97Lgon1MAYCAmOAVxxJIswbrhq6cc8QJT+fpM43IviXK+fEzndl9Ax92VfoYMXNSBY25jPMJ+Yxwf4TA/RP1eSva+lN/g0EDfLpa+62VkDqcvaFM8AtvI5GFmpPgK6gpWcMBipzp5+0t75pgyE3VX0qGXkbnVj3pobXMZQ6ULfyVrXFXN3DufDnc6mp0b6NWsLMBDFISR7jZgydulYzzAsNqA6QTHm+wXoCiiXCMNeVlw6l989erysnsFC/HthviC/bw8vuF83r+MuZmzFh8aWTR5fNF4U07/waM8zMO1gFRS3RypdM0NOOsEeNjtQik+69D7O5FgCAajUlauiGstbNy9Vb0S5k9pQcuHqgsc0F/fH9w7BVtWY5VvCyLTo8qUvvfV5lRzZDMysivh0AufDGwFO6E8LU3Dmob8mnTM8hL5jdFJSNJc01O3TEjso5PQhXxIgn0nmtILMIPjhGW3QhYjP6Hc0RqfDW1ZBqKyd8Xle7rOFzl/T/AsfevSA+4WBCmaQOAzwvt235Nc3bpWKuXvWyy05B7SzeqOs/lPeCesGwXMQXtvl64Ha9F42K3imejZlsvAOeatrGYh+dUecYJOpI4pzuAeC014CQV4nr42+D17nqNvYlYVp8cYIsjUE1PhfTkOcRy9j29jBq7wum2PO4N5SkmAPAxEgmxkBswacJ0ypYO69t8QXiXgy5ksI+puptiGCE/kzx5S9FT5eQJAnYwQ86qTSHEmnP7qb7eSEdiZH47Wx3QZmO6vsdCV3/c3yO+qAJdcslqjcTRHsz4LJOg0bbD2OASOqsMk4KB+D0/4C10W6T1eWvY29NZ39u6A3JTB1OZX8qIZifOfKualuDK9HVAecxLGnJx0DIVWGKTH9KNeFu6+wBLq9WKOlfSUHzH4TP61H4tiW+6LKGPbNjnvO0t6d3myU2ueKcBQlKW8b+rXfoJHFjOEqRsEn3UHuwVyzgZH/gUVFsUioxiDVJSwPuKCDG1GSC0317tPYJf0hi8u6U1ARNUS3ucpwDfmOxfjRyIGVwDzsLdJZMLp7kNajkY11nkwE78THRkYWrDTaXbX8MNKpN11GSKDOD3Vp1zotSL5Ulyirc7yOAav9LZ6gGpWlFAQq42RGvzGib9BBuU7Cl38wPDjD4Dzdlbjd9eDs/3jkIpwUZ/57gK+R5Fn2HQ8JqaBS2NykyaQXJey5YuS+TB011mrql2zOLXuEYYaXBdfayDsnogVU5gCiVEoflObdiKkVIqjRZSKnPbqNDNpFPmqkzwpkOsqRAa+YkjhU3FG+Ev7paUkz4ZCXLFNgX5qtXFf16rarZRZjHslkNscvrBm//WqufR3Fj8lBRLJTxnHr2fCTG6E7T/gGQ8uPlBEVnFlUbb1QcyojfMExoNZPvVnJUu+EVEXRVFoT0hh3/VDZrFuujUdQdsVY7vjxQCRort9P6LAHk9P9VH6citdzB1uoLt4f0fW8A8glzDKPpz1U7Vl4JPU3eoIEdcKTqVvfbqj0sHn24gX9Xc3gPTF2Gau0H5xXJPXGdlhFeMVyqLPRwyH6OOfQIrxV8U4MsqayBo8EQrshPzlwzTa0Jl0SHqiJqjQU6/vv6nBlhWLE8EAlI5atnqpIcBPS9JL5dqykw0L33Mcqy8II/QmPn0rz80gtYc99R/pH8iS0BHMWMa2V3dIglLBjDTv3/UZitq4xbMt7Q7I+j2eCpSZgnLeefoL+YIG17DXWwVyw8QlI+DbvSH+Dwg7pWkuLKbohiEhK3WviJR9sNtDPYpqlHOWSWNlU8biyCoac8wOxMGILx+X6KOgX/8uGbPbfxMpq+cNZih/PBON3sUZIIcl4BFhWmXjIpoeCxKXsCHcWrGA4JSBjtLAV4LDIHFz3sxoZfwyyZfNv/Kx8zQf9lVvh+W8rQTFKRvGJpQNQwJ7Wmbp+rssdWuHaW+biGC8L+zhcfVeO6lCS6NpwVqrJjA2fN8/wkTOhoiNh4px1FE4jOxpKF/LMAB6ajFwSyVRsEqO55GMlKqNOzgU1WBPl7gSGe8mLuH946TV2IIjKb0860H6PAsCcWpIiKFWcCKfuoNWHPzH54lIPmGj49cbxlUGyf9k9BlVCkPXCd1wkpGNacqdZ/2dpfZ6yaVKuEurlaNZigflMMRweNh+sOTkIPcb0qcAHHhPLBc1fCUrqgEaP3hF0cgX0eI+EN1qQyIr1lwRumSrtgnKSR0Q4dk6aNxJETFHsGa4q/z8IibNUmSh0jghLbUfdAR2KjfgGrr7ppRuqskYUH33oneOtzKkkHXPhAC0H+2SEqr1Qnn2e4BAtMrqs8OgkS+LTlmx7iAT12YIujGt5X2HmxAU1fDjDPsZ9rZOxz/bsRTeb0tdNQtxe12/MkorMxeG4/ynw2pifHFd7KaypJXGRT5iDhMb3uFqn08dnADHRLbFZjA/NVDuhObEAw45dTX6IOeujc4MPjYAnA2bqeGl3kTHcc9aWazlmfyNScICEFQ59E+y+4qX7RmBHdQGN0SSCtE9cIMkJQD6OjLYN48g1wYHC6cURTZdwTYuE3je89dU0FxYp9Is+c1/wF+iAZQtLiKBL+MTC+qg3pAR7yIujtjxNRfbDqDhv9vFaOJ/uCZIca34E3irbo2opbIfjL4WYiqG1rK6BZAdfYcVqGN5zgl7+N/iaaLzttfzieMFqk6tpsng6m8vnBfyXXKBEADRJOdMU59QzYmu/Hdje8AzLJwadA90FAi5xGPfvHCBzzv5wLvnwR5NLyrGK88ewvMFLlSu3/MTE5zRsgeK6YpKFjDg1MLyao8W9kcuCZqOJa2o/gTbs6Hgtt3ReX8OxlWfhLDBrNfNBJGErVVWqA/HXbLvPxCctT1Q4G+OYGnkRf8Ytr3N1zFHNZe2GqU1aEW+U7Kts/Afs8ls1zjnvn3FUt0sfipKsnFpj6UNPp4GFKxJYpp+UxRjqVuB72LPNalyaxYwCq0OrV4LIPBUSzJ4V0TylETTwNriD+enwIp/jJkLeZzVMugtES622ksbk5cwlQAMeJgHPiW950PYkODqM0JU2A+BrM1bY9aOq/z8Dbsvx/oXPBDQFIQYSVDdLoIH3eipf5PN+LxMJU+k4hBIsS8vcj3BUUKejoT8jdJqmAZA1j/bZL7A/zxeeSQDudTpq3ovSg2fHynggyMfkYrfTZnGviZ9JjpHl+URZjQed0RbwQ+KHe2dd27GTVWf7ucbTJUa7TBdk0eXyS0VtYYLnEDRWjr6QeboeU6X6Jeo2S+j9X24HhI+BImFPjNTOjCLPw/ZwD0ouwLVedyV/+wzgzd1ZKfVD0YsGM8zVVRecmXTrgYRCA2h/AxoqMG5IOsHBa/cAa6T7pcH/PpLIPLpOaBvh6h8PFg/znqHSY2kYNgPQLUjpDPEeiD9Qe1EuEcAYv5JBdqeEOxF1obDppGGW7ISp6wBSvNMJw4fh+3MMAfA6dzzuYWSX1WxBFWb4nBFINTqSds83+sOiLNshVvYJ7q+5tNfEgjlEMhKYhiOWQRZ5CmOmKMwev0D6WItvCajZcyHeQxZYUTPVG3Kagt3rym45Z2qtsV3Uukggs5xI5dpzrVaEX+kjgWAm++nTVI4NZP1eL9iY6agstEE/0Gx2MAOVfFMu+o+YY/GTbKyNWrTBV/JtdEqXx0ZBl8RlsPoCbZ3m3rMpe7Xve0rLlNXrRNRPPXlU+8awvxgjBWIp8jHQIU2kcEsqv9uA80DXPKwJGRDgeiGsJVjT7+jcdeCVjWS5/aT05UrSx9DfOJKByk5tgzqIj5fWsroIAttTOFcDcXdAc5aw9h0Ci1sM/MrorFNA38/EcXqvp4JaljE9479J8SmY2AV34zRanDwAiTp1/QmSQCOSo6XGkVawx6bbPIkHgbwVBUHNln/FtqvBLNx+1kES9KqV9nE3Fs5LTaeXof9g+unpREuWJ4XviZgq2k6CyGleiomLSEbDLRhyH7Egv2blASPuEjNL1Uuk75Vf7k4prad0xf5pv7c0fWJGVbtdCdcEmTg0zDEjivM0cKJQkWDg8+Azcpt6D2CI9te8FhrKepfQM2t7BvTL7F3EYeSWpwJwEDlgwxM7cQyn84PtUWe616zkzIyKfCxnX2xQYpxmbezwQhMTpTytOAWq/QU1Nq7D6n57BljI0UtU2P1tk21v2hHPGtwWb+jTpMmfkszFxKuWS1NeQl+UfYWFNqlV9v+GHMXSYthU6cFMrZyMUr3CEmiaEroMsN7W0JBSKvn9IuAKqfswB/G4MKHljtPApzYVikfEea1wQ0bbbuutFrkhEFpsKepkeYTSxx8CBnhswgzfhXQptLFZEhlR4wU3bONCMJyetznq5izBXHt/Tp6WXhG7T4ujjy8wKCnLsQT8RflStGS8uguiuysMarRFi2Zhnl5khKDpNH7ldjU2srkDltdyswPw9fq5qsV1ECDB3yBLOtl2zNQR1tC+HmsVvGL11KtZjkeUnGdydefZVXbaCYycVGAq+AHu/8DFDOyGZZtU5CUwQyQCXzVMCtl17tVvG6znsx/Xb7FWQ3CupFedshFh5tk1/9YiXVXBaGNuwPmMxGn3nBUAJKibd79rB27ja+ozqWaLFmnoKpvX0uq3TvhY0TDZqTw+U3f6+PIU671d9GET3uMI5vgv0x2+CPtJYxy+F2BGYeupR8s3o8BT566w/L6kNGZf1frbvYPat+yrcezwq7lyu2dg5muXQM6XwXsjrTCl6y8HTwOFW0829ZH2kgMNVbh/lP+FQ/QTTjnR3y9XmvUPLK6IHWZn2ZL3eLEr0hSiLuSgbJTn17zAsr1440BCQ0rtMfw+50LZcm1Q88Pry1xBMGIyZhVl/UfbVF+Z61URC7Te+w1G7yyXhGNtjaB085R2knsaEmbqNfZnnWjxDAxq9p+ZmNPyjBxEAWakj/KroIGHZcQuQJFhqyDXm7cQfWVpAXmgM4g6KTcUEpaTFBv3FO50BkevPawQKxNwcrVrVfrY5z0FpDv+oYUJhsmZYMX3Q+WQzF3poAINLHK3vC/Lv83NElF83sH9R2VZKyMLJlg7zj//sNeq8AtMu0/pyT+jsSRZCIrJyGY39JG41g1XLftnfqOJxaiBiA85qhDf6GhUtrFhgyhFmPAYlo5H8IUKjU884AWuH+Lb3WD9/OCVLvqgrEbIpcYAzSga0fefK/uZtjIpW9u/CvdHIPiQQ8lB2UL5M0bkv2c1Lyw92HcoJ4Bl6IVMkU16ovrIrbT6JAp38P2fIeg3jKtgaJAgCCQYr3Vu1Lu+rkvJpeyJGzTNMEurOlgNWF1SDaRflnljiIxWhvT48mgJNpRa4bLAz61Fdsf9T80yEDOiSolJFozPS8M6RZcCvrdtqFVNVoRZcvepNw8cdYYXj2n7YTDZhl5ZOUIyofdy7/+7N2ybv2o+G1H1oGteZkctFr0cFoyE6kmGyJFK95kiiCnekT1ih0d4f0B8W1L7DOHb2IjmidVRcQqk+DsPEoor8gX/hWmn9WdaerYju2eUx3KhpQAVrj3C5NNdqfj5dZmlsanbdfokIOqjX8N1ZIBMBVDv1hAWArru03Acd7CHd18OuoqPwlsCYs2a8Ml8K7PyojMlzx8KF+tBUxNQLaQOcJSpl6h24uL9BFEG2TZVJIO9meDGWsrZVUfqI+IPKXnDwYe+fmTdHsSoMPUi7k+SJIWATZB3D5EvRn6JGs4Wb7BDDKKZS01tiVPGuE5gNdVQpYe1uFuB9CI6Ih1w6ZR3yJKAtQOszqfPF9zQ9Zoumih5olVVjWdUAF4fIDW1n8JjOqFr+WWMHdGeodGc0Rvb2DvEOQ74wE+eE1ThXvsXxl3K9DDFdXdlkEgaZJ+yyTNECtPzb1aHKxkS2ckgdRz4t68dqOrclAVUNUDbzc8BlSuFUXB6XNiGvjS+URIGjfcU20IPdzP/H738zmpPvtibh76aSJAQdRxBnLJ/mR9O1aBjT1bjoYOLpkqszox/EY2C3AaYXpMZ5+gXwYKGFktfkhvQowQ/fTJHDCyhnnI8bfpGMqYKGu0eVKPU90cXXJ4Poyxqcq3UHnSkxonlDehhNh+z9zn3IVnt7gv+wNbRDTsvpR2f9aYjk7hNdB8cMKGLJeDSiDAZ3mTv9J2cvNayaqqp/N9Eo7eE/DoqryOifR5eJUDKlmlX1XZlsun4KvZ691Nr6L7CVwplVA/FHVAIxXWQRUi7JWRBZOrPRZNzIWXgCwZzEkCgqFpomDcpaMRB/31rexjkyQ5yhrzNozZFFwLvesqL7ZECsfX8fOrkGoJdTPBquVd5LBFmHIMTpSr7BtWREdcPX0qbsWPimHAoLutws/fQa/0WoGUsKxcHCQw93BbOE8lEU4WFX93OtY4MOF3QhnreeC61chlNdT7WSrrXQQccNp6r6fe2lMK6nBYOUteUXypi4rxVQY6261iavK+nJXkU5OO14oAj2SJv8oqTKyRU+ENWNdX/yQkbK09n5TipNI1W1j7dpo2AkF8fAUliGvMujEAWhzyX4leQ3PIcgui/OrqhdajUByFdexu8a7tkxha4dcs2cf5K0YMexJWVJPlib5Y7jCfWQXMIDRMWdUlVdyGwIciClPgJeM95QsSvETSO14d2ynyEzx5RqGQBsvDTJgLA2Il8ji+xrf4dlStm4pdcfdi5P0ywWmNJPZ+xbW1QVorPIZ45gPHvXBSezj087u7FW5dJns/d/JDXp30/19vhKilq1rvN+ZtJAnE3KPx9qaMVqVDGGRoSCFDhXxBShfJOWcb+XmvnpYpBSlNX/8qBxxcrdjUPbHnp71F2GWqsMaljOmzHE+tGnP246l7l9qxnwUX4YU2id8pnzM2uwn0Irn9UCi/LzY86XgkxBndBETVtSDoIKK2170GPQOo3f4ookzXIU2cVUcyr3icsUm1RZBBRIdrDlLHhFAZxHyIWOR6yZb49Jeoze1DoncI2nHdR46c6YiwuIIwSspFFmT37bHPrMSP3rbf72IjjICAAPM1rNbAhGS1qiMbDt4noreTD174iVUUGRHCe7UNHZX/8Gj573WhLiT3KU2YQSPNZ3TS2U8Z67XVPGMaNin1dcE4NLKw3uA9w40PCW0ptHabXgAn2jBkO6641vgJAeM8l4O53nIW52ZKzyw+IVku6hEqoPTqXOp32xDAfA1TC61YaON0qi/Uidy+Ozd+qR5jAcSe9Os+kCRkcPp/qVq42IDar/LLnZWVStn+FGKSE+bIARdGfBY3SIdM30JlhDhOe/r8vJjUDkXrYI4FQbyQnBLQSTrpVy7EljvjXxg2lHo/UXqrDgHywkm3KddWmEZWDrJgMjzfrbo5oXN2Og68etZHwHWbVxouL3kT8Eb6sky+0gAr6m7oLG3bVZr07pwUkNdNQh4XwPyAbTKjoDH8voyuZdSgTwVa2Oxx3rAYvcaitxb/h4AYEZTK+HUAF3tKASczb4PqRzL43zLE5rWjkAGP5UX6No2lIHxkt3qwmQlUjdxcrcvvhV9HtPTaitXt5U9N61zy/byF2XGiPttmB4+Rd/F8KXywwg8pD0zvdbcGiG2E0Dz8KBpqTgGno/XKXZ4Pqn4VZ+iInJwvOI/EG9eBvbGqhw4GsRaLXXb+GWbDhTFSdnN9Ip+MpJrovneUpfRmpNZxny95fogfNneX4huGb4GCZxGqVE2U/PIJ9iku+gPlgq2gWb1VPyW9mP7JAungZPXqzYjY7Wn/Wx7DrLKYI+U4CJavl9HA0L/PVfFx25iOcH9JYzEtcsTwdBpRVVi+SbVfR/kLqqgyrhcOkyyK7k7uEgnl4XGaw1Cfkk0EHp6jrm7pK+xjuKprANdd+buzMQ56ryL97FEA5Z26sYH3iYeeKlAJi7r7YBm+uIHGE23MCzU1NbfQXS9orFk8pLRpOctoi1X24S4vZwmLle63LeXIr+q9AXjwf8dEPx3RsrYh/ls06qEHWGG57iUWzYw6Ej/ON/2/WzEfE0sldDizWWkduhcJsTpqDdkxSWhSCnED4IJPxsY5Q/i5zxXSNu4U4eIr/l37Nx3TRijbn87DmfFs5Eb0wwokUCS92PkTiesGTjJW3WMkEdiR2gcdzp4/FIzWCa/E4kObZrfOgab6Ts3T7XR5pzhr/wyn2A/v4RP/ov5QXproGHg4LjdA1MnjMIZ7pjacMLMB32MRsQVEz/yumyg8XeSLofZaD7n6agyzf/mRqzLi0L8yYhm+bwm53lniF0jtDckVKHwEoBPtHvdOJL5kRw+YesPU5yakNoI0kE614K/jq3S7j30c6AF9yLPIZeLkj0c883OE8iWhlfKKSOHu1vHW4xy9f0HpOEu1xDdC9S659egA6B2z+iUnrq/aRfRPv4e0TjnvQ+OGS+W25BjNeizkwFKNjDCDpX0L/8RriCyxDFYCTr9pk8HfUOdK82PDY0BAou68Jn0MXUUDSkCE+dJCbIoyD4V0NgNKgGnlkqIgcihAVw/CUCwcZj1DOPvMCJcKZNE0fsGuu6RJBRhO2qTEUL+q1eB9mT2e7BhEPBHQAp72bWLZEhGHhNyFAsF0YIn0NoHgb5YdZEus3x1NyHPMRIKnDe0x1OAQ+Xbp65o5ADCL2VS2IgvruATrNqOErEd4VAUEl2AA2QZCPx3pcdh0xinzp5ZMJsjGvnPgD+8KnmBkTvH7rAHldm4bz2XqYOX4yPJze0d6nOuYrIUj4B+jhIKZIf/dwTsmvtwNJyfUPHQJxLHZ/2TnXhysGO3R2ypkXaG7Dkqlz4Sf1VarGsrUW76QnqqxwFctoXRsJFGf1T0GbLcNMM1oL86gBWLuW5Vtj24nbiUPqt/Qf7XN07epp5hYLz56tAAOVU/MRIzUn0Ss1xOTDsOmzdbXS7P5lW1PPhs4d9QRR1EUiHlRjRgy08/1jn+McTTCtVgJ+pbjzL0KYLu5dKE7o2+J8ZxsCvg2d8nCUAB8TMhr6zBJH+LMe+QWjflq/MHWUF0DPwgyoem6MjF1/4qNCVSP88IEIfVJoq/vfvJfjax8gypMhlpm+7OotI2YcajFMSPAhh2o6grlRipl1qmKiqZcdR2J3N9DJQ1mLfmGK07bSteuveRXxz9tTTVs2T07Zx4Qsp+mUhBdy72A8saGU/qgz2nKoWzXNYv2hOqIWdsOe9cuVsqeMrG+kq80PG/DpGZBxOGHBCRJ6fTlRs91u9m5d+pcMNmsh0An8KT782B5JOkgICIlngzPwl0VWZUR9NfWdhz3ihpdpfbDmxMLcj3K/vEmLk53ASDJFPkEbBU7F4/WwKrJlR6g+JejszGCLm7cgXegCpLE5ycY//VAAC9dGqDskS5yDGyxnzD1soLZCWAfDejo+JJNIzK7ySCaPkzvVKB9LeMMW9ncEU9askaf5IBL8/fvdW1X8CP3CGWCfihNNrWYeKvNBWku0O+C4AEya9LYd5CrlGgqsVPG/Wg2aW/2rPMvd5uQpdkyJmw+q1jq6ztk96+xuwzzl0JiAqE04xpbh6mJ2SqLgSVBIfVL/F8oDaNAW953XsSz/I5rYcVVm6gmlkteboBjCAhqXOVJlUmW+cYxKdDhencW+BKD8M5eFEIe6Pvl1SOJ4C0k/mIQD9ItCCnbGHpzCJXeW5Y3bqhrAjNmn4qvttLx8dYxWf4a8tNbYDIRcNsdzmP2DjbTUOdlxLHfTWb2ihNP+FIMQiUa8s3qH2TofkXRtUex34vf1GmNzKTj7sO4KMPmiXHL7w3QslGC0vC/Rk4JL/6TYolzT1+0yitJWTLLOitphjOyXxgrlrMbxBcMK5NcleE1NW5zMQUHIRC4eOoNqgYM6K47j4YS+MfspWxj+emSU6tYhmbzcBm0kluNji5W/3WhsMn8OmRkKL12PSiDpQPrH+7qYj9HKynyo5LXyrd+7kMIIofc//XfJ/86vkD+vh0T6G3oSPLbp+Rn36VwE+SJMfIWoiBZV6nge1NIy6k2ipBd4ydsBvS7aS6CgmjmMTpR0u7XOFruhh5FfCCvqe3GDqHyLrZ7KIGIOBc2PVxylyugDQWkqBLuAvPYNTpn/fFmkHyQJb80F6uuHEt/CcxjSQD4z3jZQvGLbeseCOH8RX/ny3dyNbDZeJbhm//w2ORVCGhakbl/mxbYfIwjwYPEqu0JJfQAhvFtj65ToptC/adQHXW86mYkEiUGmPXrM3IFppPedlHhOwvjBMVZknxgCLZqFJp35NltkQUniUADhQjD6DaGmkXMqs5RbPhbVxsy3VLYDtk+lpkRhWEQIpvllvntcWNg4TLVT3TRMObS+JSvei9bHFt78R0T0k1UGxqJsapGLJlYv4zF0vHIQhithg90gtM/FuUIhUBO5vMV7LkKK5xKKt/g6Vy+KjmgyQ539TvMshXMsh2viqVbv9CAcTcvIWTrGxen5hv5SPWy2nSinciQrOYKZUs22SYwCbwgXvzM1WDMAUOKaGcD27KfTU+STZMAjbSKO/eU8ZcKSkR7Aklahj4oOv0Q7BkdIt8meNoDHb/47X9e7YnFk7ovZ0abb/Pyn4KCh+eWrnfTdT9ylexC6cHZQ98Xcam6iA5FuPUIR3sbRka8voBG+L4+iVNFNZgeB9YIdAVD5Cc0G6zBddxBqFBg2SuyVyYlpgpkJ8hLrljYuOPglkBCP/OEl8A+2glez6olt39JMRCZI3oxgyMgB3abF0pnI6z6W6D9nudpoWFDWpuoHlvMc4O1YMNpUfHj1NJJ6AlTx5y0aWtVIKltvYb71v88P78H1pZ0y6e9Y5hwidB/W+dWRRc4LI9wQXcpO+Yad5PNalz/AaN3UClAvqCDetFQEmyQoUyxdV4HmzD6sxfBMBvcMeMHk6Ih2GiL50gHJ1Mtvujh1EUSc9g1OR+JzTyEEbaC2JSzibraUcPmrPoh6DC/PdIk1dDtj8K8JozwgTZS082aYuyg9890kH9Aj8sdiE3wpaBJ1YcAghNdCwyBKILmN8AKbhjDopvi53F3M37bXfnpSa5ylfsKlLVepah/F00eHLcUzX98A5BnuC4s/ZXEW9ij/odaJ/gic8gU9Ng9maB+tb2d1/w0Eml3fas5MdcePTKNdQHYrYHY2rdyXzj0dfk+qAhzY3B6N7cuSC3u1ttbtLir4NevkIxb3Va94MAk6Ob93EaLbzeqppnzuc8gCeRMQSutc58TgkHde3D1RPJ6zWyKB+4ArOEFPHzCdP/KAtkJhUcOb3cc6NTNQLUGBcGdA8/IHuIBjddAA6WwB2G7BETakiZhWBkrA/eWp3XNwOqD9cq8kgekE0IcFRs8htLr+5YRwk6oVWm7XWSb2N4Sg5zvIJclf72jTU8Gzse6I6Ao8AH5M3VcvrmaUCvKoexI1wmLaTJsKCsI+MVEbaMV4C661xCsmBHb3G3DHmaslQ8Idtz/KF6ICxbCDhjouN3QsLZn1xYpLPIQ5WuQS8CxJoxJIceH1u5jpEqAlJtpVk4ID6kggfb5UXG9bvgVyn1ZT8VqJ7XV0n6Fq8qj6ok1rLOXq8Z1QJ0DJm6mrzGRUEtKYnfi2ZnUtfdP2XUbMo0kEuJKPVZogbmKRYugIPXHuVeyPCLJ46g8L1vmTdzKTi9/rbsXINH5iL4hBzXw4efnGjDzXFHYUTdygWesn+ovNHgt/PSnQJWwrdsYjGvUE29qWj0YHMvaNTk4vR2ODTVP7ptH3FdMWRhkuhPu3t9tK6iu0HWJY3fGooOgVq8nCllqK6lopEffG33NUU6cbZ+M3baAHkZJoRsBnOQxq1logCZde/9Bbqp0F1GP41MuicEU7laz2CFQ35riXdLC1PZZ9AwSzjQM8wTbTzOs/4c4U03FIXKjRJwGGff7oo3JTtWAfTYVAs2wkrzAxxlJJQSB9mRieL5TpUiTCH9ql8ODfelUHCCYd/Fx1UHF3FG3Zt2NwxuBlvjo2PJJajF5siMxsVnKTNTrGBYsq9AlSE3j2i/ilHE8CD1PiAKrg8LSKl2kkw/rogBDFvIWEKJpQWuF0/TGe1P71RY5ApmLP12U4jKRTolsvqV7uRQkcMPJ53L5VUi8VVqLX0BKE9FjfmeiuqWYtx1mlkG/z0FWp18Jz9OdtP+6kf2THq7lC9YU1ITtYFBzdBFOcYdUVQHpyL4ZW4ARbvUKtmbUNmb5E5R3FdLUwQLVq5r7SpKYkmKEIKmNOA52VpYHQBJ6Fo0iFNZWlUkw6/POWgr7a+AYt5WKnjhcrPsxgAMeOP3jbM9frDTwXggBfJAt0woJveKgiSRu02fRQPLS3mllfRZCAwuYvgmvCxunPaCXs9UVQiFxEeIVWM9/fJjskp5qXetJB8VS/SIFcgLfQxUzDQgEBMVSFyXCSNgi9MYOU94zinb2Lcnur6vbJv/Siv1N/Hw9YDRAr/1YSWtWNg6haHRecd3cMiP123uZEnsbxaVV6XyqTqYBCq53zlZyXEzttgPOPTPTVe6TxwuEN33hmZwE9EkG+5mWQjN3TRq6zdf9VZAyJBIFfEUv9plr4Zg2w9bwMmIeIVRYQMujroGGeoHAe/UR/0PvZ92UUvU3NQK9vSJBf0f0riwMtRdcsKatrEAG5pdDLvV3irMszYImpAy7kSKTZm0Jj9yVsQ9UGGmyKFGsHUpzYc3G8X029uhket7QlHaT+zXZ6R/sbrznC3IP6tmtoyPYP+lITwOglzhAi4DxXr1OJRhrS3TozQiYqpXY/UEkHQw7DGuqXMWXdVZChikXNBwHk7UDxTS4dSYR9SqOYnRKCXWPC3vdsR3ajXhl1yfhaa+xy4k+yHivftUT0GaUxwdB5g1zD+G7BFGFPqJLCAJtw1z1f6L/bu8UL9pbwW1iAoZKM3OCgH9rZSlUgMeTRaWKUOEuJRp8myqarFw8z5NLmpkaAXFXQJ2SPZHcYBtnweOi1m3S6dtQxEPzAU3jDNVQp89c6F0erYKd1I9Bj5DrHIkivq5I0fe4Nw1aKMGa/xKFlsLRTXR05M0VYh4FiBNfc00KdNVyCayrdqyWR79x/LjmnVoKhjvNduLa+IrxAVkYr/WBfAEpNr9wr77IVmDmpkDvguKlq7k1yJVJOydylPWdVTa2sisxNxqr9Oxi6ve2WZKpBjXOEp2zYgT86CLeO6hjgkp3dXUkjniQdRaZNJ5pzWXoWXlQAT0LY8d1tbpUfo2LZIe9enD+1Vt6ys1ztqnVJB8SZBgTOcjDBpaolZYkhSqPkUiBeIkhDIpMVNfy8jc60Crv7fU6gImLSxHIHGTO/pPhH4ZmPeA58ollkWlz6aTpPnJA8DCvrnFmqOI9QhFx+R8H7IC4sasmFRm921aUIQU+L6NufCVU7pYSey8j5gc+liZrhQL39aXxm8KwXQ+Z2VO8PB8Ws8r3/CCM3z1xMEDZGIGUS42/6UuSEiKmpdvu+jrHry5zBgOcv8PX39Zy5Z8Bs2aZ8AsH5d4Z2z2dSCEyHaF7JHNlmglvaoAcCX8EY/jsNhBVkS/wREwNs7CP/lFhTVciru8oxFa0Inz2r/VkoU0Mqmgvv9TBgYl5Ib6OvuSlJI3p0U2PrwbY+Aa+3DiPRgOiTEmKB477Z50nCSGEf+ZVVKkXOmBIRsz8nBWcN6t0qkH4XM3Xcy/QdvwUBwxMFnXvGHbQRUPUuruB/PzBece3B6aioIWYNo4MWSdJICs7mDLRhMyRVmpX2jRpynxP+XEr+c3UPUzQ/GT8FgiIajMb0mDvwbmb7vLNZZ3avBedsiMTj1wiEfWOEXcRxvnXIRh3QjeB3VZrSRmaKlALtFey4PzShFHpDDSLfSR3DoJR6rOf+5ZUVdFQxaYYfGL3SqPFSZFnmD5rt0DmR/XiznyV51rbypIU1GhRCbuJuLnThgfqawX79hwsj+nxxBtwr4vBInXooLggfLdl9SZxQihiCinDcnSYGrhSH/iaStcudvpd+mnNmCLnLi7TMVgnK6GyvFMExg3mPTouoE9MgIjBdOw4Szq0cPNLopN3Ox51Rji8h6OprAivOP4gTDcl8ZpW4a7JPdyvnGblPR4Yaj5adUMlmeIVdzLOrhoh54mgKKPUsBvlGTOy+RA4yM2LFgowX0uR90aMSku3w0zRC/7M55+DuPxDnH1qvdMjwd1oj9uQcxtoGveyLl7IyzfJwzDBBCm/BhIHgkue52SqLvBwyQEkhQwGYr1ZJ2VvVYEto+WTdFwe27RbjcUDA5OaKg3NX37akGPTUUlYkaKaYL41jKOaARlIL0AA7gDWdQeg5iG7Rek/8iuacZ6A49qHJgYRcEdz2bUkCd6JUCjrq74M7LTXDWD/ziC8Ukyb9lBjYeGLZHEleMxhB6q2gev3fiVLqA7Qg3sMYrUdSyLyuIYZFlWegYSkS4tj3BUedym2XZKrFhVHdv2Ph4AV/0f5Zx5TbvBFxmOevrJ2gvupOfhrKvH/ei8glgQVKG/hFNLqWGmIlJQADYD0hThoxfCYB/fy5cUx7oVh2vZ1jkb6fj4RitUy5YtkGS2LY5r5WiNeGCALndNyQ2JJAI7vxUZ5J+G5FupNhocZrP96B+jT2kXgkj0r1BOLK1k5E/kpn7EvBJfI/wziOzy2Rt1hsJvJ2B50J0w+GeEiH2UyCJp1WTvsP4k5yJwfUS1QAPa+Svy9gd134Bt5OpYDzlNPmktzIj6VPyyQgfYCVxygtp6+q6mEllV+7/Tu51j6sDW45vC5gN817KP4jTKNgqYEbBY1VGozg5zt0QariIWqB3BtlaGvzMisR7vYm8fKJaTaXHTtjWL34KcSc78RjWXZYDcL4R9IIskSIJjru83pb8Veh4OF7acnyIG98aLdtKSsws2mRCucxEyV8jKicfrTLxBpaVz7suhUAEahxw2Ak8K8hqlUZtPtkBvqTHufKhkwvfy7MXgCB3AlcQ16uKEoiOvUDpSzlGcBUeK/znH3ZDGaIxfT9eergnLDC3wX2P5Cit81mqy8DOgjxJjziz0c35/u9skKyWI5eiYHX8F1POjyyYSPAI5Y3+vC1dvMbrWM2MKUoDdE7mtOfffoW0sJCtWFmfInB4h9sDhL14ngZUGggwdgUrw/HOTVbFUMUrEiWuyzirPI1P4wowCpzoRIRkj/vvQl3Ao6YRY9H+SO1eKCImnIsrQgwMOtCmxp/4me3Hms6Z/ezZ/WldtI/3nn2EW/M6QWuqrxIJIQISNPINGoZkOLEpo7iYG0jtoOqNJ0VllInf3TDetwXdOaBZoRfQT3Ip6U0jTnINo0UmCjyFu4v5Y4EkkpmtNPBs4PUpJ9V03Z53Jx+FLPJBbhd8MUi4eqK4HT9LEUaVDzwuEk8NmzeREhhryNDwJpj2JXpI66gQqouC1MG/G8NlEfFh42GEXoG8M3kFAfXBySHRQNNR0JDcyLfSLds4u+eVP4dJQMbC2Pg5ZO4+uMfzuIxcttf7xDweocGqXl8QZGAE1iP3AIyvnIXYKDl+f4yQufNVxbwndS+NolBLFihXJe6Twerr1UvHyqbXEk42Q5fon0qH0gXFpA9WkjsmhYhe6rGYX1lCwrViMIu6pAwiKqsP/fKnZpAEI/0HZbucI2XJulejoYL+fw1SghpQdB4Gqysrk1N5fybxuoENWvYnn/pSZI+BmzQfzYYKrqrxhxJvT1Dh3Vs5+e7PadNz7cZAgs5vzVRWCck13SIv50eOsoDdi8adlgzQxBVzCWZ2hssDeeI7VCpnM8llzakkoddo0xLq7SFlK6wMI4hQruSx19KPrkRHIWFd7t9/NS/SxCYc+GHTcL/fZ0F9bV+Rnyr5H6xBhtd8sQ/zqbzNBBcQpPIsUtHmKNlTKb4cWFvCTxFrrTwy+CciVN2Ij7AYeQE2eWa4AcsH/rjEe/QAuRHnhTXGvJt4Hj/h10k5tpK9Etr27ghDRsHPDF/t7wWSIyp2UidUoPZtgqPZWIl89GTlC0YnbyACB/Mx5deK5qbSC07D+EHt/tjWDW6quDusK8Y70jUTZr1lp99LlauNjvgt8cUlh5I8cMZXEv154ob184aUmPus5BS01wZujnN7YYQt70pJhgX1uCteMXVVwjwq7ZQCipyhiBYCYr3IeZmFmKl/FPLGvTGnea+nOqj7plVr1LfoJkKpzM+e9OMIMmZ2U/rUolwpGiCMpO4NaaRtjAvIuGbe2i9j7Y4AlkA+cwt4x4kc9UA9yit7dB2KoQyqWiJDRMpwwEkkBYpUWPmYN45XbB+BXGT859v2B7xX1eqhakV2dH1C0+gfpmB63S9UypLRSgQI99a3DQA9Mr+DoZHRc1hgoUaop3r43jDyOCNwxsQXlzQ1XPzyh8c9ckMHfRPG/gYC7XpE+NmBSKH7NxDZHO8025LTO0bIbucNOkdLtwycsViT0BqOGKBIg2Vt0XrhdsCFtavbLmXAd/YZ8Imdm17Xg/2TBj6NGXCaHsBbCz4FoswlC8TUVd7whzR7Nv8Ea1y//TVFm9iA//BxLOv9Ky/+G6EyJgadPdiiMMBLVyEHNa46xEG7W8MxLDNaX+mzP0UO3dIfnL0G9aV/RE10ZUvEpshXPexiud+RJbxyRqDhTjQ4XVtMkCs60bPe2LqbRNsKGoTwQ/jeVm/nQguP7CeLIevM17p+RTqMmuFfryq0tLOj151RJaicurIORmynBQZOvZ1zDM7hywDqueKLgvMD+fBuA7P11/wtL7uu+B4Q/iKFyXsnGfZDmeJm3vUMbPbvpb31KxIjmdc4BPpNM3AddAA1vcfzWMunWT/0NEHoxCC3LzPFFt+rxnPUuj/6SQkh3qVboAeDfgtRkyu8e+eBroM10jjTjR5XdcT7Zb13NzotpcauOxmZaXN9u9WPaSmNn+VeXlD21N1KOSJ/bYiFXuVNUxM9HOWKmOJyC7juSpy1Q9m97fMvhCKhTodfNPfEjWyCHcOUnHdlV3Y9c5R2lVO0yTGKxlqb//gJUr8YHzIhdMlSuOr2mJ45zZleVDA/2hs2rLGPiCg6iTsKUspoUSinDqVUA+Gl4BVF/w3q5hsZI/wEQuV7pmJ3BUxfTPqae1NTprQ/drbAP3+dFFL/t84wH/pQe6m/4JTPNSkOz/sxIhHuYzSRMB/i8YFbmZ5YuAqZZqxWwxyACoGpqS4uiDMcielTCr9WKqsPIbKS30ktR75SzjOI8635TOKxN/myJdIu5Y0PYsBV96a0J9fCvlWlbDFgQJcI3F8rN3ZbsqHaxO8d5xIkcJJ+b8vkqqlRC1HCu7CW5Wg5zdaK36FAx4AOJZe2xyHQfh/cLI7EJ4Dtn+Xur6d5ytAQ1GzNTla1gK6iaywuF0/VYzYxz5aljLAO7dmbFPx+dEcpHILrtkXWM/ptnMJyWW2NzPKR2sOTjt2pbOH0RWpklocHZX2om82VDNdTrylj1UTiJbV4uFYThR6qHyWQigUddI6HgFv2vDNyUrpbhLZ93/oT/3rO6mn284CXZ5vzRN2U/cvEjC1EzlQlibCK/7WgpXSZ93WL+ZTVqblxVevSwTDNIMtlfZtCfcepwz0IBHCNQMtM2qn0zFWANRPGiFZhMKDcIgyaKCb8uGnZQwcdIEYeI/rR1Ec3qayOsH+ZN0xJi2bT+lWY5Ids33JwUK5hXSYRfIQofxvdh5644yPZXbvhP7oYIbDql8iZEhoI3t16uh4/TnuWIk2eWluAv2nmJ57Fxkaw36M2tYbV3ZDomYpNXO1VqNhBuCp+kadGDZ3VShc1/RVepeSwxrsQTIvFf35IG2NVm6pczGC4DjjBCfGwn+5nHDpJcO75occC1Q3Q3ItzrtBccNNB5yqA8SnNc3iqd3fw6yT3327reC6oRMLc9kSSVVBteQ3O6Q93psySe42q0aR2KlvU2S2iDg3EHYsQYcaIa3K4ovrrVlYHhs9VTWkQmAkoS73hXVq0TLYeLSOXuHoRRhpjqzjc3QqCgpDQrp5zZj5Kf/NJhnzMwEB0RFRnKZI0xWeuci1TGQSibd+1WwRKE93HahbDQw7fUTmUUYsLjR+4g0sUeSWz0f05xVFefNpxt0Rc4K4d29YSp/Db6pLOzEjQU2Gfdn+m1nbL746dV64ZLe5LgUpliJ4uNhjgGQ/mgrhmMvRzYNsU5sqzlauxFjE3v5CpyNxLDSI6e+VQRh1vsk9D+LcRw07p41ccMgjwG3gAVhz7gwyqwIesxj9L8hJ/c/lxZdibDdTznbngwGSjnwL1C8XS5H36vlRL7ZvCR9vzHXi2kWUyKt9bvqnrFXBw0i2kYIRNNsbTXVowQj0Ba0XQoFLCjdBIgiSpNiIBXL+AoGmeQmX2Nibco5XsOMWHYx3c0VxURBWHkPk9UlLouOjhxkOHAMZj3zNuG+ew6bzXthmL+BTWLgqNBczZldZxI8fcyjFeDlnxYl3WdWYv3I3vk7ftrOb+fV6u7LNKg0tNmuPZ3fRPVuzkTYGImFuwEUHOM18sfUsDxZs7Lco5kY19YYQAL7sRSSCa+Ss5WVIOGTirQ8I4ov5/2ZWAHPAmcozE63YAs0HE5iN8lRBZDVPr0VYOYAE3xh6BpxeZBEIyab20iFjLNnkNx6D+SBFUL+Wie7ZLXBF92QY1JY/jqHCKjT3TJSfZeJX0sjsBj39IBvE9zX0As0u3BEyTWsrACyni+d9g/vBrIr67P5KFifH7cSlJhN+E8nHMdUmXUoJVNYVPiJSSMeuXa8HrHv5tvpCv473WxHOZxE3j/WJ5B8qstydq7m9ltO6TgsizHDAQAKA+bZ/9uc4rDDLh18J34UXujblAApEZo8Wbb2wi+CD96aJNc8VZ5ESiSly8TOfoOTj66i9hdfpOGr0BukYY9M7ailDltNNi1brD6rD4UtO8Ry+0ssavdjPTpUUiSWqbAIL/uOBJS4GYlXAW4HMBZY0M5qAccjd1tS+SRnDgrvZ/Efs17o4Zotgw2og5vOUwT9d0KFHIWMAGRyLxivEpEraPvxzvU/C5fhOlYRPAikCimiFD6Vt1lhQ5B2b1rdFnhWoqU6XcyVqFq2SfkqR0DNMMGKyraE3xGUPk21uEP6b4q5TZJxI6TJF17u9qKjJubCyKw5GA2Ed/Ks+IAGVnMvwHt7B7eyZpQUYvJ135SOcMQUUq/WcwFpxqLGZHQjczQUpNVS3DrMWvAaiaD0On6wy7frOwqoaeXSeliUHc72A72p2a6Dx+8VJfpwz3wRFAw5EApS11CE5YBAuvaNsU/ZcLF0G/0CgU+V8VnrdXp7mGx1LQhJMTjNQ0CtYwqO8QnWBNkKTiJMkn/K/yUEgg4sOfFiWW/cYaUoSdHqceSRoNl60enGBeN5qjckczC7GaZyCGvIsnXnMeEgTWUbEfyDsVLzAaf4sqXmVAhlO+ZQ/JYfA/FTLJaRveU/aaqJ5KwRpbK7oj0fgK2oaIuLEY/19Z8LAjis60FD7pWx5glKFizkk7i7Ta/Z+FsQBToAKYSpDhq48BVoh8FnXdKq41NxGivFaINkoX/tl+EKOjPWcL6thItElqg0OQ0HFvpU59ytD6buugnJuNJywHT6ZmXB/EmaW6o2BbesEIHh5CN0avhpmtlmSSbxCDRYC+qNYlvIeEHAyQANhpwCqNl+WeFZWsbh7OCwD4ogeNnjeW9uoWyX+PiUpsapUgiRt76WmQIvhfoT1iNqLfFcEEh+2vjtN8fDKVkMCcQDYbfA2TI84lzNJcAyLZNJ7EXTN4D8MLmPyVBoz6UeSBlBicMMOR7pw/W4t5VYErdYRBZ1yZB5w5OY7JmapxAtI0lEPOxQJDRIpy2cB6ikwA3m5jEbKd2msDOiiebrR0Ai03xes6tMIUgwAq8wwDZy4DhWbBEnlTtsLr+XgcbbwhnpWJXd80AUBePd0Jt10QAACIpQ+5YggM34dy1owowWlvIASFRUwNU6dm2Fyc2KtDz2UB20IzNAa7Ck+3Al+1VIGfpTxIhwLD7+IELGrFGoh/KtuyCv7I4ZAmJZBBOTDBKtq2PEAxYeW8ZOQJxCFss7GnHfsKHwAb8F4iM9Ar79M1cfR3jardk6Py8yWV5tjtud907TUm022aiyfyJ9HnGY6kALfWHCj/zFEuSWIV0g5rMq6bXBdTEbWwdigddxWZ5k3Xdc3N4otlWPc4DG/9L/x7M3m3TT0ieV+ZxC4eqYyvFilxbFB41/RfjbL7w8a3pQ8p8IlgHYpkeDRREhus80Fm6CNQ19lGPOGQ/jUu56uklIVMb4ifvTYhhOBqyrgvIlB/AboEol71kYAYQAHy17ETFrtNuWqrIHG8GXm4NREl6BhF3QdMdNwQeZliS8KWUgQq4wkj9D9NWZpw1cxicFjR5oq4CGvIZx//xVg+pxrwUB069PKXRzBCeTYvI2YXVmMuoopjaLYLAiIiDVJtioZSCV/nm4FSWzNiYgaxk7Mr7v5mVrx8BrRB2iwQVkE94HJgtEJUITVFuMECh7gjNs25hRjplDLpC4bQgn01QaXmVyvDg2WFlEWn43EsR4jBsot3DEob80GLaiH9lMy+W02xlrZGFawEVFF5qn9+E+8UAqH3reYflQ9e/fQ8fivu9++XqmA9rIly+581cFQCCUgq6cZIH9TDNGZM2E8c6hREz47PUZfNriQPuAG5MJx+5+hghFnc/v+srUX5U/Yqhqsne0lKMNdW+twNpkL3+arZj4gp8VfZzKSCPI/RXEgpDoxjyZzKpNKyKZIxsXLrQW6fHTMn3ErRKwgiijJcR4DQGj9DFnXB5Qw8GcEtGDTtvB4vtEdpjLjb91o8JCbHOjGymLEfeVZsjdlwHDaeaT7mbpYzn4MzWVDtnKuXORGHOGNhkH4PxS5P/9sFWP7LmxBmg8A2/L160d/zczGZYS+sgV0IaFPhGjablG/I4lrNW0xTYrepwnexAyZ9rMOOX3nraOLxn130OcqN4HPCST/CXD2F5QYgYvkPLy7lRnbPq1NmOmIrUa+ZmzniTMDo+5j1AVNbPEnJQJbmyINoxrqjEzmrXLklJ/E/Vz4dhTknVznhm0iAvLxYNQJNoXY+8rCQZ94H244HZEw+dgucCXSUxx8Uz0/fRflybrOJoZNUXKNpYfKjBPZexeWH1MTZrsk8ysyaMHSGVZNIXlfnnZuPPpSrVqHZ1XrCNV4RC5inyQpUvMyQo9sdqTpUB1q/pCfbreubdPnhQq4Lj2H3WVbsS4eBJ77ytICyI9HQnyRQbuZKNM1QO32sVObtq4t6bDzu+ngxJ4NhiDpaXZX0jM6DATTBeGf564Oht8Iiy697cCIAHXcJ1QyW7UoNc5ZFpLFtL6I2NrCQHr6AtIia83hNDPlfyHkbqh5u3BKkKxcUz/mRInbur9Z57Z5H+kfaMe3DMJmLM7HcE+ITPfpabzJB0U2MSnEdxRTN6/+TEY9oyRa32UQm2khY8rN/kgJtUPm8+AearmJcdXduLaw9mNJ77cAWnRXVew/0sgIjbbcf3kWtCypsq0uIK/TJWnKO83y0ikm2k00IOUTaHQ+pk/DczxzzzxmxhekVD4BfJm1OKn11iKYyzTl0l5Wq4a2S1xnjOqqmncEvPXI2HzXWosmwhCiTbkEj34QGzGNHO7nf+Tw/EU/HuAfWW+rjFtUalU5GkUWjsfG3VncPPRS3AufZN6IMlohRquwOY0e10XnCphxoRuSFv2LE4pMfK+jpcsm2RokRPzDOlg/Kecbd9+BhsQgu/GaSAxU5+VWSQuZgyx9txPb9xAa6y8H9ejDzNg+wJTDKBn2hFszS+bKOkrfu70pQQfoTUFQixN7rdyynCFgRCl3gCxmrMdz9FDteDoAALKPJb/AhrhKnmS7vIWYsCOmj81A0d9Je/8jGwogedkjNw9PzKabilHCGaed405ZclHZpVYgnb1AWyKSWKdCCnUJS9kQbKLii9M548ZsSNe48V3EvIL3kY32rDa6bdj9z0Piqi0qS752OHr3cuszrPYVgV9KysNRXGFd3Y932j7ii7VAkUBZ47YXPMPQl0PVqBIEojqftOnq18VmtatgCIY3+w15oI4J4tm9CffnDKcHcJSjH1mdmYASSBQlIFJkVvcjhqsxNQSslUMcddfpP/uI7Bi0IbPrNB2xX+ZVvCjRdf3V9X/aHHuGh54Se7MNnxS1WLBM+CMQfNuO8q+CHEFTM4ISs/6I99yil1fmdLQvgOp15F9wpCVfkUdsZ3vTDQ9TxEloQpMc2FKW+cGCoPcI+gdhhHmwMeN5F3eYdBf2O+Vw0YfJmp3tTZhdpbSGZtgz+zk0Pm2sZ5BFVeq5CGMbb2G/NolyH16DaccepdbvsBPnEHEhk9047QSHh4iq4yCBXhZa6DEmIcZW3Iv3B7z9d86zJDVNKcx1rJKvRu2sspo5nGD4qK1L5+u66uHJjj8OyV68IKTySYmiuymcfGe9mCsMNiGxUQWd3g0ywtsF8//QFI7bpD1UFnjlwqh3H5E679ReFigKwpL87PZJrvxiOu52fKfm4ox+FNuTzM/93b5LauStSALzW7dNYgcRpIQybebkl+2oPfVv96fgrqnhruQnTXTtWKkKqQF//S29JOf+xCtCaSczUvlES2Yrw/RZBzNQB4m1QuFMyOgiY6gwGkk6/KKrJ/VueI+lKZR544BMN+S6MKu2LkmJyEMN3CFK7oCQOhPtcLYpNireh/p/KkHyfe+hFPNBj9MQUYBDLiQ9t5dRnfhCfNbO4JSIdDwn70otEq78GVrpbNQqF6a0DXrspNrGEuNZRqDhWhgzq+byYZJta4GdfzTw3kpi+2cLp5XbgJ/txysPdUu0+JxqQZSpeA3yGiJTcIUkB6oKu27Ij0VvIqinbFRqWZD7N+Fk2aCDt/WRbG39CNjCncEjyef0Edg8Xo6bxgwtiWj2CZMToPIET2+6Sw+IprVefWZsTeFMmHWpB+YKX2dyga5Ry3iuJLIMWU6V7TppkyAcMt/deXiWD13cJuiKRtAGgKXZgO4wEGvdVV/rUAWkm2bp9hpz5GeFs7kbqpkV/DQ/SALG5XcZ+Rot+LpEu0NdwzmZ+LTvN5CAFGpoyWiNPfNWcMmBymaAIJVG+pgVlLuWCY9idYPfOzl35ZhiPOuqIYY5Qcr7FtYsbBzLnzTsssXiAKJi/MGEfSLkTGGiYDoBB9vsZbqlQZjIiFFVNjGAd/KJQ0RkYQVFOT/Z1Yle2AKcf/epE91EsAgCtM9Be7DO21G0VQHtjQakSjyy4RzYGib7j0CCjSTSBa2AKo3F7iQJBxy7GKTFBUZv6+9yHeoGbPoIMYGDAEk3H3eUcfiXCWK+S+Q3b4zWHAi+9BFSXD6/2JJLL8eZm69eYavL4ErLgyQGOzpUDTFIrN9J49nOb1Bbjug/R1RCqzQsHe4luy8EDcTLZ/W9zE2f2eXaiNqjmFi90yLCu4eNpiSFJkrAxD1djBfnvEXwL9IQlDIfzsV/IMeAAd5nrg5Cz8iSGPMkzqcYxBJaE2zMjcOKATnsjaP5uxaFP3xFE/2bW/ILOnMg3EwHrX0CSS47O0Lm72l5mGRGMYk3Ea7b4xXmeW96FoR5VwCuLDIiDkyVkhrF3tu59kKhrD5x1VcXHqoYuK6rQ2iO5JJF5+SaaGtf6o368gydPpnY7HPkiE7HNW4JvOEowtSIId25+6Q7Cks/qVblJDmaU4Z6gzTxQN2ZJNt/XI6Q8OPBge5FdTDozzobgSv1RsNFuOQtC/eSAIzSma+pUqR++zZMSq0zzZi5DLSFsy6slGePdk8g/akgglmrfuQXV+64/sfukY2DYo73Fs+d71LU5QZ4R7Up4aXFurWAsOVlyG/MTktko2JyaerxSkbntDF053dqBN93Zr74xhwCU8OaCY90wn9OV54kNnM6fOOvbRA+qsJyC7bEnhIdWGpeH/Xl+v7eInFXaVIW4LJRnQ8KgXuuVMUYsffLzk2IWSe/iBuWWqmNYRPywLuWW7Y9bzQ6PGMTlubAYqOYd1q3MgpHh82AHhoBlA095VYgYrQ660TZUbzj3zQ8CAHfd1LByNm/ysD58OnJd2jLtrLYxbnf7cMuXcMtLAZ7Osq1NgEfWCPz6hCQhfWMdq8k/iYR8GvX/ELzGfqYqxyQst9oV4Cu4rogg9Y3khfwVfj81xR7YsRNyjN4/3ubi95CBhukQnoCbjxwNa2poYY8mFDZR0TUZ8eqPRXCVHRfeGSFGQihkRySh15NM9Py591T2f1sfK2fOoUVnkt/gxK8qWKygvWkaahPeShYe69EnDn93B3jFX4+c7t7sQmV8x7wsGboP8lrl9xk5Y4UIqkUYiMR2r5pDsAwf62lyDEYV2MRWsFE5JAKuWfoaGlWO5S7ckYfmCURuOHznewGXoLEIIHMmNmt+PZ/TgzRwUfgJ6xdi4QYwNfpB8DC6+idHfON9EGNTaRo0AqQErqng4B+aZWUrB+7IW/C/4g7GEyCKUIdB2MHHzD2wZY2a1Ss12dXM6Ed0iRur58xsA1WBbxonoMZaXVA7Hd7lKmDPQ/qUOX6SBgqe+cEJUakflgN7xAI3PBuU66g/PB7pbrL4IkLmVX0ucNiv6V7u1imIf7UrJNgPZyvH06pGKMwCyDDfO8LlxvwJgNu6joQAxZZB10EMFqc92PajslDGTCxthiIXzkUf2/ExiNGMYy2OjCaS6DU5hm6+vxoJ92EzjPFrbn81p7FqsrAErXbByrV9kMwraSLvVe7UAMeL/Po1qEWENMxedspLympbxTh1I3TMzIUxFif4iMA1KAtb8GLzmqWU6cmpglyRqcowSJiWIjn7I0X/cQ+5kbklLKSlcl459kiRSK9PSlHljzQHi9T45fzKNGI0j0Nc+r1PvPnKLnpg4oEKWzymI8UQt1N8MY8GuvYNwViWoD7wyaDhF3MktVOtyq/quNv7aUnOXW8uQn0UZ+O3vAww55UYIysrHUq46FMLR2QV+dgZdGTLl7E7VzS5L+D34AsunTccv6Frr/SNr+piEBY6QKeAuu9iz2aSWkYKf51KKnT2lXLDP/g9b1x0kBAdmsn7G9vBKPXbcDpkbFJHty8bPGMdSh+8wM6AQRpqfk/zc4CMH3GLKEcsApV+pVopFwEfuMJMjmhRcGsViMYedz9V87J0JemzniBsplmBFVogBEZiVsOo8EcfvCAmgZ8RUdMg5Vnn9m2jwPZjoTEDypm9cKOhIjhBKl0GqC1/GiqHCtbciNeuLUOWgX7CvhGHFUQ907AvIY+/xRbICTw2kU52WapgeKM9SfYZ00vif7pWNrEwgIRwDNtfcUhfyFmxEprzpbiCb7kTD8NV6A0VyZZyJa0enoHDzPkNXVQgsRZZpXKo8gERmGxIV86lG+2JTeQ23jKYZilhuRHmgrLz0k25Aea3+P+wrnFpmarYtjPIfpsIp+VDoiXP3isWKXei1YulyqHxVWuJk/XEFZ9E+996ddBkppomjp8SqgAjiQ91zF2SyBT+4Q7l3q7jQ8Udhpph8yqTBAvje7096OmY+qT3/+lHtVVGucs3WF8Gq8FAKdG/CCEtCVNEUr3vm9mjPiBrQ2PA6vWtcFH9edHLqxzkINFob+JhaZM6Z1fGNGD3aW8MY0gVI7cxcuYcNnp+8AggPs6GXhK6YQSyQW5VzBNJ0RN92ogL3IC9v0NB45qPcOnSWtPdwD2eaX4U5NQpQ8bwPgJL7jL9PaKzQGiK0rdhLuo+9Z/V5CasDg9acsgNJ2s8EjnUJ7h9SKtupN32bYuT8WpdJ02yraDXsrzSTLFD91/1jmufRMVJE2eCI6MGdLPCbH9+rvbtZBxGzSGIj+jaQ8wGvVs6Ff8G8e7tpp1SXQDFJXG3LEye8gLf4SrQZmYGJDoCtGvZSZA3DXeWd1+F/3k9OEYj93lX1BMNfR8tQpxNRtsmSl4OVHZKtANGWqpdoYiirrllXAoAANaVLHYuXIJhYkXqdkJ4bzWgLcxtyWTIqZ/y8d8fQlDj5wVnxVKKvmk+tad43K2wmeHxL9UB/Vf8fbbkX59SSMHG8eVMNlq63s2RIkvPe2Bg7CL32U/IDgkaP4i+8y/ePATDCVq0fJHygYqrzLkdYvC3UJjLhwn/JP7VySg0OZ0h3qpwKTA7wGFqKn3ubI3yOrGBn0F1s2AX0Bt4QfB3zZN7EYwf7dmoi0jFnQwew3pUE0RktOXJ5HRQ9e7B7ZMlw+cQo3gbuWVrv+L7pylerlyaTOIgMIBbomjS1Ia8AYlfIwDGmYGYGrba1g6s5M55UjY2QQwI4x90lL09HRqgckZO3dZ0uTgwGGyWU0PNS1rLLhTjI5wciEGiA5FNnmyp6H6de8VS1WYYNA4GuejoZ4utNPsqokNscum/U8+MHaLGZVFPkI9tQ+9Ve8KKpSV9+hJqBo7UygDc81eTFsGVu6dMZnloSm59O4xjG38LiDuosGuy6QQV6l8BsdUlgKKcjrU+kjyy3uz2bFxqLstRhSnu9LTdtooaFdrcg8oT+6GhXf2wcPhqHCp1op/3dXsA9deCL4rBRya0js4OmtKRkSRY/H9FR5Vc3h2EGn6O7aaosV6i0B00gNvnwPJ3VC4X8bahkFmDbi9qSpdX/YV2xJAQETnqA2CeC6DKm0JeDiMuwvz+qZTiMtEoj/x5XQXWKND1DN7LennJWYt/55XVVP2cmAyd+mmZ56Z8z6AlJFnh8xYwfMqUrCHaCh2e8r9q7NLD1vtx4vtVQErenxnmUdGuwuNK6fxkfTv98TsBQQ3R4mFGattBlMk9CpzYR/raXgmNLz91lF6TYnH1TiW2R0pUhQT6v51J8Zv/J8KKayyfei2K+IEXUYtuBf+79Dkv5b6yltk8mYb9MXSNQ/ohhRVYhdM3jyLw9T/FcqvTVD0tJU52UaIIRWzxkXk6Jsowa//d1IUDjfSPeJkXltp8h7B/vDoF5zfwXkpxwU8ZIIj2LNhcJk0Y2erqE3vezTCSUbqpsAlO6m6G8zxHRgryK1SfhUhst7wzkSuc1/fR7rqQJDtvgMQrvmAGajbYTnz1Bm9cr+zdDOwTVfKWBpIlxAonVinVdHZK8wdvwVbfq5ytKxQrwjg9I8U/WI71a92+7pJylImQWTaRwprucLFJLZPWWSs86cg9W2GqCvC338yHOgUpu01FWS2RkxiIzrCaOKoaRC6xVlACQ2fkiZRqIo5rfCmLSl7aW8F/tuiqvsrzIg8tyXC4ah6RZBLqE27hBjr80W/z1zYyjfrJR63wy9zlsj1nc1R0UewpIqujirG/ZHNGoSOvUqUTQ7n9nOzsutU9629HQiww1BGx49M0vUpD26pgxvfaGigXjRtb5nWsSU4m5xg5PCd9DPUZFzDnnNEdJeUFQYRMafVS9qWUsRXQRq07Of84jcycJcbtXE2gm5F9fqQP6tmjdcfq7H3k73G1awPG9sZpXM0zGF4KTxO5U3a8+T851wAtlyW2wOcTdsM6OmLuKTM9q4HTe2bLvZtdsPdbVWnf2aI3P1gWo2rISq4ADdTj2un5ktE5JC5C8pHalHrFHEqS5X4dgQJ5iyNxQYMdHVb+bKGAQjVGyQzW+i7bThfLrQY7S3P28BWhhheRAyUmqUmOEPs7AF73CxZuULDM9Tc7EbUjAHWCytWO1h3My0FwfEwbHYMGqldxAxpDpmSW6dlmTdjpAk5fwBAqxvDEZLQBOBXU28YJYN4BnKoDeNfhSoUm8ysqMVsun6nkaO/DBizAhHp+OCoQklz9j6M8M4WrhO8HqfIBIiThA2MlDF/WJDZBzxhhA8zQgmburRcUlQ68YCL0C7sWrVNM5DiDAjt3IR8jocbFiJGIlbpnInzOmSL1N+od5487zKMrRKOyEm3O/tApSaisSwbNH51ViSLIsKRRfbZ48TdMwiJoZh4nLdTFhB5hf5dar0pWUVf3alR581dqEvyGfD5SRljR9bQk+29sH2RaAWpKRCN5e8KzVmYUtuX8tBsnms4RIeLcV7KkMfeIv0t9eFsNJCGF+IMM06AtVY5nBWmEoYRsFUaKFuls5AKPJvlURdDTExrxGqjH2u8V1S4pSd9+bvKllmXbqNpV21BLNRXOL+MFmL9RYaL2joeFp8cVucryvfN7h8dtiP/D0Sd1lxFEN1wEbpUywIm2ShLkTAKnwT36+qvzekG2ur1UT0cgwphCm6C0RoNIh9B/9JrTGtNVLdP6yMsh0FYzlwj5EE0KEjacSDkZFRaVGDjmVQm0ZxXrbWP5eJqoZ7eT9kuVWxZXMpsUJ9Kp6c5CIqaskp8UL1niXdG/uPKNTLWSUiSoa11dpZSMwoWUsRo5UDxiHFRUfnseCQiG5YywfYGsK3ctPcKDQrixeCZ137PbWIhWJhym0m/WfacH5iO1uym8hitRTFf92AsAiq0ZC0xc6YWZYKmENIM6OFal9BwoPcybQNlv5kDM9qnzeQVT/iSCrl46lmnEJt484cK/DIm/AALGJJGrONHS6iDz4vK9ZHDOv+3xX6LnCurWNHG1HFtNVZyoOESTmKPc8zhbwwQi0Hlg0FSzYYQUN/tchIM4qrh/6hLrUzeXejW038NgBsH2dRzde45dI/wWoUZehmEty0GymzqutFinO1gBqD934RGQbNi0KyW3vcsMBdwqNIea3MpfXsEWdBqC5PEBx7QDmniqjrF7aS1rfBI5b4Hum0y0Lm1LYP/CLpobVThhapGD/11rVtYqZvgvKna70lskOd7D5cqgXotUu91w5y4jmLB+OACgeqPJHrXXAuej8Dpaj+WrRHGNj0eC/1BRmKucYiFEzcBSxXaySkotftboCEDrTQyFJ8e8D2ag3rtCWNGUIaodSGfWt5gus/nJYmqmdRoU9wW8R+ELOVksEaD/RZlpF/aacZQinMoJ2+xW5JaXfyZZltz5KJJXzl76PxlVgIBzRDB8J6al0O4oyh0K1odyKFNte66j3P2MNC8AQQPXviTox2u1n0lvFcsldtwXOCOk4mLM5CeE+QaNyDuCud6CmRemUAYIpyKvBGD38aCAuiFvK3nnQEo8BtUNwv1qlqQPUVCw4oaseOXDnuMYQymQuDgQpHLM4K24cuXkJlfZrL9dPZlh87yVoIWXtHIgBaTNM7r6DgguGpWz3CeqhGgDnSuYRAqg0enl9cxJSn5srq+krQjr9iCsFyRNfBUjhr/54cjkJIGw3mQVsucpKZztGJzpHCJvI9DrhwuSEjiiK5YUcIXwAQqj3iXKB5O0bc/WANmSgRsSSpxpGIV0FQxbk5x8B3+7/HucQq+kV9wVDQN6x018C4Zk2TXyQ8hzoDOENob1AhDOPS/zrZqMpQG6msDCO3EDsGLLdBZFx2n4zWWk/uGfWf746cKuK3foU+g3IophlElXe4L42eklEgX6Ai4wvOmA9nkqP82SlzvkulOcpiLG7KtCA3IG+lXtyo54Sb5EQ2DrDwH6DsIv/y1lkoG6H6gn0IbDBFL07Ia+HJlZr4qlXMfDItEBl96L9szmDHPHkFW00xe7EJWTq26O2yTBKp1+qC+L65S0SHAhgal+CUNI6xBkYWGlduHttH0LApMO5EzArbnlOMKPvJl0YeliN1yl1LZP0w/KIW0Poa/MkupFDfRc9P3CywM4X4aPJzBhULbdacR7N0tUMFsDLI+JWcYGX0oCuF1w6OOF8fxAMmkjhQOEJ/8lPab4T70jevJwcAmxEWrncPs5gaDxxHkXIpharlKPIH1yZRG/XcDzcAsHxScG0/oo+//EI8dqlNEdpCqb0cTkaThGlcMCo5EM/ZqRkej+DU6hELSmpsNVsl1qww5RvJq5Ilx16SJePzZXeS7yXvwiiVwD3GBaesOInhFteCpsjkui54qIX0Q0fBlrO7IL+bvfwnwOpJ3V7JhOReG9FUxTmRW+qnG6dTVEjKIfkmjoeHvNZC7wXblxZB41v8O5D8A4I6BRRY9CBgkowohNHkrzq6Tz0vf8xq0o1OX7DBLhSNT/lUGYUY0J5QDrhSEZgs6+/64VO577K2s3jyZwFfg+YAQl5DA4r96e59PFPHeRUQlj9PENM0728UFZ/0kXT+7ZWpoZpm7KrO0qLRvbrYm1kODIraLaNlJzS25sxB864LaDtFNKIFBoGNRnu6uOYegOUWoTxz01aAYsYX7dW34COvGOB0OAUCKLgWf3i+QjzRoieqW38is4Cvsexr8jTz03Zlsenr841zTO50lvi/61E7R9UqDF7zIiJiUfsS8k8vygqj/KWYq9xAzzSeA2IktODFcPKrK35RPU9c8e9ubShvQMDZ75iVctp7yd+ZegQQvk98OV6LzRrsXz5EFC6pUb0MM2OO6G2J8JiTc7mXqYvAABJOI8gk1MK5coIsXIaHzLjTDOd78N/HKGVxtLunZl7iipdA20rejhmn6rbHGPrq/WmlslaaWJcO+qKnhw1TiW8X2bWQk5sl+JYzW7VX5fa6t2MAMSMqL1GLU7qbi9F+duLQze7P9FxZwI2RR/JhbPqwXaSyteUVaPf6QFJffUoRnTOw0P1khg+s30P35/rwoorrWXuDmAvbJdUW+nUwRz3gZ8wCCgk4N8TiooqVjBYyiGn5nFhcZ1Zz2J/Q7rxY5lvcDw0xrDlZB4Njt9g6xMhfqeIXT+KnyQ+cHBi7LX5i2x9z83K2snagfzCFugT3vv13MYjsw5pjkrtjw7PNt3P7P8GFu0fmrhSyJ3vqfunPvGUewe6HqHlFMwyWbBHO5BRvamvhFrTRBneRkOtDgHyV7+yrD4UFMhGyk7+Q64wnbF9lR2BDSp2kmtADyLSyx9LSHJdDxXASvoVCdWvJ06ix0OhHZNthlHiCuxJGL39M9fnm0l25KRCUxbOk1kQvRtnqasWZzKbzyHW/f7R+8P7RRA4A6nQ9Fo69lcNIHdpLnapniaOMNiBDQFSPR2qsYVJnIfIHVAVSR5Tltgji6LcawI/sP6XQxC5JPu8WCiGvunQRKQXf5uIr3IH6LBmH/ckwjqrRlnDejA5pY9QvSUund8eoQdzA+qLTX5NQJNU7MF0/nHI3lJYni1gie66UIAIZZ2cIt39lrj8iqW18D0Infp4Pd9AqagqT+sIEyeiz/cMloBxtZ+nvQr8bxo4XkLSv8GkGnhdo5/YEp9NJqxfvMbCZ1lYBiLQs0eTWAtSO6WKY3gVfQkh+NxCllwcYd+khCJij5i0gkL9WaZYOoi+kJ2hhlN6v52RIPHHJgYtDpIdDTeG3WbMuw8MCUVYKtQNPFTFFIE6A3hoFjLzAbBVj2HtN9ZupnNMbmwQcVkk5AFhXbphmlm46RfSB729a1MpPs46Bzsqvq5darC5tGq5JZ2AZALecCA6jbWTwQoP9Ou3SF4/MIiffcyfc8VKMlU+YxFHrw/qL2JUYwVbqprIuv3bqx9CsX1VQAcwOuQJstis1+NXaB/uTEdCCfanFjZx6xN+BYoF3etUUbVvgutSlj5YdlvjMLKx+97dCII66niiVa9LNmBDw1uqBlOc8RdM7r0lXLCxlw2iiwCUw97qQa2C1gpMu6mJr7ozUW7vAyutjc1rozs7qEbkKIINrr+uI9+1G44tYnh4Y+KsNWnj0vU4vBC4kBMwgoTKebHIfUW//8biwlKo0M/yApn2b8kNyV1JYHFuKyEdAm8RxZO69AKMYXsQPIku5wNcZXOH+myub40tCzp9h/PnOFlzLa72EoBOmKic3QGdW4DdHt99U0JrrL4ZT7dFgvAI7Xy9weya4J6tVIf7NvLEwm5JaMndT2gPDn7OEUU3ZQci0fZNR2yIRVWONLMkCqiJs6UwHIKXURPWWSPsJbJxetztx/7VkkKYXTdKoL/yKMjvsVmZCTwoVfbsBKNbhmtDExDczCrzBjnjkjnwFLN7PFvwNXnZLELRmRka1TG7mKhQqA+SIYW0c/N+k0ctWKHjH1lzLBAZvYjAeOW7GYXR/FcnglS9z648TvHFp+ATLYvTV9xX6otM8M+7TqJNYt5K+ErZpVru4sKJeJbcNiWDCeKUhtdeklSIdbXgpxOUwRKUVVY1XB8pR64L1dpFG+MOPMCEbpgar/SWeDnIIlcmXhevnVa1N/sIOE26IHH7Zwz/9Q8+rzhyrRcRjIh2TeCFwyAuFGpLTzwLQSrePenkZoSPwmRPH2ZgEfad0dUJIt1VTsN5DqvXZIKmXpP9QowaJ529e/4wcWQ/Hpsq57vDflMeg2X6omQsVX2PcIJhS5Wb8Xnlh4gnPiksFofMYJfjR7C+2SCZQYHT530YiMt4zumRZpxo2Re4skx2dze2In9xRVU5YFUdMumzrixUeN/d+P7JbuNekTaxGXSFzYJUGkMzSZjOnzKO6bmVUZZdJz8ob/n9YmHWG8AjeSIzUZF5ayo9ebCRdb8rO0qce+HgfSQ0H8d8BPEy2Jh18b0fTJxSm5zfqStOzrGgDodfp3zKAH6C64gGCmylj2WwLoqPoe6m/9Coxecigr5vzua+eZv4zphPpmZBlMpXGTYgVAmwxPsUeyg7F0u66xinP7ksSF1IUeUGizXnFXvrG4wOYGq47fvVOiV2jrR0Xoo3fwQygsTOz7wXy6cZdMK9rPXoyjlEu8PsKJ9Ck/jp+Kl593zQdeH7023o2epv/tqDZahIvNY+xlpziLUpCW96ZE6Xi+q7VlScVFYvyckwqaU1QMZeqvdMmF+a6WgL6pHhM6tz4KPQq8rD4FdRfs5sX7ROZSGHcT06qnQr/7MlfCmJeOK4KXvajjjY8IBKno/n5Dh8PgVPrUSAGeMh8imcfq6osXQa3SiC3jjRwZC2MuUi+XhJT58hJHESiACgaUbiN8C/sxTBD236GzwDL6nO/dz7RaHN2XOfcn9jkHekyGiD16vYRX2O/Z98Ry1/Fgsfw1kOY8JP9xhC6MeX+zqRR9AuIUkKyf+5+XjAaNfker8jzid9j+O4FM0VJinpKSIjEsM3UdxVq+ggOJGmdlqdCHvyi6UqMInlsfPYFrxFVrhPE+ez2rFK9iwwXyV+qRldig7UkRUdzTq0G6KLUhOadxBzxhoFmUn1y+MwXgfr9IsglBt0pDvAUJQdEVxZedEnXKUQzXUiEO9UqHaPaiNoWIEVAMYWTFbgPzRPpt4i20CfF8gLUxgEdBo68wZCGDIDSu89+HnE1c52xzQok0gFrpu5fIz+ow8GFJrDUkM4t8A0ZDlzBj/mQuGmobsrs4xUmwVzPoci/hVByBcPxavgIJwYqLo3h7oUOgr95gN/KlYn2GgPHdz3bCbtghfdgj3QZhEYKYpieKLcxO5haXSoQeGhdo5F8tPYBACmaofeQY47seBhfugi89ubqmsUWAkjKkyfj16k7b3aGKTgLMCbstVOuSw4FGALAXAVMG6xzP8Lqx9b4S0aoln+V4zw2NpqzPYh/jGgVWUlwLDJqpQ1M5PQyx7ruABefFp6a2LXrS4YPuXkx9UAMbZOzCYNyIJE6/qX7FDJ77EglFO4rmsQrhTQRN0eW5AcGhMnftRxiMbwyi0/aG2vkpTXswwwSfCF30qNbu/nADaGhx3DrXMOgKuVFHOKksHAJeHpvfN4DV65ArnD1+URBu0j3La6S8yIUY8rw/VQkmFI1bgs/RDMrTfRXBbhVMrOqIRmiulXFkLq9yQKXFsRca0mA26qVy5L0flT4OZNbJyHr5NwW/1YG++oGFqnMOpooIBBCXx2GjtO4ANXZpoMp/QN5MmMX8IT1rbnPLFSQZN2g5Uu3RcQWO8yOyE4ZvAf9i4OnViodT0Qq4PDhrgc3nJ5mO/IKv72Q4NtEy2yPvwRAUv4aRP7eXfVDDzuRT5OeeZK8YzA+WLZGN2LRQHmGwB5QTgZ1d4axSeYDVaUmyw3vvAHQfoCGuC6Qu75id46AC+36ib8nmv0Wv+njdbVBJkWYu5B9bKLspn3bNBekrvZ1BVl6Q2zXVIz9heJLbICqPgIRe+i1UUIl1Slncte71RV0Y1JmJEewaDSbYQ6XtYlm9QkUVBRhfmr9C73MKHqQMY0uYp85f2kKajdOxB4t93MxFfY+FgDxWu1jGsCvtuGLDFuuQjZSMjKHDPJBPby3CwGZei6mSy02aBtH5a/ayBB9ylT0YoRUFM3VkZcUrPl3eetKLi7iIrfbXS2IQjJVbhJEjuwMdQLURqM2lKRc+g7+1hiSeyoxV7lTpnsnd1Onyl4hdrss1yW31OzIpNi1h4N2dQeVQr31bSaRVqaVdBgNM6Vdhkcdcj4Jd4RQFqIG7BQtEQILwX8ZhuEv1pTovN2865YbS5SbEKNvu8sCLRe229i+v+xx4QNDVBY+tH7quZ49Z6LobKmz634YS+EaKnUDP7+pvZ/TAR1TSTyfkvLVFVs9pSqYprndHi1BQxNrgJ7D6glR3fdE5hnCV/X2fjojk0aMqBx8jAH4iAGryQOLg4liNQ6CdiRQEscWpDu2jRgYTsVA7nvlXHoj8x2Nndyu8XtiwXorOTtwSR3pZC8+hbSR95Vpj4Sb1az1YvfznZQsiHXdc4mSMZ+/9vkCkKAgZPT4vpFEFV0Y33YWkQYYG0SPC85lhMOuS47n1SjLFQW37XflGi4dVYePcA41CGKs0VVpxhWh/Szb6LD4VFLB9yfosSuIgipgle++at/pMYIsFQFCwsV61bHRZHcXU/S9jhpNmuwRXI1PXqndQmI3XKPHbioyy9kLdW48V5xNnsw1lrBMXFAYOzeHtqWWQvXheY/a49+hEsTOjrReWUXFiCF9cS0o1qbKovjNUulwFDGdBWP0jO7jX3qAtNs/EiosIv/E1nsMyuRJu3S47CF6mXm6uAVRDZOyrmMJZBHgtOAdnDe6jEXKcPd1VhW9dyNuRmV2gFacnyLqlxdY7gUnlPE0/tIx5iNUH6XoDFssEgoPt+c7bDyKvXQ9tnucC1phHisZC7OEN9t9ZKIfn4LYee3dHcCn9vWA2V0Hmdo3tqSmey1YQOiJv56HKCVvqTNXAV3LeaiZO/wiKvUtXvHR6FjPJX0SczWvqZJ2r+yEFvAF0tXUcfN0Kld0nfrvmILGi4ONow77dNp4RgCAcIW653iWSavpYmoQnigekPUn+Yu9uoYww8tXS4ICjhj3bYF3inwx2yFytSZMibFStGsLrzmnzwuFYY/+7GmBMb8tJF9vyBX6YOCyLHzMnbR00t3P9DWEpbjQP0e/i99vKaVCHa5T5ZftTxf311KW+ioEA2JCn8qBGjqasK2+Jozj4DD6VuJ9JM1BqmUhriQofmUJEvjmzKdyacWiosYYTXHcc32kiHbZ6axqrVxwPlfNEvhlt7V0x6vq4h++mtbuuAraAuqmtqvos4mci3ubuzPcrGttXQxHpvOJHjp2CAevyZt7rW9Sai1WHoqMlZvJOEJzVT12u64GCW2rPOcqM8iY2o7KCR7sQxnYYgBbOtDX3vUFDSYUF0P8hNwvkQeLL+kxCuzHXDs7WPendKJFresJROzs5D+ES6yBb4G+FB8Hh7WbJjx9avTub5Ps4xncbNv6uY/NMN6Qxz2s8qhhj1Tu5v7TF8lqHkoyeCkNtOCyrKsXRImQgUnGUdkAcsu1clT+lDfBM27nMpczhjsexKlfFUaZvQ9jja7w7RBhNvKT+MQKUZ5helqr7zuJ9aeS/hqWYxb2gOxAX1V8ZzU6QELzUJXWxsdzaoD7ZRUZvUqHwVorTC/liMitVMlsZFC96JNOoZX8TYP/fM2mE+2iP/xVRC+H2Bd64MjNOnkbOBzYDlrl1PDkDT1cfNGgs21D9hbb16CHcD1GQP08PTPIbs5xVq3RN4EU8FiwVR6WEwlOwNg/IQrDWlREdYlmQhf3PzPiuGunkIkA+KWyIbxz+IFx1ZFNFm/6I9RD8+bqJSFxIq/1mo8x5iiGMuwd48YymQF/gLxqFSDV/TpvF4mROxiaSr34jBGJl6C24F5D9++lV1mVsk2p3EOIkxovAjgHMhHLkSiUp4G748GQOjB28NSZ5e4uG0WOFcHHcGzPSbohuu2YMjoZ0AU/J3qx4dnXlIWcqJZLxEOHQSeSOXOUU3vdkHEtOj4MRBDdbIOy4dembC69M+V0S2m+HCfo/n4DAwmPTHXSlfu0rLMTDg/37pLzw689P70tLgE9Qm2Q3bgF4WAEjEknsL7V5nzn2Mhajk4HA3xYKTkrXcjYTHZl5o6Km4uxHNkFpL9fBdY/+ZE/FcMzPocvlSbuYvmvDCXlqzF7uF5Jjy+hlwnTSF9xYNZl1XuBcYecGoFj7wqAGJalI83EOg9yxEIbyovTu7suita7HpiK1OOMKJ+faHPEYlALS4sGQTxc+wANHvhHH6QIDmsccAkVjweJJEagUbLsNfyX0eA4eVdQUgWwG8HI9ciRxki03uZ4qd5ykXREd2FRjX5fCT5QNJoRZm6I3MaXRvTBH0jjA1izABZM1W/WQQ9a3YYXiQAkk23J13ATd6Gzg6JSewGv0Fhs94n4dYUAfHDCgS4WVCL0SI6R0vcHdy2tubkMROP7MQAxtlGyZjGNjPOGndma5Klz5HuLm24h2CuQBwzxm3RiMh4xLi8c3sF4KNDmRuEkHWfGbuklKpuMvoXx13BnrxVtNsMvtCgH872JovkbkvIXjfbpPyUblt127CqBUqr2VdOjPnFbfQnYrj5tU/TWV0nYpA+2I0QkQF6OLyES5Z1ZGe7ABdpgQeL2rbs75HOvoOx1duVemxdo3BWIka3okSaNlFH/8QplPQsjWe6I1r9LjEvWQE2ROP4R8FWZDSKQ5ETEWeT2Y5W8VTpdcL8QTdVlM4Qnor2vDmZMB+x+9MnpKFa7+hU8mgUPvBDj5CXIwZE+ErIWqfyHHVWCXpODh5fImn7qqXRfiMMjhKnlBAsiCdmQQSdRKQx3ATcWIsk3CrBd67zzgnU20FVb33+VR/nJLhByWCzLYFHbusjSVqFO2bc+oYnS0K75l8NkBR3CcKyVbQFDJeqMwrLB83izZi1N+0cl6oCDMcfPCeL1c86dAOP3H5PXkWNffnF7PGpS8E5/upkBCzYDB6/AAMZafQfix/cJwxI6nLo0yksMEYa19lVVXTYKlEZ9ThuSurP6vRpTe02faHuJ8Xyfgj4q7qg8JMsoQZd3HMzNmbVXPeZhE0Y8wOlN9bmVO9KJmuL2JfO0GhH+VcDNXrTDFTWxI+SLmUKsm3mklIKYDTttOK2THsFdbyE32J7f5vMHXDiOJxBvrFCDFQpp13QWaIaqjDf8+nF4zUUmVDKWlwK8SWq/gxrK0HX8t/TI3cEbAAZGMs3qLlBbFNyel3WqaieepP6HlFK2lwzhs6taSruti2QSdJwUsVnAmgmcTqqf/Zw9WQyVOh1P53d/Vigc0rj85RI2+ACsou4mP81C3cRg0T3GX5nqMvlypYDYuR4S+AIQGygYmp4fJVBr6kvLLys/6LL6AqX7BcowfIjlkKbPvHKDX7WhFtyfrgo0w4AHpjZsKanGI3a3SYXFFXne4WlxvErlbrd9wiq0TxPSKmvccGIOlNMn5ULmO2GIMJGlMYZNIwk7p8JMuHguwSTNZRoGK/HJ7gogOiqWWo12Z04BAi3pBduCdtVR8ucXrMtFdm1PpFlC/TDC4Y77rhnyeujlgCd/NPLNTgMZKe+uL0F91lbcFMUmR66ORU8eChB+aTJzCbCVPwHnKR6QrvMD3rhvJ8ZHGAA284OyPE6mZu9kCEGEQd9L9srNkFr3tTH2IZ1JPPy90CeoaOJBp0KpH//lDqX7I9LDjBp14jL+XjBC48yfnZWAC7P3NMV/N+Gv8/LlHdUtyJfMWGHX7lv+s7I4pAQCB3RSCEx7ZZhN6T9e6svHbv1YAEVfrevW+WgWcl6E1lKMvygPNfw+81UHbvaz5Ahmt+z7M5J7W/ahme5yQFqx+xI19UFpYx0Y/8NUcsR8N/rt2/RfBawA4MpO84RVzSslPSse8IFFnLV0oIkYOuQWm6jIfhmrpKqqlF0itWP+EhSd7W5LVvatJrIaQVPIIbRjGTDytd1FD5kCzpMuaZ2QQcD/WXOep+okqxjGSs6mFEF0dnHq0jOCy2ZoMYu+uvZE9Sy+vheSZkZE00RxZPIgKltSWfQGPNo0jxTUtcNAz3m4jE1cQl3Bl+nyW3cE04s5QGzWYiTteW3QdOeNMieEx779pri+s0NwHle1znD0DmsA+LiUheCzz5Jq2EGNP/mQRdYhdy0taB+GftZwJrOIyfqBH4Rz/lmoe68ADMkvlvPlQWD70tEcas0lHwIhj5kG5IhsM3Q2phH8mQBY1n6vS9wSMKU1Q+TVhthCXfEhwW29eriE/wLDw5NgWEyEkfszGi5vNF+SiggeBq9cnmchX+HyNiKDFuJSr1PmBMy7m0lJBz7/HG/J+8ElUtINy5fLkMfPlQNnf3hMnTXuIYcrTh/6Iiu9cUIk+Al/WTLXSiLK8HwtLcVW1joaAN5RXfZqe/P+p+hBxu5EFYJq/opznLRGJbac56rxtbPCwiHbdOMtBuMAFCQIiEAMceWLbrDCl5MuHsT3Lso3z43+pm/Uf/YBZI2X5q5onLAvDNIiuXoP3XkCzZ+cRlwelugQRyvVJuQ6fonml2/rKFRT/B1OTjsGNzODCJ16sUKTCJDPiHHr92TBpKH/w5lpuHFZv8ay43SqiGkwaBUa7gofNdxc8B6+BgQ5XU6XmWOB4ucfnIHhYVOG1/4rYuBRCdDNwIX4ZnScwbg0Wt+dILQ+vcu70NVG8HzZ7LXBe0UQelcZC6IhVNaIvVk0iHb9GHFZrJS0gYdqHMwWcCgTvd1v1ezrIMVFUiELNhyWwWL0ZuFt8A0HrnLnZKejL9nyiyr7xOvpdCOb+QHeFeWdnVex219b7rsRH/xxnz9miucYZU3DoBvcNnzIm7+wa3iCvn6fdRWxAaZkhDE4gN1goo28/nT6GI9Xcl2Wkde3p4iyLsNTtv0in7DuY6trD4saWqk0vPKab7tGFsTQOSiGDL5C5c/1tGidOsevRGP2vOOhg3i4tArW4VOPBvHTlHjvSOtlNNJK+xczM+Bzh5TpiBRW8GDyovN0WH6UhvUaI4vWhWJejYWMHmp5O7LmtRA3KSqK22SSooap5ebCNy6bvQCIOhvsCNosu8RtwEWY4vREXB8xf4JzdngH/i2gEZ71HPfAPNMuMn6zT1B4o5RHm0vbnZJC6w4zbd+3wtLf/mkPXuP05kEqzu6/kSsxuluhPZnb5jAlsKJXRVRc6UI1Q8c97wlF8XrowVoopyn+dSicDaiFdx2OdhZF3e8DL5Z6rhsnDCBLOjA9hCOWlQ2TrJAp78PCdjQcmsxPHQt8pHt9nQCTsdpnwvaDVByT/sq7NqwhglPTcJt/8BRu/sHcQej7CAPVplVbvJPH5ftINTcCVFuYpIqSUPmjwpc3RwTYNRhaOMs+bbQKuBwnbC3clP6Ci0wXGDz4+kzeT2YrRJdJIN16tmHfaPJLdFnaPe/OzLYpluDqyQ2eG3PQES/Dlk6DxT/cGjzpzeqxEzyxj9OwGlh+XfbyVnkMdCrDVx/4U2bTydk5YzuRMxdGY500vfwumiwyx3xHHtZSIIQAqM3xbl8ZITasz56pCGv2EC+eKYfC/ZIRh6Awgv7iOkSJAtYMJBlLBs61F9a4gESh/Vwj9Yuc6RHOFpSiMC23Ocspra1Ld0D8zyDczwrOBrWSYQ1p/t74MMNcG0yheTtMtRsfm1C98GpagFDkBfZeY1Oanb/aQwoef9GZ4NPqg/ZwJelql0dto2k4HAa14ygsb6XnVSwm3GfHQaW+K5/1NkwjrwI7AkaILiaGa8JVf0hULuWd8B3uREiotu6p617eTcjMKQAJYL3FBWMp11vA1iqHPkrBd9zFrBRO+Qttr3LGx8lhVZOS03XrzLH695ZkxSTFH47m9ergLA3LPzm+CVIAnv7gi1bernuHACGgoCxQy0GsuuTY+3nnCvP9CvAeOK2QHh8/BYXCUcH6zOw02jBZPdMtnkzV139INiB/9j5DKwhnnr04A9vg6y40ljKq+9kslY9tlkiXDNwNra888D14bp2MiEkIv9AcHEfuTFmXsgi3CsEcUbdAVv46C9V9OmUSEv62nw/Btdk7q8TVGaTTK9fp+P57USsM2Ohc3lRWl1UH5iOJ2ot7LD0cK86NCEyaknJD6dgzEgaCeFqFOOeSVOVdpADvq6FE5aZZQRylXqBcIpHU6KX67IpuP5/iIwhft+ntPPhI4cPXfzkFMblp2++aRBeOYh9p4vqOixx6ks+OJLapK8v+/QEtVPK+CWKAugxztt+qecLWCCCkJWiGN58YtXbcACfSVUdCEz37w7To9J5GFJpPZ01nAHa1DULe1KjGAS64mO+YOcF3obQOKOJt9T2aZh8y4rkJ2sOEJNRr4bvRaPBDdGfkMIuOrNN+Jm9d679/t5rxvE/whHzARPztckYI7m32CMEcAxvuWkl0DCmULeD//XRQR9IeCfrEO23ojRrk71izBrFCmskk/jSW2FkD0ZBbxegJqrLyl5u4oscAwl+AKnX/vEN4EYYzzn2KJ5ieynak0Hx6hUUePYYQHRCu2uwMFbeeeaPDQQ+LyZ3/ddlUKVDk5UkJ5FmIVN9cvIPEWEflv/Na8J13dm2aXUeX393Rj+up3DFVyWG0w9dac7ZgnsLWyX2PXxiuICP18eCmZuSybMWwIDfPTZ6TC1Jy5ESrcRUKZw5OHQ3WbrqZgHvQDi2ztlr0w3tAh2yNiX5decO3B2CYrPUwHtrSqRYLlZzztfKabJkbE5VsLkwFrzB4yb04FkpQE1glDq/7YsjV8u9NM8GTotUiz/tjUyAWmSH9DTb32QOlxkRihWtJgw7ZrgSgKPTgf19ATh2QcoaTcDJLbCrHojrWAZ6rplzl1NUe/g5URmtEbknKpB97+td9Z37jH2EN0GDlHIWXG9KnIeC7VjtUsPKzIcbWeZvT2B1nEyFtbeLeiQsMTJCt+WPUADNHce/oUE+j8sz6wTwoBumLDy53VaKinqO26P2VvPxxyqgSx7CBm8IL69m4fcruKHZ3Mor5fb4PIHY8wdAAP9wKTmy+uHU+KI8vitAUIixiPiQ6W7AaxwWw5p/W5qJcsMgH3qP+8t0SlhWty6rJls5pEYZssNSRuYvVpOq0kwqc/TQsifkA9vWh8lVo41cTudOhblouo7pC7aO1x9mFlH9dwfa6+Z991UV6Moo0+DszKzHKQCTMPCU4aGs1dnGxoBUhpg3fZp+nPdNCD7MYzQ2mC5PebH3ml2sYyOVaW5dmaAMwqpLywbfJLT6zoySFnsUEomfHBqjhGZSBq8VCV4uonrqNxJ0W3NxphCbkQeyzLfZmWklAqaxlzsYzRbmypKgrf3NN9mnB/PAa8jr72lFacCzdGzHyBpVS4/0nIOeHZyaaDlcPOmqNXUL5rbQeyYyceeM2fibYclK5hEccByzYDjg6tWzmUd+//aVg5qluCi/XEcdC67ZZymO8UuyIP0MpFTMZ8E3ZZvAxiIwjqR/kz7m2+jwKcwX/In7VKnjLdsZuNBYaKBLgpBDXCA7/GYhHw6GG2OLqGRuCuzyJIIIsjT+SjiZq06NS1zfN2Fjxg8x2FaAeXavbpuIVxLHLILNf9NEWURsvSdmtF4L3ckEojG7ePi3qxisn8UYrvKmc57krSxo7nJwY1NOnG24VbF+haMNaIZB9I2ShSTQa7zuBKHPHg/FaFh7vnd6cN/4h267wKlaoTQIat2xsUxzn+nJKs9S4hQ4qbBiW2KtbyG0ks6rBTck8KKNBHNFNtFX03Ysm9fPWP6dhKca37b65miDoogIDgbqXe+acri/cPPOq16KrCdGNx52prdDx5j6zrakOtHYEBAHF4+b+eJ1QLw9ceYyWk659cwzNPJ/ECGIaYjpUbfCY6+x/dqetE6aBDaPyUR+dh0w2Hvt2nsCMAjXtzqS/OHDE5MXYYOBIMEHqtC702qMRteVWaE2rpZ+spl31S7TTOoed40bu2jArn1aj8Db5ry4IjmR4Kegm1g+dPm/N2DVAMkKngN06UvaG9361H661JCk0ge28JBwuHiPO2XZ3Gpb8VPJNfuF1UwmGgJDHgSd4c6w2Vj6atIhmY0nEVaS7mchRJl93Q+z6iGjXjF/C9sY4u3HhiVZVU7svrM8fIQU64x1yfCUYneI4aJMeoigleKs/JwrnmkZe8PQusNN7Gk8k9xevUdc+4P++zI9OpoN1a6aF1O12G/XtoiAn9Icu1ublUU0ddh2yx548j++pShLHD8ifqNXO6VcjRvKvgb5SY1L8dyhjK6jarjDZaNRhw7BPhNmYdSIT0GF1qpYeHNrbtKa8sbc+AgURnkoP20jgtf85DG07UAYQbWEXRWCRQuO3YtH2gfwZln/4JOQ4hv9m9Ok5rXk+Lv5LFCgAcYo5ltIBqBboSC7np1EpqYstKRmN6l1iSMXLCpt1haG6xBw5bz6+tRbEjNQLFYjn0KxN4rRRhHn6ANfNvjTFOZrNGP8xiWdSzfhJFiwVmWTYRdQoZITZCsZCt54w8pEcIaKQQWfihhETsAAjf0jC3yVCiWqWUnjKvqv7CWIUSRE/bpBZ+Gcd6kk/dMxlnNUtVxNBM01Fkq1kp4fV0CJSiC9lC+IbkWQJmaniONiPFBmO9QFjo5gbZt5sBSAVXh6cIgs0czzBwWEfyk8sZ2k1FpkH4j8rUjIZupHr7s+MVT5icN/O2uHo681vf8E5neoZIWiO2qStrEdyt7BWVu0eTyfR4QTPGIMVX4ZnQrz/WLFedOwEJud7v/pR1E1ejC55RfEHsXaH4ntcNycOjtPvyI0G38hz8eCEvP33ZCMWF+rfXtN7QmLaBcwIBREJTLbr2SJzbdrjsTbln/xkUN6A73o4F6TcWY6tC3M8QPi5txRGYiAAzE16vCyNEDSfi6nn8WbFGuZsfXpYapklItnkgJZnVRNE5mODu2EC2ahRp4GI1vnlmJtJr4DdtuT80PrF4zPqOKAWPN/qEj2JDkUCGl8d+0+N5E8Vf/OMR9T0aAPqsDup11wJzaN58/i+syqbG/Z3E+DxQ7waA6Q8kgdwHYwLDvb+Cn2dkW2XPOtXbcRT2n2PIlsHIKb51eD7UqoEwVaZyEli+/rlqQfEnBeA272NWSE0EWQ/1aoVOKf+kQC1sHKqCgb9U0GOXSxU0EkCzpoEjrDiWtuG91oFEcgsiUymzWkGz9VC2XSxMRarUoXrA3piaTXcYOZYqnLdK4ezV3qvaSahwBI7JC1LcTWahwKjEhrHIJt72T3Lqtk/oICPQvbbK0g2mO9J4FRHC9RERP5t1ggxeOCNokvsrFGcWbhRq7Zcld0lyYegSDAyIDXDnAGouzvmLwLgwk8/5W2s7/Mb/YnQqKxDxb5PKYq6CsgXPjQtTXiVCd1KkNcKTm6WsKH9b7Flk+FnAUTHfQ9HF+J2jrPPzRmbeaSXorfsizNBD7EvFph2UdsAWS7URqqasc6XP9ZkPziM5b/nbOmol/p/DfNrK/8IMLLdrpXTteapxqgtz/s1eRRS8kx6nf/N8XmfT+QjjNJvA9cJycj39YzCjO4fazg/g9W8IWrk9qW2+j2MzKCaHuoCDUzMoa4e29VN37U6I/moYQi+e/FEH5qyM7hYDM5yfZlxCGYjUhV03phhcsOga7XSlDipRJYjqCSzKNxOTX6vVd0DOjHPbr0gEfVcl5apCeFlIriqzbG4SdAhpIlbhySQr4eClNFnB8EGJivJdUJ9HDApXcepINGI87XUWM4aytA8RnxZW25B8knqGIIVFBTTld1RwelmlD3VTi9Lq8L0iZkLiWlp/560aqI1DRbWSNJ/+R2whnJbm1GDkH4fjqkN9V826afAmGGoh9grWuPJwAzbx1pj1IhqZt07Fn26w94bOZokGrjhYWMDTYNO+ShjmMRlJqYaFPYtZtjJNBwmqMDIZx+SPCgo1TLxIEk4Bfo0wzdiSFDS2z+OIPkDqiGDKSyPm/8XwqIiB0fmHhOUoZm7yLHOMGlSLwnmgAIM20YwW8e7ALyMgsPKay8cvQcJ100Cq2QOBPSYAZEYSv6vwpzoyzKcrjQgbl3rWvC8lMJw0Ft3UY0JilhttMp1SZ/HWX0X9pNTHADplW0ohiyKajfy42/NXrKmvDwuj5vVuGeqgEVIDZux53El479R81NgdunLbllrqGKykGY9XqlBjZU1JhspCsFCYi+lLjbpJ+G+A7G5/y/E14MxzGN1rM3rWWzzjK4DsB5VG/z9sLNEkC794ffj7AxW0SUfpj5hlRfcbZNQHTAM4v3DEyhfpv8r9QSqX9NEvGukFmdMygHmk9ELuBtauqc9LAgaIX7Mcu0xW7rqaf+Pe6laU4S/w/LqyOGm1Mq1WBt7iWaLYH3JwUdgPNoNpgYVizq/u+YNxs94vt/Yie7qRU+HwzQtwno8kk1U/3IklU9kK/O0Na1EOGjAbJfPvNC4Pzd7LXshdqu++yTHuI8LNDIBsFp+6VMRuGXXBwnGocg4GTyI4NQ7gJM+sg2njzMHaTJ8i6V+ZHII+kbqhjkug4dDz4u4FdYLe15gqCosPrgXyYDYrQ6Lr0BI6cNAAESo7n/2syP3VjnUades/QYFfuTNS9mZZwDLlxC/UIThYQDKfyMDHC0C+JxvRz4aRez63OwVVtJQ6zk4RqQSRff+KkEN8fQEcZczjiQ5KWO087CaOgN4kPPIoOlD9F6nFIcjn3+kLRULKgwtNTy1qZer6Zkah10C7uuMDoXWVPdsh0Owr6J8F1+lMnJj+5VTVe8Iqx7LlZP6oDx3YGMhBeqGUlsk2uNjlJ1+yAOZ9o/uYExkMKVs8hMyG0PJouDFZU77gQ0HR16EDbwaJM8/9CmciFHj/r5U1vDKHrbEd404G+chxXlLNAX1vZ4ccScmRIPXUjHso9ID/CC8w5rznY4vWT2Lq+OuxLnpS/tsLhFvS0+S457HH9y9xxHmoC/mmeZsfnMhgwPQj8n58SzUhGv47ma+syBnWDQRhbIR0LkuPkS08d4uzey4ck6Oh8NgP9lDXkduupdJ2NOJLvNeIHn31kQrdngZiVRwk5yKJraaOk9NNx2pucObyyFXx+uhT1UmXhsHEEwxqw5zZhHbRzcVjBssHvETRDXkInet5ktBsDC84xdHDA8BkOQ978xd3TWy2zbHbObrxYZWFubxvCqSQz15SfHB5ipemJkzRwnHJVhMhIpVQhIG0fWyUOPhIPPs2VEir5b1to5HJIG8/5ebyyMDcr6KISHhSju/KjCyIupEdOmI/GO5YT+S3LpKLnCJ6QyhtqtBm/9aVxzpzbfDdN1kfCxVaL6ONUfDvj5LkVvId6xjKivw8SEgmzSd5JKmvCUNKs62wIL0AmE9r0homzJpxu46A06+msWQRA3V2e4nhtWE9xuQeymT3pgbuhlIDmGehtNCQXRHu31I8EJNopLjQjRMMzxw6Ffxe1htS2+YJgCRym7LgCNQLbRbxnw6yb41DYLUl6cSUIGfzQ+qq+v8UKYngDK2/TCTAGbj6tIVDXX/a2+tVPwMbSRCpAmPFfP5nU3BcldQ5kelW9G15yybDCEpn6MXrTFdNl7PymxlHenVOdOVE7HQt27HLyf/PvdDqAAAPP+9ZOlFYjdQ0N0tXOm1Mp/xzEZFFWJD+u0kTKTbW9sAzwMnRPAIXlA/rYgrHezxFgXMAjvDYaHMdAtPleSOmheqvw8mcqHAi/m0Ir20ifLvgWyuarulrmY6zQgXYnEPCnrf/OoOkJzVXvgDwj3roZGEY5N8xdXuMf758PrwRkY0Go4lGO1oFrWduo/+6PnzlIDjZalEE4ovKLWFo+ROb/X6BCiWq2IYsnYm0izqUcFokHLbgfr7KUAc2yzu8yxz5vqikPiituydtNwNiElsodCu5GxdiZ5M2bXMUDnbG7gQgordWXeNfnFRGEoeHkoTIyigU9H5Ruuz6zErK+RBpflxK7FLTmRsNkffN0ZLfSEUv2KM8Abk+MHQxBdBfWnQpQN6BRe6T9wKha1LKnS6P4Hr53TXmGfbbBd5N8RsKytq4Ip8kC00iIF8y0N/LApCGehl1nO0OU44AgsuWuTu5wOlnOu+0AOuB2aqUX7ku4C5iZ3T3wBfmLaYTO9ETnGzUkR06pc/eVY8OYcgxHtwWH6goflAsnlEirKjzFZl36bv66bTyE47B4bkVOh9zeKX86hnV8tMwYU/ibgDy/aOcSQNai9NZrKnMLqlKjFS1rD9AwFo1AbEF/+D8lOtQUrPt9NOfYzYu5BqqjMIUgeZjdkCekYJzv8ErI2K7jVZ6QvZW/A6G45XPLZinTOc7yFJI/vZhihobu8eVa8zkEIDyNnE+jO0e5IPzpi5bla7esJSEtVX4sszK4bhk1JaupBv3o5ig3S22DRBHo05EdJKJ5Oly3Z+QISGoJ6kaq2EZudpiyfHmRcVrjoNeCPvpB8AZew5MIYrcftj3dn8GbjANgqVkjBIRpHGTpa63/lG45ZLd/v/Lcd/8FbWtQJuplAq/EHXeyHu2qk8dWFQvpOoSytJPmJ3EyXdqw41jFwWU6nAGx4v/R8CeaMUxo3sQW0aYkwQ/TXKY7Xcw3NJST61epo/0gqghudYQa320pk1eJHzRw0POlT1/7lFnttrE+cPoeV0wfWtmtzmS1un8hOrfEYzvTdkyiYxvsEWkvLquf+GadPflznDUHIMziAombLKqbe3n/Cut8utU98jYDtfwI6dn0qRTyO+4TZil+cSl09oJgRO7Tl5Tg+Kzk4AN/LzDn7akHSgyMgEKmqvkUj03IM/CAfdvEdfndwONQ47o8Vj1Q9XHfUHZdZ/EATSTyOK530zRyiW+aqbRnr2a4tHEWGgXpw+GdhLCdHXoYJch6/XHU5NNM8/5WC4JRUJi9rSk38iReSkHY3Azw7wbZ/Ubgntm30hx0ugSN72rEAYhspdQxX6H1ms/tq8NfjYoWAZEgPnl+XVMO6RBgUa5qsTOeY0ef+EiWwfRPjfJKsoMsUMzXeTOZ8bATOJ/Gz5CfFb/RYfryRj/UBvMDn0sQU8cPTg6ZCFq1y0cL24AfMDgmIoqVPCWGuI0aB+Muu60tnZi+U7LvnqeWklslu7rx5sPC+NTSrK/hD0uUvzcM+m8mS98UKX1h973L7gVTRvLaKj/FAqtdnFIjMZH1/q/Bttl8pmjqlw1X3xPBd43PUOKCTTDNSIbRHlzft6ZrJFkuhElgxfrd3KVg+pgjSKk2R8m4UZSuZf+sEusZQo7EdGrClHkgkh5b2H8Qt2u2yYrdh16poPLqFDB0Y+e3j5ghj71eLUQJ6oOMSHz+NI3+3pL1dD7hARnH3FpXCPz5jBE2mXmyqrdg1x1aVDywler7trdpPEEWhM7jrTkaVv1YbieJHvzhK9spx4NT6LKbcDYwJB14SV7BphXZJf4opE72dmVbdmhB6NgU1Vn9h+GbcgnR0mRqYIcFC85eSKbFTVU6YmUVzbKcoPcPY2JPGXEaEdnMlRitOGPNQW7SWOtSFaGoK6fHUh3A3McrOsSXuGzjifX1I67UR5YWy4ahNybhoNPo3scKLaG9Ds4dIoSOOOcJuLuwrqvxYxiKVqvvcF5ropxeQNBH4jHh43WKKBsJmbqefjoz/bQG8qI9/FP8SdGlUM+U3tWClBjUsMhF+Zvqs8YPP/6iUZ9qrP5O7aEs1B+34E5yK7yHhYyj/faepIPTG6GjTYJyoDwRaNGjy3DbQxp3Zo5jyt51HpqPQqyAB+En+oYNzL6nY0pESI8/LQNyllFYKTPJTb+INNAyMi1T/+aYnb1yOK8qPaM3alPliiYRGCuLhHB7o5EbjIHpycJeV3mQeJeVZwHqahqb6W5sYDsnNEvcga/2o7zcyW5BQj82ZDbVlOIEub83gXH+5Ah/kTizk2UEDXUQZF4KwBzL1Y7FQ0v7Qb6/ikPIGsVSbs6vqb0VPAIWo7gHOeStQdUSR4PJBw3feplbF1YcyU437VPZyQHgBYpp1zKeAHnGmpnnaj8/AgcA8sK9TCmsDYvNsbbxn5Ea9HjfDEbZvWf23iM4i6B6s/Bpzl0qgH0pJFu1LrGSIUN16b4BvoqFwnDLK/6j/bFAnCLhBeF4ejC+7bF2epyYaf56w/S0h+6fiy5Ty9gkb8uSl0+rTuiKzssvMIlvQkJh6zt2cN2EdW0AnbAHNg/Pm7jlmc5y818FaUdhqLHshY/tG15ONglsv9XMzeeCAcHTclHKIwzHU62gUI5ZZRNxuBiNRkCr2iWslnQyfPp+holcjOGi4RB0QQiqM1YhxwFvVbs3G3l/rXsnAApZ6DtR3ywntozTkkO8nog8oc4kpz5dH3dg6AdCWqdvYO6qRZvFEav8HMdAEg6rw+1i6XAN6G96rsmaosKIczXkiar+3DokEHKKp1X47Z8zWHOYi5dgbAGMmTplBgxExGS4Q3Tq4SR4Ggj0eu+LLIoAx/MabYSryJtQIquLP35002ChuSDMCH0YfKIDSc/11QQb2CUj7yWKWO2TdV/vskDgpiP4SgRJHeWs+VjiyVwGaDIbILHBwTkI2dQ6PQF05otn58fpxtkRhSCSQJAGS/d0IpxRV9EdhoYiTKCxmEz6ANqrNyAx6TiXx2ZgLEJxn2plG7av3BCV8umF7+GyktuXScbCSxyQtiDhxMJEyOwzPwYFY2OANb/pXurrjpwbAsFe4kubGw1azd54YnEIDtBYIwfxLXghUmMFB1+ufM/+bP1ILVPLUW1zt0F60g7fU4ttQy/Nu9225qwZh17qtXZBtFmZmHyZ7iwKSPrOYOKOz6h66gdZaqSVqIWpcRbmqUYlbhj9qMh3qk/gjBhAbZ5JR7FIDKpb9FUUeaG5UEyrfN0fiiujTcqIOM0cy6sbr3/TkgXkiDBdsNDpf/a0W+H/zQ4847sDwrhHdWFO7ZFnIDLv86Qeon6lsvOAK5tKttH10sZWlZKSJtdwc1R2D2sE0ZMhy0Ws5mdyZ8kJ8vqig6y9lsR5NbNMTS/v1d2icCyTiIoByJ7CeUuaayROjQ+yMxJOrP8+kN8jr0MG1Wapj1WefI2MywdYHknJnrKRUti2j3kvpoYW0DCW3Pz6UDl91SfQjZeH3lflqH85Tn7A4xDIjCJ77EQGgaZAc7ntdivFd6ztxVxxdz6khRZsVTVgyBA3aU1WAonn6ftz3RVjZq5ig9Z9LZ4fs7+YjSW7/E3Oi7mGMxTcLVj8sGkErnP8iYUQ2EzSnDEE8LSAqr1LhX4PCbEZGMFn08xRkM79ClG/aWUN4M5e8Z6xeCEW1zjHUTmvfI+VcFt1yiTFTmR1XAb1xmeMKCiyTqmMO0UPIykLylV//1i87qmTX5loopJ9ktVWZLfAs2VwTQbGMWVTk0AERafm4lN+01DhboMUsK3ZMq1M32U8MlOuS34oFdlLEpwiqZyuSbFz+ZR13lRr3R1/oVVcw+vq6R0pFt9eRlcOfTjY9aelsOrWZUdOF6wfuRwhkDxwZkEXd8Bc20xvw1B/sAVuzoZbUFNbzFp7OydC1uc0gVQG13ydgDJgEaI5atDO+eVonoypFWq0NhLj9OvxRb4RRmLZnrPKc4caJEH0pd8HE+HIHS/mlMe4dbPVVzlwDwhdN0oYXKDtpdECqKA/wAKRkMgC+N9qcuRMfyUh26PdVJM0Y92QUXmwca/Jsk14Qfi7Blo7r0Tcbys8RC9RwlKr0aBWCOZR8c3M/5EaG7bxAvBs6aL+9BM8+bDoMHAmZA2F/AEnfBpNKomYoS8JWZGw/lryFqV40F84yl2783vaEnWHX58/cynekXzKNOKtxPtilaFbcM60cYSq4puvsf/aeMMw9f9PZ8ugAKPHuYux+uWQg87CtaIGYRZkcCcWj3Ia+eCTFgfEUf4vHZgm7qz8ZymqYcENQAOiH6nlhqRYLlkac3luA+h2Xob7fMaSwscTw8IIrlANMhD9QOWFGjm3eF359MvZc9LrHd2yEGEBmc8J/xRxZPUmu2nc3RXXAtqQfJY0o3Y3K8A9CZm4xDl3erASjGqtqkyE1YAC1JfZ/zTJxGpVcOYiOOrm8hsvUoRJZ+Z9QBVlth8ZMDvnU7z0dAW/V+q3zg7g5W+Gp3cEz6k86BzeLTHdKwREtPJJkphn+72pvK+b9Y68X8S3GDY8gIvWwxvwGrHIutHQGp6nNtUypLJpTeaiZxPghL4HnYXRJckcQaeRt3s9bBE69bOXqvPMhGiiiIy3oYMmC2JdOiOkTdZ9gkJDrrgeP85uux0XUvB9Sj7bxLECNxBBzoNsfuro58VAfY041hP5kf7L8d47gzMrYuszL3DulxFThSgkzzTWw6hoEnor0fd6bUSr9GxMDbBsiwVJDp2WHabs4loazmw/J8BYA2bwpberTVcUCKZC6D3foNsDMESl1yXcTcG7/7/X0ynHKDcLiUoIHFn7Ze4CEeFY7Vzl6TvJZDq4qKvbofIMd6yWWBhyher5CXYE0S7+/MRQDx977oW7hu0qqmtxoxsgNQcTq4WI8pnUxlWLW4+Gsp0r7JsDwtfovI98VDkeW4k5wUgEUls1Q4vBazeA1mc1ET/yTXBMB5kht9tlJNpzOXa/4lqmys3CfIDRghAJzW+yB84L/pAqzkgVCcZfcAFjQ4GjkAN4YDZP8oISZoLu9TrqQNnglbImn8HuUL5Uofc9nTc/oHTGSWMrckhWQTITDqruqEHlPq9F2/wMBm/uvqA25Sgh0Pj2Qoa/TFx+xaqh8XJOuhswyOjGFQVoZAmdYB+kYq3KjZCBmd4PO6QOlp9dFDNw8+aZ07IEgHOymjqSiliv4qTPXyVTFgJeBqg4tej4TKH9iB1W+X+5HeME7vd4lGwFwzjBCvF8vLZRMP4dOzWtaHa/0RJN1z0UNAYnIBPsN2Ae9AKqRh6YshGlyCdUnz2jrkLxo48sqfwQ0TOKw0axcxfJFr+4gOm/SdjHzf7zGR39HU3vh6X//m7nlYmyid1FOAHSztWlpBi9y7MugUJlvAemfeGhgVYnDXxSckp0LvEshBETuW7S4xswSnsV5F1Ugl627qpSxZ0LLZ2MQCdI7mVnjnQbXNBVfYFPwdHjUyE9Y6B/xGXJ5BZAPnHtd2Z0YI05u/GmWZC/qMc2ObyL140B8EKa+XHkamFHRmAq5NJDtQ4H36KihaF0zQS1ih2D5TdlqYW4KMTZgJAPhTAx/UUQqO7yo+DlP/F1a4ub1mMETX9VX3G8j4N4QIx3b+KDUhPbNWbYjVCprW5GjbimCr8LD5yGeEoCUumnrnC4AuvBmwdfQwmE53YTCjmAixPSmRs7w83kvONtuDvZSlPVkafpFSvFSHV/57RuJVfX1x2cWLRd7rBdQjxxt+7R9MqK40yV5opAVH23f2vw8wb3DMmk4cLYHs5ao2IAbZCSQqEUBhmRtCIO+4wjlvFn1nzpev3zZa5HRLA/7u9fcNbrLUhccdls6/DZ9XKjx7sXDvFv3u6mEPMoYk0VxkCLVM1Jt69B9mHpsie0zCUVmHcqnrxxCM9ipcHoa+GpRmGFUNiSDOigczgSz76yzF5/EPscJ4Sh2kt+bRjy7O53xC6KIiq8IpwXIbP17F5YwWYVSnx8fvaHbBoWd5I/0nJ1Zcdc3T0SL0rBaLF3nsg2kf81WnxydHCzZclmv8VvDnSs35rPFXHKbNOk3mu28dWOolbNguGstEEnAt8LRVtS+da3DXsTiaoDVbduB9rk3zFz1f5W4tZ+0uDQdOa8pYsBsquFuGptaQt6xaXkB58Bi4wAUpWJOCYiijjuuxw8fOCKwhN8gOnImb+rBfZYWGPXr2Zy1ZtxAIY1cThEoqMaBRFWcEwN3qXXDmNONz/cu/HC5hIf4csT1aiH+veYiW/uLrCX+2nWPCzsBtw8HU62K56gSXfvS8zdIH9RuWTxC9er9WjUJaEb2bcAStxFE2uUNS5LWpfLpfthp88lfQf87oL2UHShJ1oQAVxFzvWLjl069GX+3ZdQKI90K4xmHve0lxs32AMv9H6jjfsBqd34TbQoofg8ztvt0lp9GzaCjjkxC5BVMH6ctq7DNFCDjpA53CwMDJLPeW9FRCil3Pk188rQ4xk309CIQ0Y1vLAPHCRPdBmjDOj5x69Fbqs++DpsiigDB5tn1mtnsSN39Swf4oIfJPcryp8BTtCRzmJzJKTq359pKWUG7pk54cXkgIFeItq2Ww0+YniGFvzJahBbb/h8wxhJV/MlEGf8kDdXqFPoZ44vbGu1elav0M4k1uxvaQ4clMPaIfqK8mtGr6aGE9r22HNo6JQxsQVv52WmAbSa4UN60qrDXacsE+xeDCCwzejmPWo0cm74Mr0gCd6GSDM+hSOAcaApkiSv5gKKo76pi4ghwcKcG+3LUt/DdgA+F6m8KrN8UxgK0+wfGIJJNlwher/2QW5en5IIUDdAQF2u+yeV+5SM40IrQy+04/ktJ4Qzie8tXJ3lFmkmD3tSSoVj3EZZ9tT86tZa5CsvS5zFjXAfmWlwM66pMLX5FJWY5eJoFLR/CLhIyss8s0iP+91Pz7pM5q9U8Yc9oNHnfuwP1TgELyM8PFJajCNsRl/cau1RujMI+sv3C7vHv9SafOEN5PqpPOw8R+t1ZY86y3pbVvb2SO6DQo7e+PXs83LikNcklDe/ihMRMXvTSQw6CjX5t8cl+eoDbMFMMssPQ1IYsyZvT41MlKTeuRtRD47/TXj0eLg/u+klF83fQqGKPDWXZx7RrKtP2QzwfaoR8h5oKWZwuLMf7Zmz23PD+A59QEyIdE2+ucvI3Yxkq0yh6vDSqispwyPo8v6pzFcYcIuMVT87+GLE7RROlc8ledde+CJLCw1fm9uYyTebIw5Uq3JC+EUnJoaZeVz5wFYV2i7W94XCRi3el9RO2itwgF1eGemF+Req84hjkbWq3xlQOxDc8+AbJOjF+MBfIxb6mWXne5M5H+RZx34lGbrfDVPexwD+UXUeVvtrOl2h4Wqh80ZxDPBCcv67yPhCJWhC0sYKrsXlu9UnySLN/Z4Z6kwQ21paBAOpTsdYjXZcKtkjj3H0PSIXSVbUhbF+rxz+xbxy9HkBocdflR7qJtzM3HTevp1Oy1ORf60rzaz7Ju3jcHjuqlJsBfOojyBJudiPTWs35JPf6vZlYebkYbpDfduxNwzs7bj+NIUxmYglejZ5nLmL9nYIpYHc+RMq3unGILzEuG9RsKDCop5+Hs6clHTAeCw9dxdtgKKfizUadsQ/Lu7TzyGqFJi3+NNM//Sb3fIwBR1y8r0HFzOWznOoNWbDHLHwpgqvy1veaOYMo8/YKaxrGNXOBhr99/7w6NiAdBQWEk7OwFHwiYAjM6iNVPmBQkdCygl1+0eQZV4dcO+qdV8K0g9NjCU9G6IaFt5yvW0viJ+oeR6axLVS1OE3Raq7CWM68cPDLdbotCHC7bV06+zNQMJ09Bm+g0SKzmznSsjU16s53lrlv/NiWy1O67JYirUUUi+8CNRLVSintq3TP558QqkwCUqEbOJo7VHUaDcpeig9pqKVvxpHOYVLg33Wyj4NYLli+K6SaNV93VSV/siUJD4vLKcvT5bzMZCqTI02Y2b9xrDTA/9yHqapaAJZuVhfJ48unlWPhAb9rMRdUZrUwqOVM2IvIaFKmXk5YWWxS+t82rO3WnmNWZSvysXr2fTd6u1TUXR/hNT+vsKl5D8Bg8/P3B2e/Nq4clgaB0vhwj5Er90AQS1rIklgkr1kCQ6sliOsW/WuUGpETaiDQmuhob63dDZtIANl/69hwUNL8IEH+QKxJkZK8ESMngJOua0SR7X0oQa37J+bUAyAzhTx3ajZbYpz6XipwwejJdsjaULk+8HgJs3BdqpjBtEKRS0ntkGGIKp6wa2eF4oHzliEOjiNLmKDa27v1Y1dodQ8JDFLkoBGmWUCMOULMkmehbyGkSfIDcZoTT9W1IDT8uSiiaAzJlLU/dcpIMX0jbhBet2t2Re9mQZi2KAHAHSYWZ6HKHSEHLrGm2kBZKGo5imoG804GKLYUfKh5z1VrNHzNvLOIBs7K9IEFrUeiUAquJaBfzonlULLTOnhYWoP2qeb8wfHurUxJgQimmlylpR4wFWLq2BJJSkxqybDS8x4T0zD12qUbOtmWHmSIRVpmHhM40haBuMoyH8c+Pg9cSN6Ax9CDb3PTfGbR8kIjLIh8loZxfEoF/Sr/fY32vCx+hbqw9QvyjfyFmM7bjcRDIY8lQxc8E7b0NVLpGArNreEw62OvbeMnz0N7T42CkgUN/EM6ofw+fBSN4yDxmBl9P+jss3mlWfFOxTjo/YTCto4lp9C4AZ0wuG+RAkvP7UjES2BtYZnXDVCPQdEPHAZEyr2tKkwRdgoCAzo8gJVssi+SMFVGM5tMvDYf9r+DMupwM+dW4SvTAm3WSv06wxAoqIxFVgAnTYf8pByFswqaqMu8+M2+KwrYJYlNh76XSMwi08RQYiRosvsdizC3QhIw2JkA3RZdhT4DcLf8pIal4HV8CqWKDAV1nDEGWBULE4QMZkw406zT/moHHYn/3wakDnJxQga2OBBrva26Xfl3SGb7lbmChBeyJL8xBD83/8YNKqb4i7wgiLTOOsJ37eDoheu2rX7T/MkRYWCuARB5Vaoy80wWk82CzJOIwKW/ccmSiRJ0iqqW6gKOciTXFZmZ9mIW1bVmdxEHQlkDDdN2RpZ/IYpHFODOUCiukGuxTN8KhFVdj4UMBoMCAEqNmy57FsU1Lz1m2YaDYPgOs+79fYzfdJWKR45ekEFjmnrCrPYRNZat71QdK6Hqw+VhASlDXUVnQ5Qug0d7Seb3dp/AkSJE5pvo/ya8GCxheqokZE7WNHHgEVn+5TXNPvBc2A3OmTUIvarnqLZY7LBtbWm/UhrYTRHxMASVje0Fss5wMEti9oRxUx1UJ2/TQ4b8i4e+zgQL5tXhJu0nbjVnuSwiDJuUl0oLY25R26wolGOvFNsdYToeIdnafYX7w4t33d/ZCauQviwoAGMw54K5lGJG7A1smyeuDBLGHXKwwpcd9c0STgVgMARhUZoWb/v8bEUSMGy2nQREKzNYSjAIZP5ryL2sVQZ3Yb5RzlDj8SBzgXUtLwEmkVgheSaJZz8Pe+wl3zfjCHblODkytJShmxEtklVgf2JAvKE/CVTbnoZIbIE951qEV86RwKJHML7dGSqqdITrpvhzueFP4d4FOTZkRnaGCvu4QijQ3ldEcKfzG21dwxF/0DtWnzLKc3715RB5iiJdn0T6Sp7zFN7zKsjgLwVZ270AVps8rKhchv33O0M8jw1K9tlIP1MDrFaXJLWi5+C1Fsn8hDTFE7I8U/yjxBQgY7MaLcJorquudxURhzkLb/m0Xhuayti4zPDOXf4qwNow7XkAx3rlo0XBhFytstW92aouTjsv0bFq6+BJc+ye9DhLQluPQGZpCeOXk9Ha0WNv/V/8CS85VJEvj/nZuguW6kfTTMJAKlsdc5LJ+zqkkOXSJ7TLdPoMyk3chcaVqWTvuUpk6a2L9h1X8egQ1u823Dr+n6ETjX2tgfuWmpUhl39LVar5XGylOhqVUU75g988OgUI3SaAw8UGDlzP9PNmXT32cq7BIp5FtRM5CGiWgpJywaVM4LTdgmSAyiH3OrqUsNgf57LmV1PTEbyky03DblNFIyVZh75+ccqwE/qizx49SlVh4nExSItEQrg/Ohbw2ZFKdjfjfdGqlvS8z60Vw48gtkreUg0wltCcBiQQo7fIGT16leorjKEcKhWTsmMFrQM0YfuDk5BwW0SF8+hz51Q/BAtPezDVjeraOs2jxG5Q60rl6OwS30Y7lYasAuyQKBWA6v380LMwa6FjJrAJCG2uJyRH2cxafSu5Y5YoNITWSrsrE5n9FbM7f78QUVGdCkdo/xT4YSBPbc+iQGVucTb8TdxTzD2z58HVkgWwgn5HmDmq1QGzSW7Icci9/6+OJMI2gUq6HVtqxVYLUJPXEfgx0jrtJZtv0U7u5MWnsBnT8m+qM2YHax5HAk88H3eZFKj0C/hNZlahyG76ebua2l/W8nuWZOoHEym2nnID2SEs/3zdR/HvmaNNHvJB0Apd9+pxl0ud1AioxXimSDgq8lVnoJyom+pjEEf+w/qUWO4A9l+3wfaREJeXmN0oRMvJ72g3weo2+f6atVvlO36rH1G8FC/ktb0ys+9Ohh5T49ET/pHr3e18ku+acuUq6ihxACLzR9nDE915GPmPoJmWj4QpwhMWDRj/Kax62bFihUKMjMACGNiN2zSMzQROhjuinv5n1ZjoZbp/XTcFA+y2GQt/8cjGeyYdhM+Y3Ni2s2bxo+fjgDK66VljenJfwsd3kw+FKBIZX1v/IsJOLUfK2Cxp5fNPlgdAuorTQdLb3+xC4rlyf6ff429nDh3I98ECusgPJZuGCYjpt0IRLYBmvt2yhteo5tFtKvpBY+zoC1ElqhP0PlnGJeQ0dt0QjroaErPKihtpXuaHlIb86kUxFmpfjS0vip8o/rAyclBmQqW59g2QWXpQp4qc8i0uITSQcfMCvRmxDnL5creN0mBL1aT4klrG1DN4qwQ7GlvoTthDfbDP8jVbwoRznS9e2jD1OjY5h/X738xyzCZbaHqT2hkR4kZS20vRB2mQdoi/CKZsks6WS6kmLgnyUFmb9YtSvvo4Bb8cOWUFRHjaxO2VpfJYfb8Ay1ChdYIY+2YK1XId96arDu0XAvNlFQN//57a+i0ug424g1OX8cvKAlKb3JUZFjRGDxqpXqwI9TDKBt/OU7RStcCdYyIGKH9gV5lEy+4KNJp1AqfzRxwBoMudvLe9bfkXZtRU7DJ4o+DlKi0V+BMKGJ3PQ1UAeh7aeV/Tl1OUubDi1daivle5tJvRbbDquwTozO7U60joekhcYmMd3oNfJGWvOWpKfeWUgozfd9548CPZ9OdmXk3/AvejvvT2fyJDqHuF28wgPQROZb5m3c7wJWD49fr9DoQgRAa6GnUXV4q8VbJJsEjtGODx7A+cgyIXPAHoKDDrujqbjhwbTKPW12fAD+uaQQ7CRVkGmy/quF31omxq5eSqNRO4yQQHPt9osVM/AunaXL0HoPbACuGYPVsJfLvivPYtYkGfDn3BSrStKEK5qZWm73F43IM900/GJX4tYbTv4soiti9j3zFOPgwhl+EsLfrtduXR+huwcmMOM8WdHPx/F6Rzin34jjaSGSHT+HbNJdrKShNEZxh/QLCa1Q+GlwQNpelO/5sE0l+/ULHDXZ3HgpgUJISmPukfg3JKyN8lyWWvpQIfmWh+Fx+qvqsl82pObirF6czvCOPLTsWhVWzk0wCZVYFb3DNCfBcvShbKEWNornvX865Uj6B290l8YcUpRa9/E3M+AG07sRCdSiUv2JpNSsvSWN2kUsmTHDApw2XUTJpmVubB0abNhy3nxqrmk4By6B8xM5CHKhBN6Es4n0fliMLRMuIx0lwPvDcdrLzrY9y0YLY3a+krK9c8PhTZlAwbSy7UIjNBxhuABJAbyEDHUqEDid0dS26XLroA6feSZjf+S7mYTm5c0r7yKsiNpedhkaeUL8KbzfB2/ul/yavwx1OeCIGw1334VNm8sFouBQrpPvXXYTG3S0RpcwtLhViMjD3AH4pzfcwe477tDPss4wG9/zThWNiHnn+QHZbfM38GpbdcxHx32cXlIZ+qWnO+8GLRHpXTGUwvTTUwrhfXt6BLlYfdUn2ihW+TxuWNkcXZlpM42iDr0OEWm/G0+g09ddOO4ntuaZfEzh+b5yr0weKvG0T24fGeBoyx8LjjGBJmG6kdiKv5uO896iasuzqrYIA1VqriqovGPXDSgdGz7VKnPCBe0MSs0eJ0UI3nYCZ8Z4/fclokNDpUyuUr3ODuz/XAKAi35HpTaYlSo5FsgVhvXBbdrnD3rv88CSLByniPM50S1olmDdUk1JnVn1JPivQ/ckdc4bamkg8+ClWhDh+jHSqRinbBGBeDAMAoPp66aLSwsLFJk2CQmktQKLooKjxLBA2jc4rPVwKhxqB8SSJbuD4XG17VlBbdnDoMm7ywEfnXTvK0qwzq+iXApcDTep0QB/uOkkV2j1H+oJvWBy2+tvEmh03C0ZCXv97UE6+1BVBo8MFpjNElEBWoRhv5iGrE1GaobdimpZEfEH1ofB76oEr7csukbgtCJiHLBMEunkvC3JqMRZXq7bzRC6DdfGW6uHMXXba/tgptoC037g6QYPCUt5h6iL8NDXwiz6exXnco+uDEOuQQO2kzLcQtRgYMm7SIbzyxaQWb2a6ryJ7U0ep0SPr1jAFrWG45nre2FHnTbXhiXzpNCVGr5bXOij7ddTUkppyScI8ShL0GwxBEc3ebBHCLcH6Oc5aGxEl8tGufFsw1D9B/ft0z0Z52GsJGz9GmB2OQGIL+DudMu/8+QxhtXv9kfEEcJXdL0633xGXWZjDUTtKrfZXy/1V5W1iJVuaLvvQvBrU9/KkNVgkyRjk/UyAhbE4yinb1fO1sUBdRFGHl7uvHDNT2/yZsxDgU9V/WPQxLjoIQBbIXz1ijL76433rsdxZu5vpq/4vhTmOnHckIT8LQWgSSTZIkieG1A2rGG7QaeO5RZwd/gPnB0NwO7YpeEHTxuJmDWFQoXnMkGTF4fN5DRsa8HksuH2TX3nfoqW9LPRnVJrTCz2ghOva/srj563FonLhjcWM2oHWH3NEvKX9xG2tyOVQYYvbwJZW6bDbZ54L4zNiKsTE8VOgkn8MUqgN3d9zd3+hOUhTw22l8R63BK6VlVLYRBZ7+CEdvlRzRJ7rXxrwRoj4mRDrW6CX5vAbktcwEs9THwmf0KXl/25pwC6dxWL3DN8XbDFxSeGY1iR5XSZC5ajiQ8HlGCeMPpZd4XBSmoYybdo2jROPyy71Mp6izJfFfAsRllglwpIDyyjoFl6iutcDIYdct3mmmSqK6ZRoHUcrHomQOgRxpTzwP0AYz0s38DhbsSmO4PpHsZNC4ETkGGvePgfSqedJTHXBxrDn9qh55DFu9p9dJxXeCK1LuFoUyw29N5ANVOIdS6MZG+kBDNsID2clEu1uGRGUYPOcaeQOh8eB3KA6yQt+TpUDizg4QuDkf+OaHRQf6bk7Ehz5mhzPUux/KosVcbm66iCl2/ylF+v8VHrqVimUS5YaauX99rQDzx/ojzFPcB3TcslM1qh8MY8pe5qPcEIbA2KqrRAqDHvLY84Kvq1AHuCungXbOu8+sbQ6SkGtZ0TyNGeV7OJPeCGOgjks3D9boSv8dJddMmaWvysp5AcRf9R0o9r2S2Uls8yzVVTkXN6igzcVkaInrReEGI7MK3TVdAPvPdDnbjUNRGRQPBFDac2//j9a0GmbJkZeRTIXwp8t7j2z7a8/yj2etPVAVKTUc9T0jUHk3VvljDlSTTjRzw6yFnV2uc4vYRc1e4b6oLukxb8iFhGZRFCp78yHX20rHmnb3egHGSE5X1pHVbVX6TuXBN/7mkLNpbkJD4jmsxEqPG/mVnCbxQe4CVY5vk6CPxiztC3flwyimtpe9tRgN6sVwypqDKxOlKgu6Jr4xmVRmHhCOiFIwiuVDd5tL6IsOEsdIAkCjdUhryfJSQv/oCBmfsb99Xbp2Yhf1jV96I7pHKiW1MNLn87I7JBYkXjjWhiVrFaluWobkDn1ZyL4kjMERVlTq0iiMwdEKPQ2ptH6Y5FKR9O27uLTjwwKgNVTKA6AQ7yTbmhUju6y7tTSaxTL0dApbzFXpr24V5jf39DG56V5ty14of4mHJim2lsjxpq+NBdVmu7F3t+sqrxUeyUbcg9DrJH0JuJIBwyeQyq6AHnkIiTczJoZmebYtMSnw2M5LEoPlQxXDXKe+LROMfFTuFAq8mbpNkz9xI5q1au8KgSXjPykWvnVUPvMjbCVR+S2Rp7i8Vnr+pRnWHAfM4IDZT2iGuAP1E+Mt3Qai2gX+1wSlVco0PNFLjR5d6Xg50zxypT1G0HfV5b7MB6SrAqRyg4i6KQpEOKuisBVemKKbtw/lFvyonmMfhHrOo//Wo0ZNUL+H54NB6mBUTjHJY6baPtepll6n+m3rkqWcy/x0M5MoL2fu/wFj2s2q4lVUKrLkZy4uLXtu6/ASUU/JgmNMBfLJ3NCg5Sw53BEMXON2S05IRtBi98lsr3XhwTzik8OEEtwtCQNeCGUoylAicuOpGMNEL1nkSzFJNsExcr8E7gWt+qx1TrS++7bv+dzbYW0e3Wq6Cf9vwpm2UnyYPEyfi3MJz9j0iq1J3WEi2JVPu+gkU2dFlKplDfWVxoLdTEtJfw3hNFYMYYvnlM1m7/zm3hhRc4vCVA3VobiAK4x+fto33qEDOB6Nz+hpFOGHShtpLQ3Jt0/sOQhblkzwYQ0XgHLSvJ3l9/AjZwcxYyVNNFIZZ6QR6y75A+AZWKfEdypZh2hPLbTld52GW6+pM54CAwre+zzx7O1O5yzA6dbKLsNQDC+pXRPeSoIWCuRo/m37L7+6Z5LcbyVj151CP+FZbBtyS8vCoWMM7D+4phVxqctV88RQhcApFWzknOiuZptBMdn8xqLoRJavnO1sePTL4fxzVtToVVfZ6DfRV1xytO/jOFWHAnthN5DB1jvzNEPLt1VtDeY2EuedwK4em3QMC5gi3Cy3TUCdSzhf3xetI2usrzqECGQDJW5ORD5jX+ZP0eravZ2cBdWD7pcdN6CZJNrEOD+r49GTA+NCRDtxmhXffWjHjol5Uy9pxBOwptzQ520FWsmOTykXD1ytoNj33lunEZA8jvznrNKfhIrKT//DjnWoHuvAJrw6Nr8cCRsqeeYpdW7az7Njclabtkw08PyW7reudbx/MhI6hLsQEDT4mSo0ZbdMSc9VXIP/Ja3GgQmLtF8nlpNeOYPttH6NWg7kWd/fCosen/BGpSUZAH0C6scRESmHZMO92LemIk5bG/ttUfBumLR5t/alH2sQT1Fb3pohQtUW2WSnTK9CiaQXMPmUqBwlGXqcqCyDBhYPc2DzbyJwjx0PGAsFaCPkwLwLJDnS1RpdwuyS99GMeAXezJbHRxt9EA/o8Rz97QczLXSj/MwKp+mKpxNZ9fbUCKAw1xoCZDivFp2Jf1NNAwPEuQPi78xy6QbTyJed3iIVx/R7VGfW0bTMnM/Z4COxMUOKqr7HJ9Wjw3Xw7uImQWT+kFKSTv/P9mvd0NQnUyVdTsUc8Idsewo0lBsstlJJQoZGf45xdcCaWc724jtt5UiS7vCYwbWMd7PPj1tX/fRRUXRF383d4hzS9iwnOhF+2GZLkqppAJ8XgiK8feLwF6eBByxUNRWL6vaqQ5NK2qxDP70yob3oX4rzy5VHvfM6IDhg6MQfnzaIZ0XdtNPMfvnan0CYlV/C+W3rgi511bhjSeK62qYr6fqWc0mGf15blhw+XXjOSGBjMxLdPc7DNqM3mddVBwO0bgHO7OfzHtcKw2KdGDnv9t+ovbcimb9sOzgUskgcAMxmmekoSv12u6YqvGc/UyN0DG4qa3Z+QJKm3pLFx8VvYDlrqRFAWKQk56U5MXaLai4aInC/eceeatKFDa+oYe15czlicmdg6FQb7ErWNqc8McPzrRjaXTHTQPPiwRmey2yx7uVYYuvmSMYD7TVivj7eqDh3PS+KDd5QEhnGLCxNr5HjZp6FhKn1tAgpU8ctAwKimoPPHl1wz2ioFu/xtxePK1r5Xx2/q+68G9l3JcZtY+B3NlivcUyY+DezWO8S32n5fsVROD0z0PAqBkObGVBbwEx+3MpebOR/dqOJ1eR+ww0gt1NOrJjY1Uefg5LmM/XF1IJU/OiRAjL8mzRNkfV/5m0K+BFJG8gcw3sNh6HyMcszDr57M5h5wL0EWnld2er7jwJvKsqvEvyU9AR2D/upUaDO59s+skBsiRD2QZWNXuJdFpoTAJyA37ndTjKc+CV/7TE0tmTaayd4ovxH+32HUR7PYT++bwFwkeinbRndz91LZVtke6X/hCaljr81xr2pacJzcbS1fitSEVlcv5Z1O/DLRUevrMUogh92PZVqiao06u+ORlYZDFwwyCLI23uuwQmW6gjl7un6q//Jc+5dg5RprgRuQ2Vk/tf3lmSeYGDaU02G4etSH4lxWeX/MrltmIeV4cHzYluB9xL33zB4IQReDXyneYb5IP7uxuE9CNk3IR1YQdEPduvQKnKhN4nV0vI0sQQ8IgijDYLniJq6cP1q7C39en0co9Psn9Jy3zCAt948rB6AaridhwX8j6xnWiQi1tPl0m4LdxHyvhokunovM3MA6AofCUBJ6mHuhT+cdndFhLvdBwexh7t5AhRR7d1JEobCY5m2ZbY5+UuecmhbJnExOdNlAo47uebC+qu6a6PWFCSEacIkvtxZ8t2HcJ0/4ofmLlaXQiubHmO9kIRzuRWQByC3tse8NtuLckAd/lKtaz96ml/efn+2K88U7w9Cyjc0TOLX9E8sEkS+9DzEbdAO2PxFojHUoidpvvCql5rTFxg/DNOaCePcDer9DXnkNoSSxfI+NikNlzbN8vfJE7KJGPYjrM36xu0Mjj5sOXxSHGcc+ljnqwYzTC3GTezoQFrHYJ2kh3+rnWiTwYsIkww55cD2XN9EsXDPmKoInkAnplGGrH70WWQ1JagnUZDRq75/po8fnWXrMaOOJ/E+5i3dKku01PtXILXRJ9eiUjHhKgWf4msGUrirAVvud6dyMYNnEcy2dC80DAA9udXm6qT2z12YZXQFC2ufwvusgjxodAUOi26OXRmMe298ZPjpOTSZFMNIGTLnbfeU4LOD3EPIueqzkBSgjCl5NBgfGyDRLcOF0UgLbk0xD6mt2+YLJXBXWuKrJ7QezSoYmsH7biKZZXfFleRgwJxH3NumYDjRnOX2jhkTdckORx7tuauV77pZ8YBvL7iGdPAYsoUgW3StV+zFP7OAq/MF/3BPPNVbO9er+39/DnFlQYyLr7pVdtWvtN9OqV5jS2DRoD5mHU8keRDMVR0vvETcqgrMjf/2YLFUQ6qCjkMwXjz6AV1Z0056w/Q7mD+DIIBXWB/VY05+tPbHpX8bMWnHPFS8MCcqciNiFw417sUXiLbgn+CbevtAtZuJbUxOk9kuzvouZ0sVWkpE5mElADjeiaiRt811PmLGT1Pjn/AInjjVSY8dfMBtSZvPdyAinvlTuxRd2O2uSqbxjrkZV57q2vqkQC/WXzDAFpCk2jFCiEbSOdnr+ZpIcDEJslRXZwGbhVqz0MBVQkRf+/j8ixWwJSQU8SK5mJsRY4mLV+3hnY5efYIGFwpMXGbwC5k4HueaLlu+BxGoRMnwFbP6pLWD4L0LhGuPSBtzYXwdyxJXyFhyXB2rcqfMjhs7X4lrB6Eq64WYaazOMmwt+SWiNKpRX4pZuHQyShQ7nF8wuDdvK0h8xdCVT+9iMRxbWvh0sU9dnu/lQD/CY2rDbD4w/27m5VTOejYw/foxbIBIYztQ0uGUVOn+UyiEIkoGl3qpcpe3UI7mNrJhKm5WYxFdAOF6fHgxaqgvjl7rh1P6/BZ+WlpwF7AIhqQ809CDlIfStZDNUhAHnsrUK+FpxCg6E+D0oCuUAUupLIyfSr3kwwSP3DkwunIdRYbLhMkvhxPIJU+lw/cC1c08TJ2TWii7dXlwEdY7lmaZNFq5g04d9/h1exmN81/4qucutepj3LDbevBcjpN4yO5vZNk4d8FONeWFM66M65B6hc3vPlgJ7BZj8Fqh1Boyzsg3xmECdg6Wv9lKWM/SfUdcmJZfiMcGr6A00rieBCgW+VltUtyOCD0pGEuSWNyj2/V0pqUah8qEIi7KsByzBYsV5nAi90loiXcoUQSMz3YAr6R3oTvJ8kM+DDd1EaXT/gG2N+JNu8mwPMcy7TMNWkLRgeeGBLSv7wqUdBKbto6MlrluXAJE3EpSBJkUl8/HNGW4a4qHqMh2EHggti+mDFvMgtJOgdwORaqbH9nONeGkNJVqxgWN6CWzUyc+u2AXRfOqEFpyBFIj+avBAxhA6hxijDKYzKBqrDT9tNL7xV5Du/wvVIXluEbSiZtkJUwOE8zJxlBqasimga93ri5wwxifThuzB3OCndwgod5lkxlVur8gp+EMJhFIWLZI4+Xktb5fbVpWXJn4TNTklw7zUns1u/jxKtj7QmkoqDCJ60SND1kzdelgtO3LhKl/QPmeQEASOVQu2O/pCJ7xo2ImSgSXSwqQge03Ch/NRlKMhDpMFhTdGQGj5GGI+Nbk9KHoA6mjXnFSmEFhCj1hS650lxAtHXUSRMxsgIiGoEOy1DqryxT60Ru+x06P2Wz8LUrkBInCaLI/9/DokV8oo6Y2Ca91/Li1dS9l08ygUXWUse++WkHcK+TanzknscsaiHoXNN47S9CBHHKPRV4H8CMSPA3a6ZXwi6sCMheX01dOXpI2hfk+BcLuAvVrGPkPplmG6oVyxC8vWsNhPSiWEHCFV9R+HC3xXxRUkM27m5hCFopIYN3IO46DJmnzEgpKfBPyTz9Sn+eFMTwgdM0vj0GFbftRYgmek4lE3YpHk5WPmIO4gphYXPJb3kG5YwckHXTwmgnhCiRkXA1bdMwxC10SPQ8//VwGjzuCW1w4Qae50b2N5kn+s9RgYyoP0uF2Y/lN3CcDeDTnNX0Y1mzrSXc0NWrWEFdrVwjyyIkRgFTYai0A1aF3rzmmXVngXsPkC08DW6keW4vCvvh2N8sU3J2ZsLKpFYe+19AJlmRan+WGB3L6pShl7xSPLMmQRsYx8dVpXyajFtO8uRO9E/oM4jq4SdlfGw64SdibIfQBsWxAyotGpJZBA9lsko8eHKhiSn1S9t31i5tvZZjpZLD+JqAbGqT+XFMd8cCsJ2D87S2/7VlYULMeccsQSEs+YWM2AZMew+Ova1pqE2r+gwDYnB8rkT/OGUaC4OLgkukKlpsmbyRwGFbl89ScrJDtIxT2PkWTBKIK6tWOBR3mCTcTltHhijS0xBMaAsKhcbGs/RoHQulU9aEwFSd35RhdBbX5xaT76QUXdqR9xjcr4Cn23br5g+6Asi1lOSwYlhtm0TFApgMmkdpcyj5aUW6eX3u1BOseY/UaF5QNR4kzOjc9ZmIdWKIZEWmL0GSYUPrh38q25TWM8pBSfL3FZy+79WwIpBf7fePruMXh5vjgP96ckE1EY1zweJ0g5zrbOQ6ZegQrTU5sXXMfL1T/TiT/CjwYX2+VxDl/GTyM/SibPpkQdZrSUZodk0gv79dYwNT0CShD/gfCZ41+DULlyIQ9l0IP3jeBFjX3nxpXVQ/LWMhslsnbG4DNO11OOqlGe6AVooealo0bFMLpxzOvfnjEUoPn1GkKgs/Tfsb2uKJ3CiYtLxPs0txKwcl9Ux4R21XUXw96wEQZyZ4Vx1vLVjQ5Cx2uZYrcpN2vAkWLK4vc1ki/f0ic2KXSnkmgBrcYE9nfCcX27z0s+nM3BLdgSdKKwQUetFirKE9RAtQHjRw7GywzzH9suhmjNtFNTsVvAEI731fFUTTrONI1lpNy5cVUNZJKqwsuOXphyoBymWVJS8kBhKflX+ZK7VEf3Zui8aj7FMegq07dyfz2dz6T7m9r7SGNSKrXsAna1IN1ISrbUBRufS6MWtbvw4c40WpBlEKVmyCCkXj4IuGaasuHUL0iOimqrma33SI0iuQqPEHYIic7TJuNCkA92XwRJEpLrGKphRn0GAv7UOJVrV/+YN5PVeEqZmURihF2beksTeZi4OfUzsw2Zc9WO1LhtrtXxDKs+lBH6Hrkw1orVb1n86qAPD4X4/TP9sv1zCpX9u2exG9fCJTBY+ou5r03HRcodBlNv15m5b4UU6QcxOFPLusfjjoVSaU4RDAQfQt6cfvjeJ65Hxqhxea2BJp7WhLVBHcyweFptOS86alghKYHQOdaddBC8oI62t3mo7nAxDjKLYY2Qe796r3dygF6o2zhJwuxthj08OX4/osUi99Wy6ZruKi+z6EwgiNlaqJfTdpyXFEWoqixWLgLCfVgrOvDJyMrcpWZuLmyUb/MUfdvWVEZarQ9YdwrbbmdbPi4sHxk5NwJ3fWA4zA38g0inRf/tupz0A9P9qQ4/bPkYusOCnHpQqVWNGzD0Y1Vmg1TibpRgt4D4Ry2P84GHd4rYsu+WXE6nK6VxyVkza2wa6iNwN6jvjkJaFhzSpRpMBGBvHfTRy+6xdQdOTgaUieFHExzuf25xmUJaqHFaDOHOJzfuqbzessyaNNMkTWElo1LQDkWrpxNm2jlDNlSTq+qbfcUPKTJ/ILEA+NamQx27t68bDUkU1i0YVNiJXzp0RNQO275/9li3ZtkNI3opR2vq50VnM+tUbwUZWmtVBWAjQRgNjYxm3DLumXXO/AK6G7r2iLC6kXDpuDwc1gn1Z14ROInkddp6L8a8P1l883dF+I5ve0BnGjOjOp+1fHGUywFJBsjs7RF+d1KGbBmNnDpdYSIwrUgiVMHE5t3StVH3zMkZ49ODz9cKaXwn5qXf0AMsJ3B0xq5vAejLrkJrEC58VZw6N7/7VUzLfywFhcpMl3C6jp36j13cr7HLermvkp699TMc90tLtSeRkaw8vLCqfmPoiyhJkPwDkHwRVSAqn187+0rMEHM/DW58+x8NAu9HX45liUwCAJGETwkevBarKmKXK8Q2LcQYhaln14u52fdOnsX26ngMjHId1yBGQugJiZ9W/do4rNAb2JT/i/Wy/G/Sm0NHu41m3FEE4vw1chLrE0+GVpgsrH4MtcA+i/+GhDbC5k/BJqrXMMToY93cP9bas4lQ4miYPgCooGCCCrhjEgOkYZksDMpeq+pPUl88jCXdzvkF5qUKdFtG6hFnxVAWgOOvbqIychJ3iSkutolyiExCzhX2awY7vJWeQN85qagzOa7Qt5Z4JrShQ7I8f4//PR3j4S77jHob0V3kHsa5wr40jzgSOQO3/j4ma6oIO063hWKDPaiTL3f6Wk2rrGfUzv8jMRofBslZSdbmPk3JlsXi0z6K+t7aUdMvkTxz6ShAb71A/zRrO6rmF3t72V7NClbNlcyIOeROOOEhT5vji7wfCwGEwICZ930IKrqpQCCHy936kIOf2vIv+Bjg/colRPRoY4JnTr3VAPPIrQufMEkQQEIxVJbxLfDOqIA8FrEPtbuPkprut4FtVlG0tDchkOQhfoyOE3Ktl9oJoYBJm+kQKEy0vHNsUT4dGU3HbjEz6InIyasof23Jitb5hSYFZmBNfZiiXAjHt2V7JovswBsJATwMnzu48eP8Xd3aVxszE9duKI/YC58VZf6wF/EGB1uls2GXbaY4AUCvqLlvic4hxZLqnflJgpFXM4fuIxdzJdDSXysbUF3BuFuYYHl0jYcSGwPoHJCzlaiiaunWN53k2LRaFswyDENoMhL90A7t4cpsBl7fA+KW7NtsmGsdcuggw4YUAk6EeERjq/h8w+CNgR1LHUTlfrh5VGmCaMfxRDLyvQjNVZrO5V/Z29TkxzmFbhOC5unUYXam3r17Str8znbtxIrwFBinxDEgQSrvGgivzvRJiAXTxsvoCgpK2mWNBMv2V+d9I5kZN+asmITOAEoV38eeR4n2gRIVglGD1FRGhiA8c3+2M4u9RjH2DhjAXk6zU9m+yQftyxARdSikVEMW9iiJ3BjICuLlfk3pCdENemlUH+DFlYYy24oXytjS1SWobq+8BL/xCj+ToNlbDCwBoI5j53XYJPG0sRSYv0SFnGm0fOR3DruKkiDqaqy7BPbfmI1nRbFZDnsz0Jl2mbSVK0dXdjaPJMi3hwdvVauUerru6LJoePin9DD5gJADDmWMfbepiqe5emZN4zmtEyo7cHVRSr8NaV3fWweJrfw/f5vNNIsPoq9HsP0koV6lYn0bXds233GI6ZA5M4NIN6v4vaKxLfQEbZztqli0lexgg5piQVIT3En/oYoGL5SQTVqSzFOGKzqth0+rayd/0AB7rM3NmgmnnuwFRQgZgSvT6PJgp6MWaGv3m/e0aCrYvIpeOBaSt63Ugwp/gbtGauDQ2SZb6LGQ2vskZCYpRQt7dUUByvTWZ5r/2qiQ9g9LPU34YUhSEX/sJzROblkvB1eid1WCEPD3+9qHTwbdiz5IcMYpK1HA2QwpkGW8GtH0o2gFdnSrUzBLUGPZpUYInQzAuJkNzV2cftw+6SaZ3RmEDf1dWGiVa2oFrKEnkRAMYecKb8RusPBLuzcBg57bpHrjIVH7Phwj7QWkwLB50uWDAqTgI/JWJtRHdtVTQNLLvRRuZNFylaZwNhAs5zzZs+51GsfMtNJxQVGFktpYun2G8hd69ayDO7kjfQbUB/70PEVX1GnqMOk4ynpaoKDKCRHbvi7i41LdyQ6fNKeCkNXHbWXf1EgnN/t9ZD3YPGZWTUCRvYE4cJBRA834ljHU/5k9eV08DrY/3aSSFAaSvgdjS2pvVM090OpFsLwtcaa9UepS5dMo/dwAswWhwgECMKJXeC/ipLH83ACXTXnko3TaZD0VTQVLAsuk4SXyInTzRNGBbQ7NeXZkRQUuElzR51zz7wrSCqV7TGJXVLy1xTbbRviBdG7hM2zV+B5z8gkCsOclmDNhqMwk/FsQKQZoc5lxIQ5qnzumJFvKbEFxgxuxIf+nzRnzKSzF1zQBHaRkx96SfvJzUXGHQdjTyWteeFsE/o3cQzEPL8B09QOmwF+K/hpnVjZ3AdGWku6tViCw6EpeWY2l9K2oJpaLs8ydveqPndZziBsbfUSoWcv47cLroLVvHejSWaXLJZyiNGy030ispriGgDocesxi8yKzTmry5Kjfk2HvseRxR2MKMHNZ0GUKRU4NdxkI3ItVUX4yROFgV2jBZVCXU3G2IQUeJLkXSRCHAtHGD6vW3iDzIcksP8KyB8XigoXCme/efAQNOHJRJWpobmAx/oZbzG5kIAFwzKbQe4/pDQRARITLun9HkETYFPIWHYlnmWu2HM3Pr77cLmnQqaBSjm0DWvp+QYWkcSJbhkbzL73fgEjL8/QVtKxDDTQICfEcG1PkroCVQmV91jaFNJmgCJb7ZIvakVvvBQ65e15vuLYC8Bw8AXNdV46vTS3ZDl6BLkqQRVztLDJHO8lQCIz04FPSJzomL55uvhXckLfE13NMKV1Qjv1AV8mcp4My9+cPfNdYqB/gNgxTL9KZEJJoJd3SSW4sUXUNdNt/8T13Ha2n5MBir0pT+Z9QbeWZ1ZVk1d82uagvz3j5E2Vl4NG4kPnrqx0AJxG/Zj3Jbb30Rn8sRv+IUdFDDnG6FwiF8SPIPC/QeqB3VjI3wcGYQJlzl0JDJJ+50qXOVH0XtP5CsPCncE9yN3LuhwGcXpUTy9SyIdmks/Pb7ZjV55tECQzrKZ9OktjSIJTiH3WLd9OgIMw687QphiL0lU4v1lMgEYK0ScieE6wT5aZnmdEOaRU2dt+GVB7XCPoBfKB105X2m7xmfQXld6s6gqliTZ2dFFlei9SQ2p/Rf/INvlfbYbgjVL2ckgmAY54VLT6aokVOrIHNO6oZk9YAULjcXLdxNInoCMaPSTuC7fnfXpGKrGXvGtMagvwh/0uxSyPb7deYNod+R49hyXLbWJM1k1/8GPocoJsd/FFCim/KGldat7pZgvUapjjG5jWC3heITynVGrofTEcQTxzu6i7fWkvUGcIA/rt045C/SHpGNy7yNz9cJptk29byKp0KT4B5DSS95gWqiRbB/f+T2qfPTrOWPvd8L2JNllPywZCNTnVtEnbGFrV0ZNLrPTC5/Xv0m5/99XP/qJBgMQBKOZ4+vpJ0q5kgqFeImFSjs36huJC55LMq1ac1wzeL/SJAS93fW59nruGdEUk6wis6TK9B03rgBA+vFguo+epOmhc/8O4swiHowSJlONbnzt0L5ILFBtEiIYNYmK5GbaUiuarUXqYjbZcJZYiDn6nF+isD6ZN3UIRD3O+NJAf1JJ0ZEw05L2dEfgyuxQbZHO/2PA/MUF1khDOFGfll9y+jUTEltqGyoTcnuIUaHUQo+vptgDS72o45bUSQokUu/JaFyeszEtN9deW+0nLBcTd4Nv07cHx7Z9sRfJ3bidJJridkplxWURu2BURhvOgyn1zXvRw9jPLnx5IF9DWRF3zx/NMRZ3DqxwHO5rtU3B/7bxWRbr/L56q0lRh5WNOx9UOxkGPYLyu5XvBkWyn2l8x+HfZk4i1qhms+9XMFjios+L+EV4kEpwOMugzJtoxgtfCQTbNkNy8/zt6Kk/q8JhQ98YXjM4nlUrUh+99GehOnEY5upQBSQueYRzIaVuDEnMHbC1W8JCEYxlWp22YhUeX7MEA1/5bl+gg2rmlhG+t1vY7RPgfcSk1MJz+ZAyjfiR+D0DxC5ykE5GUXW21yxDoWFf1Rng4aiSE3Hab2RUn/QngAHf8nNWHurUxPbIYRXksw+53NA/9BqMQU7TDsl2FeatIKFGA9/NUmRy+9fkRtTttMHnirRAPvlb4++hAokRlcCsTubfWkYlbc65S47ijF8xgCPbpH/0QXPNP8ycdKc+HmoDnPM3vo1+s+rd0/IwFVRUZwUp7DCvV3lHmjH6oIh0GZnSXH0CAYGbJoo7t8wgnLeg1/vJn5CxD0+ibFYgeZmNon30HUHiPdxdil2VVmSDUECSvtKLxQqwNn4TCRUw8SFJK5XylMzsyd9niAaqxH67gTwst+XB0qPBR1FGY0JfEGIf4T7Aeph4qdXs0W7uZf+Rho37WaVefB4x2syPIQP+wzBdLKUtDyXcriXGwcGoJxkt0fA157nEFxzbxG3bv6AuGI7yAZwdRHtMmxugZTtN2fkLo0Iepwv/3q8xDnWfVvC9tlary2carcBbUAuaTJXw/MdHdlbn6wGUAqK24NOuzalR+Y6sKwG8QLsD5g/+OnyZSQqVfXwk7ccy1uvxCwGdx5iNFdQ0JwWkR0RenEKBqu0wTi1QxEe320P2UJZE/EZISc+arAc+1YDetm9cxe14LCeqmAwCksYLtkALoKVRzQOsIlx2mchyXbEweKSA3x4vzx80pO2bTylE/7caRk16Aj7VZ4uXUki55Q/RLFjqbXhdrFmMLyKbZc+4CEIbAIvDIzacjYNwaet3Nd3Plzz8G6DdVUkHnH2LRYh1x+4479MQUF89ZVoJBhIEZ5C+eHklFJwtNoWWS96BI6FhIxGx5psVwOwF3BllPub8YExAtJARAcHGKKH2t0ntjotVj/qienUh3M1zCiyd6Knx4fRJnwVOqjAnYoaXG79TvVyWWbaO8nQcPOpcmY7sZyJ/hk1nnkms5p2TKY4lOigHGYMsjk0Pcym8vgqaShgfi6x0f/IIB9+hjvRr90kmjNxGPDgBWBuK/9v8WYTP6DkwPPM9URC8eLFn8R2GlcE9vIUUggCYfTd0glq/HI6A+jd0C1ftF3QkM3hvuEEw4M10trz5Gn29LokemZPTBbbXo8cF7mupoE5LqDjAlM4oOinDPG8or/R16c96kW7700bYyEDppQ6gK28d9q3NePW2ODBiRQKEXW7g0vgP4yX0hN2r/sl4E9W6PzSbULr89OTCcMp+ZelPbI6PqA1fT9CBjzRa5u0e2xRYjdRK3YsXIM5UMFirceS95KUBcFOsqFQRwle0SyzMUO2NV7K0cd2FRUpU5RLYSmOuOQeilDlrcpPdrNxHRAMuU9gUG7ad4nsjRi27ukncdasSd759oybVgajcGVPTZPfrO1iDl0UDyMza8xtV4QoOE4OFJ9odF2uk3rIozBBMPExfFKROzcIe9H0223u00oCcqiBkfDH/ckZvfgryarpDTU6LVNLV89gkgYbcbUMcprzlAlXxQagmkVKWehPZwGyx8pPA31KvFVH/jbBEwOQNjvVICmhc2/jpi/3dh/dYrQ4/MUVgYHRSO+f6V/5HqrqU3JlWigs2JeMWnb9V2o++Y3IznuigBSOcThtq/84B8N5ctbHmLW52UEY4GpQF3KkChOHQXaRLHih6OD5FU0gfQ8IogCzCXxO7ab9Ld688M93yqlE/GBGyspXH1iXwSbL5ymicCZbWHxc75uy48zh/VEupUPIxlVKZlUl87KMd4NjA1J0PpGV4Rd6ed0djBsDenRdoKSAO5VXvzCIu5q1aVh3eJi5TLcJE5LctWak2caXbPqyxws0sO3/Di66ZEw4KWukpcN+fd+dz6/Duz6nXTJQXfe71qQPYK2XiNocvV66lkNKcIQW/hMPJndMYrXay6n/Sf4MxF8UAXEExYD0GvMyK1+GmcS+N82Rh14tk+x29YlKAqD8hn04aCt2PZQGaS7/JFbBxB8lzwzGFHPbEtQqPd55kNdCZiTtoWQXQ0nLdWrPKHur3SbnidIJq4I1D9asSWi1q6Dn5D7Vpug/+2VKOpR+6q7aI4qV1G3YRxgnSNqI2NRdolhCcx3d7GpX8xAtEaR2iWTjvAKvpXXu/YWr4gC0TwAqk7QcMTu3cGWEPND55LbjcY1KzKwim2M4D/QkrrEfIpDrLRsh3yC0Uzx4qHyDoIQ09JFzVbdR8VCEhiAVoUUPCHWdx6klP6DOOE6mq8On35vBFSxleDxpS8RgoRQrV6eNyXwvVlKNHDTTXhusUSS/x+cTAcQ7ETr/+/FkB4V1Q+j8Nbjjc6GH/IUU4JskpQejuUkOLkBEDJ/wGbmzeRldGkLVvMtGLFTbteIKZH3eCMR9/ZuDkb/m7hYWpL+zc/rP1IMQKMjI0ehaIS+qGugXcL3jkBgBxiRHw3tZrNDxteiS+ThzSd8YYm1VYyBvJ1EPBImvi7fgglNE/1HxoWmoS/5kqAH3Jd2uKU8oNw2T9si0TVs5Z14iH5iD5EkIkvSPUbDKKG8VMcbZMqQG3hB0fYL05uW3553MO5Um0AIqmcyxMpHFaXru94diMfPXaE+Byi8xeAqyoMv5IzoC06IlINwDn1vLKR8HyaUoSYMKXK8ZOTjTzzHYNR5gI6r49f4dg2tz0btcPCwNyu5wJRdZ9O8oeXX9Fh9oZ7uob2jRApUSEhJCUf5zARDBRh31AYhcWqkvT/G5EUBG0K5ZbTgMHSPzMbbEuk17I3FzQ5h0r8WjftQZ5jBU1zEP4cZSQ2fyvjg4sLbmEiFQmC2Af0FO2VXnxW/sbn8jXoJN7ABYYesjb1ko6hAkNkoJfBhS0IDavG/0E/OwRVYkTxcIuOkiko9/rPDDkoToX3VjPzFm18TSc9tjUS2xZ/sJLsgujwX8QtnnUn6FeQeH5earMGUKJQs+UYM683NdE/BqDNF8qGDXgyPZKCmPDtXp9WXaSPrJtij7YOWZ+H9C5g0cpqtiv1npoT1AHnpKohvKz9hPUuFKWU0WInYSTlKzUbzioDHOuzDzvaCIitNIdcIcrAwgeOJE4WW8FNqG6tNZMgXFue+eGYJBBpkUeebzb1r8fEC0aCFMOpf3SbvTFZTMQPAWO9OcXAO58Y0RzJ/EYtBZKw0harGBvqbYWzvBjNL8Ob5DIST66fYrLXljY8+fUf1jIPNUFCpAvRCTs0RrIQNriAZfGWPn2pu+5N6kYffFE8Q6Wf/tRbXX5PgXnoGdKBvn9mtw2SsqTI8DBumabU25IZTeL0XiN1kPPEApau2eAhkhvFi9nNtmIJfAZWyg9gyxEf7lCxJ3rpky9Z+c9vfxTAlGO/q5u8I7ehy4+EaWRE8JOilJNjTYabwGk1cPwXsmpGRYh5RWy48PuPX01nyTAm/I75aaIM++TCmnjU6LsV6AMdF+CpoBI/wRMkKte72wJ/iYVp9nnEHNSAxRLzUVl7zBqRuJ2ryoYjbkZvpbJQ81uz5bq+LN6Ce1x20elZx1o6HQ+dCb8vD50IwRvvc1YJB8deURDgwpWmmVmkhX5PG6gMaaZyN7Kd8CjYjznYRC2ZnPFZArUWnueFX5CDFRdexUn/pNp55WldIw2fgP64qHxQTwxMMjbS7CdoQpLhm6wQAZl2oNmoZcSaEhboXP9k/9fBFQX6T0q1JqCb2xfPbepP6pEvuKGwFfbKdoWiXbwUA4J2O2QTo1m81AcACwUorMVGGhpSl/w+I2c8EPydUQ/I0YftAdYsdKe9qN0Mg9HriKH0DRlSsVjAyYvy65z99PGZGqw/UKnYLWq5sq5bM/1CmE01a+J0Z1e9RfOBBzhlHXUh0uP7mXABwtJF7/nUjYrvcxGnD/13Y0s/lO0xRnePXKP47S+a5+WcUrMBybrxOSntgIYAyNTH2zfgz0yMrAkRA6a/iFi3gvKKysRQ5frR8TBo63Z3RGC03FIrmsOuf7sX/sOAZIj6rH8Tqr0KZ/09RJu938I06evOiRxPi1mtaMzXp/4OQ0fuxuVqyTnT0rgHSfJYNKGh8bB+RhY/uUpARQjkVcLY7PmxWiCV4UHX+nGr0Jz7mByKgS6gbueWaJnVaInZFBy+zCvQUXe1mH65sJilDYbveNacSOVDmuHfvs5mxdSqz5NDan/Yqz/lKsd0WHSAE/Ci4qS4a9YGcrarihrr/9upKlsE2jr+0pfF1o8Q0GvJ9TDBDSgNc8bbgkzPnpbKAKqMnxEk12fm41pVy3CH9i6NTiCMFPzRGoIGztWrMfUR4dp9Wa4YWzxj6SsCNQgGDbSBC6EUk38i7CqydCwZwL4Hgr3WKMYMroairi9o7wRq8u086ML2cLC9lQB+QElg6X1tWMqhEweuAGzBbIMMnaVgRnZrccQ1XL/H3B1Fakvx9bzey+5olbnUI3Z0WG+HSOHUo0gsxZQOnIHpYB7z46WY4qG+wxB1LTHUliVVoGIVtfEbCHiCKhVc1KAdDzKYAoq9ui+t40yjxxVyCqn3UUiezqprw7aRC/D7M9JfYyd75JhZHM06nhog5ZMDSjNu8CFtSFNfkFICR05e0XDOVWYL62083JURotPxcPE3KNsKZloZRMxoEoiRv4YQb53AntcEYuWinPByRUdqs6QTEENjyd8BZHQHxROMD8WgOAwYfX441KerKUgp8s0iHO5tEg9c27Ag92Ly8hM9rulQKzTUL/Z0K1eZDP7CyCHcEWs0hDfA0gTCftn1m4RNst5P6jfVwy/WZdNgOTcVBnGjF29a/Z2J6r+HMOU8/DEUlUWbhPz7lKjrwcCRPoMKFi4zZ3JqwlktXGkhACGO6SpRSKGSV/1OZ8kfP1RmdWbPhLHhex0kNihAmwVo0iCS3tNBT4X0zo6G3aGrCTJhw6caTEczLR121nsFGtnA1P3sUht73sEIZGJZZ8VHMEXesUR0WuunsOsC//YUYA5EbWI1YwDbOmMieblBjewAygkL5NbUI4+a+PhJrxltSiM4zYjoo99MDgz85A/kGmiRuw5CY1eVjwlcBVCevdlzhVeU1PT4Yiw8LPI+ZMMb/mYwNNMEy1hW5A5zG7PTExRGG2XiI6z7yrx1kkNC9Qru43q6bMGZKP/x51m9o19HRFvOiUNbeKXNmWGpg8zSZZL2lsTtVJz7AruF+vpJiHgn7OZ7Z8WLSf5GkBMYJdvJ8UiF1GFDFrEMYcm0jnIeIWrPkruPExQcsXnohag0P437XNEOMHaTXkUvbOuBW4db/VfUOQ1+jnEnGbHbGwQgYB7Cn/ba0q/CM5q0C+IWCI+EUgPnKAmj33A8UJ8WvO+mPF7AsH2JXgkY6JlO3KiQTIHRs0HkRR9ra0vxfz+vU+7fppwEixICCtlCWHjcDtAphONp6+zIlbVkNY2HlrdilzXmFmRpLXxmp22ToeidRDCl7+uNnRJaXSVCZXO6R3m2m9Oc+TQu9Qm61liq2C1h7TzJEF4JoJT5fIipXWDvPTlebTO6pwYaS90bYexT9CnP/ljd4sEuFCwYU9fzbROqrgVgaxdXtyXuOCH0O6sJeXvGvNq0f3UdVH4PvzHm8xgTt3kekqJZNE66NmOuIlABv/T0z03QZ59+t3yjffGdmvQrBvX9YRqYhRKKk6blEV+SiNV18Z4r1etOqKgU06PbnV1OGhCNvPQeFmqbp2z06mt9WQm6wdrk5ueANYPnKue9as0VvzaGQ1uxiq9DW6HKW47CSa0yvWTENLdIqZBGNgFodZ9ro3ShJRJsvUFzA6M8h+766s2dO+OmY6rvipxv+whcMkERYldEpvaV5hCDrgX1KBvJBmTh7sfZovdTZ7C/j0EVFXHJ7wexuvWazJbbluPxBHmIjwCM4sW5aT8ph/sSpmnHPBS9yESakE4Zwfx420FcaxChpDN507tEhWJqIWtYNm5v+nYyKl90C8971S56cRLrupWh/gqmRuXGsBvr+eq1frCE46nceJjif1FgRaEfwgtPvcKC3nJBHOKn2lq6AmqCdvK5ErYnqU0Z2b1Y91DH5gcpFqJbgIoVza0ve0dvfcV8rJlv++KvWNv122RcPwhm9enjgN7dJz+q7YLUA8csyreXra9uPx66fmTuVECAfyczasU0fbPD8DlXU0S4tHTgNEu58ObuC91P/DVvu9Oo0mOuLYIY2YSQ1ILpIfLdqZL9FKAdaeD9QEZzyjkb4Qp+WMorAaVYbocOL9NO98akliNKCluzkMOZG6A7Drxw2VehWc3G1cFFqK16QU3/AyVEngm7eF1A+EOdz5OtmbjflQkfRaaQZbHH/nU3bUFhsknJq2LCzil2NcKnF/I9jjkwTqa2LNv6M7bU9NIwgKAfVJaAVoa+WxVlsbjswX6CC/uew+UF/kWhwPJFqE+4BjNIA2606f9fIWe6r4JAzUC1Rtp3bHgg3ohEmjI7h1Ae5eIXcJBncbQ1jIPYQeEVc4hDAhd1ySBSAFy4B9BxwYjoeAmQTR+Lkt4d/tuUFQc2B8CcyF6nqJc5ZgtSlPLmZIeARK/VoyDnerf8kQ0KIjvjsZI3hDYeAOu6HTSpKwqJhX2lYLxwfYDK74qevNI9f8N4UE5QbWFnXpaeWxSKNRER0T+BIeo8LIBsMScF8Urr8nMWYVpE8dT6PI1WTyDJSIMMTVl1PlB7lfA06gks4Ah5lzwxgFLkGpQHfuCu06BRnhdJSTaUYAIWhxSKrDI2dX5tRh/0ny46poRDe9F9EFQ+TcWlZL+lNpXP99DokHUiDT+lK1B0iCglQz0oDR6JUaSM6F+VVPxdeZA07mFCmT4AfRb7ZEmi9PEdVTu8w3evcvxSzlhDVIjjZe9+Wtqtot+UwNUqiZ4HO1dDcH0lTEhXw1RNKwX794+EObe7Mkt3m80oji4rurktt0UegoXszFVLFIO+udeBvi/Q8fOu8+Db/inRAhlYGeS1DEsF4OmoQ3sSm96Msz0HWCyDOOwN1vis6ek/0ENXGu5q8XQVJ94+u1xGdAt6QElz9Fl4gQGOxBjYtmVnSPFOL7jTav3yp+ahtz80ZUbhvhegmdzGjvHnfTZv28kNwnSJAK2eGo2GevK8jseTF+jJNn9TUjkDWwEpm07t2ySbtwc/pmybhbUWsx/TtKIgvRe4FJHx/z02CwqgdKO6i6AxGgw0Og9/YG5wpPeLq2Aip7GXIZe3b+hYUjjGoxkt2F2WPfAKsfOUkgfssAKQfBxS0nd3fNF3kzEdMorxdkpD9w36LIVYGLOHQcz1D+vg7UuQeKVuyt8VgI3N5LIWqA56gYq9xTa+1n9GEGyKJkCdYl6r5+6cp1uSftUqCDhzNdotmogaFNqJUQiAA2nGe5jfjUe4p/fyrAXkEEpyzfkeJh5ganBIP4GTB/p9fWADZvxLtAqoEPe1biTyUZ3zcbvQwx1b8PBtJf+afZnnMS63RDgv4CNFGuqEerQ738XVIlwDsHGePPMR9U89UGN26Upuwe5LWUcigwBoIvNCmAmoEKT9luM+J5O8lpe99hrsfBDo06h+6rpg+Ot61O4LiR8Flv0nNbFb+NcdDm/7YBTaqXo8UFd/kQ5RqfCH3E5wERG/g8Zz18qOCfXAlImOkzbspttgtJcoa/7dcB5eEdEosJ9Zkz0+569T3z7qoQo6GLFY+Kkj7njns/z47Q/28J/ogKCdRHwy+XKJenltZA/dhtmTScEFWRou1gVQjgEfMJBXzL9Ip8Cyv6bwEbHePql+heRuKLD33aHN9xClhkwav2MHZ0JREkkctuXhHqgBsLw1+HXPUvOgIx8hs3zCQCro99/sPd6r5o3iTdrykiAjAxuUJSLSfJ63lGiyTsWTOqW+CMegV3TavbbMxjWAZ8dOCa/+MErFdjrD6bZyt64bASYM4kUCyd2tT/6AGYxpSL6bHpZLaDGhevUyHna9bz6C49hI27yiSLYcJeAX9cPJ9ABzedl7RxeKRdrC6j+rMM7TKSFpkPES3xpJ+Q7cdkuczT0+EZ8ezoAIfoyYoF1oAVTehRfRPGwhhuqD5qozXUjPRvURvajhoKr+LC/9kw82CfTSVcopd8rE3lk0VrMsubm7ZZzhNVyrWHgOozqCAHmFGcxDbXijzIIriNLLY5xLlRc5E9rNUN2tP3YAdlVDjEGEclvL6n3kYi2t3APVHVBXJ7kBwmsOSV232G3VcJZDaTuFxK4JMtSrSNlyLFDTcc6e/6z6wA2tQ7zSyiUxAhAALywhL+r4eS/w/mjXL+FtWuH4oYVurWKnljofpVMqe7x2kUOY/6ylOYCjBucSWKXWL+SSdpeV4Qus4sGGmzcLufN1UPFBo9BeaGR0SYJgOr0GOPOL6d12y0SRLGo8lDHRmzxu7mDcwiF8KDTwzmiZ2mG5QVoCd9OdAH3n9829YKG13duAr3O6K7NYEqQ3AmB+4FEfkdEm4o2rU2PpoJfdDaKkiImCCmY59jCK8IJ9jZjZfl8yHuxLSTPnxaTgXZ82M34zqRj8Ptys9OpV+p+fFqKeexuIWDBnr01U8LNA7Nfu7daf4HSE9X/Cb4J3rbYaJmFBnIQ1KxtfcYZNjO56taavcX2MT2ZCheFE1qhHZZvykBlWOEBsxmysxeB+u74ny0t3ss2XXnIl4ctglVxeag2ZS0tWUiHhupJrszwLft+e7Gb6RNgkY+25CyFjfIsdeZuoioMmS1/Z81qC68Pzmb79nP8iozGpnZnqCS6A2bE8TLaB+saZBETZnOZrmUT3/LPviRewmypwvV5iuGBn6XlbSnShUoGq5mZ5Yc/oLLr3UH6t3MM9Zj42/0k9sDJs7QbVGtjg1xeJYvn/XdNasZRYfsuwUGEn4Ti5iu6Y8lw5rwGFndpHdIo37JcrfdkIJBVujkFgsGeri4kAH8MuSuzMVRk4sjGYhuhHNyrn/35MjiBRJ8Q9mBwqWoVdF2nKJwqK2CpfhjL0nNZxFa8BB2Boy3FahkH5rYETywE13eES2OIafjrAdDA1I1eUgUdECKpgjL+b36cgf6vF4bXkqF5pC7ZlC5pKgekfaBTZvtTmW/OwRXSihv+P2D2SmbUj99t+1RjE/AoVDBo8aYrYcZsCSqz74KGfHhSvmPx4ZliJNdtjxj2vtKSMJm9EGIGvv5+PaObeuCDS8TNW/jZgCOWZNjDrH36NmmT4C+WycXaWfvGSKO9vEQeOFgWzmRzYnYjHlxMtWSg13UYTnkqWHwFw3AQUafSZizFV+3kqzQ3VIhAF4T9IM6me6qEo0UjI9zsL6Ms1tt4ZbK7B+nmSqREP4bLrtcVIOIdKzj8Id3wnMzgHBPQatelymVYr/Z2CaFnnyc9gDGWR8BoD2ceBNRWwzWgkihEkuXWy5ENhNomE6xU+YhrA08YwBg7wB5RD+Tsk4aYbnvTneiPwu7w25AlvBugy9FFf9X1t/MqfAA3caLRzZFJOEcnjeYPMSCn6TwGe6sWf2iKteEdixww8/wf08YLW8v9y/QP2bV0fLwahhBnitPhgNp5dvT+/HoSoKIl24/XrpHaqOTAM6IJM2ACp5iviEhwh+G8Y+ZPtpTkVPW4PY4TSpNju0asaWy/UieHAhu6hSMijZclmaWoY0WjNuOsdTBlMFz1pdOt/LvhKKnmxE1g97aXupEvDSOQ4WQmGJkAkS7+gpe1ZqtUZWBT04TC+NRWryh8yDMfOHs2mcmt2KjNCMxryLDdrrPdptR7CIN+COg7gMDt4gNsajliO8h+E5Ph9K8DdwJKoqurTwK3gnwkkcKm0/nk10xWz486r7AN8fAobhBqeLtPEkTrhHhtXgTPp2b+bIKXH41+8s9X6p5Yb2bGZYilf4dcjPxLEwvKqvJJQ11tLTA02RiB5WB3mFT+iCnyO338lA7oEq1F8LNOKI08n27WjbPihHYvbVFbawRew9jQ+6ouEBTgzIoYsWr+TPO5xh7K2sY9s9YpgwtWRFh4i16ZP/D1SYYu2QR4wjZ1kDuuViTojfpORu5IU0+VwebA2cAz0tcBLjET+ttZJIrSngv//q2/IWtzRcltBWxgLDnFn4tHYF603Oxw6MJnWFBnOES19u5BVIA0rN4/xfcsSp7US1BLX/5ozpr+FxNRqCEchKFx5ApPEZW5n8Vh+1e65mc2Gnw2czmYQ54gbZVgi39hmNMpfZqAWqnz2GT6wK6hxe/Z8zsD/0FeuFkUCeUpIqmRyhvNw0pUvavNgFqssgkApEvgx4MS/9YerjySrFwlPqBqtY9ShaEas9RmFL65d6gVWwCFhjZZTMsvxRXCneClQfXp0Q8G4Q/ZMriemML7OYreazSpw4/0bQub7DQaQ2RczVHQRsJ291cl0YT0N+ZfIOjLbGQ1v3TPyZYi8uDFb6Ykfh8QKwIM0B/Pg8MaMTog7K8UIAD4kujEmCvmfeyuBUm+L4ESycPMdHesoBsg6jXSBMQmhGwpgL8F+tN5XD4HCwotr8/ViMKC8Vn3MkUXiePkz2bSvb6N9B7rWk2HWLgVkprcDYSMIHrWf3MaGHXZ1vYeE1kmC8ItdWbA7qQYTMk/m0p3X4y2TAUQJ//jTysd2ZLKI9ghlk4BmT5Tdl3uQdEimq/cxnlt+kjL2pG7U12noFpQqYsx9otqKLO4RBCyRduIojKeZRj1W5UIt5kVtEck7ihg0dLfkPv1KHmYLMXYZVg/wR6q3p+lmNEK2PE7CSidpK+Ev0wDc89CuxiHcWM//tzO/rcVtepHAShVrq43k8WZNqBwizppvjR3numEDx+2gd9PP7YMxscMAxQogXCrXqWTed36PkumF/IC6uyz3q2qTcmqE5W999OpGcKSe6O5YmA/Fta+q6pu7YCs24WgNJps1ZB85XN5ctQ1r2i3OEoq637hEn7wQmYoH13B5NcZvhRHev0glmVpz82XQwR4BxmZ1QbmiTHW3SvnFC/7pdlr5hwve3STZYq4Yz2jwzgKGnJICtsVfl5DS9dyPbJnL0GCYU9Cqn0UY4epDboO6G8yqELsS4nsdGYSoAnETENQSXogzccwl4o0Tnl42m5oxPA8vwRULKQQy+zGovfTaADHOii9EDwRgfW7+Cp7DAV8ZPUd+rUlr9dzXC/PIgT36NdraRnReq2Wn6PzswZM6ew2aeW6rN+Ip5rxucMEjPmkdKskY9AzFGU/6BzSitVh9JgJWOW9wvDn4RP0UPph+fLSKehI7kXe7L92FtL3byj43S5fmMyFpZBkwrPsw3a8zhQhsL7OfYJ3s30Z+e5nOH8+QjZKFtgu78I1DnE46qrIMNsZM98+RIXt8VnnY8M10BQNmI6YEgyBBLMYoYNZb8cw4cTx14TtzK+UTefb8ODupc8EMj5d/wNl5kDw8cdhsAj4TKTmAnwBmiNff7rwU4/LVr7HtZJGpO/3a+kw4P57hPu6t+0MlOXogNbCCk1/hNiflyvAiCNUBT+8HEtUiuRfJmYrMYyEeLFY1bLFtjXvyG1XF1wVDWxbX0mJHfVShGBgo39npmM8S+1KsNXrHRB1BfXBYmm6FheUsKpkE6uWPE+ZLvHU6bJ9BggYSZa+9YryAEzI9zxzz6wsoW7S6hQCUVFaBXYCVCFW4p2rLKExt24BQmQboHROMFdm0vXKpUc0o4292vP6IBxT2bHrBsK03advIKufJhPba3mWk8DPaqshDjUmM3T3TZ8yuIEQ8ZdrXNTbB0nY5GcfjAmjIAywr0Dvf1qg3fR/kpwEn6B+hXlHKNi7z5+m5ryBWa89+2EDLK14UVj2mR5jm4+UCKhYUz2gMXWXgqlRMjB9S/hvVWmKS3l90/ZKnLvcxnzi4LEUjDnTAzbED0LWEGL1HBoCDTzEkOAvp9hKJpt+kROyDhowRUvagCtWX7Pr1NyGi7/z5Ibyb6NtxRoqGRnTF8DMviH3J7aEy8XLMNKcl+3SuIrS1AsDNttVjYkqSxxb6d+MSDWOH/xUB3waMxrslEpThaB/s3KG1AAgYosRNkPUipmshL1egh3xHb/IZExSTTnc/ZlbWvZquiV+en7cCQJxEp/3xC4clkRm8T4uwudalR9j2yphUTStcBvg6crLNz6/411NeE7MVp5+OEZHe7ht3+yoQ/xYhgJMEEdsQE4oQKszxwkPooQs/yAUaTQ/xuwINqmePSNH8zexStw1/bvcaUlrkFrDoUwUjzU6jeo4DeOSai5eDm1r1kDjoMCEmdCwj0PkUJTSxAYVPvyx5zCR293jmskBcn1QQOE1x59KWD+cWw3e3fLnscPtsdJq14yUPi/MRV+CiTkasXCUBzD8oD8KHfS1GdMKLR5Z2J8Szhy4GZsMpEMEum17JVWTbMvzftHFp5LTV/qmOW9wEAy8AEcphc/ea/iSh8/BAvlSXZN5JNT+1IwMiIoovqWg5+VQ/48xecSebjBqxlKG6TyVUPV4jJbHMn2gveZtXM7UsG9cBZYha4pYClGzn+pu1TnXk/kESbKqPUnyuwfI9jKxYPQuzCMx5lY87obVPGrXscp6aGE/t/VV3dzeP6FFUGUOyMDk0A4s1I5dNdfp9V7mufhvMaA/jIXgm87K/zfmiBZYxRtCCov4oBW4O2OuLXDX/gLUAnrZhJVxF/CjbZPq5phsBMGFmlNrjAJtkXhTO9BvcXlQkAGE042A/bYTZIwtk7W8JGxR44Ma7Jo5taiNbLWtoZunr8lNKghYM5AEanA7wLflNf2UISCIR9XQol+LZlz/xfNfTfnh7ELwCofxvvRTjZ5Vo52JQcKj/r9HyVqKe2diGl+mGlOJZ4p9zOlt5FwqokPMXiEXWG1ioKwmE49PwSr+RjVby2dwkttd5VUm3dxv67gLSV7LJDIENj+WmvcuIvmvqXscPAGdtvB2lNnrSZaX0sOdtHLL9OsBlUy0Aj3vhqKnqqMaJ5yO9525PSWqcN+vhr1oJfeka8o3Oa2Ua8c4mqgecXKRFxASe2cZQlghGUfI8dJX0gkeACiFolOQcYgAoxPEbVzdTUhFj3pltzU2vNXPB8zicjcp3WlP/R/Jd6zXIleyUeps0l8K9352NwFMQcMqx2dMKzTEnNaOhfuUN2OLSEpS8Jfb7zb9QI+bXZ1XKrpJDaw23gsFIu5R6y/mF3zDTjIKBgt3Er+/NnpRYeAvEkIB5bbS/e6OddPE/+MbgmMxPqhhjnfkE5HNX2lerYYBaJJSkOfoEvyqKUx1FpDSxaEeYKS9AdP8HlJ9GMkxLMTF8IviDuZ0PdZYktqEYLIufVwrAJcHXp8FiYF0mEJul32k6FOBurJ84D5Z46mpjt0u28JESuLNeQsyGof3/mqMBHmHFf4hmEmw/OLEFSuUSowz86R+WVztEj09odAknqvbeEEnCgNXs5f6Pxz2HEvf81+MU54YAZ5aaIQDSb0G/iCp1bUt+eGcZFeir8+nijg7VUWQeODKE6olJxgkRShCmE5BwTF5CYi2aVuP9RqUWn5WMS7Bwjsl9FeF9/5Qvq5lKJXqDKYPuB+td53wOomwXBxBeFE0dqK/CU3VIkUwXtNZaKa1qKoHcCA2Qy7UTNodsCGoNRxhTgqDn23vANe9QPXBBmeSIpWyUsNoBkgTdZZW2qQsLwjvRaXIZMnpM44xSpFnrYX90rvN5jGDWJbff4H8Cg8OBiujdPlieJVyQHK4p3LANcbxx9uEElO8EOqSg9IR1L/aj4+KeWSXGlm3NjoAFsncNEI2n836R790mLyjpISMgOcd8+2RSPD0YsKvkOeV3oL3pk2hT+zAT4PHhZ3hB1oTGGU1FEDETi6ghqvdLAP4aGgnPdso20dt+6miOWS0nXtO5Oz1AoSJFxlpWjlEu0KyQArvfo0lmYt1trcjjYiOr7Fll3JSVrPUV61FVDw7r5rzb2ZBnaAiQsAUk767tu8fqgqb8aDS2WBvfZUGVZnjEbuB2SC2ZsrVoNlELDpDu7iEGnQlde+tKNHkAnGJ2pVREhCeXxUDJTadp4KkIMItHlyy0FwJxYpPr/Z4OFOGtUFN14DHA51OW861bUP/edm+Hn8bK01YGW2gMPOfAZ0f0w41HCsUL+dr2yEIow4P3SE3GtZ7k6BCWRa7dp1E8dYGzr9T48q4Xx3es8sLkBhhGJz6B16WeSx9VUx4/YP06cvmhta7c5gO1xoDJBGZ7d31wKG8bFee60jdbl9VHSJ+coNqsBp8E61NIMW/wT78QbJ5Zn3sMOpOUySobDBmeHNIXt2kWnrALoWtGRrZMlN4HwJSG6ZtqZgLy0aUZAZSlQSNLIvyA1UHpSw5WRWIUS9C3Z9flGH1p1beJLg+QkEEVrI7exzy6k29ILdNYzPllVOI9dJmZpCm/Z4pTpKbRU4DGEM1HSTabVTRilsOlft6rrGl0NcEsXaNHtJlXI9zbK68VEC6XtRLeV1CcnpkLokf5e/hwwS5TNy7ya2oM5hITI5stOs01IrzAedIf39a7xBGaipg1Ons/+tlh0/d1ZBggCZcXFLxJfOONAyIunIdTEZ8lV3BH/XblcPXSAc++QS0vAtBJVNMaTq0BZ43agSwXub6fjYOb7VH9KPIcclBtQa2ZiJJbh6rTKu1gzL0cYkr+VAwqa6jsDd2EldqRKSycdo7v8Zf6hk4vQD3zBXxDVQV0QeVDahKpxmNzBqAQ8a305r71AQyiDMPZbOlvja++jcK6xj1Zb8gPEcOqAZyH+dyC/G7lzavSpg2C55U08OEgmzOHUCUwT89oGpTX2J8hNtIm1fD1ItDHFoiXUj6pmFpxz/1/ctRtgZFR3zWalYHbZhy2ELiIs2SEgNpMEB4g9CJqwqEND0BpX0KTHF/T1wsBy1qRTmpv/fv1kLjijnj4dTJbRBX9aiqsVGEiVnsdrhF25SOZSP7+2ykrfK9goyKWRg3GjY5M80WeViWfsKuO9c/l+T7L4nwvVIT36BFd+TlDIbFKryyjmxTVhrrgIF9c/GIEXAOIenxlii32IXfY+Xi8+kbr/sN+hfYYoBOiE0h92AwttHLb4wGS8UdGGKdibHOFGyFjtvD8uUpiQcZsMSsfbf0wdIbczVtT3SR8+mmaJVNFfGq7+qM+hT8gL16L+z5TMeMqKJq632lj3a3dH1jyZg6tqaCiiE1NifIq3/EL8ZZRw9B9uyNmWYNL8pdHiR/MXz6f7Vvecv9iyGw8D3603Bub22Yi/40JvsnE4hMCgGTfqkPnWSyhGGFThdheOpO2AtDJmP8ldjW4pwfGg2feaxAc4eLwe0EYNrigXWhMclC9WyLPkmAU/7oPVf6zQQcco/mDUOEcIQbhRpWvFZpK7PBy/fNluQ0eFb8vzrBRa6lKuAF8p/kGUQjaLmZXF6fP8OACtlSyS4DLGD82LC5Ct8XtQKYCkV6+Xw/y4DM4kQksEAURn7zPFcboqNZDRVxjfUFqAO1GbtBns4Be7MW6sxUV3BNlTnHuq2rk190OcsxqJNuVVfPpr0r7jk1Bp4iAXbS1Tf7YPIE+Z9UzwYpev4jGd8+YmK5xH+8j00cHZMjv4bJ1YWPO3Oj9P4N7hvSGLvrzGZ0lVj16UA49EMEBiRhG/JF6iqeOgNxg/9IM0s4DHkwRM95plrxx/Ef9Qf9rrxqwIglBFi7VN/zRuCv7sGz+7AVmlr3x2U2vpFnTK0kfBChI832EeJGrxevuWX1JzFgmUOuo32tVDFCFHoFbqwF4Rl4XJz89UltZVjPsUwb/FKtTYG2G8GQAi1jXe3OCPMneSGu5iaEvPGzwg/6VVC4EdgIV65uhEf5xLtsG16v2EKxU2/2AsmbKPN17Tb4gFbXoDkRQCadHDPRLXL0IJNYS052UTWMTbhFyVGidUYfJjKld3ZjYcer2UiVlCXxwjSISftK2RLlxsfXQo1uSe6KMR+yU1ZdwU2uSf+jbl0WlntdjvTuAHcOzkeaBjbKCbXL2XWSqcClPDLWlW/5DitvFNLi+oqE+yi5D1WTy+MfZpMo9u8LMszgMU/baggSVS41xecOVuXQNR5FLTHh0PO2OWZCkkd9pyqPRaPiw9RrP46qgRE5XFHx31EK7bZVm4I1d4usqVXzIrA16TGdRRBV9psWepESrgvhGtcsqptgQTdStK2n7QFVspORHpbp4fvyjQqh1KaoO0spDA3RxL+jUfSaQ84kCtk6lDSkyK6q8Wr11doWWuh0W+AX/Qg/+rNRnioPilrlWwheWYZTysYKNeRpRnTTrWWE88G5ZHU6d+nF+a1ASnBVHMo8PC7Iz9M/mo72pm7F4vQGGQymQxDCIIctCUf8Yv+ApmxhtmqlUqx0A8ERNlQBwLqvTWumuwLLRCZ3owv3XH0gDVy3n+PkNI25qYVInOL/Xkg4wIs9MZWwIPxbqtsKG8O3kko93UASBsCbJ8XhxVO5XJd9UdfPqxraU/3nPnsk70OCfCHgjKoaKvTzqvMjbyXJ941zYIjnTycDreWqUGXLJlW3iRZITUOewR+/SGQFUA6ZZ7BSH3/bGUty8x0UOPcNz/8GHkhyE5HFHpDnbsClaWvHRYBVILGo7aJzRHGMiweVxF9GjZE8/uuPwyl45z/x05hkAiMDb4NTTddxZNmeW/+hA4cN3+Z8rMrk5PY43XG0adkDyjHEsRW8TqNuifTPX5HYDM4B1tBHUm2UrzI5E+WnKDfgdk+NU+3v0YRc06ec52hpuBZT+n6c8tvlDjT1SatQymnlAASDlugtdqZQ0Fk/Q/BD2L78CyNX0aOkAkZ8f7cVkzhZk9tcY3na4ZHzlYOF0SqnaHM6Fm7+zzZuCi3SYI9fZ/2Yys3CiUtdtLxk6DgAtqMdgh2HcCHK1WmgbMChtfPsM3bclIdC2EVMDEsDCtZs4W/RuUy630lIyRiPe+yJ0GdIzErq0+zWK+j0TIjxhQ9comcY66UZuxJbyh41zxPC4ft7uUK6dlEhzr+A9VDadC8UW0X7ZOqvLJAqltLbU3YmFtkNE5ycaib6bUz2RsawCs4CXPJhnNRcwP56s7mUI7lMamIPLfCjRZ3pqTPt3FbQoKLY+hkbmfTkmDbUFzFPhfvgKhuNK7LP+76iFF08L8NAVpa83WmslBtUSHoryAyHonBRzqVj8wFIYRHkqB0HRw+/NSTUV0V8ag9FoSVEIJVlyvbpW1gPMuyLGVQgDED5s8yw0001Ta9XQp/63rhQnJEpdGYWkzf11ZSkkkiqGdjup+lYPwAmRBoTft4uJTjAec7xYCHJUHzpvLOecINxdG1OwqT3tIqtgVa9s7y7pZansBeQv28p+m8Uxj5XavfAu4b8V1yop8NdKGlQqSgEieFJ1CssTMSVVhcD2fHxvlIydXEWIKFxjenmLIzHEdohdJOZMlyc/+TuiajI2bB9fLPDgFZ99VPTKBYQ1F+i+Yl6oG8msrFbVlqJsI8aaccAoh57GrLRF9YgQciqC408NEujYQbUI3gVGZ6QELiJQxutt1/50le0HQYUvRA3uc/VsjXbGKMjoaRj0AmtfhsS1WsUC6yxfq4V9tOlmy4eG346V5inqqDg7RiORN9P0djfoZC2RXkwKQLVE1fu6g+JOia1gvgunZO53/DqMD7uRtNU3MGtNAjSlWxoqMYXxTLdSpCbtpUz/w8Pk1BH5txT/xc4hEltJwjkVj3bJX+p03SEJ75BoCyK9BRLl3PWMCn42yk1C/cE9TaT2r3x33PB2+0/47cyizZ7CeXU3OzhVpvJ3HY9sGcd4U6CmQEHAiyHOaPOe4ChMEHoREkhVzxAZ2s0VgQ9PkaAKEz+9lbgrxqnOHo/rpT4D1Yaziwn3+M7ZzE/SuoArlmjpaEE41btkn1Np6MSqkY8N4D+QfIVaTwLHzXlOMFExWxiI56mS04vOrlNbbLeQb4podkgrUvqbBLG64FjlIAueO1PxDKMKx97Slj+j1C5rUxDy1iW3rY4nNc/vHtQ8V2IoX13JcaiRMEcy1VjL3Zn8vpitL+VO/yJtNqe8IPmAz55qnQQwqMXQ4v8foS+Vx7ehPxT88+FFloeAI7eco22t8GDmUFXb231B9eQJRwH17OHQBPTIvB8sjfTg9frlUzgHelVFdUWC8o+7GLYogLU0RJ0q6Y5YDMGdYAdhWZF0MEAgvH6NqqvE1iRCvbERGaqxp9NbC1oRJuVUT476P34u1286MmZA+6hcunfHbOrkEFTVZpTrg+ubn5asolHjctTKp6qdxDg1LJBQ2hsD/CwQAesnZcISWQcdHIL4ubs3c/GEWlFXXjKVeYeADC31UX5k34FQh4cLoAGenOAcUZ1rGxioK/wNjCgs/F/IGErLjDOHeYobNm7g9xczK6w44Y4I5jHas4uv7xMKS+mdN8131cg2HISSVAGEJdQB03xvI5m4z8lT0m6+KpG6zJo1aCJLHN1NxI9rdMrDMbLa9H4INubQZwV6rSKIk/2M/Pq5sWkC/wCnwz0qtNaniTwcjQfBpkdr8S4ZD1k75J9syLuACaHU/sJyTkG9Loqj9XbCvnPRyCX2+WIX21nf6FHsw40Qu+4lQhmnqM6ZE8P5cY+yu/W5wnNxrgYtFs6Fe9fwWUdgoS8O8GRtfG4aU0LYe5QtgLAePo8pXoQ9BGMtwNfQng8zHLBu6dpJ8iGUF7285kle8UDVLKGlCCH2cbE0AMXjaBeVD6sAKzNXxnoEII/FjWhJvIclmLA9PZVcljf6F80FJFNFrFGD4P3ZJwaxiXbnl0P8UtV38MFuLMo25+AcC9SUj73f55k9FdUDOVBJN2Nj6BEi2O0GN851ZKj9YtYDL+rnqQahC9pP9JtF0jj005WvAxGfNm5fPnssW77u7D1+JrOKH5FTa/Tc25LhPq0LAGYJDnVUormupxnJhQREeuhVbwIX5a+cmHn3IUdznI41ck8n9NeHqDffcpwCHSOayg5YzPLaLYqQNeTu1hSD6c6SnOSIOTU+ltXiMKQIC3EBkRy+gmJy74AtoK5c1RHjzx7ne+a6S7cpeDkG7hEvDupKehC0F564MixjSpmf1eBiWr57ks4UlRmNyYGagNCcnvLGq4yY96B4dVcXNJHUG2BC0wZcA2FhlNVZDRwdYyQTR3SvDBKUySsb0AwCp5SHOZEVg6x8DiDKeFs6eHOWKbuUJcRuadSzIftLuJFY5cVlRNsIJrGNc7g4Qma458YxrlySAYGisCcKqv/Ni30m8oXPEdD1Wq8K3rLXvdH+6B3awF6Q3StcXEkMRglcCBDRcKz04DZTgOmte3U1QeNgXI6q+xf2F2cyZOzH7qlDh4aIjAnQSdbixAr+TqTvVj6+4+yVrZMFHBwh2M9nTgiKln+uP37SXqWPPZVZ7lwoU6iuGAfX9S3AquMgQ4YbkRVi4CRJdRYM6hLmeZxCP/X9138VnHqGpAn/5/ktc4VX8AdQ8WRXFkwqj9iWk7VyXsaa4fS2jOr9BRnB8kK7NyxHYGNqAxtjjzJv+2OPs/WMf/yYhueH6uNJTr5k22qeFaYB19FpHYMXRXDkS6Otidnmb1XJWh0+MxvGcgt9skg2BJwOB5gSNTqt+r14ZoKv86qj7GOccfZfhTi5PtMmWTOC3dRgddJWYky3p+Q51RtmIfQhDOPD0gt+ouz6NnhwzKbUeyGucxEDdQCwTlVlHpHJaeU6ANm++v1BixO8SfYg0zEvDimaO6FGjKUb7OefYL3Z1dN0SI58qdyiogvl4Oq6xfHxcVkAmvmbUiUCSbXWliNFZt/M1ilYt5+9qUQufHo55fWRkyy658LiPs/Ik3S+VPIUwjkd80A+2dPIM+02JA5A4fhy/NmDXefaZX2xrXTEzfLV9AiDuOqo22/9b+LFNH6zH3bALx/0POF4x/mJnS9Iajo6RZJ2jhAWDgvyY9dLnEL7wD36vWa0LN3bHrSbbuKV5jzE9R2sCIS872EDxyP4T0hP3hD+2rHUVQ2lr2RzXk7+sNsz/FZZQkVnjdgLnCaT0rD9HJ/C+rMEhd1+ZtAeWW09BFxT7hRX/WyYkZM1ZHZ1U9aLXieuyuna8KIerNUokmPNoNbDvjATBBf0az5AVNbWtUXVvoPptGkiSntpzA4FVtr7Anxy3rGH76D+b4kAnoB1SbG/lqioIo0kZYaAXZmIzITYMALYOam+5EqCrlROn7eLu2diLxVyVjyFnrYJ2BFyLu+6/IwsTu216itoZx3wMfeICjOhf/+uoMciOs0BeUmOBy5N0L+zpvsU17K+cCBe54dqVRvxX5nhi714stoO8KoTzxjgZLyPrWlk1xZIBAyheNPPnb3D7f0CDNAiq07qoH6hMq1cz9CoPGz1s0Qd2NESD4WMYXrvNf7ttdhDOgLxFwHJySt94mhOPPpKA+GjW4Jm0z1u8FyhbwqdvAPannLvKA3vRKqFH7iJUXUN26+L99W9XGbNn+tCidie0I6S1SN/wwZmZU0zuYWgm70Pe+JnOQttTMqFD/ZK4oEvCxshFzcPO6VGR27W68Z3qp8ijFdRMbGTGGy8HoAkgqR+6tXoUnXE4FghDzgtxHEp+0C603Z/JBnnL6X+OsTmwJoyIx9OWTWJmLGQH1WE2lY9AUMnbOK720oh77mqXIcUTpPl0tUX/a5vdFMytirUobjH4RaXmIrunDUHq4L+juElz219vmZNfbW6T5flkrVv0e8+XQn5zBi6pr8+j1VD55RZ2UQs7X7qceM0nedK9p01iC07NZljFfNK/jpeu54ztIbNfH17XmoAd2qJw4oawr8TOi89YZV71nMveIFm5Os1YNEkpAsGtm4LGxBg6Ivsq4nUH9vNGlJh3YHNvJU2VZCANGg/Euhb6iIH1fjfYN28N211KMDe4B16GS94Q3jwv1oLFjAR6bTKsXlEspRnCujJU8stL/WZ7YmwOZOAYVR44AFOoybs55JbvP9ZNKet/IwHR8DjBmQZv6uoMpUlLYgsJU3CL+UND7ESm1PXFttPAnuKFh/EkifDd5ieJFCZTpaAX4aNMPDmEgme7wr4UZzSfy65oCB2/CGI/DK5LujwIsFmEOs1veDuOQy8096wkA1lVVF1aknc0BEN843yZwXrjVRPlMUUzHMSk7z2Y4wkCVn3QfDQwhPCkndDSAGb7zz9/gsWXxtELmRvgeQVrP98sX8BP24ktocEryOLH7SMHqVSg1r+xkTrXjc0p0X08DRszaWHnNg2quQuTDTHHXTPKKE8H5SPJ5GT63qAWH5ykN5ANr6XyGc0+IbbEngsGRt/3bysRg3Vx9E3svR2l+QLrnTzNgCU1BH8v+qc2TVmw5vZc7oZihiOET/IVmdEySS1QAsvEXISvmNGHKmPGKMKRdtk1aXIVIC4uWz3OI7mknl3sIBGlWUztI84K6Uq1/BhqE6oNMXPKHKUXSMMP2+0wCvYVBjulO3g3nUW15VJf5b3qq0FoK4I/UjmQRZVBfzNMt0bkzaOHBVDBwOiuy5tuQynBStDEAmFYQ3WOJuby47lqc8Iu/4VjFYPydJusiwct+Y7DKEiK9wCU/axPo7klhsrz7gnD58mnevLSz7ePVqAdkjcHXITr8DXUq54jl7Q9tTIyQulcFGbLpdPEFztwBV+lXc4ItOMwyoqs4wT7AdqnW/cOjtHmjc8adj1kYvKx/ofG+kKvSRHWZCfxK5NJ6pSsTsyPMqbrga0PdBztGHSXNu0Ar3mXptdy9c+2N5ymW/Xt9m/13TDbufjGcg6fpFVBGK97m8ki8mZfmYx37Hg8TB95bvBsVPj9gWHW23sTyk6EZvobvJeAn1S2iStVkrGKtI50XniyamJLPwE5Mjs3S821G0Wn3OrUrfTmuXrTWNpTB81pV1PBPM91jAATaTLPdHxvoV7iLgfmq35RyzcjQhkI1gXD7Pn058bbPFThifnFU2mua4xdQZ5y2zvwI5QkgOODIsDrOiKq+AK4m8YO0xe+/0BODvjwGasTeBmvu+EFHorcu6ds+mCmNxZf0hj+IjVWEsazgFO/eQLtBHD9hgpqj0uZnKPbHZXaUPmBsBDWHdn0ybJMUrE/Ht9fXtUwzgwSfFLxWUyb2IYPZpH2ar5XzLzxABZjVNZMCWEp02GzmatZQlZflo1ooDK67H+2rE2dtESYwn2KP7oW8xSlJIejR/pJbAntixy1LAkmgyYi/dHqmx4w1eTz/8SM46FoAMXuK4Vm14lnZD44ct93r0iqW6V+sdHbEXDP0sYWmKIFYsQXqd7mDz9piZ1q5qzpWvFnv9QSBxD5WPvgBunwESwpJjFrFUsFIhDAPJhOQxtY+v0iIT5NyZaSQ4CzWh4ashgw082onuGIKgN9wC5XK0ONT7j8sn63QCV58TqRvmtIKpK6dMYe0x0spg0bVKBHHfPtj1tI1h/pu4qpz/dnuhGdQGSq7k04Q2jQpG+nObhjvFcBV52NS/RUr2PL65AbI9sNPUpVuExi/rT/06ieFBeiX8HTWp2Gg0OW2JsFhpYwF738b+5CMO4mAkukDU/EkL2boaC7lhUiCBQ0VwSr3/ZkuEKez/9KFYQjZiIFSYJ3qz8OzBZsSE79jZfqEuypOk9SFVShCB6ssp+OqyauR03VhMV+pNAMn+F7474fgE6OGEPDt+nCmKa0yW1+6ERm6kE7ePgzc7g53wa8JgFNEaySmbwGWT5uAciOYyhHDQCfj0TfXINAIv+z0xtuBx7cQTU8kMKMAVnCoFq9g2LnRAgXXeGBO58beW5DdYb/NEVEkiOMDmlsZktG9OMubdg+8+BQ+S5E1jwhrcfZwJ0bp9iKJNgno5K/G81lIw6xXnFGxOL1SzeVLZjNzWCCSb9DpmJfoJFmWLsxUOTcFbTsFKWP+g/njogaaUMpa75pL3IYuGmO4jNd9VRQZjwzcynzVaB4jWXdG7c4NMzJtJC4qN1rMolUn8To6eKaGcdBX7+7PWd7S9VlG5i7EultahGQ4/ssnd0d517yi5KlaEw2v7WE8IyGBzk0DtFn3LvdP3I766zcnkrZVESkyGpnFpgsEgiHcVnYlP90ONGcsyGo1HpQvy/Z8TdRoygMIoSFbozejm0W1JPgf9EpdZLpj8RNOe3ttePM99ID5MVg2U3p1fbj3XI75NqCXgOEP/2HSJ79EFkLto8waVl9NrihQLPO+HRiEhrcnA3INhLp+RwJBFNbTaYeZPJh54rRzLdgSEih3zxBqmtZ1lsSU7CBvBCohpRCYBH5NWRF3PRxDSLaxx/I4X/1bvon//8bs+we/+ADGIyHNDJRp5hyvmLbuOVikLd/O9Bixp4REw5uXEMQ7QydJe7cUh2xOIHYN1g451ud8hgKX5XlLoi0d1ikstqWxlIacT6cpvQYWu7fdlfi9fnptpm3BCbZQR5V4hfyqWnP10Mvh3U543+406zLeEMRa5ziGmYNhdZhAOBq5HFQqYK3QeEZ3SMWSd3jpizQr0QTJ+iBwZMUQNEJVRHKgcJvZckk41Zoy4fGxIDWrwIwoGt9c7/QkWabaKw1Gm+I8JHzF4T6YlBvHQ2i7WTiQOzzMhxYqmELgk53H8QDvdfW9k7SYSrWQkWBxU75wsICAbzBq3dKwaR5GMIC2BAhqR+IST7M36G8LF5SKNBXateuxbk0TWq8b8RB6X969Mmf2T+QOzDHsSqI71wAvaaNGY8m8lj3xpDTsldhMF8k0lzXKccgu4oplBnx2qAX1LeO/vnovjs7joR7WG1dEHhNbCZT4ff9+KfjuMD5PxaAC60wmfc2jK3TdtxFe/10dOwqa/Z6VLiMUl6Ta8hMrjpUM4eAH4my1KJ6pCLzeQ42YWYpUWPA3lYo40ab+blkAhY4h2l+kH2XJiUwJa+vXKbhSFOic8VcJ4AypLNijGljTR0FyMCaqqMPiV+sRnIBLpORmbnfSDqy8Q0gD6q+JPrI7Bro8//2ZS/U0NEfQSm+j/+IjqeXQf3JN36y17/9F+9DbWPKYDEEqyDALS5lgEqmP1A4xvPKGGoH76sYdDixUOaek/UxZryCe3947rNyakrLOEsCJs3voOZIi8tEXrJKD967wE5nhF6BHHtURfJNnTEpPwdDWUKMthFEi2WNCwvVsPZz7uWVymMHPPPyC7UF7ojblE/b86Er8HU/CWUa86Zgq1YY69Y8me++Bg1BweGk4p5eDJkNaJruqcfC9Sl1v7o4Tk9qAUeBmoSQgNiNpnsZtGbotLwd2k3o014j9mH69IJMx7MdgIWzmc042R257YBoeyBjhEqtviJKuxS7M1VCyeZ3zlSz4W9HGPY3R0s+ueepui7XruEDy2Ij6hQRxeftCxm59baXNVGfYKPmYRZMxp/rULM6NwyRNM1wO0n2O/w4dkzswdag10KIjbdH50HB0wbsTwIHdZy+vgRcfgCyPQHTj/ftZRvZmgbveABkcu/7MSlJAXUnmGXiwsUyamhtnIzW3GxuaXoOW7mWrhq9lholFsDMq/ytVeCtwwlsGWIKuQ3J1jyW22CdMOUejpgzDpHKdv46jFGPTkew1fSqXg5eoM8GnUVG2umXe3B7xpER0Po0uFul8Q06Nx6DB2hfov/0++MwQRXHhv1UUZDvezlGOy8DoouWK9x9cnROWU+EdAEJjVXwl/Jr0mxyiFDGmSAkTueO7PU+RRePFq6Blu05LIRur6FcQGO/Sf/sFcz8g1T6wYeXoWNxpWEOwyRHnFQ6bGZxQEPCmsGYUf8nKeUliS9mYAQlD5jFtisVecCWC2VjW81zdTQq9Gxkt+NHKrQSySZKzlvzq6wGLoz9K6D/x+mUMUMTLbvqkpdBm2OYnCqQHv0Z9LfsUM2EXyrFHQziAGlVkv0Gf8wokVADywr9KGSZP9SS4Xo1JKmwGuQqJBDVP6E9BzvCsFJj/oGmKEU0R9cILOMtoMsMLbm6o94R3Y9O3EyqkLsENhPF5nlJe+fZUlR0/bYpOeW/Bvy/cVxi8atj7aqov9p3XvX09D8s9Qls2+INUj5OmRCNOPyM7Cm0JV8DpdtVgbPTwWgUvpX69QVWbumK1MC7yEkHMsAHKGUXN4h8hGC0C8PWyOzcl0EXj4KxYMNts9EgE0+xiUCIem4cwh1ttQ0Be0b3t8A57d/tO/GkUUVKtwzzdcSKm3ymouoJRNNWPaIt7H9rDPnmWpFvNqxTkZLaSgmZJtsURtzy7EpHhssRs3oPMufkXLvi9EKnx0Wm8ui6b5KLNroA48Jp6u1jlCoX4SaP/FL/LzQ2XZt2LcMfzX0UzL8D213VmXE6KGvlpOHnmg2OhjOk4t2GzaVNvXoL+YTeypqQXxpwwR/SRaXwxvV2eCztUvoIzEkARzXysCRoZYfeRy56LFDT9t8ixRGv8fcphMhoJFD7EnacE8x5Ou0b31LZU+IRCed48/V7hutsGwyRVn5gOnAjotu/X06ns84jrYUWrcOdfZS9jxEgqPmQr1RkhwjMjz+7eAYfjh/4fP9cfy+EjGg9fz6jkQo2g8TZ0POhsK7asNPSI+GDp/Sl6yuR8Ijg8dRX+L3PC0/ViaXHDJ92fGG8/QVRsVebTR4i67cUuniwYv9f5yx7i35tgJ6C2Z3bJfGehRChl/++9XINL7aqDwEQl5Fa/DfSCazS8Y52Kn0kmFtAp4BHhoKfyl2/0/xCzYjxiX/Yu2TxPJQQsm3Q8punNnN4wARgfr4WHCb5iFowlirzSwJ6NHCFx0rJdhHcT0nX4VR8h4UHhr5qIBvgEWChZexxw/8yhdZ/j4aTEIvEffDEoNunS0XmAbQoBFO5OyGH+830piSVsp0ikYWQllHkppj+Nbxrcrb0jEL+TKuBSQkWI081bw8+1JCbpDpW+UJPurVCHEcHBAnztmOjup1Ptuo0Fle8KVj8qtSNDOEpirLYZ/gs1ls7a2Dn8//gWqlVhiazuH0E7/w3FFoFqEi7E4Y2qAr/pe2jw6Dxdm2l/qLJh3e3cD8al/jMBH0pQYGpoP7GR4JlYDu705aA09dXItdLwIXHmqKPd+tbqTiiOpYtcBCppmczpvIQjLXwnHgPe6RWONuxsCaqpmOZXFWRoepmHfj0YqGvtHLRtmzpR1qXMXXQZ4SpwIV64jBpuZctUQYMcKeBJnuSNLR3ZLYMsdYEBKkKR2v76AmswhnZXh6ii668rPFMHqOGtshuyb2q/wUqiCzBKr0YOo+z6f4+3eJe9NtyKzALRcMebwf5kwTdTa8wq3LDFHGuljgL0ofBdB+dkton5P5ReWcPjCQ3afuFIyMZQmMbMIoDRKwVctcHQtOeGPAjW18xEbP+Ui/SaZj5j/MY1Jtz/b75mpW1+4NzcQy3I6s07vlHUDq8M3iRu81OCtIMtJyAJaOKcNmG7saD1/EK0vS3DZE7HWoW3TV8YLAP6L/5lq/ev1Hr1w2/p1HGPbBj65rBwl4DM+B0r3cM3Rw7tMh7+1PeUxAIUZqyQYx7/DsWCe6yMXNIFMJx11d5zwpkOU4GqazxcFAnbnYFLIK89REQrfamDYu8xI/J8Lfdpxu719Nim015Lwslt+YF9+JodKnRwT6g8cwWs/BgnYiAACHa2lFctp8jz/B2uTcGDCBx9kNIXw0BorxiLE+19+xqpAIqY/4ukQFT8JgJE8jL4dFhgav0FIGI2PDoufzvmDzgGMAp9GmYPX8Ep8sikKHGTO/Ra+q6A/Xc1BNytwVgVPWVwE95kG6ZTknW8lp3pEejZp3L/9sBpiIYX6KyP6N+Y1JIV3GOjVlXISrZ/gmll8uPMWdsj19Oz81BX62kgubgDCeXnNBdVrbp3D9oRo228TojFEfedI241cxCvcmOg/c4LJkbR+g64qtr2dmy7KeJ9FULEoA6B9Pt6sKjrRxkDUzBXZbqS2nBmaF9uJUb9IeOC73Ec6Qnc/FmEC06+1uCy3tT1R7FSG9qOS+nEwHZAKnzztwQt9dPKEE4b2dAFZK6270Zt6jk5mOIvQggHcLstFhf2jwBMLJ6aX76/nI3BMIYpi37/tMddiIv/xnyQ2k0UXTtdgZe/9ZdzAeozkseuvWynF5IwcPHuCLBafXNgYExFOCvvF7sR6ROtvJHpgA4gHpjFreL5ZHZXP9I92xAdAilmhEbgpNZMbOYtHnAf0KpgUhVwZGNvOkYui+zA5LlYyVQjGGVtUXOJtQ15YlRR9M7cadhpJUexdja2l3UyL/O+6x3qAz10h4F+U4/9Pd/PDauc6K1ghX9xDacDG7sbQOaZB0p3WBOLVBHvFlPEK4hYS+wLi9yAqAIx3tqqJGNvz3PoioFFR3xEU1zj00/Tv0YgWPxd6hy+slKEe/iQQsn+UzyVR9iyvriW/IrB+i8PpgN/rywYZ+nv9wZYlypF1tEFS7MCNXLGevAsPrX5xdZe4ubP8x2vl/sDahUYuoyUATY9rFV8mQFliHOEbw17b5kyGkSmW7byVuOSQXYK5DgIfA8T1dPTAnr446JM9yeUStrqWnewirUUZtOTXXzWpkDVKFBfHEpclT1v9eHXvCjT78/MeSRFqmZutkPFCbmDf1VTP0GQYPkRiw2XwkRwhFiKHImkW+6hdOGzC/mVHWvbl8C2m0cL1fv7SgK+JsNa/tB8GoGWUgF3u+9+Xmm+FpWskY2bkvdvAFVWhUnCdqEDb4jrOLVLOmGREuxwCJhO8PtauB6iS7puX94ZfKH54JoCcJ9H0s0QjrLWCHAO3gSoWL7R4QP74ZY49cm4Xxhgq67BjjdspTgTVE/u8VCncu/fnwzarPpEnRroUFVGd63GODtfO/Au0AgZThezgZddkMKiJJ50NCjxceWq/yYBQShrv1snvr3XJ5TA+Drcq2wy/a6JHsGgMV/OnrYX9cXwLxOtK1n5nzxXXOKk6xIRhSaZvIIa3vDQysmA5FZxWgrOpg9fMwFvkwNu3UegnwvFLietnh2lEuJMkuWDfyEZBgqM2pkwCheOaiLwdtFeUdsGwuIxYm9D6k72NjZhr9RuJTB+ldA0ejvqVXNMcyLjobrtJmQYLyFfLzMtNc3zsU8Nic4y5TUayjUavcvxsMESMm2Ec652fpB7BWOWiMHselGrntcbFBdhz62beXhnEcpoX8/A/u2Qldv5l+r8z5RgmpOrXy3nIl4qAk3sqOtkkxOw+K3QZzTfVmplJkGEeFjGRJMS/dX6mJHHxbQWTYD89UqLGgheXgkINLdDgWRDq+u9DjUlMOy7mc9f58scLOtxJziSqoepVJhN+ABn0Aj1aAxO6SQ0B10lHUmaqKo6ePRstP+AFKYmD+c7cQFp5tteMD6MUPAcxZcMwFqpCVhFwPntIihgb/RvTdL5uB5I1nZ9Ye/u2A0SdYBifaQ87FN+HjnIEiy8bDxNxMmw2RII7gmRf117RfVDCkx1Gc2gNajUQYct7Z8Zri3+Sitdq5JiAYtDVntn0MMnZrI7edB1GDek3DPq5nShwMXo2zIL7A9HPOTGWV1m+a9G0QZM39IgrnHy2ogP0LL40UzLjPdrh2pltA4xwOxfS/Od6EjHC5ZliC3I9oQTI3KeB2y2wgPe+XJ76W/eVrpVbwsxIjECxJrEdUjfhgiG5JsSGFPgD/W9hoIeMTGKPCm2DCTOWVZsZbFBtr43tBIHc4hIN9RNa80cUDyctlnjYS3lfhJ3xu3xJxpblbl2bYt7umcpuSgH+GwSRuCmQAjKKeYMbPG9XKuFUp3GTFmEQn3F9Jr/6rcFeDseTN2kU3IQhbmVg9C19ZInn21+QciVJrqKOf37zmWrZxAje8jW0znTiT1dd4IbCji/Jvoc8uoJlEBngS0ZmlhMZfB7icdszPNgUFxlaNa5vObFaJpaDDzcvazOmthSQ4b4KUFvAIIhrVmo/gFNN51dxy5SCXhtkdAsP6h47CFDEkb0C60DOuZJoK3XqWwgVBcLuHgZnLlaG/EEbKvkgy77V7E29N2JQmouYIUNzGLNB4nHejZEOVFEDBw5JxuPnhHkqRFPGbluNLDI9rbq7xbxq3ElVnr9nhRV3dXQ1grbTZF0bBgEmg3JtU/3t51PtRZ8QsIwoGZ8vPN8k/fmZ1ytUrwPOHP0Ju9BPrDenlFRkQxNqnxl+NeXaYIuWdaMgKcKhZ+Fpg2a9KGNQNBJCkckm3BO9zUBNbXFIYojKTP7n11jjk//i78YS+Cl1V4++rosNOzFaNZPCptnB9Fw5peP4u30mux6z8zD51xdlXz2VTzvMECG02Xg00aYkF+26lkUZoxPZhKxvrEFOJo2FUs+1Juy3Cov1lo7oe7Cp1kQvnG9BGkFWUlLqlBDtjUzucyyxqaBuq4Xv8shdm9P9Bmax99zj7pIgAj9/kJ72HXtItH+3vVqXjWX0zeM7qirQJPxKvGDpXP9WrcxwL51yltpmPfULsDlLx+nhpGphwUtmbldSBAxIh9Atr3d1tXl7xURCD+MiAbZmvdVPFEwjuo3JowkAIO7mrUiMusxFxVMzVrzpMz+iPqWtOPd0L8ycY6bA8bYvGPMS+8bGen6oBa/W9qWKWKZjfYj4dknveGNMiKXmqfsVg+idBe0ZxunLsx0DVJC0jhWEvfwJh+2yhswxP9NUIyjcKOy1Niy6Ag7rMYdMqg5AQBKOkTO1fvC1r+pqYmwHb4LFutUda3FuskgJI2QzyEoYZq9cSGHGLuUfQT+wXqEsmfVanDjNhyATBwLt2OxTCnIdzAEkLHGMfEoVXj/A6BUrb/CTmMX9k35pGx98CyK6C2rcv75YbavVsvpjATQYW+fA/vaXgkqFagFE0Jw7y/B2PK8gtMcIvGJluN/Q5HfyZGUjA28UpOigYy99Y5+IVhPa9atopBZsDauC8J8CctodFS3oBfsC90dGmJtuqflHLl2bqO4JCZfd3yr3qNFL5l6nw8Sea3gLXyIawhUVxxbdl945/KdP3BsttkMP5cqAPAT/kj2HI80QadPdtpT7S3xDX6mJaJ803kAHfyyT16NMu1FlZAQLTQ92XG9fpJQ5fZ++9qwax2/Ty3XF28h3Bqh/1tGA7csRwgb3OCGE3UErdznarouk0W82jl8KLWqoHLdDH4suFZC1Vkgy4F59e/k/ewzzoDAx17Cy2RgIEwFvLu6XQ0PtTg1PeMiNxTWUWnqlFD6KTyYdgemcu4TZvChiFG4EgiF841SntUkhBtHbNaG8ILU7IlNclp6JMFzodZaAxmN2nsEeWnvE7OjlbooK7MRstpKiuxyrCMwPqRupC/Fk9ktz+XtEKgUskjqK6HnI/8uJrv/CZXOub/nzHQ3lzfT6uev8nVJYWUWoBx5m3czFG4IJy/i3ofBpxdnFuOJ2wJjRGIsq1oxWH9FOmjfnFmLULUKzrLeT2HCHaGeKg3/6l3wAylW1mFqGnzAee5S2d55C01pi64RyKM2m43a4qrOVHS6vRVLfhWdTDBGAbbYa6te+s7bJeygizGD2M4FMIWPTxLGOtnCdr0PgT3pDBu3Ja9tn08i6j3OQs0KFaWlAcfAIlchL3JMrIQFcxSUKswhPiwDl066LLQ03p4rNsQXxxHjeo3Oday8p96ZKzajtd4JzNRncWS4MR+mWUWVM0IGiav9PDf0XXdg/9jk33WX3Ec4kcUlneEJfnBKzcqnFVkriwsPJdOwE0SsPVKDasVWSOVi7ysvZmE6Z0FJPBWnq5nQ0u1rjyri9HdiT6JOYW0+GAIHbm0urDEzbxV5ODHOmBjRtZMeBqslardIGbSALXTxwM+QLfKdIogRLbmE3rbvmlEPz4NinUgyyTxl7WW9Yd+gjAvR1KUxxJ4R3un/+YLmyKhJZ6zUoYEHb3KNaAoDyE+HDzDLJuIkfTM7kjO0mHAmNodrOqAydIFSae3dVlCxrHPO9eAGhQhEz25bMVUq0E0fUGAwu888SJQVbpkpiTYDoTBE3BTlJfxwILGEADYDcXu8l5UmLBn4lyk13+08SDpIanWUdf3/1d+KivkkT89FhWZ4s1/VWWqYfO7hrJlIPPo+PrPKmNwus6Dhax/D5zxWLBhu9aVbJqMH1/RpZ2rcNAICKkkmP5G8vS5+6+ipqRXZuu3q6rh/X9da6b6UHiyuyg7lJ+b7DqK8k7H9PN/+xKw2+9DP9vLmVt+YY/Nv5VL0BdJJ9kliVGMZs+Sux1FVYczBONGvo/RTAHEyjwlyo22GTSBN27DZM673waewPWq7pN11OuQ59JuotD0KZ8OjDQc1KP2oN9dOWXHxGjdLlA7qBUbf412CKgY7V5JeNSC13XvYG7nzXI32oEzJsYrh/lmSVzdMYSqpwV30Iib633c5MDoRkFQLiowfFOLcMXkrRbU0nNNeH10RSx7N9mgU24SJjMIHoTaxLc6SpJxOB+laMWJlWJ08Q2Yj/ujl77kUOABk89NQudTk/c8cUULABg6GlWTbeIxNc2ZcarP7awD5Wthj0l+Q4DKWKaumEEKLIJGHGwgbcTp156/QDnNFr+qzwPHnvhW3il5vu05c+P6JopJPwKa7zBONCQCEPufSRTyFzUmYYQADemrbIKnglGr/ki2iqVAbujYvJgbGrZPDXy16oQKujjPhOtlCDgvK0RUQOseKwScZcjzLcQJj+HPQdzkPleIZZBtZFrOjMKKwN6qpTql0glkVV9Xh+tsdFIACXAdEUL7Zn3vo0pYStmWOMjcmXwUXcEvAN5PWuvuPsFkD93+ZeuBPner+D++rTHR6uUSqKx8eDpIc9mVlnyi5iKkzKOqRKvqP4Ln/hREam7zeav+Y2MYtmgBExBdSsR07g7UUcMwGqS/BLNkr1obh9jknJNa5GOuj7TG7jPK6KxfZHswljER1+cFHpC5Teaw0qv2Wke9I6oxNqn05qA/VH4ZFMb3/5u4jPtpm7e8OWsLfKOwHJPUqAFvCGaag0KnfYf/3yysQOZ1Ilw0CFrBYrGychBSYNq2YSyHibTn6rJBKCa9x2JY+wccHVHgi0DgBN9PQrCb0Hhmey2TCVNRcifdcKpz52dtoCWamV2FxOUjxU6CbAzICvUR0v09EIafubNUnGoJxq+DgFbNm7ryrYsyrVN2MMA3n4oGbIwfvmSq0Y6RXBCVmJKETJJkrU3zB+3/ejwsTR7OY6hTm1uIMFmALfziSJHuCdMoYCjj8xF5qkbxx7/CwtswR3JDwRVV0CnfW60O7lcMJ/0qryJNbriNqjxrNxXOCWhXejQbVOA3gTO4wpSpE18SypTtSUhwFI6b0SupIDl1EVbqwAGmUvxT9F4yOCjBn3ptjoerCClfOlbXRQA+YhqkknT6weeGScMrstJbbj9AWkdqIJcQTfhl/fP/DhD55ujFBR+XGU7qEiS8pGqUSg46zfB5L/wwrzDF2X/XQa/DwZbO4kMwK+JY/fvfXwSfzePUnamkx0i9WmYL/n8soWmC6CXxajC2Y6WN+PRuNpJehpBzajtaaVOt4k3y9VHuTRbxL9znT29tdtroMH7KHFUwCyVXlbyaS4GoPpkk9dIkcPWcQ/BPHh/jMOuyQg74e5qPjWMGSOBgKqUE2iYOrBTCI3UieWpreHGRWH2C9jyj0zPnOXsAFP1RKMWasfVdeFg+eHkRjbj3mFXjgdYa5eW7cJeCoYQMnY/5J8dX1YuEvwuPztUwdGzKQ6De9MNRlpFU9Vn5/gAKhEXQ7wldXGbb5kUQ1aCmknhzIktwM1Udbd8KON9Yc8EFZwO6YMg20n4yPGp57xwqTWWK9tSf1B0fc+GB7WZNRsTCmZ0yQk8SHcV2fd73JohDK2uerKKfpa05Mzw/fnFX29OUPj2k1RQO7u0RLNsolJc5oIpmM5ulfd9IF3dgA6KNeKTCIzmCz6qHL82sOgm+168X9UoiK0qtGig7LHr0yUTKQ7cMCPVKOkVJY8Hi5/+sf5mn/cja00lW7bHTjOGhdFzo/FBWKNdyvLPlrjNOpZB75LD50M+qCCpjSHZUe5UZP0ZLa/Zu9Q9Ts8kuwfz1aJV4qUDNrlgdFklGS4YiCMB4Y61WUd909AF6w69haJ5ZVrg01IZvCQj2tA9NvNMEJPq5fN+0NPvLD6a4rNWKwzELQA9nNI6l08+vj6LWQneQq1PWVvlV4miTXR+V1x0V6fZb2qBR9QdrkSfAFJuCSawkFDlAxBpMemOM54SiO1/PNnOX65KX6C1pdzzOsxO3AF9qrEgbwl0OmU1pO3bzg1SkCWShbQYziE/FwVWf0WtfN+d0+MUvXYKOF37D6bNH+bMw0w6v62jX65V0KKx0/a65mOSvVWd8tS6NVBeRvmKn+HAh8Sa0a15MzLflziMbGPoAeNDyMfJArT3n8rOL2k5sViDpI92Bu5WMMjsMOAg5/85f4ohijayKFi5fWDPLeWAbfcft4d3QaAtIujW5Nfj4YA8SKPnDJZgILyGoLgbtejCUjDowhwVBMSaFiPJDdluBSnK2hyCNqIZs8ngaN0XywAXk619CMCtBv9iaNSFWrZkrA1ne3djmvU9moI2k+dPlT0xJy3jhG+XzELN05x4RTeszdnxA26U0DAcBk/CR+gwhVzK6Av0l9k961uFBP9KJU0fk0S+2UEMAF+Sc/wWRGpMnUurLeL4GrdOAa1yBO+3q3ClyZAiifhp3gvtkXX7f5VFal88FxWEDfuTGIYK+Ibsl+74dVq8oFgWqdQmUWvFNbfiyYNAnXJrfouNnS3POk04jScomauZ8ey/5UGVCTiFEMscfrho09CrcWfxm/UtV/xfYFHONkC4LuKPmHWJb31vqaSImtO3ddqHHMpZjkQsHFeOzF5C5fkH/+FH56v/zAB5BToQ/Ft/5iOtLd+5WuPhe+KBHa455B0qSjdFDucD3do57YRz1yHRPn8BKGP5JTQrHQ6zlLDWRUexfpdMmg+kf+Pk6uPPQ19HwTkL5dtUVFmEFUwT9lX3IEtnez42glS3LaVOAOqYZUofNofFQp1gu4DlBPxw2LpOyywn7K6FSPMghfWq1oglPzPnmVL6Ohqpx/veMloBtS1r9buogNLKA6eQ0yqVIFZvVgf+Jz62f01islXJc1JuVB2duA2AwQ7jbVTw8nde1xy0THC2xIbx5uTOTtNHhFIwVbYgreAOuaC8nHf3SH0+jC/kI9Oz7YcGV0ao+pnJWE07641GKV2fu8R/1tZl+QOo5XG/lm1iRW/UZDkPMdZWkiW94cGL+frNEqlGBsrxF7eLOWww/iqLI6DtVh14/t5xCEJcrfqUNVY77QFs91qQEfBM3QKK93a2iwC4WU9aNp7kptfl3QcxROOhJzTDYUITJlcLfJCoQRI03VXdHBbNQrCEY1mhDODQLP+ojDuia6SMkYVFEWJGxW0qd1EtKetaieniQa6G9H8wSMCO0QcNOCqDA2POiOnqveoNtuR8IX8slZSL9U/jEAHGaiXyFU2ArfdA/q1iAvvxzJl6E57/Ft/eidyIX4j/3087uYVZvXcyk4eWzVVaRJiWTULxHw3ebHVqusx8UUTGxf8a8UaSvV+4sJH543Ex4D92/+d9pGnYC0MP7T4LLOYI+9pIR3PyO6rmEp33ThlRqGw/uNIZvNGXfA+05gUx/ifVPcG35NBizUktOLLSMUJxk4xYr7Dbq/v3L26JLi9u6l+LD7gHHkdB+Ny8//Dyx0w6B93j44YsJF/E6f/TCQU6p/UXKdqjPLXGzz4wPTFRsUDMcl3xcgLoo7T+JluASJ4syV9L0pkwOtsAzO13f6VRsxKmNBMXC+EGoqxV4ogsIqT7lUezRsF2MO6mNBQzElFEIbndd37rlF4GJKWN89yErs7r9Ca3tLJKrDifeUYhTBSyjralEkXzchQC3w8xSe3JKX3z6r9ugFqTy1T1VYoyRsDDJrn+9/dvIqv0oZy1eJID9enp77Z+oQ+Btx+yCQIxEWUWO+coKq6741FJhjklSMMszerh02rTqL0HLH4Hqtt7KQQ+e9MefA0MxdGwYpKmdyBZYMWBa7QEWGJyFWQimPtFfvpUSSy189qANBYptA4jGW+eXMUr0HAbKS9Qio4CvWgOY6M0HZEImeRXUtFyM9PQE4P1Eigb1uMva0NaDPuVqh0JpQKBQZkg0rhAPgw223ksBFXpobWTRsz19HkCY46rjDmHOm+5tkGcf57T3ZRTOoJyjHcCy7kRCtokFKhfvsKLRSf5TA70PA8L6jF/KaUVbwPypPTy0HrUiC+WdiieUvDWouemUFGOu96EVvJOD1U32lL4q9NpmjYHpWKb4B/0tEM6sjCcxNdgQxZac2a4ieN7+qgLopzQGMtavWE3S4u4T1KNWEVt/kVGOpgPpHJ+srJcQ43Liy6cEejO1btNaEnkFm/Kj3N0Pdmma7lS/TxU8ygwkqIbx7A2MsSeA5L6EyxHfy1crixiEONw1tmKaXh9n+SJWG4xkqdOeu0ZWZx3Hiuq2BICo0E9IUMx7q12/zOiGvCpvBobimHZxpiT6ZygyCcZpgBfe2DQ3+wOmsjPdNYBMv7XCUvPZfCSxenBq9L3tZBOCgEvTOdlMJ1vJJtsmR7NluJlz6JnMwrzogyFUabEuvggH8Z1uQK3M5wniBpbhwm7H6yH9GbhYZgSyTp167La/DGoq2X465/isuCa1Wxf7J9JQWm56WkYrOAO2sK/gtyJuJ5xRc3K66w0MsUoF8jkPPC8p3dQxUq1cnJIShOQ8L5ji577HeF6rG/gUxJY54ri+/H781YOOFyt5GOdytf7gLyAbAf5UUnq+1lq6zm14V/cZmN2vvwSLWzf5PSdGa8JsvGRaigLFv+yh9lRPLludTlUo0JcWBVWo+gei6hVxoi54wE+qu2JeOTGvkQXtKf2DeOBf1uHdWz9mhaGPQwb01xj3AMAcLxLnJy/ueXBYz1st9p4869zLjzYJufAGA4i8098qwyVIUY8sG+L7HA4/x8aZGfdE97TRaccuJb9D1LeNbr1RxKYdc2YzphFxuVjZNhW93dZVpMXgwYghevGLsxestxbTcZkHaJSUFlepVn1SIxTiTqLsR6JYIfELEbBBEES0vsFHW1Ok/1rOBiJ5qBc7WiFGnHEUuWi6mN6RIy9gVnfy3u/RYRQ70dKfU+u5jYLf3L2Ky89zpgFboVaylU/L6BIzD2jGJ3mhfgMSv7c7stGMWKLxZR159jPWbeLla5rYGltN+7PHBsSnzp4W1ptbo0KqXNrPqbCWgZ+fwXAHAFzX+3Jhm1gzP9AxxTUgVq/NETJ9DNiXVheCHYhiXizTffJwa03LcXZgIln3nkTM4p9XXTQE1jPi9Q3PC0vz/2tWcsWNeJKhStJdGz2yGJuWtd8CwTJJ0i0MlfS2Gsn696bt2xVcpsKTEJuVgt3rgwjR9Rh2EuBqtQSUcrSxmaL3qnXu75zYeJvpk7k+BPpGjo7zJ226scczc6Nh5k9dKyf7ZOHoJLqagRz9oyLZwtNjorwNpAnHDtE6drT9yhWcLDQO6zVvvQgy0Ir4RoHsz2GpHVmKXgxImOEpITLE0FB+Gs3d6DW4LivoBmkHFO4eycuMueW919H+Q+3uzXHeFeErtjYdY7oI31KVmeUY1ASFmmIP6+a4hnSeB+xTAoRIrTert/T6v+uMvFG7+HbboOXSJ+r/J1EVcV59cLLlndtH5UxgReigGdftAhvAZvjsQR6baAzkkj1PoqreclvTd6CjIMeIAg6rA4+B1iPHGt/TBvcxNgFDJaxWRdSawLgHjfs2L/g+h0oM/SgZdzS5MjXoinNowZp5BgMuRxuOdMYN/YpW126j/entT5OUHobhjaCKRYTofM6k9R1fDi9+qDXUeSIxhF0moIjyy3U6HnGHpPP18ZKC8fDdoI0gToThVQyPFo0El8LAiipYJKLYXbhHxvGhScmK8LCcGAR70Z9dE/apGGyEmVTtVY+6Ir+p+DHqeUp4aC/ZE1q26lO9qwEo8BibdCR0GyBJlpb5IWvtWbSyU0RHDpwrnGdsf0LLkMjRYI4SU0yd2oorc6SvDPLcH/slS2Flon329rLsjMOCMhWbk1skvCz9dK45dMz8RmFjNJOeA2x06MXJP7jeNLrtcPfnNr0QTdWhxnJoPjySPBvACzCWNobkiywthBf6sT77F6vypq/Ut/Ln0O2o3BH7qK/hjbHdWMomKbKTRzQVpPLuRgMqBRzYRxk7o2gpoIywyqTG2YdLmRrwWbkXtxvgC5m2qBNTsK+Q1F7lLGRIgNfkSIcz9ROHY+R2bKN8AYUxq+8BKviG8ZJl6WsBBpuZ3gf8pXVhi6xMXHrE1PyxQVQ8OCe7U2txK+GGn2Oi2ic+jlstQxq9H9Dobn8zCT9BH19nG1SabugvinZpKVRe2/Kave8gxX21hoh5r2TkzE7gbBb/6xTKRDcTH1JZ/5JiQU9T7IK8vbMVq6hO7FpakSJKNgbF7yHhtGY7NEiRS1TQ1L+OYtS1MmaCEi2IgY77OJwXPXVZnKy/d4u3rsQz5veQGMXeCvs93RwZlfzlI2oVqqjfqKgUizrkCtpevuNHKqi4x/SHogop8JZi9nsiPmu7oPb7yLMVxKoBmK5hMGLKUQMNmJjEMaUemARTGKa5g/c1lX1q+BLWmdEUxOTaz98Q3D0vDGBFAxVbJwSp92RIk/dYO2WnBq7YRLqa+/Cd9mAS4hTGR0ez9LdaOKjqEQAfoWFIgp7WGWyMhRzITdFN0X1NFo00gwVpgzT5hWbnkhqVNMCwY3SqCkNn/7ABFsTwpVW9K1jWO/OcjsIunfkZGwFSFgKWHFRAgkIMq5P3e6KGIrLOf9Ow5Etz7hHzleR7tZP3bo4RddEBBpXCafUUquzRaRMcDuWiJm3w82Mtsz8jUQKbO5wcUMEi0PVCB+E2psnRPKOewCldhe3QQ6Atu1YiZNdBG057w9HmuF3Mmhe+rSGksWBcl1YfT0YJQ6la8K8WuUmuK1lyd/fHJtLyKVEcFSf8M+Kr+J33O+TvucVdDQoil1Bz63jY1jt/Cudqn8UcSOQxMKwqW1t2Dz5FsuA/t8yqF3AQyOW2biabpAyjk0RFhokjQF9gwEpzUOGarMrFq0iwqFsnxS+Qgp8cZLKwZIrqzM+YYGvoo9SlXsYMAHP81Cbu0jKzoSI54UA8eV9hrzT7s/gpjIhGsMfRzfyvVwZ6l+FYrE/WS3AxqKSqegiZE0PBGvyVLU3lMVwNM54WvOZiO7ljfmceGfV7xtsW9SFTWLzAmsbX/Ij2DZbY7bII65vOssuM2rJZUMe7IVlJKOjQv2cMXBzkDEkfEFVljb47/KbfXQ/KMtPRMndmUPiIX6ca1w1TiYpdvoU5FREWnBHa8gWzPNPcIoy2p7/55JCM18dYjEZ62SnRpeCKBmkhgyv6LNlLR4ss4okolZz8RE/qCrwmXCsmc852Sa/ZMnOnBpBBXauP70937b6fmvfhwmdKT85QUxbsaN6AnyaRT3A76jpyOVLkXAuzz58owsey6HdC9IxqEMaBjO47DdQUwqH47oczLQflr4s5+5mIO08Vh5d7S1RMHCrjsocOUBhG/IoaKplOgk06TRZrzbCi1HPmwiU29szjbBZsvTcV6Z9nBKh8rTmCw+u77oDsR5eR9o0bUxQo7wM5nGqRFlSKlTMS14egKD1FEd8Ubv6JojXJJq5M+GE6IGF13vKae+guk/ARWE86ByoTcihfJ0+NWKSVGJKQyfjoqvEzI4zm20cq0PkRB/qG3A5vi6Wmcia+2tL1BRYPyq9ngzoaGqtf5KrtgUxmXfte8hs1WerLH6LniC7YYp1ucqsw/iKUVVOhSDfnAubqS7B5cPINQOX1c+1/vifN1tKH/vlCub4FG7qwZjD5b+Hz8usBRn8WesSY6CxncI5yQ873UTxY65xTaYtcdTbWd7JUXiNlyl80lEZYdz9Nlh1vnzmCXEHkEi62VOZ/Ap8qT8ajt2tg4vXfNDRBWAd6vgbw0/jguaxbdtTKzAz8kfX2yN8gMM74LIYfjt0NkyeqD9mKkB8elGvwGqi+wevGabO+U6EC422joFOBhsmSDafWNeAm2k6NWCexn2fAirfFKOhJ+ItRJfcb3aCzp+qh1jNLArkAtm7yHoQ6nk5ulvS7biEWlbF/+EtP4QO6GQspA2yUkBRt2wC6+inZ+L2YZUTXnxqFnusjn1hmXgjp1w7wTKcRGQm/oOIAW7cMX3l2aHazG5PWKGBIbt0qA/HXhzwqkUdbafa43AHB0TRcZBxWoJwvPVeVynbhRuYAiWeoUSFUSkVuuzD2rQUOmOUPDx/8Xap5H9Bl4Mgjy+N0WIXCI4hLRlh3hVdL0UpJs4AZ7F34Weo8zjvTdEr7vrlRV9/ket7Iv2A2Kc4gUerMiAc/QuD0DXY7IeJZlRFYNrCDCt8cUE41kAC2URRe5YaJHg3UuI6EhlombPLqv6IET3LF1vtNZEBncwowDrReH77e/qRqYmPq2mRJqukdiIaubE3dBWKm9dmdkki4PlpzwY0oZrx6J6Axv8cni80QvTUgliNxM9hgUK+9o+whUda9Hxli3eyLmu3Mw5uOd/bpH6bGX4QQnxm9t7O0nPDi/0YMzZhnM6V4xs4j4q1F7tCNMab3G2yGHO1UsUXTCmztLXWwSyUN8ltpiWRFP5GCyRhvpfjOgnDUIGYx3joQZ2GJreH8QU/9QSF5c7Zl8U0lulLLNM/Gx+8VE3D1DP9rKbuTVRnjsU1+sjlwddtLJ0bBUGtHo4Xwv0g8LySO2/i2G87Z/F1sk7WQoYSAXamHtND8+gYjWwweIvsq50Zv+HHT3TLUxwMQgeHvexw7pzLfXfKYLdTluAUlycBXX7GoDkoJw5NEaRUA08Fw5DhzlyzDjhI+L4600dvAkH7fTYybKcDgp0cKvtRNYqTw8xOxGXh3CbB2IOnkNTmH7yfwuqPKhsx5LWzbo6EjG9Kg6hVxFpeAoV9HurNOxoS5i1jnfdcoS1WkpBstXCF5Np4zgXg3obGXqxy5uDCH2jj0t/QgqhL/ugdaRXXrV9H7EqCgKIEUT1c6uvLl2eS06V+8e60PzTJ3rLgH9fcIlZ0+27w6qoJklDz0v9eIHHcAeugWZ0WGUQK9Ep18OVeVLCcUudF+UeDFCiUqVcNgdcHWxrRx0SyuUy8SDiKrQd3d98Lv3nsaRiHjB/bdpuwsB6wkb80oElDRHq8T1/VjlpfZ8llwEEd4AsZcLOY2WvI1ITkXgUlzA4Rwk99DszZXhuJ0BFSRNI3+XROgD3urH2WcTjctZ8Ebevzyu/LtU2udohe4GvY1MBiF624whL3VxS7Z89pxTQOyAL2qVXcmgfMvY+JBGTaJFGqDwTwvpiZz4Xw5lHcQrsQLQ9b6UrcIUxiGLr+B7e5jfpjwi9qY0K8kK4e0xLXS3RQ9vzAF0EwvCVqiUJquiHC0VW2yI8DnRqZINxHspHIe0QB/1yx5SbroyPG3Cy58DXo4BQaSJxLltGjyssmqDZi7tmMv+acQlEbc2FVfdcAQfxJckBtdIxdQVNVFVnFuWlNzz5UY0CMPoRWXK+Wn7cTKboAxLSjxUMdSvX5ewlngHwOlanwv8H0eF9FpOGv20Wk5xOMC6GGYjYUwxlAsfxwQtLwt59DUt7lPfKxoIx8+VYL0WB/hr81CClBWV70KqXYgXZ9RixrB6sNu8XaFvESh8HG3sOspzoOhqEzmdUjbk8SyJjmo7Ul675eLADdWu8plqbCqUgHvEA4iq8jbwGjdp0v6HwnELcjBfOx0zf3dqshG2ZkUQoT5YZUhiHvIxJjPoyJdximLu++4h7fZGyCorRwQT+yiINEl52gi4002eieK7LI3LsIcOSHw2xPKgy/I1I76s+M/Bg/uAFP1IgTGX0J5TwpFHRLHeTluDUDGlGfoFNpZF9E40NBRNfsjUjAWqfgr4yuK2MEBYt6ATY6Ni7s8SYghfrjAmSsYDO0vfoq+iYBxHZ4DElntJ32F9y2tXWBe+6AR6qFD68a/H4hXq0myHEjmx68bD4bTFwINuAKp+a28JBGWbA45P7KYBApIz1OM76GQ6LnrsVg2UL0RpPL0HeHLb4RF7Nc4n9QscpndiLnj38cvbcpwlZUYZybhE4PEVY6VbRgR4jOxX4Utzp4OF/0/B6hP0BlT15hpfgIq/Ejg7nJwam+nR2E7YbL6RMITsm3N1+LgytQvFCf/vWIaHqnYu6iW1Ihc5D477V6HA1YoYQMNPYVRHG4b++LmH3/bvG8xRaXbSn0wI/DPhsbxcU2dgsZjAWP8obXRsd9xTjZBZyja1vBkhepmHZ/5oc1UFhvXUL6FX3BNWnAOdGoZiO/YfuZTQ1aQJ1HJxcR0bAnaApWXtcfKDjOlFxy3X4eWxxWLXmwIuby5Yf/nLRKFnP7+YuEaUlL+AUGysje7s6SwqNqVxSMWBNLiRGpyuP2S1WU0/yYncgBy8mYR4iQ76acImf8D37tn0J3AZFHMioaU3NPf6gbMZpcUoYLndocnSRzSk+Bn5yECz3TJYEduUxpJGcrKzII61yImggx+gQdja+qJYPSrVIsKmOuiApnniR6mPZ6NehpYuQ+uKLYxAgkVuxqOO34QirBwAakB/CGS55v/sSbMjVEWSAEwo77Efo5oK/x7XAF4Z0vF2lRJ39VXaetnQLC5mHz5PU8A4K827GP1PiIlxoTLQaWDIFZxzvTWuonG0nfP7ADPBS7Mjn2WO67tSec9iWOxPfAA+qBwsBOXPsxzqeusqEdnIjT8AISeuc87ylBXqrxAyXdJX63j4shCFY3isgEuYW+HBH33a6G3S4WWFnZttV0nYJNaRPysxWzKcuNLGZUzbZY9nuHll2Btjq90o7Kftrim/4pQ+K4OUsoJC7x+0otBhTtd/qiSgxE6l8NUNOYb5ESbDOMyC1sHBheq7KYA6SuqzuBQfk8PW8VJuR+eN8qNeGWQZh6KdmaGH2PRz2HduHby+KXVBOogbBo08kGda1qrUcSsmCYZtJEisZd4T/9XVCJzcjlsRV+cNsK+u/J/JwigMw/XUy1sHwDJD6NzvmTOkYJHMWYbc82M33NCxv4omiRbpmV4ca8w4C8YtJSt8nR9Jtles4U1ftobklSEMNpblAfB1S2W77UTxHT6tl1m9P6eqPF75UxKzT7wKWHyNeYNJdITu3FsQSr3P7xxTvL9wOC4ALUPDxMKCJgpv/TQC75CRvjYBwQuGClwKNGN7iSgcyD+o30qkpPpQfbNcg1E64/y98VL8TU1ndBfBI7LUPGap03nubPtasH+z8KLKXH4Tcu8WaBxoFOv1m+9C06l1ZanDJS595abjWtMlZ3alGDUnZKWl6TOGCY+TEi+rZ9Im2EADzRQY0h/XwzfOJZgYEX+xaPfOrJhE6TYAUVTtiOJlRsvKHM9bq2nIB2uXnzDP6kpsGsoOprh3QbB47p9OPr6Rz7DOD1X+WQ2pVxcQKH3MCxAM8D23bz0lfCRKMPEDHJ7a6nRkx+AupJl7Ml2DBObvEk/91dbZxOg+Nt1LS2cPI+naLY22B805fdhHfeGbkNJXxam0YfG+WSnIuaK1TTO/q5x/p9vCvMRxL6wfehgosNuA0XRSneS/zgmxEEfnFp5jUpAOsA6rjrt3v1IDDiECwhdM0IUT7wPHLEIZJ4Jar4S5Bh1VSolnKEUhPyTudOsTXISrhUNCFYbGUBlUcpKys9wnWX+ukAxB/NtH1v7VSbQ582vSgVc9fahtfciNTZe6o5K5mDzodWFHTjQ+3DttJsGTZtSX97xX+usNy09x0+iBIr9zJNCiusx9DHmqE7vr+FTTDDwfhynRKS7k1u4AtcR2OKPuHk216nsGEsZzqUF/5MuE17BCwBB4Cz/M6P347lcXPp10XvB7i+0i3KnUonogMFBckWdlPI4F9yaKMGYDguQsdJEWSAtCiqkIbHBHRtzTystTYZY+UtBFWy1R1yJnc61Y6SQQw9rbaYQH7CLqC5DeXrlN7NG8j2sxXTblqIEtodI3geD/315dhuSMAFTNZerUN13vgfOuoQ7SN/9n91Iq8Vq9uGBKjD+i5AoVcKjMOFC9Fdvi9lSwKCdOowd9QuRfvSMoDtOHhwbwdLlUBAIA4dQ/VP4rv29tnYnDfBk6hcUOJT0HukDJehnD9xEs3JeKM/omU61vqKbmC5x9/umXZGONRsuoi7kcD5d3n/ahBalg5DMasE7Luftl96nQXJi2rWIbSFIBbvGilzgDNejL5WXtuovBIZUKFrzLWH1+PQ3zoHc5dCtYqkcRbxWTZMumpJrSElz2/KkP+1uLTOdHgHu4tJBqf7mnUJcmf1sH3ocHCBHnMVHRM1vdkqPgkdxCTA8YM4ZUOhaODLUWPwUodk5WF9729P3Rrvgrnzq8ZVppYbCKTTwx98xBq1s9bhTnE1L8rzpbsGRuDh5h9LWvxApeFmQiqINGnlbgxI96VHheOc9FuSz0Ni2Q/6lGlpplka7rDR/tis/7EBoc7gBpeGeVCUgYOaIkRra2NSyX5W9QMZBfpHzWXC6wsgWvV/42pspNYZaR5YCs7Vemw7cJrVq7xdolvLB+eNl2q8RZd5SX4rtOoQg65QpuiZuShGcNTyZ3o13QmMC9Wi2UL6qUIVsWqbf2PJkpz8D5iAD7LVzdoT1ZVENFKmRremIR9SW/a7gTKZEKqoaoo+J2B7QlLcNR4jW9yQepXJaY+uauLxXLTwutD96GZy6xGjX6OdvXX/La8MK1l0mT3X8jk2MB1kBEw8VZi7eJp6KE/DQ00kTnCMEDKOqa1AJCRnh3T7/Ch1uu+9KKfZsOyw2vItx9WbfaE/KjcmY2bPjx9mZckG6w2y6rcPgnhJRFYAw3+++lvCwPdLwuRLpcenyOlMM/G6ugRwqNlZEm/55QJTZLq7R3l+q5OeGeL2EzDI1zKuXql5zd+WAhri5lb03XhhonO8cUvx6mXzvD1P5c106fgQ99IhDbr6wTErjT4Y6LziYV0j6JfN4GuUb6MIVQ4fDkbMa4osC+wrh330zKmNLs/fKKO9SmUkuICsMnoV/U+SbtX4ICqPzjbNhhDk2HGAbWZl1UdsF5b/BnMQa5vbg3XZaUn281WuRf8Rt/p3LGApn0YF5nBPRG8yV/9NZEobRJtQcP7lMedt8vWmE50sysLcPNYgUn+Upsu5675BFIM6AizB5KQBH6X1Sg4EwAEC5HL6SuD1AvpdM4qXvFyqCd85+cwkw4vra+peX5X6HZGp0GsXIMP1Wdt9uVc5L2Pv2t1k9YAsRAtSsPGh3wBn/jyIpvzSbg7+LP5nKpygf7Ym0I+LPCrmpZCJ3sEeZjncbpToTdWBq0WUStYrOrWIzIVol9gPiqvHJGcyb2XZp+qqzbkbVgO84vRIFGzlwx8eby/dw97RjvVMhAyeepaqvafDGN7rwx2XUDEyRWuHsPY0583rvOJnvYdr96N9NlAav9o7PWoHg0YoSMxV8MT0k/oxR2N9+xTnPMRm5eWSrvq1rHxXZxgbAkNg/NNnEga+sTC9cCY6vSdRra62SBRI219q5lN84QlfFkNkokXpzUJ+QsIWIr54gnjOzrbddGPWdUbsvXsuNe9WmlwIMjzaDinzGVTAPiVarTM6HC1huPs/cG8j8xGpVnL2hEi50Hr3VUSGKjEx3e4WTro3KICUdG0tLEjofPrm0bs2Ncyp9hRCNIe+tyiOKR1MyB6dxcZEC+n3JrbHxW1P7MWSuVej5qV17r+zFgsQFRv+5fVoQwTP1qEFj9og/esYuVP9dVJGRY38/HZ67UYPvpEb/BTs9kW1oSWYPyJoCa28FYL/11e3Vrpmt0rvZhz0jyu4+uajnr4mjvSmDBeC+EvJU1HuMbRbqNVVVxra8iLJOT3z4KjemjH6Dm5TbhrVkCQXmH+0McNWbj7mJe4Vc1sRcoIn+f8LAUah00y2fS+IR5mIm3pXBPqBFjC+SUZVv14VDwwqiMQlGrJKsB+1cvpCdTGxUzWy20fuErguOyp7pwdpdzNEXYnZlmYm6170IP/BNj4T0CIY7vcvPE5uzVPXWaL9TCktOYh9/JPr3CH+0Nt1pvBbogaKb3hUPXcZ8kJjWEW8DuPs4bYCvIGCY3imcy7DDnIg+uCP85YUnDrxU8xr1hGywILEO1vrf3sRG/gnICjr9CwFgny7WKSXWSbYSuVGGsS7mc5NpQptiXP3PcdVwJlSj/YDltdTqzbjKN5n8Uxcf0gPwuVPw+jjHgYyZmbkBBBrbMHNsBvK0Kq42ZDc6kMIVYXOoQ9LLNAFHCrxmjZaEtKTDRLDhGkisycOPszi22xpphxZqY3KFzxvKBIEQWYtYhtOvielxdHoWAvDNTY1Nqx1VC/tG/77Bos5vcKk62NAketlnXBcq1jbDL/Xxy5c43OiLAOpBsHE8uUhDBVeNwbQQYB0lHrBnDb3wnA5vvRJSxZAEIiwuyyns5CVAM5zLK52NBdLBwfeWmtG8B9xLhtyWqPq4KkGDDIxrPSYoeZ1Gdmplfiu6UAvj4GanvR+hZyvR6HNSOKEI9uCg93boOzuFped3n49KF0ZU/qH+81HLgXQ0sA2W5TU038BCOOp/qZ33lHTaKMHAUN/q8u6hf3MoSBkrHjqYbwSPJIhs2PTcI5uPM5AU64BNKJl1j2sN3u2YOcpPp5Le5FGQhTUnSroBFQjbsr1ux9Rsf4Ch+T+LCAe0MKXKQedkpP6n89a2o0Bs6/dp6ShRYGF1I+hm5M1E/zMhDIyZ7ynEq6akhZISspWCEAYbu6oRRcweY/TMb/wsJOwhZkbHj3v+Y4zFfRxbkxaTMA3aaTWM5UOV6xGY0bfkfj4Y05vPrgsMZ5hAT0sE/i1mQnu1q3QDHXJ7pIYEBh+DVJ1nDjb/vbcHrdQH7/i9ND0Q0sNQHyLr5udC1L/J2AhKwNOULbUd1sHfidIZHzo43nHCs+h2y7ps78Uq+nqEfaX12ILsu3QIfjUz8smq9uH+bGL/uO3rTW3zkaH1GQqF1OyAc8lcN5yo2THWohNn9IpK+g26d+bdp7CVDDmAGe+KaAaPFn3RKUoRSGkP/SKVLupmxDnuG2xOAW8nE/yvrHkAU52mZqIZR8HHG863nzEFWWXropo2GYus8g1LKZYE2bEyTqOxDIFcO4rXWkX1+Pda7Y/L4asx69O4qv1hqbaHz4KNLlaF9v5zNutbSFfNPv0wwEiJsEcuL615ULBSi+bJXXJOs5QTKGzV4FNjeiK/J3QvritUdsDAOYxW7dVw5FJJE7t1RMrHdN/a/n1YwtEkYwz7KdZy5fMrs59MNMhsHrCB/YiJkneazYRCOMB/nS5tSvlehybMEm4ReLO6vQqVTQij2ccxxwB9Bz8uUvAM4bghZFlfj5y9amhcW4OtDz1CtR1MZTkOzKrjW2+QZbYXOXth3yj0uxbb5sgTLA2+dvIalNS9wVHL05XGBp6syFbSLTxvenyc8hfguDRUY2qTI/lB0m+7UHeu9nQ8lifGwefblswrzLfmXI6yMGHhS5f6tO2ef0ktyI+EA3eotY1Tp/y0oUSspxBiJ44We7bu4W21RJBTAYplm3lFiTqxPj1EDUHX//GPMu141Zv4eykusPCC8FyRYuMsNbhEDWhJsU7Nde7kvL9ZsEL3CMJq5aUxsmgeLaqzo/KBzkUJFIaF2suhuS35XH88/qRFYcFjCEpAp74I+H8jhxHiOAzEmwZBZxPyNPGaWNyEYXNWDqMsdHiyHPMAAj6UwMvF9AQ7VVDM7/tmAJ46s5BG5HC6GOYULHYM6V4Epp/4rnMRYDYRrnlWkIAzQ1Q+hcJoY/pAZarIV6Uba6Yt3c3I5SEBZhaYKAPi8hNZrgi8qaTI8v4Sm6XQii18WGeEkVn/uDa5HYXE0+r4ySLo73CAdN/Fltjc5HpcrhLDuA5hMfkIO69coS0KzMQ9HoqF32JZb/vWNtfj3Pzp163zNabhvecOB6AEPzbykdmORzD7kUTVCcTCdoVElnY5yPcqj3d6ERdFBB+Np9H2gdWosMYQryVnP/mAd6bCENKSmvioJf5bOy4vBjPnb8KJnZyw/EfEboXZFAo9AqZa/MhA6rn8vP73kNqxL4YxH1BlkYTB/OZxMlfwyMVMJrPGsBPdk8h3Q5MBR1MtNyefDpI+tm2Kw9l7DehC1A2KttS8xjIepTamy757lQmN+2iIbIaLrFooFqw1O0dpNfEvFaF1vOAea6UErk3RoZj0KtHi+BB+z2OhsacNdfNYERTSxOd1w6oTP7YjzyYtB8af3l27Vr/3AbNBVf+SobAxgDPL140vlSr9ScYp0qptIP7SKHLs/Mu4T4YglXNU4En8/UFg655iF4osk91Fm/aM/0pfCu6bA7eooGacclvXf0tCGrB6bs/p4bquQ81fc/UWi0GgnXer0SLe/WzgEA9Vqxmk7OgqPjSj6+OwuZeC+jpLHS1E3sH/Piy5HR3U+ROCuK8oiZjelcVzCbr7UaUT/42XR/jpvWbrv36xi10vnPFKpsKz2RslYtJ5liZ9Xf1z5kMF47RHcuOXlJgmuGvFpNZFMxWtIaV9+dNrTJnfUKoyjtGc+EgckZbl7jjIhBXVTZpmdknAZR2GzO0jWjaOLk0iXrOz1JCSHCQwNNujO7sj9MQZCTnkQtjlkk5T/wVipLCcRja5ZG45isgyZK0thPyOX02mUxewa05VknWufVoq3lvp392H0Qaytr2xr991qrlmdvaAHM+oHT2YvkjqALKrwvy7YHUXZ5yx7zlyMOU6F955rshfgHHtSNdlnhwNaq2wg3rkT1rp6sALv9Wy20U+dUHRhNuuI0yveFPlVAy6KP8/NGNTwS4tg8FV4NIwqPPF/5iHTRWtOvKZqflDJp11T+0Ms301sgkcY7NKF0VXIiwBmXhUFKl1Hp6/aII+8I5iwA+sCF3d25WHt45EE/1Gw4Pe5oDtIkmtCVZd5LiIkZPbhSeh4wHkP0XFuaZXWQA9Q5lFk9Bn8nqi6CKRvw8QDc1GEg0hfdrYoEG+CstF26to5Bfzn1P1Oby5O+02Sqq1UbZYIUAIv/UibOJG2RvO/Ia+mAgD74R7cW/y5Jr72+XCJY80ZXthNuQxCdpU74CaUpzWLTgbfnBdDh/yzy+YEWgC6K3sFZeaG5SDFmM0qyND33YF+PIRVXfTtJ6V0OHUjIf7P+L6aJe5RMigQNcF6QsFktMn6sU+LgHfon4zlYIsakHnceig2vAVYmR++Zz9l0QliR9OL8A34CjkNphfvJR8qOe7J3m1R5yDMNluNlxb9y20nVqnf0RciXHoysoR4qyoBnuDmVDEU9KofJLDWuVz9zltb2tEMOZlfkE5VDWNevX8z2FsfoblJ5V08rEN6sm7laum9LWxn+KD0sAv+75kS/5Tp1BIFAYBEmuCUiHLC5ZS2V3vWt2l6i85t17aatZlvE/6aRZPR/IM7duG07JdukSXrDV5kISRcfvmZeVln3aD3plxRhR9IT/b0Y+TFK286t6q+M12cuSR7nUKLUa/Jq9ib8v5SVjFUZATZw2ghAwxZYhbmyVrZgvtRRsQK98h+8zKstAP3UcYu8Ioq8Z6KWeSddXp680pl5BPD4zSdTBmcAt3FQvr9gG7cpYtETccCMemu+eL5Y8HUSifyWYja3rMhp4JmCbZUBFykfIs6Vcsrv1jp0bvaxogiST6FBYNWKmDv54wm3Eo8kMBZjQe0kov1RcdcY/x2O32hOVhHO0Ntcmw4rnMk8lZQCVwZK4YDtfzPZyCd+s+sghoqF1NRfZ06Gq0SwfUw3PSpkqIvM0chKNOrYroEFGn9svi1xzxvkg+iXHMkacSVKz3Pwrygvt20afcNdwCxaCk4NLmo4AN4eO44elpo9oNSYgEw2pQsm3dAQCnhFnb1txD98vK7hNBUEVFbUMlWnHLgiqPGlQ4FLrFKdoqPXdZe63nFBJFKZjb30pgIQRq7QNQjcxmuVuuD8SayuNYwVTchAdPXNjbf5taTPOoi7oPdqQJOZlKtmQHZeMqrZjigvYK9rtIlK3gQ+sGdD4mxREBVdPF5t80vWvkIdu6p52ZOMFirC6dkC2gCqmk96N2w+/YhJSkYjcDREHmkOVcBNrqwHo+HndZZHoE9l133QQeYY7aGYK93Hf86w/1QT/JzijBes9Y2U3mNmja8cQlOWkAaE4ewYXbqYHVWxQKa+3myXgYw39bVcJPMuodXtCyijGFMIcmO1W/xvQcU+foUttD2oF9xKlqkL21IRjPOQJyNOwsoSt33xm7El2tldeP/g5uZvWlDAU7bJlNieABh4VFI2qEJ2bBqeuPFIm1G6V7KzoFQ3/XtDeTwIoOoNBu/jcltkMWoQFNWCFfhgGtPWU7c6lnAMzL9RKBmKPhnrGr5ZeFZd2K9XZK1SX0mG3WGu2MWqROPQuShwrha+QAGJZAwV6wEFQSYrP3gD5uAzhN7bG91zRr5xi4CY+5LhTj7y3Upc9LOphf074qSG3M+2fKc085UatMawcOj7v0ThIDaLVnPyOU1LS0TjVfTy1zoFgSeeS1usDOLUcysijD6kUh+C7LpjcCHVLkqvTxsGlOFLQseh2TpOVssWN5493X5p7+KdGGJM9D5YwThNetfty26BUa7fMgYUFXfBOsD0RLxXd5ICA+oPMvgwLuH6NJIFZNf7+BdiUYBYs6wJzcN016f1me5aWYC1dua63MjslEiVtq0H3uBgOdFjRK5N+QA/UobLOO/B3A884ksoIV7jzdsVQP++ltDanrJ1hlNLJvQmA5w6bX2tMJe8pyqXqTOfKiE/jKdXaTyUAMve9dDsNbmrrOsdgqMjLTuldhZ5aBoBJkJ5TCC+NeAwIhkiBRLb3VU2TfeabnXh//RIOz8Muz9L1eSTaajYYH4LF8CHk3DymDVHPlfih1WFXozlpDK9lO2K+ZF5P/7TDBybsZU8dYID+L1BkqTVGZRsR9BPTcTIs8K1vQv66AovBDqFod02VGmVCQWESYqo3KLEEcMvIzh+LcswPD/ijqfkv4J5MQJXberAkEEiqA4kHdETERBk3cysR6LQBUY2VMgV2G/2HErslFk4s794ZRWoFNwzY1zf6xUphoEGChFReTIXCQcgDObyTTwOfOPQUECgiF5vRo3lI23wtqS53t2MOlKJzqzNddM5Ek4vr11Q3vzJcQPbUVQpsoFhtSaRfm8rI4bBCtzmYteViS3ge2jDy2RihWhocJRLvAE6kKDEOJAduKF8BQj6jxkLxw3R5UT0asCTzg9wyI/SalZO1gkedA8JgfJqvH/ks2yt6zH4Rl83slveW7d1ifaaKRH21T/4N37OUa2lvNy6z3UEBRzOQnnOAyx+JYPsfkyxAcZjCdjzZmIbW5NUcXHUr4lLOKdtGgV/XxTscsPRHRGC2WfrfhywZbs0fCDSN0T6jLOnpeeUYydU7/97gTaF5NxIDkIfAjsLBAFVOJiEyMg9D5Zt2RQHRPpNgiia099uSiq5Cx5uXrjxOik1x8B+PoQWWTXzUtnhzxeejRXnDl75FpjcsqvwgtKt0yWkapOIexhnw7pBZRj8sppBsyXmz6RaHJGxZ8gbEVdCoZV1Tu15UOEbgT2dXqtKxZigrd9D1an95YcfFfCU+T8OJY/9Lj9pz2Bz6cwRaxhp39vH8JtMEx7webDe5gYPkb36STEzB+CjxFCMRUIqE+tuTAt0josdRUQBjYvCF9BD9KXX0Fmyw/SzJpzw6seL3B2mwi9T81IVT+3fK7XS+0i8Hx+ebWgO2KaVHcKt/3o2OdXYrAdBetGDnYQ3lzvS6NCif5PJi6OfqFtT2xBS0vBb/+MeO75Z2C+E1wIbSNrN3y889y6eN+VBw7aVv4+h2xaFjEBHlIW5UUJHme5rUcRg8txuNH+GHB3O4dh7mUj7uRjE7X4bssnC3L0em1Jml9QoNhdjxWM+G4UvHqqQoqvhvZd8y+lVsao12d8/C5ZkjxA0QA4Ze25VTqQxoM2lt7j9LYsbC7tzpxTtgmyT077O3EL61OVFvyvQYGRTXiWnZJ+Qup/QIQCEWrvipIve1E/lBQzavbfBQM8zFXVv8W+RraFUuoBtiNatx1qtsLEw89FY+BgCCS2PW+efriz9wetRNPpKbMOxWjyuGg0K9qltG9tsupjs//pHt+8O+WsJ7ZE8Y7XFEamSwqwqQHm6aox9DR7/MpbVkGzcMIkD/4hexL547BGQpdl56eYCg9ptREN4exJ0001wPYrt9Ie8k/3EUKd7kCl1z1qoNlnpn9WZsKsy7aHn2IVNIyQoism0iNmrFgpgpGONsd3iwxVHuSF7v6jbSGrCf8mg9LN4LnwQgbGMpAmr/xJdjKErwPth2jhE5stSdKPPuy62buWKPslcID0hJOnRdM0ifBcBzSfPCksvWJBxEK3icw5l/M7hm9cMVg9zI2FAqgKIjs7T2Ehs1B4xqTnyxxcFwWtpRdqJyXSbYQjHwS/QiHn4JS7eeHQgSo6NUtbRVEtHhGPyg16hD5+UfVf34xjaY3C0hNQ4sR/iNeJEQ7U564JKtbhWn4z0iS/Y4s0UJxP5pFIcB3D4qFrv259uJJ6DhWjf9RJclHaptqtP3y5wRXkHzAgrd5QErWvw3w9UZo2YyiHtZzTlM+PRpRjvBKhCx76+f1ltw4Glb6uy0V2SXinTINb/5u3KtampZxRO27u34r4C0mCxNOLRKpj33J6DZC4XSTQwOChy5XMsNGWqkG9CgXPxqePHg9TjDbi0xi0hAVuRKW1VKxacXt1e8BRXLHzoE5dCmrTVNnMQPQ36BQ41TmUnXr+IzwLvBQWGbojTWCQyEBJDTztbbloYko9+1vaUIAzhs3TaAR1/Hrnx1O87tsVwAgSpS+GJRVFlpdamtXzt8fmcDf30D0/Y+UJjoryM/nVWyuR9PLifFzqAgjD1qih04cDHRcfWnVSKKCkkySLOZop/LHSX8zC177bvVmFc84YmDAFlYBFate+fmcDV6zSbteZUBjFT6NJntNDRH4LTA2tSep+ZYpjdqxFl0t86YMMDWkY/xoTAVjoKL/KjRdsBVbZqtiYd2srUDGCulLe6z5vg48CRz1n0QkelKzCKPdzIZcBboAZO+ojrxlHiraQTPj6SJclAwkfyteG3GnRomFle+3QWJiiLL5B3Anf+Fds8ac6VaikiK9V5RAnljnMxwhXLUsPQwwLIrq8+jtMJtpFWpw9zpEn2KUyemXvmv0L1fS5g/o1+qqEc3vOEVwSgdVsUOR1ekV2En0Stq+zSi1CX65q3sYYiVfziH8MLMs6siC7urzgEeWFcMMlMSkD4yqwGJQ4dxOZSMMnZ+HCAVgrkx2OwHH3gLI9bih2bpOI9Pcinc52ANf/oANp+rEMPGBS0BFHfmQ8v1WUJQ8ttbv9MOe3fIxDbO69r+lQTZHvUGn0uIcLW3JC3qyLJxWO4VzZHRTe5uN4p45TyygWHGn9lojOkixYaMG9xuOjjHdTnneiBqrDTUiWgJdewO6lMmlWzDP7MNCAvKsRG4SKg6fQatL5kI4sBHHi1j5J/7m8OO4lS453AyGsKpqAQYkuOJpemsH1aW55biW1H7nc7Emu5VTheMj+8WuYrwLC3stQxf2HXQZYAXQ+ufzlxfGHTu3CHRZXl25FPPxq5MoMCU/mA3D5CUVqgygPxOAzmvkEVICjjjaTHRmgrm44wKJmfSsdRZLMNDVR1edcxcdv2spML3pgoZ3szT2ePpP7ccX9Dv/YNWzM3zIcCDcpZ6tZJKeVo+GSkZHY/4D4XTy5Trn2B/Q+hcgRhKwS4xLwyqDRDJxz5QqduzaiNL7yq0lvs2SwaiQlJ91juSNm6GlVRjTdaNdvtHj567gZBGKgja1Vn/NlfnYBXvnePxj1VU78Z/7nEHHPp2+KnMmB5i5UEL1o7+uvvjff5XFE0dEFU1U870fheJsnEBQFy4jFe7Pzc9ssSgl8gydRdjSuGA+UiqIoo3ng5A0mRVEAy70ApEXy4Ae2EFna4R4clboRDHTCHmPFldTRhp1JWW0oGLjfm2+O28xo3OlPN4EJ3oEOEnzNqu4SA6leZHyuvanJqK+/Tm6eTJKsLAmQuo+joMaat+KIZ70e5+yjGCkiX3CanXOhwz0DhNUCF34Qich/K0eBPKyJP5cSo1DmwJIWYNhLXTT2EsokPkACFS+TJ8pFq7Uk74BkLfd14A9vahqEmrr2rLmkie9FVVC/b9nISObuaM1uHXdviQ3m2RXrcx5PaRhTqFQSF5DjVBWSacIoKcq/yKcMGpo4TRyHHjZiGZ3V1Gh+UCdWY/E1k1CQfRXWJvMqxt4n0r4z64Xg+rfU1U5EUIFMcl83fbSoQ4I59d5OcKWZS0XWzfO7b57TTxFFzygn2Y+g4XKE9dAKDLsWWYm/e3WAeV4COfIsAAKH8mzUlHeJoHCW7B05bR8HxZMKgSbK6s4AlTtgLS1M39imfPWqHSr2czr+Ia7wXmDKDTUr3KfrT/fUXRw0n2C3HFuQFp/CQQAq1MhrMSIMo9ELxf+zsQQut6WlHPRDnZ7jQiY+UpzvV+d/L8ZOgMS6wjvWFks389FglR4dtPqIc1tZDIfoYkYkTvZtjAx77ZSabWZPV5t6afOxTDauG9Wpae9BYcoOYkT8wsyJ7IOJKGsrI7JXmwUFviHR05CNpttVL/gYO4qFXolDuEn7VJXEL1eqT3X9JhyJsaIMmWJoMLtGcrWEX987d04lAYsqEYIEnfs8awkm9Nkbpm0WSKglS8iDTfRAfNPPfIdyJODCsNkrhPADQh7Sn3IZ8F7ef7/EkV1V7fPVDFHlwDvU5EZ9hUfmqcHbkZg2lt2dWqK5fidSm7QeSZMX871VMK1xO2YsaS/IRp84JCWKYsV9x+OdLMZJ3o1Ihy5AM94BUpLXUzMXxWHihbYTnwwZ2I/0O2HmtwBf/nzLXrQR1Qfi6MiFddbVie00MNnNNAazKCG+MhHhMabqVEx9KMDX87DQIvrMChAUwKZvETnNcrsTcFlrLrlwkbkFaJ/s7evmSm77QWQ6SpDtzrGohTiLRxq+tCUaj58WKVCxxP38hH7XhvVXUaXueL+yNU4eTQ7curJAuWtJYiDdEk7akOhC5jGmFbCnKe4CO1JUVAtyiqQuJc1bTZ6GHLj9pM/CDi296/35WQCwPV6Fg+Y40tDyfwLb/KNeqSKJAO72HsG6eJ9q/q0be4pYcqkujNvcGdOCCr8zRhhikbiNAP/ZhJ1bgrfmAO77VpRVHNhj4kSrmsUPzFSvGW27R3+ClWGewOFydXNVZWAPRX3KbZ+sxZ6VDhv2mKj4y343YnM+Qgxs55/8CydqZNSEo6JrockRoIxvdl3+AA34ducM3nk94kyvOfIxCIjWezQqZfnJMbTaGNG1+ZTmPEg/vEPFiwlGrWNX2zfyklMGL2QYafrDXmgiOX0ZcCBlL5O/B2IfQE5CubVcbqFXu+6JuhD6LCFHxPeg0KpDPXcocYTnRIC1UsSAnuuzLILtoEq2h8jz+y2OrN0Uqr2auh0d9tzoTcdcoAWWETZQ/DB/kryKKEibjk2X/NTjk23CYvAPkyCu93y29fhA3RCzX24RRAEAhCXCxtchpavNdyONno8EJ1jJyKC7S40DOG+WPsLaj+HlknI7Q0/PclLXwnwzYbgpnBeFfh3Q1qkbIJRMEsyhvITxDpYpVPG0UhkFw4jwECZDuNr15GA5h7jth2/ItAMxb8TYPN7yx9drk+QvLQR2rPtoIJpBq+q7wI6ppnYyk6R3AJQ/Qukb9oerlkrhL+i3/GULsLHVE3uoJeKuuM3h9+CI8orgreyzBvqJgm25jqxlgmtzwIRdcJxBf5bAyYLqgSPst5fUGOfgVArlWR0ShUOBl3XMJQSI3gJ4nfBtV6FmIUA5BHzg/OJAtse5GJlxz4aDUkgJBgUKvH+eh4sJsDNdCCujgdTYiLXTParsK7GeVdDf6+79gfhnRIkGAHhmGEnUl0TcHCWbt+acT9xiAlQ4Zk0x2PLF3kxajM5CtENcRb5epIELhzwbGCGZuHiC2j2DBnifnHHYPAiE/MEQBhB3fsjdC9vx/4sV17xBXCHhw86BY329Mlawmb2fbA1bmD9pWgmfa6U8nwuj6KzKGKo28j+dqxIkSsC8aWAXM0q7hslCXQI6tKygAiCuhMj/Z5ytYBY/dluZWISj3lu85HjqjxzD6Vy8kX8eTvVR2flGUyFeO2drNWLiElklk9HcMKvaqZURQJWZbuZnQZsqdQ8fSYl9SJ0wkDd74RY3+xCowUHKbQXDdCibmbGoMXsuToG2XpoUgbwtuv1xav0K0DIsCbA2ynvVwfFopuX3l0abU118XaWNsfBR0+52ZCjG54pZYww9vSUC2WumOsx/661fu8T2IeszPAg0SoNVQH64vPlFakIDBsymJ3upciEAkHjeIkoRKsAaN1aHMyYNfQjl3D8Rzu0/d1UGL5AmohL957//bGuDwo2BQVAlafQ16D7u1qpBSx5n4/CwjUofKoYZCabi9GcSlhfKnXBm59fgJkV3iuCvnZZdnAw3GP7oqa16ddmb/slt1xBGhZ2KQqIqZHDa62q6qGhXYEC+CM1HQRwDDVRml+5MMaXPFNScExCZIUCZnIFzScUYIJuQkx4gB8pqYOCWYI8T7hx1vN48ZHJOzq17T1zTWPA2n2hHRgD8EDXs2ipsURype2niexh5+SvOnk1Cq+Ggy4+kGXB1dn53SvSR4gfYuJ9uGa+QaWKqS5gKh7CIAT0NckszF6JYMznpHi6SJOhsHqt7NeZDONBl0iRfycI91YY4lRlAkzCk043WSx4rZBdw7KyrIx8+rRJIcgh6scEjUwg65OjO8QEiajHS0qgzLFTgjQNlTspqSxMtEuDeg+XcZr/iCvFwb754I2KrkSig5VgjrvfBJCLQnsYEM0qsxEnPofPUT71ftmOMD+uWFbrUbkjEmefH7qHsKi14/aOuPWINNJDBXQlmLivH4Kd88x/58+HlAJ3wmiZuRGRt8Xe1xKDFxMCrxKaK/NmmY5npC5zGp2EKQ6dbkORcDZjT9ZYU1y2PJAj1Ieuu6zH/eHEW6i4gmp6emkTq0y5DxGsm5nm2A10QZzTYtey+KDymTKKBYn+MaKNHu5/B0NsVdf2MDSeHCtrVnCciJ8JNxQXojBE1CblH3cUuqPZZQfIUgcDukwp0kwE+1ce0UjBZbYhgNxXcXhMH+GVRQAkLGWhga+aqncXkaghy0AiHei8AmXhhRaegfP5+JyIIunUS2arD9NpAlpUlowSl6ybPy/9F6wOvOMO+Ra1C62PShH1RGrXcRViRCGLwaS1CvI7+rdEmSgYLa3dAFd6FLTo3IvYRLuackapSkxiCBTKu9B2x9he4Dl2Bkyt3jLd6MBStEq7inOqHpN4kcTohMLfGd1vcqCfw2/3T2PzlC6Cczv1vWuHpcOpkemo05mlgyC3vJLOYxfQQQBuJg8VmmaoREjlt85OYEI/krSXK3W3Zk49G4Ak0b5IyagN14nUS4C1VMOzXYq0W6trJx63A1Wh6eG3poJI7UVURPcX+3wy9JgtKw7slq9Pf60IXOgyaqEz8fzsoNP2aK1hNZhUF6WST9zpicwQqCVwFJOIgxUDimP0SwnroKi05uADeB4u6HQShLGAyioj3/2ORoLlHPZipolkMXGRRnSAaaPjLU0O0nUhGC7G235DYhV42W5C6kNEUo11uCdmzHmVHdKdGdfmwZDInaC//sAGUGPzHMG67Lkjn2RITaCpnmMwoVT3TTfOWmDWs9h+9d9j5HLjgGwZq7fGL0fjvEx54K5XgXNHwEz1uhXvrTBn58MFWqDCsESN4FAWQTA5Pu+XERRnHRCrcQXz2wF6iJmZno7xgKVCyKBdFnxs90dkR/zW6i4EaJJWz4GW8tgmn4RCpj2ibn3T4cGhfLVOwHNFeaGko9a/Rtq24FT5K5//NBER+tDt4qB86IiwIf0l79hVBOxZQJU8gKwzaltAryYuAfTZ8IMOsPUILz9+DXWDvZNgS32n8b5PfCoCxDHRScm18f7wMmMxsmyzCLGQZkh0eM9avqCaU5/YkdtTvWDOuwp8Q3iWhXLON3AqoEgrVWvDKVbFDnmNQge9oEw+YkNPGr4hsP7qB8g6rbp10sfj7wltJunwom1tmD89ZHkRjQD9v/YTZpewFosetEAi2CSQxthkmsqBel/7+AaAOdMLoDPIaU3Qqjl9zB5J0vuQgvxGX6zK1hZtC1cma1qMmQBrUUQWRF0cMAK7JuXMPJstOV/0TlXHa8LAMCvt5cMxHVRYJzhCHgVokKZ6HuhnkDA/k8P9ioSL8Dc55KsIGpty7CTXj9fbIzCndijulptT/23qSi6qBiZ10pKfsuexDE18b2dqEoVTLFwwdTA+OEufGnTn9qXSAtxFLqAGWfCA3axpw9TqQTlwyy66WXCRDT0/ncJ/M1mUoANh20AEp53BUAUZImcWYiRg5AA5aD+di9wQRFV0zT/7qBBzFEunrBtnNlDuy0B8Jxj+kxpCOVSB3SNMBKPl115UlkCWwphTvn8KeyGj4dKRZI8GVg/L27A+Yv6zeuWVFvupN5f5IARx/0YXoyV3du2os3PFEsvnd0fKGjOrB2KCvoNCBRpZiI+DZznzYV2wUCQyE5g+EFT4WZs/bgNbkFCd+AJ0k7GU7j1ib3zx/P7fOMNhkzVtucn/POnutx1IQlv4lvWEJZEyEEakBd+9VqaLvdnQo5+GQgOGCuBwsaDm6t/r4S7vCdBd2TcOcc74uWMltGNodQheKO1KuVtPCREFg0sCYCxtOkxjJBxh5x6igqt5NdscWNzBVOQCttM/IQEKOVYW+irorHW0R5W3A/jQNgFMuLG4Lhdn2azF8td1Jt7JhPq+lz0zQQfxJB++9Fmm3lAxIYnst1+Wq/EUMh5XUe0DNN9BE5Jmb70aCrQlRWcDKkyL70jdyWUQN9KiWd7SiZo1v+AiKca36lj+vjThPdsaMA3W8OtEmCBCcnardQO3hFBveIgCZmoeHpFBe/AXOJuhrGVln5gC+nAUVgR7KNT9vDq9NkYH5KslQlFtfl/Q403Ws6gX7s/yqCtVAU97ztse7KxU8vyDDvjfhiUP8JKiq7Je6I/5m4qWNac6NKLzSwqECYOyh56yvcdtaSMvFgOSv58xTXeA2SKCi+sWixjaS4aawS6KZTn3z4NgHsfRYHP5rLbjjNPy6fN3PX4aUBm2jVLho5MEe6jxuMColz7+/AIbip034ntQQOr12VB5TmD6Cxcvsjh4BMd7A54GfGJgWG7S83h6jfvH/dJZvoqlNHfKUsAhR7AN7jpjFISSBf1pumZMlfutBzpwt3rM/2BY3/SAtZyQ883elsqSuW7cVaiKsMzvJd6HP6lB/mTFUQ+0dWHwslj/nhFHYc5FJTyYSN0K+0RVLMXeNIEdJdDmvtI0sN4P9DqgFzwiVbgFDqj1b6IlMUYKxN8cY4GnjTbwP5J2lH04BZnZGDEr3BKv9KUqWMB6+rdqKXwKEppfT4IVqV73T8cy0uAPVN92g04qlp+xqEoL+MIjtcJISMT5GuM7lEG3A4Az6VvPPChaQvkZZ+DLBHDlAhG5l9QKvzlEXtHGrhrBkOtQ6cA72bty3F5R7TOIJ4nxVhuqbS7LQ9lbnunZVvCgWRB+L1Tvr4dxiQBlruZAlIU9mnqdlQyrDnl4PKgKpcug7l2lYZ+P2oPUDaMeAULAPAUZf/enIxxRlVQh4BOPqsSKjJz5MMR0emXQp8BvSfOLtkBI/u7YqNuPfW4K6LJ+aClvlmUTKvZyEGAxpex36bl189ohnLEYSr9ZyswE/iZ3pnc6/NAJnDFtlRkkBCIFKi1sQsteMcyEhO4yjTCcpIl0ON2hco49mfL1gL7kTXGlTFZD/d2aMrDLoxIDq2BreJIK0/L7kH4l44oW3k2vzAL53wcXDyW3ov+EX+zRQQKQxozXIWRiYob6O+nKl+/Q1GeNaWC27g9Q1hpm+fDbJ9xAOqLEZodQXU7cIQutR3S66Xbr1uddcVipPiNA51KetQ/MFuUR8pqehfsJFlN9KJFu4gGontsDVhWU5+jbpsKnLFThY22IiooFrFUaLW9ix5pRNGzaq4AtLSlGQfPkF2lhxKy6ALiMMvlBU+48vBH/1K6jxBEgbKz5Bg4RAKr6OWvVb0oo/BZTLny8zylmMSw0jRuj6WhZp+tv1xtQ9ktZC0raEnRYyiUnfphk5Bk7GBg4ITxFqG54GGPU7q/N6jEzLwHJ3HI1r1kk4euh8zNNEZ1blAnUtFEfSwzNLpNTzjvxLKl/Y8Y8ut5IUXvAUdqj2laP4Day20+qJkQs6XD2xwEPr8s6WaPiDGWrHSJ7sjmCvkwg/abvuL+7a73w56bc6b581IQYhgSZOe9soJcCUY9MHEgcsZpQ8KlAuvnaP0wI48A+Vt2zL8LXDLWc+upeumgTsUZkrKa67AVSxjNuUMt6qcZdhO93t8BmuaomkdXbreH21G7WFP4bygkZXEiyQ9bbJPdaW8UffX4HRARiMtfzE78gBRofDnBscREwC7xP5aBFv9ZIwfi23MlwBmCg6G9YrBo0GG0jcjCfh8wVQGgSoczxTolYYfPwioQmrX+SKsIuyAgxmMELk6pqAHI7R62wdAGHwglAoBTtiFxv4ZGNeCjRACfrIm69oZjmikYGL/Sv6W3dBj+R2ZsBolqbth6uwsVNj+pLAdjTqIH3vOOxh0Rx6187Dt1Yv8C8yOfOa0p/oJPLGEy2pw/QRxmX5ao6JcnQEcnX16wrL1U1W/aV0MlqtVHf1oHLDTFtyHdiA8T+rorwiPDQD9Nb3OiFDceWE692IENFaL1+o4Z52MSvTVkJyfWJXvB4dWNVvxEW/MrxbTJgqmek1zhfLUNzYn59mX0nkCETeY2aTW6RWCAIZ23ABeTDm6o19I5YfcE1hZWqaFJSjfVxo5WPhyTzag71IutCUtp1g15tflvgXMbtTxhSUOjQ+Iymy7KN+Z39fi4uuCRN8r6J9VdOBFMgTBdgobwAEJjGcD2pDeuQZoekF1tgDr7XuRwC+98QaTm3y4YJWRQKuIxmu8rtKvXZNQ49mtm5tRuN2/GVGeCSMviSTmPAsMSQL5wEmg6o9zjcTj7R1pdF/34Dh/jLtzFBS+wEVYgU/82DAY2JziJm94vfs1zafyfwDokqSLDR6fSp3vPDzYKP1C/aENzkgrabpACrOFeeMuDVuiZ6+JYvgDvxtUBaWgMPyqP4XNvq/Re693Il0nxXsRmhKAS8A3ASxGHAmBXyDcziqS3YbVHuDvi5wRvGCpu3I8pbn4a4hQMw0Ux7gMMLLb26EieCOq0m7vt35ZCWe28LYR0njneu/oLP7LrbJDmFiCuLemws38qN02WBXLhPM7ZZgncn7KgFDOyGepICE2E590DmdmkUjQ15oa9Nfm4Iy1QpHiqtpQT7scOPHWImUIzDXPpsmp/d7aO+L/5Rq4NARMdontd65/evE9QORJCdodCUjAO2UAN5zzJ9URS976VrlI12U4qvVZlIPpl2eoJTXJl0Tv8wQij3jyAhJi8CYRJ48gUvoQPJYB6S1z/0OBZZBCc8b65rUbTz/1ucw1K2h6ccQaiXfMvaOm+zuXxzrEWaf/MJ+ZJfAurvjFo1DySGWZ7Vfg7UB7PzoEzYAdUXvH//nwW2fHyJuqhtL0dKo7VD/N24cAqauVYYzzxg36sEVBCJFxx9n3sqO2zEO6cz526ku2ua6iBJtPCLTQ+lj4XHYW6TXJCn4QLQFmTDYqfA13Cij9c0vuf8jvGJJgoB/Ey0wNee/bZa/zlQDskm0ueWAMsRc7/Cl51c1vFMHojp4ZPePVj1Ac8y9qyMJe2oCfzxy86ewAYrdn0RgHskGONplfHbyncaCVVqg3/0V56KReVpTQA7nYJklzd2uJSvyqZv7cPdUEHVashSEZsus3oXto8Qv6L8QUDQfyTvlqoR6SS5ipdnvX7Ez5d+JMkmnHkqsLGi2kbJzKZKCSSy7cz5H6ObcpSNqYP3WblWEo1P2XG+4fXdbYcCI+TD75HxE0y2Nf1+krCkwT8bFnxYiqostjPCpEWUNNboAOomzgQo18UOea3fh27lxIgs5iWL5kJHbXbhMxIY8A+Y0qksRpv4X2L4+8eWXZ/vBfhEGCv4cVVALBoS0fAnyO+KQtrfti7aY45CzzIRQzL28Sj3UbF6iXnsJ99M1juDmsYCA+krExstQMGA1PV+YU+DEtrFU18LxaBe3DsJOiBJN3yzG6xZIzhm8iT9Y+ksS4TPr1q8cJh9A1TZ4pifQjkB2mmNkRHW1irSLGDpmcHkZ8cMPkr/7dMOtCQ3H9UOhse3c8uN6T0+PC80DEFDqUZYKr8bPuba2yv7rD8h2yV594cxAqg0CW5mMlSwIvokfhyqRGpQ5QpLcZQWKEExTb8u80/XpQNZI1qzy3W7rj6WWxA8Wu1H6vUrGiw/OenbcALGnaGcRk8DPVcgM973ipboeNrsdY+f0PkJI5qjdpty9tG9xj1W8Qrhol9kt/sd/WOmixVNnAGYTZaXOw7359cpkwqys+mo4uuRB+BXyk0DTDYEVKB6u1Db/SjvbpcMzH6ddOcmdvqPs6y+geAXfwTthaMdo/FM8ZfqK22fXAFsN1Eui3AafqNKYEzDXLyBACJkYGXZ/AtzGYXnYRA+4wu7nQLzIcrDmhyzFzIuvxuHO+mYs20QhUyD43OwbjvWeJU2ydehi8+lByUKb7FRrEBi2LLg1HJPSYaHeBoiude5uCTIvmgrqQUMt7reatms8QlUBi/mGP17RaRoM2jY5TIgUh3vQuz7fNsJLK7enMEcefmuwaSPq3uUXxXQLUHVbQOz06CWV1dYRV0qwpuyg5XgmWB8Ygm+2jYmZesCj1G3EdwhlKCuWHYtSkseVbW/laXSK1p/uTxbkFk7RBC4eyzvITmDmPYhpV5HEMNa0/ime24vLCBwrTmZi+dLz9jWabHHafL78sxIuOF1aX5hKVprUbQz5VBsk5FKhGmqWmJUBnSzrtLWGUNtc4KZ/FpaSAFSY/KSRzflZa/9zvwJIoDeLM5CoL6DQvkACN5Bng7z2jhSAgSf7/ZUxJhBowq766RplZT3LVmxFHClI3kgcIaE/16dTsI8vZLa6cEzUzRQdhX2DBMsH2l5SR7hh5TWTfTSXiHaqsHgp9pVH4wU3JI5orimuS/Wa50dcngqGxMg816haT+EklxlN+ILqd4OSLfeD9nJtY8jfzF9TAMSO3zENIg+Al3LpMFAuX2GH2s2e9yS84G5xGr5QDWF3JEnR7pLHip3i5n4BocxNtgu/L/sD9TYkqWO8cKzZzpDYLlK9uIq5DgfLZ8TadCoWLl5+I5wNDU8JgyAAsRccr3ejuxCdf7g8+EGK3+2HSODIMMb7WDYw7PvVBgnmpyjsktN8iDFqaJ0+4t21wi9C6AlRIDWATJcdImos1PvQ3RGk+Y8+hSxmBG3hwulJ1LXEbFXYBTx3hngnsMetn4RcMVqkJXMIbhfXq1GVzTL/6VLkXbDTpnSNNo4cHXjd7hAb+6XgQQCzT17SVFWaKOixUpM5QmTlBe2iq04yrowyYw3EFr7lsNVKOavx3p9PZ28wErgizoF5WetlLSjff9P3a7B3GAK5KH5yyv1ASCQ53VPzL/OViJUvD9hhkS4Ib4hC0OpekgAw6z4PMEjki73xrvTiRJcYV3Mf7AlkiLf7JotDxUZens74bTe+9ODh1IlH4HCv1aMuqxqhVrrf0gxzE0BrYXI3oU72eHDXYQSgB2mtdvlblb+PM9xeUD7waG5TKf/FsVodGPNZGa1VNBJp3IU9xopWRfYFOiImttBsNjXowsVZwXur17j4775fKHtXORRItkMiDKQrs8Rnq0TJVNSm1GFs2+arYfdLUGC1C/SrWW6qmHu4nyiYEx8iIf5AIyjnJyfhigyFRUSZo/75TQ7uZqJkCb60xgcP7avyAt7j0/O+bVmWr1SsoyOoMLNJREz5kZmfALYKhaTqaevzZ6bAovHBj6LuJLxb4QuxVuZIuVN2vtkTM2gXwnKU1T2GX7QYmVDOsvNLttNTDYFf2GtkpMqrVOG/UjY1t6qmSk5X7yX6GoyATO3krwfrMV/ppYySlZraBwLtonE++mvRtQ8sUm4PtCvElyDj5ekFl46kz+iBO6i7R7CcevcrBqpFFVz5QM0NAv2zzhb9vr6WiPbHLmKzKQiWau3uB+OkorXoQqXUlxRkkjrMnC8pI1NVbPr4Fj72CkZzPBwUCsFv7DcAS2zono2fOfMVbBCBDKjS9uE1HB4QSPYrU3hYqHVTY+/I5xJ2UnJCbQ6HVQo8xoX5kqxmBdOljKPo8e72WmUvc/EVSG3spVXe1ckOChStCYP7jigrsxTCzMsCmip07W8u3W7VCAcLPvoYYn51fuNu+XHpwR+0WDKam5bbwN5CLGd/dzkBHMi2r89unwakXJTEx8b9r6xAKpgEPLrhXeJQc1Zd19dEliF3qOjNJxfRBCPE6z7MVvWGr2LBfV70oSMUfQrG3NJld8zCbMLBCn5qBLqYeUrerr8867iAFYPokcqiTeVOhdRf8rDwYkbYyCjLJHMmRVzRvSmMXjB2wFv9VysHJxIgvtrY+iNk4z5i70U/tgUNw3vMxxFRprgUnODQGaMjtLB327vUgNQKWQ5BZ6Tmf3YTA3p9Hpbz+RPsyjIbyHnEp+ZC13wnd3bdv855Sv9S6kxyb2h9oUu9gdy8i5CkQaHjaIqkyxV1yv2gpkd1OrcXBazcMZMoqD8ax469CVt4CU15yOl4oeZHlss0YKXXUvs1sR9G06jgiJxRMCetY+wmI9RwLIAIh8EwXm6uU+PGtwP/ohjgGH18bzFD9G9NxX9xEQEg1bdDh+/lJr7fw45Gaq0/CxHUqqrs3e0gYbZNIKPLaTOD54qKW78wnyFoz1HV5mc6IxIGJI9xvcXT1PRFQxGEDrex1JWBeRRUQp1mnPx0wQmOq/YSeiIWj8ONZzErJ3QZwViBzZhPe4HmHTw7z4uP/yMsVYbxgF5gnvbTy5Fj99prw4iJJ07Vay+JTqy2eBF5exNEaV3XIsaJv8CLVXswiLR2iItaYc8YDzRRl8FRt9OL5xQ73rAcYq+OLl2blD5t+UVhAr56OVPecsNuf1tPJspWWoRy+YDOgZV3ismrF3GNDwfxKEt5XR4fRVpGl09V3+PxSa3VIeq7EqXghk98ZgE07jfa+7ktJwRC6WXGI93KWj497DZQ0Tb+IQA7duUBlwqPLd6CLHZ7xksqpO23jZ7U/nq/sPwQIHz2vwu3JRwzOAkTOhjPJABQAU/lyBB35hPiZJeGaE3lGxualt0AvrFW2jbQ0OjyvlWzyabtpe6N8ccwLJg8NDYh2b1JyIKVufb1GJEzAz9kVlCSSx04dzNu3xGGhgWKalSdYWj+1rN5AoMCHPW4q/VKVvx6hx0UAt0Ffv9nWlEtrIxeI3nLfpMR/TMAs/9IofsoUx0KTdG0qYNIrBjtMCqiy6iK4uX6pAmOezxmP1ZP9S/pglIqU2k/uTNr9LsYF9Ro1bNgmAC1nedbN+i7C6lybEioN+HP9a1bztNbGONgojFCo6aNVsD18spncX6FGP/G96d6uf5UMO6BnsTMRRmdOqoqIuNUA0mY84pYE0nX4c/VJGHZFGYW11LgeD36Y2WcXie27NMcxfGq1noWEvW0j5Ac9ECEsRTb/vobTZXFc6hwBc9BTCZxgF71BZSwdEvlyrbnE3Cr/kfMKRcCIoyedmk6RIJmWkP1aLz3/hA4+yCC2aIxaPnPux1RJYmmDDK3q5jH1LSknDXnDmk4mK0m6l3WJBN7FLOVtqpuPTZOFGcsw9nuRO6nEhcVfUKQCyY/pLcxTVBqza9zOcU+vHN4AsKnxOx7aSLvAusi0BdzzziYYV4Xoxg/FPo43Hra3tqujCSW8Xl5bZsAdwI7XqIwutGvmVu2wMy92jy/ubSRjgDzKNPSKd2VOvxt1+sg++hys6c6HmVIwMT1MIAFcej11N6ceLeEdxz4VwI6lkdIL2fbWaE2v3TDm7yLGp06FUHdxTp9NKylmE2vsZvkM5tPCK56EuLAwPx8MBSKczCazoMhlnNunn+LlvSSR3GUQmo/AjJq3VYenGuw5GKuXSFW7EPZQ7Y6SBxoWBscsDS0UVBR+Lyd3k0RJ8P62pzTRrnGbJx/lq5c8UjWY4bdIzmyyJGK9kB8U6WSGR7afcJeXOUXRJdYoDkXq0IWe0itln0U/D0QQfEMpYSmRVyRUDdPk8qSQI4pzrrZYg9iW+P9m2MClzi6gjLZZHekzPXJ5i8QNEg90LLJSshOCmKmvbYXFX7BxLONDRkUNDFBgI8K+I7p6Ka+V/+VWfW1gXTB0BeK8y+iuuWw/WKMtqsu5XSZZNMiktzO4fZH/tCgZTpSg0wEvReRM6RiVItGhK+mRhN3CxqD9lImGBjcfnWwV6p6MEiy2bGug9Jlnb99f2qwrE6fhqLtBKCZ45wrmLjJsdotA67ud/3+R4Lj8nv7RYLtRyX0Zye08ysql2PVVaYk1HV0sPFu+lEscc4U9CfgacVjyIYExulSEPP07LUbGfKv2QGrWxjGJpkTVL2kIuZEFtApz52rwGGZqxksOESQ0tXnlGNPEprWrQtCRHVGIsojDHuYMExiyvfH8T7VXqUP0/rNnBQgK/F2iCEnolSF+/Drs4jvyfY3uPOtD4GPWTLkEbe+RME/cYLlJxB1kLce2Y/1h/K1xkfh7oDIsSHi00mMeWjwKpkG5qCqo63sG0d6miWkgr5/TcJlugxljxyQWRzuoHYULb1U8vPo++uDBrEzb1N9QEBILAzwIvwzfeX8rHT7nd0BEHJgL0f6TMW4jC0UaXnAUy8zLaeBdnFyxB/9j0W1yev4lHHhm/SM/iwS1cp+uOM42gl5lcfjyR0j2suVQ5lsADOJE+xB4Z8FwYcnbIOxJkUMnwDZy20MKJ08+TrrzUs7kQ6HfodvNZGPs4GSXqiKQ2iKxqtfDR0ZNn7aqofD7IJiUNQuR5LSFi31oQgU3z6WD8X+5kF1fxcScnG9WXfdPB+q8mDjV1+iLQ0vM8yxLEQB5esHzNomAgNmpNbVdtBz1xjJU3rEW14QeF/EVr5In5i2mJ2eOc0+5LKEfiUjW7j5PLa4bCngNIjW1Rdc9G5LpF0ILrEpmAvi57AH84ILdGZ2vep1+iSVvk2P3gYLzAjkRI4oTJjhCyZi4yC1n3Pg20dnOZjko/ZTeYpOb+1S3sDxzmfGbY24427XzSBMKpqYpfo7okZ4i9bH2jf3zJRxfmnnU9ARSMKpdBo3kc0fFphd5jo1CwCPWI8dqqB2JqaoEJN+jQW/WfWDRtbNMT5MDZPGyveTravtAQXzmIgauDaCQOCdMkzwwt/pqEscHretRxJXjfvaZ+tqVlDnpvyTShUcQ6n6RDU1mqBpZ4TZHWlyZ8HNa7E+0p5EEwQJLQzlSBKOqQUUHZ5Jqh18W/ZSv+m5syDzAjWKur3n0cbq3+n/mnUFxmhRQJn3i2QZb59iTosPOphbjZdFA8jImVdauSOcCHMRvD84kb/YYbQu9PggEdgsHYskAxsC29LYVGd+hujvr4PU72Vi4t4/3knjWRacRHCwwBYtpCmpk7GW7UpkgV0+6xcDnsTnit3+JlEgJm4S6zCgVRRzeo4Ntf4HtkyXfpPMRqYsfg5j0fthBO9ClOc0ug9YRnYhC5Qn9icg0VypbWX05ZjcqQv/3Xw3R2adXWdeZWbdUArhzgwlVdUCaJ8n8GwB9lveVwgKgYaNawtHtAaLU8xXa5ytAGFpdUtuIujQ7fimmOQvDuiupeVEfI1fYQh8tIC7o/o1k2TlPUYWuAip7gB9TVztYlgFy1nsWqD+c9TtPsODU6yhzLoTa8xMrphSFB+WvAzNUr0rSa4FC5LOuTbnivJnDVXaqAYKRJYPw9DAQWtpxodxYWQCXKcgesp4UQv5L6K+sWhsAc3ckJpkYRQG3w3n11eDDGhBA1t1YGBwtPbsRSEV+cMDlpC1sY/O7Uhv+QMMISxpUJnEh3s0L4uf4CjDFZpKfgiOiaWAEcYI4OUn6hPjRVdp0uwFHD+Lsgau4UIgE8iKZi5m1tlCfswukfJNt9B7us1Ucc8Kj/0G4OAIwsv0F4efqQpHtJpsy9SB8ZMHirP/B8Nw88rZtKq/BO2LIHE1abbJDYVli1xTEKnZLPDJAQ6y7xebeB5tUwzakx+ToIhpf/R/f77iiW5K6tU+nbTAHtBq6Q8tVDgU0X2QgpioTBXIDG9f0yfPp78pKoY1aSIwGwd3NUaUgsp0jbuXnhUGX0daCv1uvsb0wCvyTbaIMYqIc/NG45UbBJuaaGREtI5FEvdlCbdf5FV8ne6hPcyjkdnCIC5IpJ9uL05HrGyVowQuLfZxntCTrH70q/Nusi+6w5lHDm+ECVzEUgtu38WhRHGmHcCFdG5jone13DrsVJV0Ek0scWrZqPC/kqXAG/kAxtVa/QWR/ItUb81+/STOsbDKqzLSN3zF9u0ODSW02fCl28jzB4SD9ZIy6mJovawD1Vaim+lS5voohx4htOkd0mNpGqHo2brHBUrLvZ4WQRIGetSjkAsGFI+FBgSwm3fjx9JmvlbqjWwd5ZeNenRe74qdZBnOSdpuxyKKkNprZqNsdE/M2vAD/CZPk4biMPibCiXslNw/NS/OkdtZvRAXQUvSvcd2uUZcFGq+291xGSOpGayDTeFPy5ps06o/PKQVjAB+V2AJF8v+vP0k2+4qHBqM+aKrXfBbrwvFwsklHnjRKH82wXWkYCvlRfpQ2CA6ucvdnH5t7FdgCc1LYQ434QsgDS/FxnAlRAXOG7rz8m5AMwxUz53InWNkW13JK1iRIX7uGD6EVBBppIyV+hVVfCOVmPT2Uv1bEyih04n1sYpQLllJLdJsKUb6jI1TtwPvw8XrX9Uw2AQTq0JNooOK4UOdXS97EqT34KR0MTxcBulbbtc/knEniU56tbfLSmeOprzZlzbZz21tEpjOO61/gQmRF6e1f+z5hNPfG4pYiDSscrB3nhsKm+Y1/lLU1FghTJ76d2W1+mMGSHg1IPTnowp3apLF4U5CcwpsDb5Lbo2pA0n2/p4oPQwlt4R1GzwI297G1ueLDq31WQ8FsWTaPlcUjH/6+9TiknDDQ8IsuC3M+/49Jb2wJFKhqWHhuNaJTYj4zA5/Gp3FjocMYSDZH20qJPrbAkTIcCqun7ISxLVjDavAbLRihOOsUiYk5RD8wsL1oPeMyMLmRN5dDwHKBlZSB1UtOk5mJ6z0YD3mbtIwHtePqrgMev4JzdEk1LyTtmvtwwHWyp6Wz3JmlLMlwqlewtxclZ31Sh93bgStRnWO2LnIl9G8eCnwbTUz4FVz5nrsSLkMpeBjc3sRFbGKdEdh/0dckFDNR6j9pyyOR2TQ1o94/KSrS+LiomY6V3A2LXfTDKQe1IFqe5Nb1l8ujBn0Cb+ZFAM0hQic/9KaqbR+S9aSi9JWI9NhzvPr9jprhYX4i/Nk2iLr1JIK9881kq2FZ//CJeJh5Mg3D/l3hmmJvFtMcU6UXHk76oHixgjRgaKUWRbU5N5qy6mdlgKPP03cOAbi44XBHA7RcLH9xXi0fApdpuyd0zN1zAsJZUvwruvIbKiJGLXXLdszciFt+hSSC8sJOPdVDG/p0GpFPanSXu+obsMpf1rQETaBwhpTOC1rENaIrrLArhvml2+VZD/PSLuZM+24+UEOOUqsVi9HcJPki1LTuAPbFVhkNOPqYXtUaUlXlChm1YLRaG2gkqa6ixP7heAsHn6CF/K7s6B4BluKsEQrETl2dZs/zx+Ed+WXTA8nkEPvE/75uHXyPsgad5ETvTeDKS8HsHSTW/0CJ/PrJLPmTvlZcAXkQesl38Gyl/rau6bHp5Xib3uxMAHouxKH6nE3nGtuMeW20Xr107WpoQWL9dCIOg2jZvR/7UboHQw1JuF+/NsUKfQUC19wuK8x+9wB26Zpa0Djd3EmWrt1gRon10wqikaITdfGz2rmHbiWHhSRmWzuSZwfOBbFiMUC53tHTii/HQOtHoephpGRnYRauqmTiKL9yjonphHbALsJdJRq1i4eCscM0ruNNobJIicDJUYwCKHI2522hHDr40j9YwB0JVdQRD2xK7Pp0oPaFAu/HDk+2i4FIgN9k7L/V2y3RVmT/Yl6Ut2mMULuknKhYoDVIoZC5EUFrokDXUdgIzneltHt+2R6CeQNbCChFQU1yBjQwLfs1H/eLQ+geGRqirtNcPiiAv1gznx2Iy60agulIMVmNKcJNws4vtk6p3s0eME0ht5RSP9K6rLfbWQIZuQ4nW4tAt4AmJYVFi9h2L59oux7XHUsMtbwFJRZBahmqoyWbg09xORRZYaFOBO2xID+lvcb2wJRflcmjrVVaPWjIYIDef3yhdNsWgWlJxMpFwL04+8wI3Tq/VLsXZUdVR2AbX18aadoYaqGMaGEkofkez9wIdSXrKbr0W2kiq0JOlpxUVs+mXik7p9MbLfzrxRPHhIle3vGGZzzKmqalZCQ8Re2mJfxyJ64D3aFqcwW+ope/WK1FmDTZQKjuIyVpFzOLywY9Qj5RYWI5dGpv1xEQLW6M1AuVPomll2tXsGe+Gp9ktPdTZQ7oGeEwEMIVSWQqsTYzgyiySgd4wlAMrBdiTZJUzsl0mn6uzeFT+B+a/7gRbxIJn/PoNH7w3Q/F1AG9p/iwbiaZkFp7cX80hj3+ZgzYaqna4412zVgzq0MOd8aw4tX2Ka7V686UlAe+9gr7Cc6CSarP/TTypA99aZ0NNqEamq0pQ/5h5e1hSW1u78IweoOR8zrU7Myt04ZqcKBXbkgqDdf4GqvC7+e+E1Q1jDNaidy+E/nIdAmfz8Sf1BNWofZBzOmoT0zLPMzrU+nk4ugj5wwXTKXLbOEQM9E6CxcrvtbibHWPyA1DZyLAcsl05FtUjuzlvYGB5xL2BOqEAFKycwA5PyS0dWIdrqt93MR9mKlr+WsVHIe112q+aInJXyBrJewKaDYZbo8t6jL+KouQm6BDB7cCwgwrGAEP+oQCPZmv9lY0kTo1IZpjTFAaceANeTLkNj7kemooKuxSYl22YTuao+jV64Z9HFwl26Yi0LT1hCker2UGpykX6iL+pWtsaQbivJOH44auAnOzIvNBRhTgOFPGEbbRJS7+ylAjAFQvRWpgSZC3j0VTB1RwyzSmOupR9eJXDegdTvYtAMjbbDwG+DneRNSXFdk7490x7GsKtHIX6VEb0pjs7ihHk8zLcdm/TgnAgPVou3dDFSQ8FC+cEyTDKp6jbwjbcjs5XtBSe2+PWcBTA7CYyl2Em3KvSRIdRNYyfZV8lWIrDgmgV9OVmA2yBB7pnMvI6S0LYZEfI8FQDDuuYfYFtoCHALV8NF7Zdpa1IWzZK4m7cjsLRdAxDXcS6qbabE6k1bjm5M6W2yc23fT0QIc8i7vxG7xykG1Jr6pCN2xkHlesKgyLYO6ioQ588Dzd8HyCyaoHodpvcmA5YdN8vat0BYM8eUYvf3D39Powh9zrgK1IdV/CtlqS6QHSEWhWqRGNqz5ZRBhg7nubq3Ynd5+O3P7z+wz9+696wEHEBsHN+32FCKCj3SUGPhGI2C/pk7bxqPru83jVQLTuTY6ZCiw8Uk68/kLRAL6/MGYoVSZiDY8tRLXVeYZr5eZOKO40JGkPTDHL4yZqVT1EeJ2CaIkYaNhZjHM4pd8ZjlzCyHfGbtFjhjxY0JhMy21aXt9WflfZfVMispXpeFVWWVRf3PnqzWnebItmCqXPlG30mBS/YBzrsDxSKdeYlU6ww2/zRIe9Oj6QiiQ3WPrPwFCKuQbooPQP6NTj00ZX/ejjJPmd1YXU3vy2B9tYDUsekmKG+i1u8oMsA+JN1PqllMZJoqPnxH8YgQw+KSxPfuHjTsbqEhzM7qH61DsEYPoyF4/ntQGMB9YDNrN4G5mJlb6dwefoNFtzTbGR5u0ZdFhxTxiap925774GIclQcW+lmhERfIhlfF8KxXIdqtjB8DdOyBKbasCNk5sF1D1EYi+8JZMtE3yMinLUZN4+uZe5fAri/QPnckGuQEEzGbOOS77MmtGZQ9Cw4tf91bfoFppS36msFxzOOF3i18nKNJkoEx17gpU4U3yR5d28RsProYVSOKs7L0u2gbVVzR2x5NGM8B4gh6CGAEWCP8Ys14tjpG0+NUUufO5bVLbvOrwCDtKj771waSZ2mF1d8+GJghDczvmAa6jO9Plb4UBvDPRU7gjMe607BkVc11grBaLS1GS6Os3JznNBfycH7EU0mOXolTK9o6uLApma4acOO5ztAtCK6i/byRLTCLXw0Y/jtAMalwc8vT7lqBKJMAloPUkuyR7wmwDShB9MBDzRbcN2H2ATtFzrnRAfW7Ql0gQvkW1uHQZ7iANkKh1mPG1mvvOOkHLBp8otZ45DvNFbrt7rRJkG5i2CqNFA1uyfgK+1bHxuANFj4TUYMlA+7s8RNZvPPUet9AoHrSPLQn99EC8m0nbQ6qA4J2JmhKOAnopqCod1eSnlI1IvscrnDuhEJ53HJ5N6ZjNEiHKCuP0vDOQmn78mj+Ryl9nOedo9iAHe3pVw/MY5WXvbJHZM7i0Z1+3JOn2Su3OuYD0VU2EMseaC7rJRZBv0hMX6y76KC9ogkc3GVKCwX/pmy5gdrcuX4K4rkI+OuJH6u7zDpCzsLE9ZBAEdkSo98JX6rlnRcDaU2kP+0gjnGjy5n6l+zGBzkGzKrwtnJkJLbSMFweoJgKyJeLN/ozp3KeennNoiMTa8W6VOFd1WaqWOssG/4VVxqkaVHGwigyXCh7LtRjccNogTCYDrbztWLS8NtO9QVey/7nU45q7keWGXiMHnitY1/eI9X8me23u+y3U5jp9Q6MGxsfG0tFWeFdgZQhaRd5pkUVZcxbNIje4IlLbs72XKCYv/P9SeXefGCyxEJEGbktNVnzzHASS/de+09RBL6h3YP8ZhBoOrXQh7XKFJYSnlLUrBBmhTLallIWQhDZVbvfPhCDvEN8EedkCSkp60fs5kOHX73y3jZLiDaeR8Gs+YaR9+h94yhp6KbW/lkJVSwPQeSQjI3ZE47zYU3L3M16gU9ujkQlzAf7Lri9m9i6XFWn/XcFRUadPvbRv7adI4SVUrZeusnE8nsHChttiWC2iHjuK24Lqo6wlRgU4p8a/mm9TLVbcePuM83KDmksgmHMD1cSD/eZfft09hFwGySCGJqV+UuUvZe7wfDsPOBsFf80yO7YFWK5/rvjVtQ+Yy2FNFYsR+ORBZ2k2Yy5+yWgxRdmyanAJyEFXF8tnEuAKs+mSf1JnwXhmmIoCLsdAD7Ov8b/cm6sZjq8lCMkcyMuhb0NVUxlsa0cBDnwz5gt1L2oB3IOCvk6SwccwoYeRO/NEBMiWNnmrEjYPvUeaUvCFp6zTYodKlXRdzUHsrqPQ1BMCjgNa89LEvui4RTjIFv26dEzS5mu1t4p5M3BGEKhh/b8v6TfNdT3Rx11p33glT1Ls8vqwQZ8yKcSp1TEsB2Mq6rPueE858HdCl5fcI2HJks1tpPONONhi1qyXU896oZR1D9Z6gWiya68xH0bUKNZg/ubkpMkp/0E4WQ+glbUlmKQI3qXXHXMp3wj2+Vlr80eTSL4fRKeLU3iHmo2l5JBGSqropH5lSdOTf45nXTI+/GytC6Rl9ODZgR/rvpkTzX53JhQ4XBi3i2NmWDSrH38FrDVzHejM30JCQ7yxoAe7TMgk+38z9Iwog6/XDDgtPYYxnqiU+dXoRjp9OjWqn3fnUbxl5eYLETtUPT01TND4xmbq11az9aNaYrhPzL2GIlMNd1XwuzCe9LvrGUY+wVAmWxC4qgOi+drxbAdMdCF/dc8ZswMN4A1fbOopMQLD7rxG8KjRRHBJ3S6my54joqEauwHb0KE4XIdidZr7jDN5vqidJxQg1ayjkzWGjHx3An++t9WGSi1iFqhAp8oLZHLGSvOfcA0tZA33DPSWxX5LxsyWkfe6Y+zcBmIrPYEaBe6CdUAE2TiMe1roCF0kGMft4lBwVzW4qX8fVpzpJlkS1seCN0+2sKQeKePlu+wefb+G1MqtEcx1c0bYCzZVxKNNvkB4B/LnvzIAdBjRSuuTW+lZGTcUyN1vETYMM5ZQxH07d1WZo3DPJTmR7epw54RuE7w709PYsybmPIOvMcMgUe9tg7XjML0IZv6czf22gKOApEpigLKJPr0CN/O6v+r37qF9Vml6ap6QZudF/+JwgjNDIyd7jK3leHrqnShx0kOL3RVkWELnubTfgB2xd4zQQX8G+jjG7MLH5cSQ3ZpFRz1HZF+MSkZhPEaqOuvfA/e8/S4f5eoaGE60ghReH0ofKQ0XEIG/F4cBnlQfwf6pPDYVazrJFSOmFjDulDKNzaViJcTHxHfqoDxZ8O0318U7iQcESAssEr6y7UYXlTQj9lDpt+NVi+8oLYiKa2IypP94OGyrdaP78f3EsqjVP9cQ5r+bJUichd+cm5fZBS35tu5DNQF3kYstmvNJfRfcERSJJtf8UBJ3KOIGgK2eJyInRru9fsCS8GV9/XRynUcMn7diufWhmWgBjGKSEyj8Ac7k0H87+BKJW24aSVVUQr/aFy5ivbnM6MakoSNY9E5y6MZu1xhph0f76j9SLYMxYbmzhzgsbeSCFc53gWb1QHjjF4ey0CvbuWJbd1fC0jsCug9UgXOh9NBhy9NJ3C7yBTFeuyJ7v/wEfxZcSpi0xi6EgPJy8H1Eu2Pj//XbW2i6EGEsewBbJkx1w0GdjQ+g+hHvDo7b/3H/p1FzbjAq4DWR8kAPVfOWnIZL5+cSKQ+XF3V8xzu52pDqqpTz9NBPBfcsSo2k+WLpsRxzMin4C9fzet87UpYn9OsbMqyermQm05FI9IUwESApBViaqNASs6gNfPVFNJvd3gU1T4imdbPKN2fvB4YOenrtT7OTLD3G0oucTyQNwT7uhLn6YysoeA8Rui1Lh11VtHy9Gi9GLoPqMJlOZwpybvQv5l4khjqCYabwXwtMXlXoQVP6Oc5H2MwG38ZHl/JuUb7/60C1d2Uhyzy4T3cEnCoILbSqifi8Ki3brD7nMR4RJrajVx7sXLRyhcA+EealNKPna3uG+9X0SwX0Pssx8gg9DJyk0+07a93ZviG21fITJjTp0lBjisNkJ+b1yMivT0/snfRn030SyW/tYaA5pgp/2r/t7QIaElFhYgt8WXlhJlh4qdHnnoY9OfMcfUhhAe+Zz48PgaYXZ4Q82Z6HWLfpeQ1sYZ6r2CYOWui1DQPOTEWQzgYCZsBom5CwZEmw1G0/n/57hPzzdGsNPJiECZNRrjYr+R/rXOXmYF+WM2pHVa9mqzMyjmJvnTOmoAk0V14qFvPIIBg51b+lGfhugUtPZntZXIy10AY4YQ5jungwAgsdXEhuAuiff+MJnnzMIBNJuXR2lozbLWKvQJVEWX1blPk1PthGxUmmYt+44ySOycXoKkjDpV/yQgaRCmFI1C+J6V6YGqOyJgGxcZ0eRW6xboR8/qzL8gfCjNsESd9gWXEgLZ1P4U6Jxqwsq/Fzw9JebmkWqMfP+1swfhsI+4Yy/3+QjvzU2sVvw5kvE/k5fwbIeT5QZ8hxtU2XXO7zCCjyuxjho0n8d4wyB53+l/cABaV9UI8MxYw6jJ8EC9a6ITqJ5FmYtdhtv+4Trh8DRzuJCVsJlIlJ8Sc1z427Il18Q66Uwrrahai7vpDpOYWd+DTjVsW/wtkmV6+QVpOhGnyH8yt515vSEfQJIcWeiLqMRXFns3rUZywv/soYNSi/0lQFDChnwuxREjD9T4DDv6H7nPNVNID4yyzeHPnxRqVEI8g6xoVBg6N93pPatG/DErOh+FJeKRv9lM2EAFOt89Mai17IP+iVqhSeEXy1X/coo1I15RPHNXwlQLxuhE9vdOQwvnzvlErD6qntHoBAqvqm4Jxs3zmaCP2TfuVAt+q1LakOWRKAFg53Slf1HjSk8gdthey/v3vqUZgy3HAUyi+3LqvjJ7/9Pf43sB4+Gvk/PSwLRDrT3hkfXiOHHKwWSSs4divHBf7NJ89Lz7ieBKdfaQuNjeAOLOymBoQDScDmsUppeiCuh6ZiuM6cU/K66WvPQjFqWmDSM//zvTQwJnJL6Q7uqI0fIUh8d9hDuavZDTr6Dj1Jv3FaHdOwgaQU6UA6cEAEJgcyGRAFP8ZNYc5Ojjl4/4rKrYvImTJDY88X+knlR4NVzefAR01c0ER3JxFOJ2Dwok8MCEcfUAG1E4LnRJVt8jRb9o4iZp4DuIOpvbn1fo5awrQFVvy839bSsJ0FSXVVixhQK1nBh8Pc1dUN3T0xMSvqEuFoISPrIkhxQ5v6FK7VpFzgh2Yzk4hFKoVjq9qIRZRgubTm5gNu1/WOrqc2CS97eFJLxjdfd0529eRqyOCYMU01+QY3IP7xQSMGRuA2B3EEGiJ3iE14x064AmeZQzONXYN8VVL/t0p6Y+tCKCBrEXN1vh/+WXs9NPhyNz93Tpt6tzWwkLogs99rBDpEXWL/LW/+nHPnFh+wCHMoVuXo6ymfFczz4I9golfADR30MZa7z/FELdn2hk+QzaUUJyRGhqCU93e5u7prMV+gwMacNwENtWMwB3GRsNgFB40l9bwpI0yHk1MaiH/I8CEUasqHc0+45i4rDi/id7SkEsLAMfNxySdgIYdKxWeJcvoiWwYkifGCiemiBSnGnv+MwnnVMyePwDp3eoB3Beh7tGM3ipa1tiy5IszZVR0GBOPMkUCL4fR3K/eDxcgCRV8VVM0QWdGgYIgLjMnbJ0iZwZlTPaaUk/hPvEaBsd9h8AjgcYK3/S4hupWuilI2A+kgcWLDJoBbyCjlrwJq3lJ6jdFsTIEEWFKwrExFJUreAgm9Fii9Fh+VOxv2NLjjhd5wOvX5y5211wQ6Ffwidtz5T4Uh/ACI5YmrBm4mPjz/yAutSExd7lvbAL4616X6+ioHMmJp5M5lj7oZNESAHI0PXbOH7ms2eWah6HPvQfVE+Q1cWwci5M49BGpI1QFa8kKzmYyIcHt3SVZhBFbrXBC2VEVhXRN5R63Ez8lSAD9G3eFvo4W2bQtFBJ9P3oqg+AOXCy+aWRZzbbgFuNCZyEI4TKt5SHK6Lvx51HxhTFBPy/nVLZikqM/yyGKo/36HO6kpb84pPl9K0Qepa1M84akqgiCvRa4ogewL1ZT1XMBo10HSaEVnv6VFy54WQDv9Gb0MeGtzL5Bd3N4g05FW8/jX8tT9li48V+Q4Pdbqui30DgTMPKtKqgIAzzcHkovBFgz+/qH7N4kbiSEm9LT6SFzge/+LlBh9xQD6LsMtFeANfRdiRAmHI+wXWVWx7LgYt2FypbtXwHxLbppjXArw5bXKvYQaLyOo/9DP+WtTKSPyUzAEhlyeCUkI/CavSHUvXruZsg35Zo6jPa96vY6dkvvz3fumaZ/083HurB2+mhnQqoIATIH1nwrln8S/d7GicwM17p1Y9JQyOGVk9J8A7dEBy/oP26RgDVzjD+QPXtatY2R6kdr6F1zPhlDhIVaVNVfZlO+m9QiUq28fNUEaUqC0pggxY1ibn43aTK6q5t/ErX2Fs1XEcI0ebsEtcJtdIF1Xj+Tkb19VKdIti+MiNTTBkrVBfAtIJLRx7FJOmsbRFmnd87uZMpVwcGz+yswG6rolyBFPIRj5RpAodYzQQe/JCj2hvUdEn0emo1TzHFbP+Zj3Ya9jYM3R6llDzL0y9L8/zpPNY6YINJdxPZWlj5X/lEI3f4kRokmkgEjaAFQnCRyfoBDVhLtUpYudGWQQPg1ad035+G4j111ScEAIZ928Xt/J5fLZlxkxC+bWQBFdN/kd7tLuDyVldZ22vkULeHOFquoxEUjAGeEE29cq1nM2QobgnHQIMC37vq0fNC+J03UQ5H5Sv7VjRJYhtNucPU1E4zgiEYQHXsWEV4lapIqQHLMfht+1psbSlLrOIuVfi7i/q1CL2hyyHmsfOs/sj+y6FVd1OYF/i2WR7/API0qD0SRK/3KZMFbJGRfqd90mz0LxRdkxPsBaF0bapbjOTdRs8wdUmo12ySJNN1Q/XcqlkeB6P1Bo4st6+DiHvO0a/N15/sA6pOcIetVC9Xbz3/xzC7nbXaWvF13fHvbDu19cPJfn5VhnNUtY4V/w+1uiA+Jab/RC0QXYqeibnc1HagJjl+q4QUQBmDxDkFKiH/jMJR4wJgI1l88O0fwxQSsH7Wszy/iNLPkso+KzDSOwnpq0Ygql+V7HCXKAposrpPdtT/1zjkcxldrjMvvUXj6iSlYswi2CJlvKIyQlBxl6lUZ9oIMaPLfwM7nlRBablqZArgvCHTsLUfU2snI5KZQ8PgHWyiKq05ml2PP1ri3CcYJVhXDy9/qqVg//gY1tiz9DGjxZsysMj3CwFPPTuI0NGBRCdolLanc/fHrvFs/SF98xMRpCg4yObe/TaRH3ci4YFJ7C5EXT1FlwYNvKJnICunYR7jwguI2iu/CrfMN//zCn6KbcL0dxcLC5bzcpO3igidE97iHItFeTOekP+ytKJgSOmHsqKGC5mBqY7BuFEpgkCumTcO1HYefabHDQIIey64S0jEI57smk11T3DpipLKOJhikbbTj1mPeVkEJ2k7LCkLs//oksxcjZc05mOXCSLuOIrnrPSCd8ovCJsVbivqW1GKBbNQgBFItrwFi1jv692DNkzPwxkcesJkSbW9MdnzBzKPF4E9um3t2WFdH5bK1HXPu7k6kf3WRClkcN67rgMwGv0Prm+hxHqWVUt+MqGxayElJTZN2A8EHOWAZw2CSE8KWcH854qCba+ufZR7IwrbL4bKaUzeyIpYamM9KnI+PCVw4PXaNsRY78ZSTPrQZE9gNkbNNffAPqba2B4d4253CpcXdM2Ur56FlLh4vAlbP/IinQcr/paFbVlwoOXqJcCkUsm2U0lAamKdpMinAA9PW1G5FtlE2bq8c9O0u+caJ7JqbcHI5AgKRIrxG50YN4WkubyQ6Js4THlQKnrSAS/nxL8gjt0Pp5PRo1Ovpo2zgoTO2UNwk7tjPfqMo+9KbpxQxju+MK0nqc/jB7N3h0BmsJUF9XLt1K0xTdev9et5rxhVMuTUBwylZuu02dZE7CHYEgWx3I2EVH+261x4jtxO4oesQNzc40Kyg+hxLwDhMxMRn9Sws6LfRlJmNVTcuzdg+x23VeGXrRmnQfP4FB2pUOdnGF2fwcLD40o/jXlF3o3QQwpKTnvzwWxkIDR+PURiQ9InuX1Ag+S6b+Uulpz9OGbvSoQMGfRh9CQSLe9OGdR8YlfInMqv0WagcgL20L43D/DxWYvSQIgufn8IUNHa5MWQe2VsKapNthXwawcVtD9J4FWT/vlqzpk9Ag95lz5/uYR5f6QrbbC4lP+OUQYpwC366DqC0vqUKobo8xy2EebxnqvWyO/BIoPKX6Kxl1U9Mzdcro20t7Rl+rtAVU0CI7o4WUjDV2tZ5OsFUpAYKmgno2qGNuNDn52OymsMvzfvV0uTCruAkTUBrnZNNqh1ZKGcR9y8X/W832QQqjtf6kapm8GaT8KSHCTuryFmRV466G6vRBXiP3VtJn1xDQl9tTN66hzXBfTB7DCcleEfMaBe+i+qL7ENHOPMDzlJst0wrDGTatUrofsMWHV5Qs7j6UN+R8cESkfJOc5X5SeQfTENTYlkSUKVwoeryK0trIA9+9LgziVKKKyz+47X9Hskfe35Fy0IxU29RgpCYiPRbPWyyNehNaAy6aGuIKH1znFhVyJ0374sV2sjBGFjp5MgWeeoV1EmxC8WQoEyuC0+llqZvEIqDkNUjGgkGkHUsKyIWZ58uSYUoMZ9fw/2OiNiYh7AlMTUmnYV02zwABYh9vgvYumA7w5T1z4qkp+c8n0CvcCYipI3oVhbmkggoXhy+EZCFzpm3sYern1hshinfDtajZSzPUPF4lNHivmrhGRlkNqwRm4pgGyvibNNiRu29LS1Ak1gnqi1+hXzeSXUeIWpDJCwNXAzmNpeZpp3btvJmXgFU7XxBg24DNxBWYdVQawnNk2sr1uwilXIFL+P5JDn4crKrBvWXcu8xCFZ0KM2pYn6McTkhjVwl6eue+vq8iRVhjwXYqtfdTKI22DiPTJLT7i6aW5/i1SgVwS+o1gLEzTpFxa/2BkJ6OFBKOEmeqcor++T0i4Dcd6SC2ddeUYFCPOB//rv8hIE0p7Nv1BsawH5s2/5fbn/99sraYmRXlrOpQf0D2yXZOMNOcpOiS75H/toXwOdPXQGhaMqsk6vPOKYaksEz9igdR/CfudlyRbf6+H0dJjp/B8Jv4S1DGDHmZaRBqZEfz666o+cC919c8Rb+Q/RnJQxd+XtuIJu9C9f19Pysp8aVgnRlTSvrH7hTZ2hW4Kd3ZooR72HF54v4wasLXntaILgh85BcwkfHLcZq535adRUT6Xz1W7TmEeMyboGdJitePMv/j9sUAnvEiobzbP6voxMmTOQme3sbGXry50yBfYGI5Gt9IaB4GUANbaOjzj4FUEQehIcYjMAA4oL9s6tiGSnLGGrH8HEkRDcxd1eo/osPj/YN1yatislataHmCqDW3cqEPyLtemFUMzLILuISPSCpGqQ7JRem5J6DKfGgpkcv0K54Aw6foobwKn3RGKSRPme7BwZ/NfqTG4OeJHRe5+JtN6YRFxWGAIEw8QegsjBVjZVx5bfs9v3Ec8CVmP3KF6FnqIDztJmxEs1tUAhiTea3rvT703ZjtmOdzm0M+UCkUtfIM0xto5LwLIrJUjUDu3jBpSBiTBkB55LVwXvbCuvhQ755pUxyeEbi7StXkDYefoeH0lkjyGNEoTogDFWivlLVD50AIniBZf44OhjsnSTEek4UEd2/oEueYeovhbveCnLFYvl6NfPd1obU36DYoGXywN7vZADar8U4dL7iwsISQnoodACXuj/vkODKnx62V6ElrxXoCNu6dX5XcXoxTZwv0ug8wrqe8ncuCsTejqjnCWHaQ3SO/Cn2SDWi+eJPkfn8Zk1dA5oJdXkE/GnmsL5gatLWvk6qwIi/H0jN1DJPgSJtPdinlb6CxCe3wgPG9OV6zwZM0fjxhwG5YUgLlF2H4lDCs1GhYKELkkeHXx+f2fARB7mKVJSuE5S99WR6EGSbrdpeIcDzni48J1r3O42JbjHd9euN2xFpngn76NztbYnmvW19vbYhRYSEn+dgXT8iL6uVkSWA0wluqFAbLGxOT50fl5+bMRfmw9w6cZcBZBMe9SPGdQi6jME9CLIVcyKP1Cb5JqrB/Ud3Lr2TPdN5X79kTaUB3CXU6nq/y5Wp8qPwYU2XcZHsl6Yhdd7WYKyqIP+TY7JGibYUEi3In5pT2ctzXtCqc4sv44qzxQCEUaI8P+NVi/FjrZHB/yVPLO8mPOXvAVkAshyoXiSQdz84Bbbn/tMr3YposBAyWl/9tbt92lb+ONnH4pCJK5e6MB3xUditgBJnogrHRT381f3dIOca1s/FTI8lEzVBatm7jU0FCFdwQXI8/ODXwYlLuWvejLyJGk0HySgGC7Ikq4frHl91wm0wovTWE349DsEH+s5TgOH9/2Rt6dujIZSzBsbbwKTq73EwD5/CeNMPDzjSKTSgaF/dfHNWwvhcmTqL1qIrNxComIypxQlbi/nmdiLscumTvdu7TLKaA8chQfzbYPre/zI2JzJfmV0MWG7Z35WMVqAKqmoXoDa/2hWCz8cZsg4ViKKDFQMNoah0VwXGknuKz0dLombHLYwKs6BU6cgBUMtXfNE5C5oPnn9Uuqg5d8rndO/eYCJCGmj/NB6MlI3L+FL+UqY/FwXnqtyQN7DmKte/aNp9v9nCGMSuekru2dNtAcOpjKkGE4GY07MZDUmCgp7paaBx/M/4vDg7TFzKQzr7OJqNAT6qMSERxALsrZzfXs4XIOFX6cVlDz3ckFw3chURsVFb4o2NuivDOHxla6jI8HynKg7DmOI9Z2u6QONEL09b+5MsZ+u1X4a+oIaDF7jxv5pfvY8l2fEomg9BtBh10dpbBLf6Ca88rS8d0npmdav+NQvMbBweNMn3ooP64jf20T0jQXZlf+dzNDSOOsm44YOyNc0v/Z1j0lQ2eXuKCJryE6Jmt2/8BPV0sK1t4ckMGhPEEx0QHD7V14zzjKAzM7DpIvCiBZmVaohG8/c0XtcX/S0ZvAIYHfg49CLSgG21MHxeQdWS4XDnyTVCuB4Bv2cxg+EnsxkSPbOpARKInSRnkvDkT/6oiQlrDs7sq7TerSecXMoX7thiXFQcIj7B1rKkCpeJtrIaA0oQ4fDz5i0RawhNaF+hW2iN9fsztZE1oWhFBvXvYYYuWm+XaPIFI0W/IdTHc+ybxmX1HyonUtmG3ishLF09VodLNe4A7l7y1cWmB2XlMkWpY7wirJHK9ISogobwsijULcd76Mdvbbw1sCoazQg2s1Yjn0TzRGslAXnLXW1QlVmByF4tWNHfDZ4468DVPXKxdiiZXSTPrTVXH+Z8pRGJtMiK1+CF8OSzjX+TJIagV0pgIJYdH3n7vQbcSxEdcKJd9w6pnNbKV4+45sKtODetotDg/8ZKOhrKmtQ4585yRHAVp3fU4l+eECDIg49P0CwlbtlxKmYjRZ524tE00NFYlZ9diLdwY2fff1rrN3ESx9ymJEKW4E8c32ce4DqGZ0IVk32C9PQMAZpCx1yA1peIY0TgPhJfchX764QSQM9nDHoN4EZbiOF57NoVKx3hHMMKNCs4dDxPNiWLtCf3dSI9PmmaTjxRJpxTr8+55qlgTMUsLrIQ4gQuGd5HxzyGGURH5nJpQZoVroKToSAdf892xfBD8Q4Da3eAU7ARjULBVT0USuJ52bTVp+2jnCHzkTzV7ATOje6b6ZWFxdg0zzEyCMMo2/Rrp8ZJmkn0OblzzqO1gZEkvCrpjDLZXASeY79B2JWKtHrGzpYrYg4z9bGaK2tLYPm/zjKJtAj0ff5/HPVLWDjc0iIm+vIRSd2hblSOdzLcbClwuzm9ISMj2WvgYMYiYTcLwXrEBjRqbGzQUNQukXC5b7pSYJtzjnmgLGykadDayKLLChc6bgGX6RNSzOZ+O7p4vwLXcPGoZEOIvtUCAjWNymkE2NKVRy59Ua9mKW7bwpFE5qc96rk3mljaklMd2zi+7/wQSMTUfhgNS7Txg/VhGK1hIlkgialIg1BULnp0qHviOmnnKT9pi9GKVNTL3yVANOgHK1nbzWFPfEEqAmSkXLsavFxEfgDfz1IhbCxrg1Xy59LYoNmu4Z4Mt+7gOqF6ZWZ448F3t/uzI/LVwztp6I+g5LkcLBMOxAsY1yyDrj4p1X0v/oEQhBRhuspJ6Fg2hSQbd39a+pt7O9k/OUM0x2g8tbbJcwIkRyB4/J3IZmOA8h+qKxrZJvs0AOeT51g82dx5puRoD+NKvQM9D+luBDJFeYufnSarTKf8v/U+ZtwpMiQrjhFfbFEssfJB2O9RS5xusBUJE1dPN3UcYa3x1pfDIBBLR/PODaVPSmrNxxfuNN3dcwyw8KG4h8gJvfxky2r1Uw7U9FEg//2jPSG9KCQHT8LnsWthzFjnuUqY7dmpT9nDY7bbhe8N8e/Zj6mpWUweXZtvMqiYlJfiZiX07rxiah9cdckhkAy7E2IU/Kw4xB2HKsfYhMxcVje/ylM8MrjGn3/4sa37N++2bhnyfJeBWl4ltlKccetdzxcoHJqizVAesR5CGQTSMztT9dXviTDBsoixVSoZRrwpoEzRyR97WEXxh84jbf537ZJc16gsUv8hdQms2wafelRfvQVcCLNHanKxCvAe8cqm1w6x6Fc1494zuUAze/Ypvg0ZKFHe4l2KXMVGH2t6AM8k2jm6It1MvBdtab2DcrQYr11xS6oO53X7Q5oHWe3dTMdUwEKV/SsVWCBjSH3sc/7/qA9GePA3KSNdqadJ3/+qPz82bdwNdK71Yy/XKlHkR5f0eBq0vgqM4XYrsQg1h+5xR0JQpe46PcDDz0l6whS4B0agxM4dzdbo3sRPlL5JCKW8cidaLa3qKqVOGa+t0mxx/S+0A45tv0El684UPnNRIM+wGzZ9uvZ+YaFDWj59cCAgglQanWqH7gLZ2lTaQUbx2raGNLSWJQaE1GDywVJ+zKalfFD2ROp+dpjD58myqit7grHiXzJUosDTAXtMSA+/0b8b2ZW9n3/h1DCixgiMLppRr8E6c+jcGSvfoZxQBioSt4OzcVurdVBBKZQv8/QHaXiq1ymM4gLsYLh7Eg+0q3PFIiJDCWHaGBWxM3uCSlOHfOzc+kbsPMLZAC9NINe5+UkNUS2OR+ZfrbezYBlW6AcKegrYz4JsIAPRCP2iOmtmYq4aiECcI0hs9M3xNx3TwnhsHNefVOEPnGnG2vEuzOxnVZcPDqSVS6uC2Vu1f30eYigu+phTxXPBmebffjQj4T3HYeJSCA3aSwj1uEvUq/6/Yxq3x666HwNPUELpQncWEWJfcaMwFuqVGSfvKWJOgWry+KTP0Re63HSDOToPISE9ohJUq2tqn+dE4FqhK8Ne/3ef4AIk1IJ+o4GOXtK9x+BXctoBLoPd1dwy/f442wjiGj6VZ8+/1DojOMWbzCUS9JMDpVGz4ZgZOGZHLCEJGHAY7sefKn33V+T2N91oJhYl6d+0qD0A2S5MuxSXPL6xdg6I+z4D1dbJ/dkj0O+ValR5xx8PO3uyvpG6DqezuXYxe+1OsNHnaJ5myAq6+GuF6ReO9Ax9+moSJVykZ8Ypk1XSqUz5jd/Cn8MVqtfBOfWLOnK0LIZ9uRQx4JEj1raKEb8vovn4Ox3DA+j5g8DADAylq9s3HNH7qFFxO/Sdc1J7kq4zHQmBsFmqsbmTgwL5NPM7nQCFt7AAk451Q0pY8sJNbQiz/HeSo/KDiyBADxetrGQqv/9q0EYWoFlu84Obrk2/BMozEyr16/z2LPX+AxeWWOjAKRPo2kwwGPlR4x+1J8xEnQ0T/N176STH71Fys+div/ST0rb1irUwM1fga8e7Is574TQGIVQKJb/jkBnkHpB+CUXrq7PyCByYHAAt3Ox58oKJhIk1YQqO5RQK+A5XqCypKcXo+qaLNsrD9OZ51kaoT8wugG2l3L/KQpECgFdzddWZ4JE6gavTSViLAE01Vbk8mNYupsUBVtnhw8QwrX25ENleHxVN0To0mboTXqTZsdlfNvwZm8cHSlxzsV63M/5oK3FMN1383Ug3HjkCnPacBwofzFR4u1F+QZwWBJn2XNf0T2idyMcZbI1jBocqS86rVYqfW9zcZLvO3tx+ApSRtF3BdVs3FGZ7PUMgvKQkdkWo9ag+8x/wn6whqRvydvd/+6ZeqjrTBVxdg3NuhxfSCtAqsO8PKf4ml71B+/cX0MsjHIelBcqJ1pCnjlg8A72rFOSIsYL9pRpW3MLAe215Zh6ortJzBX5FnS052OkM7DPRxBYCJzrgpqesVhmPZL1ih5M92HWRiF4c2PiRSVeHD1xb6JdQ4s6Wn2SaYIQrfL6R1p6nAKNK3tu0AATGqb+Bc2yRPCKiW7dEGIcjuA7QglDuuKVnU9ErY6Ucm0HY2R2MZMezsPOpJ0OL9shJ3AVaX6Y4ZyTCxaNjavmc3ZXMkAGyzrIimFHSTeB1UHut9+k22q26xQYyF+OHgA8PugMRVcYCGS8tiSLFtVexYQgJhDdoWIvOHK5u/OtJihxt3RBv8cY0JoKxC55J8gzHOvyRM+FRc0/G1jPkc3xTW1GUvwZJ0r7ZIKQSE51cDrFn2S2sfbVTv6M1BpvwvMfPkVyWq+1YaPe7/ODO+RNz4osrQ6Z+/5QHY4UmfprkdphuwheXPnm+K3Mmu260e9cWdVWOgN/0dcC4eIGbjqVGKTfAKsaqphIFw2QYvdIC5LQaUd+dMyxiIqj7ZuFy6ew8WmiXtQgb4WSu+gXFY3qHtb+ynLWJ2PETwGJPIHnimlOMvuiKBhiLGsMWzlGfBSl3wiiKlq97FoU6YvTEhAZWHVXtpnNGKgSav6MaC1KdNPexzmLt2IilKhhs/NONhvdGzvnAOH6cTTvdDbLjUKTKly16vuYwJgYVmXaNLk0m9Plh538iPNtZ6btCc5sHlTwkET86elunLSWN/ERBDtiTp26T9NslWd6I1wqwOkK5G0YiBwDddsTFDBXNf84tljmMCSvwHyoTsUHoJqSRN5xjodnID9ubUHv9vUZYdI19uRJAigG3AcJwg2M2aPCYIKMAZ+sB143dStlTQ0GQzUSobCJPMOBlyNc7aOpcahn4u13dtgVMVFpplrIU8aRmubeOxyhl69R+pYfh5e2pTA/I7zSzJCAGz2/BmPRxdNhnSYE5uTuNnMS7eCN52PhuDXa4J5RIzOX7y5cm9xuZ4r6gkXd/3oN9Hf5rePuaZNmopN+pSXmwIOj3cxESE6ysnAs2yYntDbSgQWnTpBEYrXc6GoB9KhhCVhZlBAu8wTRf7CkMS6ANBiSEQJfKzYKeyaRMet0XBfsTeBhusuAKyNfVcldA4HKS0H1eW/OdaJOuh0kXF89ayKbHvKmpCUOKl7hZVESx19lK13RZ+knqY5R3ty3QardGgCrhRnsDgLyWHymxhkMzvL7UE7w9QgKMFBdNpAFmoyHbNIL4eN860Ln75gMEi64Dr4gxzeCdJZ629nbhHBUPq85jG3Us/sD1kdVYKjgNTjtoHmsrDRULHkf/b66iReUIhU7j2LISh9+iZIEyjyBvVAM/g9ni92Qo3flrJ7lwioFYXOO7rfNA1VshHsLNiVSC1m74mGMpEqPa8jnm0A0r/PU8C9wq2RS6O9evzsCy1lutZeG1woNtScfAebeuRSeFvzUp5p9EQg1DuLvXGQL4sheasZob1TnsjC8jnZtxZsuuJbzh9108xclD4a2OCED0BjP0/liWYc72uV4vkRCyQxkyy5OHYK9cYSzFWhzBoFWjZuRbwOua9G5bO2klOcKQ1T14v/kRZk2z4RHIgFjZkQm/HiS7esnmze5sLJhTqtQg3P+JVtO1QXOkxXo+LsEaRPPwEPSOiHZCA8Z/IjB7EGcGGkhoIve+5GpPJJn5d8+9A4f6OFL4/yKgobvA0Fu/PXF0GE3Px8wRKD1rvaSupeum+XTOaWM0AxHlTKG14IQL4nm6mR24Z9P1GolZLbtAaSYaWRzFHXKZBrwb0yOdFrXS2+kmHMuE6ETwqhlWnTRLdq6PiYNUzwy0kRhKndgFyNbv7gV+pTiwGkn3ZENElI/DMym4yLeq1Xui2Js/U+FfLQ6tZiqX8HYRl2oJ97w6XN/N0HDPO8D6bQgcZYYp7lGPrt8/G7OMQe6Isw/b6GJk1DWcTg2b6uuwm7xJIpl+uCOryf/dSSidq4fcH+P0KJF/Qj/10KjLlT5wboxv65rfqAoquya+/Brfc/HSw/LyO/vGZ1kOuZ8xcDhssh8+NDSypyupqVW9SHN+GbtANcxg/piq2xf+EoJL9w2i4l3PUiJr6Ifpet4E5X6dSYGd7lPqt7k8f10a1CReOl2xUMY1h952k/fOSy2C+kv9I0kNU2IqS5qFM88YTXj/BcZPyt6uPPbpsh5vwIf1qtfzCtC6tE46/6qS/Nu9De/MDnf7wIfK/wPas7kTYS0qqaVDb8/ev7WNaH8Emq0Y9Qi9VAmvIisv/RN1/RZO0KegiecX1uVg1asWluAJjEKcQQ+zlVbr8n8uAyWKna1bI9FeAo8KO9pn6bmV8Jnc59k0Z5JDAdGi30UZgmTuVrdezuzYYQ4vOC7rAH49qxTRxOfoI+ju91AkAwnNx3JZWmJufDBu1b0O/tdmlv8nIsstCfBg8Ruf0Ne7N+JeLTv5/TPJyu95nA3a/sPIQnY5H7BKQaTmesFpVx6P8kUHiL+gr29iniKOeMs7vjYdc+KQDLaVC4gdIUKoJPtHWZI8S4oOqnILvza0HCCVW9njZvnZlt3/96IHvBsrbYSXE58bSogUetBNe32ac/JSDo7BwQoiI1jBl57O8s2PUBjeK1r7Uqu4aEr8OfOJ0vhywFUEtogbufDCl7IBMIa5Cwm7y7szZuA+X/dW98WXXG5urFz3SrPb4CzE1TgX55xpLBQBs+sTJ9YllAhfea1k6atFnKMQWDV2Htxl4g6VJmLtVcfcoC3lGRza4nDkfINlkOunawHNCxa0eRxw789Ex6nr9PMbM/VW2nzu2p/fLmFHIC0+rdqMgkRjLo6LAfZnqmykIgp1d85F/1lbgDZ05aqC5ftqbFZZEAz3Nn1hsZ9H2fl9AVzDGonZvjD61RSJ9n1qTuTF3uqfIiizjgx2FAFDDrJr7d4ECxahDd+D/Q1KGWx8XoyM9WDfMYLFXROyEkOS31PGcFjg4vJ6hDpwND4E4E8TXqpphNOWzZLzmthJaK1jDCb6CuCl28BFRZG7ytj/5fI0itm3MdF1Tu/OdU1p92IshmJZGhknrXt/ywPaliP/2FqOry2yRCsGx5+BhnGsG2EzVlgRIpId8gOvl8FfCkfixptdkenctutRZXr1bJc2iyj/+HosrnfCRXQ3BO0W4zTraww/RRFXssTIg0TxVhQYwkOc9jsBy7GH5FiMSkP7oSKwy5umC9RTQlNER6ET6TLf+4SgWyR/sl3ZIcDFKsM/5h0PRYfSMpt+w+ykIeEuLHH9NPAD53bXRzogwHOS1oXrxcpdF94W9B+9dDUQbPP1JvsGINDlsOA2a9kLdHqV5KTHXszgfjJZ33xhZTp6aJYgfFLD/NeQoqpeiwhen/0sD7HBK8ldy0JfPjjbC3ta7XGUpb/wZCw3DGAIIuJoDwxTxYVpFFiVLVlDR2S0meVlbPEaqvClWXLq+P/bq4iEBELJcsyOm+d5e5jsuexoEwPNGypI69iDM4ts0ib+lA8n/aTrcxZPm9QpryvZJFDRSkp8zw7IgC2E+ViSl36zWJP7+wohNLxwhaSnmpaUiosVH8RlxBC5VCCnRunnduF1p4MtiIHIU1sEWLr2jM4kvQYRltKz5EIrZC7/Mt/0jLe7r0zJStjHXk74Aen2xSl9F9J3Jh3DUM99fdhljGhF/9np6TYaI22PKYc1dTlnF+4zkPQc3+wBaIfrXdFNl2x2NPFy6899LMyWT6HhLQsHqiAxO165Jlq1sOx7+VMYxusJwZfnc5Pk0oQBxO/dIBMlMtZVkbLPWiNTAYmzKjBd0AjeCixglS2eA0Y/D2ysr4blpIv/Z4g432EgwNs9kemqhdVu4iOrSW6Ls59Q4v1td2GC1Ms24nH+oHN8tLN0BRvCs05Mboj6uD22CB4Vc/XOnI0t2SJsB1bYpMG0pICk6boP25Zg8aZMm5Kgel6dR8+9/FJRB2KRvxgLUbMaSO6aHzQIDtYZeVkpl3HziPO9Ml6Vv528fFX06Pv1BBNhymGzqS8yOh3uWMSFFYWHgK4XA4ZqKXzxwt5z9fbzZ2P+J4McriUgNumnNhtbjdqwgCxaC2Sk9Uf5pDhZjhQQCli0SaaRtYBZXkcSbGOMe9OX30UsfU6IgT1PN0Bar6aSaIZSaGiG7L72HS4YTOfwYtTjAtKb01jwLXmRJoaYEQmr1ZjKlUQpUs/gpDZSRE8xZQteEz6Psoeyc26HhCrNbKB6iklydzqvVfNREicpE64gt3dfl0EQJafWSt1vCkDjY8EwrgPvWHadGVyABQ7Qmkcl2pgpuRHQGOsqDZunFXQTWYLiQhug4uoXjhamzwUgYUkvwAznUF//HdzC0XO2zpXe8cRyT76FygC6Ph9bCrgLg1wQ2g+OWIr7WefXX06Bpm9X9EG9m/r4ueejOmW03OBuWwrBeZV7g1kEkS1reF4Ema7dYn+vwGbysuNyWEHVkIvQDoR6e2KbjGoITpCY/Cx0AQzXSvBxkTA0IqlbNTkJggD12nTHe9cLvqsIoTiJGZ9etNfG53TUix9wGLeOOLqsFbzUlCYZ83uq2PmLbrTpMX3w+Z8PfqRbjqMIIV5SmzMQPbVf0kDR+mkXaojDnad51lyqH6/e3mHINmxjyJ9QtodD1Sd1Vv6ofYubiPGOBieGxTiIegBbGkd+/t2YasmaxE1+E2F795cGVLqREWwFPFWdWt0PfhCvWZzpzOpHYlTS/CQWW+0bp2VSkbvAr2SQOGShlv+17yisaJIrPWGeZNKd+nWK1JOFoUUEB7IA9nqs67KwCg1b6Y/HPyQ6eOrqt6/qx4zG2/yrMBTg1mxG9ZOdySmtRrtiI6DgfFF4ycO1rabYwpDnS80OKlCvswlzaNfvU0dzHYPEeUXG9STdYC1WMLMRg6HbI78C02+UG/7XjxPbUBrprPdtTntJ4YDvAj6NCLOHmbHO4I/8wFtzfyD/ZKNj6lyahUHCrU8stmO4iriR52jcItc65EJJdw5x41e6I45Wi2FbqZSttCqAylx5kACSPgnyKoJSa9UQat6duQKzWTOJBNRZT2AEulbcDHN0c70s5Op/BiTwfHhsRXgytS09tcKm2RhJwcLW7px9zRF9vl8wkU1RbL9JdFxNR0el3ydN8Ic6hYrT5yRK9cWbTGmzugqHoKm9OcOgMzbrGguMoKr3AswJF3nFUDoDKBtXT/BxMJF4BuGiHgaMRXgxTOOoxc7fbdjOMlVlR3rEWgUf9BwUfaTE26ZeY6IKRWeLJSRM53Q5jMWIjJHYnhUSZQyQue945yo5xS9rThrRIdcAKXgmRJEekoyoJSjcLxbiKjVrJGWln0ZdkPvzYDaLSInQdP5tcDXxyl6dy282kO0tKxwcUNUZaGLOqksFgYjg5CNKZVGIyDxd3U0Q7uTzbZHoQ1yS0EKRVmoDisZivLI5KX2/ADVH9i5colAPRdJJHkRmN/YKEGFScY3OAMBqOyYWNx7wjNReIiQvd4vG+EbmWJTUViHKZwPa2T0XqSlBW9Cm1ieeXHMDcQaMIX73oINrWxQuNgs6pZP+iMqVENSB7Nyj9C1VCHRYb9QuvztUFTqtZ1xEX2QxusduLC22w8irjZQQuKjxPEpeRk0/tlKCL4iJH5CzR4CVerbT5cpZwlBR9IBkhG94F50vSo1+shrx5DNLHxl60S2/UIFadyq3x3DjiqC1via2SmAdCb5B7FvSI7mv4EPlc0Va6DiW9mWtzw4A4SVkvdYVhohgjbsT7r6RHcl/xIVrms9+5j6UgXFVuRGiR4JAXinV4EnjYBk8EAVsB7RhXi0psHN1nNi57dxQfef9gw8XI9oTLzSeSRRwMnD3T0ndMbshynYMhzeNRbsjY4pzlfMexOsarDCfODoFZQMfGOCS7S6vpkpD5G60CtBMW2LG4/jbYu07JbkTt/QaL3a4OQ7mk/OfkZr2Sc8lkn5zEQEGxEVtWOE+xaMvBKIqrHV9a1Ddvl+sogJKsCBv1e46365zfDyrCY/3KWIxx8+ZtocgSCbFTj3cV1OPbi/1rjaicHOQcTbLP9PiJPabSeHfRMBPaCDKZsfP/ZMKl+wnI6XQYdaMgURMsImmmroJ8lOc4dymMRbVHdoANW58ACyxAVlKqUWc6gnODTNhxlw28zLkXkfHcmYTHgaEzMk3qd14VQfBXJiysoCx4tbBqL0D/t6LX4GAhykdu4N25MGZtTTmUTyxFA0md+Hb0rTm7bji2+f0TZLP2De7j34HnZUl0hM7Kw+MPTTKhJiagrRsikNHg6JCA5wPoymipwo5Rzo74+SaPl2iRYGfb5hQ/k8h3EjJb452sN0GyJHRAAxdyKen9xfXBU3zlTW3d/0abBfqmnK0GR8tsF1teQsFghRZL0iceUwXw0AYbuik6JyxBg3g3skDRtKF56a3puqsrg91J+BqFvkbkzYBajOdz3v0lmdUlcqIC85uWgc8TDn40B8fKHCHaJ23pgPW/GW5p2kwyLJ2hcaq/kUmB4RGt/SCbweNbTzQONWY/8LfV9TI5FXHHlBop1d1XHT1AAzP55mXFaEC4jDYhIXc2yi5BItIZHC9PgnrkHBe6aY14fhKj8Uz18betUfif5hXbhys5Mo/b7+RPSsRge5XQuzuLcCZmKkGri6HU/64oIuq9xX9K3x0qefkDXRdzQuJ9SyPw8g1vMlIPAH764ad6chcbjO+Hdya87goAgL+ATpkAW9QUFjmcJ+wuQIpcUV3WJiWFUvIhjFxfq+pkrtAUZvrjMv/M+AEBP8Ch+v/QCTVZMmUBdHfMbzqLD+SAQoGKEQtt+GTiv4i5JiqYOFz3i4Bkx3VgymqLeg2KjW3fv2gcGQ8/jGkI2qjO/EY7XJ9TX4r9zXGHWdvwM27hEu+bSQNjbK4DQx80y+4mTztaymERyx8qQ8lUQKvfsb+ycaghba2lCkegBYTZqunG8zcZebHnSikuOD0v+zpGM40a1d8ueuLyFVRaE3uro4WoKbf5phsROcONI+ix1Hk+/jsgPRNaz7vU9W1iT2/IZA5eYCtRCKccfTfjeH+c3bwrTftP3aOwRsGY8IfpAlMYhdKoiI4UT2y5fj3ZyQMwkxUtwEa64+3HUvgPmNhZCSF4GWN7El2ImcgO5O+9bvL70Tnw028eyr6ZWescZxC0aTU4raVa+nT5E/6QjH70+UYm5hYMU4/HhjjWnXvWwHHYLeGlCG/PryGxno/HV8HSKC96B6oL0ONMseFNrLBDh8QqpoB/0zOwbp+nw3pD2rC5CweSKNL+BMNd8XO69jgWFoTftSgCZJ2MyaPThw/SfFXrrGewhRD5kEHolQpNDrKbCodX0quEWmBTW2irimJ7Q5rX2bYAO/jaKj4NXqF3Gqqc8iDccJVqtvXHaePgBNd6BPZ7zS0sMritCNqOGz+auS/r+zY/fUiDgYMUZ1svrO6FxraEgKH4PJZ85LBG51h/X10ZXXG3EevLD3lWxFv3IpeiOwX4M9Q5bO8hhsEtjoilWqb8FoYhs5BNp6Png4FQ2nsWnfKt0T6aDyishULje+PmD0EpeMi8xhB6x2FRzB6zZy2d0wTyUXqjJ0POAcopYapfOG2mkQFLnWHUpevttFUS8tP39wyDcMMS7HhB0Ozt+Julet1uEGzIsF/bZQIbpQ8YvrVe7hhBW6Kb5Gi6f27I2A1MO0/0zM//OtwljkCzZIwbcBNi1IaEzYER0/e830W15ogyBL8m90ffWL/D5YHgX0XPy2PflET4kKzBEzQjdhJNYt/reQqWV10UkCVPtA/akNNsMv8r10ZT8wsCk5BUjGfeu4Bhb64UJqjqvu6QwamePb5ax2ogt/8jmPel0xPXPSOFcGCv8gD275ui8CYhPD/Vvk4X8c35WI+P3BTZ0WBGvh9UHA9UN0MdaIDN5BHDxcrQcz2jIfPA3chS5ivYm/pGrjgN2e38gmV2z6+Gb7s2aUaqZFsHueIHdeXc4rvTTGcYjmnEdLh/gJQgvaXxyPfMLNrb6sk3fer0dND3Z/kJBk8wR82Qp7SvMBKZzfdZBB07SPHEi8kpBRANxS6ZxdY2Dx6T/Zkan5nFa0YzzmdEXkdln5VFZR2WiSfpQgWeqcJQy6NBrheqS2xEV+fCw1JQQRheNfL/Bvjd3I6BWqQ9yOUzL4BMQRVQl3rOlUk9w4YdTQb7BAsupMdmZtpY8OPBARW4l3DztVwcfBWJ++y4tn7CTMU6zKaj/LypeHItVGCesOLyWzmGQa9bzgBnxYE4qHklUB2/ZM07ZkMM2TTJOKV3ctBCZtMzt/p2pB3m1hJ8onecjtm4EDu48a/jZQqOR+16lmTynlIwyFOciJKhAjCVBkR8zyDuu76OZeixwSNpnxGksoK/PI8JXG6R6NCPN0AMzptda89GSFrHBUXzwILaDFSktwoSD3Pt+PKkR2DW93Em5t62M7a+NrNA0gWIGoCaSnvf0MdcqG+26s0xl6EMbRU8ovgRXmKxZkYZTR5HPbsplcdpMLvWWbVFdIY1FH2kpnVrHghCy7rCqLQSjaY+NFHqsYIFuDPyJjPHlmZ1ksPzccoWRlnVL00T787iiAaORnv+81UEeHD0fCMEdjFGtsl6d54qDMnkjuWJuJm4tFnqUYIxalXyPA43Qr4UcVPELs38TR6gvxbfE49ycBUFWHoGmKU+A67qcOKdZjyWmKlfQU73VgTkLWmsj/tAGEhZeoGTjqQQ5jRFfzsh6LaEUDwm9LGyri3bOhFHBPNDuZO0YS7W41Fkca4zrPKSLV1O7p3IXT3xbrb9VWrR9jSrCtXGjPemPe5bXKaIsAtYDDFz6/IHDkihoKojFNTDkxrcG83OW4bF9yCPqRwEo+9o3Hz+l+GZ5RIh5ScUOVbtk0iVxjtaFBY3Fv8F0mwZRuyXEPQ0OKVqJ6pMJzizOq2rMkNI9fkzErQPKXzc2l1A8tb5svygnqJPr9I7WjAjm6ulZM38XJfKGHmQ6PZdWMCgVgY+dRV47MVHJhOYI5s5BWpJybPzjwmHpIvF9RPiujLED8n12J2QC4PURYpj1EcPqMLC1jD0L29wmEv0Ta4XzamaMw7RorzjXZ3YnslJ/l0cyoB+6OyUuWvCli311NpJ2SYNmovxv3zRVNCsbEJ49gkmU/sIfxRYM3TTBOn+U7Z3dq74WH0GJ0E0932hf6Cq89rx9ytf9/DQYFzrFRR5ynXYwuZQUVrWpnpaijs2eQVmGoCbQMBIx1ShApHxs0+UR63OT+01P554AIofE7+tDJHHqvJQ9i5igoKHypZpMO0+9nY9AlLS6Of/jKG4U22jgBAEelwi3DKh/cNK+n/OgSYDRPqFT0FQe3v+mqTTIpT0tmvrhU9Z5K0cWLLpnUXQFWoxlRt3eUkEzERSVP0WUxAnoJHjp5EL1wg57PIqEOLuhH1sMnNLoBfwymW54IF8oRp5AbiFuV0ulu2xs0ijz7jtZLJzgX9C8B2rlZ2haMDgE/MOsNuwWXDsPgWBpK/8/XgqAwVlnMWWMKtaKATp33gLRnK1+x243Ufdvhu8kNG/w4YeTS/FXwjh36VCN7NHPJX5IPd7q4czRk1oODeRGVBkuTMhabyREwgip+8aW7N57N4GY5ezZpfR6r+iRzMk+X41NT7uZ/jhUIFehYxnu1mEHeP3RfXIE4U9zmkHHKuHKp6WtL4H1n58iucZ1P+U6kAH5ExK6pFuuBFbAhvSjRuu9IYMjbIBvuMYtiBtQWBCQMMeOeb0PMR7V+hoTUMXrtRcBn9AvEitKnDUhRM8hW8+yXZ9qDzLQ8gWC8syCvgRaD2wJ1Q0GshL4yPlUDw4Pnka+BKJjsW1w+cbybgBS6Oq+DFL+SD+JyUKCf4JWk/NEtsZqm2WSfoXqMWOXN3uBD0snO7h9KzjiFW2T6s4NABMWxe6CKP/x2fNzT1w02U1yAL0f/BH5h3ObuMVRuQ1iFyzzv0RR1KJcGV/9tWzcP3116hv9SWfImcpLassr0DtREQ2shdh5DiY8B5rZ8kFsgryXXl41k+bQc0maDCsV4WGpuisXhLMUs+ixBmLY+/ny7tOmBDJSuwc75UvTcshm0u+CSNgxmJ6mBJOH5P7F2CMRNR72uy2XPgqxxpMsGf/gf0ZKNbVcJ6GZdkkbA6YHZmF4or/jyfxQN9Nnm3YHkatoBm9LPq4BMnl5jTXz2PWHSOZf4fbq+G6M5Fxd70dQ3v4GCN8mvW5wZld++IIxKPcrzRNUu1I3Wm8S0TqYA/ofKRzuisS/jEAX4AO0kiw9lFfMTiR1h7vEgvLiONnlOPgDzaf4DXT3YfZuT3GZM+pELduJXSHB8jqmmvqLN1c4kKydSEDpza3dp8dvl3JcQwxHISki9WeoPgYDYK5gzutd3AALnzPp7dXlX7GrVcQjle8rTmOrKw2QX5bpJm2HBbvD636U3SmZeMcOQ5OxyNaOoIHzAup0cB/M3n/cswQHa8sKEtj2EsevwsZ9f3vdOjtPiUgiaVeE8IB4Zz6491w2uBlYYKkyCsy1vzaJT7Vv0o6csACXI++jMLYikQ3CBGCVqsmKGJzBq/HfnCkBQHuuxCxDhjrq2nk5Z3v8V6wD3enn3Zv7nJXXSfq4y9yTOzk1e2H3rjfmCbg2+QiHhlJ6qe5YYa5vpHqipln4si/fD9jik25LoOZ+kJu9gd/CjlwXgGXU5w7V7jK2V8U4kf5aCeSMdCNUjB+jVw0aECDUY2YXN3QP2I+QicWHqtiz5o9JJRS7HahvX7axHbrnfjP7Kfnspc2ALLC92Y2d4ccINCQEghA1FWm/JIgc/yrbV8qVtnrOmiHAsN58tPozKfWSqcMF1zg6xbHHFHgK5puTnq73jSPfG5B8LOPKItdINnVutvtSPkRV6WeXjpOjfTghWY4VCP9Gzo0+Bx1iNcvz7q1LCv89ZwJJYpNduh8C5DOR3XfRqEcT4ygmTzeQI9kiCXXMRkAbe8MiPG9LLdLCWoYt0a3MK23+4Qi3MoJx4oJjBtdocTapLiq1cfjMyuIMQUambbbBjWa91hpUORBtKl40cW/je4Xweyj8wlBb6GvBbUm3Mk+KyepbZhfc/3WsAk2zWzfHabEpKkFkWbfMQuEtNytQj91HNNtoOqxZ4FGSmZfVPITw7+KgkwvXilfHkPRXfWZ2/5ImcFa1VxEHp5EBuSVB3h/flGws4L1hQmki6F5SqPlH9qhtOUyJKmPImnUvmSn53FK1pWxRgj4GQ9SVQpPeq6tHcQbSpetdwKilxt7bN0zPkrMM3ciiC3LHtJchVHP4V978xqS5YbVoPhmzGKOO3M2xSRNT/5eVAFdc6Gkkx3ZOq5sKjRW7aR+YoDiBhcxEmwVzjPBP8XN+rv2xnPl79Iaigh5kU63Ew4pRNcBw5djOAcOTgYWxKEWBhPYqaEQ3AFcZou0V0lISsITXMm6ZK3tJf9ELm6IDyeD3J1BUEhu5Zkr+4tJcsJvIR+Sk8m23DYCQp9o2SPOT6CyQ0MGtsDj3XxsaYoyXg98k8BCntNSJxx8cZPtZ63WjoFw9fjMogwY1Px/oZ2Ahu4obCIj39GrL6mkqAa1ZCiZj6hnKoIJM2zTJwe1YxSFbr3JASzB0FIOtD+q6lThJlRTWv3tsbRzvhdbpC1cBk5tLpr8ttIxtNe4UZgCt+I3yOkeCYE2VRe4a1QRYoY/gSvGbRXkFht2zpphv3mQV6JqzSw1vA2K4nR8XgYnTqlxW0l3l/F/X8YgI3oYngenSYGh00Cg9g9/rt1+gluMP5FIMxS+DJgc6ubfkYNGivq0bLox14NbE4yjRfb6VM7yBbln3kSA2GdElKfgW5tbvUtXidjEsvkeH+JLievEkUWwRH4F3vmg9sHgAnoin0laKa9fKlEmdoOIEhxcFTpZDTd8xirRSJuFGMqA9K7JIWBDL3KeMAhOzndTBVF4wdg5x+2mjnBzJsnC2SsEAryfmMz2p+plAePksrr0kQZvqg6/ppetBvBZY0A6gvBljlL2rw/L3eGUj9zi4hEthgElUdqBVnMH14FCAIC9tHAEByUtPYc3kBcU4pIp/MvsdQpuqgReU7JagFIr8uet3wMIV8fpSri+wZthDlNgACAWkkzojUPLRZTCgNUZcL6kl+GrlH85DsYObV1hjnvNM09io0ENZOJfPL5io9qwBHfms7GCDaxVt+DwgR/93cEQWNSmkErGy8sL0ocATf1X5ImpOQf81qbS8Gm22UPGie/G22rpj9B+EweZWPwVmONDDwqo9yGiLcLkEC0JMExnHgjR49xjGQSgwnALpPSiFPvbkEla2RTxEyN5ZU8YlfkvnrgWRrh11r/h0KBnKbTKj1T6S7z18cpx/oT5HiOwlNG7u2tMP7h9LroDjRdBWCe3zyfgh0YiDewqNzLj2UKWmY4E5rr3hPSH9Pf1AiEjcABxIz/pcivcdYE/l4EUfYMmczKmAeMib6rvHn4ypVN+/suV3jVUkbDm6MHIXwRokI7C2aJlQ2o0MoTZm3x35uiwkas3DDxV2tkFrRMakxFTGys6dzvHkBzeTzrWV4CfnNAnGnsB1+KFMiCQ6ApsCsroW2eYxXofsotqZbHOH6dbC4NBjTzEshD4ulWH1egdNzNHn4HVP2hMb0P1ibY6v6Gvo3vdFV/s3UJEhNgcKueqPc2gkr4No+cxn501QfEh3xZgzHXhUxKrF7OTAIb21GuQJu/UYnwjx4Ll+ysu05P1c8cJauGCwvCDSs84kQ4HnaJ569h0d3NqmvBtV5oUnVEPLPW5dYzBtjIVuCs19/8r1uEN2CD/HhtHu6fVZ8YIDLQS83xfEKBrod6s+qvnbLZKg3IeaV9+xKgiQ5XU74AP6xF0pqbj5WOYHiyBVSWFKzQqUfFWOQxvgLzqoQVhjcHkO7KwUoSswmN3ZvRYvajMqLIoITWANwQx8oXgMkddFzMzW9TnBG3sCOMUr3jAVapWutEcJgfGZNUWE3yv4/uHXP34aaA2+EBNSq1CN8NKJa+zkMFAxkHwmiyzrRJN8ZERfu+LWl4k8+ZFXiJSnFVtJo46XH2BCWmXoZhyEGL6CbQIvEVQTEfTFGNNlIHmbXFZhWmQdvBvCG7otbn3N5/lfh3jzFKKDiHlAtubwYSD5ZbW98hook1q/eF9OpE2Yxg/YEnVs7aKVABuFi9ic1dng6nw9NVqSaoo/rUPWsruBq6jF01FadNpIfAXCwbXEPXHBL07d6bOSSVK+icz7SPX8ezmoUO0yAUe0NNtR8iy/2X445r/+h58KzT0WAQhwFPnbMlZr1YzUbG7TzcYQf7uyDhSso8iscrqTQxxgqo2aJDHCgso3S6l14rulgl1WhRAl12H10twb7/WX3ylHrZRb7MxbZlcaJn3UWV3f0Cl0idPuDieoPu+A+9ff6lqR8bsoxBnvFMDP1g6wZBNO6rdi/3X1nBF/C1cwQBrAMDHksKqn6abst5cI1dq27+szQgGVKaSfz8/ppddcXKR+7BIcDhu7u/6DPC5TYcsN8HdNQOCuYW/Z2Wm/DayVX201se+jAF+/h2lVjd7SGjABe6qK1q53iArJ39BByUuYn2b/Kd/l9HsK9MC4CVknf/hvsMIaq/foirN2B8eMKH48vTdOJcdCk6h5Bz0Cp2oQfaPaKy9lfit5EtqKDQ5ldz8pOFBb5gwCSTglIo2u4KOwFdMQIiiXxwzxcmATaJkSxAnHHPeVUq+o9umMv0egnnN7gknWKSzRJmwiYF2K6h3dICpPM5R2hedp/Fwtfp7WRnRpbFi4x5WyFV79S2HwrWl6KU+4ImepNyXAtwp5b9ynZuo9/oY6oicdHAbB/0Nui/SHNKb9FwthpRq+kc/+3ZZ1rtPVmdl0Jlz9umDo5R+HDGVsNKmqElddzsZoVTpUIqgd8a27DtSU1C9UIzeX2TixciYi1hSvLY3tol17gkJa/Jt+pr24E16U62wU+qspNheHhfgQNpNoalATmAivcxh3TePQ1lmfuYWxWYum5uuQMx9liqDCEVeJIdgTRCVQLf0JOqr+ohjqDT+BlsgyhssyuazL5sPtRjk8iZttJwbksoWMiagfTfw7bW/RyiVTvC0rxxk6FsNUbbCIzw4qV3Qy7FgaUzBbegs1dYiVXFT+FwCs/lvYS+sv7Akd6uaKGjk46oRvKuZJojhiSWjHyzgYNgYOPQ71T1ShmOXoDqOh1wYhDUDrXiWO8cFZcBQMBJrDzEg3rKA0dWp9NJUP406O817qEwZBWQWvrCSe05I8zAz1eT9kBeXCp3zY0W0lRcXXxma+b4iMo/BJtT5/cAzp0kPDwqM1FasjJlfqbM180P1fp+4Tjc8tJ2Qf0un1QiNUUnCussj8KrSYDsxGD6bAgKtcuEjkzNYcc48gnn+laz/moQ4nncmMUuHXXDv1PlqL+hM9qlCpwH6aY1vA2NlWccG01QHvEtpfgxd3yLhJ0nJrnyZmF+f7JH+enzvAFGPPq3SJlVRgVYeSmF1dBl97doCS1V8G8rN2vEcXqqCpGio64+cQnug1BfUoqMYXORGzt/lIu1TUWVJQKsoKllDBhzhx0/jtD3RnAd39WFgux2eqRhxb/Ym+wF0HcUxl9zz82u5xPe0Vdy/r5kH6LXMXpDtJEiY8SD3A/ObTQtdpZYH1Tf8PyCR+e08C6Xmu00pJgbOK7TT0bEL6h6K+L4/0R4TjvRAjx4qdIMKBFg57ouBTiOsokRclN8w6gAccnLXZY8HimYh3VzXrm1G1ZouEYrcgr7Kj9HKF5t9qQ89hW7p65B4FqzlY5+EjPkC0Ss+Uvywn4O0sq/pZSGglnaDEri7nMkNHyht6BviEYwKSHN7iP61Ycec6rdzt33SjqOmRJn7GQAsT8DELdM48AnJfNYKMv14/64cBI3y1FoLEkDjtYI86NDZqwY6OEb5GolZeCbVKGfrwKQlS08xeol2MaU1ZuZEmnfvoUS2pRHumM0TB+S9d2DSAX3SPU5vSciF1GGNi/8ehVKPs+Fu80O1/JeuNACxwhUueqiSYbFIzf7k9dAhTCqzFa/9Mqg9qPT6q5+PBXhuG0P+gqvqEbK6GrhgHrkQbJBDVjH0FwCVI1tPxaALQ76VLwPsr96iYbz5RDYsSQW305y5Y37CMBYbbxNXdoZI89ukVapjXNnroRhjKAGWp6ldsdxa+BIM3HhYv+L7qXCEJ4xF6V61X/wHCsuCbcBVadc3MkCPrWYayJqZ5Ff1G3dZNI79hBnGxTMVdVxydLdQiY87q3UGU0ozuGvvxLrcRxnXyA+BRkxUth/o2YSiISbyW0VjHqEN6lvuuZXCH5vQXZAK5s7e4UMJJrV3sNi8jrrhNhGeuAISdsRyDqkYDTVbs/0EHUD4QWJa5B45mK4dtKYfvSWMOL0w48v6jOU0CGL8/ZmLgx7SaNrJ6e3QplwKCb8aTaz6rmulpb7ImTny8vkXlzh2UgAJh3PZ7j88rGGT4m+aiCfm6CdESPl0msAazqwaeQzwI8hlSzs26rNeiPwPV7+drjqttbuOp72dmdnhNIilTrgNDCnUs/Xl/RA46q5dXp81uD0cXEbcw/fwko8K12t48sx0CfLKZ6mXfKdQm+ZTdltLk1469/jWlKuxNF8kAfnWJiDKu1O4CWsExHLbfzpeKL6PMAuDegSnJL9oFFlBEOp6Trn3jNdzdVkUmg2o9vSW7mV2mE7/fcT5J1DJAGT1o2EHWs6B/AkM2vNfwNGXlv96ceUoLz362GmLxLxsMoF73rOf17ZADfN509FhGMC0/NEI8Ax4vHvdjJxTwl4Eu0EKl4nTk1RzaR5h637CV1dr0glt9qic5zhDK0QVZWflaYY14AvT9h75+6fKO1L4M8oVZeN6ZlHQIxRk2gLpaBsqbkHS3rJqzYfTrIKI8UPsQATIX9X2FfS4WQB4ddFNh8SVW3n7eMz1oAWPHA2PhIQB9+4HPnVWhSWzfIniC+hZywS6M9ck8C04f5NYu+8Qpwt3JN81nNRa9Vjizn3hAFQ2XkKCslh56rktRulgWZWJRD76kl3ZM9ZUukr1mIRjcVlNadOoCBX20C0G+y3k5+X5V/xeWgjT3noVQCYknIVIV6qFlOKnnWiXFM5P0D7pCE3TOXAqOxoSp+atEtTSzqwNh+dk2bTb/bZYuT57mKFo+yXVLHufJCsptsUrXkAHBH+wzZNkfmGyGK66GgVU5bqHz0t/LChRGRIljN3DuME2ZHa+MDCEe+A81ij7T/SAtZiVGEGcMrShm9kfC4AqrMkQmN8RvkKVh2CrrWj3UkY5Ja/HzYiuH4ou7mjsGUy35vOgmzIOL57C2gCSY+YpuMrr+Hjm4ADN5mjCijY5d++EjYBp1aq3cJboyIoZ9jb2eb7D6A4m5z3zF5vCuXxKT/KOGfdTywP978rDmjceRX1MvccBJFrf92G58KP1/Led+773R87/yCEMRYFvCH/kJRCuAzfmjqZE1+FU9KooIJ9x/FIvjBwNetgcUmJL7XppYaJpz6meeVwDocrLKA5DgfQOHU33CrIJB0HSfYQxU8oFk84G6kcaI3TRTfzaaImw7T+JJlOLCiRvKUhldBbXzGqyjm6vOWqH6967Uj38HwQL2O65fqM3VPHQJCaeIRPt7sjSfI4BLe6bLcZC/M4KFtS5dzr/iIGi7qDmnugh0+OMtfiOVJcNSsUnP9nAUJ4HLv9f1vcV5rGkyrLgJvAb6fabhIOVAFkFdvVP3sOtSKXY0G3iSkDZm15AYVHndB9VMOpMH1nGcgbkfyViZEcF51YtGfWW9sJ6dSRi8VV77vaDDs6nDsHTCG2eTZNeh0PXl3WLH9dQGc303/jZwKpqTA9oOIgVJVTfGz2pMCdvHm91DolAYaebTYpIbbcZ8j5CBRD70NZkZZlU1lR6hVJyhPcU5LiN9PPTdg7wplpbrkKYWschMS75Hgz9HO3SwDL7dEwdZijWWAyxK8KaRrimOL5SGhuEGGiLnq7EzcTwBISLWKQyGpMXa6aQ0DZT4TEsi0J4pJVsNub6GyPT4FcYH65MRoKFkYtUTEY+fTkzrkl2wxIMPxXcLBa/foj27W4ua0HUtCIyPhNpGL0QxNFDv0tzF+U7BG6ibL+YJy9cS/jhP1ZBbnpiJfkZgkyKAPuzH4l/HGfzIKVhoh6TiZLeyEHAWZe3tjx9fbGZk9JgXploOLrvJu0eAF1B6rFOFXbQFQrQl2lYql6W9sUezhFeJWiMZFQC19H5u8xXnURg9tFmS03HUcaweN0hTwZi79InVuKG1CbotUGnGc5+vA4Tsx/r6JHWAmom1G/+86lXgosFj00c3ZkTV0ehAlnW2c7JPfVMwknAv5iYagm/gFjKQo6gjh1tbxmY/Rpih7fSxXAb1lm/nwPHAtDdyTndZ3xCKICX8VvXx5hDyYGzkyyrRNM7HzUj6yQ5ydPd8QgYoANnJvwxf05tW9OxRvqbX8rdIqfjnK8Qe0FOhKDkvugT56/XOpGVrgPnYZEvO7LhIA6GqK2p76ES2h7l0Ppxn6sgC0oDoAq/m51k61l4rqb1kiCs05kfQeOB1LUUyjYzdhdOXiCkCU1LsvEc8/KKmG/0wGZenVgLt3qtcJFi8LPuxSKu1s6SLrnssCTL74ncpevfxbYjFgZrQveM6K8fnOHwnJjnGNtGbcn3bWxd57grmIDtiAVQYfhAu1y6I/vbYvYIMYwAZ1AW+zV6x6CGd1KeHn4YzMKoHixS3i31zsLnp+Sg4LNuSFRrjwXm8RqBNB6ak2nqLvm4j13r+3VGR7jusMvOo2SjMB2H+jpYj8oi32HVTH9dlNh6YtJeGAVpCAY23Cru5DjnXSGV8OABBTgCCU+ekiuttZm88j52WBeXxoiAtj+nwMY25IpFMneat2sQ/QxGH8GKpylqhb2HaHPheCWmm+IbERAMoRp5Z5pS8B69ZssxjSnD+sBj7ZD3BrhOgTQRfVS11mZksl44j6wHji2iqfDU43FLIIWCS2E+PS1oP5FbyLN8En/cRrfeCbXHXCHcqxkjemEhb9/yhYslBH6MVU8tzZa+9YAqwnkwNQdiyBhE0grMsKPKvigzLxm915vnKj7FBxiqRN727nsFoOCG7Z4TdEVzKKklUV/U8qkIiJtEDyyiwu7eTVLvszv50N1KigrgV8Z5n+JPudavRAZOOimNXTshmWQ/qxdthrBVO2oBHZqH7EvLtU5f8rV7wULeQF/XP9pUiQuhSk4kWxC3zSw6eXpbJg4cKOW8gtdByyMi9ewEjHscl3IC724TTBVCO9pkh/Ztn186ssfnY0t7ljV1SMNhGz+4RMuHqOlvHGnzbp3P5DSLegb72s2v32+tgGjtL3Z/w1EOjKNhxUNY/lQ/70JS0Sru9BLRuKP3vEtIGq+t0qTgbQ+gWoiiIP52Lg2alFDD0Fqm6GjnYo5Opzasmg1MvkHMqhuHet95ZEixrdjPAECZ2XgbkmeY2JE1poyptCa9yhh3RlyTo0cemvdG16TX0sZnk/mrp4c9dF/lQmireDUDa3c89wa63LVzKX/N85aE4Ug4P8c3wOKSBudmpPlu2bIafWMJPMROl4Che8JEXWIWTbBVLvi2pE4sF/yi5mY6sp3ByuEhbAQvn4Q/ZVIFlsfC9DqQECG3VlD7Z7uvLxS4Nvp6/0SVmqrOB84Hq7EyIo0rIko9ZBzVuaqVvUrjGRz6yaat7n4oQlFXcNoFdMyQuuvW9hMBCpW6COAf//RVpxGemGOza42rr7MIYhqmdT9LVQtR9eWwKOJOgf4mTHI1D/ThK8xgGlObUycGo/zcuRC+5Um1bJg7HJq6wrot1ttu3eg5p03hinNcUeCaO4cdO7/+SXydxkRNzQm4Nu0pcX81XwgPilbp/2os+8vF6HpYNpGkyliTGQ/xXLAvOLtLrrDNCPR/ReuC0gNORuYK68bIVvMKyndVoL5ohyiNnH2XhuXmDYCqMYfXq3ry+qsJr2odVSJ4pE2VLlHt+kxRYJJGMwjhjArXmBGr6OIkHRhqvF9Z2m1utobxjLi0aEIu9tjdprMDf2mQQN0zoFahIeHClohpBtiGLc5ZltwzVa51NCAkAoFY7e3SOqxoVWoPawlEfVYyuks/4PoSzkcSTlmzhTQu9gW+R5Zy3KFMJ7gsLduPvGH6qawo4xGgnqiJRPXxuIrxyLAZgCVOwvxDO17/U0WTrs+ogSItuuI4U40huZkbNJhdq+PDksY6dN8I5hpnYgndtWPkjt/x7w8/viDJn3Jpd0dFBpsWMft/NX4J3a0hYSCffX1gQFegH6Gy436N1Spq/t58e9cMV4i4eFtFcvWBCGM7lsAG0d/dHSgmoMwHRG2pwBqGMNGlMmXXjWuyg5OO3PDiTsL3+lAXCwrpk9p0xtzGLTmwSM+d2vPdJjzE4Jl6H/hxo7GlPTZxQ9OmJLkupi1WY1dbK4QYY7MLjBPg1Os3fNQI1N3SKufk1348SpUcZj97Dzl5dU2ELfjea8OiYw447r0p4oMy++yoBs1p3Aukc+RjZgJsf3vOzi2z9Gq86LrGFxK7GbKN0WXEzRI28HwcbCH+lR/nqLj9tbjlCXj9XOvqNU+sOw82fB8XLqIiOdOMBGh/+2ZT9Pa7nBVwSAv0vchOIsxQOO1QT5EPL27olABGOqWAlbDYGLBLZqpZiJv6xMFKRcu2vFEvK0gcLabSOuAMhr6kdk5s54gJFQgx9LzhibZ8f4axLduRYgV/AMr+Zw0U+HNxkJcy+LRWERRauvOih/xff/LnntvJKnEU1yzGJIKo7JpoNtXhsQINwVdKc64P1BqzC+WjAMrOzsOO+aB5bHF0EdFdYQ9KN+WTAnGntAA/74Ypw1MWnJeRbjVIDJOPxVPt6wnq4V3FszAbrHR7ky0JqoIatPc3UTYtihpXtgLMPAk3QacXAzOasIb7b7W6Uu2HIg7y+MrQm4NnHHns5PckMVaV+nb3mivzHrJsazZ55zd29SuK6q1UFFfuke7/cu+5zz4yE9rUcw2h3lym//gnKqG+HioeqFrICmJtgUVhjTeoYUoSt88VIYPxX7cGdEHreowhIQvxtS2uDDLXVwPHC0CU8KxlSTwPAm7Sw18wiNsmttJEerqxA8o+FxMEyuroaM0TWBtsbJWcXWQ+zBQ+TAnYqsnR8A+GURixN+5EgA6QRGiXxq7uYR8o2T/IZFgFubnxVe6xbEmtBt5zj+RnR7fIGo5kZB5ywfH1qaaKQ6aaHPFTxlvWEILZgN5VQkCDM6K/1QwYC//DWgmTeMmMW0D45R4CMTSzhwAjz3q+JO8VPMTemhGs+ziUGVCerxLp8nVyOvSuhGD5qPkN+ngD9YKij4TH7iPxT0xx6DSNVhy/OnvCDxMeaAf2yCk8F4X2PJ0V7Bw9mcOKK5NvGoNDADWVlU9vv23Loat7omhaTUHPqaQ/VkSbuFpO217X29gnne1ABPtA7nkpMmbS1Tu9ZRa/IaNmXtedE4cUN+QOJbPuizZnVJfNu5BH9mreysJKOk0bsYSdTqLr9Kg4d+2AUlehRWU1GdYrLz1+9ZuHyeez1IxT+oihildvCWwswjcgj46Boo96ttvxedou4z4EH/OvPtdal4OSFofZYfUGEerPf40T0RY6Gl2mMijRQGNvPSXVCyQfr4tyHLZ6Sn3GHDbi7B7IfcbS+EF/Sa22CWSCa4BKUSt0OLCo9+W2af6JwU6aVxNL8Wzphwf6HPtlEeKzhgAWbJoxCIkc2PL7koQYkaGeqsxt+k0+toi3x/up4yjzVVwmtnk31MyAqKvqPvNv0V2VD/4PTHk6yzzvLipqXEzOK6j50V+nxv4v3D0vNgDHKXhyuEmCxFOpmdpJeUvAEYdOhW5X77oyi0hP5WKZR7Cg6E53eQCdLOIbBSi4DXGQPNNvO+mPamVLIZB/+UvDcjWYHwqJWMx3K6ft1ptwXjtvnC6ZYYkBKB5fbNa8nRpz89BLflOJGnneU4uE21e3NG8772OTgmuej/4S59W7TnNzW9FYxktgSLRJ9AQAHAfRPIkgt3KVxvXaDzcSw4QA6+BAHiLQxZ9tIooxduNsu0VjV6gvtfSuA7EdsQhS42As/SVDfhLS6l3VTp+hT3OUNuWOHeQXrVx36IOZlV4NKfnhFSZ+lGQ0irr/m9SA/mKiYUCTn7TiaA5bpS3w5fbsc6C7MtIUw4NuOeRa7x7bAFpX8EI+vOHqQrWJgvqqOVzwtUNNue+Tvr3wkTel5rydHmTW/BE5604PgiAT2ltmC2GdntUf1R4rmMo7RVRphF3VjYkfArS7pBZLmTAZcNN1S/3vvcocuwGZgSL0+sxkllW0SDZ0v5nzgIvip9smm+Y4ZpDzIqwz20V/ftvgUDKgIMxCqMbfvKTyobGZg+/7rOrKmZmJ6WIJxZfEDWONYwf7CH1DHq5EB6gwhj8zWrQ+5XfbxC+xEFg7sL4i4g4WWo19hx8k31XpADbNQzwv9cgBKeLxGSV9N3E8yveLnf/+mrA+M2CjY12MCjxpcreFRXNmXNad2q6mRnaITXz6Z7gLUydVyGfY9wqyHzNIc17t5L7XsGBo+Pw7H5smSynx+qB/Mo6I23xn5+6uwWP3+Y3r9QJ9+7IUsaYKOHXleriuacbsqcewJx0fflMsmNHVYdq33v6Xh07E1wXLnO0Xb188mVk61qpoD1Bq3/hH81AHG6FsA4vzzg8vDRTtKrkVkS4kx1mqrzY9oNqzesD9yzexRXnuyglptHLAr3pKd5KLiJpS6wVIvqB/Hw5l5h3FixBa381+vGjewr2/GMAssic9/+kXkqaiFRHudgicaWWx1jXv27pg9krtaBBkBKOHSnYnR3N6tVcPz1dtDRhyp/vrK02pZ+GFRs7tOMJYE0HwP81nrBUJs8QjpSzdSuPJxJ3UWUuNLLzQytrqoFmyeHWjNE+uA2gy02t3PzqYQvNjg5aJ5bQdBORee8kHTEDMe6ZH904QYDPyR/d9WPuQYx6nyiTdgh+9SuU9QFn2V4ek6Gw9wWRmnn5xZTKWx/uvlT3cJaiMyw3AbOFgbf4HiQoVLfsGiAOeQIGzGHFbMiQLdN50/MBXATCBFekex622i8vPS/RZf3ayGIbQ3p0BZU7LLm0zwTuF4x7VbZRH5vlkgx9dB/+ms6c6i4x4yX9btN2OeQFgmmChQaHhAIEQF8johG+UKM6PoNmQ3YajYJA3bN4G7K7VkhmrFOJpMsi99UWm2TdXg04E+ElxmwGtnlgwYoxLWvAyBJ9loqrfmw/4cZG2qy9IChARrX+F7z+SQZPN7TW1JYg6FZBeMh9gBWE5ZqXE4Iqcblm/ibNFERMh/y7OYfa7U/3MovHi2X2DhwNMQaqnhbOung6lTnQVq5pyS5T8kLedoMeRrUJtrr59imXGbJG9YsI4R9YrRC0LyI1PAf9f4VtrzPsuXNwQQAjVzk2owW/+Sd6CDD0tDM9CLrR7XVD9JKqvBuzehgCxIbShl7GizoDKACToUkQB7A6zwWnm12LN+2a6t2EwPtME+W3NMxRjq9x0tBeznGjEyR1k76kel94eRakSxZt91YwyN39dHks77q8Yp4B87L6+w5AbjeGA1d4zUiUr+zowgwC7hVO0zZUsyYnoXZMgOIOf1ODw8mtCd6HHKclh9vmvFkvNhHSChfU0axF1wZdCbhCVqbkIuIEv6Tqt2SV1vC1ZVm2d6paslVXvJc6u9Xn+8KTgBCtBH1ymGgjALpMfeoG5Z2Si8L72mv618zsydAcKudCNFhYlgs3EkNMfsIEcRl60lMnZhR1HWZR0RYncAla5BY9nYIxrLMDEZFDp94vVy1GKxqSoxs9q8HW9rfoHtqzhEH+QETwT8LGRv/Ixi4dVha302K1mBHznDeDFvjOTFtnKEAB3NQfInq/rkzvL9wal9+EkR/Tlifph3fwCJeQY2/UOYzux1p3p2iquPyo/CDeFKeDokN0O5F6+G8aIjjBHX4R5ND6CHapXF6lPqgVdxxWFxkq70KbCl0FAbbU/DGDcbwIWod5B+Va/Y99F79CgdUkfdPoXK61PHfRBRfh0MFaypSdos/yhYZenY23hdab2FLNZxXuvmfH7pHvxxuZTbTmDsHUPSf0n6pN4gyuZOW2/Bn0DLAo7q4QZnFnlaxQqXNsv9C+k0X+/xPW8ogg09rBpcpOF8KSRdbPGmhMQxQe9HppFJi8sH+UOBXj+U3ZzO9YOJ3naTKA9guGao3aikZJblT9jbhxCSMDrG9imMIv5L9nMFS2jvAavTCG0rXmZTGecvv1JQ6qQttfqAXhua7jlhgkNivlajmJkI7yog6bXXiIu4wdLYVK6Z5CS/1TZ9MowjG9kxF+y30W48+C7ctaXECt6vhrDfShVXGTw7jUq2diA0n0jf3uA1DV5W3EPR2xjJ0fDAyOxfuGotQYEuHeG5RSwgaenVgE8+UWVrXatpL+q/EW0YZrzW5G+IJH9T0nbVUi6XkdcEYn6Ao05ncqPbA9C/V1zovVxgneCzNwqI48Ns1cftBEaECk/s+5sAqDGQAvWBnviQs+RySlc+2OsNIjFpji75Zp2ppk+co7XLw9KAzTfdSX67GE9bcOBt862JFC5zIGxUSpTVjEL1MKQ1am68raKOCxCSo1pIYwU40WQFsL3qXpm1InYFnTX7ql57lq871evE5are0T1uO0EyjpU13AWwagGpagGtC/hE5i2GJz+yaZU61nDRWxjaP15Nqy/NRPCqMrYPSNAvRNTeyH1kZD6G2QEpw7HovGgMWmWtX11wl2httTIk5Ch5xUsMjtYVRDvK4BZs0D8pgxKeHmtls6pte545zj9v3vmi8ei7eZ739WkL+7qIST7IhzUC2FxCfqdBv/G1zVcidGQJrEHRODRR0n1jATIhTPLo+9sV4gh78qGQfdE87kLxTMdl0GqU42nYJXvS6MpiEzci3DNEHWi9gFNFhnwE6U53uqXqkpTnIQdfrTXnY8Iiw0pVF+IyXKBG93Kw+RZ2mtka6XYqaMeOiGAWVDkHUveoUpgN25tkPPWWibHfUaTbiV9fjCfciLpn0tdSjy4E0/+3nc4l7VOSn4ckDv6cFQAR4o+seNPrJO+u+t4xqt5SlSLZa2JEDjUW+ZvuheWcqypeT1vp+tRXiaWJbiOWzlnoqBBYxZwATs6ITBpgdLNM5DRko4xZanQHyTl9TfAnysyASERoKBylkIZuCftfJC0YVCeJ9PCbdscBiYZpOKCLVFuPm37S2m2XMl+aLwsFbg6zbxFuKmxz9x5ekiEH44KN4suhb41/H1e0le1TJ0BnBGD2OoLfFgi0BC8iWi0ILUf3TrbOGCDl9r+GfP+1JOCPvqjHPu0V3QEJ3lsvMTjVgLuT2Jp6aOA8i9VH2ZPXQgBgko6SXDkGsuW/QDaMFrcXDpnI0xYvq5rXwPvM16tZUHB0EYrl2CtG6HT9fyPyyIUQ6NiydKb/7Ci+raO+Y+HyDjXsRE7p21p1fltneqBDr8obvUaLKX1/mddntnPAPTsCY/ZdPFYuEHTl45RgNqQjjuwbPPqwIeX6z3yBHhU0GVYIW/ko770cjwFYq2gOgF2szrgRggGk3Ty0NOBvl6Rmbl6PpD9/I70SNrzJw/bZVQrlqln/EQ3YUUR5pmOMIDDo6pF/Dly0ke3V5odpzF4mLQ4GPFDBqI29FcrvIy1fc3Cne6hu8pnnif33wvcbVYfbQhaWe4dlhIOjyQTGu/P7FLZ8KLOM+dH+5H0/Hx2VsVnl0Q9EmY/K35RXKA40Q9nUsSlURzcqPnutxuzIHUyT/NthS4zbowKS0Kgkr7WbQZLMWXawIBB3cXgKtEF9aPdXXxMl84PGtEOmaBWDGWJGFD8PAyJoqr7alBYzDLD6RlHtVO2crZFzIRFh9FNDiiaZWSzeWIEoU+aoAhX1at3gO94QCVrau2KdoHMDcZGYEm1hwvTwKogODeoIG22yEMlXNYHVrh0e3TTbjXtwXINjnOByjETztimTVDNtGu8cxlTTHOdtColiCMqob2T44q7dmfVm2MoS4Fy07Mdhn5HYeikS8gscxLvDJkAcpr65E2jBUNrk7yO8fEmH7ZvrN8kLjeWTxKXvAcX1Jy0rJHiVM3cX4oC/WQ0wCyYBvjz59IBfahMQKVavIjqiEqhtuRnYkbSz3IFF6pBMsGnng5IsUbRKGWCGF6Zt/UUVEufUwcavK7zAZzXUUsUKgLLgDN+Ho7mYdkVfhABdnGbXJsCuKOBt69JtrtIzfmGxQD/GLAN/ZEXTwApYpRzLUuMNWrzRsimxWK3znRQEcG0DAhZhkBznI71EVFZkfxuuLr55iQQ2EjqIYptZMTQotnpQDaLF3F26mp6q0nmocYtgJ3up/+FWZoErvETDttXKaODLmG7tZLaKZy2RVrOwRbMncZb8EbU2lc0dWtCl9MEOXQfF7jz8WOY1wBFJ000OJGD3fp9f6RPtD/TZMcUmlRRYuN/AwPIXDrP9rSSp9ZlJ2uNI6H/tXE8VVL+S8z7pgFnI54fU+Lrj3GQzX4E+XGMZ6fpr+xweV8fJHwuheUnBI3Zxi7DIhsw6Pd4SOrbDSvGbNCljqPJ8sgLIr7UuoLH69yQLP8KM3KN85EmIx+FcjCUTqvFsQmTNjm68KDhH4/iAvMsJJkC+vTu/2Vvq6/hmb5U7Sgw9cTQsK2GxOch4jjPHvlqwJBlwUFdKpYMnHIEhw0Y02hhxgyhPNsnT5hIT16jHA+kkv1hMlF/6iqjoN2MsbdEGiD97v06AmLEaDLFBOawJT+Ki2ilSAfK/2pT8Euke3yV92Nuq2GzkzUJJYxP2eT3xcb3ojOMPUumR6AdMLqidQQ3HHHz3Z0cCrozlFm9orDCGQxuQLUxiTmWjm4G4h/EbGTgzK6T/bNHE9ElXXpRyHRAXYWP4IsObHdLuT3HZD8vrNgipzgyZpA8OvzlEteeE1zjVWaC4tlY96rayJgZBXbErBEc0uOudP7rK5mEbZvzbpf0CFLPp/qTGXIn1u+OblvMV9bEJbxFYlwtdAKNmLGvzxT9QRXvko94cJLDw0WmBmM0JoV+ocxOHaenGyu/Hge2hNPAb45Tm5zCnlyb2sOVEJCwCnhoRUkudRMwSZ2LpcyO7EYgdzAbrB2mZZI2ZMnluKlmz/4d3CrF10C4b/2APwrFMPuApkN7vlZsZWcMm9XJRnw7/4655OLZQtGDcLXW7Nwjo9E8Xfb0ZZq4fEsD1xhSA7gbT3YCJq3rYmaoGJWFFF9l+r2iEep7evykjCfB+cTkUZhdhAphfmVsh5cDyDQCVtOBpFPQe91xKzIbQGd1yqTxnQn6LbU7r+4qgetuLkMJGTLA+7+wTEbxih75vN+evUu90nyiyO7bdBjqqR9s3YLMri4wWishw1rQdcPNS4bby2qEf29v/8I608943R12yYzYFNqSiv4aB1xRFYMRHEbDC+n/W94DJXzUO+B/f9R4oXGWBgEvN5DUChvrY7T379ZQ7hKFJW1YcMhAuGoX4fpRPR+M64POvyCi3VEal5t8Hiii9sH6snFxvnAXpfySzAc2TSzQ/7fIXA3eIdkZ58Lvp2W+PQmgJfqUf6LrDPhHRhTTGjkgbu0WwPxJCF0WmAHMkL5wSO2pnmeDXQVfXyD0JSr5sb1Mf7+GpJtLLUHRCuIy6r3kD/QyPexv/kLvVEUjr/ApDYcqy4v6hf0OoUWhttiCjdsGl7pKfdXXDvUuZ93mq8pjdMaiHIsHrlDT8RdizWjfRexICvLw0L6983R+YmMJYVhyZJcDjD8hBaK08FMVkWlu6xMdXFtP0qjHsYaPILKORd5/HqZJIu2RpJnC2v32CbGLaUVA46e9o1k2H4nakMwQZNXSRXdlLF4JBZDl0uG4W0c/rNQkpN3WVjNxzCFOGxf6JKIXn8EpfwTecBi6FgeXhp0MARaYhR79sYQA8xfV+SDGm0daO5AHoxhY+07imOSsn0eKi+dHV4E7Vq4z9xfI76WXJXonKobUan0+/BQ3FtcZRGv2VG5HlpgrKzRLFMj6IggwdUGJ3YvwR3XSKoVpeaMUoYL4WBW08GhcMZd++0Xn1fL4zRvtsAGZ1VRx+79quyFXJSLA+wbumPezAMw7qtQRqPysf2T7/bdzAHXNFcOTxCItueOmCetKftpaU7aeWE/hPL9BmCswmm9BqvpPMwyjj74OeOC+kPBe9RQy4DUNPkIbC7z6By5H3nZ4lolWgt7OG146eW0enWejszm8g/oJeH/8cr16EsiJ4buf+X9Y9WpiP7W8JCEamZVSnepzWlkamlGwvHkl32OQf1LydGQ+g2ximsyPZg5rVT2FaqmdxfrHIGZzL5jdZt4jlWn/qFsS8oJquhTrUP+JklJ1sDyWeyZ32RFRkkf1AMrN2P4xoteF+RIDZKMdKlybEf2S/ylAyrizYWIj2WriTCi9yytIES0Uh+84v+7odoWavrx2mreC1m23K02XiRFMgbSNSWZOgIG1Eo62qTCKwh1Rw8Vk50w11zBpaL4jivawvT41f4yJPxdgf2IPp3OlhEtAXX4wEtsg+f9nSyOQcIi1Ex+VheUV5EILQRU+SVamXzyrJHc6RQTH0QwvJXIYLcFWQycCMpBwtD4JLuLn4UI6lNULuv4i4mkkb1KqZX1+xhKmmgawmZ5GFHYoGx69kwu6rI1/FKOJOqOTEYQzhgtuS/N7uzkkZSRBONj6U3QbXd2uPwsEVd8yRus8FtPS7XrTmvqjVGdVdcazClUAbO7Mjxj8qA1HvUAa4AAkmKSFNqQPZGM7GqpqmGFAfN3c4TyJXnCj+L5X5mk/T9X2f7SRG0yu//4/TtEym8HQb3EHqUJ1dg+K6ZuaMTm4jDsliHUVfoSX4zray1PIJTVcW9XOZhI0E0OyIN6iP6mYs3XP5ScN4R4hSKsEYgcIk973PkmR04cuqlSOF+KZ3Ap/wcH+I9w/gR3dos/0YohIiCDKC7neexyD1aCutGV0qglOJPCvQNVNPf34kV183lBng/u44VaIprCVIp4NNUKP3NAjfAGliVN6qPO3ZYCTuVKcrgRavj2Eoi8+hQeF7fWVsrBxf5Fqmcyu56O31M+//SgolWb6fBznWf3v6NGmbDGPLW3TFM2/1O3B+MgvnAAR29mB6DpatDKDW50y0cJqkSAccyBss7uUhCwhplBDh3PWQQaqllVgMaWY3qPGMvz8/8XhDpNu+tTc/aGycIVwxizVvOy0vKSikbU1EU+kCrrBq0qJOU7TcAmoJ8gV4gA4jfEiDaTDm9GqDWOnSMYGi+PTqaaYFiDPbz45OCmYiEPWBrXLLE8X15PDylYla/S1tPmnAhiG8PLHbcVGGUJKI7fPINXF3Q8+1kbppfBwtteBxIxrJliSnwQCNSt+xnErPAWgkM9m0C+p6qBL2H3WLVe7/p7ggF/b67Tf3ZPqcZOqVvgwLMip1KxvmqvOwmzz5dhnyq9ZWBz8l1VjeuyREpjoi4NBS3dVkxNjukpEMfILJacbyEeY4Zo4VH46OqWWQ7uUIuJW6Yx5XVG+/pt6QH1lAJFjULlHofxTkpHRmFrZsnsyjipPrtbZY2+yqJ5Bp9AWanBC3ArzGB3CEtVQ+/ka8r01GB7Bk/f5wnjXxJgBfykeF0sYlaul0kj7JaUIIrc48NZmTusZ3WzJoGcABuU5JHGNl6+udoglteE6oQMPrxmN4Ouh3jON/nfPzWPqUZjEAgcW/Gf6m0b04M0xwqZggFvTS7XjORrk+UeXv/VTqr94auFem7VT4XvJd8dBLpvz4CKLDNKZPJnTTObHEvhzlA4k3wqQnx4fBLQDpHS3sp/64Ij8okhwDZ+9OP5KY2EzcslXstqdoeme5+DeJlO/e+d8+FIShO4pLkZPpFHKXqTyantvAUbiKy9TNKfvVrwGpTru0DoI2pR8sknJbfxqhbxZ76yqVRBEoIEJk9OAf07q+rzAmFepHTG74Yy0dVot6dYGhAz9Z8/qkICqc+ZmF0R1INFUXpY9xKt4DjsJtU8eYH8Qwi899uFjbK5x84gPsgf9nlndyQbsnh0brgv2O5kj+T1+Tlci/ThyKTQ+oqDRi+sbhKYbnwBD8iS8Qu3g/xxhRmzznFcZrIuxsWKvYj4x3mwxRLnbM3SdHcpErgUJiOZlKApS4ba87L8hIe7SiWHwzGwVCPekKikt6x0foNgAL7IpZTXuprRau3uPBpqQ8LMAy28abD0bgghA6cVJR36CxkV0gF0zXFcPGhYDje0GLrKYyiHNI/oFwkQGetiFYPhpkFE/Y7I1Sr+2pzXTj7/SaONRy9Nnj0t5vgWZ/uJYA63o0s2tRb12IXS9d2IQrZcnfuYJO3wyjotjQA2WRryRV3EjZEHCAj/8oxl//DT8N65fDVPo1UoYlzgxRm6bxkX206CyIHIhzqSid8kmXlGgg1jSR3He1zj7bXHmGGpc2BsX2w+7ULsr9RB/CdF25iZa+MRrmySSZp5t1VRN2UFQiS/lM7t4dIauGhlctFx4gnb4DOgngS8nzEqlumUoEPJWqn3SMk26fO7w8+PM3MUsdAvXrViWUGNSOUPKSsNmWxZvVDFzOSuoJnq/94HbwddKIXbBjJP8vvTMK3glpkkWv78J65rp0ccDbJR4h5/rfmOK8xKC3lYXHq0kS/jQJYzQaADOhJaxZ6GEhESOOOA4bT4F8j/vaUb9Ak0VgQ5NxN+7ywphGS3R+1pBOAytbiFtnoLkWZRoL6kUO2wcDv3OHel/G4LPnnXtqE79PJ1zOXrpbeKUAFDkzNLMmLlyro211YDqKDeAN6msHWzsAp7p35p2x/Oq+CcQDz+VhrfGweQnvoqaCbCxMmTLB0/1GffU75AdGm4Aym0IAoHIO8J/Y5wceWOWjcBAj54g0f5aLxRt1qr4/0u/b7ZmjA1A+ps/j8HfAL7kdAqJhpam3QKrA/P8B2FNpPvfW0MykCRJHQQHyTW6ZO3o/ex4TezYLf4xldkjT4OygIoWLsQlCEMqXb06nZMKzer0c7IwDKK4RSZ+bLOVT3etwBMKfsN++PSCgoFOJLUV+h/WlxC8XBYWUnmAkf6Hk8BCkGJwank7qz6LCa8oLKM8FTT0RgHPR8JN/Jx0A+u49SjjSFd/L5Jau1kul8OmwYh/tW/tfDFkTqahvKnfWjKmJHh6dJtzExesBMh33/GBLNy2P4nOP6A1mc7DTxVmKlTsKjro/Nw4RpWKhmJUqUA9Yj/B7NEQYnsRn7FIZbXhXgGkmZ/ICFWpTdqcqPNKkMjVQUsVwSB87N6wVtrA2Hbd7aBWqs57zFUDbSQ/QH4bWK19lL1xIY+RXeAg3QqVHyATOWuiajnqfAFgSLFy8IRYZkBHF8lErNuetfOcjUHwk9HoRMIjzAz8jY/VRS1yWEsEYeIKS0kHMydHCpf0RzxOWwQJ9FPwoP1Btw5Fs33Jv8oa5z6Qw4Z38u3baweWA5TOACuN6SaUwB2EOthWhCDNOI6Gju2g+5a4fleDDQxS+edGRapVVdxWWFYjtKz26FMqw3N45eAABllOXe2wEPWxCYHIsMf2bJUQXYuCqW77W4WNaR2VRhL6xNtjAVeBE7ESKibEQRpXrxvpjCd5Q4r5M/VEFPgU0yF8iq2dxpk/omrxGsuLyk6PdDHFzAXewnehXLP1Rke/C3ROQ3exGD8PTecPB3oXXdv0geLz8uW5BPWu6pUaYGAdRQdBa2eGtkzW4+zd+wbAlewh1f77Hc0zLmpcc70EsWqnZ+uHcxETgqn0mO1tY7rGc9uheMshLHO52EGYq4iulhvu2aVd43zKnJqnc8/96txyI3+l6HiA2kQOghEjhWfX2I4Zg72CAxF8/MH8zxN2r5We40h0nbi8yTphBmH5nonp8BKCD+KAq/L/BWHlrtVp3WxcepO8u4zscrDwjfyQ9JVXqzrvlMG+HIFddumPHx+DaLis9g6xCW+02twdL9aLt1YwoPowDyBA7sFDvMNIUgBcHEnwc5w/q6AdpqxX6T5Y78ax3lp8pkyViRSYVx8xDgJtECKV1Chil5DyBkCFZKaS5lHiEtFdb+X3GtZq3g158jrnMKEDtzVpalc+Qulm0o6h+4+631yE3dCc2tXdmNVHkPcDxj9ketMtwKKWjavlwUalDVuriEsdBKrZwlf7vpXzdxPWQ24uvj+Nf/UVn8+G8U3b8+ckhi96Aihv8iVM0eTVXbQpf05R+nDb5e17Ux0Toq2okTQNVVT+Vt8DhDo0mdbgD6HCM80WI90I0mP1+L/U4pjUCGA7QSIc5UlhLflmQVJTmI3RuGjxgw2wars71+6Gmg+OkrIKTk6Qp8wM+I0rpyLScPEj+fSGr3LlPgJDfTkwomYib50Snj/iQhfnuSV/ZuVUMEDlNBGT1NxNYQyfH4ngCidc8eKglC/jv/qP7U7pObdmg9HoNO+uUGO5BJsfGccZkysIg9m7h4ndEsbbixlYmRaK5yatG27GMdAykdWKrhIk3cVU5SYGSLUKAF6UBN0ev3jVGcceTpWhY0JLsjVmLQDtRcZhrccf0pO75JoGYxrb1dXp701Do3Ou+AnsTR4VisObbWsrBUMkfEmy1iYG0v2THRxQ8FohZGuuetwF+84C7mYH/Wx58bqgjLjfSe6JWCgD/V8CQTuIJD6WG7u5nMp3n79bi1Un9bN+cijpw8hjkP2tpsIn3why8QML/6ICURqgpoG/BVP5K4N5mrX6d44JLRLc/+WjXU68CCUyuieRUUMDKJP0tp8f87LeFONGMR/Gma+Kt3JjiCK+G0NVXf2hXzZJlXv6wMUwSHh7hMFtx9D8yVqljdlgUdFX78ZZyzv4OSB0nv1/730V4AcMxNFS49muMvQFm7v8yHFF+elnslq0oelu9NrX7MxtgRIspb2SjquKrfUBt6w+10A/yDz4wdoICkEKfFyXw1avYKHrZuZhd0d09q3Lh5Tw+h1ZD2zRHWViB62IRHxdbT7m1pFWt2w0e6AQrmmzunPeNJdSbTLwPuLipE7PbrtvC6SjBb62CyIizEvi8C4IjV8byPdWpTfRgxRvH4VlIJRQJBZelZYzXnm6tKMmUP4H6DaOat7vSC6YnuavQHncSCK2+r6f17I4X1LDGcGzv2y9fKVqiHxlbSR6GDJTnRnsKvkkGz4/Abrq9HtFaRW7CObzw4awv158BntFc6ZSHHHpxZYZGkh5aHTX/s9wpkNPAhxvu3NPB8VDjiuTtZHnl6sSDtvjzFtDt5bcHdP90PXRe8LmfL39vJcxRj2wWOhUuDa+Nq4Q4/Oij6heFc/Jte8xsjBlwt8qqCXI5Vw8mp5neVugclHSopA2nyWFjbLHq++LnAiS4uOgYKtBJ1Nz3fxc6ADNOaEbLV8iDCWQSq8pUe0XNPihX1kyVliLrDrTVoS3G9slF9acQv1sJ8rZ4U7w9EJ7ovK3Aaf5+nxt24eVhS+P93DH0yF6lL1oboDDpHmCzO9mzBCREEIQRsdzOFLaTx0cyjUS0e8YNWe6XilB60pvVErr8c6TWdM5WPADpKgzdMJHWw+SrP8fOtfhuOzbRe3CKYKFdYVz9VTyhfLUQbW/oJI0+S9k/BgwA1ZZ6Cn1x9J80mLS08nJrPiLkblTQwWkUibGWRu7yt58BR/J6Z+Va+4ZPeueB+y1qlMf3Z4mB51Tysq9o+kysS2i7tkj/wxB4kiQ2+gNFv27vKmocS6wJb4EGmfoDw8WJl3szcrqguQ2qKpI8H5PTPurwdOKao262rNFsRs1VVQUnzO6WKrE55IYfpGYxlh2t3eMZoUVYQ+IufNdgfGNu+pxdU2YOrzK1aUW8t7QuKiUBtaEvBJgz3LRfW+1YzDdxrr1Nn+jK/ilKxxssU4+lTxy39wSTlSX6AUd7tH2TD+he3T6NBMop72tNhu+3j6jw2plJlmL2+WSrdlSwnXYASisw/ap2ZASFD49YctF+xoLumj4+GTYGhVss3dKnE++S2gmQM7zYHZYhsOwhIWU7zVJM10o8usz6fsuoemtMDeopShefEmSLv3IV3dmDhNoiS6MPudsNoxJJ3k9FqvHbN42D/5RSs1sjB1C2tpRzbtIgbIP7DuiXAHuT62uIrpfRmRI49EdfVuOAmjPx/ck/E0S/rmhv/YXBWnskM0Fld1yj7y2HOxDOz/L2za8cJ1bTCr19BOXdJlojK7bu+VDMhWqGEyUJeoNRh6lOSyoBn8w+C3eURdgOtMvMvrpW/FGMSQMorvBK0j1SH3QLr/G//JnDr0nbye7PiXOUnJCekrEbVK0OqNzD0QBNHZPqIz0SdO6+uokOc/deoH72t52gpTOBgWJEe/ejneARb4X/NMoAqZCZfsfn3Vi+iU2EvthP482BTZD47vOozWYy6HBUkLUpGNtBnmQt3JxDzJmi52nFJ1NdcM+P4f1oV//qGYgBcdqdnHEwLaKaX1HGBbCuYmaPm6CR74oZ2QUak2ztdZvEmeN5i7VOLTMmzxpLWjCDXRvdhPYg+26ao+OX2DDmfwtrR0hwixvA7OvMO8cVywyalbpxuSR4n99AZvSfCr6wVPku28A9S7HRA5CLpjBJfVq0GNwsmMvTB/pV2Xb0NHcihjlKe9jDnpc9VS7dd+5qfjHQ31zjhb7flOL75ukicR+Vw5THRIvsFxuIA2snZ5ylrjn21BHjLQZeZZaJGIYxhSGyt0Fw0vCctAeI1o/grRuFdsidJiClNHa6pZatBDhCr7gkRyuas7a3V1HHi+wBBealTSX5hZqGfp9vWA3hjOOeBjW1DvbtB9N/TNleqd7BzjIA0AmN9vdhLYnzHyb/w3bN8BDqbmtZH102TF2yVSi0qLBIxaz3wiI9gE+8ML/AOkW85Sy9iU6U/YkznlKT2m0mIW4zyY8P+/Q19rRDzeqMfasx57e/C+SU2rN9A4Np1nxqLa7lLwqvke/oyKSpOXvpLRog9iHbEYN7JLca8yWPccOuNcemuTmOwm2b6sb/OEP5ZAHTm8ITFHflnNPqKRXZMlSF/oGsJmthFb3U/vSLlTpsC2um6tqDTw0zujPO+CcAbn0Rm2lGbOs4UuECNY6J6LBdKV80LFBgp0GJ9YsvobkU3qT/nBlASwjJnPWu+ZBS//uA46zrroJR+Pf2PeuWowfWGEZjKoNdQsyJ7tSX3QgqOkD/X4e6wAzS+A37zmu/4KVF/diifHnfX453FZyy6zDRxiRDVK7/Y1d8dSaSKhFLqAxJJZRx3vheJDzmcf9DZWLT4/i72/pcPlYRLgRgZXT3jjAjBOeVmEFy29oTnVWqPIv3bbqwBF6vbIu15nYWY5Rxvm7pWz6biNlf6tNUIJBL/VttYWKMDZAGiLuE3p2l+ywJIZ99ZrraLJ2MYEIcGYVJJCzW9lHozW+s3gGm8SwlLKw5frOMNAy8mIIdQmQTPd2kOB/9GOiq7UWEadhs42+V+nIX1zXJk4girkeHjaR06OHFUYGBqW5mjXZALNGJd2YdfG2FuNFFln5sXTUjVl+/ciqkN1gCr3t7hbdb3bWrhPnFzJTz6EtRqcYnogqy3gEBtfkFRIe6KM3mZKi4cq73NygXUmG2U0iqc1UXgCCOCnJw6ZQKGhiiwyZTlmAzgk6BLXmZrF3ilegvoHy8HKq8S0gZHxHVDXhcSFc1NyMeK/y2vy3hXDKFg3Zq5RXIIwydIvpdHZezpLAxl+q3Jd/ewyT77tNilcw9Wz2K/gh+noMbNI6Kj3W03qIRU0QeJfADYW+2tdyWlsjmDvE6/CpHmLvhI46iRCqzrUWPCcPHhue+h2wjCR8Paj320L0G+KkHG3cCKJP6Kt/JhVw06uxtF3hKJM8PMtMODJuC6W0UtRZBw/i+u0hfjiVnanF9TsFqG6R1m+v2JmSGDaJTYpNvL6yIXQFbICRIT3qfboyKuuPCcbbEQmRVvH8R7z913G1wivPHmkYKRwnRTd0WZJ+bHOzkb1Gp3ijYLrZW5gPvrt8RSvxoCNEqnUh4curmBtRhHOzVZhCRYQ1XOe4nTv21RjRt9EuLNx9TROWleBtmrGQ3wPzwMKzIo8PIEdfnLA1eE6a34+AhJRop8gMv8rddYFeuXQdnn+jEiU5uij365ih3odITKV0m3+xvsiZYFbg+Jb3KOqneCcdSpaBhKLDFrRNyKVfH/v1PNAjZ0k6jRlridrisUtfqVF4maIz671r4r545CMIBrqMS1HPTfwQFM6nyJrLxL3a9ih/qbyhjrQGRQ5MliP1l19GNtC9N8zZdexuL5sAsxxH68g3sooScUF+pBvX2+z+UgsMu8+Bve3lrYC0wuk9QOZYBiL+XnHEZozETb9dK0WF2fph3nYNJ3L7uj7XvezQ2n/qLvI6y3OY5gAdidrUGd86y5NQRSEu9jMEUXSVj54OPfx5B/gxQQk2QZHJNCHUu216N/aCgU4mVjcKbDp6HHG8XWHhEWKUQX5YlTs3LL5LYyzbetCGKIQREGwE5sJ2VrA5BnqvuLfYe8v+2k6MAAk+h2+kkjnRVMoZCVWMlDtLmoDY5kIjBfvP+Rd1OZk8ON7hLW0vWgczihM0VQZl7atNdUul6kjrM14yAwO8zR4QXg3RFmnhLKp3gmNxLViYIKpW5gjibWKmFtQM2MMhrnDMfzF6cUPzRTCxNcBCMEEz02xzS98yRzwg3wjtefHniZSooaP0prKVfBk+iVSKcSAJTkGoWi5PBtzwGSiJ8bns21k3DjfJTf4iqcv04IA0pHPKx6QmzTlV/m55A4w8keIANTn+2vCvqu6jwNk/Qw2glll18BOs524fMS+z906fy0eJMtOHaOKc8w81I7e1JvuwDaLdtuBwHxluMjtWVlGRSYRiNlokcAoAloYqsIOh+/G2Ek+CuB/ZARteaZWxNyeoCOqUtGLyBphj4RHnDsvJG0x6pSvgW28uU7JC2zEEVwrjDKVMginjj6+d0JkRkc50LVhS213tftWFEM/DOSCxVCdW9Hn/GGGJpEThn2YwV90OgWcyK97oyU/ZuFOuLMr+fuRA6onPSFgG2MuwszQCHvCcJXnZTLdB1QF0GSWQPReUPxSBQ7NOmirkjRkwdrJKhE4//TPtYR/X9EwKpiWhfHdddd2AG7T65CC5fIiMohR3BKdCPGATbbZeD3uX41ollT3b5voNZtn37qdm/S6pqeRU/4bhalcv/W0PJ/DZ3DdmFW71GIP5dkDchtJCNZVWfMxdNuIA8lYxv/+eYYhGg8KzKqZh44NbvuX5nGryjad69WQHfz1xzk94J8PRtlA84SDUGc1GrK1rViQkwFq1nxNmuL/yvyuNMBnWq4+fo5JVNgx6bkRvh8CTRD+slTntXWJvCezfO9q2xrUTyYQ2i54CPfeh0J0+XQipUhgICN+HRqoYyj9OmrDX/t/g+xNJVc6V5HsYjCeOUh8zv1gW51CQUwRO+em4aHYl59oyeE3yQ/Yq7Aiz2H0tjXvCdgYAZHSNvgTvW6wnKjxG7ukaG2bRKo/6dp+22cniMkcsaQNxQFCTk+nOKXFERk9Lc07KSpjvWh1jRlIYTGx2Fsw1n5QHUyJ3mRYl+qbyeX6t7nIaV0av21AFV0OVaw0bJHz8Jk0iB4s6ciiOQ1elcQX6pSR0e5X69xDBkNzYC2pUvp23SyTza6UoQpmXOCd6wGB2GOuwoLx6mPiK0xck9ZNep5FACHGOBbVBcad+dDqP/O28taeJAQI5AEkX/c4Kjv9PFFgXB6LA+LL3uh08ELlvv7qSm4QiFKKE9tfcVWOW8nbki5z6gVp+akq57QTlSCDjbkkQsqaGn6kPCIjb/p068uof4ZHQy7kcjx+AT4frtK7ihKDW5Zt1+/7RuFnu836ft/o+/AEGQdcxHXUmWtXbyd0wmJMc7yln63KxzvYjTSwi/j61OfZvTCnQSvB+26DRkVWcS5ADqCwZCEJ8o34d1YNjXaxzECdQcLqKrwv6i3ODv0VprAN5dJ0bH/fnxmRlP0RZA9c8JurGrvR10cF1rDk+DQCim7us0Z2WM9zYgeSuc4eUJ7lveRjsilnvmzPEarDjiUnhq0UVwENbPxbu9mafpG0lnIegspC+gtJmOyKCXgWD8y48awYwvm8xIiIJqO37GXCVTE70obkzPox9aRsnLb0a+YvnPCPrMQpDmpp/nKn9q85BXg52ab/czm4wFjexldjda6+H7Pz70Gz5qf3M+vC7ewE1yxegVX9G4j2q671qHzIvvOi1msv3lWIx+lRzDW0KogTf2bUn09iQWF8AVDuqnI84cB1xeLR6JG7x+FvpBC/Y6poTMK05MnF741PIwlOR4X/CQagxvXC5cUsFB0XaX5nYTL4OBCItDx+ze3JIWsH1senzPiRdptnSJwHhsSm3plY7Nc0dhNpeqClE8Qtow+z98+eIQF4ACt/6PNsW3hICuCRIivalrX2IY6LvHt6WyMozuBtQbH5DmIfCjZAbmHl+IE5WqHEy44i65InwNLJhQcQxK2z/Q3n99k1h8LJ3N6voj0j+ADRcnz/FUUE65wG2SR5Okw8sQivooi3/bRLDxCMDvIK1YqwMXWNiOOulERztgzWnYjXG6k59TupEgblDxHLkE8EpzP3X/vDjb8sc6e/lHrsnfh/P25kPiGnCRaeAixcspAl9dGoTaOnNanKYYkYnam2PnjkwIG39TYzdgu6FKAQzNtetqzwILhbzIurWhvwneNUEOwZPa3Q/JD53ipRVQ2Fm7bvbMN14tmp2k+s6Ipbz9MeIC3YQx4IQunqBBliwNSC7Qsu4E1VIefK+gXWTKvaMUTWEQWgVldq/6SOPCyXbSuaxN0FALiNyj4083hnqUYDS+STfKCPR5UsKZsHTZWH8dnqYSj8x39r+MpMOmzSb0xObVBkWMrdINXzXOEubWqdXPpg3E9yvddd1Yvna0YYihz0UDBbAI86848AbU5QkS+/nrMPDjBVBQuDaqQOPHhlZRtytWi7jGjo/+gXE3+Bq/a88Iv45g5nBwVgiqU2IPBpC2vBJeVpnBdvuyHvg3uocfpJGQhWKsXjXWN33wIcSk81m+mdIFYqLaqaY8ECq0Eyin5R6rXffhfJ0Z+CACHcTdksnr25zE6WDwIPgeUXiK81rpCLsjwv6ZKSafAv9oUvB40vfP+XgFcUHxXP9nBCHcdx49MuRgmJGxoDReodBiHmQmTdBne3wneMrnIa0EmxTcGliq2ry1H3RBehSY0gzAri9Pac2AKqEz/QXZfBBdygiz/Rx638sy40b6qGS9ME/3cuco/jy+M9mWtjkg5QuwnOra2eCg3gfawEBCHFKIi8yDglrllAuoBfi7ojuXQziGXXh18lqfU+r7gtX22/ylqY5+zDeCiKEAcrZEWVBzvlgcFbBXKrlbfzzFjCAl7KwpO2xCzotWQEtFNvdeTs6aVZKucbBISQkcmzJ4mnZcksRqE8gFTXbABqktNAYBfyY8dKvV8bVm+jDZsaAiCwAt//yJzFMGyjc+2Rg2c5h8VqpIgzwVauzS42Qu6FZq5PtgXvPH7zUcurKhmKDuaL/yJRBvgvQpLqS7hiLrfMbntNgN6CyWRaH9/3Ej8SmCTANxxb7i3cu99B69ZV8Ygpfsb/9wAZgdW6pSYZby3m76AJKkbfn3q8lBf97IB4J/RgeKmW66Ljh6CLQlZJUG5QPOZjog8M8BzSY+iafVVKPGgruXrrFr5ShId9UrJEWECzBPY8SqFqahZBAzyYT2Ao7kKfYecu9778IY25oMi8ZLn8UAZD4u9RGor27yJFawttzyYDmbjBCVjZAyYpRgy0TUSE9RLX6qOK0BFn34rcivURFHNJLG4LXR1K/DbS3BC+9dol54oc0201B4pxLu/rTo2o+sr5O/jV1qFU4Z1Z6pLahiZlTpK23l4RlnvnZ11nJ3d890b7/00fl4YxSPJ5S3a6v5RqQFy2eXEcwHWewBNHChuR3+8ApJ9IkIVhybY6c46aCsavpOe+o18cN4eIFGhxm5eOiJJz7NWR5mBfO4tGWGe5vAri1fFHd5HeoqLhBt21QThH3zzHl11pxMt2Vx+o5qj9GQI3Cbq/2NX7rH4GZeSRxLYUF5lNttyGfYj7hc3Nbm26Vga+WVovmvxr7WRrz2tzuFeMvoSs/p0HImNNaRNuw5quUHkDMntjFOYAPnXQK2LbJwRaV1idiEoWV6yMSn8/SpeURxO8dTw2P2VOIuBnGXZjHULRXuTpus5XOS04UJrW87zRaAdt6NBaQxRc6T0cVeCgxQeqAM4IynoYrcuirzBjtxVc2xcbQxnHntgDUDQrKVy1Ov+0ULsVbMlnnqcyf23FjzEDw7UV60r1wuCuu0FXSB+aC0iYRlCBUaJz5Fn3HRaqftRTLU8YNV0yAR6b1iQQeFHvm04RxaE5iW5L6dkSN2ceikzVdVFsXuWNgdHSV1DBj3xOt60HTAgTA3kGXkbgrWCG7PFZc1MNKGFAM5wi1UeXbcpwdnYMCaxUWOZejgPX+TW0qjh9cqxdVLUXgrCCybpFzmK4nHnmda1iOeIzNYnwvqG9YTddyGdvn23Guhl0a1l0C6+/F+OfkPAXuUyXSTZ57kYGIN9UCfoFkh978DeaA9T3I+3vnSrqxvqCm/Vb8qH2K0hRxuN271/XZqfSiY0RcIEG6mDK776ER1ePDh/UhqRwRog6dPXUvUeoslYvWRJWjX22HD7P4LdiMSTsv9r4Vg2IvlekHbPPgMNBxXA6IRHnht2c2t+sEClj0E7AtWmQFcEH96wrLa3lQDdWgun9nWpvv+WyfvlWbbyhCnqt1VWoVyc7YbW41xJ5AVvMGrvccgt90jsq/HDUCsYIDGFtG+4xSMSw6qjDl3ZLFiCpCmzKikuqB81cYbt1hdVlaQefSxAP3qRHt4zmxK67P+gfFMOjd5G/vgEcgWXJCw8GMuZOQJL2j47AAnqHzEgubo3TAvNiRVtAByfJG8FHL9T+bYll92Icpy/B77CrGCzlpvV4m7pkr9EQOgX0VPfFHAxfHO5VPqzGJP4+5TwZMXetqmWdtbf633LAlqa2zkpm++GSfgn6WxaWtJNRrSOIxhlSGSINLbT1OImw8aYVOM8rHbZXVrduJtkvlgJCWB6ry8viStrhtoDJYI5Fz3XL7TNFed3rozvZwVIrhLE0qX3cQSYcZ3Ff1vuibiE/lX3j05Ef9B3tlajCLfj2RVCq/gMzKZPQIn7bN8ofKtUtjsslRGgAuujHJdjrI35od7llsYHTOCju+uUxBOO4SX/boLqB9aj2OQKIPPX4nVwJhktES+F/E8C2EBbFNl9ys4ys0mK1yoPwOLUDHoNPvYQ5FBpcT35HGlnWxZRwKgHyMJaTnvWJEbzXMRiDD4RfXJIPLyUNcvhtDGCgMOoRLcgCQ4X58hKlL5zhjDe5YEAYhq7GOyAf4MRMIcIF5vae2+KBLuq1HG7aUNc/kizIzelu+p5ErexkD1Z5oOdPwxDd8B8PypB761EYmNjlYIFvzvHpkgXEKlWj2nGH3qhQ6PpN1WzJU1nGgPVEUUEr6hheo2Vp6fn9Zq++MyEV8ywwr9mQ5tsEFWcGNs+c78vUPuxTbqWjgXgpchKiod0DEVWHFN0W9CncGZeCmbPwCyKAlNac6bny6Fl6U1ZyNX5lF7lwB5HOzuL1uGXf8dyxEfnOqw3WPZpnlEapzl5jgUp2L+jUSQMGZzlvpFact55dgY7mfaDgknfuS2bQaYPdLy2HWRyTT1WCOJDwuXgwv+g5t07V6Sq84glN98VwRR62skz1zMtyOJW3QbCON7EW6psLuQIt0GjIgBLyJK52JSkoVnzH3JDc8VeahHqIK+i/Bqat/t+u+sxHK8AmT+tO2gQmKzMsZLbWWBUUZEzQ0O+6idr5+169lK1ST6bt36vJCQBnH383NQR8MliGsd0dFpGC4p4iRZ306q07tWDjrJVENX+yW0KcsKfXw7GtM7IZBGq2iTDJrOMqqhjBxIy3YJbuDi2XE6PnUFcss4dbc/3yhAd+ibE0nqjmZa7SiJq2/LEoTDFuUMUBPbX240bvgXYCcu7xcR5k9l70wFskC77BeRvBIDsHBsw7ec81JHmXOEEQglJmnKf5kxQb6Ez66SGCUZWeXzHkjVJqA5H2t8HVFGY1Ze2C5NhF2M929sKJO+9KCwZxKYTrgAULLZSOqp7J2/s2wWqcEixuObGoe2XjxVsQkj99eiZuX+9Cz4HnTEXTCiC07BGRO+wrju82/W4cKGhB4drxExCRFlucuhfpwLVRdl8nd08OERQkE68/TlDYj5rqFKju5597D1oy/0HAU3KACH/hjGNA2COc+4JWA+oyPpdEU0XlIz7rzchvUsUaYYfmqilwsfo7nCCJJY3abhB5pd6M3uFZy1yBTpP61cYPoaDAbghWuwGv5LKcGGzjdUd26sQYBS6VWypbuuzK5YT6Aa5feneYJC5MuRrNXHNOFRbbZm+kgkJULIGKeGG64aGrjlGomsedWVi74QlQQQs7LadV4rAyEecOpRJzr3zMqtjDAwvO1xUE9X4eT8f3qJs/Wb+GfyxUDqSqkFsOHrYgRYX9H0QU6Gtx4bvKJWDdCAFcxfSZHskM0PP8Is8cvHMblcEw0xO54WHeRb5cZmCHh4ovxSNrHKTZRh3Rewnz5uHsFGCTxJJfJURIoLwTnjkLANa0HkxLSAEyNCs6sOUEyNMFHayFUEqp/VCTgBu/SSeb3S8LdHZMgwJ8/pwd+biK0c7I4RI8vN6x5QlxKqFgDOubJBOGTolj0FOrG81OHrIYyJ5DtRNZZZeI5OhmBmuBJZHVPfWjbVAenJWC2h3+5D/SuSCBdXIcAJ89KiFNbX1xTnGve4ltmCBovKEhiwMuK8Zc7v1wzziZf4GhPrXco8JVWLTBDO2fZIVrMa+x+T80W8QwFGgZo8JV4X/hW+feBacM9WvNMG43ZQo0golqwaLNz0kuv8s5O6J3xerS9jh/8VuODs5m7srAc/i+SL2PihiI4eObGSNftYLEX1ZBX2fl3LGuA3ZBD1feHCzIq5p7uFOZqQ3XD/5//XVEJ75YfSsX7KJPFPpNekCHdImYm4aItPejxomQyj/EKM0sSuIG+8kmU5UqthjQu3eq1oZdU6ruaWR55wIQmG/vgEFy3MW/UYdjUvb5HQSsLfpO/vj3AQJ3kx7loe8cymrM2q13GZb1Lre6eBwdMtywADagLEZD7wfBJe5rcvYNSQkIxWg4vj2Cy+cXpsWFJVm/Yem6dZVmrOZHtKB252inQmGRCwpROef/Zt0nVbVwzZPxskNfdo4/LyH3Qq8v67jAg+fdx4G1NaQd+6Gzv+yBDvGmeR0qwKjKrDr1QxX3/lfaFg0BAllyRjhAzPCsXt9xG59G9O5va2UvXEISasZe18VwfFsa6aPooDnoUVYLAdDve7xqvkO4Ld3T3tTEQEz5/3ruS3hBB5cJBmLnbI5CN/V3MjmUJpeqCSFPPRqW7jue7bbd0RQfymqmzlRWXnURF8FdcpJiHqhTQlUIr3GWQ45XhbeMPyYmwvB5VlOMSQ25SzEdcwAAAkxn4PsgrCod+9hSHiTOBNfEDbKAHD06a/+T5c2+lTnWXaEoOjrP+O7wvqpUHrnsJYCcMBpFG16COyD6OPXxwMjmdCrga3PDl01zUYO5tRFuN+G+s35GWFus197VuSkz5XeBzdYCh1nRC2lM5BYpQf97yrdADupF9rwCqikOFizuMNwKblnZwPom45WWo9S1D3Se//h8DSKWh906tYt97FBYBN7D2sQDrJuNFQMrfpDXzO3zevbJUbeVwy/z5Le0L/gUMAa9iUDe50Pt/QAJKd69Nz4EBUBCSOPWzykiimhPPJc8354CNs+NbeSn8ZLKCZOy9/WlAey60T9ys51xk5cyrWv6a7tuNNGBy46Eur+WkjIOOn6+33xis4dHZ0Wgz5p+1EQrUs/50L0MeZqURENctOOwT/9xzyuaLhbA27ujrH/4WbXpAPYGh5iZZSKwSRkqMr/vz8X6HctL4D1gmrqCHYgAGh9SSZJJjWaZMSzA8NdIt6e5XvQscX1i2HoqUHD2cwVfDwQoC/lk/OuaC1GoLHs1q2+XQQaED8IUx8J8ZvRMFy3T53Eo6PDiw+NmheEP85vD0EV97dVUY5VtDThr94MAkzl72YA5g8/0H3gUQ/mp+nGIB58hf6axiiC6VwzLsZa/GD1OZpJdxLKBSMELsU/Jn5cc6+XBiq8tLv2lnrm1kv1o3jNcMbGYCmwkmk7XWqMoDwxR5X2Yf8/iWY8zNcQClKnI/OZudf/ialvfyM50qKZ27nUKEFOhGgXUAfTPzJe+tfl9ZBmySxRvSVaRz2IGCW5UXoqBmXi5z0cc9Y/3f8pjnZze9R6YkHBk66XX/n8OSPnze3lwkfsB3WKpA/mPRAcn7ziw/VdmDhm1s7uZ6P3COyUiYAD10L9K0Ehlyv9t3AboBWLQD/RW78RZsHO9ovXz4v7QX14FuzPqp+Nh+91h3t1px25KpzB7+9csGfZhn92p/zikCOWRJbLkhgUL49elt/kGFzmJwqRYJemk2zA0LUjorpyNr2HpB1Qi3qk1jG+2FQ89Ps3sW805KDHEYwuOTjCg1tqJc4QKrslprinS4aLbZolQ9SDxLL3Vcbytf05iQiCfZEYPTmFk9O/EmZCGPZ9f4gX3W/64Rw4Zpjdlm+mZUsr14HWM4qlUatTAtBJVLh7oWs6kMxhUmfgpOOQ0QEXGw8d52bgBTZngbSi94Aw5R7KlmGOsAcsY+7OVAMPa8m1WE1sJvrRDBUnpih07KXQXKwIer+Qx//U29IbF3zsKuQKUd6HiQ0M1VvfVgFPFgeEYx1bnYIG9JekXPJQq1T1tMCw3m17htZTM8j6vY3zIVg+jUpluePpFy2VzBUGlTvG3VJAqJ3zRrHr6saz8IQvzwxBsbBesqmYBAJUO/YSwh1hr7IeHXEuwj3/B3hprhgLn8hGB+7QTb0Qhg63+dOZB5y8anGkKLqEgImp4lACFKdCsWz7R/Q6lYpIuPqPbV93afZj9aFvuHBy57nZE6DcqOrrSqPZyxFXy/mrV81vttYnvX220Rim27UQAJ2fBTLZ9fYwvKm7JX+RaTCDDuFwsD9OK8M80hj0EFGyatrHLPNcqSkY9z0okkCuC/dXG7A4CmjgJfNhfydTPqAggOZusfzag0gvCgpJa4vZEBYJCPHr3CfdtaoGNzjzZQm+KCcb94kxZ4XhBMZutiBc6+Dabujd+WPvWIE7p6sBraCtoDzHf1u8GAondfqq6oA9SONeeDDIe36padTqhwIa7+IAjxC3rgDEL4j1fQ4sAehXDFid6w/MaTGUzQx2JcI/Q4j/cIy0cZhsZ8nyKgd73OQBSgwosxi0/9muw03fDARGk/czd2aSGigikx5YjJaRqLjmyA3o4niWso4oaicyQPVFwZ93TVXCt023ep0LvXF7zSJmlCmhJfeZWYU1i6SX198DX71l66hLSVFtOzg77sPXLEDr7VleBdMQ+eKYPn2NYcHvwgqIfLVDdAZXhe6mLFVrppfSP2zgB153aJEQ+LvQ0hg0QfM4jTg5rSeToNIl59lztjv08CRw1SaaRHzoKYttMhO5WSPu/Q3MTzEdMn/0ES6wINMWAbvtkd3JKNhpD5IpHxzP1RfnblXCjEr7ZZ7IQKSsPtUxErTRrOLpzjVqZUlqEYHIJiSAVMiDQ97UjCL/L0rpts40yeH9h7ulJsX18SmtwhTdK1Jt1Ji9+5s1huk5ALmVRtawE/Pv10kuAbEA6mWHHaNxxfMf1XqsULiHBtTHvOC1p6i6/4TKxtymPgkPPvbsTvdfS0r3cJ7LMfZWaNMs8iQ+EyG5IoCP08exgG2XNmPgA/I8nQnqER1skrnucvbJWu1LTschiYLe08C0+k2sZU4wuWYGuWxsCn43E9mrAK/gGU0MJHceoVdifxXjtQMtJl2+IbKtxKLvM3JralLwB2kVOP2nd98vWgSw9C2qgUSEiNZgeozNBjp0nhlvB3baFVZrepnIxgyBFB8n0UDU/UuOwhKps2Y5M9fmLmCtvKtOo+n/cbL/6Ibqx/FrlFJfddSYNYDin+Qae2Ek2+BWzbOYcJRv6VUYgQTJNoYpy5qhW2SBSMb5oc58bOp5HykUx98n/xUW74akJNMuvGlnYMpAwJ22oXZ5Efk5Bx6U3tVZutbXvKkzWDvzahX2cK+UnRg3ww7EQR6VmOTkNJBbcuIwhrFfFLsDrUFqbQA3q0oW6oBpRmONsJXUDv/iPkot3SPlEI5zYuNUyJByHUWEH7MfdoiWgT6Ft05HLxO6rKrEhVL7Kl1ORjCRMt9gE8Da1ZVfHFuEnfxpZqqKWt1KxaUS0H3bV6a86WEPGWomq15HuTTClLygH7ayIezKFC+iwnsur5gOc8Mmy6y4ddlvR8d5mZL9AOq1VpUMc/m3herKQWb1go3F6OgJVEXeJHV4Bj/F/aVDtKw1yeigkHkfpeIg7DOzY3a78NmAkPEE6yHRsJHiW6Di4NZKk+VMKrisOKDkFNDSMXLTgae5OW/R59U1wfCGlFoXUpjvmSptqHKGrw28Xxvb9p6GNBUWQUM2pHzvXQRpmQ7X+GVDhCwfIwsYqsXyINiIYsbJGUdFQ4ImvhDUBiC/WpEkeZcWFcQzylYVfNlDbALQlNwFoCl2ciHZNb7tZA+hGn9pa/dvej6OjQVOTayvzNUqrGoUD9omoW4POkFZl9xYo/e+uASpt5B+ADSPSJ1R4aQmpPOrQarMSvKDDiGevnl95TLmsvKODS+Z1LpBlo2amFqQEzW5HwoXuUOpBrnzCuH1fIaAzxhU5cmKT4DCTccB6KZBXvdwRR4H3jnNdfmzn701ot0lSkrATIKTuKD2nkc27/Qz/H6b0LbYsyhEXOtlNN+0W8zI5kSR7zPPomeB8Lh3hPXquVaMGJmK7ZuKEm7H1F/xDlO0UpmbOkBMLFKQu0MHOmhiy3vsfEWojqQPcD1iRdod1alQ3ksqgEzRXyk4ap7N+PNDRcfycmUBM06GgpLPBIo/nPaW5AKgLS+NByeU55GrVyuz457JG4uG7SyWB9WN61j7nvdqmhFqq5OdLkNVNNT7NOz74EyPvjjSVmsOi645/1wa4HwOavPQ0S7cz548hMNu+6f3bhm/9NSU04tiDEb/TraIRn0L5TR0mkf5IieThRG+tLJuqBSEwfKVKUY+Aqab+hzuSq6XLtlDB6nodSHDypp5SzxFNKYI9EEeNr1NL3J2dhKfww7MHhp3X0nqBbQ/j+h7XQymF+p9Vt+gIUdIYE0loWtcRssZxZUgcfPglnc3q5oVlIbXiNWZriTuZluRG15Hunb3loKZOrn7+Li9ms2lcz310wmTP9lrG2w4tOiG/qm1/iESlb+6IVdk6YhulomC4Zm8+KpK0RRVWuG4vq6+mX8Dm6V1cWO3rhGTz5XLIXryUGeqyIS624S6+zlZbHtwNbDROysTpFxCuWdXBtwIxTCGyyFYd6EZhbJsE1TZyQGT9hjlJpQeJC9l2VV2lIiu2IDsI3px8PNy8J+S9/l4GHIdMJszIBEvUj2BssOCH8TuAuHUXjTG7JITcUMX/mQvsT8joJ4Mva7PgwzozLMGbA8iG/gYXSy/whv7CtSzv+14sXUE/tJwNHw2Rm2gEsup4NrSKhX9ZxF4M4eixTK4KuD9DimWvtjB04fHf+k/iRcMYfcQd2j8fX2V5W4IgtvRxCQger9cJdwmRfjHUmdf6VTJm2zOlWWIszaafEshUDy0OFwV81MswHNbsVJJyFQsUWlXsDetRTHF74nH6NMaO7r+sTsKfHl+mohPDtOdFboAyzQCKULF/2n04Rd9G7CfjSUu8uqF3THFxvgkZRADrPHRYC+bfkqJ6aCkEmb25dx1t4Vcbg5Es1tPN25DWG7UdBotPIxtH+jncVSLJFxDFB/iye96/kLbpO+q8VpZ0T/wxCCBqyS5eywgGsnyowZx6a90lGG05kZUuhJUbpZdmQe4VoxxRYUbgwh3mRgejdqZHtK2zLQadu7e7SZzydo+G1D3SaUbqr7e9PGL37M6bEUGVkcpw/u4aT+Bj/htEiZV+8T8XX2y8h+gJ3n/AiSbHnn9BgR1Rd9gZSbilQIwOVGXCzW21Nz8a+L3YRiMB0Vpm4jgNv/gPlcz2umKEL+mxkCB4PgzvBYCbNieiUr3HyZbJb8ana3qr5W09ZeZqdXQeA5mMInRJVW4B/6SRSv6clCYYXPyVVHNpN3iwlBgLqwS8bsRvAz+2ZmVgoj/qKb/iupDjD1FDfuy55lzDOTN/oZPRsz3oBqSgofS6j8sM1IKZWhy/iXLPrLh/iaLLvPrUEqT8prcjbRhuaPiUdCl66p7CNvS95vARPK1zZzJR1S/PkUXFOAkPvjKKtwVVfvMymIzT4m3e7bsaXs0M5q+GzaGiJofP5NTJItrymFfO9Ao31hJenfi4tIovpivlYYAmTwYKa4OFqmyxYutra6m1icQ9Wi1PeDvumd0oiUc8u8wBJSYSORpo/NIckoUALcN2ofdTs6MGRG93vCGMTrLPYHya6Nnv01TZ9AC3Uxdyo5/8GdVgRs7TB7U3nniUVa0FNnaUywa9nTDoa+MgSroNNjuvOnrynwK+mc5v0mOdVCYg0qZTClv8cXIdOxY8/3LA+V046NbVB2LKH46ih6TYV/kKWmWonXixBbjxWz0HHaeRFU6jUtXkT498gavsp2jKlGFr1wvpseJ5HvWkzD2TpyhRlLiUdCU4sKX5we4akdLMuBfy6DuVw4rANiQj/2/drETjw1J4lGftiMitAiw3EhJ0L3JhwW6rq+gFIb0oMF6nZHzeMYnj8R+fbjr3d6kL2tKhJg1IPNIyWGpg8Jj6W/0ttFYKeGH2KCpp/BRNy6nuv4LVyECIf0VUfrx3OTM68/14J1zhwirrqG6d9KIW9wn+i4MgqcMM6m9JCN0MfatMCU4gMhFWLtGIwHSYFZRf2IZ3nr/JwEfYaObpROzDUTZb2aN/WqdWpwAIs5FWHhPk6Ymjxl1ey9owbz/H5p7KyDJ41ZCdBxP40t9UXJHBsdbsfuYaHsoN0FWr88Dxued9bpkU/jKUDJrqyebzGMeD9Jfyqck6yx4DBJ0bq3llmehnwIGrkbHVLi8onFfb6BTAN5hhI8r6AJGFPB6wLY5uHk75Mit6Cio+D8rD0WosDNaptQDNBZlAWxhrZ8ZAI8A0CsphE2ltn6IfS7uTFTQUQYyxgTZf8q8/J+oPGOpes6dWKQRp+xrVlUzDJk847VT1sysJ7WbmFOjiAv61UA4cSdnzF0kXtAsrPb1Hiw/t5xF8MybWlWpSLPEWpQrqZGfpMSjfOIj8LNU0DnHG+Fl4ulpa4O0GdHgZoeNDqFbrrE6jptPc0W6mYa3Cpz5VVAMqJh4Ci33ghIJLwXqicVYzeG05XFzAPK3LzZWPOoZmqcprnE2K8aMr0kcmOkDg4wvEziQ6k1h+RUIToW6q38JhFQJ2E3oQMKZ8SrLRg/WSaQdDbL3z4rqBloU/3exn7Tx7gwS5Ho2ECy7ea9T2PygL4FIe17/baJ0DuyCshPW+pWOTevdWEbfv4ZYZdgQ7uFoqfDp1XAdze1m10uTVHtI2PZYynPX5LG6H9hjhS3pRtZqqgttRLshGlNbxcEVdnlUnStI7EJJ7UFqFwpHMX16neIYE2Vf1HnXRcCSGYG6WAXaGB4VYAfJ6iXpQnBc81yicCMkjAQucZpN3YY6C5qwhQpyV/IK3qawTwEKs6gSGwtaeprjZzfnIwcAS6ZDbbu7q8Ur70665GIZkGSdjamhwImtNU/cK+75cGniuys6EDOReUmY0JAyNX6GU/QnKHxpWfBtNcobhQzSAho4c2Tg+1Q/BXad376ZCua/YFEBa/qxweRna8XhRWEv0ocCu1M48ippHnl/p5cUJKWSD09tC9BRdevItHkf/3F59hUbvlRxNgm2hB18aGmlOkvMeKeL62rjy5VbWNsPGlGSpKs6SP24Fm6itlBQ68TrhXEAn4XdXAr96uE0hb687a6Gvga0+PRNUL94HLcU9kuWPvytp9B84WsdwFeiJJjlGYEmDHcTB8+W8dyyWgOmOmwdN9s2XrNSp5QLWQLTtVFPmQMGOvsMgeTTL2FVLzISyXfBa6VgC6FeCijHUcA8fSl4D2iWmASK8k7PvQvR1t3YHMu4Zc5VTeMAjtHX1pXH3ut6vCKNVVdMyITPuZSa85mCebkYBoq10ds6axPseABF9TpZZFEOdFpTux9U2qN6mwATqq7JEuQlgXWgz4DyUpFISYMJXrmlGYbsHztL+uEkRbC5YYRWZLePOCTpd28deC6xKRw+2PeXEGdPuKpwWxyzgyJNMYZS2WqyogOPPQC6jAtedLOASAqFeKTvQMfVjhWyzjx2HpY9oRWd1pbIXJvAU3cDhjFjKYwvFska/57Vo6WCVeTXwU+lR013cdv55CAwbmQEwfqA7I1Kj4CqHSacwvzIT4e+kL6r133OdpIV3TjGOl7phsPZaHdG8l2MSq/qzRsdU6yEk5d4CIn3QmFcW0uqWmftmUHjIW3dXMyrRYnlMyLjceoWJTxqag/sXj3qQuCaXUCRavmi00oULy6tQaHSxtyRSrtQx1skjH2mhMNhY91R8V9mDRjZhH0r/lSoUMaS7JXRWEbSrUzMKGTOcLhGmaEfjhtj/gdcln9n9SDnpD6+RfEnToyvSIS9fqyCjNFpIMsbst7tm1kgGjymfHS4de52uzcHvn/8bQcJYX9yunaxy/rWgwRPnanDUpWDE0UnEPErT9E2fiQuJUB0UNqBs6rbbNOlYORtoccHtmdwciZ89/oYjTrTDmr9VHVD5MopxO/af+IgNbZps5GvYHLaWps4fzRmIl9vjerLvZhUf8cSjcFpUlIO0DmgacoKT7Kb2VSmu+JR4icnHIdYiaAZgek4+GRNi6Jwxhzi34o76GH516QZ5US/mZBh2eNzWRYCJnnsneLDIKWwi8wvbzz2SGHAUOOa9dpXiypOFmhvTNl0/Epw12Q7lYjd3EXZyzBIcSGfZELtMVLPQ+ci+vZrr5tQ/kP9f1FdFjrTm78316X1Of9gmaXWJqCVfx4pqMz/3k9a9OEjagCtxn8H+6RtNd1Y9odqhbiYoW7Ykt4+D3YZ1CJKMwrendeS20hbe1q9kYPDK+9rPXShsRRtRFpdC6OAGPRNyCoW3bYCR8k1XQq8lGBNCCfMce91/kQYiFTTBPWnSc/KEYDL0gE8A+7f3wvOcqXz1Ch0itx9bNVVZcg1krvUVd29qZRMNZSifU4ewdOd0xREPVC5EnEfh3mP7j5+Rkd9Lo1kfu5o7l0DmFbQhQs4oKPyGxrATtLnue2ZMtipsd0yL5TDUt2OK5vz4gBb1mwtsxYvQlwUsXXx4lYDeGjR92cVKKJZTxrlng+l3nepVjshfLuq4Ssx4q7wkQi2j27zAB/rxVfpF+V/uRvcf0bQjaAGf3QeLyBm/V+s7Qz38DiFjW2br9MMUbPWFjcVOQszck0UG+JppbkE3dt+UfFTNoccZQEgdXHNlnmteG9JcKbx4vF079TsvVc52fjU6tmX0lr7e/NMqTDCI+/T7b235qqLpP835XKy6lAHTOJragMxwGrzudc88AGvDqQGpfSZ7QsvflXrQtWc6WOmmwb9wVZlhhimkyiiW1NSBjJE9OJHrX9a/jXX1fid1sZCD/kt90SUmerB9b1SxQ1orfO4SAoL7z0Ooye7EWdTt25ky4oeZ9PjQk5oCkw5tyzf3M7LvDVOt/FrXI0HnNuBaO9bntMFiov54sw0Kn9JEPRl4xdfLm8hQzQoHXTCJCQqPqEoSafQDW5HhVHJL1mswWSAudI09vKtSE/G9c96jf6JaBsWIB3kiQplwCJnGsV3sadQlZY2AztXGZDhuHomcswzdbDHecUFq/vcIvD2Jl05cu5rxIdwnOWTuK78i6cqRZAPuOBA+RNtfXfMHAHAMH1GiqwlbjlbKCe4ud8TaNQeQddkB6Y/elEkIlEms3u0VkVS8dTfBhKZPnMhWXh8d58uGceX6WRmzXgkageux0HGKkWaY1+LbeA+6Dr76BkWpCEBeDszuqW6KQAn35E0EzddOqGw1fyAjvPAWFAqDgb61zODtPk65R+ONzPDnuOZyT0Ka14yGxhl1OaHiWn0viQlKcg2xV37P4I1Oesl2/8WuMjEAVWHz2IGrJM9XtLT2dyQMFUqk/TL034L1y9csc56iRwyRiHhr3xwjlbZHV9oxzUEVOnKi4vl59DkNocebp3KQfVlZmhijMij6cQWu9xIahmoXgtNNusm4Wtn3Eb+WFb03LllS7+ltoMbRmpXCcfozozAuH6oLJO9lpkh7brBGzLGa77u0cLNfDs6fxgvTlCXqgqyZ7kLjIrclmVKVkxpMyCx5RshE1asAsCO1yH5PGQVDNVCF3kTs3G9Xpn4UyJK49dSjyTBn8PyvECfmBEMN3rwOphbF4LRVlKnYF7noLg9X51dUaalJNhEZ518Q4DKg7vHs4QDL67PmHN19RQc36jhGcCkWRKzSktd77kIfEwnbde8kY3Ep1Zzw09x2h6B0PY+wMsaiH2qyuz1rK8OxfWAiq1f+lCCLl9ZIzaIdqavUQ+HXseWanHC0S3sULAYNZFjaqn5zE6S/s4/PqNbCM2tGUlwoP1r75vK3BqZXdgivXOwL++rdlgb6Wnw9whF/g3UD9Gh88xYZ4Dd3mkF7sSS7tFKYPcGgRvI52S5lxAvxBI3s8lwmQh7lF3VD0pDpKPz9st45KiVC8gLlBb/da5hMow0M6HUp3/2nM9tcgY/Ma/YyIYP8il8r999r7ktg/tE7JQ1NlgHmO6fT8De18B1337zlAi2vqCoQ2g+c8hTQgb08tTkjQIDl0VDybxoQIP7i+lN5GWBA3F0b5OT4UbgXgrAOZ2WxgNjNEHnqyCXjbw4gSvpmL+0Jn0fCwx5+BGlruxQAcuMFDLk/jVuQHMUOj5nCX/nM6r4q/8MLCLWrXgtE4w5G4nyqES9Ws+ofLzEMoc87Qu93IpgnGKcvQ0lMfhljBGidVPNhDES8TP8ZbvpyzYGWMMUfNG6XWtc+f1oCq56HLZ4duChL+c5cYDFYcC1f7dAzZabe5Rz2kJnK3FCBsQP3GMzCqBvpOLmZe/L0WWxWmpBhqKiB5wK4h1W0mQ9U03Gr5MbvEQJlU4xy4jH+fbFgqzLP2Vm8Wb8IB5ncqHpzxxjGg/lHh495QvfueXTKk0vqMII4v8jNFCbLU6LO6uBkByij8z0BRhddexxONeFCMghUHd+fXgKfRKpMy2DdIJrP1Xnom+zOu1Hh9x17sOXvvCNy9rLeZJfqOtXhUsnkARNEnQsjDeyp1Her+0DGsOzDnYU8LWI3Uh4srYMNBAIQ2IStsVMn/H9TCunrZRTCseVe2JZvzHIHqDrir85GuXnqAuj9AIEYLHsAa8Awszm0a8G0bLA06vUr5bYywKLO2WWS8Icp9R9BOqGWNh3kFizky3VCecRfz4Kj+KllZ1ZQqCVjq274RaMpdoLtVqyQA2Y7hblDoOi4/sNYbQgelSnLThqybxcY73Xp1UVXiDjzh2eCYgoe8UXzyHsv1uq+UrrrVc5MWh89OFJM3VFlA6JBd/3XBdrRCCzFIQKe5ZmYek29YVlLLEupVbTXrqoaI9e+E0lw7dSDgbvj8T/gr/hq2mC+HNIoCq4lSoB+uMlE1342mtjVZ2gMsghBFipFDi16u2i1LjCKuwPA5DixV+fhu5uSrdlTyt6Fg1PGS+bcKwEWrDHnrl3uLdSMOGDgZfu2GYftOGJ4ZWPrZL3OlA7uZZnXdehyC5FRb9aQe4ncOa+z4JAvnAq5UH0auhX/44aqgT4rmxEEnhc3BIoAAApe/phU8uFWQg6RputArHB40VwZShZDNH5qNq5FA32DyI62Vl23OsPxe8Q8E1hDphEy+1rah5Ls5IukXW1FSrNLN4xPL31qrViqneFYMTMa4Lchk28om/BVT7qEoP/Zh98lrpd+a0BiqtmFBcY44L05IGe/JUs5zWlT/tAqQ0McYInjEqetaUjTuH4vnCXjatpizVFlU8JQ/ZLUbnxagkJp3B/DaDBKG6VWp3YHXF5bBAkxYdRU9s/woIlhkD+Ghz5z7wekb6ew898bpADNQ0jAAF5fxtm2fYFpH3bOHZipUpBub7hhCjacpY+4Xy4FSbR575uKdL5IeT2Itxz7c5QTGyQ58cITndSnebb6d6cUxrmmd56F97SXs5A9VVAoy3PCDQbOsKRowVKzeQnFmXFw2fb5Cng0u8X3iV7rgqrh2iD0hCPqbX9ClPbEh1WonzXrROjUlgJTeLuyoOSAhzCZSFGEA2IWK38+VMa6oaQWSZnGcfw4R4dZ/ljw+Pq6JfISHUcFPr5u6SRx6PDrRqEnppPdGqYIpW48GcDNvbjPMVUYfFTAvl1+qOK2xGDZ9BQN4k9o54JcuseEkyg/lvDsT5G3MVvaISAR/3P0htaGdHdGgerRDrxBSAuflo0Ik2cMIZx0Uh9rXjqlBko2NLc8WsfBu6O7k+6skQks+mPB/8fwI1d/7pXeK7CCFCxF0CyRlQy3LPTB9PQaSNv6kRz3gsYviFjUbuNCz8ITksyy1+QoXSHFf+3ZWZOaag6rJBM1tyyklS5de6vpwjt2T7RbAzsyR1gtm7yEN7ZpwdPAyjhSEaIRoGMHPiDH6bJXILYH9+tnqJJbRo1urJN5I2PMLNG4bX/5oqYiugDCOMZc5kPjWq9Oz9OAPUthcXDyO+ULdoxKanACQosfmIccPPfMF8jcQ3G4q4Ghan7fhmktL+9Lr6MgDyIdNA6MbeeHZTal8P0YITXhHoaW4+RmDEbR58JbjP5bH6HMbe4JdPluseh1rttcTIyaE+06VTF3WsKABCE0ouUueSA1yacAsBV5pmMs+TqZ4ohMAkEVLeit/3HLRTvZjy78yVUWvb6E+Nkdx6AIMhZOpTGdDVJBZhVdLqkpLFSI/onzunitb3G8zCx6wf8yp6Z/EsIe74DHdSN7dNUSoUx2nAFWYpzyIINgdBmTBZN3Q3vT7R1Cw4CSbc0sPv9WdJI/k/Gt7g/WDHxEBlc5L3gUU+dOTqE+c560lWRxwfzocpY0mMWTxdtv28+iS02l1+MwS09o/GY85P1aQCpMYFoieDsHFyuvPhfUqKdu14Za3W+vG3p7MGmjX62pdmGD1XIc4JmNlVPJiLu7laDcXLkgAmEvAC53An89JfY1WDnYWleg5HTR04AZsYPjQoUEEJuJWByJnZ+WHV5xxFslStr98FG8KSWg+ACSVcHTWnKAjQMgtBxx2fVHrwybTv2YVeX6hsopGedDcI0Awk+nQLDWxVcISxlbKdeVJrLAoa0ornZQbIS8DofN2HUp4grBIaCUYT+c4QwWDl+zA/lAs2aecEHsHD11QRtFmAaHKO+kN9tzEMnk6Kq4TjHxk2FF9BCP0qEM1T3IHE9isf+20H6ypiEvMynpsEen+o/QQAqjnNvfSTKgzWdEB1Q9FH2U8vmPcHS5VC68lm4tUDYZ1L4mqvuaJM2kqOwvmx3qM2VLhvyR1Z68F7+GqI8P9CVjbrfhdbL3VRRoBxcZG8Dd43mm9ojCeiOAokyw6ZhBwqMGz1FnmvztOpHOMxPUYH5Wx34HnUCaLaqZ4FEuzr9Nm+AWeyl/nLwX9H5Whnxq0KnksekFVYNXF96c95gramUdMgM/+jtmcCZzy+afIQNLTVDjTWyvYEtBmWGyXpgw0XU90240M3Kv5AFtD+mKcJgKNBmEavu8PDRe4VCtRY1OEB4+pBxAPK01oNrUEouAVBw17owTMiQsf9pw5jp5WLXdAqDZLJ5AM9DHaZoiWFiW+/QjiblkzYn68tbxoYTs+XuSTQxcNMVYvcvvfT3wHBsSBV6sGRwmvuQC3ooJAvRxARYCn0pu8eHAqMtrHxTrM8itxy7T6hTapWrj3OVKpJLbvS0XfVzDV+OXAwUbaRE7KZvhUeNDFppob5aUzq/e4HeKX2xctth8qEvdiv+cScE37J3QY0ryuF8eLgLAhzhiWCI4iMJxAxQ7IEoORU21sjDi92gCWk5vv2kkAH6M5wl3xPrzpp6HiKaAhluTF7+dCGkHxSloPvwsfQm09cU8Us7gU34Pe4BiifPLMBlQ7H6GJCFCkbFuxO77G0KMxAkzqXcg88EstOlH/5IXcu0r+cKVtBV9Hob/bTVkPHryyZlbpPY+qLU5FdqunRJd6v2f9e73+ZA6Klm8bEC3ac6GwOE+yghI75fTfMcALUGKlGFmWxJHDUsfP0QJKlJT/S/E48PTbWOukIgWXUHyHEqGlA6xe8RuAI34NgaRezIX+hq0VQwbjWM+4A7R8lKnv7ivYHVWkEn+LU6xUBmh4lVEtbD4b5JLXTKBSrN17KWS8ZaV7GIGyJyplcg7u0+iJQ8qSz4Dwz7RPjd8e1Ud/DhMM6yFq7tNACOctgPfS284J5i2Qhhjtz4YLNHcyS1WIzQzI7F003Ow1eVJCCFxBz09p55Y2TWVRBwFqFE+ybXsSzwDHfNI1nv72JsE098q5uwyROks9Ili+INPvgD4+xGQljWGMLfZUS6L9O/cE+ZXBoTaxJjLI7LPy5z+2jYoUZyDSL6EhA3zw8plr/RmuFVRfnpadUAxhRQ8m8d/VgPkITM9LzIirOn0NdGiGshQSnZaaBNrIXiZBB7ksuasV5TI+BX202NQD7XC1wT1K0KYI89RnevwqfdreZuDupa6IO/iXhEI7+8UnTh7qDuc18pe6R6Fzhhp94LlHFM6bJCfqc3BW+BFameQ3KEnF+BAkwYbIb8HzqeOo8wPT100V5Bl0H+i9vHrGRy6vXQifkvfCB6S8dOkiv3KZjrg0tyLlyaJZDFTszNKIAFvzIfUJgXj00DetdvZfiSpWrret/0SzJIYgR2Pb4za9VzpvpQmIUnrbaJgILroYYrnWiasjAhhRsLiNuO9mXymYugn3wjHXpz6ee5BAi5peRNbbQLmSkv0M9lJpYatSPLAfXZaLgl1vEr2vFJjru0QXBbFMPkwINvL80wm0ylaSJKmNLFBiIVGA/YdEye8ts9KmgdcDaK73Ry5efGYTQXL38luSkcFnrJAx12lra5YzlNurv24PmlXs05rIyjo5QhwtRWXPC+ciIqdFGWV8SImbTNXuiIjb0i7ZlC8/fBds9J124yLS+8Dc7dOJbx5I/S81vM73bFJ7G1p61BRe28pWbKwz4G/t5MWz4ZhWHizEvPUS7F/Rv5nLFTM6/ebzvoVY3rZdPjndIoJSLzl3GS5YyYpD+QRhLgT5hZcg0deKDJMc9wG/3lr9o2dbdGPEfv+a84ljyzD3jDUvM/xF3Y/kn+Dr3UHqb/lBYQFQatL19nLU4kM48xWzbLL2rTPChHywUiYxzFBRCYeZOKjbBU2LGkX5Ocgn/1vISNnqrjJiExcM6Qs/uQi2NoDdBfoCkWfwSHJD3xnZMCIqh+WYuwz8A1/rLEYlSOOFx0DTIgZSn18FyjfFAy47w8ATJykgRkgc00WFKC7kpCJ4D5Ug1x2qZDavXzbvI15rk1rTe8T8QTmhetlYNVwfY7L9EFdBOrZcxaZUkhXsMdyLNbBvPxJs64Q2N7FxgB8IPKUVqfNqTXmSQ+qP08JcULdnMB3gBk644T5Z4AfbahSHMAqvrW2hwsDzFJZ/RacSp9lVLUyyIvuii8Ozvfh0ewAc3Jl3/a6YvoF6rsuSKaEUaoDAMyRoigEfV2FKNHcRNa8Vb688aevpk1dboE/9emJAj8FFGKsJrS+F570hKXWu58zUhMvshWM4LKX0xZmsdd/8LuHP0QOFb0st4VchYfAo55G/bSQHPxMeN2Kh4CdojANrqaoAnwqGj1/+EWWgeyAa8zAtdctVlv/AS8nua2Dk89eSKLGwwYa2O+rIMIAMNofuhqWm8FJLnwd5r4BGtmv/v6AHkelVT7Ns2rUotYYoSG2SzymqfWMKFhWEfOCc3UGEx57k5L9y8Jd2Z0j0nVcdFYggaPIv7hDYB6KDiMMfhHtzAX5kptof4aW5EJ3e+RduiUS8GoqKXCv3POF3OCvRbnkERXrjLxNMCflQG6jkNe/wqiwFF0tV4FIIicAUmHuIzgBKjzBsceqsQ/TWa8gtEdo0NL65MQf+7Aj39wDXa2HqC9yl5peAcvpbgFwoXV+Pz2d7P6QOYnY7GqPxe8/CpsjXbHFhsCggpwv/VbKXUuZ/2DuOPVMkHRvMJAMEm4gXz6BINq1pniStpSIA1uAjR+Z55DK1iMo5INUOnavk2/7O7bZU2WxzyIA4is2+WbZ/zdbriTMO5pk9AFeZB52EXgPN3yhePynk0lgwpfv7kqZnKLTcW6PED04QsG5vJ12xabIjKhXd8rWjfWrUt0gG4l77WQwwNgcBJzp/13sTDZhsmIEWIEzomZoxjtX0MIvtnu6zAYeL8EOxZcMmAfKyWSWE2V9sMGCWyNFmAQoaLtBTYMJeQk2aDXkJ1Zzdd3FkIvnU9V0cIKizmec48n7bviPCN4O1UJ8O0nNwX+AZv36LaGdbRAA9so3Zl/itgGUHPa8Jm32sCD/Mha7BCYMXHJxBf0mbVBOpb6kvlvg76Co+eRAa9fATi7EJehejLODYgIFfio1FFnenQxnuEXSl0zPPs5ohufPaoUb0ytKO3fNGGANdYXXiajXgEwL6dDDyGAfZ3NEMXTmvbSCFpgdq0kW3ZNFt4X3Fsw0mqjEO+XIYw18qpNY0Anb5yIFTCKmenpEnFevSm0JFrk/BYQ2Gt8OczHpCEWy1/5qhbRAOCIMUvlQojk2By83vGM0Czxjj5PgIu36PaBlPphugm0YsTSBuQIaEspd6L1AgVJEdYPrBrZhDkmQuC05fLni0I+kmXiRonnNCPjkiOJdl/N0BZPrCHlyKA4sSAtug9bZQMk/Rec1Kkle9IUJ3NpzlkF6cJpUeq6T598ykJ47u6UoPxBFD6PW/KhErl7DFqSwupnykDr2mouk56e0J0nKYyzLjnPcbYKJxumYfeeegJF+Qq7ZwN9bwryGSMdxwV9kwsNBE/SnB6ysbGYfirb6lxACCPaXECCZTU45te7HA9zxYfpDCj0ooTMQq056LNFjtZjLOqUS7PPW92aQVdLKMr4XDm2BiLZoWe6hO10f28qOk/CNmXOiB1cRRYyhGoR34eILLTXXgE/o6EbvAzLtA97Sv5UbBK/L2/BIKbOmx8Ixd2rBAsrsruBd/jYv+boNMicHNHYHs7TaQehgW3kuW6WTUD/RmaJ8WzpbZSz1bGQgsxhtH2YDMYktvkHDpT/Ei2GlE7jcZkwOTESASftfRXbLMmpTfGsGzECUUDLCAxDvvrwiDHmhM4gzAxeTrwEQ6y6gJkmJlF5rXcQf1RfxhsqJb06CdtAmxRXfLhZF7vrpQKxHImVqlmWdgsKLqlx/f4XujoZPoKEtfOqFukIvGbmkFkc6sALxb8BZRL3sHHv1W+SF59Hvop1QiMMEkqHMNpan3V5WZaViG3Sd4HmjxKXK8cVMuKO07yf7BpAI1d1JFFJUwXaqUeVNqRblI90ecAW5TuVL76lPQuktHd5BlJSAHNljZurZd714I1Q5GD3bJexzy84dnnK3cKMjL7Wut4lLDXgm8VNpSDoIk7WzewMyyEGZojfWi5wTun1xyNEpmN9GF8azlaobQhlFhYv/lz1f8bPtFtYaGpt8xnIuBH/n1ytp/Qa5OnfI/SLcr0oUImT7hMRFF8sZD5CTjcm1rSjazZyzO9punUA5S+i9Zs8SIXemgKLV9R0RfU3p+jJ22xq6IkxkRk/WcdO3EP2md6nhQhA6yHhq9mr47CV4RarErErimPahg608XaI8RNYdTn33PKekfZqMvEp8i0IPp/47W1vFJrSYBxY5apm2qxssPIJh49q0EGyxwhUH6Tk4VWlbo+8pbPekMHjceeM2M/b7sm+kZGkKSyO/h7qxHIPUmIE7naavRQL2jjeWuLV2yDRjYNS//LvvCCKT4rF1D3LYhNfLjr+unegkXjEt8B/C4WqUbsPjeOKm/dG38QfWYkSN9a5pXx17XWYwSeABpj+sbNXE99rLK24FR0a8T3q3S3f5u8HxBA4zP0ZUu2ivClzNhfOZfFQ+HVPDY0j8sAFtqv6vErIoSYtQw4bAw3YtLgtmWArv0vPonvZ/PwONq1p90kHqZxLZRgl1gshxHi7n53UorxEcAgjGZpYPXE97K1qiCwKbs5wApzXQJQVGeKZwJHbM0fg4bahBPWv+dxotf6oNH+7fLb+22wj2sM8QF+Z/DDw0RLderjsxsB4ZMTdvCdA+BSKWO/3vTe9nZJvcq/oFqFu0OgkLUvtqNpFy/N81vWDMGUvDtDKU5dUjdJ/GoSPBU/JtL3ilvNvBt9wCnjthInF12UUwvj0IPKiHK03mP0QHATq9je+HOWJhRohw4Oy3COb4kyRffKRaCM0747mTwrakzE4wyhm0oKdxtMBxrBD0VbOqm/s0GHr698YE/Gr2OqkeWBQM4Nr7fiYnKK67hM2nYQNvcMEMfIl9PSAM5ybEWArSSF6yrHnLm22niHm5o8+umxp5ZN9DoSKZfOlFuZ0AK0zv6djJw1TnTMXL8qhBjNn+qdxwSkhsWs8tof/qWJpDub11ARLdKV340J1/UAGG/OO5YZCpg2aU3ylFAFltqxwS8U061Q2+YScQ5e5V+ab1SFaEMI8qQoco+H0d8sokt0pRNQMTLLNCIgj19FfHkM9e6oFYDzJ2HOxXKF2g0bo8nL5bbzwZ0v2HjfmmX79Hsx+U7+RuVyBRqdh50mhBPjXg+3tvjl47Bu2sJbWkQvqKlzgMxM/HemFP9YKyczA9ejwZteeWy/2ULpIDihX/sx5QAGY/PKSV5xkC1AH+/mUaTPZwE/d5HsS0gF0Sc3ihn9CLSTwPXSb0DYcGFUgc3P+EcbQK9IJ3PRalq3N294Dp+0e8+SXBNCcmrzlDIwvz/S7fzq1JZSiSGdczCuhwf0W2sjrtabF+g/43rXideI8I4iu/J5AQjL+e9Ja9rfVP4WwNTCNsBsQ2JDmNHh8kbiVxSZvjETeVgZf7sdlTzgtm9H669HRufyve92R2qdXBBGEqGljC+xsOfJ/dM2dwXDW4fOyRuvtwpb2cvb5t6g2DK4rO5NilqvhmjexntQHY3a5GEvSathPha80NLZqwCHb7DPZoN9BaXHd+AobDYUwP95k3Kh9/BhVaQtknL1WB9PbSSfmcYJuuXhfroMQYGV5FndHijkceoHKKGTDdLZIsPQmlZ67BvKieA6DfGCddOlwbwAa0etANOpwuYzBtntJM49JUGyDBNEeMWGhWnylIsNlSCaFNRamxySKtICeF+eyjXhS3D9ygWL1Vja9y0jFgm5pfmzerC1fdEa/Q5L49SH4hKm2/Uep44iEYZ1cLZyAnYmvZxJoY2WUSMi5VRuIv2jgo7806a7J1X9sVNEQ0yHDqkrHP7vopEsTQE3KBaMN7aPToDpGvDZCG8iEZ2g3u7raQJq1kAczxyIdy77D5Zx5EdVTnRAKM68gdzkpojz7vZqtPUOpdMoZHzgukq51jtrppTz0OLbxJzCv9iYhissaLexs0IGsVmo5qhm3hzyH6TRCV1v/U4bS0nqWuJql24+2bjkx3VXDR+3ARf5mOtU6LAVUuEsdGjovv4duj1oGZpXD7CHXHQaxcppfn1850NMmRFCjazkfCQ5LjYRvaDM+uaehmCE1QNAbQNS1Ap+ep3lE6rNwddrMcBSSbFEcDVEKoKVd+7Xm1VU+jXBm77DUNplKB+FvtcpVPCzodX0qqg7aMbXyIFIN6ReR+xg7/5EHpyX0VLTX3fEdcMEk1/gBBxLzfQ8yepharbelUbrb2+2GgLxMY0fJ10Rj5vTqrkerkaPFxFKkAhfCdABtg25arY36Rff8pnyC6s6cWdr7IMF+quWHdHD1j6Gp3l23BrqfUKQtSrH7KvBv+gTIq2aTl6pbAysXGbIXWVPJmxINzE5N02ROvpR9f8VqSW7i7n4EjiGNdkAdfsDPJX77yduye3cDvrEg5lbGqNk8MgytyYssjmRUOwfEFYk4enwC9txLatcg9/jpPZqLXP0/aG7OIzBTxa2LHMCst13qO7hepA7ntYEuWc0XNFbGavZWzohERx5DIIOQuzL09Yq1UHVO5NU2Lq51enkDW70LtpUaGlzQcWIsVOrgstoT2XhkdlICMf6DuXBOMrXGM3Psvd4Zx45LNW66pFn3LaS/3LDYUOlDkyd8BqIkUU2a21sK965JTdfTAV/zP0d/LtpvbjFIDXAbM9lLAJ/3GwNf/XNNBojRO9z1DgEKihaeaCMMncfsUrs8GVWMWAq2ar605vX5NEz1/CTQblLMT7P7gC5YguYFoyiNOFOB2sRyJBxbANPKLGlhG8SCmmeu4Se5KZyywHFvEBFolzOPr6sw2bV8UJGNdiWpnDv42PnGXUEbmbNRURvgxNvfRWy0/qpbB9Pbk1iVfnx6VqdnjITw4R8OapL6lWDUwQJKjPGKTFoPNvdRcOqoYEiH7Yr1ruFHUHtRqX3jtGU84I17g4KJKQGr2Jo+EHaZNIUJ73OST7sxqRUvFf9sC/PZQGdgsTJrxgLrtzKjsPiIrRqnXQAFlXb5FbZ5iCo+3q7X3mcEnVqpwc0JrBhTeaygo0PTmS3+mYPP935HfGYxDPqaxpPwOwB//wqH9l3FhDn4Rp0LgAsU15xR46otYDNgxcctYPON666odogjjAUX7VyDOCA74PCGry+YzINLbFMnm+U6kaiHhpSkIZAV6bwT9X6DIVNet112o7hpJXC9Xx/7b6ys3neruQchGSLB6OOoGfoaeWJ+w1TSaa+vsukbCTlhWc1yZSsgIitLYOUlUpfMCwRs9/a8YEGN7EFuvtX/ND691gIXxiSJ5xbGgx8+XIakuw2LsJ3Dm9leQisNJ+T0r2hXBE4KgZ0llKNFEUVGxWgv8Yib6gPDttl/EiAD+vnfPK00ScQ/tGGljNXI+GV0LQKF1HBTFuLacJAGLOW4JdiQ3Z0u6wGY7XgMrd7YQHNcSbM8ldSGJMtWnELbmoRB3uSyBMUCg64P54BA3esMjbp6FFoS18HyS9WaDnafoJx51CElhsAe1HWS4Mc10IA60hrY+XyoB6YZC+PTibb+ouG3NCd8ofNlabdF9TrJdodAbuvS6ICcwly4BpwgHBDJc1U7Imd5Td09pQle39sir9ElP6bEKuP8QXdmOoQeCRX2QRhmPozopblBtjPDq434nZ3fgoN+MIryZOPJHu7RZoGy2EPRvEr2IsK3p6r3opk07n0pRCpZ2wZ7c3cohm8aLC8VXNg7lFa0yACBhJ+pS3MTdZ01LRR45EwgvKOh0b7YlybYGnedJwF7ripi0Hz9pnZpND4gCousLoh0sooY1dyn6Z3+cbwLmroz8fwmkpm4k465emxYAVh8GGhF/9NEJO/+7wfXbNYYYzSNNSRHAll9Kfkp0etMWs2R32Bv0QIPu7SU5P01pNEuebFMi3XVXDFS770MnMTqgaNNjHcq7h7hP4gGErzrxhWzQyAjCFQ47LeEtPmlPBsuMK40evuQaTk5BHswXrBT2QFZ3oFSRdFw0bVU3kR6mcsP511OmOPV3hUPmA4FZdVNllI8SlWI3yetoC0ijc5iV6TxiBXArpW3FsscV8SpcJFgoPV9B0tngp1SNYWBh2z1jQyNXrIoXiClsfa0J99dJzIr5ISca2Xds+K6UUzWghusUQdmYA+H7A3CsKOtO9qy1vMdtJ13R20lkyQJxxIGLhsl039mh3coyFC0Fs+xlXaaPh9ySSF5WXlAsQhxF+6RftRprrGbqgd2DH2FM05tQVo3J5kRDoner5lAzYGQ/ravhFnQLooMLbzUZaNy3Deiecu5Xfeat2J22VrNIr/AiB+rg0cngTojpnUqr7lZ7VrtOy1aTmTlYYxZB1hRay+ImvBTaIFqW4E/U3PID+ChR/7NI7SDUQmAp7e81wGF2CjgJG74iKITMUImv2YZxOVM1noISTvaC4L5MIRfxtGeHMBuDFx7IWn8ytVfT6BOZ1Cf7hXcGDAz0BuZOOwtoKs/h32+zhl4963inUfKi7W/dhL19yo+vaqeGU+z4ZTPldVtc9O4KCEV/EqOrp9C4mQgD8WQfftH2LBqxwC0CnuKZ/uv13jBza2IOqDk1CtU8cis5Y6ss+4D9evJo7iNVEV9YsT2uq0aGhR/ARJesjX0xSIUH/CONePNOIDgryueludGGe2Px0tlYRtESXxIG6wisFNn3w+/ApyxLGJE1bjVQ7GXi9iCYF0RB5hxakyghr6OzeIzLpSy/1WH/pSlSkP8tqBn6GBfQ4ybsnB9gbhiPVaAEEogRBe6rg4KXAsppteyORwB5hvWCfsgWb0B1rXcrB/yWyd5S+bhDosUeiRUkj5X8SZM5f7AUaWFjO0TKNoL1/DNEhhFKIjBsO8gPIwp9wIP8VHCtPn5kSN2bA8oTSLIxp9n2uzlrzZnowzWTrawEyDb/UPOoxqbh2GzZ782D1D3KVBs7kEsnB6J1f2cL0uhqj2T7aXgxjVS8pntsSdHaqszzCB/1Bd6R4m0K5XM/My7x9qdZoX52/eMFSEL4CvKQRemcHG6IX5bKUhUpfikTpSaei2AwINRgtsi8ExD26vmNE3UyGIyf0a5/5Ixj+VgbH7J8GaLMyxPg09FoX04JPPS+mmf8AuWkg7a7mECNSOFV8ez2k3vaOTgszhFN9GAwYfFU4QLMsZVZ7/Bksfdtg2Ur4YNYqg7KjlFDR6xk/nc1o+5EvQ5Ur+82aoD4odOIxZ3WMc6XV9d8nNHT/24OO4hJeLrYZmbAVYFu0keq8lB5XKV0vlicAhLSU+46lQqwYH7evSfTauhMgM1dP4FHMRbfBlh33oKcz7L2O8Esi/8Qb2hk52sw81oAo0+xt63TfVTc5cIh5RslKlYO8WE+OcXsbj7U9jds0qwSeBayvoW2iDMq6ldE+uDI/IPRbpXU3yHWjbYT/qqo1rJbJpS/J3ig155Y7Djg/vrJE77GPu/CYQkUHZ/wyiJO0z159fM3agz61rFH2szAizAdaki58baJrkMdmspF/9bC6xj8iVh+yLV3es2vbpmR7mt+SsmFoWI2lsQtIyHEAL/oahYajlMQkksZ4ZqpmHwaZqc2Pm7YuGqU/+UEKJ0jy1UGl8ijpiLqaTeDj8UJc4Bc7UsIvSBJ+5vQHZYc5TVpbllojcvplvxWXZfAqHnDlel1y+xOw/GoMKxi5Xgaz4NvKl5ncfctPk7O5/121QJTNcAZu6NcqfUmd+sPCoLXGbRiRCUPZYFmAvNPxm9ivSE9fX/nQFhM+FaPklYqaFOlTQE+tlEJMuqxy65LWvujUnjQ1skL9+sZ2iuZxD6vKc4lfLyNa9LAodehkEHhR27rwNcTfKnTIizcD5mG+CNeGKp/3GiUoSL9RuMiZKRitYdch8qE9k7Nqml0DMOmuTWSk/TkUjz3zJaseFotHYT8D3p/vpA7q6ro/kBFX8nI8rIBn4gAng3r5cyhSwBeptoLPGTfMBc4jeKNLPuGwcNtAFmOrBtB1u+wmYZA1ZPMn+UFPUTI0iSLytObBMfSP+JUwvdbMUVCv+CBePUn8+/BIR4AknqewGLtpD5Zne6KEwHH+x0Grix1ApEkvlGc3DN0cYmG0+U0ZLHa6UBsHUa6gSl/x01a4dkefTPeeyd6Cr7vZ2eeHAxdvfxYbbvhQ0mTbEtB9zRPpcJs0KpdK8nOguGp7FVBPRTtDVqQwqx92fqLqVAVmgPGYvIdGGvvoM7iaHAoijWfOQSPH/CDAA+1Xew1JjfSKy/yT8f7dnRxRSowaeFgWXqStjfLFp7+Dr6cZ7q2HLnr8izZYmxDvaXdTBXlD0GY1Bg5dGvwkP2+neZGwLXDyIypFwlHZfWoqgi+jxuQ3yrtrpgrJ/qHSQG/7i6pdBwT0pCXrCUBIXf1QNaixl5fup/iE2O8bXRzlPYAlFDGZyb5aN2Ip04CzIUpyU7y/GZNrqRSeVh0NzLow3skQPZurUUYhsiqZdMTd+CouSbFZahPzFlqCMrYnPIiu3CkUc7JRiLhmT4ozEcqDFGLQbNadAHWuAh9HmjdV6XJFVQaUyw/SzAEqo9WCgqc0mYYxscWN9owG+0EusGnjEbEdLl1dOVacQWLpZEMxoJOQvhuB/eIHqPJv6fruvB5y7KUh2+g1RyDRrh0HM1QLyXkJXnSWeC3uK+DnabY0b0arHwI0jDbAeRmOiKOstNntYv1hXwb4G9/nCl+hPwDWuBqxWVrllpSvUMUlfB6JyKIMVdF6UbR1qj5fYt5/gBd5aYQ+NoWUsQXkjkSzW13kqRxcMC5aBeZqX6RGddmugkhJn01CNL5x9WPn3GxjEmoEzUwjDqHMERSrqGgrpgAbH5Zqdis1WQBJk6zWfRRNE48am6wxyPmkfE5rXQKDcywC4jOkGU7RRclexI4KZpKqie3uoYNQhYayyVAh7YN9fGEau7a2ozykjNzJTkqTFCzYeWUpXr8fa1mS3ZWsC3AW2VvVRc9DZD7qJ5Xxs2o+LTR6WNZ3qzr/li/Zaw4SppoQNfvuc/M9j5mHs76S7xsglZSh4iHQJaf8HSb77P+2Ur7S1odeAsv27xYmaIqIW6gzOF3uKYGfuekUnhxbbxlD81birLWrczgKL1i8Mt05du1l/1G1mzeDUlz/418YgVb0EDKWQuFGr9fh9di5jCGACRIkNgaAb1HU0n200jbNveG/1esUsPAfNIsrr3xaVqRPH//TJaWHTDjgThy6afXSfYrQPuA3pP/KPWniYVszSQjIGaSRLKvyOQiMETca31rItQkhRGUhUD7xRPv1DSseKWW/JSdulzGV4jtyyoxcXwBT4SpBMBKurQR+bi5LFUkXhAgV4wH81VatXlieh6o1Y344BXqMQmv0mgs5h+Q4vzEBNr+MwY0aYAat4fiEHis62Xcx+4W/06Cy8ycwIni/h60QSHUivXpNikWBfFJ8/0fiZRh4T/pJtGCshOTDkIu2DAadEuzgiZY8gRCdmDSqaasbvkv3m2gB2m5ccbs35lkt3AHR/slXW4MtZ0jZWAO9kRl0LORGry0DJfGcaFkUokulYkkbmyykO6hcGzE1GnAcih1j2xla1nw0NSjVPALTNjMrmuUbz76Jtfm314k6jzW4/o7pTTXP+W7QD2whZCgER40egGwywJQWCyjNTisFRrsXzS/8M4jvy5iGTLCRwCOeuhVI0c5jTdSsFRf7vZECt1SQUiSlM8mpyriwvT8R5EgSBAVCwLwoXTmKKWV7mD85No3mjso6EPfZWkF9r4of3OWkP5741+O3FwVzhsFYvqztUlznw8g9ayg/BXyINVPa7aFbyAtoPllOTYP9Nf8IaOFTyjB4osnfcu/fZ3ta2GLmJuqjxGUPV04uIFoW1QezChgnwDwHMMEcnO9ebI6RgGAV8rL74FlWi3BimkibzmX0nhBlV8yl6xfG79/Bv1pLSJBONy1+PS5dYzvrp/z84vPLdZ4IG+37bi8XfT+yCbEeMjMxAccCwGcOvSnmYUaX9Oov6ESbwtgGeY0UbK8+bJ6UrfyMBifImoJ3sfYnH/yj+c2LDmg0roIa58y75TlNUVCzqlPSs10WIk2+7LjYHhMkEAM3jJkpPH0H3/2aEPf9ptA/e4QHua7LLwSzFYLe0rKjhijbXmHW4EBksi6RtenhToA2aPwBZIv463CjhHtP4LKeyFuTOzUJUQtgIqux/BqHHRPPgJSTc9ohy3mNpfublmJzsZijtlvnt8A1kPbtWAGkag62mvN30cY2ApTupNUR6dnEClNZ957kAVu1Ky8+IvPL74ldlJV474EpgemFRh/FGrtj22SQa9WWu0jLzwy2n4mIHppX7bX1XuKGFFH6QUulxXZo0iqKH0UfutDP0WL0P2ei5RwvhJ19XLd0r2bFsjxJaQ/b7oDYj5fm4BWVRzBjoORBasUFevCcbceiYLNt1tjqlRqnkwZjGSw1ePpGg9BK/ghdVRLd8jApOmNf1RSz74axuI74SuChc0nTBg5lSrSVNH6PCE8rJUZjDo9biMJWFo+SzeZWM1dDuDxo5dgXaM4ljinEzi0Cwf+9pPo4wYAOOduwlTD9S8zp35N+w9Pr5Aqn1kEMFNf9cqfynEApVhZ8y6KiUTkO43v5ZxBfqKWdRb2qQv+ETY26ZOg6oM0e7iiNRU8s+I/J7ip3uBS8DPH2M0Gsm3PE8qA6C3EvyLP0+VyoUqYf3lH9wRRjHVfoSsMbfO+udTlAZhsZdB61sWVTXqIWHCv9xET5/Bb2DdgX7sCeBm3Ua4FTnePXXZDWwn+ViKzlIbctkj6IQkFrUIQtPUML0cYDiBa+T3aOTEUpkm4BlhzBKAUYrP1rhhmhV3zfhcT0iXKRRXynOtqHoYohAUGCppSaH2AtbqVUHrto2m4gzHEFgqZTnIf0LHJFNUnapQA74c5KmQEZlnejadZ4tT5G1YSM3km9H42mJn+iYZ5LMHZiLLmrXw9Jk6wKxn0X1uYwoCIMXVRMcZxcuM9p4V8nujhrUBQEMy/Z7o6kIf9tNLWuVVRZ91Vvb9+YPNyF8oA3512taxQBtdFC/aPVcJV/4JBmuc3gP+ljBms4LVCTUWbFyoco03PFTKNlPI8lwybng/yFBaSJLGpUjj8oWUDRz0prlurzqVJYXBhe5c5GV6vVlvwxmAjNSVP2GVhJ0LdrVGOhOwKOHTh+KBDiXueUpc+E8oN7WOHqeXccOvIDWq7zFYY8J3NMc0aYONH1Xdvfou9nAzMqBi99uiYf00ijfPd61E93AbmOtz2/80t4Y7AD9tuJ80m0tY5n48k/8/0orCn1kwsDw1cenz5SPdHKmvdeESV6OYcHiu3VxHNbWthH1n7dvmxjEfR0pMDUecC1eSEMd5n4tZ1XOJGM2VX5NCiB/VMELmr6cvyTk5O0+QEKthiKtcFK6wdqzG+fWxQSfrgR2HKuYuF29muM9BT5+VSwHJtDoVkxecWWiNPU2btumb4WjJ/S+0K0yL1rCF6WgS9gwkfy+fkamR2ES1kgTsXDcmJL4eYSpT3XlrFWeiQQtZCwk+ejRjoFYuIx5Y8GX9hh4u69Ua+WnDIXot14HUQVkX0umrp4vkecesTU23mPULzZCkldVOtJ5kEiyCRcdRZqVgjLf2JFIH5JvvCm4ZNIneFVSr2DIbdWI1wxC6erTjOM2bqslkUhLLCqpissnTj/yHjXYU6fSgRtMA0fmi+al5u+EnmkI6mrSC18LH1L9ph7SsruwcFW4AsQmT2II6JHlSqy8OAPytfCWEes2mzB13cRCFBhH3ZB9UNyA479sBKcjDVWJb2x1XjWDoJKu4fk771iYrtnmI32hjc/xTnIdTM1Z7Cl+XT3wAC9pxis0x17WHOVYD8GudF19p0Rr7wrXuXjM1I1WQoN0DjVpMDrXFr2SpJ1FmQ8IMLVlMzcAsBSLvPfrGReQcN79P+xSm7y9VZ3LictzixdfeMJINMhvAgoprFWLGXWF3+LHU1JrZ5K6WHmuHU4PPdjp1x6Fo98lBbmCtHSI30hvkDAMCvMWF7BNKtWGescKZxBiITM6OPN6UZsvc5n9/dWwsabiE3+aJJW0f2KBUpRp7kEmwIvvzXrGfezUSOO6zMTh1Q/iHOEB/5h/Ppn23uAyaYTMcNKOgEVFaMYF0X7MIpkShtxbViCXfKLy4DF+b/ws56NKvfr2HD7ty/VWVVPhdSCNa6qsqW679cGTkULNWmV950Uhv6zXq9sZ33Od19Y9R+AcKhY0/dnjkK0Oyf11oSvf2FiUL931aaX3paOv/fzwj8hUnPdwCZFiFRG66urEaqGMSqOmEHpAiuqJyd8VR6hxGEON/+Ysw+hiEu1ZIgbpuE7K+tlP+TncKIxS3v/iDkUb4Ryub/TWnJ6jOy8F/f6CDdlA9diO6rS1AJw4EfnmDcxeWyH/gFgBRgknK3oZ1ZBqMH69swNJbTlII0Zu7cwOGJywcxpRUVjRxVAueqLyPw5fU7AZFOqYTKRhfMnErRemQVBWX0tV1tfndnum15oHhd/QJREe7pdlANkII89s0AjOpjt3nGs9anwugaVckuu3bPGiE/whR9vOYFCQ/TaudI7JkGoxwD07DJNsfdDUXcl89gcdi1lO32HyrMYIigoYSUar4JqxNfvljJKeq/4VY7KWTaDKr6N8KVMrzadZ3HCGHijgBOKluaAdotS7+xiMdFkf10gDWLjB1wttl8QO+WIG9S8RfmOQ4c4MpKeKqieRQulHYbRasi8c3F8j8mMVJVA+G5VzdNmy7CB7k4ceuZPwZ9L2dwH2DkQK9svUkcA9PqJGBUxeLee6Ct+REdDWbErZj1ldu9ioZ7y4nGzn/uo91j2pmsarrnZjhn0Nd6c1GjMhm8Vm1awQ5KULkfBDbk7YMmmfmQseM0ClIzxWDHazVLeB46rP7Ht8YeA5ika6mMEWqxSzLHSzW4gaNlyY0iwu3ZbUDRoYhoHxXcLAq51BxB/+/NmkiXasKujTgIdbjHpWfwcchsk1N5FhYD/R189PQ29CcvnMb8XvCipu3W5jQPK4aWaXZtQywan/lq8CI7ejJHdSjDCKZP8NkMazeVGmKkN7yTlr2IfSDjETNDraxKy7GFVnvVd6gSZPOYk8UUeUC+Q+UIBBVkXvRrMPlPv8PIHGtN9EMKoFj3CAv4Iuw3KxJ/YzN9iwW2WRxhVz7eV4uQ03olTWQKX6F7cOcTAgwEReDFJXQAZv42/lQbWawtzqtcA9y0Phr+kpOHSSywA//pkOgQxUy8tRejC/TH8xVx7kzcK+JTnwDI2z+gET+QFnH0rTpwN9WCmu2TSEb6/PxbZiSL0om6mKD/yVPBLUf8RFKW2gEB5VtQFRTS8Y7PQxUO3Hn1JznebcRKrUzfEgk22fxZFIecfIoR24uNYLbY9oOhJv7Q2ftoQouAzXawPBg91I4WjqmpfhQeMimzjPxcIvLd+0Mo/klJJUAG4Y85XwagK+nO+/G444FF+n8EsnrtiF2LCQJSRRjqf3Puki93kaDpgilcvO/HFINUjcCQFpQQA7uxWJNmi23ziEnNmd0uuB9DS+Oh2G2TDtrCZ5PGzqOMro4aPfIQajg4PqQ1AReAtNoQuyT9E9hWoOFNB/atV1BilkOUV5M3vjOK/mdqj97ajYAsGV35Hc0Mt/sFSSJMBkc3RhMYfbe6inIaZBnLGXZzjqBu5jiy5k1MmQTlYQqBblpl3aDKlDKRv9qAzuUQ3FAQe20aPrTLu0Y+7w+KbY6mCzCIo0H9IJ56deEhuVxmJCGA0ajSmgB65APYBc9f3yk4PYwtsYxRtj6VFJwP3D+y6RAeIMlNIhWAscWKDobMJIG5CKzanXDp/Rsn0rojKxwUvB43EVoSrUteqb0EU3b+CAZxnrWqSTcmPnSwMkE/X0fdk5wqz8stEOxEcW/8FCfI3igMQNtkaY7B4ieS4dw++dMCj5Nanhat3/hJgT4I5SuuENZzeS2QQjXWCzUgeSQANYkq1bJX7gx2QuDqSBM3O2fM1v0GyZd2lL05igYDICdfHvMVrjiw5PEvtfdqdX5YMb9GZMU2s4ZH6ruQFL+dLarq5N/umVTTLVVye+BblivfOBo0QeqsuGA2I7MMU+b17wMQ5mBixEHB8wOJUwek5pEDBWL1pPmgojLOM02V5RUr5pN5Ptdf7wckQ0u40xQhKmneecsoMlEUYvQnN2LTTt5ev6bNnzfn/lkE7LU75WpqX7ooT+ptMApLI7JvB6w/k/qb/k8cG/VXvcywt3U06HsRzTMrZ6DLgSeXHI9R2MY3dZrTbj13Oc9OfPhwswDabnXR2aJSRNY7N9Q14XJ7O97882tQgWJYqywTi8BlbOXlYJMR60NU1zTGkPqTLBtqLvvDOZCAAcrdC+MvHz/HWLbr7JCM7t6dPhFXEeozV9VgJyk3db3275VaHySN3+HOMp8fq9BrHHZg8TIBS2epynEASiRl2I7crzDuWyktiTrOxIiEMtzJ0LWY3LaY3UZWhK+PgobH8gMoYtbfi6fg/NN/V5jiJa6mHjzGZCP8EeXHpe8hTrja1s+xliCeEjdqTRkYzqRwArzvsGVBn8S23A4y+YLFIMjPHTUMqkYK9GK24vtcG6Fe7Y9QgoG7C02hvY7B7kcqAbuPAXeS2dwwlma4KbNf6OFIVg/oxYBDiuZtfw5+zFnWeL9aRNniHpxWWGjLU/XJtbd+Q+gfBj3fRk+n8aysyQ5xy9lLFoF2dcZgE8UlDRfl1CaNtcxv/Y23Nu8Ve3EQhmyFMecCzsg83bkOniSmKCBgIB/rI4RvpR54IlCEvwnLkdloVaZujQntH4wPxWS95BZN03dMpJp0Ao5//Gw85f16xZLKNVEJxzEDyvSqFh0iNFDq/RRu82A+yHKyr0W+GDAwiSjPl8LHKzc5Wu4tpvYTRk5x4b8oRcSyAC7rHe4HhVDwiUVWxcoLb9Bz1fdFWNG80eYzXN27xU5X10nn1/O/fgJWdgpkEEK1p6wK/ZmXUq++KMeDIvlxPeFO+EKcKRVqpTURYiPH7LlC7fsZcAvXZmiW6H5HTY2Hn5R51kYKG+WcMtBeBQC6hV9vl0M/sclbnsycE7yS90Rtv06NEts1TYJODXqFJ1qkNu7runPTwivujcun4GZhIrYV/LYtlX7+gyhgYz/aiYdRw6WS1CpeX1LzPZDO7idEqeOXIdGmWnveGGkA77NkVTa4hrb+9dWqeTD2b2fNvzbXidbYm0uwEkiDZCkRvwzxTmQ9IKZ7Qfs09k0Vta/JDgubhc/uAHefkx5rXiVKKsGFX7EFCnOAjUtowWrEnc9DI/zBwwSbYSvSGQh201Ai3eJzJeS+o4Uvp7X5fDHtaGMX9/U8STtwZFupsu5SvwsjPR4DzQ41jXtHJPVvx9mIxjsEUBdZM4+xmEJ4B9bC7D4KQaABt/N2knArsbyl0+EB1mA4+29vCNUPXNQyMp3kEG9kG+HbU7uBCJFk33hOhO06HAynfM9z3R8008zQ8bjVtS96UZQBt3LKFQW9xdW4DsJlak9mCjM93Oo92/K888Kp9Zby4aqCrk+n87beK8DEen35jtf4198ZOH14pB9npwMTgboorPhzcmldG/E3qR2TZGRtnjBtNxxtsxcHYfy32bK1xqZRVX3VPVRNQ/8z+PNDxReoTlPVkj79lLsuuyOG2ZNS47d3nr1JJuqku5NT8GL9iy+lEaA57gpdRnV9dgBcW+LoXtF/hS6XBOfO9p+PgP5fFXyojWC86y7wTTV2oxmq9nTzXvztLUwFISUI9snyLDxZ13OulNJumnkmXIV3YXmXiGH5J4W7aWeK5poNbJdVPErMmwzABRcjQJ7+MqzmRxAcrBRczgcD4P4Ul9ULe/EKtA8WoxQy3TbhUDVSKzAzlo7bDxUXKPZz+q6Hiyx9Kx7/7VZEX/TN6XSLveNjMH6324RTAHN5xgyB/wvAspJACUJIGU0z+ObDUUsc5mD98Fx+mfkuRsAUKBh6ayatTUmUozwRySzluRyEU+eVEmwzf7TG6DMILLRZ8dPXewzhz3vKl7mSsXbJISUu/3+4UnC/umWhV7B1gf5KoUWw5TgIpPAOYCQ6EVQuGfL/orzN81rBt12EaBVjjVR0xcN5KUZ+fqecNBUZMRx3hLQNt4cDYMiVsZL4hKvIH/RRLNXui1Qw9dZVCE3Fve1XY5Bw3EwGxEFeu66M0igvgpcYWcD+5gk+t6qEdAUKwQN8RBSOEDQ7Zl/Fijj5ICZmUk44giP2ZccU0yCMy999n6V9kFZitbRarO/AQwh8IBdLAFxIbjlxXxcNKkHg7c+EthiA4gL9PAAi4fNHC85mVXhU0BSGDBXhy0ncE4eLO0+0qI6MqSim8QyUXnpAH76WfyapCUb/4q0JPPlk5AryfNhU3eV5QNunC1kP88KQpKk1QcaYNd/8eBYKZ1QCQFAfWGml7TQoYhnnCl29ej/YXkjbDmP6BvmZslUuBcbB42ZjpG8pZAbSnmsO26AQZN4hyV0xF9yjPFC4ZUccFw5qwlWn6AKPtZBBg0P9LUSvmPJ0qz7dT3KPmn2oE6TIi3iQd6eVHObfCQ+7I5+m4GBoy0qlVgpVKdvwmD40LzI/nToAMNkb4pVHq/xNcdfnFDWyeaLYX7B5+CEfON2V551XJhC/XKz/YPyTTrx1xQx4zbnS7YcumQfY6CVPOt3kt/xye3O0ITWg4OriD2RvayXyuDl6r5qx187wwKWdyHimm7vxXheocmW/svUNzXAfvJuL1EpW5JqoGqX2LwWJfpXNvgDzmwsfzuXyqfaLpoF1KfrKMWtgsFB1AEpsk+V+Z5zZC2x0Bi7dT0Rvc9yX+H/ZbVbKo4hl27FrTsFH0MGBD2HqlBer5PVFeWVf1u+P9672GBY5yzn3gxE57elUvhc7ucEI5nyPY38iv/SdpCE2fnwZ2NlWV8/ZyPr/8DzWvw7CiyiyvEkGCQBdIxop3v3htd/DFfnI3HvU2wzB/CYVijzVZXkn5A2u7MGev8z3iqd3VXuapg5hl4bil9lPzNkC4KybfEv06MDxmCBpbduEdQuhKb8nBlbKyC2/WDg3RU8xrETpPs7E2Nb9Md9J7yx6troY/3PQENbdmJg0yILIs+DKQRnQ6NPCo80BD7+TaZBt6QjUz9m/0UlW+iqzrH6Aeu7lxvNq23DwLPA+MiLehz7uxSQIfsvePYEOw0yKnRs3RQL+bZfuuv3ljH3+SfV3mbFnu+M50/EUPzgCeK0n75chxEdHpxRYiKziCWBkm0nFWBQxX+3fsAXAAklZ0pfMb7iO/dVlrIpc7PB57HFtdwouu6zywdTAVeoxyzEsPJ/mqCKITEQzua6nnD8/Tg8idbnsrpOU3N5OqUISadNlR5wSM294KnoGpdGNGalsGoaSi+C1MwCpvEUVpZZRgKIu5XElqv9RHsI9VChFj5jIaHFHI0mJDGlWQIZGARj6MoTglJtdTALTf2AC7jgtbhKf32YgwgrqzsetVLKdDT8SwOasezxz1eabmkniUyMP0bK5uvXQxxKbz6xwylIV9KYdNCGElzZnvlJOgqATIfjOSAS4EFaTWFpPfmd7r8JG9U3NHE3cK+kQMIddxX/ighhCjHbgRGUGPVZixRXnIrJ+WspoKxXqJ7U1c5nPxzBO0NIrRn3bYZ7MKhuFBHMilWctHFMTyHvO5ZmtVdA4QB8WGcL2ty50mD3xaR/t1OaTdAuqjye17J79bB4kaIhO55Z4EUqtcd8DAiibRv9MQZXCLi241NfHpGKuUUHEld7MsMIYp8epqfod9xy2CIsNc/yscCJpPl5eaXkUIJHDtOSB3dDjcHxh7ltIETIUn8vNCjdBTMk91lXfC+kmVqtTZOB+ExXTrqvndnVNWYGl5vJELNSPIsXdnw0aPcZdbSHHJL/M2njqv3oLGocEY/B84OAOl704ytwVN+m9JwQD1dq0VzULI4QePIPgdx4EXyWLj0OHRVklI9jjK2h7L+5sUB6XkiqLrEGjm9ydcnhdkR8YaDZv7/KTl7zuucSG8csypbBk7MWiqP/J/UOvNL8ekPh/ljfMsb95+Avog9bpPviItKMfkSKB6WXARtp+8extt8Erw6wMB513HXthXGVnOluEFlNLsLik5sOEDeg0qzm3wTz0E5hEk878O3QyjXnGtcjDWRf421+z5OvTEY/Gih+RKI5iy/LPDWIOgGuOzJhO8aWXMXiGpJjoPpMR0DfrA1F1IRKOHTBrTVpshqWOu3Vn5+8bkaDNv3NYGEiS62Fm4OZz9adv+U6/zf1EVL+eUi7xLxe5C6sCq802LBZCXSv5sMDnMqAFERplbFCHdLcTTYmgO4pcWo8klfKMfUS3i2ARqF8/MOop1VZC9sMICQvJYyC/7C6daLqztSJbxiKa1FeEKc35tnqVL//k0pvjsvF2wDMbGWLTK1cbrH5ydqjwTifPX+1IcYozsz4lb/dpmlMfRKu2YMtIxJSTiIMUy1M0nROhN/B0AFLwzpLLBZkDL4Bu/zQZ91S4NvTTMSU2sGXgNGeq/fL6YudcLBmOxKt5axCvf1zLZFuiRFqb6wHXq8PGCPesNSGZVIoMN2oc/eR4cU7Azo/o0XCdQ4loDVTJAVPkWTCZgX4LQ6ZK1ViySzzRzh3XadtMwPTTH9o7/eIBZo1w5COYhHRm9kjcKCkbzAYbc1q6vmQBxBluwFKI2Iof8yKseAzZ9Ysj6tjtKMhfhRfuhbE0ytAg425NJRAtPDBoLQtsQ3IKPYAeLYcg+ASQnecHJAi9EY4RDYQXkjkaP4Dql52qxXMMMuvFId2o0Xf4N+HOEkkdhwhUVVOCizA+QSGhuXN+/JY57TcpjeJIJhlD+oNlCjySkbWmn3xG5G4CGjGxKideqYKvC6W7uAeDJEtO1/AHqzT78HP+4zvCmb6Kj9TnKfGtPKT36ifJfCWAmoLclfUQVS29P9F1REUNVhKCqg30KfVktvPeMIDqfaX82CGiZN42xmATc51ZGjTvSnzlPGt0+MoUkNIiti/9/GXDbL7W6h0QdqjUpIlUBEm6jYZSbPZNb8mKtD8oazoRq/erEh0CIYpvwI/JVnfo7yZF8EfOnkak4Ph8sN7t223XAtFjyJXY/U2zVT7SDjig2ZILJN0hZU0ced98u/pdDLJcZUz1A6/g7oxAtfFPsL6lwon7SB4yFut2wcN9eVwY7U8pKcTTIpsIe7cX4x7HbMI1SJznnOpxjneVRw9l07bGi6hpAVm4jbnX79khrxZtni6H0Ky38lOXFU+ceIGov72jN6huBGbsrPs+FjVwwLLtmJ0hoRK8P074YswNjIOqdQswM5SFZB8DUn8OQHctqmI/B1YNM7XwUj5JU46TRFSICWeIXQvLh+B7bSHySvDB/ryv8zZZNQGxW3r5SKFHwQpJSA5p5SzRNUwW3T7WOvfqwJ7iKHKxXju1NUBT8AhL8p/Uplr1FEgeVb6MUV3Cv+vYn8ssn/fFkzaAaEdjOq6b3LEMtDugdsvgGewNWOvek3hfssf6HKPbnTw7ChU/sikUAdJckGn7a8zCoogaVQucA0uijoukO78WZbYhj3hGRcct8lNo8a8o0FleqtAOO4VNn2AZaa8KASEWgX2nRYhNEoVoRfs35GkbgX8mwu53RNazxI8huc7ZvRlkyPGkSp2ZrFotdt17dE+2BHKzo+CZOFIwTU0E4X9S00Pq1BYEIgqh0DY8v7wR5zkFpbq+CWyim8NB0a8EfIIQO96y38d+tu6JgV4YLB4FUvdAxTM3VIKXUg1wq768qMXigGiueHgqodEl/p19FWM/8x0wFPJ5DG4AH/iCWcCdUW7Lz4tv8j103WwN9Wy5wosdjN5OPiUh+uQd6mr2SBYCtQ4gymjUnEKSBZVM35APBs5Q9Fjs9vXiHYderQUyiHQnUtUGdNOF8CfogkOz2QYTEnFpKY80Aj6hYto71zjeht0Yv2Fb70yP6De/xYw02i5/oAzuvTf1DYIHqjbOVicW6GTCN4i2FJe07sFbgtBqxCqNXuiqnnF8Wkx0GwMHnw/CcTrHAr5MKO9kB7A1ha6+a0QPQjog6FwB/iNAX2qvW6RgqpG+nB60DV229qcWQVTbFQhs3XamTRXSBay+hf+nz5HTzqqEEDwAkZTRC+LBz1R0cB/QwKZLsxq28tjxWRsrq28UjpJ7NdjsfYqDeKFgaIZ3vRbUbkikp/i7z0RqXjSmEk7ri9hm7TtWsNaiBFGvyZ7LL1+xdHPXpfFZpLPoWijI7A2DfSqVWlsWT7VR3KSYr1oSCzFRjd7L24qQ2RSMfuzPwq2qzbToWf0/p8HoDgNVQHDFaFXSh6hc4GZW728GaUTwQ3QumoMHFMJU7qFXbj3bQmVU9ufhCUPrsTVj8lEy9GOwh9z7tUOHM7EZg3OMwrWmSbsN8Zkbpzhh7Me5dBdmTVGHT+c2ew/7mfD27aBoujCLyMkYXxMeSKAxpu7glCZhZ2y59ixZ/B3nzo+IJytDU3lyvRtaUhXxJm7zdDbK4JALB8O4nGsUpfcQ1CM6uPSwN34GFZlqMB8RC9jGxPuDuDdmcrvNF2txDHyhrL+7L91vATY8F7RPWKelGDALI29tWd43rLXUpJyHv5jWNIVED79tJVE68TKEo7DzQORi22tssK99pkZ3ydPTJ2QIo3QNonqeWnsp5qRtwmJof8JdgneqjEV+iFQ/kh+BfcJA9xu8kMQ/zofGF6X9kmbA1d7c2CUXe8vheeRms9JdXpgpQanLk9+SKv0XAUW655KO++y2XjhWLlPgIh6P9V3jRKxjrSl1xrtDvGdBwx8w/z+GfpUUmDeLpBcaA8HNRABpX3DJcdfLbUA1umKHXhLShf79m8LP1k4tcoa/SoFeQw75w+PERBEN46c/feYCd2ThYZTD2IaNOskpDbSIHHNh1Qs7c3HslNGjZU1PF9T369mQAKeyTVqlpTSrZVAjgNmcc3FkLcffA9wkFItmUwIIbViQBDFh0zID9IB/wxzv4iAJIAWAfBHB2x0CP043pGWNvV8q18jMYdVoEFc70zlP3priEbVY8+4sz5GhhGEPlWnGRRr1bdvD/OD0RVbvYMxR/YQEOpYnZmQ1S/Pjmyp8dGKf80f8Rmw1i1d068K1CmIhAsC8maYjxZcAkjTBbpPrSHmdaEkgXhbKxY0wvu4jrkw8ZBKs/rDXKC3t0sm0ufzt5EGxAUutn2SzxFils87CR9Hv7JvZevBlilXTRek7XfRS/dZg3K+WylAhpGT/9po5fWpp7FeGr9BAmStCOt1nO/v41zhY4xUoFCkt2BAb//hH1ouwfL1YAxoTiZeakBg82yAVXu0IlXEvkeXyybiNpLriu2JO5RsEp35Dy0nvMHqUFF0MKErE09CrMHCsEYIRVwuR+pRBZEgQxcFTfAsmpDrDIktQvLCgeEbW/xCxaJEqMLzTRBqYv07JXjsFJuj6Q1pbRWgkr1kCKXhV4tWPFvPqeCOWmwO/uteBVa1tZhVyNB2gB5om7Pidppcgr7k4tzor2AUQSRV+b/xaXNBstNvzYyE5yVttf+0NzUAj262p0w8toLT+EVRVw1i32xK4Zjom9Z87SOrbMrCSCcDP1za/3iBysy39umxq4TpzTpMUiaU/PMhp/yS17AIt9xnNCwxt/LSLqFNPYU5YQNiIulz5LopMu+wsjdtq6NzIe8yFWi5JSJJ3Demg342HZucYuRBZRhp2GPs5kt5RHoSJs3yef0ZU5FSTLS2Fx09aUwFqSYjT8R904DFZut+3ac2K+qPK9rr9OVdmJhsEVSQn3iHrco0Ssya1yU2zpStZJ9BzLDVWF5QSl5sbX+GzOiXghKw8rwZT8eX35946d1s/1hjUxdDlr71rq4DKnFVoRPCOBbTD8EFOG9NKLu1d1XLX/oCaN7ZCIhA0o/vYcVm9Njtz9VxH/rKoLs0+7HYarPek/LjXkuTRSxWJt26FqLGVeiaOkqtc3TsDmrGkgP/8uCSj9O1Giib3vP8Jv6BSsOM+5uxOH4xEt6dk9RJt/yqtwzIxXBp7EbZpraquYtKGvGsJngswcbu76oAL+N5kiX9AC2Yvks6A74BfoB5gkxpcJn+8JChmXNrL+vGbqjE19kaqmFs7rZTpbAvwWbinx30XlkL6YhfkUuGaXz24uU9w8WnGkVkjIEZBNeaWaQaW4YK7kKoBFLVdOBshLQjGzaFtWs7WDc7upjXHQXfClyGkitSztx5bXpi1V93f/NFn8JVDdK+5feRGJDYnwSsgz/YkKDvnVNsxfIXmmzNcMY17EUWs+1cIo6yeHJKxCZLoA4ARrzr+lpcVsaS4Oc6Ctv6VDj+hKhfIk6S8TN+2PuPEJ5NswCuYA1UfPwowXsnmc8xkUZOkGelDBqhLlZvonvR6wUNC3GZVNoF8Wge/r06XJG3UisNYR/JakpLhWL8JvFeuE32zK/SyDPfpQb1InYCgch6+aBkHdPHPuUXD395XC50I/rh/WiWWDwoqbTw5c4X5FV8BHmUs5WrIRz5n50vECaoyqs8QIM3T6vjcCNSvdIgq6Xn7gbPQM0/AELOXUvH+Z1QNhFqJNmV4p+cS1BgvlvfAQ70x9lgU2Ihze79Hi2VOejjIECEG/wgEGS2FK6xH0rxVtPXno0QPccV5b1dyjXAWqFRws/YNZSbkEpUhIPjq7oG79+RcRZynqJIOf/pta4iVJhLzpCn+At5QbI3Eopyisg0FcP5MS0RXbZSmQSgcnB/NEs6/6Tzwdy+YN9xvPJn6ObW4+2EhQlcL0Lpx8CMYsmVKQUAL/GCZwm7rSLwauuk1p1OrnX0NF3CN3+as55v3HWfEEKt46sUds5MqObQ0LE7yFHIOI20yZMJLiMKCbcHRx4fJ7A984R+qa99jlltermc1KnTFXrn2gI/6llLFz4cKLW8xWeofL7eaelMN5TDIGKQoJoEE4RoPqPiVRP1daGY86kumoXFNcfHKE8tWzg9RiNtft7xrgDI5ktoQVuK7nhDNeZmzkJNM2TLxtnl/UGld7NyaRuty37WVwckVKrIKbutu7r7S9z4lvR6mq3kG9mDNZNEVVBcQEBtiQ1kqSw3nqMVrRTiaUuj7OriiU1HrAHHaxt78CYuq/rIgdniPo508Oc7NAEiy9fuHV3Koos9f8Cays52C9uN018YteyIClZbI2ndtG7e/NiLrMi7GVLKj779OdftQ7LTH10Xzn0UE89PhDR66XhBqTOslluLzAi/m8rzua4n3RhndJfwAxxjwKg0NUyPqYLbR5IQ5BtFqv75PpjLsJKnsAqxm0+5XQwbcx0wtqPIyxgy6UxvYxI8SVuZD14Ww15XaZ3weUk8ChvzrEJBTOTeEGYeLE3XoqQ8/sxjMvRQJHWrsT+qHoBS5SHfmNdcVJjxi3ts039qkBnan6zfwanMjiTICnFnWmptFTMTshwRN1Y7IJ9YfFz+c7YQnH/s9IRoPi+VM0mvGs56HvudbDO6ewVY72WpNSLXZhtp2u6mMyNrwqv+oNTPBXGHsW4EJrpKP9+/c+uIAUXRaxL9reiuUtQ/mDURW7KrTaIXXo5/JI9wt8L8j+E07lUqv9RUbXpQ+nRZvWUzmQ9q7JUEgjvJF01jWNHLG2SWFHBOwZWTtNfiSNb5fNYP79pR8X7C4LmpUky2zyVXwYkgT3vP1cl5yh3Aaa1pyYt41ILzpOrzuZkWAwTbig2+3Ke7J9JwniheKYjRn6t26Yhv2MlojBDLp3cHMBTBUDOSXxOnYlfMa8P3hjb4cL3apdH3ThcSMC6nZULvo9xedU3w4EUfeMDZM/tAp4CT5OoPt2BNVvXuBDS576VpwHEzZ5Zl8eOkIpgIv6EjaAdK8ZQJMDzFa/PWmA4BJ3PzAUtMjQzTQpaSZtmXZarSiajEhm/cvvPsZWlObOXGYsc20sctAa2fZ3nHTg9xOaVwuIFUmqgxTsSSE5B/MAyApaaF3fbNICHKCVv7SRrnRnhQJqu0pnIKKSmWIQ79z/8dghw5Rcexje6/MZvrI6FLRX4cC3M1xLTYBzglZT/FZlAXtR3l34feUSaQipOtHEpwcxNZM4kKaE7j9YmOeRuDk4zLrWjiM6P6sFClgBZTu4oJ8CqnHJj45EdM4N388Bn+JuniSYqatjqGFTRhmkE8kNENw6IwyZDG7IMchECpwjivuxca/MrnafvDOTKx51Ex3Uv4cVGvZ3Wxx+VAlISKfGMP+D3ZRchCi0pulPVNZsCJwKTpKYLCR4RV+J/MxmZc2gMDdPJCY13IvIT1qaaNB74WZG4xNCohYhFSDk6PAX7lE2NU7tg0Dfx9b2QocQ0OhowvKTe9URfSDlgRnz+0N2Pyf80DZa6pfImPxdPz+CX1whT7P4NrvfTTJ3+BNENj7QXR5Wy/60sp0/dpi4/w2e1eHH5EEypQ347liNxBRy5m8uGpyZ290uO2IPEk+9F0Za8pzZRg+DdLVfkwX3PFW6AGMSaq8XPalYW8v4Ndh8IfWoYFrwcQwF/Ksu5ptpQ4MvFm2xJUdyUnH7pcu7fRLJR3Am2m5MW7QzB1b0MLTFuVWl16CrgbNbWB0xgqVHoAQ8kjNMLqnFrkZkYJ7p13JQCDDvw0vVZJS1LKAi+rs4pgk0gC0AEIGAqfb/Aq8XygCA8IuJwJN8lEJCWRIbDyVWMPnzoM0ko9pgKoybxo1rnWAMttJU19ok1SoU903Gl4GfmEnl0BrOZMOwvbANvbkBlilJS2tfWpuHs5XQUlAx9cPFqYXq/aNqmvSBcEXh4jrFLSPTSK2fMcO96wYMHE6M+C2dBWDcX1znwHlRTL5ZmIkId660cOwZs+DcKL19kksX3ttem1TQMycREE31xtCo67iuNqTrcMZLsicNER8aQgxGsx0tCBO1/PEynT3qPDzC4gKxss7UJb+3mIB0Ez253KefyawD4RaOj7Sb0Ms0PeApBsl9xLRg3dqRKLeWeyEoAC6ponDKCeinHMECL5Zl772c0ZvnKCXr6S8SaI6xcQ7WfJRKH4Yl1Gb7XwCerNdqaSbaazB7NtZI/8RQ14/e9KBtVC7iX9FBCPAmVzRsBCy7gcXBaE0urHm2y0YCCNORCxvFi8VNp82JqJQEr7tFTiajU6uYMR5ll/Hgk5GWnYZqB5IG0frpXRJRVEygBNybnTY2vdwkVnQy1kSBGbGwhpQNmLLYm4O3JPXpgtcz62etWdXPKaivQlKv2xMqtib4kjMQiEJWZrHtv9Pn8fqbTpXrzqB/Y7PsycsUh6Tuvqva5GjuQTRMSXOHk4KXoez43G1EysNgFsiAUgkBOgHU1h48Hk9++yFHQ1G1QlIzG+UwdKbfa3n3KDWe3chu/LTvdc9PPMAv1y9ICcv5Wm5cCEiZLGj2Ge2sWzgNQ4/ROSRNp8OzmeLwl9p5b/92R/F+vkjN7hVHWs7pPm7uMDlNq+W6JMKouz6RYXvOc/Fz1gej+j5nC0PYzfQceOknKYLcIhFWFVoHcYICowqin8RJJj3Gco11aARtUQhgLklB1X2sT0pgbFdu7/Wclh+vMvL6nFFcCsu7bm7JUjOdaRiq7ZuWXmyOR9Yrs3Nxn7Y2uqKSyqphPocqQQNT8W/GH39iafr4z0v3edNgiIPZA0YtH2kieezUzBE9zUtHpyXViIiPTuPV8i5zow2gLdgQ3Z6pmR+5oc4dkSOnRDwpT4EK6qVrFQ/QkpSljtE6XvpcyXxTbzuyth7Kz1Bn6aA53wPl3bgOKvof6rc/iHOpNEhhziZ4oH8F2v+i6ktNvfRHlLxf9So9nvu6TcoXJSzFom7daVg9WLUhFSpoXKW9SaT2b08uRNam6CWBG3QeNNdsc+c/PAnrFrB/89aO4MRILhTT1W7rf5TgrY8eVpNDeiyZVwhti16I5PH4Aeet2E3/xHb4xBI57W7T76Rn3M5So6mkIrjz1GgJkimwh6CTsIIC3esb3K6L4R+P4ogz8NG4jPWDlu3e451xTXkgKVvwGIRvTmKFUBKoyZPf+zmHJudoBJIcEilQ3Jwo0lBf0ejlW8Yde/Gfzk9zsS0yA+1k50WnAr3yZ40QNU9hyNIgg97UFAA8PUJ2ElfYrlBsyZN3JEJA0fQKvh4AkgvI4r7U9SNrJ+iYXTT4u6saVqnsEJ91smqQ5aqHEK9JMRbd8PgHxyC7RfSunyoqcBAq2j0VV1jYR9jaoCWNVdOVx6phtJDzFcwzdEPq2atC9ZEwkjOQRoH47ZOJpA7hp4zIUYmKdpxzfdOWxlf1Upz28R/oLbVJ1SH4xyGD6Sj468bWNpPhla4mDUzBmZXC+U5s66/FZBlO5rrCynSO0ul234PMV6ilT80aG4hQaeNVnpAx0ASIkGH/GPp2x1tam9N7ERD179YaXkQOsvLjVyTDL03eOzIPmsj+WBrdBznUv0dkFIF4s4ujFvhYWOH9ADxWB29XtFmJxKZg6LVtc+HJwj1rPYskB2T+lkStO2u7UWR76GYOK1jxrn/ZStE4TCQJ1J2iGxerXrgD9QjSBoTrSW4jPgTqUEhQMi9CT1lfhnZGVEj0plSFr58ggBbiBs5AgIvMww6Y8TmDULrupXUgSD7WDaJ0GLHrLMzP6aI9o28n3c1VBZdAnbnl1ChS7M8t7kpHTOGtfwULE/I+nZkcPdw1SxbzK9RcsX7MyWUKxyXJWMS8U6wiEwBtDHEKqRwTqKEE3nfHxXePj8vn3j7MKOd/Rlid5159IJIdJv6VQEr7hvUI63rzrI8xMlQwdWouSZBSPhoI3015mO8sNVLqCvk5vv3mtXtZmq3H1gjGhBDR5tRBwcQnKsmXN7dH/0jeom91RfDdMeyNo/L3HLBlwt/NCdzm2uk/8LfgBthUaL0w1NtBG7k+00r2hNWwzVHxjtx5oFX8rFiwE437ffCt613Qw7xbmebv3tpJtiNO/5378Slm2/c33RZcOXGqZNA4jRH4PFh//c0JGT/3zUoIUFTuy5FUd2VsqgHcFx5Lqs012Y58EC8q5hwCtvFUDdED3XTYRcIdGiEzSzuxjSKe0l/cG/Zgjw9GGRf7ZgUe8GFS1q2OhoI9T06zc87lBwSdwBrp8TJBEfF2aqOAYufLqIZxRiVTrSAqsvtHmtpBkSJkQeeEwRxb/DLRvZL9HmGAi/pVTrRCbDf8q6m82d/nq+MnNGvdxoyf9VfEpddkxazOb4sde/QAMUELS0bjJ9Hm3vRF04Ss1GOdGX8ohJCdracM6kl7BhgY25Ge1sq17bwwaao19TjrJKiUVSmJIwLLokxPHuWpEnoKyb7iefHtwmhyl5+Bb36Uy5qjtAMwbKJFpoDnSxN0h6CPAkUmEAldirgti7sVmDGCAl09GTKkk5zSUUlYe2Rh0i/HI6hLcNhpOzYx1VUOVGQYf7INNlx1KGuWzQ+ScRbU5TuwFH6ljujD00s0rQoVeqC7Lcl092r1cMdGQN+R949Bot9W3Rpu2G7paHrGqTez5ELNx7/V8v6lBobRyBt6/udKMUQ8SENthqflhgFgLSLpKoQfe6sAg+w+9EmMteB/1kaj9mvxPIABzlbo6CjCjcDWiS2xqP82Vh/6BcnMWWaukp+dxyLFCjSWx4QxJxlkQXmNBeQ8m6gslSFvl/FHDWSPtwxvO0yE0IaoMV/8SMkWk3JkLO1lBznRljC4o5e6wnWTQwXA/MLTk3pYaoScf5bFKg7+zUoGkas3lMH6tYSxuqEm42H+nTmMN4irHxdV02ENNdVvNJC4dS7z3G+oJptPb8DlJik0FCxm6JXGX4srCP6O6ZQc1dH3Ut1Gc+TyZMOvksI1pImFiMgLWGaQvnEo31ikxsZB+o8dtXkx90NttmtKUdm2lfTjaP/FUBo7JVn/DBnlGog7yGMU33g7yQDfgZAHbwGFWFP+ViwSGPkbsJsaJVN3RUd4Y0/BdZIE9ALvuNIgyrjkn9VRDVC6Zlo/cvhqDHPqYE7yD9dDuozU5+0N1qI1hvWFMABzCNjb46hpRC3SjOu64dHJZq8e7nAPU/tW42vm/Yl0qV9002EGORXNYat+TZIfUxcb384mnsMrtvgW2mr4SgKSrr73vh/16Kd8Q9DwTWwU1Naogm2inzKXo/dla9WTwplFeoYGLyaPT7eyDcsC/rEg1QCHr4KHHBrmGsUzAdW1lOVU/nfU6wyQtdPKtJBxETFy2twD44L/jgsWW1T5ppqKociOM4AKDuLGJqyB/otNdPpRVmO8JhyecMloBR6XjSo7m66qtuJGHoK/cTOqSp0XuLC35iZVWW2+sozXfCP8A1m2MDtYr50TbW0iJuSgeFAyM2hbAHZyKXK7bvIJPs3MwiQOO0zUGiiJi1QqoPvRWBfhQS+sCovWzl9NhawkskvrLDnspS92olbB/JWX3mAmM72paA5Y3pW35YpE59zIWtZRmhebkofpX1YrfwvpTSwy6tigUjDyQdphg8PMR8EXR7pBt6Ed5Nwdv1KrerP12jsVVc2Ie2Vn4CUKhIqYn91pIgSxixZeCwsxm0eA+JyAXUdJnzSaybxm523vC77fjl1CWXdu4iG8LgZhfclYkhTs4tEAFHZ9ZidjiaiZy3tALXT5QSm4q2RfbevZonVBLdIuE/6/aABjjihWehiVEInhCGaEeVGPrTkslsvP82VST18wmtzWW7YNYquNzqi9XJI1/321GICUjEV590yToNm0QfhAcT8BUYY07PGyPjOrqBf5jEDKHYKMOf72+0l8Nip8Zzw2l5gAwLw6zspYlYyC8a+Uhzb6NYwEmD2DhHM4bfXOpwEhEFQ8uLMuhxRr0vXE5xgPT7qU7DwRukB6lpxLGL4+30/IpvDXMemU6fzbK82r2L1zmaYDmeQURcw+DNOOyRcPOHPS9L3IIJmoBOfj9Ff7V3Kyx5ab/LadeH9L7gTBWjKVQyPjZ8yyDNAJIL6zuL+4CojtqRzAnKuJ3bsaoqlZJXNumj7MKxIcCYO629vmP2sKsXgF+gOIoNb+iK1LebUc4uEAN8h1mOSPPrV8kiUGiYKgOtYpb0LZDNTB9e111WnBkD38gDlHIUZbciD8y7pzPyugtTqcNaoGtgFlSkwuLlDPg2EAepv29rynDE7dh3gPp5rNtlMebUSrP+a2vrRgR2Sf+ryA6pCeCA6TWwglYe+kxIvc4lznZUQZx7v9ppsRkwhMqkgn3gDt6mVLPqXKtY3CehlxylENwaWDNiRhMH10pBM0Tv2RlRdLYI78D9cKygWYsxtSKmVKaw9a5GVEGHdPkmsbA9b2M3ljysi7JItC4h51hS7VNGNeR8bN1OoWNGfcnsVta0PZaAuwi6rG5Sqtur2XvvZHqNSjYAqrkisxLZfsc3JQ1AW0nnK9xdQB5x010jVOeVxMhBKzfB3Qes09koUHF0kFOlSr+cMJH27vwfOBc6qg1knIoNBSrCiVeOkOvF8FS9rguzRZIozMDLWPCDuocsFtHGIcv7Kzod/3n/hQM/gBbllU2iWgaz68trUmIvfHfBDzcBzN6tsY1B/TJW3GWezr1tKNZfMNldie3299R4Q6IvQnyuyZI8vO8bIIgb9zYVuKrscC/ZoombqWqiIofsH5t95Ne7TQZB97kaG5r/RXhPivok6Bh4e//MagbMAk2i4huW7WK91WEL7k4jxj/Hc13jebw1hDJEB9bjemb1xjLbnTaUM8SyQHTBq/NNhiJgz/aBfn/B3xpBpeuHBNr0ZIlf6uKqwwchL6vw4Ti+Yq9Bh4Hu/EDiP5ReWdiisYrKmYWOfdB9XET40F5Js9pTKohLmmUgN4h5WK5FyNqp8H02bfAykwGSLYnvsfePSTh4IbtZBSEPKidlCbBsXUkxlFMPNT5gITcURi+JmTHyXNeSSLLxWjbofNOa0vm8g48mrtuhJFQumobopf2WRoUW2NZspcCxcitj5N5UOOyFAu8+gnjrXtRrwb7wG6DduPl46XCyXTOZhjTuVoHWjcNtuGAc8AXLzJgWMLMEkI2QZiNkGqRZK/e9lQdfQ2Ln9UbIqsNSXlhNJAulZWnZFwAgScfowF9LACr7FDQkpsj5s2Bb8ptmyrqto5Z8bwKLnOwo+SMQi7F7NOUSpzKa8j+OSCTG6SIQwrPQw5FP6Db8s3u4FoIR8VOVAqpzEwYuiEYLsiw7iG8nnjAWdPVxBnAtSnShKMP8GgG8SlDOSFpwwESzrELmVWh1gtvQzxAyEQpexUQu0uraN7rkc2pAqgHPNt9sllXm87qTYDlKlYUp+m9vpHkuOPwb8p0jioenaqfJTPQNxpnP44AjjfSGyqyv8paRTJTrBmJ/o1coKXWSOMRaC/xNTUBsqBinzGPU0mgcXp9J98ZAchoge7PgX8Kncn8iJZJpHXARhepUSU6qfQzYBTNdIpemj7yQT9gR0UGLOGAIF5us/KmXFC3JndElI29UIaBWd8Qnmam2dQfBKQSudwyeZeDROGgFGjSXy2AVde3yS0F/J3KyxKM3e2bPE2fVdjG3Di3cJqB2u8J0IvEIj9Oik6cNjNcM94wS+/SGeUGkyenJee29loQG/KlOE85t0+ulBH4325+sng37AxGe11bRGzD/CrAe4nz7XZzs4xOjQ2ex00jhx/ZeoGGCJouXCiE/xWHa6g65Y9xCqn9xscql/bJQqmWfMS6UDEd6EYcUGOhdM0/tKjCzXtHiYR1vjsCL2TPSCE4MmKvRmAIUfEsysOtA/I8v68ANFX8gP/nANqZdT/3WczcPn9p6rkCwHg++9IOd/GgEezM8R8yu/rh+Tg93PRE2g1Z69jVy8K/FyT7ThxHqa4y8FTeVagQGsUCLGG0Gg620QYF3u/YCWKBFbVkqpBakyo4hiSvFh7pAsXS6489ZWQddT0+Ypc/zZ/GIKzMcKCu8rwonuCXub6KN5fLx0YFoqRq/AjdaRVz1Csd3oWzGI437QJLuWd7XEWyOfGnWrw2I3l4Mb24aGnKv8H8cxM0w20V37RFRcSIwQ7wIAJyME9mqF1YsvqCnHCOymG7HG6cPPpuiDi+P/11LR0zRIM41+z7gdPESDpmlaos6dYHxbQm/YVGz+5gKuJbQcYe1y9gFdnUV7wf3ENcnRDYbJ4Rzf0mXltf5r5QXihjdHYZfi53geTlZPZ/oaQNcca8lzkTPr8+JJLdbwrONTvqCv4ZX2nifurqu6J/oHXi7LrgNfh1T/RBs8RHVaTxkmlUbSLZOMcZ36fqNkWOtWSrpvLxsIf26PW1sXQO4mi6Zyndppdyft/XRczeYJM9rles4dJAHeJnCvyphc+pul4zX/0OFDDCYpLbdLtSXiJHZUuuTOjpntkLSmQHt+woRRWi1mUI1QAFQu51CH3GnfWlKjyyqHeymSoCZfHlXXIGRaIuY/L0ONTeQlldrcH6ZvJBiKDJMaOHKptMGFnBLKUQm/RzmhFYyNnkWxAuGhc+k0BvXwqWVDIKJUBGxFBJat0XjFCp3SHMegCDykAObRSoDy2ul+XbpAaKdje418fLetwR+be3aUx56huQp80Hit16oJ9hXs4kXz3B+d1GQURdvnXBQrpntBVD5X1OUSkeoFTSOXMCYQSCv3/xJ85opoWDyX0FHxcRrZxN8wFBn0oYaOXGXrSTM+ZQkMtwoWwvWTdiE1108B3JcdvR3KPxaHS0A4X4GTOkjXGDviwaGrXGwyTlCnH2DwBV7c2yGjzXrpbA7vs+6IkEzgwG+BFCriHOlcQyctBLke+18ordhRdQJr91mkld7be9eTShYvnDtJh883MFrQyESXUPKa8vPVwHX0lx4Bs6fc1+inTLzMnEcx2zJt9+2vSkUlEx83+e+VaTG9tjXOJmv9FnGJCTt/axUzLExqOPc44oeH+4qbS1FCwZC1+oedM+JsOrlskr3rjSkTaZbN1wpM1po85eFR3r17JJ+Uzz6M34MXIX88w7vO5xI9auBD5POr1ZqwMROZjMTiYf6jOkOftuNp21InpPis4sTcMO1h6vCy4XrP4EJJoZ13F0zuNhTryPoRbPsjhtCQKYeXzUVumxpgRrrg64fmHQk2QlPFgJ+cjmX0MIgNdKfYgmSh3ugd1+6lBc57KLNCLbicP+SJJCR7UvrlQlsS0UDlt53XuPVWYN+66T4vL5xXtgN3NFkwfROdH+9HzZpuIQXUz6TtyJOtZRi+uzXezoPLvY35fhQDALNjdhE83EWIvxW2Ji6RVn9rvuZe6dQP7LW7WYGngapr5jgUsEJDCNAVPwKXv+WTgFc4G0Or3wBQXu4Z+1L5qqZ9kgx8n9ja80Z7MmP4WnufRx5cICODij1Px6Am+Cy1ogcJ44+lqaVwB22w7a17RR/dUZap9sniBRv5qQylTFI4LgdEMud9HdRIHIq+tHUx5u2CrZmq+kW08ODdnru2jpwx97JPsKwvEzAgNoyLkOB4THEKnAX1ejqhCZBDhVyBLHVBs+7H9wlsUbh9QLmCxq/o9DHUXXVTcZE5AGm9dFNmPxFmbygi6lcQl4OS9q65+lv4j1f5WjY38jLMSGaCOPcblyC1Oq8d2Jncj8IgHhzs6u4OusEGOnlZ54YumJR7U2Jn9T0bZdE6emssCI78d4a/RSNF5Gzcdv3ItmQ+BFH9lAEG+3dddr+V2hoHFnJ638PVRJDH+NPCxUKYJomkuMjObaLYeCj4hgvPsuTHuDIfh60bK17HVq66hkwJMrj2p9fkEmiIEkhj6kOxxnsXhWYgvI9f+dVewmj7/hQcAY2M4wrrU9DyFNMFFAwxPqfTBfXdwV0/G5GSNKVQra7NAwlF6kHCnN/8kXMSEsNa1JS9zwgHi9SrPSS3rp9fLi/PBpQETXnL82dyNjwc+vArjH/DbIA6v7QLQu4XebNgLftxy50/xO0n6lNVPITZZHxwxBw2Sq9XwY1yX5iWZQ8slADN3HHBQ6R2D+IaIr3Qk/ExG2xMi9CmgVVC1wvCXMJg+qpkwUX6A8kDbGaLy1OjPFfCdxcNuxoAUKFkS27ibJEMbOtsrCupZTLPB6+1kbWS+plWRJFWO7aMweWvRjpMDuoK1YIuwLvKfw1VsJa4mxgpg/flgGb19ZL5NTFICP1xEVAbmA2LDzI3HFhAuqEo+EWDDC5m+5V9ZRyLnPSeXNYKKOwImjoqCQlN2yPnhj64JCjPAXJ+fc90YvEkbuXct5NEdypx+qtkuYKBQOHLLmvoA1oZ9MxKK60ChX3IAY5fjSsUIuGmDp5VlOfoKIIBxZ3ag7D6oLnBaaQzphZsQoTCyoDNO5sLvTPc18BJbi39IwfN7/wvLhcBll3/nRvze7AGxRR/PBwRaEYan9fRAIGRuAFvdAdjik8uTmnDOeRoljDB9DR4aifZIdwyQEWQr5VuNpwGuLRXK9k1MwAi81cPPQ94uaHD2K3dhvF/aWVIjy7gtd/BgG4+z8RQRDqd03yYer1idfGB+K2sIgCQUXGcqKkvXsXV4hpvJa4H79SqptrV/4qt57AxAT4+eD3lww62kp8OtbG6u6HFR8Od9Ttz6m4QSPDiYOtaNO0QBwwzOb1xEheJ/IstLZLmDHG6LHrolaYEEc4eOSYKlxlGPu0smToz4Vl/bLMaL1Tv0jaB912WQ1av89aqFhSMkPxRWKRZLl7yLSOa+XK3Ad4Py2JmaYWXwwJeW0G3+Y7NwZ2ugul4AQNYxjbF6FBAOzT/ALdc64Alf8LPESwdLaA8hz8It+y9yEaBXsDcnYq2YcOLs7nJ7fbs47qEpiYmX9XhVaSp+T6LGZ/6vLyww1gANZhngseFNUZttysnSX4XlPriwWxlGpWsUAoxVky1sV0QcYJyNkR0GM/5gjjlBnfTvKmyBUqsKE36ycZweZ3FMfhWmtq1a9Nn+30HxcTg9m8FmDn3D3wplR6k/xcgfG0q5ZxPJVu4ydL4sHOYHZQDjUNsimPr6nhU4C7KlRnvykJvyKx1tEj735uPJ5OibGdixvI2MSUr/otb/1nml0flOpoItksACFZgmI0a870Gg9ziqwH4SIOGKJ+dZbE0XYxZACxAAcW93GB3BqztWI5m60EyMg5K58ggehVMz6W8geeF2G2p/CtBkJZ7fX2F0fqZFuH2HWCT7QRrCdcwkv+cOVbPP4v/HK7XeGwpjQPBujISKUnrfJCdN70duWfQWp2ffFownDIUlkYtp5Kjh6HeZYU1InGoMK2pdVTSr85d4zdntJqoRXsqqX9rgB0kaztYOOgDy/w0FK96WOBZyCTJiprYuuKS3V2525LnTpylm0Utrt3WRCtQdNzKIsEKglmzMKfall7k44APjJrAdWgPb1fbLk7B8No8sM9d1WOU49oSWk0fmq5e5FS6lp0BQAJPmLQWEi5nJg5WGcTHa8nP2+Wzm130/wL+sM+QVWQWli8X3h9bVcKUIR9zLFogutyrh8yzuIrtsYbDF14PdyUEPsO1QuZ2ddNb3A9PWbonUWqkF9/KbRCwYLpX4EvxB+zD98CufhgirtKKKp9zxuY0iLTjijtBARm7jLermcP1UGihMKIsJ/PsTUmAoEclazaPQ1SNtINTFqOFzyOrcpQ6thfsF29mq9SVKtnxg4KG9VCxWUzNgb5HzWD5NP2fweAopwx4gH306/T80BPaYHBZsLPqiHtYt/qFzjV3Tn6Sj1wjde+DCLnwFq0K8byfCa4td0gm0bljcM2o8lxuIMJ5RCeaQei28Q25NtR1yK+yi5aFQkuraIXFNumyH44aYN5UhvfNsErQwsaEE0L1jjQy2ejeeqZYFKyf8aA16o9G0p3HxweC3rkMmerBwI4Jms7Hqle71CMX5yjVWEa6QyJw3FjI0qV1iauu+jvgRTjVt8C8QCbkR/BbeFvTmAtFaA7E2vh3A3NHNE8zQLgPkvzTxy7FtOYDKs/rN+oyjlMm8jiKGtpTEKcLONht9Y2HNnsemFNxAXXIzIRTzJ1Xic5Qz+DA0JRiK9Z27d6Ic99e3UXberjU6zcZYyF3yp5ikUnmwGafZXVzwjsS8ArPHCH2FChDvOSh2P5da3Pi64FZUlocf+vGLQ7OW1q8rMNdszXY7I0CcUdGOk/TqC926HLY9+qt3fCxKqozrdunAvYEIQgFgJ7naKa0kjWlGu4S4Eg1HKQg0V81UyVdXFBw5LnkISNRZ0ZXJ19mUz5uaIGx1M2a2jVRL0rOpD0E8OGAxP+bBWtZ1eYS3MpRdIFEjKGNYC6xswWRzqgoOgXwvurllRG/NjYI9TgTYOH5AFAc9wLtYtN9EommHa77VYaaLLWduuGSR3NNJy/MGb1mJoxZeapHJZHnptiht0Qv4toxCK98v1O03HNd4bSPDnQXuvNMva+33J/Ldokqp43KuzmanbvU2WtjZhBl6quyKIlk/HblugKUy11bwXc46mkQW0ykwsauooR/8+GBfa/t+yijsnf/nffGJ8ryZrnYZm5y4LiWxqT1VKT2R523uujflqrutqANOw1xJLiVYqz1OUXyuaZQT1wL8aLL3zn/WEn5Tx0XhCH3ebTdIHSUsrxP/WQRo75/nOYKFm88tGhHmSJ0uKxynaSjwLxqWY+X0xHjJLvRZEZoGkOG6hbi51tWkyEz0X+LKmAzxaHFZcCJDkU/Lyyfcre7xXsfD7u2Izu5v4/Qjizpa1RVo5gnyQ0H9VicH7knLRB1fPhZsQFX7uovaNzW4bKt79z7FQrwNTC9QMjsWDTZNGo1YoKd9eUGOV2ROz6GKehe6wuCPsxdxzt22mfpFSlpAq3RQETzKHqnsIKaZHOKVYKiQJSvLsjdAiKMqdABJZsW2ckF5ZHRqk4FXBGGVr60mtKMC6pv9sPu9PHUINNTrZwEZenCDPqqTRGkoum2vhmnzxoTuAA7T9PMn22mAJMxmZ7hcBXddWHKEZvAeS7nu9Lz2Be4HpIoCv40EjhXAyUUvhjyksAjc9iK9fjH4bFL3vt0n+P7uj/8bmtMzJfakY2KlUPrL8oXzsQ68uUJX5OGu9uc3k6fNjCgtfpl1yixspL+9G7NK+6UWvN/HFjn0olyHmc6f78sTlhUOGNIBmWdys1BVHt64Ob7xTdf+f0Ek3PhKhokZ0nFQUdjnhPlqsrTSshU5PDl0a0ETGiwBBlp+FqA/6PgQUeIfEfzSrzMEmTr9CyhmYUfSuBryv54drkQ2L0TxxAug60wp9cO3YEVVuEonQRuZL4EPFnUnsL7NTytvq9uELgt+zwE6RGJ8ShANySuy2P4uIxZ3ZZSB2754vd7HomeRnzqE8k7eLIxWrfB+OCBcCuLLO7x5khfJvwq0r78BiVQqR8cWP7G0j7vDD/90yEf8Elz3hE8YihbtkAnD+Utllalysa+HdlHAi+/Ysg2KkRLBn3mCaVHUDWRbEsQgm+3nzrIZ3d8rNMlzJif+4mUxIucxS6uBt5ChP5upEUIElfClH0QWo09boXCflFSOtmG4XTi5nT9e4IVklpagTuuDNphlTYopEUNlPK4B2WvknwLAqU+TfEXr2G2k52MeHKwVnlpTsmpSRSJqMLBTmqg15M7aY4gk5qxCXfDcREoJbIUTpLrCxdHMqYQ3KyGp1txvc2yggN4/XtJSNCQbBBe5EOhT5bgTbkbGIUQbNL/ktuyP6fRnUIU21jV1SUbXoxkS1OU1w5PTs960jQu/r3XnwOJXe/BhCiws3tUzCIzZG5HLH4ys/X+sPJrGBKbLD9WCmYY0g5jTZVqzs85bE3UEeUt+6P4q/rDEzU5jel09pdyfpuiy/rLE9mhsHo7nyxh3g3YtxE2nu09bkd0CZczq7DBQNSKCGgqKVkCvflaXUVqb+6h6GYIiUNvnPmHsrp0VKn0LxhjUAhBDZCOQj3WocFaD0GpcIlirdged7mkVa+OgLEWZb4xC3BdHOysE3C/Uwk51cVf6R1gNxZi9xG8mvirYH5lzl0EFsAhf0t2V0NGrfpR7qrgP44GPOsbL78rplcrRIN63bqZoppzR60dK/jOdDr9WA1ilzLWuNx+8+O1KahAcnZNhGXj+9mjp3nFI4U+ZC33D99oXv3/dVS7GAlyUXCOKEQMKWN9zqaP+v9gqNsTimkKA5xwco4oKguAc+pUKMc5UYYCKtKrHNwR1Qs4y2UySjTYHd4lJiG9W1LJUvQe7bHBTEBCH4XrLzL9I0y2cdOEjBgHgnj0RJxDrGiUtAVpdvKHWp7LL2aFV8C7NsI15In9slJbzg2bgWc4BSRqTD5x3xzBlC1XLGH+PynO8PcXEXkoHV1favS/t01dWH7zzObEl7+GuX6mF47UU5mkKv7A/6ighyIlZjWaDX4WAnp8Z1gEtAdWbUyjQhjUPtTALbaKSL4iRUy6e7p9rJBmi6kPbjkNHywlnFe5VHt0aToHJ/s5a/dcDGY6X3l69xrXOo+sBgG50eFtxyfAo4ZfUN+Np2sIDIVDDhEqUqqq7oAN8hv6CWy+QUzJMop/EqUeu3WXYYjNB8qBo5PaRrnRXTdGUTKe5lNnLbnN50Fl1NjknzYf86LVg06BDga6x9JabzJ3nSVt7HqEaft81CDFkNiYdC+Gwx+ZRJVW18IMinHcQKeMYpiyMYyO9ArHMJuDMdyem01uRQiQj+qXKFM5ErAVma73gN6NlOrA3DqzbSDAM/TwhYDqmwY5CLMjIDuYbZvB4oj9lINxApFeUP0Nhmc+PLsjY3KZzELxQTDIzsQ0frVsGTnk7r6t7L9cpNRabjlZ445PQ/HeRGwdsWOEQ6zZEt2CavfMDeYG5ZCa9CNWd9rsvSvd79+ZP0A92kqluJ2vNA1LQV2TNh8V+v49I/O+cFS5V6sbv9pGzlProe5xCP+L3cPiFQCR+8yEPAAKwBJF8urDFfbkz78csOIhoECbSjIknN8NwFrieZRi6JX5GpH/dZw53uEoi332YWRwFqwNUyE4++Uqdm04zGaCE3pvjS2uNDwyA/tjtCq+23dd//M2fhZhpDSoyA3YfI8Gm0LINQxGZfN7hG+iJ15/ms81jQTMTMqCbkzndRlpm6GjJctL+A+MjfHTxU5Bj6L93ynBhD5K1zeGj+u3IPIUq8/hsPg057QKQO/2goLVH6Pscbqzdfk8rBioHwfyKbeowtwLKUJ5t4Ud/rziYnQOyywtgTpl+0qADZLc3JF4RXKJvKON1qdQyh3Gnl0IzZKzODx5yNJeMTeCE1BF6S/dh2gswD1tVjo3NXEHcAlsxesZ7du652zYu+99Pc8SSyxYOFslzE42dhU1azE7jvEgt9Dyj1efLWGw+m5aycnPPWznYbRVicCFWXG/c3qeRYRgGQBZskc57BjGTO+PjLdWWM4qqxWcdaxIPukImESmcYMmOKJWHHTwono6v43F/8E5ImVZAg/JPBXVlZvRh02V2NNdSpn4XDlckxe5wo9tDCBvHasoliscor+5cQE3g4/bwCpOGs/0XcFQw5MNCZK9dZJar+eOFKtN1SC/lnUGEg8TvVIQyH+sKsYVue742G+vJtBRE7+qOs/1E0KNGGkUfMuFnjZT/rVYEY+ZYcbsXKzBy/N3B7VP1dRvnUmCYWHkqgRa0au7U879dPwkcPLKEJdeCKu2kz0egoys+0uHU4Rj2otfi4LWydJHgCZCUm/pM48VRmT+ZLqAEdTsXnktrMVTbOw1Szet5xYeVxUpvt0AcV3iTg2S9GFQk9xQnFj/HaLdDnGBZsZ8KOE9nQ+yXmV6ZXL9CO/8NZoU892lul2rGuVJ7e0CL3OneOFdVbmU4Z7ChW7O0zyACnwc1B/zFUhwul7suU4aM1JGMAxwwG8Eei1YbPv7s9WS7nCnik8gEnfmZqgR3+85cEBBvf4+SREeMh7iaJVUUb0Y8HepMI/lm+3NINjITTrChCmfYn9x637GPdAL5lCsK85AR5CHRY6Iv2JGsErVvq5WqEvgYno6J4570r1h9Pzg9k21e+dX4omT2O6zmnZj4TWa/Yo64ygWCcP74xiL0Am9yCXisM0tIxbuAbBYdKGz1PbngovR0USsBK6z6Txmgh05nLJ5VK9Mb6FBHpnqRlNkUGl4dfozaQnBGuwejUhsz8yHgC8bvRm9Op2+d4tajwytOV4cVHuqUI+rsD2kAc81Yq5ksZ8KRUM1GkNJ8lgQSgidJnqcF2zVDk19L7yqox1X9GOutEqvSgdwVbBALdgwMMjwujpR6f3OznQIpuWFEhDZPzrdM+EdxK9kn2uxnrSZAXR/If2Ska8zhkIJNjoaWiVy1/x99iivW6lbRw5tXMRiULFrZYTqMgVmPJezzzJNr9epIrrvWwRJ7TNHKaolqBGyQHLHFBo0D0fCTfiCG9pFmDT3f/91/GuCUZAWwKC60c7UNbPy1d9SXyI589+MGpfg91MJ1e+AYGEE3KM+IarrLdy9uOqYPgEe2A8q2Gkyz5jF0pVkmUVylpn578X6ByB1QqONSdDfWb+fuIPBHNjNQczi+Yoi5VROR3dF//K0pp7urSDMREet+r++E/iKw+RX0OVax7KbgHGtMazgtgxKb0EmwtcvpRrhZP6brCPMsyugXb79Kw/HXFYFuwnouRJDyn9oFI6Ma/wdZI6+s4KthRZBHFWY9mneTq3Ebi2l/xJa0LHv+cbZGOgg5tRz4rfiLfD5BvQo0Bipt+ijTJz+XeoIATHWQ6MOMsRA6HVhzk8TJJ6mbhhqMHv9doT4wi4GPR1Wdx0LTx98RxvIJ1FsWDf+hkHdO95cNrnKAT8CzYQgsKok+EjxsLfzND+kbwTYN0NFkNMsDEYXGqFdlYRZH7sy9ziakJKZHPkvsHludzY5fc+fbG6JqRcRE4JRWit8KYnOlnghaZMrpvKbOf1qiuyGoqt58vbmHHD3jh+E+QTPS0cGb4e0tkfQar31KWoaTeFpZ720zxTV4rdU9CQ9Bt5Kb4a2cbfQr18Hm2piv+9ZiN6wZoChdNmc1wTZT/HiMKIjmrQjktLITwGQ2Iirpb/XoQ3kWlrRFtCORhVRbZzXV18KUgJY3CPF1f0Q87xmAuxgGE9TS2UNwoqT/6dz/9cu2+ao0NaTozvU73o2bPk2m+CjxZi1oYAvn0MeXUsKVDU/XFC7xOwKEB7syxjt4/1pmflfFOcMNgwdHQAKMZ3Qhw6I+7KoOdyNbFlDkVw3e6+5MT/2KN91CsfWmXcd0Jg+hTpCLRHxu/4UYewkronOJGn+c2A4E3AUmZs3CANMaXe3GSdY0304ZFaB56lSYPY43icgzE5y6iLCfFzlY7uSgAoVh6645cbpbl4Fqq74rZ6Hd561+LX0jn6bYiyftvVldmm+1I3rTOB7+jlxC+AG/6IoWjZhcBCxUmF2df5wMuIFp36bWmf9UnNn4ovqaXGGexYqc3mdnLkGjpwzBhFzR2YtthDvJoE4sxgvFtwBZbgB6JH6q0QPD4wVRMD8fmM1ig9LPoY5D6nyhldPHOVNaeP6EZV5fl450lvA8CvbmQXke6T5kGRnjwSNv91OuwMtqjEjIVM8WDD3KNZBkXREIU/zzTd+c38ovDqdGXoc3rBRMIUtASMZ6j5CoPdwMgeXDaj6wjDBO9tyNvYno26ueVyegX6LaIN7z0hsK0OCEkUfzinzJOzAYwHtArX4Q5ZMW0oJa1aGHT9e3JLUYYZZluqDQE7KqzMRvqevx1yoD7qEiDyFDH9xp36HUZiXqSTg2Tjn0iyTsTawEvHuLLTnILPnZHjnL5DSSEejmK1WEKcS5YUvD3X6esIX56o83ribsooUAH4aod50T/U8fMEyay9EH+HbZ1VN2zmjUiFNjBztfzOelFv+RwopRU7dUbBNC5gMuWj/LdDN5dGDc0a3NHLVFLiDYpLne2tltoV10bziEs7LDe2f/okQ6pLK3t4JDcVEhX1XAip/RKqJ0kTWg5wohJRVroE0xvkcLFLDNgKDrVRWJ3Fp3dPfajqy7YaU5fBvBOZZG1+bSWks6Gt9bsGUwajS8DV+YG5HEOxiJR7Tcwjq/3CvRuAXvI1fxvW8kFrdO98TEBAZr3FwSzsqZejXJZfINgcSt3vrNxzwXxucE7GFwKq1v04FnXvNJ+NuHrhOXZmDZniSvNwNJeqGGJRbZ4lJXG59t2wIGavRJkxBCClsc93hkSqJEFYmqRTT8DXVTZ4Qkt8dr7+020C/FPoNhfuDXkbY3LGw9d8XB5XWyBazPQafRUbnDp9Ti7eDIdxWFE2OHRN6/kprIiolYk8H/gvhulnUfa9F/Dwtvro9ufaOLIBrYNeHSGoCt/T5+FidmQfUk18Pg4gNA3vdiXbXOP/wVE2Z+OHLWX33VrJaAumxylB4qUs2Z5To2gjFeW3lbQA7tGlL+XF90iamDCF3Fjts4JLzSNt2aV/gb84oOBZNObmmjbW/3X5NpiBYTFqEONwM7yyyz6pW7DPwXn2gNCsKViWS+ZbRJyqeGNCw3EJi7BNWhG1BlgPgLy5t6XKt2qd7xNKsCefp3v6/2uHupZtN/3rEKYRBUPwkcJG0+EiLbT6h/ey6WwnhFGDxvEoafdYSnizADWUDJOxOkksE7GqzBq0p4GuC6/nDicpnqDBup0J17KNAW2B/PaHcCkdZCLp4lBQguLS8vYhyXI0sOpWOkgOEWxka+/zrXWbOdFNwyBoL5HEAPe2kxeKsgWvw0B9XQP9IUlxPSJJs/6kTjFAfPu6pSJx90s2ZYakmpae1czeF0SGPuCev36OmsyoJo5IvCbBTPXzf9eMRn6NPrJ07uaLEt/pz5Zxxcw9i8PSYkNtLalyJtRDdmj2XQPEe2p0cFVVCRGGgc25yl2JUkarHYy+2enqMPGj1rhSYcxQZzGSwBVcKC6aw3uhO4+uQpcyrUKFMiK/tLbqw7s77Grm7p6ihjonOJdkzQzB+B8CDUOUwgBx28wwgmuJ4+0txYl/HLeZypJuis7hy7tYTL/tZ5Dtfr0K38d/stJkSNNExOciTVAlFzXHG9Kav4hNIQam7BpefBf1woK8PYiK78ntKu3rxDVRiqW4RThfG6jzY74jsB/fNPnSY41EtmpmG58j++cfksoU6ccG5niuIYI90XoJHOP1/1aqYX8i+k935ttfAn9Cd6cxvfJEcqmHREiw5O4Uu+gC6KBuDmS3MNviT/9GuuQNQ2IEnBflYOoQHmw8X2jl1uJqKoex7Z3Fek0NPz0PT/R5YsOSPAo9rkbpCLR1pY3Bcd3Z7F+iAIajiJcv9gZev6sB5kDcb6BysrZyp5QbV5eH3RYuznoHTcJUB7MXIhFs0UOsMv3/nEs2fAbLmsw0lwg7UOVqV2+ht94KX/Dp7R1tunngVPNcktHF7BCuZKt8jyr5JobXCC/Kkd1gDLC0wsiVtHSTzcxNPnVjQJmmzu7kvPEMxle7nLFCIC1Sz4ZS+Mszz6j0ThP7lqilTq7GvVAcFn7YDiYR1RxFEWrCddwg2O+b//tCpk0P7awMEZp4o/bhlCp0mg6PybQTg3SZ75qjzNXJQC8yV0RWHExrohRVQVlH117l7w9q26cZH2t0la+ykPj9utB5D72Xi/4bZZrorgn8wWeHn+7VLWWXFAIemW7RAPfkNIRMzVnYP/lmwUR9+V1tljpnooUsgqJoADMq2Auobxdy1rqRZffNuxvXyMAvy4OZs+c8l7SPRUndNQRxX8rW3DeqFpxMIxcjsPG4e4xubRpt6OPmewctZhGGmfUKUkNgODPn50w1gGc3zMgsAml+bqoBB1hxpxFu5J2ktS9+s60vwu5dsrmHUm4xTs+EwwMNfiTCCV2+cupAwBdtBkMR43cKIu8F8j8fn7zhKEwkQmSr/EaWSE4PRsUERTfXq6thcIevJpYHiOAdT+MPfqZ3zRC6k37KFogtQN8EjEe4ke1Rd1BqOGyVovykcryoNLy/vFHCqsIm0u1Y0o2goidz8ySWOl7hhdGTqL8CK8jBZ0ToQAjplCm7MjWfRonB+41pONOwR9XFhbXJny5+LSWo/rhdmJeecuKaOf8BPYn6C4vKwSihglmTE+ouuJ5f4K0G1LF3DbfDIAVuHxWO2Bh2qNNqcccKjo2stICoK4sT/mOyCOULKeQBhXj7nYbf/qHGsFQShXlYDCA2FpY6MpjOKeA5wodgq0QQTx7opIow7yj1pkn34FPBMNoXb+sfALPQYY/Ybv1YRKR8BqwJ6TEV8rnQqEGrOC6QZ9gqQVrSO69LLMHtFBkEudL+ph699VJQu7mSHpUEgFYIpGVyVS/Idl0xXVR12uIdtaZocXbBaclsrx8TGDfcZ6qY6LoxAWHCHZ18jAD+yxpZ4y2a0dPGIYJ2NNoX7wPVgEPH2MoMi05PwPTpW+TnuVpQtbGRoI9YfzzoEZOOjFqNm4MzgoJcXlvRgg/JOhM1m5VltrNAnUOQFJX3ZkI9Ko52u2KfScaUQ/fznseLu0KtFU0ifI7JQYCUSH9eLl/WZVfwb3/2zr8mvKy9qcd9IcrdCAgrrbFZXJzGUsFm4XysI1HDGYOCT8mxlWBTBPgaZoSb0hz1tQCGoMzcbb4ZXWoi82qlcdb2e8bbWoZqUQ0v/J8TnPh5Jc0gcO1etjxZ9z2x0U46ziwH4FRsmxoBoU5YtuHTrQljFcmy7NX9bZscTpvu53fFsNzMdk1w3YuA3V9SYblsxFb6o1T3EpQiZcsii9asmiamIO6mcUoUD9Dzi6STrEPhGLPgc9yC0ol9VpKud6vRIOVzR8c7IX5/ExgLP611d5W+HGg1SJJ4Y1nN7G9rDjCA2PoW0FvhPg1X21Aog0QN/KK2uoZcLRSH05uWcFowrhs/pwpBtsO+dIOfsoFXa0WMeu9DRmqXjS6nJ9YxeUB119MsHXLMwIHDt4+Lls1jfLA26sMju+9HuHPn63dMMbZrQPumqTLvmzzMktsgEcQ5IAXGR0MQYQggO6xnn/bQ8yoQ4djPhWlD8PzbQ8mNG9XrNWXaNLYMYzdBIKJiEdAC3j7aEAoPwUr9LPl7kZDvIPMkZdqckQCrElMqbI0GPnWy25gY9rhzFFFLkDHIEWVTbphhrp3fnbSnFOZxJuefwc4pt3OTQf9ds3/w5ogKobySbGARqnMIl1wbed+t8T9yidDfX+F5wD6ioK570hRkoixANWQn6HC/5oXVSvPfXgEkwdnZUpq24kNkv3SlA+m/ab8V4SbW6QNFiG2iynldjv7qe1l4H9WQvd08C3mobmxjE+K04cD6RwhT1Oa0s9Yog1nVQ1nkpElyTO5Z6h8/a8LW7gWLq0PCaR9TcOPWCee0FUMJnskJZWWLYNAfcbUygtp8eksQwbTMNikiqXCnoMM6/Qy9pDfRbEp1r23qEipbNlTddNyQZHJH7QhK3ZUE5S/tiwWuUeppYSMS1szWZG8L171XRo7XGeQsySSNtoyQktzGeziB2zM48gN73RS2cvLkj0S58CDcPVeMvp9u5m/LLdQgNKcme+wy9Z1bZsUnrHbk+iYFavaAgmTuTKaEK1Cvk9VBXfdwaLh+Hk7TXFPFOGgNEoKrLBpMNW2g9iP3rJ37MrRlJdfUXhLA582EJqTL5IueNEcrUj2gsdvuhNM4V3ukJpqD1lSYN6j3RAh/oYHrrdMpXXr0O2WPWOtsGN5Q0eKs+89Drtnj0JJIw8Ae6vhH5hhLnqXi3XArudLpe89dWkry26XLue4dW49GnAkk1nphB5T0+aScpFNR9Myo34fHDgPr8dMYYI6+A/5/kA3zvFMP/CcnG25vyAwHl2XFJNifq/SsJQy+YVjx63pnzFGXKjzcC6ZJhWjcreJMUk3w/anXwjowMV/5zIc26ofqFxadGJeR+TgGK3Kn+j/zoyZ3R7tx1PgEix1Kxhu5VL04vFvdCpDHV2KigohlUGVnqZ87A3I9CUXp4I4ezBIB3x8/mfeW/vas4IeK0lNZGXLlkxjNoHd8MkjxBMJy7l1EQRSxjjhxOdaROx0gOWvlq7YCrXudk0rsZqeVgPiVhak5qqgp5b0TUaLYjxbt/mSw4H3pSe4p9MN1UAlMSlLiSxyHAZJfBHtrQm9pbq5nc+/yn4ny2U0TtLHFffhxkRSy6R10XTNf0qe1iXSXum8b6l+bsMJQbPzzm+9Ss4gnUe8+bzXj+PRXeiyahpw+if7FTW3vZN0P88bRW/NE2pauy6/DmDiPj24MUCzLyzlzKVZ+9WCyo8x5HDEPrAc43PFXbc/zwiweGzNrLFVeVMaeDkqKqFNHuw0redji+U9iqFbvqNg5t0vEp7uCztM9SXs8wq7TU0kdzqxZtVJi2yeVWV1u+71HR4WOX2gzZDv43eGacptfW3sMzIOC08TeBgaDPIKF67NHwfSQI66ZplzIOc0nt2o+lFPEh5pWyAdktaGRkzCDtHiCAM4NJMJtyY5VU+PsFeNbEE8hxXYLIhc+72iKdEfnavmwC1AM+OkDHe5n0fSkNZIa/jsqre1tKfwt5ZEUde3Cr0MgBCvIB8BF+BARUOcmtdedYbUjFganemmKCvqEzfrXmtOyL0RW0sfnXWGqHffek71EbDSlSh+8aF72VD/fVl3n2bFQtmYTVDeHpWdjELDRW55bgikUmYMTHZMWPAoT9OOjOfUJg4ISenYTpwFIzD/9LNKn7POe5zq4pCvhjygLJrO4bB2SCrGVtQs/yxs+D+Yfcmwdm+6tiFxStG1iqIHE1AvIgL6UXIp+9Zrbb4RkgdqXsUXMHUKXO6FH7of49UGRFmx94qpC0YgjDMvG0rIZEWUgAPSdqj+DxHG1KJ6tGzuROOyMR2/j3tIml2fRSYc4ivnlpXjJqK+Rro7L3KzYdobO48VsDvjLJeCEuZ9g16XeODGhnnyT4sz8tuHjyQvZZtBHlhFUdabozvJSSy/svlcSuL46IYvbPCRPss8T4Uh0LJXmrkVkm/K1s84L1fXLK/Rad++oVBtAlGorCsEmzw333KAXOIZPv0B6V/wWJLwO/PF+gx/Pjjb+LCiqFXg77FmqqqUySVF1nuVtttisw9dz/Vx807r6g/uNLc9LizbjBR5gZX4zg13Jx79p03iXtpr0EBvwa1k1zJxDcu2gCmXEijq6seh802ANqGdOavKYgXQXj30qRWY260zoVmgjKbD6EUQqi60uG3ta+QGdhfqLBDn6G8hgbLjIkQa8kaUECHBnxjoPHW3Z02iviyXL8JZtRt9mlVHM6mI8ZczO/SgG5rMltTyFlFRFkoTaUXbz0R3CjFBI5CsP6Ha2DFq+CQgvY29a6h4aJ4EJZZoDLoUcW9yzCh5Mqa4eJMpnW4U4pGNadBAFDhyUoZYpTYshbcjaohy3Z3zQWJ8nNIYBk7YEnNtnlFM2Xl3yeXgrcrSxlfkhRQpdHKDx/7/018hQemGA4hmZPmGKg7BAINZJUs8eqp1G4xw0FVwiNVUvej4PfO4npChx0Dsc7aMaf3kSZJglmzNBx4VOQigBAaYiE3z7QO8EdTUl6jZftjxuGHR8YcNt7r+6ZD132Iv0paJD0iQzamMWPc3Iopi5ruQ5rQGDqxSO4D/o+kxqf9F7S7YNFIwg4ubdxKJzd6S6nUVeF0t7qV5vZV2kk/ESKEFKlb1kJ632pw3W9xtAB6oxHpGqDd/AEFDnqHqPi+jRtB3aO+yhTD10P6QAM5lBOX/v4jU+mDwcj4c884ukBiBu+NfgIcN/8alXtjiBHn/NTvhV8Ej3e9FHbhqe5lgm2ZqTFiiFofNvYLh9s0sSamYlLepb4hycE0xVxcZfDCiT2IMlWloz34j6V41vjz68tXd4SaevRJsLl9JKzVSArwEHcZEXFn1heHGPwewFYQ0un0RSCeU6TnLC4Vhm7pxxdyyREZAj2U7NqjY+R0mgaVMHE4lk5ZCKEjcEAB9kiAYJUn3xIcydZIOGalYtYXSQ5GLu+f36Y6CgtzPBI4zYcLHnVskY3IBwC4qWgk+bO+sLOJSMOz0B1obnmIZfuXUDqYCPJkippDrz1FRtl7GY17SzBWaeAxKRf6DgBvOIjOULszAHROEkOtf76lX3RYSZ8q+0I9nPShPEuG5Qvk89Nq+zLFCFd8RKiXgCx9q+IHbAlZWEfr1jrh3y/ECsivoVpMWKJBEeEgjdqosUUcoM67uH8CBKbsUsLr7jAuLzdvL36yWbI9SS2ECmgvc+BrrBDgEg4HsiZOW5Ll65mjiet5RncHV2+IqIcerM0L17cdBqvrr0GavLDOy7H9+149FBykq6+DXMW6WMnnRVxmfdCDxwpftrjt8ZTEMStMLle9zg85+VEMPppbGdZagptwbglYx5I7tIrpi23x6VUPOwKWiYTtVyeWpNAP2ZGPgXpxIxvASODbgopoSwabDpjynPgcePUG+HLH3Cbb03fSKipRP2nh0Tvczhdx225il60Bw6sq36ojMU7KnpxmlIIkkSx9+8FboGNc6Jq3fylAmMXX3Uggyk/iPY1JwsQqb+E8FHuMzoEmL7HnuSzt6lX8jHZci/U/0wNEE0G7GbQnLSTA++XrRFDkD1OvZax9ROFCqH3YDkXmZT6evDY/mewPL7HuKkQId83N6MVQxffkHmL0NKbeMSaUCzuI4+aq/tfouRQV6ebOpFKQJdRH9ybZfLuFPYcyt+exXeLMMjRsx1s6FGGlr/CnF86psZfEhIjie4Hl3wlEFNMqpWgm5mqwiSPC/CVJ5kLOV17n5Ua9p2V2Qau4990DXGAS2eoKQNhF60L2SWHXJQNgTuJq5xdC62iowz7sv+sjflHpIidpRbx7bKxrrNdn+wn/19p0UBvqt0D8pUy/V6cgOkvZvQOgiCNkX7ndbCNKNRjOnjDe/xLxt3+gFL9jsQxJjnaNojDGvAR5/maO5Y8urzK13X0D4buyeWUMyhOTBw+lTxf4geybTttDj1HSRGZBXoqClxwo4Sw+ETDZ4pS85bpfL0ZN6VHOUhlxx/VizpqK3tsYYYA76eQkFjxXXVSOkhJkTy4ECmLDPWcULatrBGhh0vghNKSmFZLgq1wvugeeKwBgU7Y848tNESE/HNmg8et62F2q71tx4G2TEEERgu+pL4yleTooxu+jDUucbmS76mqJzpf3553pGBTfh+6kyTmlGsIbnRF8kcGtfF05R/V1oj+F/Bic5IRvq1lp0kqTX6zf6r9i4K8Jj1my2w0SzYQ02uOIz/YvWc/Q7oYZPwfdrzbWWOJtvx7DteJBVUzOVcTeiP2nLFrxERwVjw+7l0N6AV/c5b/x21TnGNiaRD+Z35BDc6TaResw5I7efakDREKubmokLqxjtGJK/5+kM/pq8Gjo40ngS9vN37HSvY4Xc1mpiQGAf21LGyMPfys+qSxVe4Tk0Lf599IZtf1HmeKFOZw8FmZ5PtC5l3+yO4OuLgqH+v+QHuWRIBfOaWBb9903YGuKMz74Fyktzf/tu1Jb0tuo9rVzsN/arJGE2RHVQJDw1iTr9AKwHgCxP/EpUhPH9ffkz+WKCmqj6V4ahofIrLzybEz0EnMQgS9z+13uJGL3Q9klVpqBhw5MRZkpkVgo6g4MZYT2zac1JIeyiLUCNB9idgD49BqMgQgywQksnfGxeHcJU3ntsrjZ2ouNpNwvtRuJvAt/SHJ60pB3XGiDWTmEoAqG5kZM98MECI6wi3ydmsTbUX3g0u6hdz2qLTkv170iPNIl9w6p+a7u6t8o9U5fCniF3PxnpHYHtIg0Xk6tUw2sqUIr63Sa4qcd5H/FV7RyAI5h764lyVLRPitFLZxAh+GD0QKxzX5Tdj7fK29vei/FCVqXP/wbuv/NTpiYMeRWOOF8nNl/kHFW2F1hVtJ/P5wzUdERbvFuMTibWRK0XFAWzSYFRuXjoB3Ar12lC29vSzZzVUY+i9vO2TUFnkOLgd5mgS/OP+cv2rMtPm8nqzBBOu9eIZ7wssBNreAtZIzy6ECyBuBc6gZU6lvyXgBPIXMVjysTKDheYijY7ezsgSjJ3x8hhmSXSwwg7BVGNuQQy6MphyYqdZXJdq7gZQRoEyFpbXJbcEAlwcj+5dmJMco/SPGk9gpj8Ql7dIewOejlVOWSzcrLmyK5/sc6KGpoeWxSZOD7L9lEa+nzJ5CF7J4N/h+EDnmHS+AeuqYBeEB+oytjyOXDZwRZIPbuD8uynm8Km+iu29ux2tCvbKKVrWvRBF8aOkeodPBrdtKTV1yvQLpE33VSQ6/DI2wVt9DtfzPMsGeOaKd66O53TR3AGfZC9xFNHFubCpxHUYakzGEwNbVPs9eF6Rr3lRgmMqv7KJYu6WJCuolTF54QmR2vgB/63/1J61QENe1PBPbAOc0UOV8oDfBnqB9ViozXPPw4ZooTHSuI4GR8Oxogu7bHJYagW+PrzPdwnTfqmGISzp2vGyTcLeExzE897TB5ny0rLSeUCM7W7JnZXVhUtZEt6i9AQGr4TB5V2kOs292RaOI27ZC5tOwJteMrLwed1NQW0ZZIkMSyeK5V+L1GChhTg4n3lsq8HSd8Ewtkow2Y7rXxU+znVlocP50fpXsLWUXw3ELT3zjmVbOAzJhVAdpWGBweaSQkiNo+CEt4Fx2Qfgz0hLgFivnld3Tl6SQuQVHPNWeuNuiehfYW3qDiPlMS9LnFLe/s9yaQSp/+5xvvxYVO5uN/tt8a8ht00j0NvKw/e7lHsPqQPgNw/ohr5oK0Vyl0jrgHGC5sANyTzh6Nnh85FNiLvt3UX17AOseOAY6u8toz9hTdcnKxFv08/Azgd0WgHZwb+SCpMf8RzIzXyJJ7AcWU5IGQf7FxCcjuAk8lyU2B49eaOoNuezdriKYUkYaET0A1VG6iZdVZYQDCH/Pywio2irtBVyJprYwCxEVExC4gU0rOSwWGHY7Dfh6ifc3OFqObK5Z+6sygMQHkhTP4fIqiP3VsqBJR/nblFQOADmuKJ6HMbB11v/MAPSS/WN3ycTIeqQuqytm4bMlo2ChfziJr7qHDsRnA3EDKMRvIAOXCKcORn9ybksWGRfvfua/TqaWKjkO5sF00840j8/rLRsdhes6Y4UOr0+83Zso4WRUlQXMRynlZH19/GgKj/LYKBcp4wdLYwZW4VhzRBmnr060XUSm4KD9H1CG+ZMK8qPmrAF9GP+WRNyZ6zFasocuJAf7nh14+a7h1JgSVVLV6k/F54ryUmVJcfyeeJy7czeEbLf533TwIVqM8G78TxYa/ht8iz/LnMGVtpOeGPOPUVVkxoBzCOO172FemQCX3WYOdJVmthweQepr1YIZKZbRshRmQ+MvXYJpJp2JXwV3+B8oXovDzg4hvmMsEE4npKdUlcRoZgEWSwTLsCiRGrkR3rCsqK9KNd6/B7P481Yubyx7IMCoJXY3bzkggs417Tvc6qEm9N77rL7vIfhsuD7xkTKkcwIa+NlHqO9QWUoBbZbH93b9MLKez+h85UgJrRlmvH1uwBjfQT0lQDUGh7wl9P1ifm026r0Isf6uDiAcWQPG4v3QkWo9rOIQiSV9h81TeaI9xmrmC3aEy6R4T9xVW1CXbi5+tGEWGMdgUJhXl/1WBIUhoMYXWkhn7FjfsK2g8ho0sPRME6QUaevjnT/B2CM6YjkeJwjwSDLHLWpIiPYYCehpuiQ1nCYKX1M6vqxhIazr1LFcbS493mJf5oGiI+89nNzIagwimMKSFkN9CxrAFgSYwyTXFAgcjLMi/QqiO25GxP/hYj0mbQ+1oUj5pUEh1gRiewHFUmtyKun+YhzwiRsQZDmP1Rn/aXBoPFRKut7KG6IOIo7etSb1JMs+6YPjrEvQL/g5d+FivFUBx4XZNQiJAPsF0W2Gv7mJ5Cu5cNxDQBVjDjjJL6es5xIBwaUPJDcY2oBKbda5oaNCHUWhcj//tp9dkbo7AqpQq4lBb6xLF4UKgEiIaKJn9asfu7HTEjkgytpE4zBo6GbW476+MOFOXVdsbnR8e6hCpmo5lfgro4M1gh758auPyOlvTab/4PXAYq0uNIAc5ICpKzgAskbHmqdv6v0YZ72w0740yD7WOc3MkDjkg0OLKqNr0mCSPJbBxHN5edQFwScWBCtfs+lPYsL/G2rzY5HfPIflMptdaRprjjCOpfhGtPUdv4CWlCEYeTK/N8R6BlI0//YD07POL/6pSJDhfPBsMbVDRpq+VbeXRCcNKHaFPQ14FE1FDjx/Zvac4TB/dp/yYRYmk2pC+mM29hEs5MLR1CxOQc9WBnl7wlfg4twlGd3ZyFn59qUbigPPwmWBYkYOQVVLFQ5vTUXzrhfCDENrcmcMM4v9FAFz1KVd/XLGN6EFpnTqs23S93HqaVbELlg3djazIdF6Lj4nPxeEhqlBeqogsQSfuJRxjGg7ASmBxLe4ai1JOJp2u1FHepR0cmse5Zg8dhuQPWBSNCHpwQAn+4rJ7GyVDYE2zR5lFTfZBU0WTnSLorQuUv8dc+g7AjxxBbYC3oS/WKVgFQUNkHNThk90qNOQKE7nwTU3RhYPWzvZOiSGn8FQtngAdIKqou9h8VFWbKNpL7xZGGApaK2+PL2YD5BqfX9hM771Gan76ssK+hbibtFJdADpF5J5wOfF6kM5OXtUJ+c5+h6dWCWZsOY+Y4bPpVCtj3z7hh25zQiFUebaCXFEeDYheiU02FUk4tNGy+VMWAj/V3WURgQ7i9JCbHjiAiomxLUrozlanSGeRoE0q5Ce03KyDIoP5jEF39CJ+dgiWeFXNc635dJwq8EfOi89mCxh79mT82xIEywegx/z6y2juYD1cghBLY0oABGYkHa0bGZyZkzB2mMSrBct4tTHfYhqkPoe4PZINGe5zgMU9J/6V/f0arXktFfFpYm8cfzGd8ZICi2dng0TGR84gIVOI8PQ5YxYIBp86l4NfxzGq+q7eNfACheSbRSgEU7/AK6epGLb4J+/hMILYP8x2SLlgYKHEWd9puKPI6cxBp5yFX1lDjP3MZD1s49xorZdIzIlRil4uaf6IeJhjUUuA4EyVy6DkBkHeN1n74cfk2S18eUGGHL7iaSzArmbeFS6Oh4Qg5klVg39gR/1KViWxI3ehROhP6DzVdRj4/JZQ07FSpmCBNyClSdVUcKb+TVIQIqLzMatrI0V3j/7aFf0gzV0LyaoUOAeNugXmg6fhB/SQM+RMkzOmvJPgo53RkPoxI4AYCYaTk+nRRlzuzhzTiVradPTAkSeBxVCndtEbu6Y/Rp2wCFQzgcM+aHg20ba0AJvKY2i/njxrLtddv5HpbZRtdwRhTPwNLRKgtwvRJ7LONBICwU74mxufAoaoxH6bWtP6o/IPC3klZTku1jO8HChnfxSxzuu1q//Kox/Op5e4tfPXdyCZvinGtNP34AegE2+QCld8lZo5DLPQb06jbA/nvK+r8xBtRRHmGvI0TXbXfLrqbk4Bg3bvpoJYETEefbHd0/jAL/ebc/Y9GqSCPRFGzIWXhlyTJWzhx5DcHwcAeURtkVdTet9J753Rbx/d/2oYETmAp5E41G7WoyTEJjHb56r+YWJuI9zeRzyS+RsxO/LqhcrCRyN+x0WyBQfQnehgECKBMoRBWhmSQao791RDN7p4jIoF+HsnvSuljfghKRQ4b3SaiI0IS7y0ZybodpTxcmRk8nz1l8T5Al1F2fj6el45WjkL91jGkY3yhaO4BVA2GY8eSwWsBJbd5+LZ/BDLsjG4XQp6wzVhwPATuCVC4cBc1bGNXcWAJVEiZmKrwnyLKseVdj8ymusvHyS84WrCBqY+//mkJiVYBaDUs/iabv6B1cFyspLrcnRB9+WFTjfQwgvSmpsi6AQLT8pO43v9yLaqctBvt2ohdk9Rwy0A5sv6cJjNkFfLIxl+Vxa/eBy/L0J13o5eGMewN+RkwmlBnAaFqU96cNCansSJhhIBnpeld6NayoiCJQo1+5LWnp1AviwuIUF1kYszQtIP86biUQ5grxnCHqxwLuS/UBcPZxa9wa7Ey8POgZxEm+l5Xp29mc3tVICSL9pB3ZzteagQvoAs8EF5aE4JfiGgpsjYMsaVxgpMnXCqNyuYMWQoV+uqFbkTc7aY4Z8AlArON+mN9Va6qXg71kC1QVybXKqDEAqm5ZdopBc5wuFtBUYBAWdcwm5sPk/tNUiKHmXd/6a9naP/OOdunHbsEWNK8eNzzYDMSgbeK/oo/lXbR+OaGkkavyVMrFeNWG6cJZMJXL6QsqbOVGq4RgA8qjQseNRoRzx8SpmIJB8QN/q7y0nAHa9fE9vp8WiK2kI3J4b9/KqjJa7NAQGF8LJ0fH8xn8LujHXa6YVCrfOv7iu0UPmxwU8ThBp8eu7qbPzSFZPKeq1r0pH80+/olrIMICB2CUBmMy9M+lq89q57uCejw8uki9pScz+Ao+jGO4nXMmZ5OJFKKZ3Fr5j4DGk5wKArffgT5wBIbCjF3SEC47/HUxqOuY66wWJt0YHPT6yJaO8iOVCQQIF6nZMj4/r7ufiI+093HzjnB5NJuAkLGlM1DPEdfZonIb4lF3LJbi9YLlrnjB6SuL64lw2e7nWZv1YoQ3RB387sJfeHOq4bZskTpUUx01VVqkREUbkTxUzsxObAoVMAckrssX060r89oeJVMvJXwPoft0R2SeMTMSXSDCbOIKop08LbPJ8rbgs+ifhGIpnjnCKrJV+VTbc1Nll2HHg5nr0CqosDhxH9quXTnovxQ3z9UCswkLJDLs7usUTdArRaXg51gFvktZbylCsTm4D3Iw8Zk1H9+u0zfOXuerNx03rz1JwY1HWOgQSMpJaY5SI1u9UNXShyILzKtTGqaBpNYNyjI3FfYdwrPxeDkufiL/Z5Cc0TmQUJnkafKI5r/jjYo1xTFv3ZuUuiTSgIFNm0Hydti5ZpPS8NWBH+tEnnkp1BcAMhCKZuM06GW/BuOMTDfeitil9gqbsN/KyIkdwFe4+kKUrdlV5dVKZdtqquiRSDeVNgXekbB3y9sL0kGOrJCFY6llQ37ql5SaQWuvBnDVUTef3G+zxOzVfP+PVEFglMwX8/mVa16uMDuXLZJClGvKMn09VBOawjZ+s5+1ULTGnfTyZ0srlcsEReeXmmnDEJuaBTrDm/YrT2hsStykL7veWYb1TuyjHlDUkc9NNiX+dygIDAWi4WoN85oiSE2kcriB7c71Oh2m3SkZjYPKzhG8Yd9v/h62oVU14Af9tmlS85r8YW2zDquZBYAli0NLU5Bgd5NpgrLQiRAk6kVaHXszzgfFIkuJCvrd7Imic2y8tt6k3RAsvbatueI7fnobYppnH0baZM/sINtYksWKX+JuhxIfa7GExBfV8tIiT7DBzFn72j47xxDeYaikISPDAPuYUCrijbRSPTMvCuiuwvCbV+sK8aCzz6kQXLqPREGoJzDNnx+mFkFsxPSpoJjfDf8Boj4Db0N1O/vO0iTFA7cGrzQnf0t8p+NVWwiJA2Fhxt5D0xKuAfPJ0G09wDXOBldC2Tn4yUBLgs5eTgP8wFLMD2gyNNxdf0aUT829B20Ka6q6Y8aDrY7gcU+S92hIJ28YdG49/sBReGdJJXFcBZ4TAuzsUXbQF1oySIPnoa2pvNy6mokFxrq5NZSa0ubO0ADdO/AA0UBd4HV7mYldgtpCxg2jxVK96Gv0aQTtSb8vVaJDO81IXfUCyJwhZD2evGXjUJqSUlGwjW89T6yG+H1rfqa3m5bDbVhHRmlTUxHOr4/5rw17xT3Kz8xSw1pN7EfuMPnkggps3n7DnAc6GETloArZIV36YTPk3uSI4/QlwYeKOjo22dHGy8Aq8PXMYHgOPT+JEJN04OOJKbEohL210TyuPyMJ3zIJ2JmRgI7Oz5qI6Wtcyfm1Ovp3+2I4RczTXQeDlgLiPVt3OjEqI4AB0f4ftwL+kzeeTihaCtnRQ8W6yR4l7EFnHVzyQla1hkcwOW/1mmytbMacUo/I6fe/wzvfc29h6zP17AJyC1X3zvzCpmMpfKGwhGlxNii3S34XFM4CYA8r4ciQ5D6lILcCN+mi7PuAAGGMC7z9ZgYPKKzH0Tk/xwY7Cnf1Z/gill6GfHoRfiqTb4sTK54VommeAuroR7OjfH7tARNIaTIvM9Kv7yvB9BxNJvzWANbo4AlZfQJ3RgdM2MEkZ8Ens9jVPcLCldQHK/MtMA+I/UGVBpMHyrqyv4th7bFpR8+GuvfUCE8SAjkYEO2rkde/lQGkOQJ1paezJFniI2SuWuSGBuyAyuQz+d5coA4/ew66OCD5ds2KMbsjm9gCSWPCUDfi21fmF0C43i7Gmd4fZsO7YJVKMtjo/G/oDQO96aLwQIqwtH+b+prJfCQ13N/W0206Mii3ud1/OTUg+0KFonJu3s03jsEZjXCvPtsx9Ukm7s6wZuWBcWFNDIWilQfYTE3MOCWc3rCkiwfDw/Orb6ACdfrf4wuoFKHOI3WWRa45pFvPZ8vVZWVFWACin4GZEZvOHKBvbr6B/q78BY51FNPIanZ8hMEPF9A//XSfICZqQLfWtnKKLvzxl/0jkMkKMK+RRx2RTaLBN6qHpHdsx9fBrjxjR6a/gpyWamisOaVTGfs6nxqxa9dwl8XYp2TF9fAOGfhrTH+RgPCx78AOHFQFW1jKpR9d9eqpnVviIjhVnUdPaF8jYHO4qiAtNiuXiYF3PUxsdohQTCDWXbMh2AGd4B3/nlkGt8XcqrEasTgQX1P0MMTK/G3oA+PVA+BTFcastZeUNV/Ob1BJgstozps7fwlTq2I0V5UeETsnGMFLjl+iiJq+0HGWaMadKKn5YJ8nr6wVYP3T9jMwQaMHbYkIx5nhNj6rWx8UtMViYqeqt1Rhq1NhSa7SdjGIvZBvOsF48YZaokJ+DBWddsZtK+qJCEQUISIDG25yCXaNQAHYXsSqKbxwwhNGVIbQLjy+Az8fk5k48gLmzzuVVrTMqB8lbt7puh9jHtNoF5MbyZBIcMhWlsMeIs8FWIQaWnR7tWtmHx/aGfxlbmal8xilWLX8lWT8W3XtVzCeqq4QAzTG20Qi6X6nQa1h77e5018pUSCG5LBfnTgPBhV9IfzTAXDSQW+mH8uykkPIqyuhDfFlFAYbGWus+kHcuYzK6iWgJk52lmTDua6nnf/CtzMj3DHKYsp8fKr2tIXLv0aJo+m8DQ85hgHzfFFZSYeE8Jq+osAtexEKrBcd+svecZyRtKA5a13HYI9CwuupYPkDuC96t0Y2ctaE01ViLiGFc+AAftH/k7No/8TqFbBlodsR0HNCG2pkUAEmlq5Orzkhv4W5ksBympR46LoYjO6sCQA4RH1z/L7M7ixZu1S9/JK8lfLTT++F2rs2oF6S2/nG7BGehbR7Q7/tiEwnXNEBME5afBQtJfZ6bk7FMtXX3jyPOOfYHeAQuEwS5nnt4TxOCnQ1q/RSpfO/sYCfaIvVq1FntIB2eM4BladDKejpKb15/DIBtnYyu8bnFDxAjL8QecVrvrTEJ91sPTZ3Ee7RygHobqTEgEm1X7HrQJ+giifmz15BieQ+oyqG2//S5xTWMZkheUySyrPoCRtkK1e05HO33ZidUi7CavSoBOyYts+m+j3zOtZ0mw7axnkjXBGoKXs4gLrqhD9q2VnpfB4cDW1GDmyfY9JOsXzjk850XFySoZTvrDTbIy5oeLxdTwtVT0pTo8dbU8VSnTvONdV9sM5QmWdBizZ6StkqDm2tjveC2ECzcEWvHHsekdRS4HG2ZN9xCSTxX9TJhfe/G8S3NbHPhk3wJbf5JJjqw6HJQojodS/WZLxiLgDLVAcKOVNoHFdZke1KqZjOjXT+ax/e4CPucN85wpAEt0LFzPsjTIexFN1y3Un6I4cJCzEELtvTTUPEVRCO5XFTMQENx860eNDGiGMlSNd+jutL9a3WRpKkvYHzGG4v3hdD7Li2gUGTPeVREuwXNaoI0hQVpchv1iIRV+RZ9DdOhW9+SBKY6rDGBwYy1d8L8ICcs4n+5Owlf3KZwBekUDupt4YGyR2ZxmG/Ch4ijcq1JSSflRjUpHeNJl+FiRuwXI3KqkZtCmwF35AIUxQFhL1QwvJtK1hf6lZcI99+OKrVx39saiTEyTxZRcFF2OJgX4rNcLTdJLsp8JwXkQZHBgklcO44Mnhm/HXxVhvqHNUVRMHnG7agrJ8RGTvzZQSYBmDq5PV3WPkul7jV2RVWG95u8Lofg0RMCXBrKORTkeaj0hLX6pqSwg9sLSy6oJK2+41N+W4jsENX4xW491034Go1yJJruj6Crd9hOas+8pHd8c0cPV4+NcvxNnDxEBgZcGqwPmbfW5GPPKGXyW74DydTSI+mKJqqfu0RFKJfmUAlAAzYxRtlvv1Dj5fJtFDuGYNZHZ2wzL08RkAxeA8Axl2ZerhzJ8Qd/7iFbpK/odf5nCkzDe6sqWeyPXidP/giGjCFUl600C7UYFNRTBLZqYAv8KCWvKva7IyDP/AcaVvRXDth4brbSls9o9omuof+MhDbZ898YbNywEym3PTjNXP9kJDRdNeKM6iwpgNtZwNuebwhWYGDpljxyKaa7xTyXz/U7ickRhof4sGX+P5UCSCK7FT6ygoZcAXRlyJBq2XTkzY8aC75pCRxC19Kdlzu3GWCl1QQNecJUGdUp++wfZcC+a6riz0oseeku6RcOD7cI44iE0Fx9QtO6Q4E+2Q0bpBqnMkJGQAoToJl+ttfzCOvhasECCSz16UzFnWXU36eEh9Kd7RLTqWDpK8BeYIAQP1KWwOmHCB08fhJHAnbw4f1naGorOzGi4BT8y7/ZC/87ZqR9hCndFnG44ymtj9oUNucTcUBhgVPXIbfqwlbV6RK4SXsytTXKq183i34teBtnciZ7EDJ/rd5qJ1nZpoXxVqdq7LWq7Xs8WwqY3AOu4FuJXU8YsHadOtKeekTEfE2W4eCZDiQdbDUQ1Wp0NVTaH9izluvomLz9ZaybfZY68YO1qSHmfDH2ZWCNIdslDxmaomkUj4EYYTBRcy/5Kq8TwI9nIzp0etXITeEPDIkRXMQkr+QSX18jCQ66jvyLvKgPSjAC+yB6C3o3Re3uya17yOsvou4hzyTaZSF/pHmmMB83FcdWTDV38mo2g8wuBl13QwrYO35jDS6OJIVL9iUboEIIbQjHh9o2HvVr6LqRKp5XnfP2Zfh7y3u8PM4Smtgxj0E24kSVdErMpdAq//GSK0JhN2+v1Rme35bYd3b3HVP7hXVRLxUpz8y1Jm3RV0WIPlF6RHAhBsckpZlEv0s2p2DEzPkqKuOBLmcVEGYL3KEnsR6Tmirt55AfYyXRT/VcVW1iYAbLfwif5kbFIgMVOar7wUvjU/MR5U0qrV1vaj494SYQ3l7tAreKuoRc6J1khmMmOfV/TVd1/b52ePgU9iFntYPJ2TGWgor8h46SnZPO4rWpoS6q7SPfZMMBmVC0MAaVvhIIDjmpfDe+mXew6dJ5duH2QW+TxzvTvbAIJdctTea2ZPHbRxOFyF5WA/zt3WpQ2aRuJZRoHuoqFLuPHiJCinPQ2PZ7jTjpjOL/h6o9hmSKs2/ciqohCTsPXYt6qwDmP1Yp8wBmJRJ6jOgyEGywTnN9xOpVDx5t7bWED0+IPgXagFF4ukRsvdjWS26pA7iDOZFCruAWkusHV8vGwhw+PVmU/i6SMXM9CfvHs9ml+zCCa+BH3KqnT+BGL5bSlq+2sthgihcj4ysTo3vPTb7qAEd2mMke2FeO5P8lAIWrjgMmQoSiMxqa7Mv5658EWwF91R91BolbjFDPgc5nmQkNzS1C8YNTtVhnGoXjowbukglwyJlkNN/30/0vyxvhwbMbK4jHvHzGq2/ruGtI7sbr0oYTGRXbNa5WYpB44++i7KqkxShHYId4naqAK0fYxZvqZsE4zEbOxZDUenJf9z70fLl9jRdvh1JzrOPEG80UYpTiU8wqAQKT9of6iHYgZa5mbROF/sau1f5CsHO0GOnvDiDUfXxyZEQRKdFHlRMzxnbEsnfz9wP+n141H36xII9tgCDGbsqiBCLahc99WgUBe7Cp2SFl6PS7TbEH+DUJ0KHF2H/yH91m03XDfZU5tTCozn3V5wBpj4/8WIwhedqEn0Q5whTcZKlrdvxV/Vhqe6vTy7ROzp0OZoOdVk2Nvlo085wTI1UMURuQIriMiP0B9C0EWpJmBX2Ab6KRpnF1QZRK9JCrBfoMH5HA+T3nA2/g12Uml2ryKj5p5BKdNBG/znUuK1KxYWbXluNxpR6weyXI2bXdaZbmUx0tC4RaguvgJyDroIs85DebPlDJ/dsZmAedcmDvdDuu+YwBcgdmGvhAuHcB4AXBXtpuS2yqjDW2zI9uuBm7rCUYyoPuDG1/vnr5qrq+RrPoMVc8igyjT1sxcvGYOqwho30p+KEAw9fHay5h9JWaH/t+R67VX5TawZ8DGUW2/QgyZUo6Oh17Dyzs22BwW1Cvs6SPiOr0t+CJt16/QMb0auGILzpTU0pCZBUH4oVwuWugC+AqNrANkbL5+/RtN4z95hmHfSkEK4R3louGYrHVgXNRhqnmS/rZ2YnUg+pqpiyXF5Sf+MWRjcSd+6dn0zcuE5/QHPeDjaP+EE4toOqF2cb8zut3JxTXnQFcgh/lGeSCg02sTPmlIerCNR4XttsMtVYNuZ1nho00KZXPSDUbR2kV0SFqPvON2CHPrlRmWrZxo0sJgJjmqcttZRKE2yai8M12AkeGHC6uObeyJxYQVtdr/YCmhuYkm1w+1y6kCOWN5hT4mI3aZDTnkWrHTQ2HOjixgMsfRiY8weRjnTj/ZMJYPrRHyBRpinoM28WwIqLYHnX0KwCIKz1jQTu9JyGssNvSwKglq7RDnnLX4JHzLV88co/DOpZUAewB/scdpomiTKg42lvLiSsy5JLkOHw+ZgANL/Knr/e7cDLKSlJPSWovInLL0m+joIvI7hn/FpLLo64jaFtgVEjDXssAsil5JhueKHdioqpPSOf0Lo5wP/o6Tcm+IKmKvDrJzcx+c4NxijSW5szDb77q4isFjZhfQ3MdQ7QTBltq+uvwAXM8uG61aaQH6UYAXLI2U2Ktl0qQvFAW4x6Hy9EdtOJvc6odFViWm8bVrokc5P+7ZLtg5T9WSA70I7N0zdIUjeNPLqv5qmp5V/FrOYZOeNAGXdPY2f0pPL5LliJLNoxsOgMMhZ1YEY28Va4IzLfEk9qxzoLLyzRef0fMWkc+y+o9GaTLvDBHSVWZJdKSjeY08b24z9xAjzUh1SBGx95RBEW0wSd8oPX5PIBeJVYfpgx9zoYZ5mi8DP9C5XCnvM5/ChFw2gJ8AqztZtFRjj04C2AWfvsSII2Z4GQHRrWCYFPB6/4Jl38+T8gXVvbA40nLhfrCNzd2SNVz5JIRVvqaWJWE/1u3rUmfnKS8O9naGB7ogMXNbVxezRME9+B8zFfpdNy67ScjlrUgzCaaUdpvbFKr9eQCCahgEKghEdugY7AVJwi3cIr+qYOKmj1jhcg/cyqqu6a17Thko9cpkdBGJHXCQF15qF53e3LWXy7LU5K7Lftoexd1/nEK8XlHi1FccqEE9rCUntmX4fJWG5gYwE4JsY8gfsxZoiU4PfV0gK4PXTCEEXbzB7826ICVYrn8TD2SDihZJulhUMp8+ax/AdLfTEl+Dc6sgvAlmM3ACleHDFKKzHd6ENjH3GMQq9/X9PeZVBA8gkPkPD+D6nnzMq8kloUHpKG5VIEm1OdCDKWE/f8D+E2ihG9nt71iofarUHF/TEmgRfnDvayPRHDgfauBZSR4CV8RqX6Q74ClvKCO5i1sVMtOJJS/ZBDyYOQ3+yjG8G/TVLY9gsWbCShGkpLufk56Xopl8pEj0n4dLMvf2A3R+LN8KEjwnTdmNG4ESqcFZpmWTLsmVjLK/n2irID05XL0Cpb40vPjEXOrNQmRiXxzb2AHdJS9EjsbicX5YaPQJeIVNwrf5AYPXMWrujB951SJiwrCZPCE6YACMqSscoMxu5e1LfjqHe5auK7ajAvpcob0QoMtRiwA3tQ9K+uzJC4ROOHuCKk3EFe4nj3p5PkTb0iQF+l4Cn0kSlL4Lj2Ab4TGiXAW3Zyckm8FRWcXpWvp/mhBWFgO5ixZkbiBJQ4KmCkCLMlkIV+LMUZ1PZD61TDFrYHYjMoTkoR8B7dmiHSbwlnbHhX4z7ch/T5Th3vKPchmBapOHQSnKBAZGEpd3ds7siVR2YEJrSPTNUL6MUTB0tyZDnXujozmyqpjCmyKwZE+B0vGmFgET/4xf4VFnt0BgUGjyMxCi74Nngs/LoNo7QVf1wb68zFfUanQ9HMF7gvWtbq1bX/68rhx8nHQPL53wonpdjbhx88+2u12TektJWWAX70N25rxS/2T8kShVHm1bNlCJKFgPZOeprPsr07jfrTojh1REcKmKUx9KlpdRfsrEvVITNGMNoTf4UIdVuy+8n9L1tBlG0aSw9cAhkUyqMfHcAeSGahZwN7k6N1zm2slrjwDFdHWkdgGhzMK99zkXmAcudGOCrQjcjQC6ekOL10TTPz1QOjqier5vW3ZSfnSoIQtPHhP8lm2wouYdQiJXfOQKvtNV9LooyPduloWLtHv/v7biikPSyvXSWEUzTq3DAOs3bkajSvvKGmT2TQwJMdjFNQluSnjC+Y/pj7xsmO0SdgZ1OXFgl5M9iY3XLAVb4oeCoAPL7JQSBdwB58r8i+i0VGZHiwELhn1GiW+MTNKfTU5rCtBqtEl3yN13AdKVH4hgkCYXWFaIoLCmiJRKCeCLEyLXo8+oHxm2RY9TydJg3qrDBkJ2MZW3h2trAvSdHQe2hqmT+UnSpZtaSj/9bF3F5knk9OJeEUz7P6l6KpygYx2kz1Zm3ODBrA40VlyqyqxCwxk+DWT6o7G+ta97npbwBsheDWJMs5998SZUdP6/IqhuVF4GG8ins4GhYM2XaskEL6XLSo9HBDv1KZNLJfpov/v/p5FD4yqlqB5kVNYGxKLBULUimhkoplpPt7jMna5NaKhkBT/msCUg2UqMcG4t9OogtXbR8VH9AD6/J7U0UzE9mgkpIWTiqAdnzQXajHkZlwJZyakS7Rkw2SCsW37H9/qDzsMGRYIyWIoRRO2QvSmI2Xtpx5qpG7gG0STAnAdQx7xWBUyZ7X6SbobtQMc7C7P0putoBC49DMR+qf4ZC33Hd/Ug5qEKPH8DKjKB6lRkqlWGYhFcRwvW0jdoR7uf0mQS5SvCg6oh3gfujEAzaKcpS25M5iw60WcpIfCIN7Kt7OkgmoSHWBt6t3HFdPVtbH4WXPzo80UGC4ld/H+AxD4h9aabSfZDkOArOfLSGb8YH31of0NZ6rOWZPiavRL0AqqeXZo4xwfYWXwTWwmSWcdyswpqMKSdarJ6xZ04/nxJF10EqOXfGH+OPxorgANpStVKMhoGW6BLIkJlGvdudgZ7fjtJBJSTbXX7XrMnAOrf0pewplYuVr44kAotIe6dtg2+vf09GzCKcLFQTGeAEdBXpNtLMX44N26PgZDhEu+IBY+Cg0DH+9/qbEwdkoH4lLY7wXpMReScC3AK/oM0AkU8+Y18BKkhSr/uS5jNKX5b/2ChrRsQ07pvk4v9qUDuN2/GnQlR/6pYdEkpXjnaAT51+OBPIAX1bQVqiFM4FACiyx+OVwcoc9RE66KDcq+KlNM81Eu/HBe+Jc20M3QVo37Zf2OTfUbBcqBUwPGMdbxdr6RYUQIw81/d88b3EPGJ6z1DbTnK5X2hSSwUElcnq4jhXMKBQWb8s5UKURmgf8bawIku+wEQiN82tl2yulXIkpVxhF01blia27r8+2pi9UL8xpLNbhudgKAWE6d5t7tAxXQi7byym3Wk6Xc1rEvo2B6lmkPZD8C5R/CQlBalULLtLh4REPRgGGUIvwTu+E4+wzVPBJLyEDho5KpCTqoBeip2XIBoJFXRYq8Te/6m9Bt1zGuR2++lbhAVXAa738HyTPZmPmYZ1lV8BeWBjNyQKbBoJPn9wWGw5Hd4vmiz15LiemwGDb0UQVA9OFKS2XXl86bQ+QwrLrIzN8HNWb1ehjNFPEvflCPXT/PgVTCDVvUIFJoYEN7mia1j2X66XEBy05cr4VVEdWCFRYHxNHfGFJcg4CbOBWXnrn3TNf5kUVrYpwnMVI9bM2IynaEMofWag3RjC0d/hKvU4aaWv2lnOpYXPk4Pfc0Jbcm/hYwY2qsp+lFEve2BB4ar8T+alS3kDq9gvt5QK3lpozRV9X1keOEyE8VaPBeGsPUSJ7l2WwrQqltwMVo+ZStcT0VvC/goWOpfh/s1U/GTpUIqn/NXcOnFCzndJ43d6g2uXn+2OORKJFXqkmNRL3eEsVDHSMn+UCqkUbA4FJkoNrqw5AnwdCQAa41U67zAPJXgbeIctKEU6m1lB0LmnKyvX/SbgFg7WnTIDXBE8V8nfDSx9bbm3500VcEVRbO3nReLdOe6TXh+2Fs1GyV2LHgGQmOHj6VKXtQQ1daIaJTIz3kjtuLWLR+JEW2RB7giOr473yjQtTkRd3PzsxVuzDCAu2kDcsmKgy/qW4Dac/tFeiYdSzcHDnLLaZ5ESJ/ETY3gFD+da/nufD7gml4M8Mt50eblGCS6J2lboHfciCepy/KXqHolDMJj6yx+RZVoJh/jVxHcoBEKSdHwJVNL8UDzWTs62JQ7UsIIOrHF3Imni/eiqxHtN1SFacVAV+0GmpEZlDE9iWNlAOxH/Qt9Bh6WFiGrDOU6UGNB/chC8qJBksYUvfbKn1p054a0OLyYCPck+zW/BSzrUVEiMOaqNyxtSnAjPjJ75k58HfQXlJ27qPogP1EG3XEu8eHzciZr6o1S/v0brfwHJkqlLEwcc6EcQe5njzIHKaGHOeSWHqiRG1zvhRX3s6ehrS43bqgv88yL2tMh7Ym/iu1qooOaU7+LtqADtrvwc2aweiyS7+rnl5F6gmSFBhcbqyI6thNp1NJCRn+Yq8QFrUhpzX6Ypo+PjmDsfKMMbroNjZrRDJd1ZsPdla0MJHNSuNbITOgHkjmx05KWZXtcAgGwP2IcyXB2pTjy9dvGdkq2Qhf8DqXsWA9ceduXAalGf7ScqXYACYEXAWw61Yvwsq+/HhBoSeAx5VYj9pFuAGFItjGgZq0Vy0dckYk/Q3FVhIJlhSjU47LIA2xkAYg7D2+CB4eJ7MJeIKHNx1C2o7Ycl1JKECamCAApJoKYXjl3gXOASitMuiHP5FdTwUsvuK0UdLpqMloRI/qCI6VtcytW7oQ3L4sV4J/0EufZP0xaPF4i6sNQ7pSWvjk0xtqkehxzsL1ArIbYY+8uzrn8j0JKutgk89mesFWqDh2dhlg0WIBdhF43FtyCcAsi3kOi2nqbzmdRd1MEc4SqLYUpMvpaEuZgNTrTji7lNXsJcgyjc3H6A/sYnQluNl5t81Ky3y9KrhDor8y14LjkS4c+8enFq8UiaXn0LagkC4Fj9D2KbmAu0c//e2rECcfboAyElvEghXKct9EY/FAtYz43USxELtC7i6/NwjQFodDF8pcbyKP6GjctmMHd2TltfJZBHOnXSvHUfJXOGzWX0h6vHzfHQfQbJWDlEE46xhOjo5RF3mfIMdvNj+h7/ofKa8LBEQ+eB6SLes8KvR+wj7N/Xj+GfDDU+OzHqzWSvLrtlBQ5qAOTvNwqQZRsRP+S5s4BRl+YNYomM9v85J0nba+8TRoe2Z4uFL1SVJy2zju6TbULM7SB6Y+d57V6jUfeph7X5K5MFlnQX0VsZrvKGz6+hCOjax8LFbwPgXL8FDAAT+KIUxTcKUzYNNxt0uk5au/3NqiDekEkoFY4KJ5maTTjdaef175YUPcVUbQrt6okfWVAGDy89U46bmJ8gEiuyYrqhLR+/RYQu/P0gMBeCpvYIpWmiTMgHSRUfb7D+YvqxE8VpZkkD6K5ljN/1TYxymeHlk0yrH1NpPbF3dprnHSZjK3Ug9p2VlANnaLpfE0fFi1MPfiZXLhwt2ilqr3/fsY8qWqyf/V1qJKGnLMgBd7mTRSqhDLGJd2EXynpUOtGmeHfZ1b+YjUx5o5OGQeDsHj/KAZN+XRF0rgnmnCZmFrMxES20lEtZvK9Pk2VuQMKRAY76b3TxF7caK14VV7fQyU73AQtHEVpiw+LuKLxrctcV0L80J4QptI8ViQoyVyh9oxfMWj5ryPcqNcV6Ns7iNnScMLYHbaZMPKn/HaqaQVHPK1Lf/URsrPbU4TuLaTdFPhpuD2b481zS2jFx8KdMykeXGqCfuenbnb1j7qBOE+n9CPjEfJH7sJegTH699ijVvxLFP8wnRBONeJ/MWEwszcaQq5ViLoVFMQQQafZdE+6cjBfiL4+pPdM3R+sAM+uXrtkRpSA8FaO6M06KwiYPAR32ML0V17FruqqC6wwMoluXPPxwwLvhNJ+GOScffiQy5rliAIK+x5m7Ada80mlP2BEqPPiaHq3wTOag7Q4/24k64g2lsGXR2BV/FHAiVUXzdiT5h0/zwhReLflGL8S6uP2ajlaN3dfYwKzMTUogHpThyuxnXR4+croY5om+vHf9/iLD+evf6SwcPi6zSe9Wde2VghR1dLuml5mob/nMLUaS9FYDuXATMfrtr4pUievl1JVPb3GRRpS/Ea5dgQNv21N6qS9xX9hqdCYTV2OfxuuWSI5hUIubln2vsT2ThPmceU5otMxTFIABscgvx4YpkL2hIDRcw6iYz2BWEUhI49Q5ltits0lQjDDAAuU9tG4pz6DBm7AO+tOQuUkC+YOJ5q55IE6P8OwpBqPFZ8351Vk6rGeC1BKSUITTF6d0H9VOBp6n0ZfR/Okq6RG94nJuCCvxcK7uTAoVKdhYMLmpcfaPhDUBaYJuVDuGMOIcSj788GktnM0B3epfSgEelyXY7y4xTMitxmKmp8D/uNRvJNkrs2+Q2njUUN93bvONvOTVkPeggSAgV0Fy0hb+r9GYS6cMh9yMQskCp2WKtrcl8A8K2RykLG3+/QAL3RC8HZCyASoIuOIGUAgyNQoy65DicF1eLl4Yqqp93k7dOrdoY19E0a2PSqJQED8AjpZCtNFLsIzb4GGwyJVeBWZFlQixd0oASBNBU5mYsZ5irtBnxJ2rqzW/fq2WYiEdrBfSlpKRK4eoskLJNY3G/jctbcACH4bGscPcobrLyZi5CaxQpT6i2+uBpQOQ2jlzBgncpa1VUovZUBWSiUDajrWtRXpe4HknJZ8Fd/m27NgRbg5VwQ2Mf+hDnAUoCZ0uOUNWL5uuXNoTOxXCtR3umVWe7ZBtILPdiokWT3Yb7SwO8S6m7hfL8MlMqvcOsA+/iPsXYrvlkfQKmyfdvz/T5RfckLjz4pi1qbrsZ0AyXyp8L2RfYjWsph85oLdtilbr/uurdstOu888LEROxkKCSgtajCdIJE4aUcJLNptBeeHwzUnhNtQ0iuwcIb/XIjipL6/Leg6CJex4UqIAskLtNURvxDstZpaOuY7R8QLAGomH1vUiE7NiY/0N3cBRAJrY6/aURhuJQVkBC7Sb4bDBNAhtSOjjJ36I0w2QexYU8l7IwwQyIO23tFoY8qKC2xdzJzB+jaG/NMSGTl6XWfJNInOQNL/rdXkL6LeyjKsaqs+A7jNZjx26AjI7S7RNXsBO01gRqMHCnVM1+dUPgZJqryGUnplgc1Wof040ym8JhAPCkM8OuPaXmYteXuGjrlAcsBFLQIgEZXUDDgF8QOw3wI8Y5+qbTBOKtM9dxK11chEX7YBTMPQwBjVHC3srX+YJkdxqy6ftK5xAEiBED9KXy28XrsXP7ZRDSlDpmxijWBfOkh6reuVQBtcTDPQOXFe2CBcm3RvCmc8O5aYD+S9qNM0xpRiWvP9PWbT+68iDqE5JxU2HI5Mrshixztwz4An0TMuIdMAnnlbfj6bWox4F+L8ZopKaHnWhVZKfqrRgRAR18HeydfyO0Zy+7+HE3Tsl8XMCA4XPxX3KrJlE1xeVH4iDX+4vOAEvGiRQtuCPYODJigQwaHpWVByuRos5m5xK380TZax3gbA5+fkbXqMXoBcQOw8irVmvvm3b9IkG0rFEKQVaazotjd1Jh0PV2CgNP5Dohh3YesVkU/3gf8qyZhblwVOP3AHWzAB3+KMpIvsEHW8B/4rldiQPdtVB7TVftgq1AD1xfNf5V2LVBPpbX++MSqSV7OPpY5LMWUnmPekEZmb3s0UVvQxYrlK+A4oU6qSSW9KR11+xuUPb5W7m09TUC8R1oEo2cmjJ08xgp/FSTqM7VLz3ug8Ka5ra3rfOLbNCrGjj23YczyoNyr+z3Nm4Z3oUGeUz7cqtoevtl0vQ00DGTabJ+dME2n9zHzB1XzuMfykRYkRkHNjuOxOSFzmh4ePzz7p36kruPVtGtkG163iM/HFMMXKAonCnWYUKbdp6pLe1/EtWBRz+IUzaGRRsht8TeFoZYIZylm6oLoNOt8nVuDI/M5V27wrTsIDvrQsexoj+v14b4wRAnoPf1HsqWH+5BUgLAWf6brkaZmR0uDboEOQvq61aE7QytDsLVo+x961dQg9VTUzatG58ipgQ+s35oiInnMBg3xolfZ+rDKRQThjTqQZXEzuO5JsGaUb3U26qMqRm6qeGo7m46n4+0a+pKBlyP6nYhp0W0zauPKDOtv5hXPEOMj9tOtRtugk0wdCn9chyF6XlHkJ3rqwV0L5lqdwcaQv6inuecy11K+HFtjvhuoOIX/CKbo6slApE6mCcp+F0VrYoWZZD+OHz7gnTVQ//cLUdVeeHHg67Pb9Trjn1yfZq4Rw+/lVPBvZZcesdTgBHJ0ORA+cleQqXS0w5ifjVHf8MXbGIhq29OxyUlX5w602lIxj8R353zcCigeTh2WkNdqe5KFRs2n5G5hinbp/cFlM7sSv44PlxGk4k+WcwVEWqradEj0jEJghput/VTOd24fYmyPDkCdTUDO0Efj/WmCg6S0vj8yTH5A6WxdwwqkaOnlUBgOwRW6+eP6npYouZyk7oMGCTEY6s1B5aUjq3BONHkV4WxewOS15t8keb6lV4oy/GtT02tbGkuEcxOWpqKW6yRsmC2wNku6mARb0nMCjeH68U6z82UuK+Jz5gGb0NfsGr+6edBL51JlMV8sTELPbz9RaS8lCGI4nre9YIDsK8wonOETpBP6TDf5Z2ltennXyPDYHJp7TsiZYRKwlEm44BmAfK44fGESmcLA5hz0r2qCwlbGWK6Eio0GxoKYjvNB02LEv4V2ULdLA0gDa4Hbg3+igzHdnc9rt0ZtEJB+07OeroJQT2kOEiYN26B33IyMagmRO2MLe0BdcmyShg7I6dvGq/R0DinRyhtux81rL6bHnk5+Ojd2BiMJZcFdD+agRI7oD+emtjhCWK9KFGPfcmUYOCi2dCUNE/rkA3UEU1x0CCY81V0PutEneLWGdf9btgjBYzxM432wq35XQYzkrWLtaRKJkEsz6uUFcbmCPiRklkHEouDzX1KSvAB+43s9DPVE6qjD6k1G3pCsTg1JNXSr5iqiRTGrg6Qv2RhaOVQK3+LRa5OnP9f+9G5rIskUk/COItx2Mg6UcN8r1nb7JRxqXBBLTJ9iskpTkoVKyUbM977paatCeqSk6Vfw/CLwSN91uZ8Z9hFCf12oqYR9YByrFImpzmaVDqG9LrJtjBe+nbULGAXYlyjRt/r6hqoc+v/UT+XVOq6bHFz1kd3vh3LBEqXEwDWxmOhLVKQk/UrNTiytCCFu032WxqDMn8CsZ62bjsnEz8O6yHDcI39YsyKYeeCh8lAdNJrp8BBRG4KxcZdiwai101OucqH2VfynG66reW/4Ji5YUyOr//qo/YoGzSQSuGAk0cziTrGSdBYh37XBQI3Z8F/woIh2Ak2LLd/TbOzg8IvL92dy0XHxC9n40Ykv/tKd/aTpptKsdyzperWgLTal3NrZKw+ih20LiWTg+XQuXRaXxmC4Ji23M4Dql+kcujCfn5UPBeLq1hDotZlfMrb6PTQ1UqY5cuSRHwsqxQTJeOmifkT569yF0xfMkLg1cGmnX1c6tBOdbuI882Sx9hrid2gzfkOwB/aH5CfNLwdnwF99kJrmRW/H/laxqWwc2xAQWfohCOs5cGV2vu2smCFTPFZ4KnuEI8vbm5Jfk8Jx8yKPUSj8FO9IT5nxqcyy/bSfEwwKcnCW9tfD5XUWdt9upIau70p5PFmvqQoNHdi6HuifD2I7M/njsXCtdMFdS3TxseuBDDW9CdsPlfVkdH58Mw6tSEGW2a0rPhqtUtLrPFaAwPpjgaE0EnZxSvAyWD7ufXEOKFFGbcz4ovTsCL7UPFSagKDrqQ4Af/RVTt/cy2OiGsp6W+dk5rUBAruIWVbo99hQPNmW7IAzpmi2LkCitw4x+J9HkrRecsh0cyXQdbeO9yjAb1fLjm22jTz5O5dwl8Xkhq9BUjBnuYavahoZ/529NlGTPaZ6OtaDxrNnrJEGwYeMx+ko5D5zdFosTAZQjcRvSm7aDxw3hugqj2u/qfQr+oGHhYVQXwK/99UnQ0aARt/kFbXQQIy11mo1djC+8cAhfXjfSQbu/qRWzEW0xI7VneFDnwXdhcaBrbKTyBUrPLLjEPm2iMJ8/cHAGbO5+7RS3P5FDBDx1jwHBxKlql6uZn8yPfjEEhrPiWw4HhIWZYaQQN//i16R1k4i1HmNsrmc8mepDNttTx+CAalsstrQhZa+CgKmDudqq2/NT37DuYkG2MjpglAZl86ttQAToIhsEcx1tntje2o5SYLuWt+TLdVqWCedHwiHgy+f/oiuZZvhg2NKDBdBx3CAo8kCgXSq1vmHMaaRyszI+E5M6dBKt9QclX7fB+EQxApP8sdclIuf18dqhMzbSIC7AMIjoolfOnpwTb34/eOX8ZjpLjaf5+mdp4G/mYM8qoYODqYEsXv9Loz9LL55PN3xJ+DYwBFiu5Sk82W/le1DPw6ELLHEZlnV7l2+Gat85XXiWnNZ1Pn+RJ0E0oBQNcXtak/mDpytQgkxqXvPyKXJvHWSt/VDlYfv4PJbkx2z8P1SvyTUBnoc/JauwESsOnHKYEMEJVsWnk7bZWd7LOwut5EF/5gKlhOyHBHnUe6wrhkeJNtbVYtDQfcYxNDR7a/4KiIH83spEirYfZyWXqTApt2xPpVDE/AMWn6+VluxrYN0cqO1fLiFJsAAcb9b0+h6pllp69VPZCIo/f6tjt4+FgigInaTwP0VvOLGwhW+4aOi33FM0/ic41R/EYBbqY6+p6tBGfLvuIGeVziqreTFvK7fLdWdt207hVIbsz7oSeJCxPFnDSNuHNLAjFdlBUientUQOnUTx6MmU8N7gRFVu2tGJaoxDViP1CUa6dlHriqVJjLQnStnSjTR/nCtGrjkkIa58XYkxcq2xgQtsyO9XQTUkO3RRxu5j4o96AqU2ThsUrWae7FhvpMeUUUG3xxMBxWE2PHE6CtHXnzE1Bwc0EsogIRoRyeaRD1lNOvp2CBOEIbLIMUnEMavHAbosCcF55+jKGf0iB3ty53GBexb/C/zqkaFqILeP5Z5PzHSwBhWivmO89CLMI2+8TF6jb+h0qncfI/bx1awl4C1WRfPmZCNrkVg2WPvY3o2ZR975EcccE5XA8ONUsv+O2yF3rDLSkBKdy9gCZiNW96rsAy9QSnzmuiDva6nCr9TsZzxbNmjgDnVGLKNP3jYm/qGLIfzjxSQ0Pbi7Mx1ZSWUMyx8tORJyMCHEQ+/o4c0ozeh4bh/V2w/gdmW7HnwFVDTJNC2nhBsNxolG+sTZnIUSmZ1NsvlE3vT8yKwfyki1knk+Rc8YWF8BiIyilno5KfBeacdy4lrsYii6MMWBn8FXnCAaMaCn6f2Yvln+7fQfVBxdBV7UO7NUNtIaxXkNlyoE6vT1+MBhHDQBbYIwfzFQPfpAw1IhO/sl3Pf3XJptz5BUEIFsLHJhy3YZwe+T7DDilXTIN7qZme9oLVeY8qHahGDT0bGEZgdoa+0IpQ7HC3iP6JjdtDpS/shda7IfWO/MeHovJVnOhqlHTOxBcRQU6ORDveAKVGrVRPnhok51Rnv8j4H+WrZt8NXp4UGcGmQ5VqRYs2azw8A78m9D+BsTY5P8JjU6Pr3Xg+yld2ucm7G0zupN2FFV0AgrYeoN1xAAJsH6pAX5Ts4SxhU7HOTQaKT30hzUGPLYboZ+MPJWPdV5KyjyQuArLPk9+JGUZa3PDDYxz+FxLUC/XrNS5CFg+uEJUrAJD9Cvs96FHQJOK6f/Wc5bXgV6K2oWUO7MFUX8Tu8emAKIPSTy89CzZlCAw4L+kQgneKRAcaBb7njKTinQNdtjSPq3STkrncRUZKtqeH0f4eDpaZ2yvU+NklUHOPp0Vu3iwD+u9eeP4fVd/ERps0pAbvNXBv0Yp1WO9woPNLZdpVPVkWUg3fh+g4dWJ11xhV4AeASrV6zuaSlj8ywBzNJW9U5FLMo4eeZxV1kO189mxJdA3msJc6eiUcXV6OPVKykENFnIENY481vSuk2svGwiLf5dMyVyXFzT2dcFzpePpY5AgbMFGtYVkjnPoIS+XWu4Hv2BRWdUUqfYgeMHrPqOFn5CjzZVmfRceFT2NHbaPc6oL/Zo44Jq2OOG5rSqofpATUK2x3xnn3kQY//AxPurRuqUTjA9m9TtlnNgEYK0VGtjr+y0D46Bmt6M36jfqN1iJjK1PDOtatO5XZJw7J1iNKaXS4/Kwlg2Jhm/ZBiUobWfil94qD/4petbk8O7/enxpJJD5FOF79h+4wrpQpAS38FLp6/yS/ikqohN+99atYz8VvNln3rU+OHyxrePp3VFQ0M4XMLuKcwLue8VxQhgl0h8gd/CpCK/FNGQX5+B2GH9/DnNx0GUsXVE401c6UfryigufbykspW9GLLn1IOprqYT77Tpqa3Ea5SFDhLU3n1Rt4AZTtLT1rpyOb/aeoRxSl/m7CtgJvqljGcbD54VCNFpeA5QhQJEoUR/dK70CKnm1QuLrS6+0mwDynk11fWTk4/WdkH9CTk1EqE1JnFIGFe9hQapjFf20BgiaUyS6Lh/MX+BNPhXHJ95i0EQL/CyPvNCUKf9sybh/vLWhv8Adv3BU1AGJLn2QTyhebUMwOCHU+RsRVBIzHrRlehrbSgqD2q/4BwYmWRRFYwFmuzapDu0AFFrjDJN4hDF1OzlIGHCL/yD/f6T0xMDnFtIR3v0E2a6vpmXY3UfpRCV0j3QflsHiP63mM2ZbxtyH0gXGGyrpcB9L/UFPzq1luCAm45Urd25EM+h0lqnGHGjWxmp9jW89UOsFmV8dvw05b+KXjOUGR2YPsHbdEyAPCGvASAVQbeV81CAEiGg4YJ/FkirBhWCoXZv/Q5uIjqajwZNFCUxiEfMNL+MJqnz08iBapydW5usN7RnCW9w4GFwSYAQhIwCKqMkLER2BgsP3NvUgc7DmrHhgDVdsmlN4zifx7VNlVdJKI2Sl3/8G1R78KdUmr0StE29uPwS5/P3/kkOwrqMLhlk59IPTzio5MhC41Wi7dqHgNXzk8nyyJoQn3+w8PUhilWahh1Zk6TaT7ELGbzr1G+U+ifWhlowKmfImTTAB6st+Zl6MBsOcH7rT0XjIS/APmsh9w/F3NYZ7gGUhunb6aLDPkUhdvAYwnxp2ltEedc2wDaWJSAjZZHppbYmGrVeZlxDX8wCeWhaiXhLsI4Opi+jSBT+/04orYZOHV3wPtkaBiIYHxWuJdk4BOgn6gZCsS25LKCgHVgP2CUWx/RyC0jOzq2zpiCgUjiNFOvnuUR0lvbKFkmuleeAdGTSunAn4a8Kg/JMJEEKNb/sg+dteHQ7Qa+UtxcXDz/Ha/4nzxO6QrlVxNWNxNutFZAhF37GQ3z+Asm0u1waBQ6/QGXEfbpCGzwoityRyQUBqwKc+36wAB8gw5DeKU4z59xCCU2PAYm5uyyKwP8vkerttCZK1OKKjsqoLiHH7kDwrmHbQw3Pq3eUhz66TbPDz5taU3dHc6BItpa+LvaiFcHew8M+IAQD0r0olKDACj4Drs0S76EIAqEUgct4Mkbd/lC5xN+kChTvm1QJjoUFVBEyyV8RWCE2Lti9kwjGEHoOMAr2IpXx3JLWbts0EYtWsGByAAWLcZq7bdb1jUpJ1h/QwQIiMKfFYxMCGBVcr5PAhlaRJ7M7qvrP8kbodf9puvi2OVNud0TtV60XCvufp42hDJWy8gOdd3fu+NUfpatOJ+/foNTJP6OihIxa5e+23kqVF0q9TeZ3YKvzjTIH+rNBN8I9Uwsm2dyr45ezswrw7vsqroJWLgOZmHEPsSDGyvh8cB9T3pscpXzlY4lc85DtPd/MK8v2AIe2vTVuD/oL91XGPDc9PKz6aHqv/VMtEWTa67iEX+MdzD82a/dIIWsZHNX94csKkBSamjeECglyjNK4RsLxGAUABqhVL1fcNMwYy+dVfqP3iDcMlNRwduR7MJRa2pRH6+gbzwNvSAHt2BDfaTGMEubew9zNtjmrWBOVlxbARO/HN6yGPFetqD/L75VX+C/NEx2jPqn0FLQn+9rzXjijxmduPdeQZO3701SwuDYr/KBFG1sFWCPHSvkcZRJJaK+PNifQqbIXsZr/uR2Z/HDDKuTSY+/+n5K3lqhNmtuej63VloMCQ7wlalzvgahOfa1DMXBoslYYPfCNYMakEAzxDfIxQb6emrlYQiiYqTBUF1qKPxSLotLbwLq82ZDnYlHEKGc1AdRNDgAa1H8AfGdMqiVLnf0gvom6NrAkECPUgy3VaAY58tvP5kiD1zfC1bMTGo6NYtwGbqbmb+HxsdvY18+h4LxRTThLM/KQdWznbm5hg9cErGit729tvvQMv+cmqrnyTpjLbW/8aqqOqZOA2BEok8r7+KBrLH+86y8eiosvJnlWYuYWb18JlyVuzTPHYAl3O9OMXmoqykw0ZVOk2vKDPk+XQa+cGpsJUrRpBPM1C+PDsir+rOHx7z0qlWdvMhWdP6zQzrTEEcI4mDmWLYGmhhu4RpKSU1ECuDMwZ2fPDbFuGyfldgodX1RQ5VFiw2hsLRXnikPKplTOEfHYyA7qC5oK6k7/082bRIfajrojY/3/SV+WuC6I1UtDSUflu8RUcn/VQLN5B98A6Y2FF7PRF295KTewE1Frtx1F6pv/64LiL3lpzbOEyKjVBCvHFkhpM040GuTWTTGl2AeQNisVELTUK2Vyuc4TtCe44TmzQyOjX0Qfej3LZIQLRioO8sIykrL6WOfn1NwkQJPg7Wd2QhOYNJ1kg3RpsBB/VhM2thACndGmqGdI+2yCMDdTOG2104v88Ll7J+qXLc9Q9aD105ODJjCw9ipB1Ds/pxRkkOfpraD1b1O3ozHikZu6NKs0ISPNdU7fxb/R9UDP0dHy4vi7dEFakzAgJtshdsQ2Gjn7tEuwpmBWOk5V3fE+o3iz4Sj6q79GyC17u2Us/DXqM5hG8m8G7pCm8fC8kbF35ZgnAfeVSV31N6L6RpYM2HlDtFKg54/kUU8DiuxEuqXUXElQu3YI+TzbXKpVCoovPFOcYF0JLo7HwmllYNfDLxEQ9IVEhereTJMVpDnRMFRJApNRn8MnVti84W8nyb4KrPVjroTNVQA9MkrlV+Z5ZXz1C6mSuWyJowRDmmQSA2EUiU73595DxcVOa6gUn7kkxMymS4pNMrJgDrUkXgrRLfBnIol1P3CFoMItQVzMUEM/dxQco+7VDVquKKqdIi8LTA3X1VVxT9zBlJD9lWyJcGbPLoE0HfVzCCpmpCxPT8XVf5LCybc04VPvOadGOTIA4uox6og4bKw5+ef0H3Cegab+GsC92Muah8PVHqajj8U34lzUiqm2JozwnSc23WaYIaxUh1c/9WQm/sRljIcypazDLP9yNUE/NLHFjGiSf80upTkmUWDMIYJeGRDuKaxdWy37vQUyckQmJUEZxA6TYddk+MLV9SP0/s+HT4tFZLiMWfLhktl9p8uHVDUXGHqDoMKDtWz3Dtp3CIUUtO0iqX7tHCJLZbbhMUrFR6QC/mTY71JqmVHPwNUOCKTVh2Xb/0a2QSbvHX1Tiymd+KgZxkZEZ5zmVnEHkMcFGF0+kOnwhc4DTw6cKqjKxPI2d5MfcU143UxuQDkVZrhXNr8K0sIPUNenHRAY7YdqBGlFUGGeWRexExTltrHjTQbC6WynJLiMjgDRyoCuzKJl4O0IjcED1bHRVGJfkc5BgWu9/klu596PZtVrAnLM4XyT5qASyNbuSig+5N63KnwqHUEg/mv/0vON7XC4Z5/7bIk7Ben0hKTGIYaOuwxKkI6Qd//BQcN4aBK7CaL1naPiSO96o08FKHVEA76qvtSj3RsUov5w7I7ca38Wbt3G+415uAb5UzSMP13ah25+YH7f67bjyUnKxGLf5Qi1f1HqhfItXFFLdPviXqgXAle/5sIDMWe6lV7rKbU2ZJwgkdjtKfSXRa/hxX4uWA7oBFyd3F1ndfUZ5/EWI93gVOLJqlACJDHsAdb3YlntnT2aP24rgUBJXzESyAQ/ZfMgfCi+vM48ER9keOmVnXOEZIE7sm3gLA1oNFhZSiwm40osqhNWYp92SFu1ZpFoBMq8VPtcXjei7UcgCGNTs4+mFF5CTMLBJ8S5SaG07+VEabldZtXVmEzDSt1vIaZ0oLRYZrspIMPHI/nsE2p2vmefNbmeqp1hDs6kcoiFfrLy/lZs43E8T7ZSRID76D+LDbtKqk1sKeaWB06Mht51fkRiNk+c1WwE5SwLtli/NSD3df9qRp7UGDRz6yW95GAKsDelkhddR9CxzjXOVIpeegSWy2nkZUZsSMKYRGltlfddYYaa9rv9lSoUfrWk3a5Mxuogj9p5WDZp9mKn6Swyyf5iCHvt0u6YVEI2ayM4i60RYUcmRzeaCuDaEXtDWIzmL/x/UM7KIicNup0zXEiVEHEcNuHftLcTMEEydAegnazQGyRl9mUDWZIIWT2XnpsPqN9sSrSUnl7QixEEGSvv1WU7MiOSSsBjE1B49hAkKv5pkl5FzDZuC6e97Ui/Zwi319JYw01oBJokPHp7SV4/r2psj0OTYhxCYg4bFOi10OI0JCYBWtpKhCp5L8dyQMx8R/c9fmqZcTOnPedq0WHb3HAHJW7ygB2FsZozPK2wFIdkgzadOC8KjllPjelvhb7X57X67/upmyoMrqTmV68vtbRL0yrZg67hAVbOPTXDJ806ICNamXlSfNqedzeIVjU4h2qJ6ZajuhJSKBti8pWx4Yq7qiwAWQbIgIS/99txVYwJJ5vQ4FzLZ2ZXV1Yi0JLrk7VxYsaWQhkkIhN31OYjxdgwsxboGoaNSSwhEhlflf6jU1mPzjhII5rtgtEawm5Su2h4no6xz1I0GnEOqZMcfTv3KqcXOEX+0S+XRf+McAHfnp/J1nD0XEEB9kxrfHd4Pizl8Ot/btrz11+sx9lvcUX4EIYbW6s/TC/hY6jKxU/07wnlrE4pXXopbVwO0r1nlGItkrOFIu4LBH5cpy/4Ozp6vnNuOD9ekspQmt31lz5X4SPlpqUl9kQAon9hJT9FYXpX1IYdqOXF5TwVjX/qpTCBUuRu4i8IFKCJGjZWomAOqgnQyXiKCGkFtB5MkHincDoijbFTB9mCPxDtgLuTiub++OtuGPtRfmanKKFOcatD5afN5VfvbL7YwcRSx0RETe7hgSD3v27ZRGa51EzZZ/SRhRQem1OAEy0QbM/zK/6oGU6wdLEhnWtRJlekesgrt+3raKIEWh5mXVNhgNDPmNVMJOkwnNk3j/eBOB03/E6cqYoTpvfTPAe+pryGG5/YhyLiwACUubiyIBUxknjsEfLP1GoLUAHhSdDQwrzWvByy7vyXbvVmS9uFAhq7yq35Llm06xl4JAmsdNATLXcUDWvejrILpCoNSTonv1XjS7ZnopCeNblJulcsxswnZg9zN4bozMv+mIDfXHA4IKvJO+KHxQFZNgfKZNTROgsLKW/H0ZKwlKRuch9ymM2x1F07Per/QZUSIK9KAGH25BU/3q5r9Wl8NpNUBWO5nzH+CK+yqNjCV9BtoUWFprlSZdf1IndquO5tPkglu6zP0LzWzrxAnbZZt9FICrmy572APki+OodI2O2QjRMZ146fs/Y3ovEOrThsbHdFQHpAlkPQ76CVRcTuPGwEy46WhtNkqTRjcPzty+yyyIa8ErGmvOIAlsLkn1/wO3Lny60XygAkD8KhRiSPZTFYvGKzcNpDkfl4FCr4nyx0N0B+X181kKLfwsKM3Br/QXECq6NHqthq/2Hza7zdRckVOfX/kOG8qVKxqfYv2a511UWx4jOaGhxGia5qK6Y6yKqrWWBGS3XRT2A0AuEVHgf7wU2hw9qhc9pbmrNCIfer7lLI5biJg3yk8a2+/eJ2PRB/tK7vNQUSZ4Ftd9HZyvNBqOgQA6EbkQKp/guSt0S/Q/MdkdwPLP3rS6oFsqXjfF4Bqg0iiTckxDmyzTl6CUtgbFiC1uPKQ8WB1i62cIFqGScf81XD3mN+DEbUq3yn/Z9muMxo0/0kl5R84K4CeheE932yYH7rZSxNvy/vHUG1yBwJupYAAsgzFAnk7xAfsWsT16clcoYB0b44oad+sBs/XGv5N/T1gYfu+xuxFmo/wFg8CXvyEmerIOBd+5YAryvK82KgO+mLPPLEnrWShpzjIe/4xIAvf6hJP6a69JutGPEy5HExdenGVCuNxYqrzhtEWe9aZP3Y5BsDYx4toqE1GlAMOfnY5sOc54JUf1WCirx5bkWv9rY2aQtzLcQ6eTXmAAfOEFkEqYDYCjMh2BDrZpBCSIroshRMpLq69ElnPEnEaE9/JExc8Rpvf9lPcpEJ2bSdjvg9AL464cGApXaXT6DGtimmjT51aIKzCxpWj6eD5tPQVZB+NVUZerfGPGIZ+VhyNpUg7Brb1miUiGn1LelY7opv8YbjyvmeDSIHrVPi7lCHvPafT5H7SpVkWoYau8unFUx9XSjCGwaHZAYNwvfAA6Mq5/PHz+QYsXNIfCKFUtkC42j2u1fang2elVHY6JlM/hwHwjVscZjs3/YAqvKePkuotLOmsPle2H7FqFGBJWPLbdjTQip7hKoaQpYCOL6TVGzNlPOnOfSGuKLoFezam6YvY2nLUNzRAOKDEH48yNIdPS1dyZslWFzVUJMlBQSxk9HMgqgjpSoWtWhiDID7VkzLFYd7Y9fz4yL6MejEmknHX4giNcjNLV+5IHGhzAoseDTqBqAUpg80xIBOPd69XTdbxjuADevvOEphbCG2n8Arw5I5qmNp8Dknxb5XkG0LQyp3Nzx/8fYatZ0v/WyjvC0+ijoszF1kynz21/thDFe+75stPn43qUVKsqVnzilteQtLggxyNm2lh11AttvBNvCgV8p7rDAUJhLpeU022WmBS1YRvzJZDKpaBZXNOvDACjnBkg0FNZCGJLmNjD9h9xis4L4lwmUWXN81U/zH0kfvpLr7pCMVkTIcZZjcxQU/sv6Hyy15fEWGGXt+lrdrYxONXJGHkUMlkiDZG/ANymEgGyR994tmvqql8vqHSyLiHmGMlhXXtrfmI260+JBLtHHHGGN1OmrFAZFqMviO2XBtx31k9OaAmaP9fKqLggcaamLgWlAh9g1ZIHFrY1DebYwQYrUn3tWNom4Wt858o5RKhlLC/wP/8tkBM46JUUj7oD6O5GALMBmXpJaN2a8dhKYTsEVG5lHTDm1Et8rILy+eUOgGZTK9xQF/FRZZ7qoHTR7jxeqivB9IUb1m3ksTkaRZMr/fUEHSKr3EcEoozkeIJ0FOR3MHyPNeTDU5/1qgAzA6yyDklkISQwJ9pc7pugOwU4H6xo03fjkzYIGkux0Ta2/hEwwUqzCGCUu550IdyhNoFOfbPGP92dXucshAI9xCwR3AM6ofQWweYIS8ijmuGbpr+bXU55XDjJfuC77GHRp6baRskkab+NFnNgVpiDHEbBP4O0znTDBVKksjOgp+j+9+R7AGhNbwGNTQPblKMFsqxKP0uF6qnNXwiV4JGw0IHqT6jYyPAtvBVzr+XVlu+KO7956YiG81/pf7pIEsp8aPuIU0vZtTduyOdeI6WnaL6G8/w54zrsZBaaGzuGGlpty07fEYwXMmIPUwwIp2CsfTVc2eWan2UhpoIZz2ehKB5VeciCXnOuxQWVtL0GFjRRRSLeYvDkojMMqPlPtZfB1BjKW0navyrHD+9j3DGCgREebReMfVtlaIySUfP+Z/5I7j8aOaTuPfW40dRrC5psb3agcuj3Fgfq6ItA+4T+SoDT1lRMan9kw5Q2CZzYAGm9jGhw9H3+q459lphdqVCkNF/GX0inqwUFmBkADRacp+5SlNapP0cd7tzLBYZbEqfRYpH2dpVcVhe0ilSIEiPCc4ajxI2OHv759uA7CVFvmNc+uCmrgHWyyfVHF8aAECVq4efmTbYP4ZqcRZ0MibD32kym9+Xqxh24Aaaxw/lrn+WstUcaNAd0eIM5i1BIAxaZGUetx3DRle2Ebx+5trBO51rSnwO4717Mo3b/2Xe+aqhYrg8esr4xMefOrVOVtCmnh1PubZJHJU4myBTvj7mA2qpvWooowHANtbmRzPZYhsgXMV9VLq2zKthsc1p0Jn2W0QnnHtldUxjt62MY2/vpK4ufk92sIrUjK0AaLK9jCCRmN8dS/9MMYbdq8hFqK9VQt1Vk8yJl6AmFFmlnc92TkBHGMSZXWmVWo/rqi6QYhTW5VFcmHIpEv7j623QQOWCb/sycKa7jNqoDldMswJDEjmPAjHlAa85UvgB4cLibCYNbatJ7KHA4v4DZQG7i6t35pGDfpCIO08+tPv2Ph+j28W+lvWjIC55mMG0NTh+1eHYdR84SefxYw8mUo+nfJF11j7Eq2YJBs45CQalIGnDlH3Bf661dQcpr51emo6UBfCZ1VY14b5kE08DmejyHJXmPWXgvQZtYjijQpaxr5B1FIniyEhd9yaYevt4daB8wwZT1GifTvE4hnDfFDtPgdP1wM1aUupPLBAul49oU9eFBawf60OL70xzoFMIVEjKNOJLmUCwRqw21N9cfnH6Y62ILI0m9pdtjDHXaUJBVXOjYBMxD6JmFzhPouTbk/iQ8iXjj+IpjWi38I29JwchrtHFhHPzwpL7yogcPrwJXLKk5DmdfudBKaIvSfR0Tt/HFqiFee8Gc2P1jZDLqk7FrhMyDlB197m7YawVPmoLfrZewOrf67q++8yMkqpLaKtaf6Hu4IPsWfg5Vis7YOka/vXoxr/LCfPcVXKy0dhBLoxkrDWIRjbAH0blW3FKXARSijuLQnzsriV08m37UHQ1Ni98Y8ZUxapYMviAFxIYtQLCfOHBiVaHFUayC/QVJjYuP4UcNkOwblns1nu0vHiSXrRTqBcAYD1YkUAd5o0cPNO0n6dG286j5RNWxcbspLAfjsN5a8qOQa13IEwTXickvsJVopkuDKpBMibKiQBLZ4s6qAdbRl4PQQgCEaBrf+GUpUQgaYjQX2qioNIsdCVx1GRXIzGF13gtpuSDviwTrPqdlyEAHisiWZRyVDXuCUjkSck4G8Lxjz7Je86Rh3Op6BetS1NqFi7nOmfPrlpp+ZjdW9yFnjpiIASObi6vSpf5EsfEnCEQjqFOQRIh9F8KJqTeiLzrA3k0+NZDMy6ffTLEngb0YNcMBm7tnV7AQ/fBheaF8kBaW0rwaS7d4uXnC60hoVwLWCU+Hdl+DWXiicZkhY/p4sQ2wDVDnOCjxg49wZPv9pkPyR33OdjCJBJROTxZ+0h5pq8JLe4Djle2KWQeRvZKnWD08pJHwqg2ZaFy6dSfujHgq5gTjsJAXSUXqmQhAGgvyj/4bh3uZFWvS8VinPa0Dj4vHsZxHjA0XPJFFXdQi+voxwrFs+OWWuv9sZ+lnWqc1y+ue/OTXEOV8QyIRsu9+TJR8GQ5KI55jDHf/1xagUt8LpUS4QR6UY4eoBr4M6yMBCZweaJynjRbsZlecFQcQqLvPiO2ppNVD4J51LiSmi3S+m+3JCVVUAKro+ptxfjw3Z+Kxl48utQOD2q9ojidhd84sQ7WV1xroHiPOn83DJBqCFlz5f4Vf7iXtX+ufqarxDWBXsrG9PsqWxLDv9qUAodAWNeS4YDW9HK2c4XOTZbm5NCCYRqecFIzWfhTOXfn7SriRXMVWNrZMt9daneN6rygLHVM9imJYq69F8YXuSYrXdB7J7aNNY40lH4uSPy6DkcVhovgGanbAPVIDAuOhr1uXGqfPjNpa7AKXXjDfj3f+o0Rh7TjoT6CjJ3/+XklH/GWsXKcR0Xo7P6PiV4+8nH4GZKzqZ4nbXD+Dgs5WGGWuGGe1f/UCzSXwxXPMUiLOtWY438vu8c4lLh5IEslwRNCRWw8kqK7kW/nMK+IMJKW+DmDxqYzpuMaaJFWHFtmknlsQ8NkjQx77THSQk7GJqRpjuK0ZRxXRfX3E0mcMCzPafTLzYmFN97Jylim35yvql+h0lR1Ax3RN4ZGX2/6/nx1s23cp45YBRHPxXWPhUObiZlExpqsANkdP0nm4xievoEzUov3YtDUPpi+7JdGQRaUn3XUbWu9NqSFmEayB+bKmsnjopVRMdiYp8UPNfrjJoUCA1aQga4EZEYxfZNv4kzTEWcJfVP6x6gqPxu7bkIJcC+77OxvYmy9vflYbgCpoLHQXio6VLrsP4lzh18y5DTP8uWpsIY6c2RP6IH0PqvI5S/uC5uWmzQjcLqIVHZiJFs2rppXA1tdj3WawlhcrM887N63F0BaAfRD7/Q7xgWEKkQSjjapu4SRzMQfQ33JBdMteXY4f4B0et/O7iHxee8sasQqPs0/21phF0wQlVWdWX1nsXTSY6MARQk4gXKIlWa9aif8cj1JNpoEWMnEmEw0vMBtxlu9MCqtE8evLdXqUa8iLYZQkNHsTUsyYfM/HOCil4CiVgihjTHjMvoc3/w1laisYichsSkk0AZS39r+tEsDybEG9ppu2saNlvB/zizyLexZIAu4UiFZuX3p/xcPT8MO0i4mPL/1FMyM/T0YBllW1NVVO9Ctd6KwuRb6mEEwfWkzeVeaBPXjRNBlXZlU00xl/UupVApGtqMGP+nE/pVDNhiUitKuH1u4RSDj/zeY0noQXlHwMzBUNlI93Vfk05giL1Qx1DjPpiBMiAL9wZKBAFiiWWukpo8z02QqzOLaT/nxAO3dSZ+cKghu1Gf1zC7atm793MhSQyRCAAJxWwJCP8ENwsYmbRTZqNpA09b2F/bqOcbDfHtWojzaXTFgCKVfZyUtJ34od93mlG9vpRmWqy3Kq7NS+fMZssV8RHVqD+Vv0mX2AVlv3RAKWLjhl+BK8xc21EIblJtOSR2/cCKdKTaTkwgABArC96nzP+p1Kt89wflipxramwukfrNU0AYDxaKSbLpjYrMeHHM+s2ZjUdOzuXjpn20qApDHsEquJE81d//FjxaiVTdDMJsMgWxj5PX05L/2Ry7nFu17Nf6iSdO9mT4S+p5F4CT7Az9pP3MS2DhW+6Wp8jhBOXalr7S7ByUHZzIJgp4XW6XjsaM4puhLexJbn4qpD+zI/MmD/45/4EhOR28cMvBbLFYjM55JooChWUqRRdFEhhF9g6QAF9HevLoFHaKAyPxbAMCm5f2yWVwfNwl8hO8tNEdzbiyhVlyS4tp4zMSWi5QKC6KMzDipYyy1KX6YwbR+Jibo57mrMCmjm4blY8juxQHsvgWAQYObSSlJx2YCm0eQryD2DQbSdaBCFKva4QIT8EVfq5SNltlGAfSEgG/HvgoQU/c7fD8FNlfnwbU45s2bbpe+xlswvN4I0we0rUVprelxD19BaHACS2Uo3nfxmbShmb5rerS0moaQ/8NmfGUpcinLihbEsBLTvsqDAvKuRyS2VUESnvjHUqSRFUVeIcQf+mwhmQr00He1YGld8JlvP+MPptn1K5NLpuJMyfqqpn+3Hevnl/MNDJ9+VMdf9DpK91G/2+pIzaj62kUfH40ASWzsHDVtguuePX6R1vm7CoPwZov3VzXqpCo2tBDTqQPU2san0cr8EwbQX3PdjQINSYZiBPzbGazYmrDnd3Xj0E4bwjON39jOJVUss32CWHg4amYgywCG39Rz3ZKtA1HOlfAJwYTELWSZRE7GGB4nEVYTeRtPwhAVUrTlohCQ22YpBUkS0jbxEfuRjcZOuMTZ0Wd3+dfp2y3FU0x9um1ue2Hh7vTB0/piAsO4+Fd70NqiiVzd6sKFFEZQRek+431NKUJeKawAiv+20FY4T7JZJyavOt4jrzfGOWj5Cmw53eLCBBSrafuj4nxVzzFMZ5gdECBX8xhh+E3cwXJwHDnhuQxT9HfZSYRbjCMdD5dSIy9rG0xloDq/nB3tp6j4nClGEKVScVKlT59tx7jTxFGcarPAUqx9cHyvJcIkx3a+kPNHwwhuicdM2D5VvBAnu2ccjZ9FajpbfNOyeVLB2ISmCPxiHAXDTRaTrCAuq3S1QCb68ripJjNcGOv5A+5wFuRFx2pU3jwN7vRjBO4wMNt2hTjgp+K/mnlVm+TRA3M6xzkTW5Ovu+wGH5LTHsChTyweUVm5PUOP2bgcTpDgUM7yXeVPFYX9ol5QGwzLUdb4v/zfae3uYxUILWhDDckLhbFiBeg2YUglYSeDze5UJr5lUQEqEGFisauSxUQKUV+KyfTR156vstQddOSMEUFw8NjuZnzkvXpCaqfvYandZSUiRy/Gb6Yoa3TkYKE4XYPIxaZh7b2kG9hMu13ui4g4dUkE8HopcA3snu+XDbmNRoU3F2E82b/M4nrOF1RQafx0RZoIcoZdXoWettNs8lXPsOLss+mMBDm9J1zXsnx8hY7JjhMr4CXXLQ9Xtu6rIE7KT/YTDEJXoCybSXoAOzL8o+naFSNNpQi8cqvzaz4eb5Umg7A8b4h4MNSHRpnY2HJmOT8SW7FQTHqBFdUanVp1IRXOen+AgRDe/JEea7jbmCuocjkIjEAruA4aMtxcZKNMWi2jQsrwaqfoILObezbAKZP846xjZKm4tjEmVp0M0w1JgHGg/clkcNNoy0QMM7ooUDDFgh4LBlJahtSICFRcWF70UJ9E6GKVPeRXhwRTFmUwfjN+upVHHxy7kKmSp2IjQC6VSAAfaUTgpEPQS/qu2//l2Q16IgruEpp1sBw5Dz+i875xyyCq2OTsTRNZqFPGr5dQ1AmTHDTqw+NrWgsptGxwt6k+32SiC0oMV6Mng0HQkRPYYUiFmHb7C2OsOje3TYjiZTtMo+fINJU/if/tML6KJpY545XqsuZwj+gL8z/nxlTXNE0Z7Fobvx6BHDtsrEBpZS3RJbrq1ttU1Vq9FHZru8jZkmzo7m9kGwnXAZOPSEZByF8IKXig8+DsoTIhqMgL9BGJN4UfDo0gDsFnbGjAGmeEnD5359EJv1whhmByv8avmzY1qAQO3jkNYZzUhBc0Pw50xpDZCs82fMN3t/0EoOd0msrHpsU0ZJP3U+OO2VqxNNSv7iu3OEYVHg57QF2HoqbQmiasWh+rg8dC/gacLGpVtyqmj30ol2vNRzd7NTVqL5ffUWBwz5vqk7CvNtIL/0gUQPQfBx5+pulngGUTH0WMF+Pmze2DK5OxBC2J1Ljca89x+xRUGbmfZuD3Fykf2/SNee7rjo6g/0vZaQvi9hij4WQw1/XkAmldyqr8RboLYCEdnL6YFzy5do6/i160vvK4Hr03Ms/XLzElKqniy4A7eJ2UeF4wyC+ByEnu171iueTdNraRrOxDFiJZE9lUHzojwAaNvKYup2se9sPSV3bCwXPhopffQYcJS83Ijk/Vbpnjk0v3s7ZrP1m/f7KS9sYyELTlp7gZu2hwmtleQ773Cl14qztrZFJ8v91tPE1o7Tr2jaXe2xIFUHiHkyiUxO3r6KaRef6Oz7OJk8ugVJ+GyukhXd3BkHyS6dusYxBmBlHK4eW+Jtw4TyaGiBOpYpNdzn0ZiDkaVtl8YOnZrBNuWGZ8J7LuYDzFpcMbQr3vhr8DEuJPwwb60hXpEMEQjjpgGz1GaGWo3hcT7HIhrdjon/rKw/p9edHJnI3bM8xR1nLZNrWTKvyg5cdyvIla/2M9AnLohI0DDalPG8BvbDUd5pBxE7YWL6IkhWo/nDwqgHduO1zL2Qx9cw0kJAysINN2Gqk50Tt6aqF9ovYpEaDNmnZcFphNBrIdIZQuQGby2mMdwF9VWdF8T8bHbqX3KlHcBhqbPQwCKD2ql2fSuSV2JI77sMwdEYiSb1/rVU/lmqby1BxQbGr+GWWkewyGxnx/NgHQ7SkxVgTb87O1CCn1iiKVVR3hOZuwyFQWLembYS+lo2S8Klh8t/2Hc+Pb3AeLepYrhZYjjNSlPC4AuawURNvQz2R+Zm9SkoGHk9N74FNL3HFpCBhZerhc5Qmlwd4UoKUO1cfrHo4HWP6ZmB8oZnDugNGXIk4uZ5/3PboBxiuWALLnkKzMF7U+QjBvV31cZ+/8pz0enROUx/aBrpYX6vk1y2khmFiVovIDMf8yqwCanjwQ/7KCP/8ajx57LoJ5JxLCVnUioPt2MXnGuVqp8u82WSwOff3RAIpk4bxkYoZvRXzNPUrjOheoEnX7lIDUqij21uwqVbgBqPppuiUjFzfoecPRxat75XZ36+L0ItuFH7M0hrz1zMbbJ9hjHRmuwNAXkSc06oRw4s+ZAQLen5O4yATjpm+XepPp/JQWCb+V4aHGWqDl9rpBYTQM6gbhmOoy87jz3UY9WsCAFdoKkn9WMpV/8Yq8rZyWKONb8wKd9P2sa5Xrs/HjRJN9bRf0R77OgauHSzu6kZHTdH8uuhD7GqXQQ5dZSXe05P2SxzKhOVALDokaxWoCc04xLvFLflCkacRyVuMyS7BV8IqSsZjZSUPiI7efYy3jj/R4amuvCGyqwlSIwbwWyEnjYw/dgXU0HGVsELluaXhkjcB6UOQam+dye4Q0ff/GtXfMN3nNTbtiCH8yLKs1Z3nfFdIMsWdn+pKb8AcHTb6kThQbV7ofu2X4+e07lRs2jcacMnYEe/1fh5XRWU4oFH2eE4NAuytK5Tc6nODi6zFrVLSZ6R078mcl3pMuev9PKH+wYX04V8My2x8Q5LJSh0OXmePSWYav0Dqg6Dic2aw4bYeIh0G4UWnAkW/P/YR5sD1OZPQpUMOixs00OKzIryNlE5KOBFi2EJ3Rs19Wj3ZGC8cItcUEXrLHdkyalI3prcMe2FL88giPqe2s7pPHnO2QkLPBZfDFecK5t6vzBRbno8f9yEYUawPRq8BdsnpB+AolYK3gvKgAsNHJlHU7dztxGvd6sltBPD8+YSjq6uR4B45HHbuFAIUUiWOBJd7Drz3+WkXRNI/Yaf3ViD6o4A6n/dU7Abo6mhtNLbIthPNnr3/9my46JGpj09I0z1M9VKBt/Z8iYrW9fiYMgcjGsY/RfCuYd7cFsRkMOBiVB+TeeumuPTdSQIBYBPTQFt/Y+Z62gVHmMAG0mxBaYzmbEu2Vs4Z2wl3sWIG4aHbCVsgQB/nthDQ1Pzs+TqehA1FI2b7ot57PXLPusm9C2L3OLT5536yeLhtrm9hsfXYG3g3wMcQK+Nj/aG0eryyLxgr5v2lC+Expd536lmo9P1H5vAoCEBhA6nl5fjlJQZuw5VRoohD3U3+MH+oT11hySGqCa9NJ4S7AtcDpWS7inR0FLJBq9UZQ5RDVuqF7y54lzcZLvtDHVvN1W+2ThUVmz+AIe3zSfpCIW40qsIZohgCSFtOpbTxnh0iQaBYrxpRM6KGmiIvOw/E7MYXNJGaqMs6eQFUddDLvsLbiVrmI5af/ZMgjxrPcFnlRNm+YxsGGSA+ECk5LDdJfk+ONuYaLMH8tsGV1UAxvpXlGoqe9AJJRxRwMOnRJ8YFUyYNiKMFbLSzDtrq70JsSEYn4xSqUqWH2IQVlzHxg1czEsWbReXRlRa5w5j77HREPL3pI7XHEwNqjRajy2LcXqe3AZKkt/rlSYEK7GRcvRWDztCmF7VFpNvaO3ouiUu5g8fT9JeFtVKfvcunHVA/9MrvDk9VoVirxljs0ToUphLTa0fFoPl1LtvkQR2zrdTIh5UsUC/A9WfdRvJbLDIxploKaoF4WRlrcyuVjLMfuv2LJq51FqgcVnR8YbiO2Ch8VpMYPV2STEvZhF+UwksD4LUoutD8FUySYRW1GrryQAJQF1W4p2ip4AGn9MqWYhPUzq6R05aAOXqYG+PZ3+tg0LGh56XJ1eGpEBLzxc6GWEu6l+BCDlk+kDoDuqwPblK+WiVAKG9k68dxoKCqSg186Z+nyejoAIMSFnSs0clf2gBO1sgtYsHTaG+FbqgJRoJYyoIUWSal5xYmQjc5j4o9IHHlx/YPz00rF4yr24QYPbd2JhTgFbRFtf3ebqc9Y33eorjnO+IQG9u1yyW7v+Il4iSa+GPQUNJI7mvqCfr2Apjyk2PjscxINy+YJ81NqqXryaxBH6ISGSymOtyP6UoruXU50NbExHKDw3epee4d2OFwZR60swSHTYRqWjXSA6VAqtfhdJg38oXOz26Jxd+No5K+GtkUZdV4Z1zfiPdlzaMggeOnqnCLDpopMdtE0oxuGOfD2gjZm2j+xNaKpLNkaTEiNRjU5KrSKtSN8gNlShS4svVt72CtIEnHXIh1z5BSG8KA+dVAm1xMGfbaTkOng4kfhCyO+0ku3dCPZIMKyLI5KyBHhVU1K+1kpFgadTc1aF7kU47H0Np5fOcgafELMX33DnCxLsJ86S/2BbbC7Jlp82nrTT5mpzeLUmQQDx+iOytJdMF/CwLVAqW8+/CEEdD3jTtMIQbmhaNqS784GKowYiMaxyTxCzO0qGQ3MytY9IeS72qg96jw07yVGjhds1F9l0J5IFTYJBQkLF3G5N3nr80X1GSd47UrZjJ3RCFnbukB27omjDE993rucHIO6nwdO15/F+hnYmGvYMp3XDa0IyXuUCLwbTqAxPRceo8TyyLRxDS13YnqvkF/8rNVDrsS0wzvhdnRHy9q+Uzw5IvwzOAexiVMuvG8VuHeSP0vzrNOsAlmaLSMdVTJ/5Az754LVNBustrC9bLfve+0fhPoDlVjXgO5ZscmbA/q1aKGWsO9Xin/5r8h+PddU1tA5HOYW0PvyYp60S6TIpB/Hi0R3nIDBknp/IvzrVmxQNLzhY5C0fefx3tlPjj/bHoGw9Ne3L3W7mz+Kn2GmdSsSwBj+fPCKkZL0BrvjJU87yahKeBLu1eUgG4Nx13lYKqY4RQqwcqu+pl16LXrYj+NL/jP2L/qG2N8jlpGfUjvQeGjH61/vCacBD9f7q/SQxEpEvshUyU8IaAicL8xT5PAbMJErzdjKUq0fraJWZFleNx7h1dmB6rcfQpkto0dLUhrxn5va3H8ttSk6ul0OgaqaQotkOkbFqds+NRCc1vT4Z5ihSqluA2CfNiktVakVgzc1OGxVDQj3/mFQG4GwILYuF0fQ4kTW5U3NyF+1R9hfH47Yvnr5ZxNwY+ywfiO35eoeZsY0KY6mlAfdsCvegrdttoiLNnEuR4Y/IcxCfBkkcCP9RuCQx6KEo3TcGseSnyXCqsAJNWzdLcFG3N9w/J1RW+VSFqXdpDGvFfkVcdSOVVbuiB+GCvNmcoWRWzF7v1GMW6g2LpEz/D2iNte0e9SbwRPWxnBm+ypamy8QvoZnpgdNmLX/Z3a0uycWSamAe+j/tiArTrXoyLRLAWor6gVobHabMCw7KPsb5MwgWbK3QmDsGiwa41d+S+D5So3nTp64yrrcH72xjqybucyRGTatgP6+vnAmUIAGETXHuwjaCGBKmweUoZ9ZTD/a24xM5LQXT7+FftWoa63bfOwz2iNYDshviD23ChMS2uSbEDzPNc1ASH0mvXbdWqG7SFuqiXy1OkbF9xRsrqFY0R7yy7pNhN53Q4Zw1f3gpikVvP2Hhtkp5YWhvzzBATw2XADMrFZYVSe7MZKnhTzi9NwkQ7/LSQbLKVnSvI2Q7o5B1PwlMmf94DBs/XOd5pFYj5I9+F74QEiXASlTVZ2S0yybX3Ev/yODIVOP+WmoOE17e/FTtzkMZ5TNIYhxTm9r5EtxtNpgSC7z49vO7M19bakgW5WXYDTrs1Lj1/Vu2j9ZSEIl+47Pkw90nPjg5jbM7UT6GIvJZRDUC9pXMnForgRUM3euHzw5YISwUzrjqiP46S6FSxwRAQ5PWbv4A6OJP/McKj2+zDVeDLWbvMNMrd5Eyelc/YitH7+2zz+1ex+dUOeYrQI8afa952LV+NNLTM+XwtSHM/g0UcLdQ3g/YUP2AEmnoW+9z7WT9HNJpI7llBVkxNswDg22TCD1jU3iyDzF4HbIehEvxzfnLBwYutv/cMJOFwaj8cM0qwrIW3CrBCjE/ie45ATIu9xBGdGqq5NBskBomMEEgAFpNIYkUrS8rjT+wsg7CqKceUffb3Q5+abMSpLBtPxQx6QleyVwv+xR+FvVT1A9FXZ3EUNIxHwJDa4rOPp9g/W1bh4Ctd2nmzd55S2OG0BsUHbpi29+ImvJ/NOsKXkvP7BwfkS2hugMaq7PDRH+GjlRo+VBu2Dv6P778r46mTlluUmkHQcBt8Q4bL/jjKRevIgAxPGpCL3GTROwvyzXZLor+dcXzV2GI8VZUIK/I5TNBgfOd1PHloX3kRnleXMO3NITUlKLDWw9DdQThNT24bxs24n698yTZ2/R6DzdOyBw2GTTQgqHdk2ggSbZxcM1VsLnZWLjVerNFxHpgcbCg7Xi840IH6CJMVkoe8hqzkTeU8S4xptJRpojGe5TJkpfa9CxGfLAh6BcJAZ2IYTJHDeBOnK8u3X6AFi0eRCRiMHleIuym77aUp39BzOFSRq+6kFkuonMY/TEzf5LT2DNDz9J+MQlr9NNqlWECsDqXVnFua8oHUcuRYeVFzBWLUZE8uwRSTWMrCeaAPz/E3IDkm5NFSmi2LI7jFZiqzZSP1wvhzTq0zIkW28KuBp9+rDxG/3A+Xgl0LLgZdvn4ZktzDX1AVgenGL9n+55Rw+Q2krHC0Ero0A/W/8buB0S6F+U4vAO96dBN/06oL6eK4oFchyY7sl/yjj7Ce5d9dpRWwOgA4RaUd7Col8mcS0o1UaWOqYiLSVjNDLIcfuAhoCPJG99LAO9h4QRaV1TcH03lvo3fCV1zrns7b1wnUItjoyaJUdN/aBBxp0EOiYgzu/ow64hYYZo0VZrz6IT+PGFguYLm/J3IrlWqqaQcX2q6+bCDRZ7ZbXtgQdfwitKZaBqlSHqjSk10AaJqJsX5ZzrHExcYbwfusWFemwBgI4XbEbxbtpy9lB8Ds4cQn+uIA2gVQqZOkNbvvZpoWDfA4hUylTE8fg2Qr+WNXItB+4NqcymF2+6DuRFoHrK6cnGMjsYSeam44z/2jtycyudjcFhttQGvmTGbaVJuvzcpo5dL+bBlqIWRxx6VG9Q05c8SngPYQ3+n/SQ0Iui+SnpJqY25QAYEKOf9+GsmrojLNzDA4yRYh/dVQ6exCxfabg88Lmun+19bKF+YyxDa8Uz+JBhIRiALuDCaVniYM5Pit7ASSK9ZNfZQyMwLq4xOGMQWemeJdtTIPfs+lkguMfGtYVpFgfsSqqKhGihkbFhZwjzWINFrf7VaehoSRi+fZA1251MXcfibuwKii5zPSk4/ZI7B7MpeusZMwkcA0uiK8nll/JiX8CRtsormX0jdxiNq+fxlPlyM7TZetgNlUHi7TlOVpx4i4UKjKm273y4WvCWzr9F7qPqMhYjOsEB2W/ajbNsZOI47VyZOFbp8zwewWmwvd83lmFVX7XUKna9bTQTi/uPPVan3F1l5+8PKgT9eRN3RuPA5H1njIIbLMAkr2avQE9kP9zPhnheIlyX6cnd1uOZLZZRLkGVxadbFmgVySicIBj8pGEDA1pGaGrZVUC6wXCP1GE/r+iqgtfUY60fyhKOGantE296qEJ922taaLDlPFmLuoNdz2aS2Qe9XEnfhAb6niukockHy3A14muBpawoKDtB/GcpnD52u/3DZHTe/WXifuhY8ncMIqMN6xrGiMIdS1GwA1jvMtjX3rBFnICCwjImWvRuQ1Z6KgLnK0Hku4V2k2cENKMJ2ZgEF+44AOPyA19pLRSZ9BUTyhLEhaFrCMNFHXoiyk1kRmFKQBtLKk8BBHCNZjxt4wy/4GAgi5mvLwFDBFSNEaKEKwoEVp+1f2klNxx68OX7uaMiaHtPpvA9FJQuutGj0T9a8VL1Oe3784TvvItxgI9/Ns0j/9QD6LnCpVD4qdDXohGFY6uO9EiMCwzICc8PLuajeY/6sSTbOg41o3tRjm9x0LL61yilrA/iM+a2oM+Xpr5BGZRj+AW96Kx4rYF3QzdWhaIY58/nCWBWMuZZtJjnobJDfipzk1L0uRweOzGurx3IgofQOsWzg1C/U+fuCFhEyaeVOHKzUMiZ+sqqXLd6A/m+RICKmgrTmDNBrbElY9tyFxJXtJmptCx/5WI0bUWQpg+6ZYNyHSsMu3S9H/96V8GceI9tCn/LilFXtSJ8R9phFkaDuBof1sl6I4LqygV3qYKHPud0TER7mnOHkj5Qcafj1si8pV5xSxbX3gFljsTIyrXMs+sYF7eVjjRYsb1bM2JzeqEgaj43fvlwtJ1SqberRF1vsFrnhohVxS6NKJsmXxPb7Qm7jvp1ijdrIiGfg4os1MpJe6jBsQU5U3eurow9SJOv0iFQYkhFS2CirJE4GHXVL452JhH9t7M3Jr6d0oi4nYp7FIk3zuT0uN9FUbJzyF5KDWnb4oOT2AZiKIABzJB84UkZNcsaBSojutbhwXF/cJEe4ILDZqKZ2GVN5NOvdMs9cp0ttWJ3w3/w/jxfl39cv2UQ9BdavCMfG52L8ybNMpV568jASNaBm9IgwzLveZ+E2LZhxBKwb3hMk9togS26oKMR8g0E449AQPyiJE86gT3zquFuv0lpTFpG86hoCiX4D1XacfgTStkvpDL+9wv/Ml/js9aCtLVN35HcOX+UusXkjikMcIRv5vkbQUoBltih+AUO3aBY8MX0fJZrAdmTZ77bDYZuWk5ucPJtuZ+WBn7SvAzQaXYQrsFgzUwFljIPFwFIzZEJ+pZKmCc1YrGMQ/Z53oPTkUp4xj2L/IpEEKIBgXZtSdTwFL7TwDTmcBDZYanRwbjDiHGpoZHxwJWIKdUp7Ry0WuPuWAv0vkuC/QcNHCD6Ug6T7mauHGkG2imYJBy8Soeum74JklXuHxG1ADoqugPB8RmWoEJF/tjd3KXHbLDLgZa5XMZ3TGScT5N1TpgzTWO2gMwJ/FHqLKTGLjVFHv4yvNJ0xbJUg5tdbolRh7tInuKRmX0ojlaaeeWbKWxeO18jnYrwm04/5Z/DCLKqV7yEu/vJkZ2cfYoKdZmyY8OuwHhD5u4sepdbzTE2cMy3ehBdA3D4VozJHTEP9X6FrncFdhGGHdydAOwYJ3ppqgLjyT7/NTmOabEvaIXShrGfSZt2IZgTBXhlGk29AsAnvgY+QjDLWMYpQ4yN+Hgo7eGRzhreaQ9uGCZd0+iD1ZHpVYxM1Oxe0/SvnaXExIIHI/O/GwSaRyoACCwMvKM4PpfvK1IF0iljrOgWZVh5F052x4fbU6JJJmP9kLJ8aKMKdEhX0dcvLMqs1ZBsKuvKxeICEJeO3xshjI/52I04e5RI5TiLtnhfHKe3G8y+ti4UoLKqQQ48TO1GfpEglBfJQSCQ+gnbDzwKXeiwznfEsTRh9Bj2RqqUgnx3Dh0ch3MJYdJYenf5Qn9LHIbTEaG3VQ2PHj6uEieDafA1SbSgf6LLuogCgk+QNr/e2VgRIwCUzALyHgithUdjp/FCku9ZkubWUTgjaJVSk/hld9Lsi+mPJKnlrKgwkio9ssS+H00F5Q4s+FreQZ+qxK1dcN2bbxdUAd8YLvonXzDvSBlI4SC1ORysK7orCV4tgi5PJRhTdWwA/7BWvfK7xT8O4FWed8WcRRguR7ZIf5t+QdikkUd+NfNam9fLD60cF8h6nqtN31c9VJHmyKSjUZM6Ab6uk0MVblWHsXxRH5eVyKpfzaznR+fELTuwY/jem+D5JXM9CbhyTXqp59CrqbBaJgRiczpOPACGUjvu07z7tAJ6fuw9hKd9xWjLkwiYAXbsQtAEwCv7AUVegZkNYT2Z/K3NlBaYqut6/nUE2PwMIw9gppZUpxU7MaRqYaKv20ZPjOAJNUN2uzaz+OiCG+7w7UPFTXbi+EyGS2uLkeNNiFBVzROG0pkEGsuiPKtZFP2um3ro/ypDhCxtWS6WIJg0fpuFRUYWufmr/XrxkYmhXSkcZIQKh/UMARY1hrFoGbMwh4uDHzoUtNTkeyn/siww+O8vm05/HBg/sIGsh6XTZIaqKK6kKbevDKO39tkEhCWX84fXkm/Ro3xCsiQ1x9bRzZkGQFoS3HRdBFlRrvMxKMNI7cZ6SgvIkyYXkYplKBaThECUQCSD968Z6q694NlQD0rR30ZAA0+sRMOh0OAkSRHlqLBmOaAN4wVQ7tVp/V231376HGx85fLjEcCnG5w+eVdZFbFH8CBnI4C8lUrb8NoMn68azZzF0EnnPnq0ezlDmoN3pYgOsPKK4jDc4vATHQzkF/C1roetfJI7uUEZ7HRG7ZBZAwqV4u/mpHka4M3WRd65qJda5Q3Wilh7GJl80omOu1Vez91WHHDuknzVujTwdzaYC6kCcy9GZO4xMoo1oahsveaHt9b5p82OQ2qT+WtSxuHz44Yn35rD/Zkvqnjp5FA59A7IfQsd0WIOlwkAQhzEv6Goac3mjDJLW/Vr60SparaoZ4JXiH4LWxenUrKktGbRC9RtAROAwW6NcnnFBD+rVh7A3VeJPevLzef1WizI8RPSfhtomRTDCsa9PWHY/kf4jjP96ZdAmVGbo2wntNJgXXcjxuW0BB4MaVJTuqy14YEwrtaaxy5N40dMtu1p9rxUAVJJiganjtRY/qAckmmkusAja5AieD58QQOpttghBlJ0HT1CNnnhPqAm8vOvovDzGJ5q6fwJ340YajIqb6ZAF8TwT2+xUIHN2JpZD/nEstY7hLK/mJunHjeKbFHMDRANy9wdUfL5sZVjNRQJmKeixhQSbfWtV+kwFaLKTnLw/cBxxptoojHYDMXDp+VNZU2GvYzhc2O+1OX8dfYutuY/jZuvWzGeVb+5zzVuiDXMO0bzwMMA2Zl2/11lsYKc89IIn+VAIKIvLTvmG0ATh5d2MyqAHtrlesRhGhpGD8mK0gziguHbujoiDwAphnqLj22mJVxXTi6nIJFpT3PrBHU7VMgkmAoPAtVJ8hbPW+jSu9lEi5ckCzEZLWISGmmcaaltfGQiAeKjQOaQDnTW6tyowMqT8Ko9+ojjReygOP8a4Cm87RXKDR+M6oD851ujfAVeu84vGitPTtEgXvNvLPMaUUwSbmG575Z5AFFR8prZ/SssvAreHiyIpMuoF8CqzzDCZWRihd1pOGcr+DX07xEZ7IH1Wcw+N+GhHGgmVo+4cpsPW6Ugo7ua0C5p8xVF34D2M4ZfzOAI2g9cSQpIRpLsHmq6dHa6U+p9kwVlG0ZPCg6OX/Mn4LA8H2848MPnSpPiwFf30nshjpa+WQqBNUFGQCEjjr0geROVRXTYM10rfVDJRQG7qEq3gc5YfqgIiTSfsMTJKUPFnHmMJqUbB89zwtxy2VBfy6kR7paY/E2zRqmC3Y2MRMQT0Ws5QIux+lLnlBtw7Swe0YlU9R+OVSsUiXHoRr/E59yEVtPw2sYy43bMb7jWdhIf1Seiuco8K8QM8CXtcrAGgpOFHuQPTNpfG6UBvcHk40huzXtjxpTzLoIpl5pMsXJtZ35TAokYGaFTgwikZy6ec1QNMLhPkaiBipYi9QQGSkFyz5S8hWihT2QjKAT25+gVUQMwvPvsHtWrkryCQcUSAvlKre00UQBFe4IlVgcuDL8QUqj6c0T5UkmxPvfeR6LOXQCamhuZnCnoKaEql56zvAL8sebQlMUL4g4pEqQeJx0nmi3S5WW6+8v/GfTRLhu3B3vhFoSrdl0ScYqJwJDOgV7FiNzrhBpLwz74knVLXDXa3CrMCeVf7svC8jWrdVzeXiCtBHXyESJ0wE96LsVbjhWZ7E7Hjrwz1TR4Yp1CFBh1VJi8wa8mdQhtZQdf0m1BiUrPYNf03ojTBLkdcBtXlReAL8HGWrpfIc5A4dXKfWLhjcqJIPF2sZCjXsiGCr8BQIWdjWblD8ZLkDipfclvFzU/9uWCVXdzz3HvGGFqt9qZZFseaxHsrhoEDCbZu7NFfq//3OKN4uy922HvGR3wNUw8IL/kBY7V+lprBcqpuh6knosXEyp9wh2Gudo2X9qNXwa/Ae6+92MkN6YMD0qD5aP6x/QHoOSd5eSyADNljlFMPRoHInoTk2b80QXDtE3dvXDXSckc2nIK1LxL4TJ/GKCXOJf9H/lDqOjCMB3d7cxDD6Xj4dWD4OIbPhmrHBrxYpGavN/XMaiEmGNZ5IcvbEsuuOZc2J+oOMqklCE7J/3kcGiv1+xCuMOodfYP0ad9lrdBKKitJl25cQD4muWKvuE5vUGRGo4cSDwVVL6MMUp6OR3BXzOEHGw027z7jLHDAnJYio0yDBuXp3doe2xaPz4IVwEQVIWjE/76LHbwtLLobJjK/5bz6HWBfwd7rWjQyJhHajELIiOsvt221wG4y30o0KoPsS7I9sG6j3m/puxxEyCwURkSOQZmUAxYvWhrm2F3x/PBLZr8ACNzr1+SvpiNP4wJqmJUTIX5+mzsUVixP8siFviNGwb56ZKFN61W1hJ8VTddwFydan4yJF+TU0XxdgGluLW5S2iFrONMjGAN7KwvtLcVqh8nzprE36DeDLZRCM+Ssba1fBemf+X37hlZFVfXDp1+JuGMIDlE3wndcWMAdOIi0xL1LEL9WROU3Dd7dTCrxfjNFguvtLKCURCRpGBPEH3oHAqdrGCbDJzmlCI05BJD1R3+0t9DqYQJY1WGPKMZXo8pZAKM0VazJlMEK3swCb8C5kEeHXq8xe4zEkqiW4mfVb1oHT4AS4oiqeWkQPaGrYOpNAyVc4hgiUrmRMy0BvXaFk0oDjJyU3du5z6lEXNgWxeGrptolehTLjGjpOm6sd3mXOzPioogcYbC5fILjB4pvBEO8Oa48hYv5zz1KPCQ29Np2so/Z/LYHrDMV7Ac0E0FDYmRfhgd1MfUHaXl2/HGgDFbAh9JXqwlREIYzQfMbENqfG+oum7jNeHhvDoZ7IT51kgh7IVXgqMYpSrwEGjmQtkkELEx+TiD+VWTB0SVob4bPChkHB8JuLV0Tw9JrvLKgEoV3GW+Tz+fZZIfg4OEje1hc0I5+p7j+1Iw3krDGj8OSte/f21cTUXBDd1NkNJlzkLpmI6e3/OOQOkftd75+FhOO5AtNF42jyLWO60uSwGZ9hxI5rDB9WJ/NsgO7lJmXRYjYTejAW6MfYcbdIwLH+Z7ektAKDD/p+OJ31JWmKOZ7vsau2MNb2nITbSFPGuxwE82rfwrbfmfBPnI7bCTyTb9I8QowIXvFk+mg8wI4aPxa996pqI2lkib2ntsNRD8f+QGFOlLVOAofFX4NmTXl9VpaYDymWDVvLyuH5OpozmH3yQxFrYh+WOh2WE4GhVMVnro2xPHDKPlSyTTd7UPpNF5OLT5k0Nvpi8SKaGj3qCCxMS1cG2Wl6CmVvTkXKcn9vis1K7PHDR6tQzReSjZVk417mIL+YO5CKIuCru1m0wiekK4LyeCqxC3wGf2z/msUZhGSJQTD4hFWLvxrfrN9b1VH6SFFOMLybh17unL6TbDAGppan87+QKeDvKyEYj8ubwPvC89kmn5rWVICsPPtQEwexBpjJcXVVSfbkEPZC0JD67gMrPLQxBfs7EGcuUtdsv/xqLmNcaugYajosbbqGRd8xBysB3ajTK4nn+kKJlDF2/XBSuUeN1JIn7rymG1BKh1BIl6O4TKUXlRb/gRAcQEo1E22SQURHPnoashpasvQpzEDgbr8+lcBZrfqUvVcuvXtQHvRYxQRKGGkAcoMq6YSONQQVpQwzMi3xRMK062Hy+6LjCgoAD3CiV7ctPkXP69IFvLXHgsKRA2MZZRNW3KiFFY3zN73IO3V2KyiagaA3R9n+/xZEn4xbuysDT/XpaI5sd3J/YbSd9J/py+E6xFBAKrW7p/SjoZN7C/Aq0P/QoP78IJmEYHsBK+xiJIPapVXp06DsWpWVSHlicMsaunOFs1iwrCciGh2Q5Y9zPxEfU4ONAAKyb+c2aLkcSQnF2WkpzK/OqrC+IM56d/nFWaoQHiI1n7pKFD0v8ujwqni8l/KXdhdJ14RqTAKbnaU45xgt56bmBMSznx5i8y+Whe643aFg3QySiK5V4PmdQ+WgOr9/WDXpVvzczb+uO/O4mvcLygOJDfEk5DLkSezgXnZiKWUg+xi5eoY26bBsFf4yOEa5YT0oMnKWo9OGOWlN7kaMPU1Av57svSkIbybIn6ozFErQ/68W/y9HFfERNsUARByNpCdJEGpbWVmxdOE594dCDz88yFZHHjz5FszU9HO1xftYm3MTz6rsv4uKFHWLREGxHYYze+0bLR6x/OG4rlAt6uo8vG9yfsLo5yZiWbitpAAg3StETfZA63IeY8vBHzUw4j3q/jVMKhV5b3P4eTZrWZw2/bLEykOzJD9aMqWc2lifBLvVbYQzWwVNzD5YqWhJVjTGiUkvb7kXLyCo5+pv68xBqsH/uXaxx1rG2r21UIOeL00qOIzVIaWlLLEXOKzWrV3WGEYb05jXRd5cFNxzCXaok/KG9n8LDT5tdg2mt2hFrW0PJiyowcf4z+Vm/COsyBhQyMoQiTRgKFpDfJIVxFrdXR6H4zKyTyJDeH+xDjh9exraFJLnHx7JsFSbcXhLVGnfX5WmyFPwhDW4elnzeNRFyJA0HMBwvbqVfW4Y4/puSgN9GBpcZR9zpSJd+Y2+McV/0QXi6UVBe2LUvYVLY7HZniYE7j0O20BL3LqSDPG5inP7NrVzNjPyz19i6SfyKEng06la42KSwarKEj+z6y6n6dkFCq6cpyxkvDYI74OZjYI82a+V+wgsveSmdgh2iOdIWEAWVVjq6ZQCNFtEX1ipcw5p7XBvBWxCVYEEAkdEAJU8dBZcAb1nuNnEQQTHJwsNusMSvYFB46us1VchtgM35dntZUqWfWUWzEDTlFFiCxjfbtl/+1+gLigGm1Dbh7ZhBScvHfAgZykKeoejzNnJQDnuMH3gr3VjdjubMB5oq79aTGnQFo4ZIN1SXroRFJUJNA/IvSGmj6lBJ4wqmaqm1ZHNu3zgPcHCVomxzCJZj/V44GZUtVJxsQhncVBsrxFZEjXg/aP7s9JxFZRSLLFMXUb61MPrMNYnqxFq35Iy4ZDe0eUVnRPTdNo6pYRkKQ/HieCTtprCUCk5tEIWyg5h1g9ZqmHT1ryAajAcGAgA8gADjsyIkOt8MB4HOUSsEC+kRHzPaYjqiqMwW5M32JVkXP/QVuokdR0s8zHvx3d7/aBEk6t8TIZa3xLbQ8sSWyOk7dMiwFp8r63bscgzUpkbm9WLJeI+IMVswX/5nDWbNECeMaPc9C9o1JT+hGQUeqHYK8oRj6xNWXfyzBIT4femkXiUUSOvQHcQDlzzBi0W8oarSUKhY5TWifCC69GTwCuJKhSKKs4Y1g55LSgKHFeSZcmZmD7+5v61P+difkZXY6/NrN2et4qmiLzIAqVinvqfMc0yZTi5ITu+Bhzvp3NuhizOKe1KHwld44GJtafSxar4fk5xTnakIj9L758BB32BrRIsziQzMV95VUG/9KtSkuFbnN5O/QnNiQ5BnwyEtbiLqSYgvpCRARfF3GXNhYeNn0luPUmjV+fSdE0UVwXLzX4Srz+bjJQmqRjaCZDWloj1lB9Enaowc05oeO/IQGREprymOLzvt8096BaH0SQA81mC8RwmN+UdVkT4w76qyvAqa0tZ2tujBKfx6qWxUKDXKY3QYu72G0KVQaa9LUhebM3OFaUTUwcoC59fEZNE1kFbguWuIMhzY1EALsfyQTF7QB8zsFjauAjKtRquHTKTpehEokVjbd8LXtTeJodlUY7rLB5A+dFzSF6cyJK5NERIv79vhxcfanKeGDd5S3Hkcih9VgZaEXMVxPX7kSAzxrAtkciKFdz/7WeppfH5QgupH2yc/cs4CxUHzr7LY1cIYzaiLL5D5ySKzW/GDABTbSX3rQIeKMGDmmfKII45/V7McqTjkWuv1fVT4Wf+SOErefkDjRaoRoJd3370nQXNzGQ+QX6vWXH6hhyZNu1JyZN6QdAD3Br1xg4R/6q+h2C+7rZYPFhz7a8Hbvdm8PzCbnZwj4ipcQJ64EwFumXQXRXbDBRn55AXFBA8re5aIeiSeSRGH5nXCxRy0vmDteW+7pI5bgMfg5VM+o8ZcB2gr1yzGFQzoK3NCxdGH9d6uFpwQqPbD0z5kzpRfDPF2iw+814fj098w2zkv1yKmVy9GPk8+eS6oUuCR2my/TkNIa8zkr5pTvyyziUmMBC3wey+LukzRXxU/+A/Qslts7q2sd6zo2t9PT2krNHSHTOOpCrpFTpe7vrloIfQOWQ9XhFC04GUyhjy7OzUYBlMUOXmlsqpNsMPav0UrK35ZJRZRAGEYarULfg+KApQcQ1tIzwZHO2uEauyw09bjihA5u/vLrGiyySWQ3E7810QPqfw2RH1H1Fk20DrF4dGbQZlyAxyISkpo+r9z3826zLYIvObtv5I+IjjZr3NKgRTfEqPQD4peGr3RRY4Fd27tRxWo3rduSpQiA2FTr3DrdUiq8lP9Dyf4j0OnZZLaOZDSqQ8rZ5V/dy+wbsywFsip/VhVjs5piHNKxLCwtIBpmq5X6AN/Mz+hbMux2FZzvB6FBwHSNI9VRM+P2RHIG6A3NNIdEyVXL1wPB2xU4227FChMSM5h5Wdw2dThDP4HrumBlUh4XgMMrJm6Bo3jKPTf6PqJZhVZ73sCwtCJAn4QOBZvNgHLdJ4nHUjQp/mzZeR4yrrpL2XvbnCM9xGmTrLSJEmOffTKr73vrJtxmjOlmQcRIZwEZ+7/DEQJ4kq0S1VjEE5e9la+6Ryl6Fc/6RZocpbDClW6n2DahvMPaXuTO+1fGLQVYvxtiLhC9haMmhKEyDLk+qaW9PcJdxL666uTZ3QYTQGYNmKcCOLDwGup7LEOMoJODBYk2+DfCW0CpHpBPraXYQg0gH8L0985UOl4xwxXki/R0t63hfcTspUkTfW60GRwwjekXEfynFXmTzMS/MmE45rc2TUiV6L/Vbt2tSfr+UbcoHhPu98ZHFKmze5xPmtCuSfzbWp27BagM7dpgZC8XIgNmr+ZheyYBYRMfF+KeUABFKxtL06rQxrcAd9O8dou/ClZ9OVfI/mKEMJnRnWqruWTY5J5HUV8IJWO6Rq0WgvlVAJtN7RU/0WCW6y8CoUuw8XMRIwzZIDfI2RFK9dsBgnZcAtD7vQYdMgkZhe1WnTTv6LbenBJO3KHY53sfp/jn7V9aR9XIaB/EQxiQZZsqD0w8KluQXYsL4qeXS4DSlYTHi0GQJrtzxZdxhHcnzKDtCdxr6CerDZ7gRofBTgnLkcYRJDTv6wgnI8BqsMCaS7k/mzy+i0d5lNJZ8eEvy1Zdaw/QNldkWhUrGMrHfYD5OCog+o8kQHyQ/OF/ev/gF2e1kg1f9gtyAdbFU/QhdSwGJyVJWNorB/977CW1wViKRqePN/+SVGYa2fucHc3NlpseFXSasKprN4K8x2TQHKnwEQEbSHhqPsk32RKon0Ab6JsbpL74MaaOjWJjo3/1RrPchUmXgBflqBgi/HGRkx7mm8a0bE3DQtpRriJcMV5Pd1/4sjh9gJKtPqrch5qdLuGs9wK/iKTWqy+nhZxn9dd1l99RmnPsws/xs1B1aly3+xDXuTwNq5FyNMHf5L1lD57VNg/GZTeRekrxBToriIY22CzUpAxVPD0KYa01pisSj4vLAzKXPNRZvusNagmiGOe2MD/R6YT74e5xwtHFwY5Wir/h4ufYEyCFrCY4xlmCBZSO1rF+OfsWgjX4GxWKma+aTXWIJH1P7U1CFs5GhkcXlFDPKZXBM2dEO0kHCfb+ftuStj02I0kQuovmD0H+YdHXC86KL74RwF6xplwoQ6Rc9HowrQwqiaffAHMaLzdY0FHXiXDjN5wDFjA9G0kxTHFUQFmBa2jjKa2sSVhLOl9h45uT8gGxHUfcsZ8i7nJf4oNpKDB2wMjKMqeP4eXwJSCbED8fVBZpMSM0xiGIzLVUuw/qhra0ofpt08LJ+byXNtCMYCoQZBda5E2mRFhimnTgQq7gQT2s8gxpCe2hK0zLFNR71JxUiBn4/XkpRW0FE0+IkvtNsRCQYQfKOfJwmKoWjORdtFSVQm3rXPmfgFgWQg+Z6vOkYp3PSo07mzYcKwqeTKbteKHgXlm93YyomHnPua2FJ/4Qb+4MiBBl30Qq+K/sqNrguAnrcwLWNyf56ATVTd2iZAK9YoVRzogdQ0K9MyS322xoEPESO6+2bWzUTCc6va1AapkfD/F1z5SBFzCAzi0lz1grVhCfdPL/3ixzY7E5WG1AL96G3Ndq/Ut8QXq9g3+7iHNSHBf2CkogYE6E3r+sA6mxpnmEMoa02Y+xtS/PAo/btZ4ZsrHDclCg0nMaHYM9MxdHqoRCLJ6nVaytL7sP3nFYZ6r3+hpjcVDTJGQn5jG93fvemxShHaHw1zGQjHx3LeRaC76OOtIKW+00G+EwHOsE/fGBv2gEUqU4NNtJ6yL+fUMSwyBC7tbPe++h0FPWsYOroZq0dlXTxRgoN4D6atA8jvhvNIGB3Qfl42ph6or+3fwBV01VUv8FEeTQ3kDJmJ6pw0sySLjv6k38DuqPOG6oCxNcd4M8xggcJ8LrPUpGeQZlyD9sMQP+OUpNad5slTcxdDrkZrQuZ6nSbIDyx3sfxZSbIaET6L+bxyzEWkXaCX/Iij9OCzwzESMgcBx2AprJyVaxBeVjsox9bb/SVYyjP6ILZteVGddLpdzGH/yP+WyYQ185Uvy5oewSLBEtjwYBJT/V82ukdOr9q4pt2NDxWngiuifmnGvSJ7wafkGGs0apllwKcjmq3tmgftX6iKQ+OxV8xmqVLScNozFD8Epz/Dk8pbHoXvaBJO8srXl7vgEeKnydfpX2pJo1G9Hlej42k+H7Y1tVUdSg24jbdM+VMFzaTDj/jWOZUHQFZ/lgSxGCMGQr934x7owjoUKD/EHQQ4yE3ifSqZ9P+71xETdeI5CpLUmcrduUeX96enuCJnu5zG1vW/s3039uAlKpcIcoLLocKDam09shIoXZTuXa8TbYQtvnzImk2KVQhIfnOBT94zgVcjZXH2VJsIhPYJu5zP2tRosQ44dq0Q2rrjwNeUrZ8vY5FtO1kMC/PymPzgzUkAnRNpepE8duaT2zfZr87gM7G1XNlYLmHyLdBdJm3Mbj5u6lELCvsZGYut2DDxLGqtu+axfkKGIABp+q5+/++5peASJZGMAdUcN9cwmn5puurLPQLRLWDpmMBnYFJD6kRJoCqy8UMJkD1HWZ562YESzhOUc5vp5JIhyLA0zQ5Rbm2yPSxMM17D4pkAH42kn5KSO4TxhG2fuoCfiSKGSxUVFBKTlgWGi7s6tyGN6OF9uxH/DnjUqC91UUwabeXSq6Q7utbcqG8VaqYOrJNWyUQCp0CYgtkGacqY13hYW6pZ4d9Pb3tkpJXRUJ7rAwpzNdljtkyEI9e/ErjagjsNBmG86iI6l3Hah6uMKMWwvicEqeid5RrqWNlGdcoSphP7/2q4eaNDvbpZhoCatSiFP+Q10rs9xfDlBCp9Nf85h6z9yfkgaW7saibzL8sqGF4WR63bWacGuWEDdKFFX7doCKL6ZdzqtUzNRz3fxOHHxohH7oblWJVUHVmaeLkihoQqP4LOwVAjlRrL/mcArwS+dEenXcjyAlZ2BQdQwD6iimE+5OHHiUbzq+nNOJn8XiBBnlWLtUINpLwZn9lqNFBkKH7tft9SrFi97O/bouzWBmMz/hpPX1qLy33CQMAYdRQTFlPoU1EvI7j/llRJVJY7LSEgSJt0Rk7QvZXIUOXWTNiYQw7QeZHLS9jyMWe+S8pPbDm2FZrDeJtHJ26JaEvPXDZPj6UKShLVdz6tdr98FucFFtj1MgK4eO2Grqqruq0ZbXJkXWlMs3Yn1K9AcGZuZK+90yhZKGQQJJL0OIgaNgaWyFpugHpzLOMMIh2z8n+iRqM3a05MziEjoAPPf59qLwqfkqgJfxdN6wIf2NNEnDxaF2lZO5hvWPVXY91Mxd1kP670WJNcAtGxaehJBj90tkdWk9RsJw//bEWaTINeHLhoFsn15avNUG4ejKLRPKaEbxYbn3NgiDBMTda+v008+sgH4LqkN5cSFE8aKr8psp7dCpfJP1zvh1q8zG+TqnTUO3DZrM+VBbAmeV13vSYltZMnpkS8Fpf0iRGoznK/ylhnLx05CJl0NFthF+aDAmQk5NSzEcRboBtYUBT+ykqYOSdMtKseBX4DDTpOAmvtPZYqebCSLsCcRPfGIHyuOcQ+gNOVVRJXbxWOdWcwNhYcGO3hJkctLIZU71OOqv6FKM5KTVdUxlOFli0TxO3O6mtE4TgCa5+2gGtZ0+A0UTNjMpUlIO4sz+RLVX3GqgbsBBTKzga0OnbsXyRrJit0N2rxE6OPliLu8f7ZpuNSu3cLKt0RVBSLv4Ga3TTxX3IJTJftfyCzXZUKUeAsQVz+chfXcRyUNTpAczgOjwB3I0MRPhJG35yzFiCYjKYAxOmRIUhFQCZlzuQK7bJiZqbI8SGo/C95bWnbW3QjXVP9NwI4CCkD/Jkq5rfCJUtGqXhMJGYi4usMGjkktDRz2ls7UEh5sabKcsjAptKGh2uVCrJ9H8TF95jcSbkD1XppuByVYcMeGobC2AoNA/IUXS2CdTxAWItWn0Rcw9W/Xfo0apVxv4UzljOfbKwkv1ouIX6LJXwKSYTc+V78HGYVmjIfNHLgMlnZ+hyH2fo3wPCi+K/32x1+nSUwHjzq1FOjpy1B98QhA327lMjB7sKLMEeq3LMVyMd0e3b3xms+GXDr8cBnWHA0RDRgcDY4UIFP/7FbWXRHbcthyFElQEGi7r4qFE3Ns5/JAvPkFL9B9Ny+VusDvcXJ3Qo67Ik6ZZ69dkRcOJboYDknt1SQpl2qgDNX/hrpMEIz2iYbZzRB8Hecwh1xXof/CvNUMziEVfF0QD1/yG+92x17LKufVw4pmx420xMecxGXmflzFkAGSDNUGNYQkDka1z91EG9V4J8fPTyMmWpPzfY5YKOHUDo5asWgR+sB3R1r3r8JCvGUdDSFW/8S2mYklsbVgyTcvJyFcuxEtb9J7JVyrPMUlE1wUj8NK2h62IujmQ6Rsb9b8VVsXb4mX1q4XNN9+/Bx1rq4QjOmj9jefM5661JSDigT8XDAJm9Ld0HHHOnq5qo1Mj9W1DP0crsJYXaav4k7cG0cd0rLrqqpHYNEDrJx16NIB48y90acEIT/KfLJIohvY0yfuGCQ29fiunrXj2Jw7yqKlodGlXS5MoqEqp6M7Ytm6FYGt8EYQrp1xlyLLdN5MjKVmDzWw1Cu2luR3mcc2OX8djYUOQmd12W7La/5QSiFevxHd5vAUE/RuM3B8Xv29mYJ8tB/sBcfvZJ7o8yOqtN0LkzIHxIozeQQNMVs5DmXS+/Z/gZyqvl4k1t6FsRAVXDUK0rtTyWHTY7O+J6in4irmNXcj+5jmxFOlhHbAbO1IbBCImiwHeOsiwcNDcdaPo/Byut1bq1JvNSK7Uf+Te9269nEjUl0dLAqBZJlnWJP6VrtX2GAB7ELOv1s/t29QPM/Wmq3tsQKXJNwskeL4oC0djA70SVGeEFDssnexDHh8vzozJpn7ximYePXggyijvFsZu+ZSL1qPVWIvJ+L/12v94h1b76LAnzfpzm+N091b6jYGtI08zmfueV2weZVGi2eWWZYci23Dkof05Eo1fv3bpYGj2T15+G2k0/DdoyWyRDyjSpx+hCeZ9vgfU8M41YXAGCESP4JBuon/wO+0lS3QEVsYI0daVTlK/UrQIU4l9Vj0ucA2zTyhbPPwpLnDhQEwLCkqNOwsuwtcye5AUZ/O+Sgw4WZVX7Sw5rd71Kcm5VFMMi5pLQFTEB4JBV9/uCBsVtSTvY4Ld22JiAYtcBNjcV8kwWM/sAiPbDY5noL6zmToUT5/7uhYRVwKafS1FzvHyEec5JLX7l9xA5xPgtLAH3VEc9W81eR+IIOxPpIT6OpEDIu2NqitHneSj2JiIO72dexzq46JIp1I6+sxoLUb70eIommdxfEKzqqFoxqgZ3XSZ/hUNabCkMDXbFfwvl5AlcH/UOR/y+pInz/1siuXxePO+tHl8FxDdYIugiEDWBGiSDtZEOihTq5S3YBihWXZ/5woTdUc8Z6gQn6d3fHfNpNLixkMPNboSy+CFl1fiz75tGWam1JF1IjjSCaKO21y37cQdUWUxblAWaQ22MJWml+BqZ3z4Bi5lhUbNyOJyqedQm/0gCve8a5NSDOFhKqSkuV/ww3X0lhx3PnTpT+xyu0SDwKAPpL1NWFKRxR/4kNuA7lW+8HzyHorgmNCuq3NElPNbGHpKJMXAfyD3tewQz4zkHocRVDrZRL6+MJkZ8RLd8p0wFUcPjvYDtya0CGk17IbVu9pkxjHMwE24Be39j7iqJtOy4JktXkxRETYmWywsXEzWScEF4HnYXiiBACqLbaLRl61MMFO/Eil9FzEK9sFI4Igi4+RZdHvVHFR9939PqFgzIrU3Zh64fBmnygaCLp6tiQtaeia9AsZwpGObVeppjHOzm9ct3OQsv4DLqWyFlV/ifaQ9HPFy40NjfsevjffMaSFQ3Ch9artt+HdLsHeTAiFfi8VuogA2Pr8d9JdbdsbnZ09huCyzDe2F6Iav70/92QzCS+s6W5iEQwyIHUcX+hONXQhLKrJT0CZ6e1URKC5jeGP7yF5v2UM8dmpkfxWqlOa5kv3lUTizOZzeDPGO1zWtX8fW5ShNAltEEgtzYZ2iUqkuXE/yWfNHlMpnnM37JyPaN/LV+BJ8sbAUNVjP5YubVSSrlpdUkD2jLQLRqNWD0vOlOfsi7d2VOL69BeW/ZDZcpbQmtydcTk12hOl5itgJYWNx/210kNqLG0cGWf56QR8b3LIfT3TJ0jpAiFY47LMol1+g3rrnjyIWd6SSTo5WLawCQoUio/hQf2v0OMkgKxvYBgsqMrkN6jgnzsqB5guXM60/XtFPIYHSpOIZR8rZJkUXT53sAMnz+/EWNO/q+0vu645l1LuvzbkVigcFrnVB9D6VJB2Cn7/an/VROqZT/HjLGDglj+XLey8zYI4A6WPLpAI4/+RXecTLheJapeeezXFxiG7IEcVwfpKAyapmr0hXE0H+Iy4OIXDIDxsKGHlGMoQzgapzOH5u2sfNgPIpc0l0EsHZda7Uaju2PYWysIjei0Uch1oLfmwytCmzUQwcO113gQUggDC/18fyS4C767jb/UpuF1BizyqwCLWS5UAkGpNBHnxqoeS77MV7B0GdzxDU70i7Xece42O4fQ4C/d+nb9A1ZYqc35X3yhzTDGqPd6ERDZo/HHQgxH/b3WtSO8bqU3Vd4KVUcBq08vo6Ke6cksSmhKpvzA8zjmogw/cHIPzCtGsp3sCuXpx7fwvUiZ9Ca9AQLmloeqRDnz9vH4IqJapcyzW2O/MO+0s0ynTvhhlEBNLNHRdlsTKh3u4bwBLsLaqOM9vzQo37NIvNLkhIeSqBFL4lg5gNgPQLxu6KysIu0vnqRSp/AbUgcgmbXx1OxNBnW0+xqdzSKu+hk4oE/jt1aamTVre0vRmtavTLXL7l7ujca5JLwEkbzxtTFC/m08uRS92Bh90Jr+Gfc9kiig6oNwvDwSLXyU3DfIGXLf13DoUW2pwFgu/qBX/HsMLwXqtdf6wO7P8VsQ8+qcP1zJV2TrnSNvG8cXfeWvhEEY45HImpmTCcVFF4KdBZSGEoTNNatDf5vRhEFznt0GQtK1b4qp8+HjgTDfw7gZeKK2K2BQzh+m4SLS40/Ae3GtUQOofZgERn5eEJl7uoEQooClwnUNsv+lqSO8PbUStciUDcwYnDM0McPKnCoVSf+ZYsODVXXmOJrPt23dyczL0UumyFBp43B5HMOzvvEYGEFOAO0tqApApQhv9ucAp3trBCxbijrNItDUd5OFNpfND4LAP8Q/7JaOlK6bT/7l272FZkhFYaj6SKrWH0m8O6m572jijz9qhwTu6W5VLGO/jgmzTnNgVEtZ75olaBMuVlBXNvdJp5AfHZyyvj/PgAdoE0TYFQhTbdx7gqa3itpp+g6EFfdY4uAHwAVcG+D2TxVOHdqhJ9gresu7hcTYMZkdBlgRFOsLyZxpzC91Yv4ZWE0pBlxsvGu76cihl+yAqJxDD6W4k5zAP4CuKzDrVSM55WgaMYLOT7uyqYRohtpPT4gaFTsr8YJpFu+VDBA5fhJv80dzMu1f5pgg2lmcFKU7UETjgEF6dHz6cAR43sHOMjeTL2hodX/zg5zLT6mucVGwRjMkTxJYnHSl0bB5rlYSqDHEii0JoYg99AC7ypdUL7NhLcxz637ce5Dum1DBbMs4u0oYRaM6wm+pRIGfQs2xB8N0b5SHYHFzMRRFl7YYDrWDTqMj00prleoQSQVG3odfx/HD7nZeIyFp6sWKtAjc0BliVOGVqb8Hj1hj7wGs+zZeDCiyvbyF+2s+gd1vd3tqMqD+elEvE5uRJuCEL25jE54yWTdDYbmmzpmNMcRMJ+RH3ZFitYqqeEAHpYg5JSkTbph+7CxmyEHv6QNTOhhrkZFkMucSJAJKeF0rV2vfSnTwBEzbhXL0GFOBSY0pY5Ak9N6pHyXa5fpELA3ng/wxhZ0vmcBP5rpRlS1vFpaepfUqWFDcUuKQFgg7XxMUHSeLsuOyNmn6L7nkq/k/yDxihYLnl9fbG5SuYUN0JoSrW1ImrxN01H5LaIXLHK3j35SalPvdxWGNioLhSH5BBga/Aw3+ykdup8nbRfadJVItNBgueQrsnaH9sP7OAue04G+q3al3vH90y4VVDkRMJ1sFYqHfDcEFnvuytSD4AtT4ns8fIGOKb/r0WHX9KaU/N4U0ovHm7cBCAOad1PXF3AQ8TB4+O1Q6kvULO/DxdcIeEh4xtvIgBg254278/WNBrGyOOys/KpWIriOx+mJFC/LDAwOOwUXS0tyhnOk0FLOL+sT3oV8vBDaZLXSJwecKaT7I/WY0usVmczln6xXhbMB+qrs9AqduRvFzoLmg/xOzyintRRDbut3PwLnpkQvcSFqc/hWEGZ2bcNH37Dpldmh4r0cCAKMFgzj5PzEkIXkijJevyOAhANuN7zVVplUz9HpDwzwj/ssk6zdOh5bl/g82LswRHA2yrra+eI4bBhmNV/U1deWso0lDRY378iWNT/lvhpbxrMo2gd9/+j9JVEHK395k1hHF6nY2jL4eS22qnLwTZCqh0/B3V/eD5OV60HT2XVXyP5/0eyUYzAn/HKh+0nAval9x34vnvx1QJgKVN4BVQ7gBdrGeA899shv90HWpKDUkKywsixErSwTCSKKPPMgkureWvHB/X8n8R4aHFzLLasWtQvXsqsNsPDeDGwTE9bhT6Nwgoh6XWQ0D+IL6tLIoEEiTScxxFq+HxylN6afyRrj0WRt062dl6EQG3bOA7OpdaQ+UZzlNmUQiv6hRKTvn3jByhQxgZCT9dCeS432OREDWPrsafZDrWlx44C8KyDHBabxUxBB25Whp2GEAjeFoaCSr/W5PU5HSArcbS/6xaBm1GdCawaEs+7LIKeKLRZT61F4G+mLbDeFR6vgLrZA28T6WgpDSOEEDqE/lWPzxN3azaW6rl1I/vxDrSt2v8xJ0qNdK9okt5MK5O4feKZKbxtZp7KV9v8is08bN78MKKdXv+CxOO8dlDXzH3KoEVoET2XyRL+9XVx2Tvni89X/mwZ3lISJFC9NrcPPkqB2BAHuX5og19GegBscD2SXx7vnCWkXRZ3WN7+JJlyJX9lX1FLfBrdy65tiI31AdfztZddHrcb3GsW4RB/aAp/oFApSQYyfCk+WcKE6RYBKNjpwhBMelgAfVu6akInjJQLg4USLqRQpT9aQ+5FsoSQAboAtz1FaK30zkmJN7pEkkRF5DVUjtfbQC8Gs/zTKQ4p1MJ3QegvTrPoq1NYk6M68O1E0qKYQ0LCekxoS7JUD2elHOln/pnoNQyiEm8yVFceEDdq3XHAQl4BRYJ7YFlWYQh97fgFfPfyJ8HQ8IV5cEGCgl+aiMPUBT8ny+ZvO6kI4l9POzr2p3sruaFAsXTsY2YEOuuDyH3XqvKQ3FJiiuyZnPIZ9ex6VkFlRwFO8rHoAH8LNosV7scwEnq1LO2/sDim8qA9K45htB09RkymHW4i5TQFCkZ/LoBsuFezHjGRCSVRY2G2Ec+4W+bdh4OOFNgGOrav6lATOASgJPCbDaOW294xZzRTcMub9l11AAYS1mBR5OgKw7mN634d8AKK8j7ApWT+1Sg/7GsiWexb+x/c1TNMWTh5AOGN7jVrnUC5ptOPrjc6A5U9Zw2PPmUuYgo9LnU2CdlEplFPa8jKevQuoSC8O6l3KyO5y5o/MfEDAVRdjcC8pWAJsNJsoLeuzlKtRJEokAW+ErA0LIqMKD2lCTBw1bgVJvlHnDksOLUz1F864mqm19JH7kISLUzoq3Kdnr2109AlRkg5SnL8ZLehWeqWU+REVuiZsWgQ7ZJIC59xqVL0DNYS8TaiaMbnDg/CPCNwIC9eV+HWReavy3EBsYoM9LOlgYiZ0FbAdoLpzI52YnibcuODS+HVDJbkBrzCaVQ+jzSpbhKVqIQ2dGOQ9qaVZ+HTqhyyS2N90B3Iz9P785b2oAnp+8u8GrokGycgEmttU2SpDmJf3r/F/WItyCMItHBjL2oAhonRjMS76v6souW7VZBTueC0yhFjVPH1s5aYcgq72Yq1zOUeId1WjIIiajEPuAkJOadu7oSZtmfYnT0WwqARJHlCPblyhEg0Fin/IpMnZv+OtBx/SbEogBWggdcgqsLWRRWL1OOb9Q+gKAdlSYRdgyyc5/tpoNSPyItbCvAsmgHKDok2HcIh8nOh7A/Hd5K9CDggNoW6gjFn30g7GIopCKe13Vr3coRKjuB5VP4qnyQE2hMKVx1N0XMMo7kPrSkVL85HVbqYgpt4NTnNSHluCqTpxAJvz3g676w+kOREJQnl4973ELp89vpygScLHVaciRhqntWkfgKkcw/GtzD/jkvFqy+FgHF+nhpn9ccrKpKRAUmPjvsmLlpL6G4urlfiximtOFsML6cNuKrF9HoEF6bxzEEHGEa0M6X11RhcJ02mlan7CPj19QXtU7P5yicqzysf/td+ktSPMDUN7s8Tsx67zmAYEkYz04lBNxjECVMDIlWPe2epUVkNRme1wZz83elVmGV2MnAlmTQYrwfBJAyoWgstrFFzLMDNdy8JJq8MRVJN8LECGg0X75hhOs4qud+kUANfvclV7W7D04v3D2HN9I+4GzMxSOrAatohjvptMkYwbl4BHz4/vU7x8eqlJ+eYbTyNYZ6Qa07sbUT/RWkZuHe9OOMaEgS+0IUWZ3cWolzpW8oLIfeVKTFZPpP2TlWa07LOXRIDjaJ1zWy3W+0YGDsawYHlnTAsGLkQfrkAwojlgZnFq6rntgFQdAI7aADlbqHMbXLeVjGBbVZv8OCwTOH1bo5xCNGQK2PMazIVPITEkXpDzqwQlEcEmjMtvZNUoPa7/CE3a0iTur+ZVb9w9jSQxhSiclYc49Tmo1bFECATNqS/jlMxie8DQlNzluOFiegUuNriR1aZOhq4ZqwRu8ff2BeLwtvZu2AZLPNVfe6kvYd+VWDl+1+pSzScUbmv17OPG2Z1qOFlNoY1kgLaiPFG6Ix1xCQyprZ/ldMgBymQsuFVwRjZ9xtclVwMhfwvB8k2E4Tq2tMMIrf4mrkLwH3jpxwpZ9gG5aU7VN8tUsBB8deXLazNLAIYPFBYfcDQTRDaSwXOqUopG11CM6w/XQgHpYLpqxr0RHYL82niBM25kMKRwcuTGyhUkM6zflLW0+QXmNUF620ju9hnoyhJytD8ZWJSd+2kz7k+fc/+h0YSTcavI6xJrMA4qP2ILZaAsydnYBY/BgHxJEmlHLbFBO3gI7oasOcFseSArPaup9kQJ62OgWTfh7yPK26scU9fTNYVIMJzhJemvcys3Afl+nZ6q04BBwoMa9fbqgAXfyJXp0vUq/jpgFFnF+yZvara43nGm1YsITJ9HWcz9PEh6ne+65HHk67w+kN8k+iunW4yLJ33qFQfydhplzMqbyUFZpErPV3dg5ba3uLl2JvAaER1i1S0V0OsZXqMYgFzP5xu1NeKGWXHZRUK5Evu3RRfDnDvHsDopMqbOuosViGSfrPOPMdidycKBpJp6YVUnk0OC6KkBz+iQedIoAJGqWJKh7OR/ecIvxPU4kr8jBvO8gzA2/HbW06oe2ra+zF1Tw5T85FXQAv+noGgHxuTbnpBnojj2+b7Uf8cs7zrLoANAdpV+cJdeh7wgoCe15Xg9eoBLdYZ/pGdTQSSD8hskWej9agH9/yy+LT4Rj/69QEjkkAP7W96GIZ51d13760p/DALi+GDXEb/A/QYzCRycjpKYGytaghU1ZXSoDw2xssN3Uydka3yPNjnbIXZv88eSZzlHyeT7cJ+d38R77cNKzxmMs3Kw3lYjgSkwRw9iEmgTxzoKphAfGfYbhgIBxjRMx0YdjLHCxGc03g3eacF4a7fjNFp2IST/zkq9KmLmxtcHmQ5TnhHSUb83mnXWwJKsQpCjEZDD9dm3yU7EyIfcnWurBQPvEHqgMGI08Ke0midzxx9igECBd0cfUmQDxdC87eWNYkzqHOr+vI9yzodYeAmh6u4IuTiZQdlIHG5kNlmtgYEr094tFmp6CqscxGMiELzJLVh1aFqEbOjS1/XJndBqDE5LXF/VwHWxtnUal03nzrdnapRPZ/2vIiKjPZHqzWZmuxYIu5J7MKNfS7lDE2f7mbNOeZyObagTGrqn/a2cKh/KSLs0N9peky2VCo0RyYPe29l4Pc5ooI0ToOa4WjwltiNDc6QndqQUXk2Mw4GQXP7QmaMZ6UUEJz0xefkg8evF8O9wcTe7mlAGAm9Ue5Fh8KzhQelTfUEApSangaGFE8kth3T3wnB5W/DXKQ7nZdKVmGmGzqN5HIazLTNYgmn9ZbkzfNS/XPLLr3ryoqbTyZWNe946BObSI3mrcn5vX7PleTadCNa6zU+G8fEdctLT5/XegUPZEyKmJTdizDYrA+U74cHp3VeuRaJ0Oqj6KvP4OlBf7KUrSyv3Coo1wMRYPeka9RQcH1RZyUP2uX8eFkIDL7XjgSt8KTkIx7LpX3Xx9OAjmLB8tCURLnjargQs1tpeXFjmnLG0h+t/QjRt0FJgeY+VhKoN78K6hNERxzE6tMH4o69n13yuS9qyWA8TsmlIIUZ1Gho78/OGbMyt4KqeogDqLeBnFtyWLL+zN/xabbcrw0ycezOnq9hS2HfF18QVXEgZlyumJi+AKhro+6tbZEsvrVTcJiofn6m8H8GdWCCqvmbytzUYVmj2ayUcFwgQTezwjkOUoQGkZ/cPbcUs6wRw5TX/KJZLZhEdCLMsEVPMglOyoSci+ZzHUOWQ6OaVBBULSgYC8gFIk7HdF7hLai2OnBQh5ewch1sXt8Z9SjulbFcT44gQJ2zlcjsiWMAX/92o3eG7MGrzKa95BESoDFhDmzYyLZKuUxJqje4TPdGgzLvPTHYc/n9ZcJHm9UMLj4iIx5IZmlpp89PQ+f2f+yr8HsA1dKI7BiHAidjSW4hBIhgJRCI4M0BkgkjuSY7YegPQbxISxCWdR4Sxw4euDITfU6QU5Ztrrl40BVaddrXLgOkE+0TOI9UrSNlWNzgiCsYXOd5xxcZOK6JeFhIT/m5DdZLFYMvtbH4SY1ZYJBmuzMTzwoEYax/tEUCior50FDSeoQoPMQKEAFHoz3IV5kiQW9iETrukEDluqQ60wBus6znH5KTYUXvCPAOSKb/xkbyJxj6NjZJQFTiiiIV3xfaB38FLrb9cFWCMqmxDuC5TNP0PrxMrYZsggtXKYJ4Mp7sfWIDqeaoCJ6xk6KxdN97r17liXJEJta8HwXWliL7ZjF3M7yBRtc/7CSc4m2211BATFlQaxtJCcXHAprDpgzg4WSGcQ78vox3UeP8Xpce45t+Owjvv9vGYf9bLmOlO0VIXdeVaqOFel0IVjP3gvbsWXXPorsTHCg57+JAWe10YOVgK9i7Gm8yQkLkYriSIOdU+yxnZuNL4FBdFMmWI6xL5YOd/GBwse3haHjg35jCU5PnhxavwV10YmpAi8HyFBAHxQszofP9dno2lwDf19j74fcI7iN1DRwAjF0aYhLE45ruwyIttI/KOXW+vZpj6XUn6CzexbFWjUccFaLGGP5hxOc0n1sGdFH16XnOstmjPTJ0mtcvBofQZkAjgl0IhfUIy96xd0KCjMkB9pgkqPZkGam6HF9uQXf8OQ2JRk/MN8vCSQyFB97rNjFIXM91I8HH6suS6WilJgzBeUM+0KUpQqBP133rYrfezdiA9vmHk1mVqcxoA+rlBhmcaa0VrGSZ7jcckbDFZIFIuagoRzlKLDs/05Bay10xbeHM4VW3vU55bN3kFopUymiFWrrwCNIAMQXnHvneNW3VFzK/MNqAGBbPKW3YBqocJqOHjYLaWJtweDuZutBGc6Uo33hR/GGDozaG+foPFOWDH9fKsbwiDGNtbn9C+e/4nmlgl7YX7YP+puuX/QZA4Omn7g+EMOpFEhtJ1leXQmTMsDvsylt73E+VYizNLfzJbnyvjyxtKdixuKTOZqIct1g0x1Zhf++cadhiH2RzSfxm+KzNLOgAf7bxOYE7UJcLj7IZxus3GWKkf3qaXILzDF+LD2R7rTx0aJ8sG0zPobcRyOSrLcpN3EhiiRMBMECrf4+8SX1q+BVEug4WuJ/rL20/3co+z2hxmCH54syHg2/fjmhgNwAxXep2pCLv4VVoq8IP44gTp3YK5vXTbuCItX1IrhCuqwt/isS+cFizF/0W0wHfwDj/cI1UNX+uB20Dk1yO/KEg9PFHcN5cGrxyLjLs3arnEhEMI7AGSLhE+zNTuoauQsOt0S5FaydBiKr8IXeiwEv8TLEbRbGgAcx/MEL2lU+FZEJGN9NSvMxuJo5slxvGWuqh+PwjGpPT2ITHrgOZlOx0U42tIobaVOuI0vvkIUmkzv0wIJxJjzy6Nrs2KYpA7HpWt6ULR02o3As4LGRzzbnV6+KRCR1K8T1xI4zKi1++pIuc/20LMvoHeHz6zon56TRiahYLJFY9iUTdD2uybItWWJniQjbCqBXyEa+kCpoodh5L2tvkbCTUjuDCdoZgc7O8kEetOaMODKKcDgTNOjfvI8vPxvqP6ghvZnXT3T5dk5WcUycbTMm5ySt/S8IlFyX24EPigWcCJQL4Osrg5kl8QhIj/KqR9goTZeQkEryQcMYUZqNzZB2SRmhUVCUvcXHtRcK+wgQiL3nK+EaERWX16fHSJXoJngAA6S/lnJHgwMUMOHEqUgyLd1m9LSk+f6BfIsLiF7uw/rFEN7CbFSGA50MXUNjjdwTQWcZtCZ2thjxEpCuBNhhQfbQUGQu/Ct+OxVO+Z1HWU5N1h80nb44v7cjM4Iv/Ou9s5mMhrFniyiCnS/GepdsbSFxZ0m/njZK2q1iuCuiz95D4wyPbVTcNgPfV2DOACcvr/WuB26vR8aqjy/3YKX+oCXpurvB3RaiCrQQMVumCJxY3ljvWTDQJfYuXgR/a0MLiey/Fk5FSlGPl2U4rxykjvwHPTL6qbCBwqdoD4r0LJFX7AY587w6UJaSznJEvWg7eCSZEtTpOO25yXWnO5tXBxwgQsUlMazrRJNNu1QumJvlzBvdZe02/dvu7/MKC5aCpp6SS0Ipgpt0dVP49QeFtTvbdqw3yaBMacgJIi5Ubnh6DtP/J6CcPhp+sBONaeGSberjCb8PNb8Kro5YmnlBVOMvM1PWaTvT4n5ZsfkyJN3lk+1FB+3QDsVbIOvNAhE6hFqklrGYgwrUYuoHZaLrbEeXhE4UfEU7dGOcY+WHATqYUT9De1XeRoqaU06aPmClzyDrr/wTAQ7cMHgCK5wLAtwTu9OB21UOsPGPNouvo7qfBC5rq14WsSULZbi49T4CD9kWu/20de0Ecv/JbVn3eE3JbU0k3DW1I8yc0/tBlYXfb7zGykR1PQnITtWfvOb3x7JQkzMg25Vs2yHQq3VPZ6jEy3AwqmPyYjYAqGwb4cUnLK3raAO0+s+zHIQ8twuyjWtmCPmXby6sR7m/ZmVimQT51l8VobqXL9FG1AMNny/om70PAd9wwom8M1kQQOj/vCsH2MoZ7rrPVULm9MEjnC55oNPVIU0y4TV8nGdUeRfYGYiNUXwLqoLUDCUxS7bhdUAS1k7W0d89cXFtdfkCdQk+2uPzqtBFwhnLAG24a3UN8N7ZLuvJyMsc3uB4uwNwtoz1ez/H+wm0oG6sO54/mqhshAZOeqns9YHD5eod2AQs72pVnG3Fp2Fryzm9I+/ZC6UBFTuy1cwFtciMklrdy1Rv+4UC61R1h1bB8wIs6/LPps/Vh46fky7j7JnOpxWEeU094ZFfiMAMbeFFqmM4UXVEGx8odprqXciyOl2LlMeqRwJf6QVmKL/lodUVgh60X7FMn5/Q3HQ6IZA3kdj8twCHCOvep6qIx+zS6+g74LLOpV7owrLaSN5rDzcNGLgrt6jaXi17LqyI4X1m/zdHqvsyIRjTR0tmtMxQ8jqgwjkCDnUXCIPPZcU4CtdTB7EPUyKXqlTh66Sq4jvEpVxPgzF7dj/RD00dxF3/xT4bqJSJluQipseGiijWAvQ72MfmPdpIJ7dBaSN6PDfNNFOWRlapMSMEhAVsAHDgzMNUzmVh/pzb48+sj1a04+ge20GUoo8A3fkSWL5a7Fir3OUFGkuBK3hkAg59I0TmYLnDS35UffjLYJYyjpjVgtKyXkBmkj+hXjKwp+DH5dQ9negfkUWeqWUqlkxgqUOK93CIF9MeIOTiD5X76Cgxvz0T2SuBNFCiVE2jghSXX31HuoXG27zTlk6RsStrKHZNwW4YKknQkWbMJRRfK6VK/nDoBXMDwzPkX+vxXHteIcK+uFTniRIhZHjo3sdoE284ukrjuI5b5/KkkQZxmP1RDZ667b2dgpVS4QPvPlJYelHPF8GOjymrR2+s+2P0d70aOG3gvAl4LkO2JKoHYLMMOJOHoKvbZ765mz5P9PH1RherjFdFROgXKJSLeWb/ujbvmOuOEDU330Ofnf5dRE7ZeBZ04rD9zHzhol1EqXf6hru/4CmntdN7RNpebHgU8GHaIbLGHW1ACMd/KcZuQWJu12OHKyXE9DBmv2Jef0rvpOen0Q3wb3CNxEilZudY5uEc9TNTGTXjU4WhCEUzk5JatG8nxPMFE/6zKX722iXExQ9uCK2DyN5B+7/J9/cb3+XZM+7sO5jDMLHpeYkVS2Z/1Kz1sZkQ4pK1yZ5tjg1ZwyhR8bWpWck2YRtRcLzHO5YcvJ2ysRMS2CvLSe2INDkr/IofQFLxXKG2w+VHcKz+DpIuJ2IOqGBz5AxdjxMAI5EMoZrvmh5+JSiwDPvMHgEopLNMR4XzVxJ0rkY0ym1pqHXHVPGoN0ZW5q+JldEdzmCfj+a1DeiAhiNbzjNI50IWxCBpyHofVe947q7yijRJYVoCYSBNcuNvBuYqaFPPAGToYM6kKEICwBYdeUf8nx4XPapOzUkAWJwtyEWfIUetMyh4z7jfct3SI9m+xWkQljJhiRQIFEwCY90BFw9q4xX5ELi3pgfAsVqqDkrlLdtts4K5PHcRoJpesEPqPaPnqp4qFWsOSMwhnita9/2nn73fvpPvMA6flxe0s2nXG+KQ2V9OAhHkjFzq9v2zZaWt6/AkYKB47g/2wpYmtSzcCSHLbrxpfH7MXtb8HkWTaMvryotXead71ZZsVDV7sIgfjTWKRHvW4cbmYd/adjhm31rlQTEpBOJxaBohIfKlDXeSSs9qcgXk2vYWNyhqYlMMq7YY+F8QuK0GkYNJhiDHgrIphW7IzLncUG5rMpyJtscXxNYgmwrymTWS0Y1hO5ZjbHDjPsd8Em2kifECo6F+HnsXCtvqYxsL3R0hMyOAqpkJDgqFYd2AVJRciesL6xtwx4hVlbqNCgcJ4Si5pXNat0s7TzSsxHjvmiztdek4q0U/k/BgrAiX1hVAlhu2BglUObR1S2ceu+Ct2R+80lWg5vzRjRTdU6e9jQiCYtzWyyI/MuF7GeVmCXJHt7Sv5SuQ0RLwXpM0102CI7ctKLBiRw3VVdkONHRiYQepELSIgoM7/5RiX1d+I2QyTwtMzHBuzbvO9I2sEp0cgrgFpkc7h47DpuNkusUNMb+WxMsJB+nuzQWFTGaakXg9HvSjmRyIHWt+PLEjcgS7IGYzgdf3r9aD4IPosc9ZP4bFFAZHtkhwFZZn2keru9zky5iLYfaHB2JyQz5wQjum3pj5DxwwcoQb+TiVlISpgNDJKbFGPR1gnQpIxV2lS046+ZRqlqRqRRkazfzlFepZRFF8dtw7r+PUGZcMKof4Y0dpRJLqEagPRxa8gQ//Xh/7loe3w+PiSbhpAU83794PKTj9kyzlnKwfswGKPJHepBJRAhA2/pQb/Tkux6MUKAFLosQGCqKsNBHDFyNjZ0vaqaPCBdbN4zPxUDgrLCe0mzgfRXnoWUasuMQOqrN+7JdepeQXKMo03EymKp8o6OoBWJhzekt2lxzvluJ6IiBelCP07SPdtiVqSK5k1SmXPYaPZ+lAAyP7XhlJ/Oo/wVJnz4FwLsW7E4eDO3NBP6f60ZCgrX1Ie6QqbGXy6ihFZlUqsUtJ6Po/E8tZtxrb1Bq0lnrQ+qNW23ohp+TkhdNx/XOVh+hDhGUhCxmvF0E79BD4sybAUKBKfYHNrtudKFluObjCdPedzo6hAZgbNrPQoToGeikAyAQYMLXZTX2KQ7WBjUkae98yY/Hs8toX44mmXOZJTieoEcM7xYw2pqAzvFmAeKqOKBZ2tM5M+BGDeLmue77RiElMiBIjuPWKQK09zh/Z60Se8sNnzLsyjSMDjfjWB1Zj6iHit9bwlSHIdH+tEOD+EKGCEpo21ePCk6c6OrtghrEZxMS+DFQbENmFwtBQCdRyC/1512NvRrkHlRzsUH+nuIdLeI00RdSvpF2dR5QhhSxmeludJprQLFpquMhMMQCOZsvmqj7aqdYuD/aFgG6Jy5S14ERLOmQxr6ZSNkqSLvoEKSxtNuCaSkyUpKMFpELHOTjbdUZveLp0LNugUXeFujtmcvAp3DcGbbIaBRumTHZHF4CnEH1FIaKoiAOdd13mmFZL0t7wchbYBWzk79aDzMKT9o6mljwhJLe7hwiX1LsZZZai0cjT7FK2S0uKM6w3dnAlPeu7LIjNl2h8PZO9BW8DfwItYT5ZhfpQAyvFRopS2owx/06gYxwW8GzUVLfEAiKR1MizNprEnez0nuJwc1iZoBKcilcyUPHJU1WScat23v1uY1QSKUOf9HGgJvkh+TAEyu0udiGEEVPYSjbY8trDZrsS1Duiep1TehPdpf5oaS4ytix9xohf+43xas66itvG63i1W0eogDsOoGZOWt0rFV8+EYrbng+MKsCJ5sqsD8S8YvE+4k7neCU+7yNaUa2hDgNEtnTtdXqfd7qIvLbCOttKIwGIMNhgslPkmF1O5/6aeUS+4spvSjR01GGbnRakwKA+rpyTNp7zKQdY0FdKOUuC4xk+KZYO+lpDnCYXMJsPnbz66WydI7aJAYk4g/yURUVyA8iDOClmCzTe8ku9yOAerG7aovD9Z+wso5dWyTF3H/Rzwk+aPFM3TQ5mRiTF6xu+4toZx2f6pCfAGMZOUpjFahfcjAIFxwBVRJAdiMURY/mWhKwQ4FQ3FTevSKxK1HiyRskSOaUdxqHf6e/xKDvpPv+OSNeyQX8QbWifbdTacpIo0iowu2VCNQiwsukuUpnkjFvtRrDHxhyMb2JoFntauzlz7M7zF8L9Nx9Uths5i04Vbqahn1r06C5q04zlpuOgYYIzSGGmEReMOry6LM2eDCyHsHPXF9dfk/LiXkKWl4twK7u9axhZi8Hr1zJnOqmD/XoIRkz4lrNYz0e6J002m33k5MFqOFL2ZP5gQDuCOKG86WRJFE0yW7iShsFNeP3gBsO6Eryb1k3KB9NKINROe36Ko1g3QclBtBAat9nePsmccvxhaF+26ZjztNzanwlaJdp9Ha8hOkSU0vmz14fPBIAvrWMwysS7s9dW8dci1nKALAPDYBFODSvG7YAJLg1/GeuPkBzfuTcR34u8BD3nr3FhTHl8uodtjCNiwSuL8+2zJyyYDGuKKtiIUKkkGFvbLhtyDGCWVv0xLZRPvUOi8kiSz4wZfOp3gyyg99vroO1dArc2yb3JUAoF0yI8cMYAmROhwL/vfyiF/L1XXDYu7eRjAy+u4ubHbehjuRsZ4LtOZ7txpGTKsiiIW85IS94jHGOHXIfUmFus73USEQZAS7gcaxo/V+Eab2hqExOshmf8ROsLvJKgbfPW+R+cVJU9WGNP2s+RIgeHY1Qil8oCkRJn509DE22hBUyWeRCOektNEKhxJ8c2P1vqfGNSyAkatT4TI7yPAagztIshcU5p3OoXtqsHOG02b0nVtI91yd6rshT7LugSWTcqv3WT/OGjuEu78AhM0yJ0pnHNNNawLrYMLiJhe464qJFga+lxuSx7mTPKoEAjUaR6zyq+lPiOXvm6Qd9f0evWb50wib0FdNSGxYYa2mXxQNguL584Q3eY4zJJvDbpFUy3/kc34SDDVNuC+3WoE8VL3DjMZeMXcGbLyL9oA0VEnSao3lrWwxFTedmJmtC5vM4qFQUEb8RExvdkzapczOdbd6hAz/nuSCQ+QNXKyWBaX7gFSMce4p7gOruGH2TdKgasYtxjftPf6jcDOxzia+QwDVl22spm0EAeY/XFGiB3nrhBdERnF5MsmBsy6bRrREYv4FOqfrgAq1V1kh9nwkRzqJQx+ByeyDyCqyNemVd2MOjZZ/U77JIlQiAIOAz4VcIBRWyBKEvkCQMlEGjo/96ACS7NMqmqSl42xm+uLxJpJVxMzUBfPaN8TUAni51PBQeZSQWV2syo1gI8vg6kurx4eB72Bfu0KMHRgUb1H0n8/PqvEk28sAuwJI5Pe8SDn/DHTlvKos50fA7Jc0UdSdoxkjhGMlVg/bN5t8SkRJ1AvHFwyL7wLU75XfmmCXLIbkno/5P2WWuYIYB8IPrM4j2nOB8AQCeMwpneoDcHnxE8CjGPjnFjDYS4836cUwnET1M4GewBmm7oY6vxe8lq747wkjiGXuV6Gs0YPeBJVzyVO2HYYpSBlnYlUaTbdzisPlAYzmpGwFSfnYNyyjqSo2kSvHzB3nRZbxPl4nRjKq1F2+eSvpABWwgRdNg383K7I7rpe1t6dzWi1hHFpvzsNnM7JvNW7MiVDWzBjQ0R+EYdOSn43asz9ywQn+PgoWKUtON0+dYeT/o8ilXX+5H7bYeCMraDCHEFiKqNfmMtOdkAcaiVU68JKdpLU1lz1hhfJxCZRIPPTnjPqPJS4ym1uULl0wbCL8W/j1ApHZCky/UvFKdgFls3xupsAz04sRU53ACkUjPobAE8MDW4IN18U0irUaztqfh/osZoRO0DerF8bZ+lCUT1cpma1ZnDldS3zky0QnmQZL/TnG13eFVq/C9LFnFmCOiqZyZe0N7S5DAZx6QRMlSAbhMP9ip3t84JZn+qHZIiw9aAnOTVQ/d471zQq2vueG3/5D69qQfeqF7Jaq4ciOFVZidOmglslBkGLNLxKGbiC9OMzCJLrx63OvE4aHT73I1BbrXBzL+C9mMshiwHWu84c31r+1sfkPK7XjqQE07wJDVcVRbtsyzwx/tJSAYgnFvL12MHwjQ4GpHFhv6OEjq1pRx3kEnbLXuB+Qfw0BEL+ilpE7FNOJ2j5DelBcoe0pt0xztZmJimM1NQNQ7uOHLAVYc9mSJ2Zy7BOpMY4ToQtqEa8JM2X3kdBcqrFj/CeolKIWylE+U/FjE7Z15zTD5IKdl30WlCUJzbs3af/fCooA/njJzFmmlhBu3iv1Z/xt/UY8Fvn4gIT8h2IfhyefPgpvxTls81I/GwWRWyVxnuWIp4Yv0H0csZzRsR5gMFmNzDHHYB/ApnwNku9qam9BDkWT2wZHujHamuhgSXmXOHdJ5TIVEgIG//BkTDt8b9rU53+4qN5QQ1fwlZzYC0lkGCAwNIZN17UvpOrGtrwnx7EdW0m4dNXVOvT/uXNVNOo/tLKt7EVkGSmhMytSdrDnEirTU4H25sxsy4nowJZbepf/ZRoHUeY5fme30q7qxdpWKRH9oK/V2IIgZEtzQlcHwPlqkv4AXrluPL/mAO0Lq9SrRik9ASQhWDXlASI42WwVdGWV9ajXgjQIPHpzoWdfhUOHgYIzZwBrv7fsywabhQyb8ekmO8FGnBdfb8O8iBmeYrbfNSt7g+OeoPuuZ/XPqM0w/cmfxiQV3RVD/PGw7t8w6ELRI4GdzJ7YEGZVPM7i3Lo2EGSE6b18ZNZQXGw6mllM19UGRTfiaNSIEKwjZzd4MDY49OqODLwzU3Sg3V2GdPoQ/npc6Hn5F4Kmf/sQjsjPIQlJ1nRneJsDdtJva1GM6Mee7egyoa3TZiqJVRfj4lyyDhuiOquKBpspyxzXIjCjU0RK074aIdV79E3lUDLOnZFDXZXv/2jLAO94Y2jnqwCGtkxNdOVNoBj9c0bN+8sP3rdZUm/ma7hJYgLURL7pSdN73TEDbWLCVn9O+NnC1vEZy1iayMRnDM0X+ZVGfmQS0OPR0ehunuRcYMTi1A5ztg3mLFmwZ1mvtt5OHTUZUmkJp2Q4xwYLbXPmrkL7uyR0Dof+TuSltTfLRysxfc09hBmzIdk99UqGpy5Gfk/ziOq8VbQFw0XO3HLBHM2CvNT4fbg9altp29H35J9/X84cRNSsz8AOMtiESdBG6rGbCRQFB1Qn18N49aFW0j1oqICKMbVeWt92WTfJIJ68c8oguCrTfmBJszNMbHtCWlCORm/o5AQXdW4h/+skXTr0gx6WkWBjMlXOOrNYsowYDuNEXmIef0tLnRlfPp5O6Fz2j88LxG080Rf8jXMaAJQN5NUGZFRUAZhBsXpiSq5oSU0UiFA743ku5QOpxReOb8Z6xKjwA5ia8CYEWN75VKkoW4Q3wiIXvzOilb5g80UETCXMUa7gDKbNRZV8xoYJoxtb7KDEtn75UHjb/rB+kxQwgJkTdedEdY8BKZDsYbE03u2RrJ3bu5JaogXM4zTUUE2QWNr7OZZo0ucWzLqpwzX767qW+nS2cPZdFF3ySZrvp+wJssEwFR5Ld5uoJw7o+AO7nAGjeid4MHq6ShyUCUMX01UE5GTcRSdTbHoiznFtvYMI+mygjlyf5nUHCq7lcRXqlutNPLsCSccoeP78qlS43IHuNXhu4/mfmpWkI95GvhjdMUD7TnOKZqJ2RsLwQLcrhF0esO124SjcJrz9IfXBcOqtXr/zuo10ag52d2fSCuojoIeMs7x55j7iewH95yT4XXf8wR+0cilibNETx0qnBuWdXKa9T8/d9VXgRJaLE6lD7uHkFRdA6TO+T+ZrOYq4Aw9/BVX22mOjpoG2HluQ0AToYbJwChUqUr3k1N09rLPvyfaBgpm+nBWCkJFTtfdGLmIL0shiw8TVLvXAtNQAUagOOjKzzGYPXPMzcQN0siOawGgKkSxgKYHtxeUhRrkYZOkLNIzplVxtSG3X7Yv9a3g9jww2gsYoSS4SWFUAyHIjp8G3+Sz4cu728z8y+XR7W7fvWosw5x8FIzZNQZH68uF15eoOLpSUgk0S+NPpgu4AvnSyEvDEqzzW8NvuEkpPVER3381/t6A0T2zoMuJvj/5pVe+Kg3qQjUcRKFD4atZDFxaiKjoQX5rw2lnHGZDlktZ5SpGG6rbuSaJji7+HrL4/JXfkhEBdpwF/e9GwS2ii+Achx1Bzzw3JLsiuvAcru10hkc6S6pP5xLCVXake/L1vuD9s131YnDhnxPsJTy/8tGA9/Hocbd6MBjdMRAlUG3OCT+QhxIOW3LvK7Mvh9jYZZHsBV7jG1CML698SFZfNvsKf/g6LrZv1hCkfo23KX/M+rv+JLHETrRPyiE5RurHXOzZO5xE88To1kLZFFeuDOxUI1WeNZF5ikYnYe3EwtAhoA95RdhDQELr7QIKeEaDH1cCRmerRDBtkZQCjjiUWFxvFUswpfsKYu2tpVC0XG+oJ1CguEG/UsixVzSgdJdS056aEsEBrF+qxhtISad+UQgzv4wHbgI4/WQOODt/wEANqTS6yvoEl5FW2XIE2Agz1s0eqrBsRR9m1joG1Ap5+4QoOQEiH7JGGIpbK+W2Q7kSFaYF5cr0QPNOcTe6qI6kAOzg6Q7J8zfh8P2CriNXucbXYoeIQAiy8nd4AlwK0ud2ogVI6nlIw46gVVYj8yvdSs4UtCU8R1C9P5uw01LKx/gtn7KVyeZWpAOMjaIV+X2qJtk1xLwJOduLyKhXdftc3XewODymnsUIb1GttxzP5W+Qedookw8uAmS+GbUDSD96T9rO7UU42lhz4mMKOpIUvphRWOHfziOgm5SnqBjOOIsyr0XKuVfx2MB5DWITPXrL0RFUjiqeWO2DDPG9TeB0e6BMmGIAgXoNOEhEggFQF1iRe+2oul3R6y26I3vVzy0E9J5PwVpqGFkB/Kc8Ro+N8FG3te+5S0Cg0VsPgvn9Ku+HAet+Gg3BQkhW//2w8S6ZZ4rbnZodRuH0upwfdAbNhawcaqFR5E3ZpKbzGNFyp4WMB3F2GJLEv3SYDkX332UxceULsW3O0S4HJXp93kPVRnKu0BFLW49PHVTXTX5M9O2E2FPht5yQagBCmYeZdUVPWtgnOQGXMFJlEfkU3TmIIM6ZBxTsGXNGa+SkgDeUetOL7b49grX8TocuVcHrA6i1qPlrIcKZ58XNkKbMNKhl1XU5cH3wDXdCTXv2/Ene9liyD2NCE5kwsYWZkqWE0kjJZoFCQQRXwmULXZ8RywMNrF+eVRFDJoA8mmwxGsYpXR+d/pm896yRjberbk/yq6HZyqm6s3qoC77EVuBeUOodvko7sN3Lr2KAmZyablsbCI9xFun86P/8XMmoJQI6wzIMsVy725OssxkznvhgtvFck5GYC0zbpSbVNOiQtWSJqgFDvN3C74iOqGmgjILSN30r/4LF7De1pRn6u5BG6/Ni+R0WSyvQ2X9mQ9CMaNomDMI15cZC/+if/0gTFm1whKdgGG06iwa+IhVOe6M4h/JTV6NISZEqhiUiKSWffNfojM+pc/edVM+wEjgrIfeufPxh/7pANqSTPJS1hezDu5U6IbqweNWxAuN7bc0ObIRdHBPXj+Sh5V/TizKyk4+CbPM6SBBDFdutPb2COF4gJZTVnWHE0iH5FE/Jeh2WqlybS8d76LlbW4v0N3WotBOelaW9yG8u3qXBjIn6fJ8149WPcJjxLaQg2/LxuzbTpPdxMARkm3TPeqsYVa8DefxCOhebihz7oQIHks3h1MvMvYxzjeWUuusGgCW3uBtmaD0AyP0U3zRyCPyW0bGfvF8si35xRapMMB+ITEiWc2TYtFXDOhsYzF92PjK1jgFrqo4LWDnT26qHc3sVCxRzAiaMkUzkL4A8baNMegYc+4xMBoHch8GEkFjoppJt4urca3nS6anwMVGjexNHpwiFa0tCRwOsRqSfPQqzBwI+7gkO//gwP9sdACQclu9LkqMArkvtsgPv+YA42gfnTlxwxYw788D1uz5hZ+AxX8lrviiR9pfjBDaAmvAXoXfkKgWH6xo/uoi6qmM6O7TK5KRx0t1QUQdY+BgoHAeOLEGTKXGcDX4J96YADEHJZL8AnczyzGADR8Cz6gQpt5pn2z7g3n0rBh/aUhd5dGeX7GcCXHh7TJoiMuhZk/8PbcgpBZ35Izeh3baTe6ZT5lk94vPfPfQrXYeDSGjT38MbRH3G9H3hIJBN8cKhZMOm1/Gi+Mg689UVE9YOf1f9Oi3NA9SjJlyiozB+ZzMh7XikVskaoR3LqoRcASZpjZyTo5/uNvnyKli3lJOTGCzQ9amAGe8Rc9tTpAOefOFZU6PaaeltXMRXLZcneqeWtptvB9WjE2I0Mr2KI473+Uv5lx+tJrfX8pSi7wwIMNqKOewtxJXXrMCpiRD8YjTkuYtj18F5iUCx976YIELdvsBQSSqhOu9QScH40DNel/HuiO/C+xOwEWiNRdPJYyy9RTb90nyPSn+0O/A+NOmRGbtQxqdJ9+zpBa2An4UBDl8mj8agJXA8kVy3Emgbi7k08kumjAvWqqOrc8Xz58toxu008Q31I/TY5hr+LpKDr7IEomYhMX2MrxVK5ufXS74rrj/jaE23JV6o/0jhhOpU1RygKe+oCsZa7L7499ULaeFSpQiB0pKZryJQGUNIyfg9cMDJySl+0IgCxuJsAwHDuk6vwuhucni3RjbRLaOngse3REcK7uDCYBOjrAp6Opc/ozBAj4c6ayJe6JkSOcd6PVTE/GHFzGnBAzXqAepmrPJz6JFLxodEyKq/G6bJAAWc88odKCsQNMiTBU1KqcdiPw24SYbgmoTRRHxDU7BhoB8fbhNtNWASpXAm4fCcl0OePLTPJJ/eQyZY12H8Xzrx9/oIK5H8e1scGvivicrKCeJE77EolcfhciksEo74ZVNJm3JpMYFeE/I2dibYPTSACx86cX1J2XL5+XYH6zGcNvG1E8CM37zU1QySu/4MGq5RFwIvhGx2/QAYAXTySzNWuiD4W6++c0fdtEI3f9hjBLUtczQfyWI3cvc31NZ8yc/SUA+YBp+8I6UPV0pN3Lz688JbcmKZeqtueyFK0ZiVriI2WuLWGrkPcxRtkADZbwQvg+0ECT7WyuMuIXR0L3T724R0KmwvEpni4HOUlSUfVthfPhF4Dqnwk1HxcQhnQWF4nKImXd9eFyAWJyAEVOUxACnXko4EglEZm6LwcPqb5OykHq8eYMs8MHqI3klN/E4tJLGntlRcnZqsKXHdqSwfu1Nnocw5n4kJuOyeYWGlrfWhRfRwf56Ds1vvF86Ns3R86dd1JfvVp08FAZAOgb+cooIFQ1QD2cDielaKWpGYeb4UbjTcH8Qr1/rfykvz5qXb5Cp2LxZzlZTPatXnrtgcQ2FDXYGLvFOyEvWcurRvtiulK5SEO6A0xKhAfkQGO9iA6YbZwnRpRAg3y2fLJbxRsUIJ13q08JSx2fhfChPmPTRfufiXKE0mtRzq//dPu031FWZH+KxUpHU8eXZBSgZZkOCF9cSb29ZIawayBF3HPwobM6k0o/Glb0qaBOvi7LniWCTwKMOVBmW6EWnT/rJsTKksqOGGX5A7In5q51qJFCBR8gpXe2hTdkjeMcSdzym10MUD3d4XaFcREIyV79sjtPHyj/Jz+Vf2kKTOD2WPJ7+DrWCJwbM/V/ZySFwV96dPiLc+OaiWo8s+060/jSOLwYwkJ/2h/iDVIvr5Y9PDtxZhCCPwCADALNUnEi2h62LrQYJLFMiI3MqvpuN9hyuG6Rft/eZo59Q38uyBAhKf3J485VwbPceV25kD1Z0LdLgYnVEE4unPW7Bp3noItuqwvg2QhJdlw/bk1yG2arVPtgHaC4ZeR1u1/E7ntloQndH1kOCVnlVtcKiqU0+tvFq28I3ELz2DkxrNUa3H84VbhwpsmLZ0sPbnApMsCNm3z5UaGWG5OMZHclZPdryAztcvDIiyhFfEQr2vHEZiyU0F8yCBpMwuBoVi4bVps9gmDK2MwmsE/2yqiIXfQs+wn9JRExsCCQaZhAVlFpP9jaA9ml8GgOeVswGI4tiiKwrdGCPf3IEbi2sOl5QbpXJxiB56DXBgxhFLqwnRlUXgGgvc+Un4CTcl2PhaWzJIF4Ffbt9smGPyBVpjomBnkoOFkaynu73Rh1Hoeq3POtHKzpp4cYafU7OM/RqTsTU04DvKQs9SxOh1DF3tOj/txfGVGQOzmIzH9kA/MScpwaiFLj8oWHK3JBS/t3Sn/f46O8vhU8846dXmkP2X4qJaPe8cjLPtEnnW7IyCeG+Tuos47yLKXc2IS2I+CJfl7lJC6AmLyjf+YL8K+4zB/RkYVi1duyAI6KU2qS34F5AqxZ6aCMNXG1So3/527n5Sh4BxZgE7A6+76v8/Z3UopK+mpMZQf1/dra2moCYOa7U1g5PBbgPDfpCg2QrSRLqNxpd7O8dZYI+oZCnWAEqEtxpSTbsCCJGf//q7VlIfZQSb4ohR8SfPvQZBEvzos+dgMhDdhtW1CS5VuNBwOfmNrgfEUszeXOTQdNtwnzLQYAUSGBDw1N/Gc4Kcy1/O3iUBcb1afY6M6vVJL3pfkhFI7q/uGgn+xXL0WjNDlg07DM0sHAXabYy41Pl65f7nrWVyBoBuPvStzrFiXy6PxVAcL0y/FmOG8h5V9bVDOdFkzzDssHEYv0C1D+ee4Sqc9HZW5Y/j9Eh3IdDMdzjyJLkTl61C2pRvrbMHV7npPEc5P0PIouPK74IyMNChG8wIsHitnmEmWwQ1ei321yfG1+mC1gJC8S3mVjYH83rgtnM8DIL5A0DRbxjVIjLnFLgNdA7W8k3Ipisla+89T/jCL9i+29HnShtquLUF0jwzix0Cnor3shMweQwapfI2gDFJh0cseOuHmcqi68tIZH8JCMAa4/3rM2RiPnukbDSy2tBkqZ9HXtt7Lt0uN6etWM9fCigYR7oxSHxFm90uqRF44LLziYewwCkRnJZIJ3+R1EsHTGgNlcxt82RHtieU8GE7jOUksJle1PCL+DALGX4p3O0LJgQsI763at+p+8Zz9C6brLkTFVfsU6x6Si32frMEjVlgoEAuo8RshKNR733bbsgD22YcCE1YqA8hCq02V4Nhal+cNJMbfH+CdrH0MrN4aoxXwcFF7+QVxs8fkizh55887v3dCv0fVHc8ZAlqxQ32RgFs7bjsNjZurrBx118F//fpBrcw1yUHBbK5Jn5e63H6zpPz0e7kMqPjzbW6EbGdCbwH/kGg/5B/O1nOKL0RqzCzyCSSUC049C039Tr5FjyjkB0biJoLuhyKN79L6yUYfU5ldrTEXUPAA7AylYWQbwUxxSOXh1auc3inaDqhI++TK/VA/E+bsinrrk3oK2IPWGkF4hbn4SWierWcf6zVOED5Jfg2JFnSDHX0JJF7K2SJC0wC6geGQxFiNlbIHFFoEntE1L3E/4A+R92hU8gCtjfOWWKBzS6SBL8qsAnCwTy6lBJj1PCuXQIiBDnicT6z3S0Z9DBiCYawQyT6W5TS/qk7/R7q+xUYo4jWI+E+bHnkrW3CAvmH1gb2RBwWq2YCvcQVFYGoxtH0LKXF640/RlHrvCQnn14kh9/fl2M1l8aJv8ul1IuqeJPBBLr1AV3LuwmA5JVj8nx0sbBercbA/ubOfQf66UoizqCPCZEFbDz7saGobIoGhmpW/YSAfW+mvFGuel/jm8ds+GJYXOVQadcvsphGVrfSlVxDea/bzV6j3P/O+51jegnIC8cyBWXwIxs+sjCfwEwiubN/i3e/Dp0UCUmg5J7XMccCUBL2AwtIxK9Vyqu1YOYSXPnRiCbTw3ZE5hK6JLhHV6ZD390U1sxbEm3LyeK/xicXKFyMWXmFyBcMwE+MDtUeHquifAMEe7G6wmqUdXqB80WBbCVfyCqtwEYhG1r6n1U9ZKwMuKjFLSF9WT9acbhKS+JeTMHuN6hp5wzOl5QHqyZsXT8J6YaVgDhBXCcM5HYdYhpqX/8nzhoE6i5hlVJk6DccVMttsP2ot6ECz2zRscPZTDm81Q9GiJW+wbYDth50VkZDez1bUN5jQy/w29Y71Co0NMZEdUvVYXy7pD4uMLcriH5d5Rz9fcZKzgg2PjkrF7OHFRHsXHSB71DPhtkD4DxzWKQQDBCsnq224VrptjSO5GuhwDmKLzHHoKthy6BgSXZXePPXAFmxCErJ/bHTU4O7PGjYHpJeDLxSoMQvQraiPDLAEmQpT24Rz1XavUtt0OM5jf61LDpiMucXnwywfCxvvgKdVPb5s/i7wq+68xrnWYGlzBwze3Z2kMmjLSpGcntXYRgoI0JPUyP/rwpA7nakbKqLjMqWdNZT4g+xKNhuvUbE3OVWoBkCJXy6TJxMTZIOIkTzBHYnc0AFpz5bSvjJqzAIzOCbHi3ZH7LQ2k5K0BWHybr+LM9qAJqWhhCRNppLbGHdHk+rKyF2gnlZLX7KjG8x0YhKv7Q8hMIr3uqUVblCDtC3D2DASkEntFQ9RTWRy+UZSnScGBZymF5lOy/+BEr5+Bcm+ej7BJMzGtT167/VC0U+bFCJlqRcR8DtqFDoi6ahmLWwG8Rdn9fMnPGcyCHgVUn7u+Qd8oqkJXlNYwQBhiRAEfbaW7DYy1SZpbTbc4qBVHO/GrVE2J2fHyWFvBTZEh/RgjAhWl5DiqFRzFItQAI/MYV++h3alWvGsDaGW6Dx+Z+TrPhp8Hn6UxP+O4Dmhf+1jyS6fTDcMJJ9ZYR5Oh5IpDGpFDbECEB8NlXeNjaxxFAF8p5pbDD8SLyqzBjLqATKDLxamyBpz+6hyxG6jST9K4NORT9ym3w/WRmoDiJL9LoRMT4rJx88bK3Ze8NpRzt0+QmPVTbbaAer2YjC10zRLPIPwpZm6iqOHmwMlmaPo0RzwHcVYCXo7Wu4zuOY0LotvIzqwNOOS/ZltLDwuLk6KlKZnaXJvWvWJrwOx91KWF1Tq4ZtNwzJGJBWIQW2bRRbQY5xU5vSwAnGq6iFexLJu9lf3QnVq50nupLoGyoxGPK0z55zkH23lscRvE7P3S1CKLQfeBTBdHpVCJy06XOTzYOrF2fp0LHIn9ZbuxBkKBGq7VcwJyqsdgprhQhig+iDh9r1asT/SH4MXvXBgeVAI3nNVOZ8cCauagC9G+zzROFXs2xQQACsfgArkcOBoXhS30JSRFhgn3R3s2YM1RXoC4KBBu7tGosuQkS1GM14JUklm2VWjOJSBSVC6/u7JFtCSL3Mxrm5k9oxd5RgkNwYrVdIp3XGnP40Pc20reUZo+rVaH0DA9IDpkpteGuCUAfKg0Ug5mFTTcNpKfMxvTQDcFJjOQpLRP/eMqGGRA7ZMEOTghgK3Wc/DqR5MsIXbrhYRbo+l9NBZ9iaVG3yPZITCAGp52QnE+ou21BanYAiEcSptf21sqzpPYqj0SPsN7OO3CjEGn7M44KaUZeg8zJn/6QX13C2Rde7ZDiPoAGmqrxRYhXL+xAQ0srMcfniXDWvrzwURV2AHh9RxI62oa2TkmQCnYKUbv0IVqa9+byYYhE+nxU5GPZXlkzg4ejAjXHLltf2cCEQuYZKj90v7e4O7QWHMlLc2aOaeaXSMgqFnmO3HJJdc4Ir5R9U0qeEuDFuIbTQfzTSWUBzOdX6hbLd3tHrroXn75NuoUiznocaKPaxFgI+bGTCXYidw49gQBDsQ4ZBnGSFobGpA1p6or2/6y8GqboxxnHeen7r7dXKSGnduWExgpNi/trmvp1sTX74ZYk9KEt/tLN3gf+Gi9ulhBbzzIvKyXfzBJEfsUlt5DxLihC9O0ORK5UmGpkyw1K1Ht2HqpHU/jHRNxWpM5s0gxRrVYdF6abkoauLgZBwr1s+85/IRcvs8cjOH5PlUlrCu4KSAxe3vqQ/Nd6FXdSexvriQSjeI76yCztzS7SfeAxc0U33xJj0CsWZUtIBdfwW2NRfsjcvRPFeDUqKqLLBxpYzST1ug3qCyicLFZsPPnUI5KvIuTGzfQjOyks2DExJjMN5aAYETXeJomCVY0ShYqNcOwphiydOejTuJyzQ9Cop63LxY6quSaKnQUZOvAr8PNYxuJUf3+7yth71jW9iZfeRQQmTiKN3LkuCknmF+oLkxeuCq6L8sHA/+iX06eoDDcDETbJvmHSshdvhQfZWzwjhIpWDml2PZL3F/Zh9pAMPbckq21eIg587GfJ2fQ9R9+XUz1gTlM4sr4jga+ak7yntG0A/wmZYvXM732GF+7xg5TmgHxBaG5dD8ye0CW8dvRazLDmqsLpmTwxkJcBN+BAzts/HSHAnrs6rSDSgyytkDtA4dMqG6fEVdMQDzhH0pX1TBNmTUf8HcsPZAa4Ts2TkJk6PVwji5ZOAtldMnh9suuchjLMBqtgdKKxEjr+tva2XeQWcWQciF6nV6awbRXCKFO29R3j6OQVDpQSITsb72WHoN4WM2tszXAQBZYgxINKSAvuWMJFkNGsVn/FPeYTQj7J2zemxyLV2UouYDGs43q4saSvw+tdDWxjRT7Jd9MmG/GHOOhZS4Frk3K+yksKz8EI2TzQj8apP99edeA15ulOaiPFcqrHuJdVDQ2l9kLxGF+voA7Ug7JVLuzN4Zn+X3/0Z4o2DBcVf/XJwYijQdM+UzdjA6ed+eHZMNYs0Qy3LC1kEjOdZzkaKtt0MZng9z/etaTxvaHRG9IwXFRBLNjmu40ILQRNnOmee0x/m1DJAEM/Ac+Yf9FaXp9muCdtMB/xUXFG2orXhR78slkhdITbHlv0Dt18fvu6OsuZstEbrXUhnQ4wBRmuiZKI+4iJDFfqTSMPUCRjZMPSjdhAlsKQjxYaaVJVRGliYfH5TktShPfLH2G5WPgNdDZrGT+wlw5gcRrZHoW520fjV+m/drpm6oM4nGQUh0D7hIdB2OiPyO6700RYyPJ/UxikMWByy4RSPutHS6BtrI0+qIU2yApC7bmD2b8pzAyXdMc+KtmwzJQWEutooOcs7Yh4yLYw1L0MEQUStdQUoGLasvpuGyoiAhBVGIpEVWPpXb6agZb+JWJZ7V7XG6o148yWZ5ERm7qM4dvbxnaTn3cBC9dTMjBrH2JpCocGevdDPU1EwvnLErLdNtQopEQZjRNrkPF9QOb4Mh62KG1rv03gLDwnaPe3LDxRL1whpppi8pc1oBJhw+MGx3k4xLiC6XzyIF1QxfPCpkRRS/3WdaQOF2GGA1q9RBzqXO6ItJFv2ssyI9bDUd8iub1V0hw4KAxZTQ1ItjfEJGvneZXlvilbUqqN6dFJMXI1/og9FIJ+Nqr5B7TObhpHvnc8lrsSvuc3FI+UbjJ94JhyzcyW6Y/8mmhw9hjI1tO7fJxoy5LhPs7EXQ7QjlC3F0LNbOtbBaDx9UY/2guwNkktNMKUjvaGey+TKvEOd0sZIfhimEXcfJBrcsMO/v8epXE9j5t+bmmsQlDxEO4QkAOL2AH3PW/lHSNPllAKzlxdUJN5E1VKa9PWk1pZ4D8AbDLfw76DYGyDjRi9KGi86wBFQHz+AGtTMPwJczfNmlfySVfMPeUkkw9nknKHUbQvWZ9DVQc5L6b8y3YTz6Xv8uE3mlXz1LjoGRoWiyd2I7XRZpD8WjyWzqpiWUxYfdzyBY2n2IV3dGqkJlS4V9r9El6M4C/i+vqk7+QZ7jUBGnobtq0B5atQiTSCgDnHcjcxWfqpnGKn/aeKqDW7/s/v1lHuaVjJpNVWaBl11SF3BxVYgNE7BSsgMiUFZoUovXtmZ0ph0iuKB+47v7aAalcdtaTzGUPrH6yapncLaQB07EpF5wAuXhyQkkOkRD9fHNpcAasyafvrnQw74qjYr40OVkSgROid+bwN0etVuOZ/K8ooIJGuo6zmuyRCp1d/yYWpNl+9yjm/n+Z/p3AOrwRs0CqvUjVRAKPVR/teFWNIf3EsuhqeAqj3IWT8oKyeWLnubLJFpJTeQX1uqNheNedm+8Gnwr7AUC69RwJWYFfhMxEfmHqSEcU4yy6Cbr0kmwcTBs5Uhd+lKbhuQYbyMInGrJUjCb6imRAEMkR03PYD+J3itVzbWfzz3NtQ7VJ2sdj1db9zqz6Y0fSX61n+hqD46ThGEG0GBI94kewrmx5tt8gGRTXBqDg1eUjegGh1polQ14TidL8zafBPTc5pH4PgpAVal/ykGxe8ot2bHZzTNT6jb6kjssw58RTtCWeHq1mFsHWKSByDnwXyeo4K2TDyCSVH1smJag3HB3SLZAMf1jV0NKRs02KhNxNVmA0NiSy7T2TQrEgz8c1iYjuc2RIy29zS0vlCkS3xVFbjeFgtCUvIPTYl6EGcZxt4jaS2cpTOKts64z98PXubujgbf796fefjJbjUuPEZ9YclhO2QNYOvRYiOFPnhyeJXXIp3MDkrVIo92h7JedvykHNpZHgKPfZxxsJ9SVMt3EM7/HhGZUx6EQL4pNoFoNfh8OW3SV6b4ffdw2ktRRrNgCee/ZFOuQJ7y0HAqHzlmCCul8wHOkcHzlMHOoqJpa2P73DD2RQQPT3/w6TEhodjxVI1PwoZ5rCCXhHUsnXZgHQTfpRB4gvhX4e6Cm5Pcb8kpgXNirrYDEqOTZyTYk+UnYIB60TDwr92C629aK0N94c+qvacWoPooAe+Y2bFgRldgjkm/V1uSuLKcmPpY8WDg+JaN6TsD1AMBJN1t/6ehejeoG7qPaca9sEhVTK11byqQCqAj/F4tTZiRgkMIFw+0th0dXnzWFtfDYjD2vBV1jsarzR4royc2p7Q/okqrqSC/UDxAq0TBULkvHvmQO1bXTZNpvwq2hAyH8hFO4DiXa+w+byyYY8BRxq5eJH1jTnG/aj68ztltQ9BtXQrV7/oeQeJtEGpHnRph8RXmIPJmftfJYETNSPJaXXFQoUXwQ1QCWPxbxIFWcIsFG4OQIYq0mrb/2Jn1QPx6Tw0WGID2fda54j3DTdlvJE4qoSG4kcLHwoPjPjQ/mjlni0GaLeENLQqCInPlQsMNwldQu670hSLaVQAWXVpdGXyHCqyvZ+blcNKQuYBSPgKqUEEc0xjOvrzf8sml7xVzVJ+gaVCseG0Gjx5y7Kq6x5G/nvClf6eGKl4zQClpCQa+p9Tb/VBgqaUrFyTowO8GjCuh9lmnuPltVxILNeSH01MRDnb3+uUReqfr9pP16P5ENN+4FxKOrSeVFq/Xv1Hn1xSMMZdtqJ7VkhE6W5gAmtsw7pFBT0sY94cKjVkMu6JcNYOD2FOYYjrtH2V0JNHSiDUt/o4QSPwuovSZashIZ/e1XhS2tDVjVq6JsC//iehS9/fk5lmYK3Ah6unmzbEZ6bmQ0AE5KmBA2gY4lTIKfsHRpdyBF3/TFm2hEumSsTTMP86uKF8SCVKu2MIWmmaG4LYKa9K5LcRLXNI+3CCZQsBc6+V2N0RnwNTAumgJVB2DqxIl8jxmhPgaJ5BHGPjvtcoEfilSO9xiCeaeAHzI0EIYOeBQkRIbf8q1giA1f46sFI5wIxfzaAwTI+PG8hJpfDysJdFDuu7MsI71J+qedh9E/bHJKUzLf2UEvF61za4Dw3VzSBICNjo0F9CrJOkcyc0E+ildi9VDY0+bWTlyZbxWcvz0litJPd2uJkID3K91B10DRw3d4vBVxbMkCe35S8f4IotHn97mblUoAysZ+ahMBhmkJTnnPZllKL8FfG8dXERPsWYuZTLxQLwAnm9FtqcHQmIORVoy4JpPJl6QSLdSJlAWf/I0hRM46Bx7/Q6ey7/ZdQG599Q8xBrsYt6CqDgPBf3H2F8moXoulUT2fDHA6sGJREiRBOimeecUkVulYaw4tM3J6amYwD5EBd1/Fd5N4pd8mZzSMBeAeC9BG5EsCB7FDC6zLYWB8S8QM0JxBEadpOpjJUuGyZbokMxCmXL4PCsR8KWJ2ASTxY0ZV2alQJ8TXMZuY3p3Sirfn28duUzqZ9UuOKX0c0dJexfM4Rwx3rH3DTvUHU3IDgf9r8vtB708hgFwmFV5H77Vth2GOI5yXFK4zwcsLGr3mln4tEAl3WcX2DOltO2EA0BE4Ci48GVERla+GKMjijVqcGmYNYlIVjt92L2wJyv4diRccHxSY6LQhLxF+dzVBeMdw6InPBFD3Q2Za4lPaVwZNQMRIgJ2dqYd2wNZHzuOmDBnRuwmX7Hb4RrNegUWqTCQHoMOGllFsvEJdg5vEBhdyq6dCZUQrkEfvWMC4FdzbF5hj2/knxNMabFH9KAwLJjC1rIDYbPWjupVdTvslEGujqXuC3oXUVGZ4eogskaLLLJ9xIvjaWqk3aEa7N+utlioSJjhItd9lUUtwWGBMIhW1hAuSDgftAiYBuaklbv4r35gdulGTcn1yBi2LKQeXYwzk2hSA8ptf1ppgH1VqNpOPKooL2Yqs2tPhBEnPfcF48Xq9y3op+GZTCZ0vzDZzsKOU8V3lv4xBtos443Pn0ICEhH1RHauGaLSuCfgOzMpvosMxH/kODoH6zNnkHDFWZOvqA30JCURukyp4X8Ga+uOpiwiHoT9cCx+R40X16S6kFc//0OIB6DwbO55mwGupSM1GXxsc4Kn2Q18MqWkTFoEq9JqPXFVLOpKGNpR8NTH90/oNnu71WPFHzcP0ooNFuDF/OJXbIbOPIWavv1GZ24qUWkri6yO4CLaGmVaFELIu4C9JREwgXOjPzKXNFvlj0YyvfbA2jJmVRAxY4uTL2dM1FqOjgYM/wCiCxL9bLAePKJCc81YWeOE9hYQ2yP5Dc3GQ5dmkCTmFlOu+QOFrRAHILeB6bOPAEGdpUeO63ve9xuuBVMbMRo2q6h/Yv/ujXedrx4q0EcU0AOOYcw921azcq0DgGjp8O3J5yWqG9BhomHqB6atCO5ZCNZbRxrejTtgv93PTT0O1vvS/X3fAqW8NM363EURxFVQuhhmMHzi2dfFlJxzGKLqWPmu/HwwO96R9+B6BEcB0ZP5AV+hP6BT9kfORxFVfPkgzfRqjjWt9VIIpPQUMMzP5ydmwjFvB2HlsBmXh9I0hrB9VbfUc4Cnh52Q8tW494zoa42np+0CBdCxlYgc0GSJDWuiZ1tlZcVNCyIs+6frVakUHY19MgfDk96GoSrNFhMpWBdmCGwKqKHNr1tZNZfK83jTzziB6vEeqm1GnKADxC12rSO/gTQ4qSr/9Bmb+FaSXQGSHFV7xZHzDZvdQtfumVad+gnXyZ/NljM4jkfl7bb6Hy0kVrOR2CmdgLZ5ggGOXfu+vwmReoTZLjgS88V+1sS9V3h/r8QLItnZ3vdxy5T+rlrb0Y0X6IYDVMBI97YlngWhzG/H/5sDRDQwmZZJo557+kGeQhMRRuWaqQ140dhmIv2NB5VRVAoSYSPrVDYUGXy1U5tgUsEtefVCal3C5suGgPdRJUM/kRGDl5H0OHdOGnvWRAj1oparSZWpUjjgUGD2wkaC+J1/R7vQi6r8G7sW0HlYjEe0eq7SLmESJ12x/xt8nerl4TTgLv0PN5SkU1JMYjdYcFwQ8UDZ/eVJS8jVJ5Wy0/pf+UJpp6yvfg6MqyebMLJuJ65ZxlCrZVPlXJed4/uSl7FoOAOpXKPcx8GIUEepMBE7FjcIcUlHskvl33IABdo4VTuFpRhVLOflru6U1set4rI/C1+nmwxp/NG+o+ZNMfQIaOV5MkU8KvnYb99+JJmg9zEExXb5Gnl4Xd1GJRgdFLHKSUSmIugNi9UqfvLYfWEL9bJ/eY2fN+NpzBHcuE+moYWqWOXiHq0EG9BPsfedi10/T4vJ+FDTqe8H22Sgq/WPiRIjUx8wIR7L4enw5td52hq6u09C7TwT5VyV/jabxJ9GfjBv7w1uLMAK2qv8fY6sg2phJMejoIsXwRoA98eRoJuk4G+NzVVQh2bpR7weOTXlMlIdEtcDIXx5ViKAnE7HqNXVEQZO7HDeI7d2uwiO0n0JxHu6OgsbRVhlZ1akGVHmUgRBqt5klHIkWCu0AnjTNFUqlEADAgOcG3ETEwc0UBHfIsqsmhGUezqyHYePd33tRCJJwg4cz5RA+4MoUDTfi6sFB1T0f6JDQWSzJRfdPet1u0+z2Q7QWMI285Jewb4M/NU7lNuVdIezJzcAfcfh08zHyOfm/wGjhmTRCaOh/dbgpfLG/zRFq3ZFckRY3z0WLdEaI9vBQUALKHt76lrYFJ+ubXkPis986JwFNrN1D2+hPH54+tSBPAOXUGc/c0goIhqMGr5IgwmJmUq7FE4gb5YhoucPyq3QlY+bLMtphQpCYAlQJtRgIcfXdye61hSHfqu2fCMyWDzx84XKSIYFlVaaPqkB30KPtV9c+PqdnptPjDF1juFwhWkGhm0fi7Utou0n2uqHqyMJVZf3bJCCRQWNLFEMQkQTj0vmGZHENKuzZIdyHw4jRSuneo7eu7m0xxryRDIq8fvHJmqRkbHmNmhd+ea9RkiS/ryQgCd7s3eFOmfyVFWpx7FIPMfMAcGMrqD8+Bc3VbYKr4kiyYaQjWhajNCHAB0ZpyQSVMPfvPXE+GWMPZEW8O5bdC1KfyT9FBnQshFAEZJwpqf7xcFqSWgq7DdpGjsxDka6rcWrklb2uOUW/0X3B4JQfDcxRzIMkokRl9WbBpvQVzj5ln5Vf1fnXMTXpnalvlLAUQFe7miNnPoVJfI7ig0jt5Q37W+R1ji6R4CdH6lqW1aYighrQHPQcYO+hp8KjdyQga3kBBii4OY7s9nS+xviN4M9/U0U88X9W9CDh/RWScNQ/VQJeC6lWfE1i8uqYBPubs0YsQn2VDqBBaaWr+T2d9R3a/1n9HVQU1h2/I32E8byMQPjhhK9AEbhgTJlBnqHSv/eKOYi7biwewfFypo2KcwADeL6UQKeV5GOvAjeOS8r3YlaNRI8qs4gCZAiqij+JUt7BipKtqmlDxyXCKkMbPSi6b86AUXmT7ePEqdJzl0qM7glA4qeBqtiw9JjURN9Ama37F6H8KtOLtBRM5jqGDC+5PhXDKGnFBxYLc5XXKDhnYwnS03ZVEhvcRfmke2JrwIwZ79otFKu4FbPjmcQYr0xT0aeNC+0fowVMkh09pY72G2EdX1WNRwQIUTqkI8VjOZYNEURekCEFr4cYN66iTQn1bM9PH4cMw/j7HlptTGrQmwrzyTWdyrd7R95F2SMwuwa7w341uFVsSIux5MYD52fkal4T16dxepA71vsuoE87QkrYQ23Nv5Rd+y7PQslONVMYtI0cS1WL4gmZ4CUyLxXjCvonBc1RGRQq468c2zy3ljBZhFNPYz0bWPpfNrGveNv6UGdjltMLwi9iLv6DKO1xDD08iSa/IizmcSCKPzIMVYgSxCreq5J5jTb6pgHnwRoP6auCb3HcijPEfeRWdniISj3zW8fUNWvGOGz2vlZVDenEwLtLkO9k3tuHtQnXNdzgv2WuWyGCZkm4uMlE9+HRB7aejOGuwL8ePnXl5V3NG8N2YcUut6/fwcqPgxo9l2VWB1t2MWAECLdYLbNDophpkzcn3o+irb8isVYFR8dVzbD4kyDTY7trLemvn4gb3oQ/ZsiPXCCioeIaCFSJmUTChWY6UAKJ2BLEqcRhMR4JL4CkzbmSKXU06bF35pL6MNf3rOfZa1f5XegtAtBgHlrEFzd4YSCiDPfgaMlZbDtXj9Hb/RKMM4UqGJOVD6P6KvLGGpAcKhl2DgJQ2t7LFN5OC0/ZB5T3KvhaGbtd+XaaSZhUIC0iExKnlKy9tlEAYzq/7SfNYl2xmvLV0x6WYIlw/UtPJJeqEytLVSNZ/ExLyyNkSC826IemIza1oMNYWwQjdD9jWFabxTgIoWqzte18/Y5HllMks7z8QsRlZ0pV4N1pzLLhJM6Ph0rDHCmZOBoDjpUQM9uv10lFGZkT4OnkJk387x/Hum2tMBZvsxpSFrTIcEY1YXtBUKypsl9EZThF8OfziiTWpG/4U0AoZBuRzMkdE/ot5sSW+6+s3+pvx/OeR7ml7+x0Xpnl9kHql/9zKFEcEJRpNepeKDVNE2sBr8mjx9V3isieOH8PL+leWOz/lY4WiWqU1JK99jlMSJ/yNld8+7ecPI9A1ydc5L+3kAtlvM/ZxInShXRUgEIQszI1i3WL4P8AYlHSdX9zmRrosqO4JxBV/dk2jArxyt3lZoLFBc/BD3D45mkZ/6gm0cCybA7BT/T9+ajUUZSL2GihwwIyeG2t4xezZL29LYvBROYiwZKQizzxvEpzaxy0juzJba7hh47FpN7IRja9w9VWyxRleBaH8F3+P5XB+7CXHRTr8xfn6HqENV+vV4G6ZOv1QNRdmbEBU/g4uXAkSFHyC2chNTaciG4hu6P6fJeFbkgoPrl7kd10MVxNdxYqQqqOwtgdcAvy5YoNMd0EAeKKPs+aaa9wKGIFtCzjLXKlLX/7M63EblVl5jUjIGG5+WxYj6e/0z26Rcec0KXGGY5F5L8RP8BoiOefA6JWgLVx7F4TYEl8qc8vCrx5Y29XYxha8yKQFyL6Z62TFBrth0ENjLu7pvAjwOMm3ca9lsTWsslJGhe2WbxYVqRhlMwN8TEnAYdkx8uxbeTjGhvFlbMNqN59NZrJQjMq1WYBnu6BacsOYTL0ptOXMq1yueoOugTlxgg3qzfBiRUNOSCJYmDS4drHXlzcPPJpinxy3cIkpMjEAHxEz2Mg4KMdDCVKKmIKHSFnwxp5hr0hScuGOWnxB8sRayw7x7RBic4zUb7TcZHrLn1VcNPDTyHjfARALX8PliUvHt6yz13HpHwql9GU7u1c6TRVAIoJ+LYixJXA6zsSfnLdOEVPOAXvwPYLFpL0mWvXjKszwTk4V6YsuXeD4+pwajnKSY7ZZk/ESlqsLpC3he6pV6xXRkjLwusv1N+9ApoY4kJ1Mm//6HjFXlIErxmjkONMt6g3NlHivp7FXPe9o0t2Wsk/ZPBcSbs1aVn0gQIXmpYQX4HcU6/G0NYeKLnau0t3PV40X5Mkvx8BWLD4Rhej7kPvNIAQY7is/ZGcuC7nZUTTRs+ZlmJnXkOhJi1EBKe7hxJAjhUIOuK4KVPp6stB7JStxwE8LDdB4YgxKhzTmlLBSWRq/0OQP1Fzesh41MFJ7CYIKbl/1epfuG4aKzOnucbkpuciqvwC3auHG44AKEAg9YOPaY2WFZPLFDRlYLiRbeKDdAxrJcYeN/r9YkPSP18lY8OVBP5qWbfbro6SjVhb3j2KESj+klWITI4COUX4GadbeCuBxLoiSUB2B2tN0lNjrWpKx3BR7tyAPC+o45dBrXQTeU/eIzDcXHZ813+84C54LcseMKPOsl69erIEE0SEFGUaU+YED/IOU+YuSjoU98xqQ5qEijxsNZ+7mwFkBc5PWUJehnrnogI2mQ7nVmJzcrtRx+yGluCkyiTz/TiH3szB/mDfh8LxivzjCrHvYirO7IDZYBUdC5lJ1s22GV8cQ0xe8Dwc/4A0+f/MpkuvEoPMPM9+Rrj2iTJ7NtyYw4EGrUn54a/6zSaCa7bZadxIOrPYia+yUmVax4si2t5/PwyvmMPT1ftR8iwuElx6UxO1B7cL9uLAy1gwIjv+AIofPPm0V+Q8nShu6qd62+PpASYBZqyzwDATwQXuQ0zpRIf8gEe2l5KFKMufWfR/1X7GcxkyKqA+0+y9lSMFl9+6aSP+ZPPWE02rOsAY2Wa17pvUVIFLCKhy5bKRgWB2OxjQeaN2f/HxAEdN8SHu+71PUpySlfY86hKFDuEYzLjaIQeH1uBwIpHS7VfgLH0jvuDRxzWisQbUsnzjm9ICwjd032vwyybQPLZKMDwzfb8/tY9POsOoJH/LCWnHgSuov+DswAZplVVOS3QuSuTVrjhcOplSgczWRnV4nPfqzJ2SZaxq7xoG1arMOoXNSrGVanmNM0kUt5NuVYtLdxT3JGCgoGWb5lrkH/SsWVCt2c/8oS3MAEQWdVkF7B0fF8VyFTbCcm8jC8Xd7wLrh+amcLKLYmZaeWa7ATlstdwtT8BQglydEhIVG6XhIq5+8RNigG4BWI7l+pufnOHYgKGLC3LazBsRZ7xEqsVSXnJWKTVdpA0wVMvXFzMhv9+7RTUvrjUSBZpd1VTUrb3ypw9uDBprmKY/96DSmPmeAt3NCopIbvv2dtFXfH1aiv4PMIKqrSjBjNArm22+ItfiAWReAbNgpbw8pGeaDiKzrAAW5aUfjaknKw7xJQ/dr6R/PQxHwX5uU2uG8ay6UfVOswnSyLd8T622Woxr+2CMocK5fOXPhctUCNPAqyP0tY2AGjXtPyvaVb+XZP2PYDAgQ96cizwLSAQQbuSkYfyKv5gUyhMEx0lQp/J9JIEqu8Q+N+rDbOKVmFudd2zNZSne9j6YnPPELnYMfSRWwgcOiQEsnsRlPgvZ7s5KTr4kmbwRmT7InCAHMwFytFbZSEXQgC/m2BgWdiTAmlHbw5MHn7YPHE3iuoRmCsvPvAyOCpLvIGqjha75YAzVtMo4kl6EGZAfmDZglvtS9pZg74wm5YUm9vyH/OMnVio4QgTVRSMmA55sQQMA0F0y+5k2MTSnsJU3d+g61SISp4GRMBrM4IMmGMoAujKtmJp7WXIXrFfwVkY6Gyki2DWNqpmAE8dTFXWYBLROJ8172Oa8NHMy+++JOi8KJKbcdX3GJ7U8iQIHs6PfsfwaP7SP386jLgPi/+UuMHXc5KO6COI1jjmYZC4rsYBwzyTcFbXBEq6mHnz9MPJBYG6yFqfkVun5XY5E+sTPriSIi1jV52XrztsU5NtLhWBxAwCMrzEiqzJTZajXKSDdiO+A7XcbgZkRK1IPTSzW9dpFCEqfutuX3KBKDZ5v8S8Lpj2XiPJpRApCoQ5foQqJmkfOFtBVbLPO74f3P7x5uwtIYef7QgGBDKyx1CDYafCa9SkcFKcepL5GeuYhTqT/rZqA5mHwydAPdc/OoCFRa0P0/fsJf3+sTQSPxlOwjEfc94G0WTfPrULh0WIouykvTsFdsok0KqLbjJrSrKZJZ38vyPZexm5ES09qdH8clqDxm6v0f0Ow/dx10L0VDIlL8a+HtGz8G6VWVzUYpIPWykhKsC2o5LUtCL454iJ8WYB4ks0kHsJTs3up242YZtudi9Lcajx4UJSxSeqGrvVJ7FLWp/TnbubTTN98YkGxctqocF9SwgX/uOwPurhL0a0vsod+UBU33VwnUxyEzOLj3mriIkuOURX5bkeRGaLjk1LwGaokNTVmEItmsyOIrooyw1zsjuMVf29Mb+Mv7Rol9MU0xlBs7EZVS0bW+Dyx2JS6Mrz7Q/Mt83iSP/nvv3lYjNnMVqpkPCf421+MQigolwtuB2MQzyREZiEX1YmwM5LqOnYkz6m8tBWBB4fAxUkyYM40gJXTGiG4VnVZwSQw8HeYcaHej+X5XYPdaVUjIKaE7fMaWYNqrs/GqG2o/9JG22Q20qcztpA40Iq8p4o8oiBbDHnBOEnasxZKGXZNvy0SsbnTqOa26XQqeP03hl5IvvFtPxYO4mym9YWKW9IyTCskHkKe17xkPlpD91hBrAKp+IyHn5uPcG4hG2qRCXTTtE4jjN5ppDBbm/nNOouYd9484hUN9Il5EBRTIlYLDYgg6J2VPVx0+6Dn5YLWZAy4Nh59eGQiiHlVjcay0yiK0vtCb7Il14L8A5aBusZPG/uGlLh/r21epUZVsIDNmNkZ1RvILHOja9F1/85VZwhkKxVP+zr/3HDes32ndaa9GouqyqE0TLOlrgVdCRX5JUUffV5Z8DXv4xLRCumrXb6QIcQeZas/rFSfiLi8wDRO/9/eRBENe3xaNIXtNOMMGBaahoj9zpBOygAGcDRZjbPqj4PXcPRY2EgzWuRLln7DR5n1BfK28D9nKQTkS06lQHrSjyERI+MiGHMii/EkRS5SBwX0/lmhmKrhEcLRHU5+CV1LxsuvtIQQDYN0iTgVTccObtJaUA84BbNHdqJ6Z+4+SX2fGH13bI7Wc5Ozs6J30ZANLYcrCgToaIFjezf1TgmAA3B1/B/GOGfnbJRjdgv4W3wJPhT96M30mR9j78PvNvzwZHoPxkk9lOlX4bIB6YplwZyNHCpQ2RWap2Wm/VGTXnWDgNjwzv5T5+deXJIc1C0Fr/VKZ2msNsnCP2JdLsXONIthRusKhYmjO36Ag2K6gHtMmnGRayeYHAgKLBUpX4U804KNP6yECvd1105Jau5lMZmEBk+HF9YUPMTdOoFwUjdCsw4i9W1p3P8QJztwj4C+Z3CADW3oZ19RWXstfZo7bYhg+Fl/UTmEDRAkgCeKryxCxrSdznwiWj9B/MBvS2IUsutO7n5SSvZiC3ADu3m/rpGvhMrUDxPibYHcCOp4co6vEVcA+2slYfke2c1oY3okFeku8eqVtjTu7uDro0GNRXlCQJLWho8eoqB7fCrN+/VouA6NpoQ9R2NFYsmSC4DFUAgBPLUyJ/McphvPfxEWXx+tkQXucJ04YYePFeMByxAw6/32h4vP39xVzlDfNOK/0tSsjLBpyLkxqvkKhCjnwoq7xjMJPNU8mS+/a0J4lhxvNXNORdy8OeWSjPz4Iek1y5U4xfCZIFAmZPUoGl/xMODXARnUV/iOxiDKoMftPnz8w4bbOYX8DEy4Nc5aaJJYRb46MGHFsfi7Gh75O48+ydwKOfSDr49UOraCLeTvH3m3HCLSmwkkk6jFYWwMHdYmsThdZ0FZVQ57w7Myze6vMRxyI7t+ftOquEXGSySY7bXbeMG4bpGs1OalyEq1vMyhGFykiuzIT6DcujYNzRbsya8FjkMV+sysNjR/mOb2koLaQdqTec+Uj1/SpR6IxBu9VzFeGohE0knNn3TCG2+4hDDD+Ie83htQ4ifQRvlfnMWIXNRLkA9PuipXTeTOP98IP2YBrYp1ImeoKPaafE+CN+tMdqw2g4WbQgaTepESozQVcZn01EZw0KpYWEdhCgtLsT6/cJjaWQDiD8RufOOuqLhzAdpcygoNO773+MOGeVaBCiJoW8Tg4A8bn8N3EEfwl7L6/NDFfpI5kD+FDQyesf6YwiNCQSjpn4jisnFnVz1s0ErI78LgP52hpa3GthiHDrQtyUqvLOyjbiRk5RkG0O9kdyTy7Asr8dOPwO/OVSsPf058iHek1B/vtzFn+aQD1aIIv2WAq/dm7vN4c1YNDIec/AIcXyo7R/Crupl/EtJb9RvY+qX2wD7sKwtzg9bBLTr5D3c/eWaoILxc6qMtdhy45kxNwsdwTMDcEQw6boZGLV5fE3HMgzQGU7vbITIcaE9EHiwvzm6N54sKejHppIH+dWtrxJYE1Uj9grT6xaguddpdUp+8i7sMhHSkAc/IuiGL7y0ry7FaZiwbklGTeRuEz4Awzx1HHnTxCwH+4eP4JvSXqp6taXvthOQJB5TKsABuTtR9hhRi+psuw2c+RWgPkzCE7AObj1G6Ugj3gTHJJiC64a3auKiwUmGy7RRlhbiaCeowGF9FvAicJlBM8p/vrtvRe/Gp05tuFtCVGW/eZ8Wwm6pE6Egmc6NKT4QzXQbr19sECKlLWKoGVsPJiJODYTAMBpkZImumDMThgWiFTbZEJf1xbhD23wO1HlUIphnP37ZjyxNGd3/UVzU8vkjpR6ZiVhgkLPP07lo8KUSLFPJQQxVUmujd57y51vgzlpeygnZk0kCVpypUVIVFFOJ1urVjsXPUO4VTofGBPROI9fABlrFmnh59rlL7JZqrgnzas8IDXlqZHTcPzDZcnidt6r7i0QvtHL4M4mZGE4DLw53l4nf7fP/eNdOq71wIzMGNFMQvqRYxQzcQW3/uk4KzDLVLDJkfy1t7ARW2KRZmo27KwBeHBvCV3FTFkPys770SfGhcVB/aNAQAw35KAQejg/uTlkfXdFYcrN0td9Vd4toIP/R5mGCRDieDpTAb0hpvPLux7ZyA3bk9vTeEl/ZTb3rrLUBfuckkLSr3ZI8uxZshb83oM5mU5dNnk5QXYV9Wdc21WzyoAsIKErUqKogoO0GHFgHyRs3VYrJWF97uPPalWgnO40rvM88w3sZ1/OLXJO8z6uffxOx9NUZKnsNnuHUfALpQl4Gr7ck/g9tiZhzvskaTwjffLSUjlcJbastYLda9umITeMDVnVDRcP5PWE8Z3cS9qnw1IsEDFUz44oylw9s/3IVGVDAB8DcRQlrVYIFukQd/KGVa8+olv31nnfjNqQJNmke8C6se3z9QfLy5tlCD3R9UvQI5s1Qi4GI3Ruz1yoRKxgYqqK3ghJmMzClM+E9bMXYMUA84JUJdQE3FkAR75x/VnCTJqtZ/bDpBJ/Xt985DmQvVjHJh4CL5efjw3RosGKZTCkmzYSbLdUrx7WOdooMrFG6RqdKjwunMlB4FpxhfyYbLsXvmk1/y+veFB0053bvU9DBrrbcCD69F8LsM22734g7GHaHapG08SuC/D/eZIcNx1F/1LMWk1qZnMjpLtyOnCIn0Ii+F2DUiTBRz31/zefAFksGX24WWdpzV6Y5ycX5jFrf2j5mQHhpx7H/KPtVst6wcflkh1NCawxo2nZeNk5W6ESmf1EqRDH0kIkNejPPJ/oIS3beYjrzFsIeqOa3At3gkc8z7qei9OdqUbqXrSXKamazo5wGcNhA6zM0EWeL+HRqHegHwYAMdTsfoVtD0jL189tSUC0T+Ny9QDmnxcUu+41cZ60RziGhYBK/eYm0HUVAT/O5xRPmD1yi4EvbMZeCgu48EtlG/UzIkGfwoSn+3lNTB50aqPZo83Unf0AuIhgYR9UfN7lwmBHBnxPxOuy/rB7P4t2Yq3xgi6Ltp3U+skGEiVN0NCDHiXDgUAcBw1wU0RYAkyVZus+cxE4VWAjbZM9bwuyH377+XmIalanswHbhdfwu9HFBNmx0hNE3Jk20Ej9BvpmdiVRdJXMvzsLkt/zT0K+5MSErdpL3qpkvdJd1bKz523RwwZK1NacNItWuASu3KlSORw1M5aw2C8lxcLe0sGUYRGihtP1Sb3NOZ4aaOeHPnJ3o77UpkAw5KvWYZ6XTScXMdiSqBYD3pApnmSnPSUJQveNOuidxW0I7fsUngkLEM1EnNtDjduLyS+lN52njGI/ClMrh4OyPMO8cJAxS/reR3S6VE18Rz6cpF1G9ej+qYUhL6vd1AKnwkrPeDQainZRKz1K1mOa0m5/+oQx0C6crDqjTs6qxIHglQH2w16sSMEHe6U+UYiYPR4/9MON5n2SOV/GTTomn/d2CmTPojxvWJh/wJShmLncz33jQ+2LA71Y2H37DYYbVVkd3UZRXRFIkgR8U9kKaMZeeEz64ve24YuzPObUu7rYnHbVf0gbon3SgOcL9W7Ez8+Q+gfTro9ouq/lqE94ZEk144MFyj9VQV5VHwpgjTOqajhAwPBqJHt5T//uT+NWdqa5eDFf2DigmuG7M6nBFF+c2xi5aA+Te16XAL0FmlhtTsY1iR0jp6o4r99sHpruw6v/F/nOORUMSjGfC+VltyTMdZbuPUAu1zGsEvHLCEisNIwmJ4dSBKrNRqhKjRXUf59icfZqNCr0GZ7Gittjrx6x6uQ+db/gmzH2TdyZ9/ykGjEhzDfvMWsgFo1ZUMOdjB3iF9axo7/EX91PXjusj+6tGPEdv+x6hvDTzmb48lyOXTbQ1n2mUxVWfBvXoC/pn9todj9jWhrS3Xbil8MLqqtji/X1dBP6GhwnuM/q/Pgudpi2d+V2xz8E9tG5iCagaut0i5nkqklxorDbbJHjrFT5RopII6w+Gh8WHfA7KjoGZQ8aHdtbMmK0QZsHqem0qTyoXSeF4hdwtOdf9R/BrcgYI5GpEBibKV5DZ8WbKjBngUCKndlpFBidX1Qo1AHgGj4BiX9l107ecXTk4h+cHuVihRTe+7qTfJ6jhYyJCCAhHqLFB+rt9GQMrdCooceqbniMWslJMq7JBIcLaPdyyEW+8JefcPPp+Hnb6TvF7oscNIgbXwXRr4btXW6TmRIgZQPRGQGFYRNF4BvE3hDexk99JllhY7JBTnc8PD90DDydwUTamMC3zSVunTT/FSmWLrq23oJac0IXi+Lu332WnVwYVO6DvO1CawSnj9LSXN4tde7gmj2niCvDLYHLZS5+KQtB5U47bkD5DHFp2xi4kv1p/MGsK7aXJ0B3Kg+nZyOyUZiekmj+N3RdjWhB0HcHuA9jPo4BJ1GEDrVwtxgskM3615CN7IV0CHgyEB6Xi1T2FnRtoe3438EKH2mQOQ7wBQo3s8oPZAHxR/GJjFIXEZFGP6D91I1qgEz7lp0Vt47iEn1bwRyAa2lT2U59U3lRJl98qFwpebS8oJw2pUxOvAUV8nOhLBSRbBsGUfVBSSVAjAh+SUWkVmNEDrPtR0kjeE/RRBtJ0ezyKyl5LVyAfg/Rc+70bbH3ZU2QU8WW/5AKNUOd9+InDF1mXHEkbdeQ6/aLY1mM7hzkse9SMkuBEI9aF1ADyTjcEyc/eoppetC0Sqp3fVuUrjyf0v0QuB+C5XhRgS+Wl4rKgxF5bwzY4AcrEGg79mWconGnmiTVMW5Clp5yLS/2YmVXnqVCifjwVsa0tWrIXGlXLDQkPp93FXGbnHxXrCosBD4teL11ikWO4gExjcGUvCED3ceflLLiI0Bzp7UDMEbnhqDKlAXpVobG8w2p/zm/mvQi+6d3r++KbrJ7YuBliaXapGBdPfR51xIU1j/gOWOn2ZXdzJEqSmjVhRF1UCWKT42fDbHhYTI75vSuAisspgihQOEPH9eI0cX/RRQpZ57WFVBzT4HyXQioVHHcftEdffjqrUl7O9rvKi6zIZFe92Fw8RDmRoxDUEp/QxWnVfmSXPY4ihK1//0mCgcKQ/bCjDPCpkOlJ5ETJzAiOBO2T78OE26mYy03NWmNfrc0iCU+hi7K7/s+dUNQlvF6QvIbHC1RTb1LiBtYv9C4+2rZ+JYw8wuQk6k6xxzCALk+xdTT5nsTgKJGkWvTYlWVVkCPU7DcUxvhm0rT2Qu5/qNZccRORi2rFhDEy6nwSiwCE5phD5UipQssQ9p5JYqpBbQzaKyvp/60CxnDH47uIu1Dl4IQm8aCFh5QCY7Sen2QYQ67RZ8TJM9aclF1CJeeCZNza0fGknyf6nxYaiMMGCNfOMr4HWiaFYmB2p4AsSCCY6Nj54oL9LosS6AAzcAn4j4MjK355JihNCilLWCHQqgp7j8DRdLIwezLOMtyqXPJKT1QNrvQDetvUJScrpyNzr0d2TfNh8rNGm6tEL1FPGGTI5AXzZMERDFOIKv2BP2o68NlB2Ce1Dlu1IyzbJpbYPqJjm4lbNevI0/rL5vuj6WA0OHAyySg3LLjnsvQ/lBGsbAc9vg5YKvsJ8NSCqZVTQd6pDItlObe0TAfyO8heo9ykM07uIkMBMTbTwUpLxfTxIBoDR24zdLTinugeZor70pMAKkQR7oEfc+k9qh3PMarHzKPtOdWnDucXFpn8zRZBOh6lBhcxaMDksO45POv9mVKk98ibQglGurKuQpLw5arOwQqheDH1ZaUHnGAPMr2cgtQ4NKApwXUbBM7ob4LvdAjRCxWYAqwMCnygqDkz0BmdA4F3Px8aueb/Mb1G1XfampaRkHaH4IybJ+UlxSb/v8okTsXbqk6ABI+CZfD0HBdCvQstD/cmTxuJNHOCIMDTjnkl7d+p9qJp3VeM3B5StIX8ebNmKm9C6HF/Yskjs5pUzs7Nzq4u+EmmPhxV8XV4zjSr93n99yBfl56z3gxLmIoaY/i8cM8GfGoOAePrEQ+AexHYuMwGBGHuLYHBnDFIsdyR0JNeSHs40F6GH6VVBrxgkua3MwPEwE9LuhGmDG7edm7Dvl3XJL+kSt2JNdc4uCJlq2B/D5J+H6/YQGfXDbfpgoWsp8LPGx66I74K8Zk4xttw9uxfq1ZBaX0od6D9orAfe8KQdkpOdpoMEZf6s85TX7rcYiR+8kZLShtxXmVo7cwWNN7SZNfdykJFDP+4HybThapDLuCz76Wk2l9zVd4x+suLBOzyopS+K8lqeV1X40xHR7KjnvvqF9XmvVC0I0s/ngGQTW3tXaclnpFkhWafMofkgO0301CSxCJGpe4RKaCoXGWHxdu1dX/qE/72OhuwzJj5DRKcnPVZ4BZ+FmBi3RfHZWN+AuoA3vjSdZyu6xynME6GEZSBNKmqL2gviYgI8LQat/sFmQIXEp03YnqWFyRl+XUcTMej0OO/yuA/j0djjMMlTMr2C2g6VzQLCTivsIe+z958UCOpZKmZyw5Iwl/2SeidDQVW7uVFhYN41uEta4YV5evfkgOLTJ8H7BMPTJaAKL3OhtxgQSlu00lcewKhdcT4APf/+EO8CplqTV4fi1uQf3PM3+xsy9YTR9ViNckTnzFnMFq9Wd2C2+DClgH9L4AjtBQJ5uVzoPkVAU0eA7B+zFsqeCgHEx8j/2eeWl8KzQn7Kae85CWIqdK21D5nFJ+l+ReZX6JBp/RKJvMEVKKkU07n4fNrIyioe9/jEjE/b9gpSGJRQw+ezs+E+BeeAeRbv8vaJokJzqJjZas6GqlqfZPTk9nHTwAT52boGX8ynGZvIOezNopA3o/x3/BNytwLqN9bUzWOXsDkOfzUDfE+j/vf0AGuGD0fTD5nZ0NIByI1XfRHtEO1YD2VKXpBX5WwtDcYkz7VOkggmxlA7X0j1Lif/5YGNix1aGPYyseWBmtlhT4U7xhaR4FT7E6qVToQVvmiI8cAWsnIU/cmhL/Rr7JqT6wPrlhyKNQ/4TTwSCqPhgVUiTG9/5nHcIZzCCD77LE/4a11FRVxD1Esdef3alMDZY1C0e7TKLTGRw45eoiXe6osGZnyJ1RuCvuw2RRUc0mzKMP/T8FxGFXRfBv6oNLeEgillK/DhoN0VfOyXCpLC45bhClXbYR0K6qSlCiJmfMjKWs1Qb2kTuzO5f2ifxjmYlQAYfjz0TAHiICt0ihaSpMJCXD+zfo4qhYrwthzh/oYPLivg7R3mRlBbNXQBu71MllpQz86cKYJ+1rE6dipt2W7NnsG8PQfQdZQJ77XuKvGmN2C7IVk038kj5cR0LB6VJwhgNZE4kwzglxRxtbm7f9xovZqoZevN7mNMOsWfQbWcGq2ur8J1WAFf5YqZ49QSFj8CwmoWVnrTYYdZupA7I3WIUlUdg1uekeSza7cnZAbZzT4OOguNmYgXaKBK8pp4LWJQ1bW19yHMekLnCfIAOY1Wi2VO1CEaysWoQ4vU118nB+RzN6u2ow4aNzPMCbAEj9Cbrk8mEzNlfljPKvt6/EjBM7nnOUsHBWtcOa+H0iljgW0Fie2gitQH1cy6RnwGgds3wDDJvViTWyH3FJ2zZKdz47Hu4mud7+QxhRPi64lgp+38BwbZakGT00lIf9egMvLeF8mYG0ZsYCHTMP8jj6CGb14fcerH16v5Ggsu1fnLo0R6vlgkIOuAeB8USOxIlZY9qIQ2OkW+ZAjL3jikYaCnc6CH/7JbOSSYQ9RJjOMuZKcRjvhJCzD/gYle3JlAgkgm/oHph/OjyZeca6b/6T7oC0OXwCu4eHAGgnYKl8g6YoJ47TcAlLr11445ZmZjvmg9sF1Qb7bPwuQ6tfAtvD7n77bONcxEc9iGBFR7fDbuDRqFK7RVhOfUoUgQ/jzGE4eilCQ5ERQRtDLKSdfsG90GXBLL4aeRdZYXvLtU2e+ifVpCbOnGwWrvmtYz42PZbTHqlRHY0Y2VLN4eK8BZHmHT9woiEapc0l0rsRPXsQRcWEeuU2rThRVEzj1/0XN1ExlE54SFaSjbk7/e4ooqfwvs02JgvDA4dfSK3bJtKQGsau7wnUhlQ6oDOogme/OKOv4IBA5EAOM3l7o/xzNxrRc05dnq/QSJLUPRWhgRZsyj32JPAZb+A1FVvFdxbp0ERypkBuNNFfkMHj1rae0Na956eX3Xxm2hELvvdEekkKxkj7blm5C0VzOIJ+HDCU+pxubaOQ1SIF+eGUPfUQO9qITIDro/g2I0YT27KB5u7cAPCeMMvvbwzUl7mhj/A+HtRM/u4hWGf55AEgzmEDDTxMYOrfWvtllaHuu5cuI1oa7fJUCxA3yUqIXmvVicEl2hiLHGGZj9IDRT6M2rm3XWNHpFQYY+54zSgmrzlBDhedW+clY7zXoHhh0oY5g7uz4Puh13mWnPxydTteq8Uofq5Zxx4AaU60A43nWCGnjLThxcguR1FQnGCXba5SN1LPAyoL2iy9Pc5oF35E32LKi39fDVPLih058KQ4cT5EOSvBPxFywmqFIAxbn4hjErEcjPI/cRKaIa6bKMHgxoOlNY7PhY5t4hDQxL4O0aiIYgjxX28dJtbfXrzxhY3Vz9XHlSv8hxYlYYUop4PhS1LVfrWq7ot/WsGXlR5DZKjRXVKRIC9l+b9hJqTSBYOxYU6zd9u3cgC0ku3J8AwrxSJD35HQBQY53el7V6PnWLQoewf8yDPEz0N284PdmxZa+Rb+Cw80+lBcKJDUNKlIxDqJeAUO0K+brVxgZMdH3grOET/X/57E4jkkjNqo85xlwtkcpVEdTCvlKuI/TCKbIuqqsgS/xuZV43yE8MwiHM4wfVnZt2AziasndTEQ16KzAQhOi3ZCuVE3hqyJLvo8nzuZI0reOXn4bKpMx1mkx209Hn6ByPlvAgbaQYFkXDiAhyMXqMPTUHYNCcLeIyABDPcgyNzzCGmS2HhuXp+MGiZr7NLsAE97LI7ls0/if667Ac9yIh0YmxgfN+4ei8zDwpVriGZtGiReJEGSluG3X9dXJ2N0mLKdE7VMlluV/tTTSIJbDAQpGgUs0hP1fP+/GfpmQr7fznVGqcAawh4nqCP71aRCiwqWlNqwRcrum9+pDqq0uPAZQ7NqqJUrSOGGdEV8c+PSWAzPB8eO2l3PoHXNvEseYn7G3OomRdCopqAaG0Up4JvoEzxtwEZI4vG8q1UP9AQ+p2N/hbwMPxbirIWnByE6+eR0I85c1sRXVRWyOI2X+pdQunhqXw4b7Y0mSrV9VKqAukVq0BQ4bvGmJe1TAOs78SMi0oOSoCLq5lHynQJ4IMaJHAbcJuC7s/fgKlZGvJCytRUYkXzUJUhmQNm2tHMXnenlmE97A3EuHVzbFMDEnq65wn+9BCrBaYsupTyGrSnOq1Hr8+FLEYI6l8reXoptjkjPkBzWPJha398UcggZIhZ18gLfyaCuaVZ1LxOii3XoqD3ZAV2uGwBuqjRSV4mMPTpFa/OHIxlMyQnlL0RCdDEs41dSfxsynQAWmNHCMz2JHuW/zrgXUvxy9DsrE/GkD9gWHo5ZQ3y59OjqrUAe2wlpw8BEmRigm5M6D1bUzGbIJLPw5JqNiK0CgLf/rEvkV+RbcXkvXpXOwYNYOhR9ytM/nRIzlFglM3xx4gJVSJWK1ImIKA9svLF6QC/fCXSJP+rAPpTCBQR7LZW6VlPIUa74eXUeiKXud7Os64jPzCcmjnMl5ZxCslwTje5xSTe85H7j6kwGiuhyn3H6PbJNRl3F43kVE+giXi5UOoF6250UqlHn2/XtvrkqSQeZp/lssGdhsjLM3Acu1mVqGbHpiRsGRoXNMTNiuVafNXeefa6sN1gWgZOMbIl7QZkzivZuzSNFeL9O6vIhbm8anqlS/fqTzA607H0naI26dWGZlC2cHkd87Z+yoC36q46/KTJb+3h6cWi+HXLjHkL6oicp39rBqxG9rdsXlNmCIFz1NYHPNDWhMzxXq2m2UjGDXle+xxIwsbopFo2uL/TyOxAGDIC7wYxyk2anzd7DcYQTqEV6WIC9i4TOYRkI2oT9MY8Y+ObBZKsDba3F7rutsZBIvwkxHWV+cAbr0QZx0q4w4IwJF+GkpwNa5Ok5vRTDl6yMXCXbLhu0RHfNkxYPRZjZ1yI/AdXmTRySqcummfHEoj33IOdEu03rKCF3ejXM1fWwZCp2UDLWOdklij2qwc4le4PJ2jhvvlqvA66TCkGlWzdb8QGEK6F3eaDvwOrcOFTyY+2oP9mmM5e22IrsKoeehCax+C8PdYxRc5ldfHCDzAQos4IsI4bpFT5x05ohQere+uy88HYkUyTl75WnURbAZjUYU1QB/sYltMCU+YX8AfCvCthGSqI66G8KIkV9jd+vSLfO2VvCLHFi7MytvMfIKWSgo3kqGa+Ew+rgjyKYm8NBjBmlI+FCbYdar84xEnqmGN/B90yQvG492qmeVww0ym/EwJrNlqO34WaF2gmQCiCEpUfozdANSz6MGF3MTpe09Lr7JxeNwX7lfvlaxAdWWNtEoIAYTuFr7ZNy0EHi8iD8lrUWDTFCE9JRA04gAaD6w0aPFTH4ZvBjaSlWJ1ryf1cxpARLyOdEpxtqGhC4fGc2kZ7675jaSI+n5mclAvU1mp/iUOFkcPdA2NfPMpqoOo/D68gG2h9cgS/NMllTzjfOIJMFIazgVCc0iB9aWChMHu62eVN5BkqzSBDeFgk482TM3ropTsSIKthrgiCYZorvGGiETO9Jg78QjFWMkEwTGJCLr5MtS6EFrC974fc0+vP6w0GNxYCA95tdodS+tjte31sGDW2PG/BcKS5JQDfvISyakC3eaX5l00yzJ339w+IF/HH3+5YPoCqNWgOMxwHmoaNt82EWjKIAMCaRpewlK1ZbUlGBx5qEFI5s7iWVfHqP/lY4bqnWStcCzxECeU8vZPn/d+/daKG5RHFzy1jrfD7M/MY5cz9+t/r2fqORDHeq6+1bA8Jp56ouL6RrrrWvxNL6gTST1A41UWsIe5cIht/tRFC8c9NcuyZK4AcWq+OilcMVthHTJiBggOWMfY2MNebsKodrVDel81cqt/hOZ5SFT3pkuEa+vckyGjpNuZhaMaYe+eIbBFZ4gHTYw+qxLeESSy/3Xo37g4ifTBoYG1SthA1411dl91nU1MCwb3VfMnfud2mQKgK9z5/WDOxrRHjqGChYw9c8mzxAEcHN+vJbVTMeBF9sgGU89P1CSGw6VR2b7H4c5xIG5hidSbrb7HVLoYasoKbWsnDZ3oSH2PVRS+EDLyg8dlqHcvwJ/XIFbVHzROs6u3SG5v6LKL5ezTmebCSTgHl2fSL4VvsexOC3+iXb2HFqcIBxU7zEUj3AnJLB2QU0wXWKjnHtRCK5Zhu9kkpjvdQCJ18jlpovmOgQMxaLEqAI1/v2hjpDDN1smnebjr7AD6FUuJ4yNq+PGUbmX9iTmIOWFkHNLn7k7UCEQVQArPg0bHLbAe8avCa5oVdqrPJ5esfdyQhxwaLgPSuHv/Fcazxfs8tZ5PSaJjFI87ExhsVkJmqGBO/+b+no7F0pbFrH2yYwsXjf3YFBHyeILg6NmVwYaL2CN1lhKaoqYJO9js6Zkxg424uEHfn6kNq7au3DcRTQQOhutR0e8MgW2p6na6VPmGmkMtHk1OzPqMrt9zutMPAvi3s20AHQac8QERfwvrBscYkj7RH2fmfbNGyNlNnJpxfyqMEJzqXnt1LsgvYzKMQbNYkr01v6AUAOQlLRVa1lR1T/2+qzEzN8/xZyINPtqiviWFfm6SVm+jviz6QoLTXirnW+oJs6XRLS3ZL87+2pb9E60rzjcIiVFk7GWFXzlnSXZ8I1KOfe2HhvOhZYD4U0XxxmKHsaGZ9WkzWmy8r2VIoUYRtd7kMXJPwOvKE7/SG3tJi3RmyOLyfGW0quYxouNH2RVtZkhiQ1eNCPZEoiI//gaEw2M8NVVp+LeAlq5bFVnl8nY8Gg4+DvI/7A8v4DIazteiYhOomVHQNR9AcxynvQJIy0PbpWJ5LOkrbG+bP3myf0rJ4s2xLSvc/nUfUWb+E5ITZZlltK38jDXRenp5LQZKQapqZI03W5gUS42xm+o7X+t1Zd+vq8qjiyk9uX1lGdtAVxEahMIGUc5oTtRGuvkxIBz7+d3tqo6XxmerPFKokddHTbHxPDD3N5MdBWhzNSEKivWSSIWOAhlR3HFzQj/e5Urryr5C04CIAFNNeJxe0H3ZFLuKEVbr57JghzAjimsAnO9CXxx1UJulSs+S7zCrWd1fbKDjLT6GFs7JJTkfEa82+kXmltiQbye8z0NfXx/f/d9OlG6XD9JfYDAvlzPGSZ9fKJTlMFsaD9B8RFYCY/FBEqadax41toU2yXq7D1x1RUwxT3EU1M0FmYdrym1tmmpYJpNr03ecGrkyvbzj1Wogh3COCH8dVprRBUu4hMihrvtPUgCkOE/U6hvM/pWispxahh6AA0F5ZD74oOjdFuLtvxwSQbJwQM0AP4vUCxsqQYzjwuRSDIMLnyHPb4SMWN4+6VOxcsSUcpGTyYZat+bOX5a11NI/LJBZJyW3PpFB+jy+4ZC4Pn7eoFtnTEwl4hkWMuAryVFOF/oO8jCGrRAuiGan+4tA2rgqT5hS5NIGspagkbkda8EzWxWfprjpZQSpmxtTcZbXdgprttl6mpr6VYKt1THqfeyElUQzZC0USw8uvW+CQeb6ZmHfxK0a5FEtYSWCSzHzQtfSXp6wcgC5r5EbDHY+9hxLv5d9sJGq9EafPoxmlvueYBdSPmeERRGXNUi/lCPID5hyuq8DGEIfmyDRcwIbTpQxMm12J7u5/rOLBtMmbhHXr7mU7YIEgWtv6DjCcdE5v7hrin0GjKvOKymExHRxobGUTGOdo+V1pARANPazZ7z9J0c40/gJeqRWpIDw+ur8qNiUKumzZ+7+OP2wQpswulyzojUiyI5t4zcSnS1dYwjALfBtWu8yg9LOnvvp/H3N38oMKktbUlWCcLzpdhITs/qxJzw8k91q0Tf0wHKxXPzCAKLaUlXz00fxRzaVAeeFG7xSj7NGDlBwH57vYEkWHHn7M/lMxFoGOW1vvPxNbbW4z5VSMtBylzum3YuuureCO4RH93Io+quZ9NAXdOyxKLJo2zEZVhrQNBe9d9c56ovIDAiFee+gr2WrQ0NyO+55VL/sLt6bdbZcG3qcYnEYAoXQP4/62qMtNPWs3m35Z64hTzMjTTwf2bqlseePPQ2oedBh8ThjVn7dlfgwVg44lVjGwUDHeTUrkZ60REPgwEXrJfZFLyTjbP+yZILJaySKxFXwoCDtYbsPr9YE0x0SFwnPFDzIxndc693nRp9JUfAZ9CmwOAzJGhuSp/dSz9LZMUQ3qtLnN7D7jVkKThwQTMEEbWW2vV/unCqXn0mUI2bdPJdCKFC4SGKNJjfKoftrbirFrhDZWnUlFviznwig58zl5ggAvqysTbdmD1iMyKKM2QV19FCOyjqK5SQYg22+RFAMEmv5do42tkFVh4RpqrKgoe/2jDy9KnSZbXHS0J249oYueZFO3n3ioA3rFQq++EyudkKn8W6df6c5Xo/R2Ta1g4mXjQYU3GZdWl8Jx2q0BGhyktTEl7yP4EZQIvwaLjzmQ0WDJaRiBlLKNPi5ufVeUhDqI7fIp6AN8Jil82qA2u+TTvbvGvNHVJVjjVqFrST8eX7JIncmQUW4T+RJ8jVRJ2wKSyArEOsHelGubJxX9IQOEVCsESBC9HF7zeXgntkhKiBwIoLebBI0G5BulzFxkkSuU6x+NMQa1vReQ5I5XKWnunvWTo2QUYAx2maQlmArloyS+9ouvH2OBbNo5QrWtqnK0nRJvsKvPeCdVU7rWJnnxK+rW4BVGaGa2CHc8d3UZVR8oBVmPrLahho054tBWCnOSyRyJFQxDzvd3EVQXZPbqhFY59z84abx98VzkVA7cOiXqN0nOJtZA+t+dxkFpjd09ott5cG+0GNI33D3TfgR7WlOBxKSBIbai9hjJmxRojr/+YZFnuU1e8OidtyVqZCWNf+I8SLlzmFUt4QnQPeigtQb3Zr7IHJD+oTK8DqT/ZlVw1bAxSsve1/6vdSZb3sdgcN96u2MlAMsGqaxYaF8lQ5bXGDjKz/eMpppqwiiOm8ucA2kT3yKyE8Df8zjYrRPzaW3vz4e9odCQ5fBU4Q4Xij93f6IXbBKrQwWV7HV7z0c3Wr6O9Ud2JACnDY7BdrWv6wQuBKMHXanf5TKoUogBsZ2WHXflE7M8+SDHlhp9L+KRYAgTd5tzaFZSxInXXT5RtjQFLxo0Tbz64Ucd9E2Yip1942TskLY/rw2vPgRN22o678nKVWjxggIFXpBKI+q7jIz1nAwpQjrkWzxRPqy29jipIyGqsgZ7FvA4llLLjD2HTOCWT2tEgsqtHJnB+PbJlEwDsxm0378c3v0WotLD0rN+G8tVvbBKchmCIA4pj0Ieutib2Nv4XFF0yZ7BJn88xenCD8SiSWChCGqAIuL+o4jvU79p2bqpN2zEyvyVDpNqtENYSTai45mED0dHJzcUz2wpgxwIZjwmtSAEuiLQtD80FRdnY8zf2c9LUoErx33mmBD7rST0jwWJaLGd40zkfluJH4nPx4L9PCd2WBIN6dO4RAjqUV/h1qSUji3RDD2k64nsZ9CKejgu2Ef7dyoh/6n9ZG+2w4DagMHWAVOACDJ6Ik5ZxtChkhYJorMSXTrCf31iZ4Mm6VYc2AT/5cpR3bNI70pRgUC1ugRpokEzxg316bntVHoAvVySh2FAec2j3A7mDkWbYANcY+zuaA1+GIdvIjMK/ORc2l3qRojQZweKVFwjnTSfgcyzfKw5P9iuguNseE4N6+mEAURJo27jU1Osi6VLO/4NC5VbM0X2Mlme/Mks8RzngAFRaaHRLyO0MNRt6iaw/IYRl4qigASmWt+EsEn9A+vDAnG+fRK9Kwo3lYMIX+bKH9eyrA3Yv1vS82Fhx3rZVMeFVcHZ0anCweEjY9MSkqcw5cdOY+b/FBg19RxVCLZner5hDCMnlctxDauJwhNUNImJrqAWRUn9XBxiHV1wVLqJtQTgbuXk6VcXKQPzqCStkruDx0EBDxl5dF78I8dq/zcap69cw75sMykfCIEK1b+naLpfO2gf12wFzPng+I2qxbpRZfTvCgkDGrasTYORjkgEwG8EArEoJfZzfAesyB3F2Eh88XMfs7b8P/vq8/vGoiMHuhJI0ZhW6Pf0nXmCmcV7NQdM78rVT53uOmxh2yQbGr1Jfb3CB5bBxpAxU3F6a9PZj0DC3f869kK1suUggvdCiG5dyCamL/vCPo5aezYTwXYeTmWnoQdZCDBwA0rOEc2rmgYdwL1NxSsuVvOcG83zOxlKyLpwS/WOAlYtgHMhebfJzBGkE9QLQC1ZfA46uX+ks+9sR8e9deg90jkinIS4ZCTxriRBbfyBHUmd2pB9OYr5kJiAXucNpVmwYZH2RSZQNK5mKQ4AEcXroEQQW9dmMyyglpn8/smr+R2upqh2vY0VaXffAHRBSeFCucHHpojh05mSC6ICs4q3Co79iZ8sgkZMpgB26V0oNtCb8iez72MniFez3WX/CPuwtIForuxjstcLwbzCNS0ne+5Ea0VQbMheBH4KliCej1lOFzNBObMt/5IlD4FquRFIraKjaSFFD562s8HYSA4nUYl8JHluFxAbpf5EXjVCAcKsWRQro6X5pliEbcWTPkiGsAv/ibqZhMYXYOQEmatXfA1KHxViba9yIEhS25u1unBBWE6K8kE1od2rBK7hMEPDkDqGT7M9xS9N76t9oU0gqaksLQ/H59ZTuUFEEYPiOHOuZL04gtkyS8o6W3l3oDyeZDbJ532yNpF1LAicX50BwkfnH5LRCntmwKPp1BcM+2JMf2VcTkmzXUZQBwWWwRjULQL4s3VeIfkgIpd4kcuMwFX0WoEpSzrCf4QgwpXrZMZkJC4fQI4GCTyaflYxaGJdzQYdC5SI/pEYW9lVFoG8PoWO0teX9WKRPCOQtRD41tWP3MC9MgOiqk+EhY+0FgHGIjlEkmPBpo9kRuh+tJTqfs8ab5WJEod6P+mUBGaaHXl47c21pXg0moYoFMJX/ZeJjmJxA3TuLqydJwODTpLIwcpPhtkqRKZ3sOc7QVOsj7fqZ5SpHcDnYe/Oa6rIx+EHQiIK8rIh/0PpwjGsUaqBEXjpVNn2+jeSWc23TrWAyKv52zl9/4jTJY6WHgUCx38/yDLoNqtG70ezADTAb89CdH7GwWaIcMm44xlBR/x5cfhjfM/BRD33lBB1yqurR6h9dekzEqLYRdla89hKOWKAVCnMJOMQbXZHOC4FoX1XHqsSARrHYChPExb9gIBEfVKEnf8nUGzCC/3D4Ueg+3eFYkTSOR/gFeSFyrqO4PSsPsK2MlhfQ6/7XZuYahGQOjlXwrCqj43gcA95a00WeQQoJtn3xc3gfUx6VxijlGYwBc/JIQ/XH+zZ9wIwhwN2YIMRuP8vqpLr+KRohRVw1AuhPIB63hrUXtWhAq0F4FLxgncSAysQsrBfFmFJSHqm2Uk86pAkdCxwvv/IUav4RLzbKTHZkYgqUVzfOmpEIIgnCcXL7HqZQMVDYzzYzAIt/eNXvJ6VQCN9cX0S56E0hKiE9HBh6x1G5dY2Swz2LzSQrXnC6xkeXLjUbOTjBthhENDez/Q5LV9eDb9DyGUfaTN5/3q3QRo1BDsNo4Kdd6IxjMG4he8V3oL3UNLJeM6l2y6fRPn6hAUuu7LtRyEDCfnAgfSQJSTm8JLwYY+/B9UTWPvg2HBDeSxcphYZtkwI9vZSEfbLyUJdPN676iZzfWTb9TKR0z3/bIapcT3KOkfFhFphoOQiyi35XAYfLtAp5jPmJMTHgRMHjwtfs1ffpquGphO4xOyw6HI7WWf7p5x5ymc7qdZb6EGjGk3L11vCrAhbTYZJtQwSXHxID34Bfr3Mmskep5+P1IuXI0ubO27rVyHafBMNX2lgNkOw8JHkTMfLmtIvkU8RCZC7NORlnKIb3CxHVn3O4mIooYbcJMrGlTH0LgiUzPiJsH7LWKW/yplqEYZomSa41adCaAnndmOwBKm3Og5lb1xOpEUt8uRwCmybklSvopfmpVBJtcwwlMFQunBA9MKJItvPZ3f/F7nDE+zLea2yuCvAqwtdDCdjPF0nphaV3HQJs12aBeMxVWXcu4r7dMhDZuLqrxnYzUb8fwJ9dUNhifV9e/5xToEhEhlwIdV0X/eDJ8LD10gYP9mo7yjuV2rLk0+1GFqM1CjO+Ip4FPH10qJJqy3z/gv4pXjGClasFC5Q0FUrebXg736plXZkNs6pzwr1KTraSHPJ5LoNbqWERZIU8UPrR6+qfjvErjDtDY0fq7lot9vN7egvpxWnCK0Oca+6kHqa+qjGcaU+0Ca2axlAaKE5EdHIqCIO/IjTu2LhCCI9ZNELUanA5Gz3R2cKveNISdStm0CUhs/huY2fimafJenpCfxORkGxebds/m8hSMR+cjiNqCDSWxOIsUr6D2+koxuQfIIUS7KTFuUb63AmfoM2chUh3wBIlTm9ItHruorb8AUldICtEQH9SF6AH0gbS6HpP0BT72RlLGpu9I3gA3urvtJ4J3LsP4D2K+ifoRQSUrNeVf0fKHFi7u8BLP6+n8zqmHU1J9BQvQyhEEjOTn1WQD4G3j0j78FgE22r/Ef1WEfLS4mSSqfGcKMqAIczFezm5NH9nOKYso4xtnsIGt90BATUhLPGlvd7OlyiG4h95JR27QcMPkM7+9bV+8oqXpjpq0yZEUObioVMu23MnjwSwQLxatDnmg6/qF7BO+QzPAc8IHOBdN5PnQKlCubUmWGD/pxKIyooN2K3Rw1sh9f/bceYL+MlFkz62sDg70PU22CaMTCD7OzC6+H/NLWhO5cAsekCo5TFQ4W8QxJLwcInXaPb295APJeKJK6yfecctICZIydPOfq0WQAA7/+3Y6s7zL1cRTUmtQFsy3UcrWhkQbsuMfsM1poXS0E7WQIaf9s0imPghwtBIz7xqQw5ly2T9l5fPUca6YSHO6JKMVWtwd9MQBtp53NrbjjFrZ4fCG/yO3z+3navF6dzpyCI1sqjEAX82QlO1tMma85KJpXWRj74AAdxmtW9b6W40rlC6G0Qwr/X19bXobcLI0lKcQvQA6aU8fnXk9u+fMmfidqBNAskI+tC1Jns+nwERWBl8r9ESRyaio5MYneZaJPKxP4x6v6t+2f6GweyHH2JVJNva7WAQAEI3ILZn3nyXd/PjRPbWrd783NuZujf4qkuVJmhZqEsK5lNpoDJMymVFT3cfeDLZnpgmTdkGWwkM6mcIKQqs+p0CSL/u0/nx/wIV0IqLtOTjpr9DBF2RlM7zddbX4t1Y5m+052zlEt/QuRD18XOnoudo/vSrwQy66srSVf+b29oU5nN8fPkWk0dEhruNHa0T10h48joXKRI9HTn7Y0gFcUdj/xYFLMezrzjWSDBfDkMRLd21/ZDF8QfuvdIxKqpdDNnJOGgN+hAZAxk9Maf5ZePg+/5iCUSxlYpKDHUrHZ4gMJC789tpnzNdM6LWL+yRfl2HVQ0i6kcdNwa6l8rUCcEi8dKmJen9442C1cTM9+6ik8Zv4cDnzMagd9Qkars1ZC9oN91ijjUUpr4HEsRXt3pq1lOKsljZMro4tffeAFqzwAQkZrvfony13hz7Tpv/v6nDe0UV32Kx+i69j1ZAT0mIT0P96cVpXQ5bbdQCC7InsHvBFqqXsnvvKg5JOGB8kk8ynbAeuZYvUiLHx/jKPoNDadQAK4iRqfgaNxvH4nGT3SEGWEyjdp5u8uVRRwPNfissh00t2wEtAsdMThqkdc66WdEOkHLJhFJx1uW3dmGQ6wQn0EhhedJ82We2uEcS5FPnGmE0McyS0yRFSAM3iogwd6FhLK1kQFC+b0IpZzGUF1oNTXRSnQMKnQtJ3b72tvuQJnKPQ48FjbRnAfWBlNowwGFUGcu1wnvd2+y+QrT60hhfSJ+L1cKUNBCS7p9bzhbOw/+PWmLr5/oeNW0ytqDA/0m7I/GwaBBbZIOckEAvFkbQlnnvj+TeEFDoLAoWrxLLWaIlEtvgKIuxtbqaX/dJ+8p3W/99XMZf9/2FO354QmFGP1I4/Wa1gYQ+3df7vmgYGpS5FXmorHTbEb6XgiItnsaib8CwrqVjuDhNMAC0tBhy3/rG1zkTIQMxBv7QIUSeOdMpn0bw3yhSimUx3Sl+Vu/LUYm239ct+bEVRahnGajILiusdDuQjAXg/zeb1GXChOhX0+XhomQnp6mpMRI1jssONcFxosuzySqdCOx5ULHSAdZK/kidLogGca+0m2OLXOnfnITuATfHR506qZvGN0uFRqlytZNAE1PV/k+HLSvrz+PqBne52ab2aGxpASLs/HaHXfuGj8yXJMYWh9UVNinQjlj/CySMkuwKj8BvB4NmOXsj2GbHHeoMCGkx8nRpCBj2liIVY/Uotma6AM8gypsQbK5Wty7920RJysTrdwvphVfgCw1a2OODwWNQx80ZVLvfqxfPHIXCXh125jKLSX5gpdv7OXKmgo1+8YIQxnVIB9T3nE8bu5JH69WshvMcJ8gEXO6k3JJJj214rJByPAlp6mDN7h2ME7nJIm8NG8ynEJko5rat69eQE0Rljaa2/Yo7dFTLkapOvPypulVxm+7JPkasIKJMNUzHAdI5Zs/+hHM8n0Py8io9/LKnLs9lNa1m7UAnYE4b73EeEXrDVpwtC/RpO7FowWc4VYcha4IpvNkdRzCeQ/EwVw3u7u8wGf5lLPI5x9lykmlMdErxD2cpeWfTnB1lxd88ZMwDtMwVACqLCbo34cwTu/bMIbLQko4FnCaD1GN6YGfhMfoh2UxWCTbeaN0OV00AuJ1so6S/PPtiwCg12k4tF0TE5kO8k3ee03B3XFq6lf78hFM/KpYGHwJk6BVzMwpsXDG4QVQaIz3M1bIi6vimIbLqzjFi8OVPDFnQ/y+ep/OVRHJ15CRYltck8mFvnSCDyfxxTnjH1Y990olzQTqua7iPn79wuoZLO4QLv8GqypqKT+RchrEDrHidDXujsk088qjuUBa2FofbV5ZcWD9ypLrIHElzuSGLYwKNKyrg11qZGSz7IB7qlUw9ebdg/paqCnc9OO5li/l8AUo7Y2obVaZvwgu/hUKzFO6MF5iPBdH8sdzEbtVUxLtxsftnFtJtrW30xyOjwISY7FSyxaRpxx8K9McZRF++V0O8tRILsQ0m+IPwiNLj31dsq6ymR7KIXupfG2+L98quRrjw5M/GeR8zOUxQvgvunYqRHKiXX1XZO5EUEhfqYijt/NYX2Y/lt8raPwtXLkeFZeKxziMwLmadQvlQO50U8FUdnYzxP1skZhcr9KZ4jCQs9jXprRs4/dLMip5ItEtcqFCSAY/Xvfm9yhIjuoMyv4q7kwzfprvO7i9uWS17T3JdaT1LNysj30WOLokqYmokTpZX/cTJwm6Nx7Zvxx2KTGp+P/jkiROanQ/UUQPyJbsMughqkHoH7W+1zl1bfaqj1wgRNQSb5fsOc4Uu75IEbtiTpyJm5G8/AcGfxTtoA5eay4O5VXmE3+zDWE7jFMdxL0NmTpenS3bFLeLNHWyciJG3BTcu/4qPiiVrYLs8MfnSA6dLJ4qLT9ZbUo0EYAybSIE75YVb70WpgLPECsQQGRpeuJSvwpJJhGb1k5OtGenWcIcrp+TnwKwszffzur9FP7rDaN5wI9a38ouWz32q9Nvbr/WgDp+jQzBpKO4oSZUJIEkDy1tgHRBYBM7E0ExxeQKq8okMCslHgGNwljoRWplP53bK3vdfYNGB7TBgWzbNT3aSieZul7pNOxUPRZkf2drNxhEczAXY43EHXde9FeavONCie0Azcc0uTuUF0/ygN0+L/dOYBFkvAq0Mzy9YrWRuhrMRu86btkGaJnfu9p4+N1twx+1PqmbWCVlRyqU++A0ndB6+zsBhCIxMg+K8HLj8EImZJboPXq4waSvGW+NeAgvVJpk5/Hh0qWgK0UjcBtpKdZsw1poof1+851O1NfTqmo5EIv+n0u5mjmH/3njYpUS9MBBWORCmgF30UvL1iC+k+UM29qsAqk3qx1/RcI4SAx0TGA+SDkeHXOcC6FC58voylXio8p3u0M9YCZMiSVRKayZGcXRx7vLdP5iCy9z65ltc7E6epc+0U2OaAxddaAWS4ORFonu17ZsQP7UnkD+uBMagg0s3wXyheWuQYyRdc8oY9FxmiczC/Cez5KIz8PuITGFfGdxmeJ7XOt3jyI9ECDwZg/R3v7+gMWVS1T/NXLAgQGIdzGmgg0M3xccSYbghYa2QmG+3Druwr/HNrtgS89SV3vT/tJLxbo3/5dSiudnYKXJU/H2BUlo36rmrftrcFORwf/cl6CfOoK2vyRhE1N2qh19x5YeaZKRgSLWAxV+e+hm19nXGuT6GCQ23AbmyFN5UOy0wdgrRXxQbIdFQIfMW/ZjCgOlyhVUUrzt3i9lZsz667jwZU551hRRebzjUtDxD8pdOickiqhU/nD1Ym5gcSnHqB2aWNc7u2MKhBQbl6RAug9hvInKbxiaRnGuLW/+MsyuPIhzuTyh2Ul6KXN3TVAAobm0zZHZGfpi5rBa7j36xFevqyOLVbCMf8arodbi0yoynD9X8n/702+TAhOXFma2fUdWukRbzWJ6d5PIHDKuO3m3dIxE9yMmRUGDNg7pYN+Re6am0sOV/GIDd6EpcQ5XvcpmVJFMSwHhR7DdNkH+5TcF2Qdq+qv2vV57MuVV/DRRQrZf2WGDCeM5aqbJNFfCfGqfBEcH/yjXFLdyOTHTf5sd9TjVdBSJhO2NdE3/o5ry0WFraWG9FGgEd8aB5PmJz8PSe47sJmt9Hb8ETLWZBltNvAGGs8MiHdx4PUJIY28mfbIACxnZPZuTKuAWwhOKDU6xgKeAMAAky6MFz3rm5zmPwte8BBVJAKIO/rzuXon5HVbsYIWSEmOiDfkGHHscul1LE44qtdmGXWXO2pINFZeWtlpgkPGDQQHmSANNtAdXhHIGxQlLldUPBNOJZizUnw4MwkocEhdwWNbJuTcBTqLJR174h68v1xRZqjHtQK0eHksO2LD2yPNYbHDb5UNzWLvDOASi2ItLdpQ9db9ceOGB6+NlB+dgJA1rW1IfeqGckAPm74BKkVo66IydEefrTny58LO0nvlPtTGzgwuGl6Irlnx0R26AiQVfEe1Kjzqnl0x1MHIT36RIQVubj0+cRMyQntpZm1X+zJ9C0aOA0Mk/bJqTzVU8dUbtD/QBRyn6gB/hvV7bXZL8jfmTMFefmfpwQlqvaArqcKlRpCb6VDGSaYtQQucV88mxH62LOcX+lw6sMKwmQBe7aDeDefEj28oqz4LWig83O+x67HHI+iKAa3iaQK4rQGlrGbzConQew/oQFzFqwnqpupBh95OnkXZ6XnR613EXLH1I304CrJhQXfqt+XpoWP3iIXCm2//CKZ/PqrycDhvLSBTG4lGQfM3ijAVlqV04tbysDRCogN5W65c9rQA1f0lUiEPYfCYhPMZNCdPz4rAZew7+KLBWmb5VN6Cm2Y+gpAbXv5f56hFUmRaTS4tGJ9NdxIRhB5sTqvT7smP9ClP1uEo9GnPNsd41CmxpHUL3YVo00Qp0hfNfK6VRRU9amN6Go+d9+QGSWd8rlGUSJHh9PMVr7TrPLsRHqhg7vYIfT97KJT6VVy4+e4aEX+fSDZ0BrKV2dQ273Mi7foDSb13vTf5bimOBScvV1W1bauA/P/nQE/0cWoBaWMXDrax5gN6kpzzesYozNg59+3swqT3AHdpzCdNNT7EUCvcYTsnO/Qrm8nJPeMnQPGnnSh6MVUnc4D4evVFSKmwtgA0nBEdP5iXsl0XicS1Iwu4vCbH9NQw8O8XP2fOCTEqGGeeouFrlgvTPr1aizc5OGhQSsSKgkbWyp3gdFuB15RZgH+qGdA+LSOxiQt2gMjnuEBHfg6ou3P+w8aHGgpP4vIaXAejginoCcq6H/asfDG4jUSti2H8Iw1RoJE0TPZKU8BHL2J2qb8bS45nb03bgVAbQwSPEDfrqEk2oGKNVmbcZFxbm1HfC10YJDGCVN75Y4Lx+XtkwkQzKvCMCHvB3OmaFJIxWtNCuPLm8S2AXIf+PnKQV2B+C1klWdb3zpao8jC4gOgFrqNfQ9OxAtVYMgrcFw1VBKCx8w6D9TWz6a1VX6Pu9RNj7bk/2+3h4zfLJVR6AfX8i/wP3Vo3wb/EfoWYXtQ6QUYe9FJZ7qdb6xCuHtaUK/5BdFTyd6NWpzk4Ju8+NQ9clDwg/ia11FU5xpRxqCI3EsmxtVJEXY9WsIF4gznFqRrHsBghS9cBniQ554T9djt0uUETHlQjFD44nh6rg/k4OzLpCIvZ5aH2arJ2nSpAZE6ioFv5YUad19E2Wp1d5IuB3CHT290OzTHShAvQj374d4fXOhU8eWRhaVv4bfSq0mV/A8cXL3S3JYw1V8TH4KSdgqUDr44RGdK1KW7689wYbo8AhWF3qRblaZVqd9wLeTLvqa71CWkVtTRueFKp7kyZcdUt2xqQCDxZxVxWL1qZaoCNgrDUEggp0AND0oweubVY6YnVaHFtsGs7uzUVlP71GHlGB0qsQu2kgyAhFzD20tRQKcLyP7bxXgfdNPHJvgIbCkO4rubPjGehMhNy0U3MzuRs7OiV5OCCQsQAfZKHEYvlzbwOa9UhUpNvLqqgk1uC1GaV54Gj1sE2s5bAdp7KCbgTFMMdaf7KEZR1JF+pie4JhPVGaswqu3cWYWR3OLw4S51D3EL5+7AiIGQwKqcyZVmQ3ZgnGM49DawYrp+5ugjgrjrpPS3Luj4fo/nHYIfZQrdt3Dy2CG/aXlkRYnMO2zXXNnd8rognGHw0rjCCCgxCwq3o95JKr4DX4cJOWy3x3MAmsbJVbGxg3VW0UmPBzcVzI7+fETbrDL1Oh5uYbTGj0WNTIEyc6cVCERbh/NOX+BHQ4VI0EnicrB9c6RjYdqPJdleB3MG8o7cUBWsQMKIUjgZq1940CVuGcvd047E+2JdhTxGSB7LzJsNQ1GZoxi1vQSYyWE9TqecMRrHhGqhxrI/X6AHSJ7zs/+KnpYnfv10zGQ4/dD2EvVuCCWcLnUX4dMhxXV9AbDuS8MqIx2fp848MmtYNDbPCKS7cBkuwNE6Ocxn220V8eVhPSKJZmZDwMqnB8kZ76JJQ+KO3Q4x+4HMIbuagskQEhJupUsSDJisJoMT+L0HQdC4/Ozh022mB/ijA+t3P4CFnDUOiiSazeHMd3yJggh8m4F6pP6rpEJ08bUX+Qn+Mw6gvGQDk/GDo7X9CjtdqbSMtPLJKZhk7RfZYKclzwasJ/jOMb2QIWvQuFOeVV1pWsea6WzhQD25smuTT+J8+xJ8jkaSj+CwmSKJDYyi4uChu3HZct7mxIAWxTcIPYWezSEOw7+3ykddFQGuuqOjJEVUXMz+ajG2EUvYEbS0ReAlDkHSi1p+Gh3jIkKfKLS6f4epy/Z6mcGmb/BTrpwpR9FoBOvcLmi/HikTDyb5Ja8I36DG7mqnF2CPKrFgBbWSBDzBZjl/7zsIB6b3C155Sw36a0ZBsZ8eKn+jy4jyjcttZwJRffeRSF0/zDNiaVHvVoADyl2PVq9IwKa3OY5O5xEn3im8UnhbAPp4bEoHQQ8j19e8ojems7YYYiFZnrHdFdGgHpDXvRmZGx2ea9nt63Uq97P9Gz1Ha0TgkkFJmzoXAttEObLvAX4mh/MgoiYDqPRS3Q0l8Orc1W9Ds2OxWjly0s66daR8jc7KJtzOJzz5ee9IE5/hWd0HaNu9Z73XHgYH/YTcpiklXp4mE/cCcGKscp4bTGHpwo51mFD3j1nDn3Fz57MAIeS1T++VrdkiXH5HiZTb0WRa4J3mwFSbLa4Xzi0PBXyM8gxJ2C0JqewTA57MpSchrTJkhWm4VGSomH0vLb5OX61BF9bYSQfDk1/YcQMlvlS4BCgXz4KBe7dWKAFBJNJnXKYFtdTTK68GeYJ9G7lMj/OChkVfgHFaxjVAqKB2All6jdAizLS1UcPy6AfpeR7OzNjN9Jm7fONkHyKrT+ermZEg5KmM1a5jnQHTo6yUrpLdEGujMuyHgA8/jt9Az9ZddeM/zyHyJhmjiJqlKIW6hrBosY056dW/fWwUxxv2rk8XsLheSt3ByI6TkJRjOp3diKohrEdsHZynaykDFg99nuvZJsAEZ0AfsDd/X2+DGcPOoaRa4Ejj/XVVRihamVyATGEoH/rVZRRvm0J6JxONpw56eIhHUas7ugOaM9jbJ5xbXoZMObvn9Go3EePC4+63A34axakUEoDvJPeR0Uj7cbMSpwUpyDk1oSZu21j6nj2Bu70Du/yqIyVWzOS9AfDiyihDYP8TeHn/tRSs8WStkQ6kbcoI7XcAxQRyBF42UOH5oSkNoIXt0V1dIr4Sh1k0NX/mtJJ/94cD+h6oomcGHkzpDqVTvMZF0KGuizyDkixjZeeYz7TmfNulH75GdO9B5T4Cb8UaNpYpHGOA3Q8ilSDxEFAWKKWw5W2OTB+5nYe1OdwXbVpYvzlhYE5dGgSnXAcGbXMxZMjpjiG7WPjj9k4yduRNuQfMgge7UR6jKDoTSmkxgkDkdraifSUCmm1U8S0M0ZIkZvFx/W4fFuOdUIpTVIcA1dzvAZ+cHAGBe/P2LeNSvpl9VBrfwAfRceV46vWs8ZMOv7axXJ38zhqPEN15SF8cpGeJ59rxEH5EmKIfpl9AXSqDtzJKgRTRNmTf2u1ss/y2O80SjcZGN/Aaz/GvORDCVwgYkOWxjhnX3yPW2A52KMnNg6Sf+tnvrK3M6NkK0zGE+/ZgswjAEaiSq6enck5947d0Dx6oxn4Mm2wxyeP4WxOw6sJF+sZN8eXEEiOcfYrMVQEaELemb8lJNKQobHD8zOQkBbe4YNEySbpJQx6tH34zygkkDHQ9q5kTNbGQeQQ8pJqCpfrZd6oi7Z77cKBEtt6qPmoT/8yPTgauQAHyQpAqXFCs797oi8aQ3lV4D3vw5LBXgB8Y40t5SfdyLmBgWgRT0W429UgANpQi8M++zvmaBeZant2kUFaUyQEVRjTGyftiN1TVsoEiwmh6GwffocOdaGr5h06NxARyoJk2Y04A0kyJCzNByA6TjbHN9tuC6I97mD7b//lk062RL3rG2RfLB0r2dT07fcX8qkFrVpl5HXMU71W0TosY7+H2JU7d3GDt5PSdRM/EKLrHyfaURzfB4bjVkjg/enVKfmMtSmwiKf9GWd7Vk8hayxwuynp8urAajTGycS9mFBattalbtAZOoX+klE/1FDsE5MaMgkc10W3sq76q2ibf0WS9UT7kXCQjAnwiiKRMWU3qJSJm/3QL/lMMStSxGcN0V+XmSMUFFvwSMg9GeqIeYgsL0a4AfMSaMvbwgs91aSkCwzQWjoPiYL2/5MXBcTieQP6Z4dsA/emPgtokesJwaA77qGqwx/8ILQjoAY6Qaps4rs625u/z61HcXpoN51R6i5szJzZwFNb8L6CTkLMw94PRYzp8ujeAGHm5JO39Ts0MvewyjrEGUGmF+hV+BWuQKGvAhPKFzENpWijPjvdxDtx1alt+epgZcdEwHGial/J1Prao+KD3RZy8nItC/CZtygP30lURdJWUMhRPEmN+W6m8cHGUe8UKY3P/4TU58UN5UbSfjyCviPDDhCBdN8pO3gx/nhoGYhu3ngy+BjVwK6txseMV63hPXSa/HMo3bry92CLGwhyGBEFnhsLu3VWvgnEiCH2fwTpDmK408StC8PjcwBCTF2V9HBvypqCsMzeNEk5rVy4enrmt2b4xS8fkypKoLuQNg3n/EgUhMXZYxEmO7+9nUa95cQX1qXDCJ0h912fm6MOaFte1elHAcf4DZvyfIVTVJqwF736iCTl3OW9p+FTgVHqi8ROapxiTMlsIGuzWrKLWhBEOlpIElrhOIq77QQkLrTkHwPOmqTT+WwkVViEzIPK3oo92Jvl+4BWoZ39msjA4x/RAdWN9inG64O6Z8OxfYTbAm9ssD37UeDPuQ3QD9apYPbjG8ADdo8+6f8y+hrLHj9/NP9H7vxLjXwikl9PxeJXvZPPDtkSKOd2SjmpVr8Ym2AEqx3/ZslcWdZr9LfpX3JQZJ5dVghPPGWtzxb+5v8MaPKQP4jd6zoDhiVpI6bB6DnvPrlEjNPbfDj5OZIJVuK0eBxXIWTQxWFTh4AdQasfuOSnKK6nMS3R4exn4laeD4elX+SlFOcZ87/t8zk0eSm68EP2aPw8IEi8q8+FP3hvoKlVL3EEhoa5BaFKoAhpuKhHEoBD+Hv5YrDMJMnJaPv4lCcF+ynM4sWMszQTx/xJLyO4toa6GFRENMFYbjbK0JQYzsynZf0h8Nq94bwo2iZ/DMjeV32p3r0C/WaMtQFOXeGmUIrWKBrwVlaAnJITu51gCwA7aR8D6MBy2y4HbC3kPFZi5byFMX1OwkoSTvncJ4iDH2LB0UggsNDVT99BkEn5/98s+xBwNchiL73y80Y7Aj5K/vjagGFlm4GznpD4um+3/4pQntzQvhMO5zOWgsBMypA8SN4nClRfrx52GDoslmtfOLww8CwlDn0cazSZHLwN9k3NddXrmyxejGIFKzu7587jHbXFXaWcYtzOAGhEnbxrm9f9U0CqXZiD4uuxPmfbKkJwuKon8z2zz/pZFAH1h1CtHugK6DYhO17hYJUqgoW2Ff8t2FEYKYtE5C5KYRn9pg/nbZgtLSbKMPeAuy0AyFcejB55v3tsPwdM1p3aVo8sR6+rQAegRYR72CEQD48NCM9q2zsGp/KW4x4WFbzZuvU5v1fN9baHDkXWVLYjP3KnMMFA+yFexn3pPFNEUIWGjPzzAzHxjdxgAWpujN8kKXSmPPEJZSUy46XV2Ztsg6/ZJJC/VY8xI+iYM7zqTP0pRy1Lj4VlsHXfHn8QIwY2DrQ5xD5r/ytpX3HC5meqE1yexUNEot2vgO5E+sgFWd/8+xgn2pvwX98XmgNLrssvioCQW+1iuNlH+iojJJ1RYMbAb4ok8FGFMgxdqr4y/cpFjVUDAp+Pc2MR2S7bxBq77jtp1Fo30tgJqa/jnL/KHEmSlbXoFtGkChX2Qtq6yp/WHH1Ryv8u5cBupE3nYZ+fDafbBu7+GFQkOzimTW0CsReQopqqIgAQlX7RRkpHtSc3lbtKyoX9rPXznhp+6G85QozXtY3Ge7rKb0yTMQUHomSOASYGKfeQeS0PITfk523DrdSDblCka1GfEbIgqZiOnkQfaap0yTHN++dzbcXCDfpjO+ciaeNKorJH/8ro2ScrRcJW2eDCiQAaJpI9yLnBXia2WOXNp8Piw0lVAme3sRuU1tbXpZiXrIrBmYhhz1alWc5dftLBkL3ffnC4cWo2IILl385pCPpMNNfriQwKDT+Ud30GlDO0KmhrUt+LJas91RlXLU7zNaAzMMMfQv9Zb96vavAYF/5EGTr8FxAdgkeyFD/06rlLXyzWDyeAATb0DdvyWR0R58gcj91vOvpOPHb1fk9QpHAOG9z33FjUReZoyBqw/0RrkAG5gX4hswgZnX5/ucj0G4aYw0g+DWfy5c/mGOlIsd7e0I3CbZ9AKPseqDdaQ3A2xiu7g9VsQXywpu/CV4xJPeB/M/BJkjXru0ues5ZwC+ilEIle1xpq+FGdBCsKWw7SILWgwApbWaHAFvZVgYIZWyNLl6kILh64mFVuiX1Q5wqYxLSPMrMILuVL5UWVbMEtloGGL0sdNeb0qsP8fuMjFh3jHZwB3WuvhTsoOHyfLT2bKhu/1e/Y4FfQnubEvA2C1CEXr1TyhSUhlGaQ/WqBdz/peQmMe5bl/8eyDwiFlKOSwBeulD4Hlb41OwyybYjue/xAkgoSUYrUfx5ff1HoZmSrsjgjOOA31AGDGPQfcq7YliYuDB8Abh+qaq/LjOPXfOv7Na42lh3M7ynM8d3M8skRLJO5RVEtbXaORfo+KNgQj6pw5Np5n5VAElH0gbqmT3H6ZDaPeVymIQZiZ9eEZ7uESlWXUXv2PmW9rVNc0HoqEuo077knAzWtfN6Emn5z7KVfR1cVYZAYlRSgds04uKuL98MwH2b/elSeJL9kzJD8mXhvJT0wgbD3JL7LV6bPoTPwXg7l3mdP2gbFiqaS7nYa2xRdQSTs2zWiWgPLBoACfy3/YAFbbqokrIzb9RogzhbTSeXD8wI64SUn9aOX3Zu5sQlY+aEnKb4ouqS6UE0YIZq8Lw2ot+CtQ8gqOJrZuFoQyOcN5p5g11/ZKrBg8TvotY+9B+4aV9YUeH0z8Gxn/djOBDGaXU8uDyCS4Wvzs3r1QlF9W/UvvydeWCbaekxPhQs7/BQIrYcAWhYCgNFpt/KdUANNpybeB842sC1BBwG0tjpz0n5xhWpeZdQhDoIifeomRfflahVdy29n45oCUNMdFe5VGr4kH4RDRUg/gDsgQ5qT4Tj68uGWNyh4gIuwo0fnnv7b+9wUzPBp0nUKU+csutoYcPNJj8WFJVwQYAo7uQpLOpCqILMcWtQQh7XF1vYO3N8MRZiAzuSPmv3ReRZetWYZUoAoqmZRyaTT16bqypHIimJF7aU/Z1Zv0GWuE473WRN8y6SAZDuslG1t2F1s2PJQOTcTZncOhiO1Socul8xnTd7J7CNTQzCiZXfVRi1TA8p04BMjRbogvwXWzZu5nlEhFpU6Of0mzJRUUq5hybRpuAd8ObHUwuzTLpT1SBJcohSPNBOhJbFxsBKe5qs+jmtQcSA3KeUGXzK+F7XI3rIo45TTquoIa1HHkpllQ4pLkPAg48L3iUtnrentDRFS7Qh7ypGZQqTQ+Yhb5SjLvj5pB+Vyh0ksdlJJ5CucD03heONbPCPS0ANsIIr79vMF7S52OBllB7FOfzUPzg+AJhUm/vbtqgMpsxMpFiF6mjiOoCibQV/XEmagSlqApLJk+OxZzAIcaVTTfA7x5kJrOrzUmnXOiCPi7/wd8qwSM4VGKaAXa0F+CNsPdHb0yvyILgM3MeqiPowU6aTr9Hm+Cf626dlhPBh0+ih8anOtWq8cqz2oY3hUZcnkuXWOIxbietcPrveebBBRjLTjJj3allGXL5VJKSgk+zP1STKoLY1PQ0/Pf/rJRzvjOlvnbxmmjkNrXVWQGplqEgxZ4lyJ7YMyj/5l1HZqhXXyoX9/YDlresGpyCXA+HGVEWFCuYXlET8qFOoRfMwFfV81wxwnGAwnlyTPLC4TUfU3bPCdYhn50tU9nggzdrFDNzfr3RmDwdPRy7h3VNAuznH+7JLNzJLm4DRzPHezWTIgCjQKLopeB0ScQ8JLeALdIhYXPFWS4n2TU8zs7ePn6rOojejMdEsgMddflQ0QhX+Jj447JMC6DnFmelVlXFyTxA0ssjWNMDcyfw/6s+X4ryHuF0BcK8x/JDy57tPFJo4i2TZv4qjbO9efH86OpHKxu7uEtSGFAAb40NV44HZuS0NzkNupZRway+5Zsu7bcz70dbniDWMkQ8tW6CiqcjXkAJfgjiVGyiDz626V0U7Pys//CyMgQ6Ap5HQWi4+nP2a2G6Z3VJrrW509W6AYaoEAHTcnIiMh94WSiMFO+RHeilTiBQFdg530AGggHDUnRfQsB8HNUlxMREMAuQlVw9WMin+mykrH2liugE8uTuu4QawRgmeIbdxy2rk85zI4A0Czz6qPLCu+mhThLdXYDV0W+5aBoCKtR65q9Vx5pjYT8uh/GnjsJxwNJpCTCyWEeekCJHd4m5dooEj6FACj1spw5L+xfBLttzLeVRAGToUFojMEBtxYUAlvoHq+Ex+eqULfr/PNLs1uwUqTR/1jwpiCiwoMFq5SC3V6HTp8UkJ54sHZGHN61dNFIGr55pley7B29dd91kOfLWMcQwFzIlB7la+i+FVpwy5eveY/YllRHIXk6QneTtgZQbNfMhU6+f1ZuiHaMYPRBXbDGs4fMpzrJ3rIGGew37YLAcqUcn1wo09j+CgpMn42rSpIeDjhQRqb8yXkt/dSvWsyJgnW7ESRG6f+kBrs2//NC0lY6NBlUhe7hEQVED0ITslm2/3mAgLyw5AXz9jPN0VrkQ8ydTZvwxnkzI0k3qvJ4EvVa6d6SCf9eKlXZ3AP4HGLlod7ZmLul9fEk8UeQOzzhUPMQJ4MaHj4iKU+xbQiBysTMA7rcEpFPCo057s/kJ+TSgNH5ISeOR//cSoYfW57+e/fbsgHhY0k5dSLbmFOJ2yMnH9seZCfKHh64mKlZPF0IZKUr5X3zrxsVtbKRQsQOQB9QnNsmcK7YzC3Xns39ifgbiNJ8XtGjbJ29IKu1ABSQqpuxiO+99zgL7SXZGRSHfvvNI1OpZkdbFOczhmiIXnX7bEXbqlyd4BeKbVTg+4UZ1CcjEQDuQqjkURpW6Xhb8b7/1SIj7/rfnBcTI+PQTJeJvuZ6dFhq7Cenqcrm5J19Zm19WFMG1q2InTxqbkvm/hnAy8N6HmNBowLFIFYLXW25lrHdzbHXypm8mxyg+JUZXV0yUrhRuHrR7U6Kiyq6tCm7BDxHn6n/FqQtf7sOCGrox84AlmyZovwmCzcjQj2ywqsj9rcV1LFjnKob8i7pv7ifQlM7ep45ZHodHBQSqgojfBr+UTmPXX6JBGY0P+7Qjgf7cXjw5qX3MsLxRk/g9iYN+5H9c14lDcJ+8iSr4iaYkJPy1RUW2Q3WdxfduCT7r+hngnRep0YerQnliM0wTMCK/RBnHUyObzQ9I8afTNF76zC6UsYPf3Jsrr8x019rQ9DASfREU4hqXcSO+NcGweS3Ca24WoLdsNIloFWVbjAJfCIFtbHJl6arJArwZhpBN4hgEkCXXWOt3kuCBhfwsMbyPodauA1B/Pq7jn0xaCGhCc2imVdByiIRdZgS8ZRFogZynq3GEsoe5sPP2oTR2d0iHgZgLsZWyZm1hFC5wSNWy6b4NGSThz0KgnsqUMz+0Gpu8s6fC6U2PflVrOPfiIC4h/rzqtAUhUf+DsRMzZWEJCUnQhDpPkzzYB6YNjqhLgvWmy6Vo7hoZmbjh6phMQ0Q1w50npIOdg3Dc9bsBW95eWZA2QowViw+3pNBuc5fXYg/l2Ir2EWYY5lWBZ/6an5gBvrysyjuiDRXjdDFHyyAbm7pMrg4HmZeLQDGGuTSTc/3c13DBy6jEoZT3hgOMykaHa6QPFwle6xWEGhr4d7LsNBeXwFWwKB+7Q36HD+yRjHbdTDjscpQsFXCA3kexKWgAWR9LdLM4jqINJJwwf+Z0f8TTwObRl585CVV7QDjtAc5T8CUsZf03CoB4+Fzn+V6WYK3/OL20TY+MogpnqHANZxxITJIki/02FFbFtkS1VkZS+wZUojmPtccYoa8BtrZp2L+slWDvCoATz2rmT8foeoFDN3jSfY1O4+xP5J7DCumu7j8V+Y4TvYIBXV68Rd3ixOxFocviYcoLMcsOz5NZi0iza1JRXvyovv02RKJMQWpO6di8YLnaeZ6T5lMHtuouUQgbe8JUmQKBQLlHt/Nu2XTfLxoJtHWBoxzGJWaTJi2wHVZAePYxIlytfjcPnc+50Yf2QCnnDyIfUySZMGf2M2tdYTp7LtHEpEYDbZlZQ4WHfs+Bz+LSeLcJ/A27uJ3dnZ8kaViSXac+13bJlfCGnGwYb2zAoikSRkKeQp9/ABA+zYeV6JGObaqtciAl/L5WOG0jrJmycboChAxE3MNPN0qNEvyh1z2TvMbgFN+t5OF0db4O8Y13bbUOKIWdiZTaE0EBvSouPAV3Vs2mEGxdsaYmBqL30krP8+8Rnumr1ms5VZLc1YzVswB2bpmzqwuO4qiBj8Ko2qDdqLV/GQnqv3QU32ryz97BWitCspz0S37d+9Ti9kuCEoQpbMfROyLxXUS1zf7a3PmUfG7Lr6KgBsWvAYak/qJ/vKnUWWlH9fReIHYVLDOZUx6cvPVoXBRVq1A9vr386j/zEvaRIi+Qds/BADh0vRGDclfo9dS9+z442ns6L/IB9jgafgAQk8bge0P4B1BSI4s4ocan5/TVRbykqd8/Sxqx0FbYck9drXkLa/w0/2j1eg6w4lpOvdfsr6x2DKcMW/IRFwd+7O763xNgEzH5e21RuAv37nh51ehX4CwDqK6RBicfjUyY7wpu3qKjfXsWXOWdV2OJW0X7VyGdbcdoi98Xx8JZD/Tzkx4lbyZeSB80+sw7Wg0MY0zXBZDDpUzQr7WNrTGvOXDEFdp1a0Nmz1czquSyfrSai8yridSp6WA1Sc2dsttW0r69ou4Eo4r+Oiv+1Q3tGR9W6itg6xu5I1XB2a8zgJYROp7JX8NtrF1kIgGq1nSudtvLq+INeNSsb7wuFFWsLUHtb0RywSVLGBbEbBkS0Wk3NNvHiHNli8sRiEEkvmQfGcIMrUULZW8iqbD45AbXk7D+p25H2N/+76XYjCqC2sblJL3LeI6rEHJDnKvtIyRZW6fJVVI8/FbazPHKodPOOUwa4cf2OeO7RqNixonxcAmr2pFNXhXu2GcHn4DmiZogOaRNcqKj9RnfM+iARdJPdt7Yiw2Nx9RWZ4/uC8Y3TfpK6/CPD68f4ZqLAtMwq1djfY/0Ue5s2LoPIhM4ZxtO8nDS0izNUNghtWtovKrhy66f6ogAGTC9e1el9ST0yYBjU5zsm8/+cgDERkHNsewe+99I/OvH94KvqSRycCtPA1fg2ZhyfW/M3Fpkc6Rydl5OiibLJesVAl7h/YFsEahx3nhfzXb1Q7zYchR7gQcnuNlc03kEBlOR3id3vA2FtP+bsyXI8Y6v0bccWeuMlOfVbZNiDNsWP29ML1dQFUDx7j91GkmYgaJbkn8Y1zE3R+Ge9q+Sq1+5LZM6gC8K7/Mv+7ubgaVLyOVUBYJPQYj25vVw+juo5NkKQcKVRykoC6NYbQDxsyobuwyoO5V6Q+fL2241VLNyO3xraBLIa8ZYGLP6MLQMw6HqodQrVAfvc9B0FhtnFDXDyQBEMmKlzP+R8jW+/NVHkXZFNdlmR+roDhIxlxkZT3kWHFegr0VXuLcSSOXZdBALRJiOQMWxP6+UQ6+rFZ7raMxbpHwNQVIw9S7xifghIXjIb0cYwLFfXld1fOkEOeBP/nJ+7mFX+v0psuX+/kTNXGkUoTNa5JolTgdIGktiDcmodH2iaL3929EhSEyVig6HEajrXjnc1KJAGhPdzM13CprR4vZzR0cHRuMJXkEboWxOl8GxLNnG6t8gBN/AT0m+RTapnh8YSDjWkh//vle/EZf5v/5XlVZVFBYYsCNAXCVG8LQtmQMsgAUP8e+1PB4xzPbys6VhNd6DAMlW0EJ4yPd9VZFu0O1xIkLzPZPyGq/qbIlQI0l/ac7ivaGpP6x5tlCCn+koMyjU1WjlAN8y47TqWFT4z+jlNLARj9NnPCtco7MmzLMDZxLaoFTkf+x2UGXzsOqltdP0WJEnMZCdDXC183faQ3jDs+Eo+wO0hS5quEOBwd35J1goJFGKQLgWA71+UkK5vmPE5IsD1jOPLwEgv5PUbAwvBgNZVN9W7AQY1+MG1NNwfQHhl8hnMzomXa9q465x0evQ9XLHZeXTQ0TDDP9OMi+ePC1DC4MYDhXvvkVOsih08Qk4UMjema9KYvY9YJF6nLMhLN1NrWN08mQc1ICZw7hSfRTi9jalZG+2VLjWhdsomHNwHtDIB92yeHBJQYo+dy/4Dgmkf+v/bulTOwddsTKjmAV+K9palJLTKiw8CtjsX6q/8yaESuzLRfN9yQH7zyUIgwqHQYeMcwzBOc+xm09IwYFr8KHpUTG09zvBeGXYqKA/zPzPA7LIRsVwdGPMlihnZeMHowo69WW8vCudhVxqljtXzaqGGBgtQw4BvJ/k9Q53z0oLJHZU0Se6AEe/7RKRqYFq0ca2J1Rs7UMmjrzOZZXKs+DR99JZr84RCdjKjcgv1k7oA9txpB6m53tPntTvGe4NByTu/QgS3RnPSs10sFDdFxJpyblSmKOpBmypjtuBk8pphaf6HhaWtsIfdSi5vkEkBTs0Q56taj7CgJIIrLQ4ilZo8um4g/nNZFCBwscFgzU9uWVb9kW1qnurw1i4/EhM5lOpPnNmQ7HNNC0owimehkpHrFhebayljtm4hq/KH6eHhc++Q+ZQvhr7iNRtIeO1QeFEfCIJ6iSqjouWl998n5S2EOj191niUen7FHfG9ow1keSpChDzv5KZrh1liiIwEd/+sD7bgWQx3trc3w6xxE0ti/IQ61zOW24ABmHm0+mcFjW4DDVFZNpwB5rePy3P9EIqHVBRWkr3PNzpsUUqiolB/t6biBw38/5dzCzw4QkuSKsxP24FbdTRBit7b0lU9g7QPIkU78rOf/wsGrEHqps5sivf2fDF6Caz2eAlcqWNTJafG9lPtwFgv4UxhJmsqFXiOfeAfBCJ76FGUurQmKllBKZiFpqFYwMYErWctP2FM9GeVyWI12CiBbHh5/yPnhGZWfk28kqKzaJUSy/XxqdQt/Fb3RRIf1BjEOoebL8VT+JkAFN6tW4LIU4pfGhqMT0uELPircXKPSj76G6UM/tkYf+32skg7v8RVh8q/t+/+VQ6lQrsiNznJ+8b0Lb62JqtXCoh0h3kxgHnqkrIhpNXK+uo0OCV6x/cdg+xVxrNzzl+A3LufRm2J2bEQumnRG621CdhX2JHbANiM6cSFzoapGAqiIWe1Aeh6H24qDs0y8GrSEWoXIsTPY5QW0vNjDdl86kd4Mb/pggQ5IwvsStpr+GPD+eA6ip5VUlWwGmdenzDAa+KTIiwwX3AXUhyPr7F8JXt/dCsauTLqGyPI/z+eDY/zr62aUOj8VRCZ4obNSGYzNNCaR4MQfsWKtiwjBq3tLlOYmns1eeCFVtHDhuOemVTB/yhlDPD6M1g1zhVxHX6kY8iAmU3Ycf6FJhSx1GnUCR3XR+49kZdeAcSzKYpvW8hf2BSOmvz9R8dRhA/J5b1a0JC4k7Dt+2k52LcSGamOsn9aleCVIjXS6Xqw4XLWXxd8yMaibRCzWqihKdD+RP2mr9Wz7J0I9zk8OHnATEGVxrg95avcZGgAF1oQ+xrxsh7afo/06koXN7qbKdL41YWUan1FQ6i8aO5E7EnnDLE7BvIcVn+z+K+06/EfA/oJ3rSekFTyhc5RYorajorUumLotCrFxAsBen0EuabhpkyD5tmPfUZNl2Je+ZplH0W21qDu+zLGiUX8YIxCYnGVhVFHLoj0agyWSH6fxbQ9u9T3UPQxyiZxM8nmfYL1HRCSQd0+dEcGMvWlRkzPcwqsPz/lJrJWqinGkaT1yas34PKqkfgyRuGqCjSbJcFfl/9Zu//WzyiMEVjAGxdl2zxbx7l63OQK/82/AtU0k8oXg4LoExwsEZizLR+aI9bE+rIWcllcvdykFHh98epLmkolDTpKgOnS9JFJ1Y52QZRhNxhjTTkHMzYGLWfMYIj/2TAeqtAblw4tcI2U4v/ulsGxIqfI0tdLGp2UoDczqpAlv9NL2xMP1qXLNnlBr6LaL5y5iyhfG3Hnzh5IpB7irLDZueYET20XpmX/zcgxPeqLCRnO7dzBoid9O3vkTyKLDSIZOwRpZGFVi/ABi3pd2plE+V1nmnQ2npxbtNUGDEvDNv5gutqixfCIfUcYtfEA0GhnNbpnfbv+epqZvAdfGZVPwW9xA8dgXMCUbP/nGeev79k+yk4VDnCuHUYxf6EBuo4yjs8Tqz2UA/s//TzALO196uCyge4kT8vPXdLAUX+kjpur+XN+PmWdwXekJQpw5Bu6uk7NO7e6dGphIIvxx/Ex+pncfdfwVkf7FPltRQWMuQpTpz7sWxHhsaN9qagUe3YbFttkhk6+5Mvp53jUD5vlMwAs4Kg6VwvBQzyiQL+tzcAALHOt5jtSU7AQ5N6UqdFp/VGzsGhIfOHeYyt1lApG+U9sAb5Pkfz1lO5Z/Fz5QeGMNFtAUhPaVb9Kw0ET+IspCoxOIHgL6ze5NXO7piPJ4v8aNmrm0Bhw/LjSAazScdCVhKAfdtqxAUdSEWBwXV3PWtMtsIAbiJPH2tm2p4FEwzGMqlhT7VZ9ZOPE0fdPoMhrh5zzH5IvhEBHjqivPmuqTggLse0B2F3ch28kklPzG3npLTfvNMgP5Fij3X7h/cJBwsQ0O0An+sT9z0/okXvW+z69Ps0puovreqlqDTo57V3OjmQRrcxyzLWJPWo4hUzJkdnhe9EgWnwJSLrX73dRgd+L3kCoNkaZfe6Y4jCYVsnPe0GRHhvDGQLZea6vfFYM53nvqTSJ4ExplSq+AOmZtap2N+6Tl8GkV6icYyNkILRIAjw5YWG9chQpAFH9xPlhIHjlF/Ibu4P15WDdgl39hTYAj1C2yy/aWsyclwyvM7FU7nfvuB/ob1adElIT0pBBnjLzj/Tobm3PYh22goifqHCUEwKNP4ZeIf74axDRD6e8eR8jtA8ogisOgsBtPF5ewYQO/yb/SS9Zgskci1eqP7tiDWsNnio1L4VSrTGE9XWmhJa5r0VmH/PsKG/yK8NvfIXCi5Va1ENShotynSCeqcdTut4wQ/l981ZAnfEkii1pEaJXHVt8bnjOYpuVuloqEuP5c5CAwO835vh2qAtMby3aOqHLqdE220Vw3ZMi0RPFFvPYvTtzlUx7orMd0EwVuGFU/eQaMRWBl3x+KOTAA2l0qsaqnucjjU8Y7ZOjfD8yukbJrjUoHdjuhT3AU2vFBSSLmwze3ZVGLRCFl684QRBrHcjU0gKqHphWBR+HCCkwW4+eMn4RAOQ9X8vrbfRRK2CjrxIFUGR4V+t2MeEvJtqwKoAu86pR7096ZDLu6jIsuApNfux10woB7KJtGmR/zcM5q4ORj0zUbb1uadKkeXY+IR6LY8McyGIH8iz/jkqhmLD9Njhykz7/z0F/e82F73NOvJKg/X8ArLV2kQG25NO4LhSLnjxTlwL0NWNPgFkmb3njSZ6bmSKDaZ9tl5EDrkWNeQYhSR4qu13dQjRpCrqmd6Kt+C5COCsgwo7+b8/IE0Yby2mloBfdIODAIp1AHRCBjXVnC8k4E3j+jCR5djqGtTOHwFQ+EyFk0Oh3C6Nf+nVUPd9IC6dTcpw3mSW3mCarcaYVhOLWYHRe5PIpyWyWJ4TAjtxLe+ozQSRhHBtZYkQCn3F3TbXoqgSYlnNRCDhpJerqfXUsYEZUIXdyHh2+QNHsDnpHsetYBcci836FX9jtPZpahDfETwFbCnqeCY5NK3K6RKtBoAabdS4dQdKvOnUzYYNWDMubtz3MeQYReQVnNBw9Z5YHwKWVU+Ajq3sf6J5eNZUTtKGiE7CQTxLWa++cWnMmsz/VdPFougxK6wV3XVaTAl/kzwidGQKe/DlmCA76oo+8+bjFxxU9aGSYTMBS25GllQK9h6Xg9asW7ecKFraFymkpTTaAYg5cOdxDy4LWq5d0hd3TjyCInUepUdfyLsPDAn2QL6a68iEZ8HmbEVW4wylbNmIM3WYrBZl8vqGObHfbP39dIkF+yRiIdMPvlFlH8TAFrota+WbYQa9FDwo1owOfUnGH484hhuXX68zsXMdBuFMbiof4VUQK9PnWeA5KPKh8B+ARre+G6Rv5ykjFjqrID3j4UELgz6vQ85FLm6Owr5Ottlfn/4/oRRq4PetLdqx/k8ObxKBiKy1KsbPEWJKCMOLYEp/9QdMkZsMimuMOjE2Eois8ZhpMjneVmYwTMtYvMDuKe8ih2SAfP2q+KHnvfzN+O33Rk3NjQCxzvN0pznSHrrQ+R1nCEL6mZwnxVdhQBht5ZJKKobNOcAY7l4z/o2FJs67+z/3kSjryAv03IuOpJzx9Do5cqHIYzpQ6bhlDSUh4dumkhMcS/L7ui8zWjq5/cjuUixnV82z/m2d3VIOjhxADNKcRDFHjsWvf76iFIFy0fGKrtEPPJ5mDo+LPuuE4ULxXwau3HvxoS3bN/mUBK+HyYnl38FyFlqWfF4PkJNNk59dH1VAkwBXDiS+sjsfJPuqbPqMgnpT+hR+IiKrCCJZRD6xw7hffZ3slUkcLi463l87otJw0qWDNz3gqiNcFkkqdkAPyZmjemCG9Eos+64+qr6oVf4CMH/P25iyY/HV7eye8pn6zSHH3dih5dFr+6t2KbS8UsGg/fUOPkE9+KDgqQ8Zbe850rxNqRd5qYeeGe6mB+l2LKEUBgod03FAd7Nm5bBweoEx3oIKXahd+k4uqwKynMZb2iy5jEOp58Rn7v+orlKgYJR30TUxAMdNKTiYshF+nMxjGwRLLwmdiP8YODlXziAxS8WjUI55rappb+s8jbb9CtrnWFnoCmZCHs8+4yZJLNktYbI0X29bmYvHuOPABzaG7QesYJRRzYAVcu2kYhp/vEGnbFd4dwnifk52WpjldWKAp1v6Pt8xXHV+74CTvboyUNlqWRmYHdEcyYiuDz5Er5VrnO/W4b7FVAF+hRGEimZ6Z+fWpLmn1jgpm09HfRyt3fS+rY75XSWt/PO4qQKAErzH0aNATNfZjfE8UP3+8lOa1Itt5VbBpL+iaDk2WakOvZAbu40qlFdytzd28LqhfWia7Y/hQTh29OS/GtgVG7aLBkfmUmrWD3RtJgYc3tLnG+ASBBV9O9mVUhO7GQSjsi70Grxd8P7CMC5x+eW2yh88/Le4tw4pSrfJtvWZmeaZd4weQbQo1qLdU+QBqWqlLj8pNXzFurDxbTqSmn8Fu246I5U/5ws2fUNT1LoLgr9Fu7xLVy7wYp1Dy0lUZa5en9TQ/pTvlkdJUXbC3NCuzzD9Fik/8dW3Cw1UvHIq+yEb0ROsPfOFE91F1AVLmm2PO41RnVqcWTXgZMrjyp4e9qJEnkHHKZ7sJFcNbkRfgqlS/9f6seJdQPbMu4QU1A+Abw5oKi8fbsnzVvw2ME2BUJbNnrMQUSPOuIkLEY69gOMd7yH9N0E0FsZDtAHNxt6CTLrqKeAcZ/jFk5kroNvpcgcGv6MTXn9Gv5EeKh5yChBEaW/MSGMGm4TyLem1ZwRXayWOjZitINU2hCdYRISJdSkw0owmQJeZFWO1vLqcRBTiY7fqdUOGK02Cp+/bV4EoLcD43CbEAPqH65V1QsMuh85N4b2lOByl8FVdfTJUWyZ7sdWHaZRm+i6wAH51jmq+qaiVcBT53kHt/xdDevx559Q61S/9TUwCTrT0nhEcdcf/6SF/niYsVGAyLMGVICtnoP7ubCyXASQB7PhQ2lSP0e3Ltn/4uSCjb2arhVeRNH1mTtGwLiNS+thZDTAUfE7A4HFR8gr4NupnKOnnK2OaXZqV8QRKpJ+f+cZJY6vB3fVPoF8F3i2keqsdcrOuOS8+7nINFuqETdMUnNvCcRcxbUrDJHPlCNwPzoI4dbF4l6egB293OgyZoAzPJE7/YY184BcAJeu3zvM5QEUKX91SGYzAu4kGyN5vOSyT8NJ1paruopn4MDqDWKiTSFpppdv/EpZxAei2grR46fiN0YI/x/B821hwqQ7howThWdZRu86xhV2l/C3hpeuZYqiNq4aHLhdfZfDL1bEqfBMkFMDB+zPUtk8rZHp/SA2agdOCrx3uRvWmjNt/yBB9CZjL3wxR6qVGN8OugyaUEYX+g3XJsE5KgbmvFQ/y8atQcM/w+nWjyyYsd4Pt4vlLmEuqFudgzu3QDDSNpz/TIghwhmftaiM9dw+2o8WmfWh0PFU/Y36nAQBpghhFcMmLROJ6CRTGd13etdKXaB+pK46vKawhNNkVeFgfKTVrct8rqeQklE9tPUbfLKaSSmjVgglfTx6JRlMS02O0h4Ttm/FFXhx9n0uP/gzozAnQjcnxW75PiXpgOAkDbaQy/Zhp+Q83gH0VE7ibUaJ2t2X1zvdB2UArYNQz+FE1+6Ewu5WnT+lSWb2jco8JqvAtWPQT5jEiCF7d7cax0MbiV7YA22D6Jo6QFeYfBDInBWIO0yzMXx34Na1kT761eVH5NKt/ebLAN4XeJSXqjqYm+Svz+8txwm+u04BegXktPzTMlM3+swuHca/Dz0SmuN+m5lGG7/PPxFQEL+K3R83RZ0SF2Ro7/G4y3ZaaL0lMWobBmJrBX+un+2sodKN/F5ZXUQaQweYzKegnpdCnQmbn9GtS3xBIxXnZTxgiM9kJg5+0Zw8I7Ilsbpf4yiOiC4RbT2G3Iv87/gazFKT/CRz0YKgZYBhriJfhbl3rMTFbXPiWeq/TPmtBUjl/dJkdlXKR6xxXk2QKElvB1wgp7EeGTMH6B3pcjpiBhiVbEXGwIo9Rpj5mah8fnkGpDVEEQ1VQrn+ECUcgx8JrFiljwghSstH5VcsmL3dlz/9Beica3AOxQiWlFVhYcG4ak1/nbb8NSl9vCRIWJdGZmIH6U6oEk6AYfst1HLrmfN9kGqcMIYG3skXKQdjoxf6qwuSfi5ZQIfRMPHRigr4//M3hX9Ti8g/+XOlX4BydfcsXgkrK+Azh8Rmqrs7bXbGhBrLSRD5Fmb14dU7K2Ps2xQWSFL9eHERfOzPTeofvRQXmYEbPpM6DrGbjuF2FwxtOJ3XxMPjvEB1dttO3lRRmhaDEOEDK7kKO8zjd3Vr6ang38f+Jr4Mw8RpWLtHVnvfUe9xXZdHNqDmi5McSnGW8yu4jsD7d1qaWVJ77xb6X2JElDBaDabYeeft4Veo9MIsYomSEhDwlJ3KiPK3CEUPmJ4rrFOegrzVnP2/KHSsBHAWPkA6iw81uUiP2hXxc6SN9FQ8WLYfHHq14rXFohnbGF5OmiaoYoudtKZlxMD9H5jvB9b8YidxJJfOMjaAdv8aBN1wr+Q4gORru87sh6zjPk3i2nU1IPz3Mx7tZ6UPjVEoxOyGpElmqZlWCSLNcl8buz4m2SCPJqTik7Kgbej3EYkIAtL9kqY1g4sdH8xU/hHNXAtSbAgVFPuDjjostBjsm6iqwC15t2CXt/apBUKdbQU2is+5eJz+hDdNbKy+7pQjPa7Er2Bkn9huN3UMjXWNQk2imX7AHfPKcPrPD2k2dX5b/sfp1MWDDfqDj3/y1kUJ0yviUfWeIqUsENQ7pbpI1GhonVnU0vfUh+rWxB6q5UuNgKm+4I9uiaqlq9X7mjQDz9DIz/CCFXoi3sEFMYM+MD99wdmGQkEysms3oG8W7x6M2SbbXzhRIbTsJVNcnKmeLjsTlzOIzs2OIAB4TH4HPPNgj7mvWhgAV19FQzBlVZaCEDtbguVXPbhOpyze/xPZVYWW3A2G+eE6t0XbJioUC1v+Im5Q/NtMotldOgJYqx4t8nIO6fQKIIxKHE/rG0K8N+gqo5lrlbbOxVxt7DCF7IM6pNkA8QwiC80sCLpb1mM5008el85cQJKiKfQQbPl2QJirbdsuT6aGVTV0OUEUrgVqrm/bZlkqx2MQj3rrKz5kJ/lGB7Du6gFVbtzFqv3Q3oYeFe6hZ32DzDkMx7O6+yM0raK2MaRBX/YTIW0iNTZbS4hEjy/63SM2nhr6nksWA5W+tlwyzgiuj6pOZ5XWhJX6qKjgOzj89CxLNikovdTotcL3j0S4u6GX9sV4GJcXd+qpNE7Jp9ZaDveCSCr5l0wMbItgY9tdTWZYp44ob/Coz3fB0bZFirPFXXfKqhotlsBa6fbMPmgOU03xgu6DQvmPpOVC6jLvwIsbtKCu9v6lAykUwmmqKXd25zi9IYN6vEau21dFu07cWJFSnHg0DKTvdlkHvjtv0K7d4p1dfTDMVmjngI8X1727tqeO0Ih9xbGEohkaJkB+QKqKABfhGWCsrkaBu2mq7a0JyTe2YayOWDbEvggeMX6EmHuG0JCS8T9v0Qu6nz/CJEyPy9ygO+tuzeh7/mlQRR+UvJRK9AP7Kq+Y2OLGhxJEV8dj2QwXiVi0XO8HPDgmWebdxGEohy0mxgv92hG3TCxUHdsj1ao60m8KpoBg25+O3axDVZlQ8j6bnchh7mkP+mTOUINHD7RTOR1hwJ9g93VTN/SYbqH1zVRVzNdxYQ4jytyt6dqKXim9TaEQKiOWBclfZ9vDx0y3JeZN/9tYL4EPafyIsPEaWjUwCiVWU8iO/os5grKQvjILQKN86hUQ++Mh50O5mQ+tWk0loY8jPn1HSFGnbMDK2z8Yx8+qO17yum7ZZ/6RUCP/c1CY7k2BhTfxdlSFWLYmS+iOmONTtz3+DhhhDDitb+O7JDfiF+gmIoSZVqCBBh7esDyhXaA3uKsVgoRJkoYgc5jCbiju1QQCGxRy5eIJhsoTLsIPYBSs+KNqagp+yEOVdDxOaVO6wLuFqVfZL9U/c7IdLzlqeS1CUkZLms19MdUXbJ8E5HSE92yDXNbW7PgXZU4TWZWg7b0jelI4zp+iynhdhQntL7cq1GsyDld2hM/t7+XuwQDVcJ9ibAOpYjhEHY7RBWovygyH5GArxOKS45Xp9R6BY6s1eGB+CNv3S2QukINKTrej/Aopb75pZvUbMttZ16JOH7dDW8kg6y+yPncKZUj0fj0oNIUQRuQpDGv1T+Ns3F9EKueuzt8Z8YwFHhyacGDaMDFmsSB+Yk5CxO2hkVu0U6WVxYKdrOxEfiWuuBxk53VFGEcfPuwHCgbVoqHQphtIyGITa9lnr3bmMdswyMYIHCfU2uTWv/Y8fm7msLHBM7LksJOnVwdILoIwhs/WhtnhWo6w6hAZhbsGLFarFUZoV2jlWe+84YTi2p1htCWGOu9y288h15xUrWkgaN0C+Rz4qMhzF71QCjJpJ//XpiJPTxChFB93AmXZ+n9Qz5b+ZVR90m+WpA3XhYeGNSeIQh8qXEMchlEApSVKLEd2lHxzeZfnyzqPIzw+hocas1TWYmZTRtiA9WfIUaYSx6j62EqG1syNn8UeDwSiP5tBTWkvABTa19yZY5LtLwijQ6Q8MQd8PZr6wG521W3p1wMqY/4XLoDlrAfdG9FXjltFwg1wM2P43saLTEZvxRZ4qpk6QXU8HtmNvxiYll0hVaFNwKQYQDuT9oXr1/QbiV+IUY5EP/noy3J3mD/afnmZv++2sdGZLwvxv5xvvAUa3av3A3e2CZF4r2FT8YGkPtLgv/7r4ZhK2ID5C6wvZU0Om60ZHmd1oqTmxNNtRq5L5UHTkn8eKBCb6H1Fu/GyFUfBZ/OUgR3qFSNvBqzYy3nGbeZQTPNYAz4rm6CrFW9l5rv5pj8bAGW6q9lLMyUCI7KyI8s7MA1EtLkKAqFm/JLoMNASkUy3QGc2S2Wgw3D7KoKODeW4ZMjUnaLgWO63/4vk/TC2QqeOy9ZlSWekZqZyvBMjlljLKUtdmOho0O1iadZ0iA6UF1igbMmOgZTn1ojZYv55zTXCqy2/QSMoO0WgiTnRA2pVgDR8ulq+BDdf3z9Mw5l3pAKh3uLqdbMPQgeO6p3xAiwqcM/WTV2AgV50BzbfSLh1t4BRSW3mDtdDuBQMNzI3YoLGmwA33WFf/0ICNP/fcFwjcnOa/F1ew4MgPu9rcuTgivRut9/zMNCYQl/nNzvk08yEl1pXnS5TZ+BpHCFN4kW056AcIq3PLbIsEFes09K5xHpiCGs3BiV487L3P9htQQpxU9+Iw4U354mTVKnu0Mrx1QoR+j7RF05stwOctDpX1DT51CCIj7YfO0WQMDDNa69ILgyECvnCNu4YGjhQO9ZVQ89C28c9HmSaxFhizz4Q85kvF7/b1axbZokBj6YS6AlihDbRmhlVL53k8HKwQsgpnqPdJwFCQleMFmFiWgtjT5pxxKRqySbUsDUHukq1FQYrokdUi5zCD7RyXGh62oWu/dU10vr8UXzcVuTCTJ0PQUZsAqfHmJJllPz6048LxYfCIZoxRSJK8lNzAYGyKhlaSgC8IK4BFa9aE8lDXwauia7HDJGtlY6CNaE8S5BV7Cgvoz9RT92ClZkO57rkCjMh/TTvHteRVlrHBSZyAbirjdwVgxokw+iCPWkw302f7zGdrg9SYk7vkXTG4eM4F80gpytGITqhsVAnQAyFjvR0hz1KTWRa65Mp42CQIH3TxWftRMz12jxKpg4NrATBiy0Ynn14thfN/E2OUEtA1cxlyMjGgfMobYxqoNmHFIByE360E9t9PJ5rgWOIBxAtknNm7WRXf6vY+frM1xWqW2u0FvpHN1a9DItoh3or1yYC+nGdHGp1jCOb0BaS30MLZgWK0YY9AcVQdb581Xz2lV59G69Pr6COIP0h/1lIhZGv/3gMSUzIeKopQPFPSUl16TfozQtryhXWEruezB/fnRaBaTQefadS0xCx53wy+gnwYt6bjBbyk+Fx37m5wTS/4EO+ZW4FfgRr8KTF6ZYIN2wFnwr0Lt0NLiVWPASrEObTPJY6JaOOKowsDTkwI8uVUzFZd49+4uS72UhUmT37CfX5z5/Xzgap68AcvkoKxpp+GVQiCMWgwgIkpSKoVZFnqxBogW4Mz+bx9UbF/yCf1CcM6PFmFf4egowqAaIYRIiGXcbsNeJyXVcVcIZCOovfZheg3pYegbx7zgfmZ+aq7Ynu8DWPqOPEoLXisXfu/MbF9eRJgcDB5uUgXSZyaf0A18W08e8rQSKBBTrUFw+ZvQf967pNW3919G6hP5j3lvehQyneWoCwGa3rThp8w81nHNzC92rc752LZ19skx4viDWr+wsJmszmuvy493uesZr+FWO+H8KW+uSCLf9BJn7/clPxEOqWDPwvrdVwjsoI5wembJ1PISY7s7/DkJkeQtQRC2aevESeat+7kz9OF62OUpChqafMrVHLj0a4wENN+jk/frOJp6fnXBP3XKFtnRxcAsCS8Io+bO7adnjgU0H952Y/+/QAvoAohFQ5wWDsUJhEzU23f6HNeVr3dbLu5A4oV+KuuXa8b1JMK/VUfOFvcAk8HSEpoCFWw5JkvVKrUNE7L2hAmby8ZfA0dXLTJKvdQ2026DEUr9NGqClCltAal9s5SlRxqZJkyImvLW4i0RYoUhlUlKvQ/dHn3vHXifmccvRscWLDYnYTieWTeCgw+Ov2hVXDsJ/BDgcPYV2ud1PCgskLcRoLRKxh3YqGmohykFr4lUZeTp8DoEHzok2RY5FIgbwzkDVaqcm0uidk7Ux6fhtDYztjnCXD9Y5y4zvN11K3aBedDcUCkPZcCF8tKxgi9hksuOjXcdpEX7nilhQzX0MBPC87M9DG4rbkEdGK03wbl066QV6o/9ghtMd8faDOK4OpnRmxV3xBs+vJPlQIarWgJYwqipZdAP7mfFywAM7gToypIm4Ool97sfHX1sQJibbMxbnAk5eKUN+PlSHdmBw/l1Z0csW70V7fC81fl2sna9C5PaG8oV7WwSIujlpFjENCQyOffQMEUpMj75HzDm7BlUm5dExy0hs4ogOFeDK6mLu/KqgibrPKBmDJ+T8oS3vQD+NQbnf4TYeQLvqmsDDvqQnwlAQHbt4iwBT5OHp5OuWt0yBiCLOD+wF2X8SHy3tdLcAuGQXivoPWytAONM37hewS8Cd9/PGIMQ1gby08nrppgNqLI1TnlsUY+h9v83ZZVeWjnJ+3gWaYj+bxz1EH1O8LipPRifzfXGSmCvv1tgz9sISpRLmMCBwRgTR302XOurD7H8OfZyBp6qNpFRgphdsq/tz78N2UjeobY7ZgEEduL0QzQMIVRNEC08MPYCRUlhWaNJBHK+1f5ymz/hx2uq8q6YuV0aloxhJVMnTReK6Kw4TmHmMASr37ICr0WZCmPhgXu6jtc1RHgt83dmAfl1okF+6AcJE9mG4wG1M8ulmUV69n/mf82intPiYIEZGQeB46yuamXOgGfSSjR04sClPv2clF3GpWvFG6mCLhHpq/gWkmKhLI3IBe46u021enHIVqMhyTE6apiTOZ2Mjp7Ycpa8eJdk3WXbc5fMPvZbejI+ax3ClCJCeEZCnRNHc9PABfhZ/D+cPD9xZkw+F4rw4C13PA+U0q+DolZQ3VNckJD+v8J51Yk/uXZ+0A8GEQKZqaCL9U6F06bycZnAYnvnXGVXC6TXGPzQFBrhZxlT/HU1UIl+ELQfVQxX9JlV/7LE2Ywug+K/V3BlEPj56wdsArG+pEvk9FciVPvJV2+EnBgZz/CTr/C0ECZjZxcSBfz5vtAQJ1cn/0jcCkso9VZY8Q1il+z0W9I8ACFrhEdHP5mNdltaNFQwEsjeOqYjzflJyBQwLWAi//zlw9qS+b9euc53pGdmnOHn5xSkb/xIv0gQuJ6RG5p0jIGP+reAdTkLsgkEd8odsSj2afB1Kz5+hji5dH1tHFw50egT2sLLRc1IggyOeGxxZfQLCcHHJcAgyDBz3lHmOeaHoLs40Ut52tRYbgzwG65XLU6o/klnoCZodvlQHUxFn+7i81Psa74tzIT0MfU0m4RwrqzbhYDCcRJ/x+2m3IQdAYmP9kd6KrrtTYI0jfxuTkXMj0o8ajSahVT5UAB/pZocHsaH6iPrJLD/QNL5iRo0oSr9gwqQwBj0GdbRPFXK33vWh4xNYs96vpFp4tvF5JCq7gmAt6D6V3KFVq6tsbgmRxbZBo61mYmKDUrUKg5DesK32lI248Bjcx4W67IuOlnzOKIRahnq8ikcINBfAIyIBvIVZWgoOg6ubidc0ngIog7tOX/kWhxE31HBY843M1MJ9UnLAwDs51dFev5L3Jpo9sqHBqfdiF6CaX29qeo44J6ylVtTdcuS7Yi5i2z/Wuad0nvkfbfnobRSAQa6WR3bZkv0ayBehExoy0Co+viP2ZzNOkL98eklZTNKQ7oKx4MHGB9KenPCNInChbXmIL9C7Eotq+YdW+ivnyJBi/vXey7mRYBByZHWNx443lnTeW3it2p8OOogies7PTTakjBBx6ZhHaBWKwqvPhPyfbaYkewwegtSEbv/EQCIcu6UixNDUvOYjYliohAOhuPyEfxOpLEXe4NnR+OZ8iWSvJXVASdwi15dsAqCj681etJ8/qgISKPxElfnC10K1QXduQEZX51SN6G1NMFhN1xYIFOPtx5SHb7cS+BBia58rIzyt+uuC2xCbRqFvdzb3MVxAwIx7Q1LOqrvjrPP621XRpChACTy1JSLHVGQD/36oLtPukwDMbPxz7rVb9+NFbX4XR6TCUocwZPiCnpw5qDiC8fFxumm/kcXOi5v93zhs9CFBj4bjCT7Isq0Y/SczmqAdhbH+VYI3TX6Mf13Ix+Erl4Wjx8bbgiRZbu7TUTumRdLGW5xe3xpMg3sTfFJ3cQ8knIc5e6rMNaMnX++arUsLn7Psqd/Y0gvakQZbWK3KqGEGI0o3+O/DeAMdpLgtCDmyYOufbfZZ1LOwK1TuUJ38K9Uufk2MYBxJUFJ8y5L2AJP0zOlFToCyPiOmYAj6w0xUzoPiQ+fP8QQhyuUtFPJ1zJ66C/qN3yE4qRpbWU0zYiT8/1iJDIzwNh9+BAAtXtsfRmg4F+2WVd52RxPN1wf/EIhcKv9gY3IiMF5BwWcgDpQe/h07vnsy5mJT2aZXmDcMvAI6t4qE57HynO2y8c3tron1tmzW/wVX6q/hPCW9vvc6jfFuN2O5n2lJNeu1kOQ3rpYU4BhQER1vsNW7tEi2XAFJ11lPzauXQXkJQYpF+NEY/iowgMg/LRUfHjs4/1tyQLUatwxiapLywwVP3Mvksnh4J0iKpCpaLh1/hDTS4maJR3Q0/hKpzIpSye95cghC9GBtfPz7gmj67lilIiCkF+LGVLBW9hwQQ3YnvDRRqp4ZvDCHYIsEhmOJd8ls4vkdW/dLlhyeuMvusajep4YXM6fhrS0DZkwsUOCvdxPRxMS1C7nApWxHHc3FCOtk3u5NiGsH9hhL4sDY566Vva7avKQ8XuzvoyMt/vO30wo93QteRU1/o8zJhgpiiGtcL0EkIo6ZV4/mUzVGPu03eDdAiBjBfshw8OtU25w5KCJgmIYuV5AaN3SQvQyxA1RUqt8Zo4l3dgKB23p4SBTmQrj6twN6A6YQGvasScXhb/g5HB8IHVVkXLbp8qEiGJiVnyiZBhbARjfxPyzPIccQRQeucNKOWFvq4xsReab8ZjiphHPyn5yB38EEfriY/J2AmfPUQ3BER3oli/aIyWgMWI8PvSn2LuNJVxwlht53uYH85lIzEC9srsX8R9AwUM/A3nke9oo5P/wgVTzAmJYYiFrB+NKbtDoad9LRQopO8eqkAItWVFTuGY1GiM12wjHXnjRbVkh/GZdp8eN8P+Y9YBlwRc2R1eZ9wInOH+w635Y/CYi8W3gQ62twz1cs3IJI2rSywyZeH/u+jcxjbfk4AzuYo7e1QW0achO3Z5XFKeZf/s+wjp8qeo0UDyXgAgUaRFUQA5h8qzFPqb8kmQdTG1hV5rGyzklq+HSyJQ/xRQrviMZ11zhN9SJEm24T/Y/Ewgvg1oUqrtw/e/dG5OWoesuKF09wl5BL4ErCrEHls1ktQ8MxBWkH0X2mdEnMvHXwineZ2Adnj884czPG7poLuqhjMzytg+w37uM5ZCmW3BtzbGQsIqSk3FPLtt1LXJ2gevBB2LgYKMsvP3QmQZJ92zyQGyukHErSOGuvR+Od1M4qc5Cl3ctJaulfpIgpzakslY4aPuflFF5w5SbyoC0iDUWP0cmvNqDYr2698Jphz+GhufOYzn+5h2nqFqmFKYaHA++VPMBiUDezhAnzh02UacJ37uL2UJ/rOEyt4WNLED6FShPKNoVl9tQ5v60dX7ByIwMpLRhlk9yazjNjChcOiAYP/mL98h5yY8QqV0FgvDjf8NUI3g6YSPKcVJa4V6QXyJz1fwXls92jxN8O44TJM0CkM2rE65gUjgfc8xsp4PdWRqhREiCPB0hpSn+w+uF5GmGK+h58XUUTU+8zudmDSplaE/qVvazPb1bTsEZ/d0wkLYIoqOP5NS42nmzJOUedqKKwMd51fkYOXS+3I0u8D6eSzTk4k2qWAWxZZhR11OuZH4C+uJUrq2sOo/ihFJvFapKJKZYPuvqaWQZgNypC5sGU2uXlL2Ct34jc2GOtP+sIGvTXhgipKGTDgAOeaM17/UALya1NRAIIr6o7MxJF2wgjCg0slgjvJ2qyO+QWeHAjq099jdRymqGPjoY3x29h+BHXt3ycUL47FO3v/y3IFA4pliVhOd5Bb66bJAnkykda1Suj8hGX8585hoXWiFAnzJmjOdawonMPBVNJo3Ccie5pyCtbkZADUtWvlckeozDLFSbuy5JgBGABqTHt7l9O9t4E3p4PSFJHhwE9dMJQIegx2F8IsJhsiu8s3Fc+XLkZiUkpZMaUUmEOTdf2F+3R/5MsKV4mqOqqTl0OVus7dfxon1mNbW81siL3DWUqfrtRWNgLLsTRPxkIZ8auWj7gzHuK2FFE6rO5CLXo4yYawpkqHisWoy3Zq005dfXDv0AfUkxTTsut/cDvMdlOHQTF837DYgyvCQ6K0GT0kaYzAIwsXf6Itr4gDUlTb8Oj+t5siGtFcla9UIyJoLUPGUPGNF0+IJxFF5Q8upnxSgx87OcxWX1635ZwTzeD6HUeUStwrDpsWNOJLB9aRoP8VkjKbJkn62oS5QRD2+8sfoYpXjedT+dAJkl4T8TTI4kLjxpvdTDVElB6JRJIMT5UPwcHXPaBPzB2YaR191NPCNEj6LfWgxcDwVNEMKgvyK0h975wdtPqqdlx2a8PxA9oOTWjfb3sMZThc9OdlpnOXiqMQYQBDDMKA4ijzMZ/VS0tFpZvR+6kr6HcK9rP4Dw54iQHv/kQsCoARGyX7sg7oEhdCnxQvCEorFCa6fDufCleTLyfKDlriLwwO9K5Ie00oHwhUgXQFjgFIysWban3GfQnzk2fySchakHEFx2cvynGv5PUuWlevJKNkstOuK1eSanPbzPOM9EznmXOQhhi3b28M+Mvx89RycfBeFw3tLQydDMAneg/whceHNy/HG5y0FQAGikVkTq+Ef7iQebhU5UxZlq2UJZvF8raVRv3AKrGCCigLsimvD9q7ysjUrtkuWGf/P8Nr9ct5Ut1J7kAYVuwQe75OWrfoRjikmeUm9tp+rCaYoRVl6pWtH8sDdtwxxmUru1oWwt6NbUGDTVgihkRCo3AMqaGV6r9S3HhrySGWJRztlkAgM0nfSEAgaYrEI3q640Af/npZBQ26ZBucdqghdmciZ7jWWworCsARSxPCKF6U7FCECE1zaYhQX+kb8f2i/S68DckNE66JDwQqAh0C8EfsYqyw4gwIj/XD5CWsbkm0U9DMvK2kMpRwA4PFG69VObcfYFiLMyxYdJ6+Iyg7LvoNgr+457X5WHo/yQGJszbNZ3O5S6WU/cV6ia05vTGvpTHADuYr/bOGIQk3zieUIXkvpE38oXBMZLc53NhifWdfb5sQOYiSdjFjp951XvGbwIXDN5VAJBbKo2+y4OGlImYax1s+SDmSGNlh0gfAOOcoL8PbNO88btBeB70rbwY62u2sW/FrR5IvBUAWN4fESIdwkUeIZz4jspwu+7kWZxgQJPH0b0yvJ35grNpeWdUv9y58oJ3UxWAMrMtWtDqBTb8qla/T5EweNUoZGgggLI61dCYtMvSi3lBErVvmhl4PRqTQLvk7qRtFd9CRi79dVyR0zCFzjY18wD9WNST403BeoZBl7JLMPrH3CfIwlFEfbnywt0QQbLyS+oDS4MehhWWcKbiS1Jfer6gsrAOMZNvVzcnSJa3H6pWXREbT4+apmBjIic1l7wj6RxBEnkCHQFgEP+NZQDWrrmNUYtC8MX62AS5wjl4NsEnRccn6L6qVLe3klfCK2QL0CF/6zLceCo/fNhhgSEjPAExZKR1WjID73Wc+D39umIA19mbCCpZ0GkDYYelnzO0my83m63w2dWrjluKTRZbyQ2w939b06hxPsfTfWIhVvz8Ty0pTOROJTIjDP3WToUI+qTE9yWLXUn5UKs0XTZxWMf1B2ewQruYzNhRNLtbG9JRvvIbsBpStdenAWoo83ZJyoLNhx86rlx6Dvg2KfB/qsA/CIeHOIbDM7Gd6j1j+TNHAtM/Lt541kEoMsjTiLAtz9vnWi9NCk1DxBqK8kRfNwF+ReFFNTMb8QoA1UQ5Il0jNk+OyaJWahkVBIuq25jPp9mTp9bkKr3dROaUV4KdAiX8cnvDzqVBx4OwIwOln6co8zFjC6cPuG6/Nb5uo76cpLSOCMR9hwq3M/I1k+7zbPhHfGCOpHvf3jXEB8UJzztQf9QeTU57O/d+2W3CYHak6eZ3NQpcPQ0rl1ZSOl9iKvAwcLSJGw04aknjDpSZ6u4+uxOOVWVbwl/18UxfgpyrXaPv/KRDCHdP9sRaQUHH1ZsCTAeuS3rlfw1WTTD174GJwmahEKNvo8A8+kvNHlfOnj9ILoxxuikdrz/S0fecsAsKenXylpGW7neqX7Qty5kBeYgSTws26t2eOoLl4+IElhMCImIJ00z84YKJDkWKM8GSvjSp5q3gc6cyBCHVp3om6qbmRgm/UHqOhwe0coKkk1qXVV35kqRCg7NWLZp5AUxG4MAV6RhANVlt1KEkPk98unw8duXCJl/rYBi4c5n0Dmu+H1pQausxKQNwC0BeV8Nl84WKc9ltguDxXdf8uLp1KaAoGRRkc/jkQZeAVNa89769JqErMx6MOgU32GkNTF6V/QPRuiXHjbJaHJnLP1agB4CENhZtCZ+6ZDG0heuO2MXIwYYQTKZ1XIbLPNUrs3gQWOEnYR7ElISZA6AQv4q8uUEonyUGPElGZkAnb4LzXU82A3EAG8FfG9iqfW2pd2KXEA5XaPHEFZAt8maFjiG2f4cRPE3qsjJ+WwLBDcPiGp03g6Aw2WttEY3CRC0Uua3JCV0oAX/NN54+czehOSwXqBEM0+P8BeHrUXnZa+t9sj7NMcQzm0iRG421/0/HECivDN7Fob4/HP89OqaApn7nlhfIjNdJz3yYtg38YmNnTVoOvlgJaj5NpOzL+6iAn2jRfc41renY3gE9vLdtpYYkRbmFgTnKZJe7/8fXnG4z9sxY07CHVaIjxSj08yrcRmYPxp3X8HracM0NbSfiitSHaaV11hKU9kGtFPSk5r06H009PeY3K0uWnAaJHfyRj2qi2+krzshOW3SmbuTU3LSkwn8N1gQyZTYxuRJNzrgg6pVIx7x4uLy/LRDepKUwozyUCbqlyU/JzFlLQh5DPtFGVfpcuDPldeXXMMGTqQ0bLQwa+iVcbkPO12pDxfWgTsDRr5FT8QHgDroMaPwZd7PIQvkp3+is/vfA7GpMNJueoIt4vVkZ9ph8gbNbXUBNFgIvETnUpea7NxtBBXEo5hSEi6Ktj0WbdTqWgoQIjplCDY05L/ngGRg+mLrXvuvGxE7T3mO96sCxevRrBwywTVH886mEmI+uS+JgXoZjkF+MkLXxZPbNPPsAP5fIruLrY6P79yqGU6FdpazJkUOKksmsAO5hZS4SSOx9f063SKZb1gU5lLJw4QsH9Dr5dsB8NhKtOU7QfWOzxmlv+WniD8OU0ENiXz4GK5uN3mpIG2dp7SsZpqvYO8UjOp+/GFyLEOi0sntbKps8LeakaQeF+iM6b6KQNC25iCNUF6inEU+onAxLDIOFQjlKBgj7DizvCI1msbRxPvq2RiqVWDvYeZn4oIE5cBU404iW+IXyjXwQEFYl++Ie4jJMys5MpZ/7AaZxR3t41TUzzsjwtTvtd9Sa7xRuVP3FsrwRSVZc8sXkjspWxsBfOC3c5yFf/1j4swWRfQkZJPPC1AjjGTtUKUb85p+2seP9nFC+xX4IlOAMvaBqSEO3OaMA5j9G90LYAPJUH5R9MVZWkQW1k7lR1MQIVb+ZMD3WOZI75lyJx0PNC61aUpiXPEvcrxs848J77DMx8uWjyRET/zLlYMXE+1OLPfx3/+8PSoIDIbHkj0T2UkCjq2d5fbhtuM9x7FtiF086xQeIG1RFeMbQSktvqxujE5sTF1WbkM02Pmq9QZEY9fKiFtJeJgoQeLnZhHGES4FoQfSnuZ27W6KaSLI1zbHUp3Sq9vay81tG53Zh3H0iLiqaDc7yPlXURWg5IMSIvHr3aOJG68cJUKY3xSD0WeaBMtnyVUXNS55CrN2WqmwmCxYcGOyjNsWYfegCG22nHIH5ZQ1WYOFZ9kW1ZMgIxDTZTUozf0zJDwjeedN+cXTOyimfigV51iCjN5njMpfzza8KjTRpTXrA6VY344oFtm0OC9BMThoGatOwRNoNsoRHo48co/3CS4brwmlh+1cbahRF/QOQlC5EG2QR+vFbRN4LZoxW3q5/YnzJz9tbZMEAPcKP0NBcxVGAMx1zEs+2ewP4mJUPIG4yywR3/qFy5W4kidiMPpoAKaRV4bfJQoMlx4sRPuep7D0AGBZk2WdvwKOnt8dvYWhldNB86UTno0jNCYM5llktaQ1Nq9+MD6+A1FtQLE580cVn8xajbf2Ymatsl/LgTQJR0HORnUshRhOEzzaix89wLijuO4yILj9d1yWVNNCYtWlhD1mcf+kiosGxJoitVY54l4/iGUCH5TAAxz8bTeQy1cW8SyV6YdurXMtpCmXlXFE/RA2lCawmlW3o4ocdLkZfphrNUVDAeiVpm/CQo9mTONleT1I2xoaXdt+FJlV45fKP/DY3u+jdq9TANo3ECMFyG58SWnGBeVUcLa5VJQmAPjb6P0cHTIw7tdr6AM5DpFFLx6S0Js31YJ6IjHDtHD5Ix+ajYK6MfBhhqJWXVKYdOsg7dCaWdmSOhh5FYHARi16z43BmaknYq61HgruF760ISAGl0RGK2nd2Og7Se7SnE2Q/bRGbDmsBkWKayZYXq3FmUb2j6SaHBOXyGrThNYsf7bZwrbsyk4JiDsUkdpKhM0x1UTjOow58yd1HPauxvlMr6En/gaTY7j2N21m+JeLCXavXF1zLSmTUftCaMSg3IZ1+pZeGSTVvvvm/uQa1rxO9IgcLO9U6De2Y/MOYXem//ypEOIcFJ4xQd+lAIX2BfT0fx7S+Rq3f8XBUzMqeHv13aH3qxKHpV71Ap5o92oUiHeNeqdaH4wETcvpjELP7qn527Zi+pUIy8c5b7imlm5KTu2zxQ9AvQvFHjm30f92gyFyfaTdDMvmI0H2syJnQKJcF8otjM7BhKmd7YYXgVmX/QXMmyQj553RAIMK0eRNqeKG7FxPe9BOewB2AvlbKjBs1kxxX8wXlKl0fz7V/PPyh9c37qn5EFkGosms1fP8TQP3nIbBSyF+9UGFWev++m0CQeoFA+TWZ44UBd4x+LIRuk1NiL9Y3DunXrT5Tlm9/bup00+ZiocoosaEWH8xnTL1W4xhJQHHanMb8GwL7EnhfKbkypX+dweuVzLYEhe1C4k6/yMjl4d/nEBD765dzxe3XvCVL1L7kkVdO3jKgTHJe420wSbO8VD19Jsc1TFrbW+D2mG6+AT6pxzOarnshs9FzSJ9YSD0xZJ9p217P0opRF1QAiHHlfPrbfTNtSzE5CAtoY9npvPbRNNp9pwioPZ3APgETBt/wYQQqLLHkymFub7JF2kYhnJOcNAGKKVlHc11ELyxOmNoAEMxsQakiBBT1+Ssi9ian5e96G+2jcYsSkkYgpq40zVpzlaR5fU/QmtHRKfD6Tpk0xUgmmI3FPfizYSNoz70VgrKJqmwqBe/NFpqfFKNkU4BFVDZ9Yj7sncJ7CObZuLx6qjUhlNj7A/jJ4svCVSK2YtvPHyagQ1M2EkLhs0Iv6Vmch2+lYMpx3oPzXcSV7RZuGsST9cQPwPnPUBVQa5125h80b66TWj24relPzkDMVIE0Tp6zBxczwH2Zs9zIc07e/vxJHaQr2brFmGoueI0PmCvLuT5/YvsMfpGE/Iavz8EwRXHpBsF+DXOX1xEtgjIBckQMRPgJ4SZ87kMzkMET1IVpdX+7hUl62rh13Y4YEno5WrFb5+3OKR+Bh+nZbXR3g6JhKVxjqScF0nwTJ3xXyXgMWT7yRkEgeA+48/zWZmJDNZRNJfUdWHW0Zj9PsHL+rA4xlySixMY1A5O2h5DWBvfI+ponZv4v4eS91XqhNkouTQQblogq6kfVIjek8q5b7JBssB+WvQ7Mp9KrM1U9CVwNHNLvonX8/ekwOqVUkcwEu2ovwwShC7I+nkV9Zo879fnaEttdHQ1GVOObR4/IHydk1LJH3V1Jx1uU3SeVgiJBOFFeTeZd5AClhikLXJUN0nD7zQGvRcilFhYUrI86RGFx7Z/isQzM72gHnrkwBjBNIWe+5NJUkHVfXzg7QN9+YehRV04vvD8aAptv+nhZddsn1L77wj4ZSPgwlkIzutbL3TQ8uFEPCK9IYicWTg99lyZHtnV0fOTHDLNHi799IKtKwCBhPeROcCxEZ5scUXJDwcKBAxIZdMT2gG3sX3lfutRyX/Vjww7ppt8y5vu+aZ4NsgwzV49B9rWW1kr223Cp9D4z6nxCr0TjhespOvZ6wuKdUXja1eWmsZxlgfrAiFcY6sXciB7RCuFw8fNLsziVmA+jU4gAHbOzlUqbm/dJmQ5YuzL/1KWrIgw4ed1doj8wqr61+0WkdQJ69QVmRMC2MYPFc4M+/eZOB5uD58M2IsU5JI/UEHagG+P9y81zbMAj2NELnql34UQYOCUv8N3tnacDKIlm0A9thnvypl5ol4HbyqhHx2j7TVxNUHGPOy/I8Iqdaon/cDn2zbfUrnnBKL0Ec7uGoGRKObx8HSZ+xzmXFPtiWxZyFsvOOPcuBRHwrLe2dJsbYIyO1L5Q4umJM3QO1bMjZ15Yj1igWXXtuHcMsU2flXY1qPgGt6ukv7GqTlAHnUjARDfqHzqJ/hYkRY+ipMBNUuveCzqJM3H/AGlk5ZGqYlZdwIGG+2Ja94u3mQpguUyYJBigco1b5jQCj3GsYs4SCrWuoLFTKw+pH94xqc4W2ek15WUmtj5IncC9KhejUGJ+YqBQpWpMYdAR65PkHWPOaCp7st+66k3huldiazIoNu+C2SdTA/aBntZ71dl3ftiQ9c44Eel8pyIVKTHqNSGTpdQEmKuCL0aTgJIgDgFeAKpRNZgxf4pl3THbh497tCJphacWGZyt0UHFQolK3szfpUW5uw/ZgVv2kKO7d4AXHC8sKGxDYtREH8pkRzaUEdxr0v2RMMGEU3pBM6XYL1mFMSDXxfDYC6TU41aY/tjwLZrYRGytCl3LJRdpHiMHEFHik3LKVOS20ytRHN/9r7gQkuMudp+vmp5j01taKb0Jz4Cs7XGm7mn6RRe7L/ER1bQ2aRs9RNtTRhSCXpZLqYc1pzW/nwbUTYQ2ngLhYEqvkEMODqBZywGzUK+ORq7/EmGuKFHTpqzfpKtYdoL7+mnnFIq2eIxDSVQmJI6SJ5EstH9hCC4GyAxqdDnZ3S3e9AybGZkiCLJjaLdlRl5w9MTT20DB283RjC5is0kA/GQO5VE8nGgNjdjzMwz2MMnQ2oU130FwEbSaJgUWrjZFFEKiIHM+J258B3dsVyA39OEccfGDJTSYNL8fdpUOQU6ilgmC4lSWjrSfRTcgqEd7Lw4wnOpVG3f2rRCJy70Iznq1a5nU3Ja6uk+gkCwAr32K+ZuCJjIy/d5wLSkjPoObnpg6UWaFVbJ61NGNrWxTjJsV5u1R0KIKolaU0hlQMjL56ym098z+MdX/FjPX7yMToP+qV9o/JafS8O8HahIBtUZ0HdiFaVG9ia/0EeZdWZHET67Hlz2P6RBgwljcA1TdnRIJ1TDXg3I7di48qJ/8ys0L17IiWmiyp51uIF3fyQNTQMhOH4g1DR2B57MGzV/nlTTxc6p+FZ4IHiknyYsoZVnfNlV1cjKONLn7KxmGK3NyfbBZrOGqkKXxHiGOUFsG1kt/fHis48UXFy3uykBGQyIRk+4ko4BY0CcI5y9ZMbAw6w1CEcR28P1b7Zb8UXB6aph3KKbRpZbghR2M3b2r6PnJoSH5IbLENgbbgaUUb+RYAxE9vYvkUy1iqlcoRm26Qo5czCI/x5HXNJKzu/06GzUGjXFMn0t3GCiM/ymnCDT9QiHowswa8XW9Ei+KIXRiL+/hN+ZzFWX3paqsFFuqxZHjaWTQvMN9Mb/LO+GE9N3fvQAgZHj4YaqzBLBontBV3wC+aFf3Ke02eLGpf85VdGq5zRQoo5wXMgZCudMMaMi6lKKroX+sozZhkEioEm9/A+zIcLqfXCslfB2ZltSOLjYwJnSZg4Z8B/iRGvd/c1N0aczvnwmurMVmO642md8j4iPouZKcyOixeZFOHlS5ZMucTBMO6ycSTcjFf87JJKTwUbUkAZVqBFvUb9mGms1IGvSK+r13dFeJpaUzVuIpxWE5olMSSGAm0Xa40BXQEfl5vXlkKtGGMi2p5fvicp0en/y0UGp/RDwV9dtJaZk/2rgpM7JXLgx8cs30YyVSfvdbbOrNeH59Cx0G3K0FqnkBQxC0t4jp2KPo32iwowT1pdSxVQRFEC01r6gggn4wZBjvNz4r3GwFmceobyf5/FkBx5ualzVCMfbKwzWP8GFR4qEjbUzI+bN3dIfplmdpuKZUOpdhPRVsarAvzLE6/AtZ+T08zuHvy2mNZjvZCydYMJkTAm4BN+vHSAeG25oAgVCDoYqhIbD2yaUVZ/T9RBr+/MoZTJUllFgr++21ibKBEzA7CbT4wyc6XVshuHYnqBmQev01CmmlpCC/kA2vbhpOPK+uROpMuQ2GZUM6pb+QnjoK1//XvMCJ8ttTUJk73NbXq52B3UrdXbKmJMPnN+i6F5glTtgirz3iHaPwJ4Uy0rk+8JwanCaBKhCYhvZRI6tk+yOalbNSMRrgKVepKNc3ZvlenQRlKXbZL73Kqe++p8wy/5aXk8nArpYdtWWcGz9/8K7nVbEb8WwWXeuuMlwh0DYY3sXdSXmHxX6QlHSLr43Nixdv+Qp3qqQiLsBijW4NCO6WjXKomsSy2zxxYQP0o6oeKYhamKe4s6l+oxIDYydGSLvtTFgD1UyUZuXuliQcgWdysVXyZ7KqOTKlRzVgIMbtWOA86W3WmAgJIHfS52CYsITLykXiTrX4ZN4kbGC2d8RQ/WiNAGBIXgZx0g0R3cdp4kPwZyKuk6IUeiNjTb4OqPDUnR0JhV+ISHC68wGf8ZHj7V5S5X9aGOitont3XxV/nh8iLFi37p3LLIVSYNTbBtND1CPnMD/YnumXGnWOqvtKtDxxXe6MYJ8vD1Mbs9uC41PtPEtpag4gA4IhY9DkcwMw+g6kZZ4bH4ezbHka9IBMF8ST0WZSgB6Rokf4G7OiuNjJ92KqRqpe+VB0WDKvUSyosPg5ltwEB/2h6H4IiIPhlMIpfjXth+CB0l0RADo7yi7RtFmX42zV6yS2AJliNH+kwv62JQemhvJFUpsfaP5vbJ7SWPDVoby+e24Jc7icnW86NRvsnZnrPgd1ne4mkQ/cEl9HdMb4xf+6RT38Bse/2MUaXUfTUb5mA0SuQ/pJZM4t8X/e0v1oxReTdGL/3YHeYC1UNec53+nWeWhd/NLAL2LaiMCMkBkgEU1ZFbuUbdlWf70rSYCeK/zdkZ0du5B7JWcAs89ptGkMV7i0Q2/ErujzAa+EVwRUnrrRk9UpdGKizAVmIVK6s8yqkMp0kI0lw2FKZNvhSWJKuFCv9UJm/9EojAJHkNloghYKVyaTS8Jt0HHu/qGfuckgya2OnvjScSWXY7cgwPGCLvsHU+YYu3fYE4NhYJSNnTwNj0vCiiBJ7Aq8BuZqfsMLt/jQqo6k9FgMI7AxbVjl0FtL/kYOBpimOKFCZcTCBcSvlJxXwngPMGpalhRHq6Ohb9nFEfYhNT/59SbAWQM+n2gEnxg0c/FZkzqdABMbOQzdvtTXHU709s780+YCQjciEONspn33FEL7pOCD0hyasfI4X5aVs+JCxfqLKUS9gBM556WSOT+XNC47mJhIaILcUyZiOmhU6Mubo7yZiWI3G3f5nLxBvRH8MOiCS+2Im3NYvZMQ38tzXCIFWUEP80mr0R5HjiIZ9SfcPOHZuxySXSp5oZmonERVBFV5vDEXRUPeNrIla/i/ddlFap7ZHq18VldQasD6QycrZSLRPpO9DXfUhVIZT4wZCXRp/QUFWTslOrDWo9kTr1g33IkKjQV8J8gh8bb5MfCl1chNca/blM82y/3YK3RRj/TLbkuZD7Xx/rw2UuwMPIsDANYVtfUJSAzC7TxMOJ1diuSUhldKVSF8ugpGuy3bzGKHFq4FmICZt0syl8ruwADnlbp56Rxh88hxB4pk4OKwQ5W+nwFaUObFtsj+izQph+Paknva/f+l8CTQHZTwQmwMj6WSPafoE2aKitL8i7or8iNqkDp3bnbMsRVEzU8ESndwEvmYMBU8ROM18QWDDNmYRqhU4DN+/V6tKHAHEP1DyuQB+6Bud5qmM/YB9deZhxSYhpWj4e28AJRCQjhUrJsvJH/XR8O5BYg1stVPTZkwo8MADa6N5fzrPdDT8Z7WxZgtmxG+EfBhgfaI5klebmqJgNvMi3m2loRmR5soUQNi6hLpxTgeRvG+3nQGM5nnzPiw3tcYlb9VoWEta/7q+ofKvy6Bf6aq1Kay/OngFQNDkrZ0U4Z5508dtw6mYZHOus/RZzLux6TOtBkEYAChhf5ZAJgePvGhKJhOyq4tSva3UMDe1+HSZkDNvaHLfAvFmdGOOMjEFps3AxywD8eZXvV8ZbjcJjw28ApZhXStqeER6fGWNRoUZK5NE309BAw8CexaC7R2X4ewIWgjIKw8ek2LRf/nYjth7W/CPkMOKk8m7uwaNUBnVAB2sUObgMExeJSFc4nvSNEvtTy4u+cDoar986DCWzWX7Ti7k1xFdAOwZqkpRBzyR7eG+Mf6VzUJ1EawxntUe03iB+U8DeiE5d6rJrqcgAzLFT8u9TxOn072kSD1veHB0jqpg+c0rHptvKG9B+C9ADAppqEXt+Kdofvky4AyyWTQu7QOz/WIsfbx408wzJeCor+1q0YZ8jEkBMSp38qC27gFx+cRlBJ74WFlWvSZgdLbkler0aAxP2KRlHacsN20ie3UkyXKnhv4joSILdNaIruU23YxdtGIfnVaj2/eJGhe7+Xu9m3Bh9aeki/hPE5Fs/FGPUjSAXNiIkWmhl5b6LNX6pz81xuvluT6rZtArY0p2dOtxYe+w8QHTZCxqg2t2TqG+8qFKBx+nlajLc1F6WibAE2VDwOAFwgAXIklyN0lxgVfXi8ukkNhB/BBOJVXQuzQizUQH1mejF0PqOMwWwbiRsnEJ6Y5TPXBLt5PnI9IXBPoQiOuDBduC+zlXH/8D0bUl/z6+M549IF7DWKYzwCtZAepaKuR9UFPCb1bKySX0fUkkdKqIQka8swC7hi7P7h5voyK1Fp0r0o+WQmMX1ZgMTlGUQY/wruuwz5c8g4SVjt6MkP508nuktOHFgQ1qkXycnf/77MaxGIerixP3FrBFmlFaYccsC658sI2L+HMuoXgF/Qn4YKPkV78Upo5jtMphy5cy5Wsjb89y1S4ogbCpDpoQ/iM77rxRSdnYtWZGwD3NU2UabyeFILXobeMIPp0jpAn4ot4twqXfSOGhHzyboR7RTbc8FhyuLXyFWCiCbVW5E8afA/kiMweCPRemrv6rmXJigxkGThrrJRBTnkSwB07eaEcNLexPqMIl6LfKySWu8xM8coK9Q8bBNrs+TpuGNJCoMCidqw8psOY3FPPvb0fEo+18a9LgqjP1h++UhxtzRlcQiaslg6Cu+LhdUHuRbH3Fx/ApxUJmuwD8ykXm47afpXjhOjeiD+nKp9LOLgBqPfJN5gFObWNoXniYApn39aBU/G//Dc3NtCL7JqDYKnbOqtnn5WGE8TME418+eh81eSs0hEmzdogRkKUaE2Hn8+kptBqKsTbY2O0JFqvvSMg4k13hb0H48L1zRQsmMAhyLKpvC80LdIZbQtwXU2fL2KmrTsYt+79paIltBGXSuOqeQGlq+JSFbyGg18uqc0FXJxALsOY9ID7uUIIWNkKXzzCGJmsCoLBdiD7O870PglIUY1k768XNtk1MaYPj8CBDfyh5lAYMVrDFiB15pd6icropqjsixZxHLnOMLWjTvRzsoKqZn+KyBc3dp9So3CcWHkonsLfcyEtelE6unJwBCQiIjhoQMCQL3iTEy8psoWKrepo1VcTB3lpknNzpxjPHWDEsrb0B/EE8w7IjIArSfLrc8YZQh+hMmjjBzd66DCfFTxLfvvH5LuPR2kPrCxyyD4AtemIYzCQBJuJGhzB5NnrbzoEfKgMgQ4xt33WW/TwcbmrK4ZEbyDutNM7pDW8/YstpN6BY97cKwaQWflp1Vl77/Z2hWR7Rc4t+Xn/JfTM8v1KBYj42yvmZsceFzoRZhi2TvY6pGRA6gfph7Xvl7blY3hDtJ8EafEFtZFwpWmb0XUGlTrak94s0HAs7/eMZSozvtohxbjD014FSTOUKTarLHLTkXv9SfMj9yCYwBYAhokdUzuaxZ9TloHf0MItHJO7h/Ocv42Ix7Dyf/KzE2YrZawN8D/lUyn9U/6J+Cshe8S46YXPwHxhrOy64B0o2+E5O+DcM0CExbL5pOCc4ZSO1iCbkq4/UB7We7ayJwqu0iPxBC7BK3nj8icjVhVgTLMqGX1XqTK4DcZY2kdA3HyWPTYNREwHR8cG5CrBkzdBikAJTolWypcrhkiyDtPUvyOsgdPqYUGHM7eNGtCT/313kgJ4FanRq8DDSX2WB/iPHabwmZTMzqmB/e3byCzBtChNyis2VwqiMK7WyVoayg1sHYRwhy/91YhtxY4xaQD6f0zgaCMVJeAQmRKDUBjev/1MGUcxt83rDc7g5CcGZCNWNZx3Z+Ju1Z3jExmBk78TkwfnA1GHgnH0ms1HG0XL9ajYDKyINFfQyQseQ8+ub5u9aKnKRxXUrDcxRh8Ndn+zwEfauao9tlvHRKQwZS+gwiKIIHOJTLtZxgEOEBlEPe/J3YOiA8wyC+ZqwT/iq06/cwkLQ+NMGtGXd/YkPDbJdl4n1RBas+xq8yeRZzDfbxRsdV+3UiXwW/YVzbImWRT069x/+hEmAqxl+Kx9towMvVrBiauP1rp51OXfYd+ypnhSX8G4rf1a5t3lBnElVaVX5cFI7EKsRq8bDP59WxAlQSX52ArANs4hIaIw88uYQLtdtwnP3ryCdOfzr01Wb25zNvYXpnxOKAhulHua7Hi7H7v0plyhxfsSkF9e32sO9w8Z1Q8FtYcRWWfJke6Qd5ywl3BgUBopDce8or09FvtL0X96eKjYBCTuDx0BUZZLsDgtV/pE43Km1ThlEiqT3S+8YWGNqO2OpwdTJKPZsVSSZkQAxE8qVBEdgQGk0KasjZB3gqjCoAY52TtHGH5T7VtcmugU0+gWbAIlmSJyuIq+i/Mli0MoJ9tEDYhCUI8HKwn0Ti4fzKI2vWng0tlzNIti295Mv3uFfB2e7gCwuSIztT6ezLvKotvIzFNa2Q7AaQ+j139MbCg78U7cRDARHyHZaxUaEc5dc074t1tsJ9dBFtyvAM1FZS5I7BAVb1jecF5h7lrKeUU9LKEhAnp6k9+VGHcIlg+Gw8np1MmoigX+DQ6RGm5WeET6etqUV5cHwef/bgnXqc2cahjicbS+YQ8cRZCGQYMxvmgsFbO7j4Xyeu6A1KIDUdGo9FSwTDdDz2VGHtVB4UlOQGWMjF+aJ9NCzlNBY04/zXOfhqkxaNvrxfZgqGkuPJgL/lzUbjBipnT023jlN+6W5J6tcFqVAHSlWrdOr1apJLvMq3FpNP+ejatRtXeiazpAz5BKocuKtYt/3eWT4q25iK0VjQdDMW8YlQeoKlDuyQevCdOUob1RsGtVVQ8cPi49BDayWMNM7nyfzoM2nzjCR3GLO1xs8R/i0E0yY8i7qbSCbhAE/PHhTXhF2imY4OqIkmt5feqLt/SRwN8VaPfxg4vHSIXjByryKWUj1nz/DAWDJn7I/cB8SSjz2mHZFcrvs8kwHj7/u1lBNOKvyM85cGCi/x8KpcikmRFg/2+8t+3MxV7AU9eijPxSwVh0ffkW0kzVrhPd50wgfr1OKSKT0k5mx+IgfXG0Q1n4ZehI5pDhS+H9VbeNq8k6NHTBOBHvcJ/VmwhJrsqT5b8PjlLDKSvhd2K+oneWATIbqUsweWLCje1FUhD77C0oWh2swZMA3cGt4+gu0GsyRmvqsIukf0BY2j9LBTHR+2f1q6HFKUCPUQJfZ2Ell1CXG09s+paMin1k5sqIQgtlfbnXtQlMj/7SVSVFHud0M07uPWDuZ5HBe7Q4YzPD/gESMUWC0ooib33veqsf+qc5xgejGKfZP1/A4YHhsHZ8E5dKDlkQUxKSH57Q298fNQdnpoRasvcJ0zdYhM4EcJvaVVG0TFjLomxSonoapSt+zDpHlau4IpLiP8DtEoVnjR0EjpR+YchVbaXnROohBZHFZW3pz0/KPYm4AUKqsSiHOKcFF7aKb8V+2CWm+wW95wbId9ivyn2h7hHN8H4cvDPBtYJdPcARr6OIh7zet+fBf7nKdQs/vVEVdGFROBq3lK2+We1hDXXjzH292pHK5cFj2d+dLjZMTBVoaNlwFOClmh5MhhrMseQ60bxkD9ezHr062V0Oqw0VzJ+RyfUg4HrW2ueasiWE8Swwy4vdHhrOsDbrzAwioxJnsTeofZbSlndsAQowFYSHxm4/uHN0U6x56BfeIftyIpONu9C1lFcF69HJOIuzbNmagmcnh+UBSPKOjOhX6mQkDIr770/Wv5Q5rBMPv8II5I5S+7rt60YyXl+Xi/m7Fq1Yj3etDvVg4jaDePMlLsSeA9AbeJ7cuVj+OxS7XMVbNQSN3rn3iA0+TCDtirNCv885c+OhP0dO4u7ifjKSLbflakCJBhhHBc7Mqw+Gok2wzFghstN9lY8buGkTgW5UOvcDwEDrPzsWj3IMbKpsDLLu2y2jSel7tU7fjByJimGmeO6qM8CWZptMhT4gbK4ueId58+vcN4tGKGTBq9GpVoYb1aQozubWHABdSLnS0kYx7o17AfJMvcGz0LEXcrYpuIhhv0dxIc71o7BMbjt75koxO6SSiKiT/hWkg/PsNK6lJkgc8VBywZCMoZwe1+HCRDVO1THCkATzVXHwuu8XqkaFr7xSnbd/FJU5z6SKbiu2D1ezT+t9qE5njvw0AdefQudwDAwFCb1e4a1mHgBhyt1cnrDPw2m9zGb0NKsMC8x45F6Bo5WEFlmJFDYt7UDY5x/GsRLG6RVIi3YPi4zcQrqvUH89TxD5Lk0N6G+g83siSgwL2N5JjpGylMKITtjIlPXPzRgpdBBid2KPr2N9VwdbxolPK4FMNGeqNIgnLVYwbJZZTe3xhMKwhCvvzarA3K8Ow/QYXTBkcc8LiafiYsLQkbpiKOvumoCyei1LN0LcptsQDIVVfM2Wyd+QmPbXegHyGIzD+jMyky2fgJjDD0Yk1zkMZHL1hsoZxcZoCzXA4mR1WYFmYCiQ4TarPUkIojeVphcHOU2OY5wzGiVyxae943AymG9OLmpGe1j8OH+x+oUpzigaMyA/1JdgMSb4Xv8Pl6eze+ioYlygu6Lon8ZMWu28ByZ451ydYUB7RKQnYBWz9ixO9rFfOl4JARSf7RMLfN/JDR50E/IcGTtrIz0poMFEUulDfoRcaLf+ECcDhZKi7GJdHTFqwcMxciTWLBu+J1yLCeF9/PpKxzOM/BXM5sEVwruFTQQtoOZCvsTkmwsEvmQRnERSB9BAWg78Scbkpn4zb1jY9NCF3fACACOYTn54j6NpPD4bl+VzHUL+jAUknjF51FrAATVDkjlp4dU2o6Bf98SpLr5tiBnyGZMsGgQP2MMEYgg1PZkk8Mvtwk0SgIvZuinzdKeQq74y/HqDtooh4p2CY8+Rz5Us1j4hdGwUDVq0jnQooW8qw/lYuYzwgo1MfY8P7ibzhayIfFwouqdfknWUlEeEuX/z7RJqCp7LcVFiJzDBpVyV1MyJPVXSY5CSULGg7p4nvrIWW6lOp1DuQwSPioRCzE88d6gsxFuqyQY6vRigPHzZzKAf9fW115w1AdijNatB1RfzbZhXGGfFNpAP7OugQlYprjOHWUB+HLlZDGtz1PRbNwrlqeGLZk10gnA1fPdWkV9sC5Ro4DDDzMe5Py87mmX99KESbrkqYV1oApKyJbUQYU0yM+u7bY2KJFqvGkQ3PRvbNHzK5fnyWzGO26Qpr3BZRHFt8Jc0jfwJtiHuxW94hJZctmlP/jlkIyjiHjvrgh4uiGcxnxKM9VoQ5Ca56bPT7VM62+3YsUV8sgd6ZC2AaGjHka7h2behu0TveDkjNQdY867LlfPciHC2lWIYnI3cvlDuGwEmOe0eHQht8HcYOjSRZkJW5iVNZJq17WorbK0JAGeWLs4DZQFM+gWSflhpjWEq8YqHrCNU43VYGQhY2cMRBdSJz5A3j0w7KbYkCVrmryeoW6O4RUGvXHjxHfNlrRWc9rGPF3nWutehcihH1qg071uDLUCFSt/IThCHbgL64kY9iNxuFkK47Qq5fROI6PMs+AHNAF6Ts2BcE+VJETF4ZLunpBiW31YdLLV6+PnjICBYsnlLygBeHhbeqwQjbad1g29oqgVL4WL87L2phocTqnffuNqQV8fr8gUtYePYPiM5vE1uvNoYfjqO5DnJBtDE3z0ioOlrN2hrVvNUuv1n0lENrckDId2IwZoMMb+LE80sA1bDTgkqnvkztGTaS2QwLM+zw7T96HcPVrFJxEZhAGjh05jZtfNGNl1pzl6oTjMhNjznwQ2RIwI4NbW9UIgyq9xkyYh/dQusrLWNqJSH3kGGSHjI1BSlgNyihReimlLA95UfS3cDZuV9OBCY2Uu2jRTVynsvuahb8sYDr3QgSG5pyBhazVop3GyV6UJXHnoRs64B73ck/4GAd/BAl6BCu7CaB3RCVztai4S3FnGwCFSNJVxV3jSlFlKG+WK30dHdcFXu66HbColg4zHyIQGV19SaSMyIEq7WyXpGATYU5jh/NTuNZg09dDs8T6KgLuUgZhCZ3I7VZ1k1D646FnjM6g1wuDxC3Erv28ck7YXyaWBTGHls1/7Fw35ZiqkEgkRMjnnQ+LL59srHZAbWiG1KfH565Akyh5xVGEoQrqsMPqOqNJg6kaPs+WdOYv7hSyQfTYAfZbCLdsl7QtY+aYa13pmf1XUOhNJhN39aA/l8qV1gtRQuY0ERiV92tg2+uWuS5v/m19oobEj5UvvkRTNXnIjai7JFhrjo2CmAWwi0C1GLuBbf3gFBNELcSA29ew5Ux4yt7f2yAUkB2pQc0a/vP4iPDVIJeE8/BjqBRfbHJ0DrdJbbRTJj/NN3YWfVRNOqrk1PkrIhtgc5jlBOCQLcFiyeEngNRrAgBd2xaEG2xDsj1qx0OqR8lL0+7cZTMDFpaoh2k/+mJH8K96gbIXmW4/8t4Wrx72uTYb1/lrm4I2hMdEHTfuTnMvlKuIbqVXzMT6xPemI+p2atMRxHeUkq3xGI4h6OhQcpFws8j6ymGDF7zqARrEKxObSXVpZeYeWkNgrHiodYpIU+gs6bOcaD92dFv2+BDxua+4h0caUtcAHTOtX85Fyvo5z1UdBLGAgUp0xvrQkyoYF1jIQXxwONzluyXp3EaEsHmlf+jVNMqZR1z0P+r42nil7Ez7yioj7fYweue3kn0zbRQj5MFrdSnIJ4YZFbLdmqFs1NNUJyVuuWhfPMwezX5jd98zkic/TfxF0ASqKdH6q/5au6hqwsI23JLwv8iQUPDBKjAnTTpcDyavq5H6bk4U9rukbE1hGODsAG6JtBR6vkHH+jI9bc6narsXFEoMs1Yc9EK7P5WLu6YxzILC7k05esbIDIEcf1DCO8iEeeblK8PFVDj6jUbomaFPJoGLQ/o29MhffSOEEH2k0XAIb6Siyzq5nFJ1WR1ZV51Zeufh+oQilBsGxWaXtXo+19LBVSiGm2Uyxs/5UvEsdgdnHHdeh2nYGoTLR+BlTmNNYTrtK8eHVaE7WtbOCxyt+4EK4YV/YLrrh79Q2KoxTTXPaLjC+DVmggNcEc/gvI9EY4DjAaK+WpOy3vQXdQCgFJ86+/NvpPZLvUhbFbjzk2GshkU0/2mpC5MAo1NFjNjbhpB1QRKEEKDVsH4+MbR2sqD9MmWuswm2RZBnLiGYyLQbLmkFHe48ssfqzIUdA3RC9XoewACFt8vwQxkI0Xd5/+N29BGfDNFhFWb5crVYj1XELxgridddq/e4xXHhTv26QXQkOtFlhFW+/UFDJtPiEt2msJYMTWxyB6nQhSjHWfipEeWKZg/maiDQE18aet5d/U/QFeK0fvFIa1JvqsszhmKGvnEvn+KGf9DuwZdrPuoUk89ymQ77Wb6NGzVUkC5PzrbKiQjptdI8LvmQNYb7P+GRzaKe1z5DYS0WZTYYIH0S6kwg9uqjqnI1+0F+ZDuuGGSVZL2IFCh9L1mu2MMXvwiDZQCYsHrXYldc3paXKnPxPuAsdmkqGeXXs+qNUHFh5vcPoF+OeXDG7XPpL/fSSiiKHTmyNJCB/yLtwIeWZ5w1uXyIkLjXCdONFzEqq32mC/YjtoVcpzMH1/t8xHFOOiGzVEHer1uMaf/DOpFXLZR0DfP69RsUo3Z9nFXx7lZlcUZkDgJ36UmBTECfrxaXH2xEFv08kgCENH6liHxxmh05n5s3x5FjISqjj9M1OSgRDJo3buLg9RVn1k100kw1l2Y7OqV7HiWtVlQzadvOvkHjYXzy1Z/oGmR5lEYNUzs/gxvjEgCZDldPfcj8+2Xb1aczkhysq/A/uou/DAJeAdXNG/Jh14yzR4mtK1fkpum98khKro2YhTz1QEsEKOzTxS9cChGHePfqbpWMMHvC1ShzR4QlHYZFvB2dNf4zWHQlVIMcZ2HcHCRDIxl4K9vKLfwrbinhiASqmvaGMnboNOrE522lTSiYzE4bQ8sS+9FIhiAElb/r2g/jGT8VU4md1xlV8Hak1FDFkxuAt3wZkS6VIqGKBhfK7mfD/2ieW9P1Lp4M4dKxT/Q3it4TkaEdNUgyLrQPQYhNOZC8HghoJvyRnAP/Co4Ik9lG3RY9Jl5QF9hFqygzxBZahQC8zIZuLD8pbr/bS4Ax0m7tiC+aRN/IbM1uzSWuU1Dcq3LBN8aHpLMqpOpKWobbEdq/K1xVMOrMDVF/Oq1+agcU+StU3ulWntkLFqydHQhcot3eAx21Tixt3jVCremm0Yl8/scTkwjtZ0VWUCeTNWf8Bgjb/m1gwQXR76EKL5kvFyb/Z2+njxLNS3omqY6fIkdyIUxQYn+XAXzkd8znSCRj6ZbPgbp3hdozHjQf/e/P4Y2CnpJplhgjCijA33BjUwXG/XeewDnaPL7HjG09faUnMHPqgF+ffYh++ybCE3ua4PQiHUUIoPgisAukcw8/eKzQNWnRykrt1SavSHrxbKKrMoLsSPALrbo2W9jTXcMppvLsI4PndK+mc5ly058s2wLxhWxJTehfzq3eOqQy/zScVqH/rrU5kSEIaWTXvYYdZ476CnVKGgucT4XViKeWGCCbMSO/j0SkcjoCRZthBmK4HDSQrnMD+K09JxWrtvmt8eghKLrlSqE36GYgzcjci+r3yKIdEEpuv1V23cP4mN4nLuyYdTi3h2ouQJMfWG+G3JzG6M+t6vTn6u4j6F4teuukjBHi3pI+cpfME1Q1tMcrG1bf/XP5aAQVVJygLVUApE/mUAMYcd21Q8QHPrMbr+nfsDu8vYo8DxW81PmIcrOXqvnUYY450dVn5/T/cIRpljXbOVNbI2JiA6KZp/MM9E/bzYMem3ScOhikdNhPyqwNxatvF48Gcdvc2JKq40oXlF6+8IkW95sCzw+p9plvRC0jt3MNRvlphx0EK1zfWGRZySF0gvxeYld9AKZvO68bQQQ9t1ySOOZR9wSmxcWbYIzijW93Jx2TRjhoHNaL04JDMM8k41EEm3+arBBKLhrjOENESkbn7bLUE+f4hq6EdxQ1SZgezMJ+yRLNQ3xThd6NWw9E8JxtpRGAvIY0jef4ost1SS0CKVkjJa3DXSmaTGPZxF2LsDEeque90JibJ63vIuBTvtes7EyE1gFEBNLZY/E9f8x3DrG8Tk5rmy4IwP0oGoPhryw2vUmhURlp3mxCK1jy+dxmRVlwcURVzR8J/2Pr/9HmOLKbNE/Tbn2lVELJSNGUiTzbfSHxlw4VaPJDWHxex8v43hdcH7zIHT1jgPZ3g51WyBLOt0/hNgOYNQarxZJAzGFo8AJDNaN3+rDB2P+K6eYN6LafvyFn+LF+P7GwOWmjM91giLzRd2EYXPRbQM5bk99hf+1DpWNZUaefLIRHXatNy9/d5L7Js5jSeuwrL0OghR6lMdLTdB6QVhQMortnd7yNB8oiFUfznw2vcGfSakYYuRuCxpd3BPbRpFI/Hh4ddGvMfzFVfGdQnVV7m3QIDIk1oJToMvYvsddkFNeJe4ECCcK0bhWapxD5xHF3ECWfFUsKBw+hlKAIwkwO9JPLX/lGtLdxswbAbs3D/mdm+n0kArLh0bzWgVPTr7eoIVYGCSl9x+/wojlAq3HkQghUgd9xqV+cXACd4f2GlXaOfH6t5GwmIy45eipF6md8wOXoClBKYucL87SXoPdoQXfk6BP7Sw6Tx402SjbGRVxPfDzxlJVVovb0OAzTDjgsggc1KHi6fznsnCV5/k7x3KqA9Ll72y7g8zTdDBCnUnRunbrn7ccG58tzXyKuM3HN9WhVBHU7nkqbKCr60kIR/UOwsFFAlblaEON1K5OZeq+2dG3JSnL5GH10ODBa+mP1i63gCylNvHL4PrXoWSutjh3hvsHsyksZxI6ih0A/RNQ99DrAYUeQLMT0V8i+y7V0jHXHUEC+eyIME+KwdC6cy9EdZsUHLPe0tUStpLE79e13/PcnAezssRuYi3bWHezMhiZzyQUFTx70cFBnHJbk/ja/mhzO/2criPkd3yRK6r1KKkFa5Lj4wkQcR8ByR06x9rnATmSDr+PqnY5L01pff2U8ZO+mSTusR1WYJAwrHJHLI1E4up+BD6gXIYWhpv4AWa5QyeselN/DDezHeBpu3WZCU6kMt/18ZjHtCnW/p0ZVXj0139Owcbq8tAsT5yyzvphNIsyN3wHocx7AEXi16910TAUqyajrc4YkdYQS8TQoocmMroFaIzPHOd6II84lEeozKdaUfGK/M2vVtC++8xpQHGaKMejESPMG99fImsM7BNzy+QYiiPwOr1QAIYEJAvrEahrp99NDTBkn3WMzDVwXKvvLE/K5nLWFbMqROFPUUlgWZFTC1A4q+vPIUmre9ZwkTMpUT6Z4lCCnLOhlCbQn7eHnkrcpuz1Gj8dtFDAUy+2czr/JgH30KgLziIPDznAOy7phnywAaX/j4GNx/7u35P9SlUJke9b0KSKUS5en8Zvf+EToRsKMFTIL60xiHuRfFquSojOpzJsxyNK9/tpKWbG4Vacd0wAjoL1jwDqasfjSv4SEwIVbW4xIiM5RhRVozyyIzRlX9ZFfK9xC1EoC4d6MeJNeFSAiDUtsezJN347UrwZS26sFq30DgL/MoEc4sve5KqCiyZbOoOX04wlX++b+2iv/nFeYzPLR41EEKOE3Kk5i7GwerCFr/vGs1nR3QLVijI9aV9gCIeRVjA0y1EJiQ57fSSCo5fO1xRm1ktWASVivm8op/2DpPfm34GvifRdBkFM0Dlr5/If93FjVuZ1/1yIWzmR8xbDEZ22mNl7UZWzVko2SOq3XbhhUoDhhwj1nLbJOPD+dKtzecosaytI9nmJ+b3ZcWZjJuRPvwnB0anszjkYxqx76MGkkXnBs0e/uXU66S/Rv8yVSpRqooGpECK8/Q4DFdu0dQ1j2H4foTSodqopZetEQCuSYKBtHpQY1xt+kHQOlS0HlXtWVgaV4qSsiIsxPzUPX0yb5NFyLhB8nCVBpbr/pmUxk3A+FJUqHthahFotMffW35+CcVTwwoPxwTmBFoBf95JsBg/ZckyQDb+vEFi58y4J7vZHw1LGdUl9A2i+FsqHNssPttr0B+cmYGl8D186odCASZ61JuVTpV/sBqkKlyCx8IJjy5ww8DibvprGcNd6gLsuUjqnzlYZs2Wj0alqiCa9XvNfFWHX/6LG9zmI6oFk9I6JRvj5pA6/EJSX4qI/Gq+SmYettbgVbp9yxUWLqaG9IqTba6tYnPUUP0sDXMHBKgTyovjKj9tCxTqKTXYljUcf3m6vmVTDvni6sAsGaKKMf+Yly0YtwPiNYTP/6X6Fg8PQcmuA+88W+L9xrw23W1zm37nqTrxow+12iYAmp0AEnvjnGWrKuXXXPqdG9Gldhw1LTIgD57W6srvrFQlol3bYGRcOCULNDuqM49H0N7AAjozZVp93U/ElKvMqzX9UN3xO5OeTijOhhix2fjjIOet0cLh5yG912rr5NMk6eLrQUd0NSU9NjMgV/oz+VQbW7NcGhfXidKX/7xoQtmq9pWHHp1Fmy73ukldGDO8vI/2+UXBfo+rIutp6OwYAsxN7MsQIuCvqJMJAF+ok4baT6Pl1s+H/UnKabh8M6RGcciXVgTlc+NqDG+Rn3sGJxRCURsbZst9PmQY6JjNSbE8IPik9jG5kEIseppMknLs8S5IZMdm/5r1PR7P0iJePGFZrDqwrT7nAl9zx6d818G5XzVsJ26PfHrNtBdsB0nrNjskCem8yT4C7Ovra9wuGnzH+S8ZgNPEG7TXUXFwzMqt0263vTOFfr7CdJAnVuls+YXt0xNE5zEucBJr4kmhuB9uvvmyky0I8BvvQAI60X2FxMqwoSJwqa6IbZeS1alO0fNgrGYbosMgkiSapmAYSLQnO457jXwSKnUjEXysL/QrAkVpuAONPUkQR35VMn+gW04Qlxotw9+HVJ/eCBtbL+xLTBGSbyPB0lxHnJyL+xCOYe9yMiGp92nuXCzuueZzrkpfGjTYaZPeZ29LkuPAgXRwpmblfREa8E/tDORKW0kbBy6vR4VB/fU7MawlhtkeC7METQAHNcUemcYA38IZdcuZ7dcNcgQLMZoQAv6cSl0vAZHOoGOkOqWAEagaWoXTYg5P40X+p1EF5yh9uo256tGCmG2RizBY0wDz+cHhN+E7GDpb54B/J2Bt3/Q6/tDB0nliO4QybzISBA2UvqiYfAHlKq1qkXHSDode+AKbB07h7f55GBHPix4p21jJ80IVrxkOl7f9TTKkxCuPJIcf5fRTbqRQs8J4yhE9e236edRBZvMUuLwHTiOOABrng3nKDwTrC+TvDj8+XAjZiOc2Rla5SFVszmD54uAU9YCpXF1yv4C6BZV8LOLOUz/1ebwaXyIBt6MY8191MpJRuSWVaUjDwmzFp0DH7bZnbuJXzxFzcWveQ8Rtknc+wg5ryP1OVRWCPmHGI34jxGAFGa8x/syc9+xRwTeLGuVVvw9j14MP8N0tYgK348qNWfINIpISkRWZIIRmdz/wE0IM3QkEg/40LBrhxJcgJtrImN5iiJZ8lReEcFty7DSGYJaOlJ1+YM2nl8WcaC22h8sDdlECk5oUzl5M/T9SNXlIHGyQyLRJDJ73c/f3tXUEwp3AubqjJdH5/oSEMJ3fnocjKK4Y8Q3BGUbtPIkqqKP74PJnYbJBd/mQacJtoh85/nSCIZJPkEUKy67UpXvEgWi8Vw6XGxH/b/pVmXkxL6suTnHuEskkPuIlymd7VCF1j01voT3Uz5NfiuEd9ctNHE6el9C3mLILPu6yGlEyAMxdaoovCIO9havqUnW9wYNPXq+qzfxmfFRj5L/i6qwmyz9+2/VLWIinSPGE3f1J5P4PAqTsUeVbqjHcSBm8hcHohQXaPuL4Z7GM95jE9smOBSgLsyBk1GLVgFMNLf7BKi6K7qUCGkBvEQXWYSCbsEHH/YKppzWGF955wOhra67rgJxezY62tQpYKXWbCU78pIqLb8d/0arHuqugKjMhsVezc7G0xkiCWhnoFSV6Lj+KHlH6Ggpeq5z0c7D+6ejDvSJAz8NWdUMC3rWYiGlc/vhYVwlxFqffgAhk17ZOXg3TW9Rf0VmU43ggramdxECyvyUPzt/t77wZ7kQBmz/26Dp8UgiF4Jb6nk4IXRgrAH0g4LK3KoVJjLianaBde4Q82t8E2xadiGIIVrN8Q+oFfF37LluL1P7LZSOI9Jaq4JIAHwzlIgHeCbKJ5Jq6UBC8mNdRyHqK8k8ViPqHKi1dC7FZeTpi1OCvdiRhKUvMqDMPOp6iTeHEeBTRZKp4Ib05HW8JtMkZCY7AK3fMe9UpH70CfDWiFvUgEfbvn0G1DOhvR6eOBdrN8gDYMPDAz50sxawzWomLZX9A7g0HhhvcAe/ton1B/QIudrSFw2uvhQ5eQNzkqveYXijW2paYdiPbVxM9XARtKsK/rhYSHzdfGOcmXZx2UE9s4EANjKRS84lKK0rB3N0CE1s5rfzSv4GHO3fhVenEGAeAY5c/0ZZtWHvurOTYAaT/sMWqOnRJMD26aNrxMdTNZqrhxvxNh4KZAxIGO3XabIZ7TFFIW80ixUU0gU99UMmLYMi1RgfsU7UqNaBK5yRFGzEz7WrspPP16MFYvrrV8uK+Rf0Y7lo5+lCzg+1e5cQusolDyuzlUYUDDIL7bAKojlOZVKrZTo8BSrqXP0H+zXtSzusMYv9PYk+8WpcaBiMelS65ATx7xIn+k2ZALRqvNGOXzj1wUGn+DvETKJo54wBt4WohIY/Rw+9rm9MkO9lcMbI1oNviMF6Lujt7FAACp2+aaA+f91QwGSPGdBiMERMxshD2Mo3991tsCGZzJ3jWLp/REdnynsxTj8Ut+LX7bQITCSqFNdthOuiouzz2wFEENxVezaOLM4kVpJ/NA7cXVXaDLzc9f8lYKL6XTrnreRio/rdWDMlHbrOn3wmD0BRWaEujpY4mYOE7/Df18n5NUrvZGBsohpM+n72Zcfr0h4WHZaC5jpUfAxA6JIAVQ9AskgPVtJxSC6fGqIyIX5DYt+HLJPRq3BoPI36LhuTqybgN1cI0QGKxMeGatPy5BHazv7E6YrpHVbtDTeej3kxf83eeSgg0AnKeQ6W30ndRT3nVyw0dqOo9k1v2nBnVsvHyLRXeMb0Js+fDcqS8+BzYUvQnX4dHIfxYiK3xdOM/qz0pSla/4BUO1pJEClj9iVoF66ACsCU2YD5j2h354ZH2DH9aq7sL+fujuJVnzWCjRysNNXNjc+/MO5rUpMrlfwWpd0Aty+kvHHdhMwwowDCmpfTjxlmSwXat9qeN/C7S6YodG0x6aoosR7+Vb75uP381IKfGmwsDZOHBioMIzo3uGW1wAW31tdBpThVt0r8dsZ6DICORX+267lwYQm+cbgVDujicW8hoGU9w8hC79dIE2MNzu2SFY/fx/Pylf1Z90YtINSYtwzV42KE18SNxzxV+MIqV2JMzdfpNwVKXtlOa4Jas3Y8la7ITldzXW4z/533kBTjU/tnE5GSQvqt8/8nhhQGMCvY73FB9hFOFTKZAe50p+mVB7dw+DVWt9z/1CiHi8sHJd4gcDTURx9QUCXhKR89dxcuylhmd4Ppz3W6p9jCNz2OVsJDK6fuz5zPy53iNj9Icqzgr8PvFdcvBaT2tJ7wX3P0B0FPr6/XX4iRGZ30KknCZfEZh4vMOW/Blg+Q33p6Ftv34FS3wvWaI8MBWRy/YplsuN+BKVQqpAH+w7C49V09JtCemgEnl+B0K4czJonDPUKW2vCKDbgk1LQA5DfBEmN8xWs+o2zbou+4y1vLItKfdeGNkr80JppQcd8NZFm9PpwQszupDZUh3ZfRFXxjljLaVMsHlVSHphY09/rarU7xs2hwA7PHaeR2JiSiQGZgJJFA+RCfm1THZ26Rn4dSZ8++YQbUIAeov37mtztstEx2PT4VOFtSYlCtF8AwcdCy2MVtVB+D262cjBeeCJsBrUtsr41Lq5FnkYd8NgO72V2Wi5IlQ1WlmuWWapdqj+xcc3jORpHp//M4syv7GmBaBy5JWChAdv7HxaF9CN/nzLOvUFPxJ7j+v25qJpoPMAXxV8gBB+RzSkfGE/pn4eZh2CmvqKjuwCyyVXXmuy25c4Gl5g0EB0PknopRO51Otg7JI7sBOyuEFsanIbqtL+JrPVi89Q0oQZOBQeUvNeP66Q5njvmc2pEYj72syx07bopSya66ZhMEDhDUqV0oBmWe8eugy1ZfKiXutkIenEAyax8hVQwGmmb8hdgGj8tcIJGxnHITJ4a01v8vSu3JT8zWBAeiZ2CyS+hseuk0zqpGDjbawhlKnG/I8Eqhs4s+ONIO9wxsl2ecmZV6lYbII6Qu6Z8lI3xPJ9hwS8fMl9o+eHYSUR3b3Nz/grQeLYFKUb5q0+Ek+4L6iBPsvlKrUxXeCLbn/0b+HjWISXOGsBJ9jq7jbxk2FFRI12P4IWFhYh7DH4v3/xCX3qeMLExkB4q60V3n+kuyVI6sY8B33GmTfrtolbj0/0ePDXzxwhQPjjR9MTCYX5VfRcyRkUhOEvfUw9JxYP1DBQyJWU4btGG5PRgv5a0nHphPjelBTaSRbhmM1FSTAwqBypYCWoczzLYC75v6Xx6LPWMFw5KmomVlXqcevE2Edv+37dXvz+Sl0EwE1D7eT0MrNdhuSN/02L34PQRIJCUHwDqBdEr7xF+v7JLnrFPoo81ut8q5mr2nXq4yuHLrd3KW3X6lr01SA8MLisfW+ZlqHTrEHYo/UvhoCXqbLbvAbvcbOF4K9YkVbeoiqTiBsyNETX9QmfD85QhRVmPWertKykK27hY7XtMDG3m1peRR6WkeOpDtD06oT6Njc6EAjdImfJ+V/nSR8px066GMNyDvJM4imlrP8nhhbQfBDbLBiYbcsYjGtXwpS93INL8Ho/0cKVPhJzUnIGGliqgubf4exPRa1AnFBov1cG5aIy+OqmCu8QLgCSD1KVEMo7ZF0o2CHiGwA920VPYiCaAfG8SpexQHaIYEPHuBT94ZZxXg9CabN2mTU4QC7XRa8yewjQy4Hk/kjOwWesH7mnBhLqDEbSkV3Xdp26OIS0DPaphvWeArzc6OD9iH3GtS6KwVGrGgn7Bw+Er+x8+bEYoE6nbCprATCS2tPS9sGocjvhEcIQqdjgP+WCqsNKHI2OSNJIPZpWFidt1w9GES5gHB5zd2p2T3UvVOtO2SRscBKEJ85LFe+CywY0wKB4EULRnfvzhO1tmBeeknlO21pfgySe+OVY2m8HbyQbnE8SduUyi/AE8AE7M9O2DAJH9b3SnB/a93c2pkVJxwQBylHtQ0qmajR+g9zGwMasFDeJpH0zNw7Nk6B1YqfG8/0wS2Cza5LppoIbKv2gD47LxhnbHK6PFXXtX5fVU0KvJoEI8kHxMCKfU1IQkJ72Tq30yVuKmFyPxxB+6Q0rtDQRovIxiK6FfKytkBPkZTobfI8pZArFW1F3f2iO36ZTWJ0FYZTvb3rH9BkSLNyGDGueDwacMZflb3Sl7Xw4aC6Z798P0bxzdXa9Y5bd1poiyirAcSimFEMBfx+MuZXR5RtLDDlM0JG3MGKkpoQTD8kBVolp9FJzfrIgGNL7C+sqtMngyWhlfnfcCl34FDZwTnHGqRZlFlb1R2gdGSp6jVAc1GnbMqE4toP6oP/E+BJ26CPKn98tUTU63L1/opYskfN7z2vFkknAZ18gr6YFQod52M5734drsBWxTbPUNh8LP0mLjIhOKfgmQBdDpKJ2BwXUWjp8YT9I0+yB+GBx3nINp0DONLnbjwktHtK1Pm/6hNLJjf4CD/C9w/b1QfWVzZcnEXM7ED5gygIxYdbq85vAMPr9AW9yYBD/XtJTUK/DdDBhyqcoFwAn7UK3S+e7NYoerKoKA8EsQR9xxUovKZa2OTTD+ly1O7GbxWCgqvVBMlbAUqGdMQ/X8GSI7yHW2VzyIdW667r9okcIiOHwgkz94MZr1tWy5FdTo/g+3coRV7YAad9rsi93vEet8iCNHfUvf55K5D9PgPaBF88Kdib6JF6WSQuSdo4JSWXf/4znlXteAtpG/mNMS35Zea5VB7Cdai8XdplBMiFC0RTD16UrUwAQFPUeeBp0xMEtxGmoANzkXUg2EaMVZ1DRYTal0t9ItQworx+9/DUoEH3x5JnTPzECvEEYNMv2q8dx87KK7+6WFwxN8DXUcX7JoZEzOYORlxni09FBmxV8vhxXYIjLTtwDvbXDHSxSlZlhY2xD8zdxQTwY78bJlGRrS2tfLFPApJgUPNU+3ehiMeonJD1tejBgbN02rMQPJrhj1ZpTMntuxfkw215piSuCosF5k6o3SU3rrO4z8Ny+fXBvWJfFFj2uH9+ExpzSk1lvagl8o7aagsxgb2DviccBTYulBISpOQDxfY1rJaFRSSxPGpbcuEoYYr4wIB1Gkj2pldHHTln5RUfCB/zO230++Fj9Sn/ONyurLHGTUN2OH3LjiVgK+ST976vjcCOMwOj79DchR1vSKK4Xu63gIPpck9mxY2Wo1u02DjNiJzg0mZqbamWvl0r6afljuY/3k2nmomob75tXwVojWZ716fe0JelZMKoto7mTwWiFyVzgTUMaLNIfIlU8ZDiTV9lDtAZmzhw6Lh0DrgTl3Lz2+wajLexMTRr2JaX7ozVmAdZQUTf8IAPAY/ixKA/8yvASwnH0F6w1Xa0QLecrfgOY0PAxeLr7bpzsvEmuD1EIY+5ltXHCKxngruSHTg/c4BcCS4ysoLiDCx2vVm0GRx6nQGUcAiy/BA3H6utU93mM1Qt1ZooLjdBVC9NvuME+sN+HbULnWeg22Ss9QXRiOZ0BLZ5UevYMYywSHlWxXTie/QCmAJ23ezTqhDcCZvjwK+Rw4U7uFQcchPFEo7/3tsjbHs+Kwr6ptKzM+lp1QT8DnHob3lYWFeqcr49YYR6yVuQnfN89MddvieRcZCkwoOjej/hO4gPcSz74QKnMH5yDvnI/12wpzfKILHv71kdbWQnfHf4qKO0SMGk/v8P1rtTVoOSZxUCH3yqddwsx/YwQXom4kiWNov/iMBqH1gMLFsyPPDEMUpz6AZrDuJwqZCn+iF/6QWccBQ6oyPv7cEj79dVQVRCbyEZSVZVcpCSLD357b2zLL6xvhGU9FiuxHLe1KIcqRtRhIfofgjzFanOYrUbx9OMhgRysaIhN0F4Xk14okjwb7R0IpAJzum9pNWh03GW6JqnkWT295J0TVuauTmhn8/7wqaqhjCPAfosqpHgnpmb5V9z7KPUhtG9+f+MhcZ6J7dmm3AbwOckJfu5Oue/ofkDVH6lXBA9rMYrcrm02IawWsMcV4eK+SQ+CwzwiNv9ZIIrGMNEXKkJVDEg1u+ejgfrdK7SFzjuTXy8b8DZ5GJwva6mwH1vCfgy6yvsBhJcHYqUtPODOqn5YdJhAdb0LwqFII2khtSKxmf2hps7+e0HCyXr/caILwAi8xzvUQHCtc0yZCm4nBaLJOlmId9Y6G49Dzc7MDlkl4acJjXGwsAKKU9XlLGETyjPC+JkolSAVhs1MVzrxwOmtgFCqN8CkacDIkQqSebGK8xS0z5lJMC/BMonmTqGSWF/IBP6YyGhsUauhsd2eg6LzaJxzB/F/s9TCRqvAovtZOdTziBEP7KQwQ1mAGUFWt0FokehMoAdJTPYWE9KBJ86cB1MmiH6fbWoYqCNMZbVUzysq3Z5rpQxzWuOPVMtnFXEQPWQYb0biWHttrpJCJssKyk781CMZ56wDoRFCi+Cl4Lyu+BQCvi+jrbYWOanm9Ojxrd/NyNbSsM76QqmEO2eyhrB1CGurHi9ALRQeTTTUsCzk4lPm4/oxcX+i+cxW2RyRfeXHoSW35K6SD4DSdRSt2oKazUhsgVG1T0fdNQ/xei1rFqfgO2cJ39IjEcpFFlx4G/tTJNEJKPgEZ4++mNBR2ZVY1m4psBeBWYXrzOinvCswG/CyCw+lI1x9bL2P+BZF8P2nQ1h+fYKqdpRfHjdYsNRBK0nnt7g7DRroXcEI0bLBGw76yAC1QCG6g6JIlNKxtuv6OjehNkNMqrkiqLmaOidnyWN1kfhl/V3WYqeEOCELFRb6eHo6gdCdQKsFOEUMMg8vl4P2ktkttQ5TR642UdEox/E+NliRMs/O6n8kiiaonVXXKlQZccaOAOaJIlQnmc4Sth/87ED6iE8WnPr1Kv3Jdu3h7gBIBXQNJ7WbFfQykBRp+kByMqYa9iXogJZBPerdSIMQH2QXYQTGd316oikRdHe5IwM8XAQfFP9u9KKN1ss3ay+arBxAUMida5SJmnx4cKi/yJPVwjlJentv8HCsmCan6i7An9sBznWD60aknH3M3C2pRorLnyhndVaprB+uMyhKwaL1bUOWy8lrFJHx8NMxuiBaoNZhCjlctOztDJyq4rUSCFuc8W4bFWwbe1ZCxbZ2rQW0RT37E0ZWDKcSDTTkHuInF1N2AHGfnlPbqpeMcA+rDkvF+FdjfstE5UCM0ixprXLiiAOxhpvUhLFRtuHwSFyCD+dgfg2tUU44g+GAZMBTLGi7tHC7yp26NiDHpWOTp0gXYgsT7zHU/8zGzRe2ifRz2FuhdUt0FhReudcyYPRC6NvBXITbQviUaFv4f3Ag0IhtsYyHrMKP53KW43PNskcM+s67lW6H5xdTJi/c2PN9CcOZAUaPIMx0tAw8aFbI/PB2YRvTBFOIcjq/gEmJKz+GnOOuvVMH4W2yxu15lqmvCQt+O5m9GXnpl5WSK9M13aujCgAEOG0za3jftHdzAwAgogcphPUmPtUdGjdXYHk3OM8kywqQzP9v/q5dTkZA/uS2ZXNhWXTnKlrzd+f3v7RW/EApJY+lKVy7oVWaCYAoR2P7gjH/zS8Ld2MjBZkC8zC1tfZomeeRNJGpngu+2Q3vnuZylA1wNFs63vI9LQaYCMe+HBWaHKrJ+A9QCMu5ttdxbyfy/cK8QIG/pvtcqthjK/cL6jwJ4wNLrhhYhkd7b58Byn1PtOF9CZd6tUx1PaN3jriuq99lRLEUCAZuPPHpnmqDZS0BdqxeUtpALTJwBYpTQ7zlEz/s6ZsVvUC+9u3Yvth6ZTQEhNTMT+uR3FOByRzNj/NSbWonxi3nM1PKLWw+uDgnZ8APIRqEWCAOCTUZcDbprpckdHln/1udlmMHPZaDPnlqJsI1ZGuLvT8N/X4ldLcL2A+ekpSXIoEi5/M3P8AMXkjS8r0UY9JKO/TdKDPEezRwRCpDhbjMC8CgP123QOmHBjO3LrAJxbc+CBYcVMIBuAE1Sls1Lkz2GNZSmwnqwAjwShE5hA11yrcnqWC6FWxVSC8ItTIE7yojqW3okimQpmcuO8m+v6KHZpnis6Gva8ClvDgIvG1w+g9g07JW4oaXb3zEX1sVMJEgs4r+fG9jbuR/H/mVjoSwBXo89DEAazbl/WfMzfQUe7n+8WiRZjkSLEhUxveGZhqPS9He2n2WfKG4F7xdgcQF2RAoie38ta3quJTU3XLIcL64+1dAVkyzkIWx0vjSt1ueculFG3atZAtgsTHGhPii+Yg9yA6OOqiB7mCobf6Kb7buQzhYhGUPWJcj6GDYqRqqpPKlPYMbSUKFqngiUzWGwa+vP5KL5GsM+W2Mip7Qh6iEhcf/LPJQhRxykK/33KzlhRIvZDs6f48gu2F9juheaHXR6wipnZBpdpVU7KAW7ShQ4HPkEFJMNlh4TlUDyPv3nIuYFVwjQjNptDODV/C97GKC89jKp/lro/nVflWP8X/2KJFdK/VYKtVEEZ3Bhpt48Afj+o9VQQEqwDIL9+0mxr8gY4IzgG1IzuMt0l6tpleVcukmnH3Aav9OFQyYmGvxsWCK8ioJ+UQWTPPls2alKGPvmg/u07vF5uDNPa0yaqzhLVy8t9XjUp9tNUyqwGDFqd3W140rlfJz7VdLIIVolmlM44vnBkKfJBaO9yQ5YeDdHzplFzsNlTC2elJRTubUQfj9z5dyl160vlYV8uKPtXpkQegZgAjHCXyJPnGPnMEPJJDIAAFbWYOXFYKv/oS3DHN9ePm9Um/ZG6xRb6DQ0SWsQyqH5jRA6XXaksoigN5pNzzMza9FMq7qPI0EMmsrOE+u9FDeHvPQDPVQ0jYWMAuSvjh/V83/gkRXnZS7iOPwlHxNnUAAyJLOlrYwYg/zKNRLRqaw530KVMXlQoo7gcyyCdLu7MpxDRDMc9jInSROZdOKKAwuBli92yBP4OLDN1+zxtXoXQyILzaZzAQ1EeRITIKqGwxLDKQwJw+lRFmVNoORNZ9DoBj7vbGQQCtj5huBOvQtuybQ4QEmsqdC5Ee5j9QriQuN25b+m5er/4+2N3x4WXpm2yGYx2syigThmDahjy2XY7iKYwr/wx53b6k1wKfrHK8Opz0TOM43PisgvsB/bap2dmFy8B4YAo7Je91XHEbmXw8sP7UdBXmhxqFM4/mLqqWXJf70XkpWtNiddSpEC0WAgCKx7hbXA7MxB/iFXsWaZx8ozgV2A9fiueuuyAVYBLeLY9G2cfzHKrO02H/djn0xxUtrF0XBW6FhpNcMpHY0uK+UuwHOOEmco1GIY9DS5SVYey0INuN17W0wFqNgPN+6luJyJ2UtgmfcZiGu2wGO87c7wWkYoUs7hgjJtXPiT4m2rubgknlyrkr5AIScUc+Thktkr/OUw16hgUPU3r2+u7UeJltqOnOMn62BBli6/K5Fr1XhdcQybrsEYWUzLGRs8pU4L36WwrhTfQr1YX3K8Q12+Jg8VhdV3qKGHuny8kT0qVP2ySxyz6cEJFIEWGdNrHo71kgo4jtN1cJVkX1Gqu34E5PVJ/Wgks5SVw5N9nLJEoUIGSbVdcKVBfV86C8BY3b9poUn82Lv6THckktxVmTD2w1wbi9x+e2wnIMIOJ4KYKTWUPXV7nh1wajUQE2cqqGooi6JheaUex3gKXfAXYCdh7AwDCfJaWjRXr/of00cADJgVmbRFIYMsrw6KfTb83NFPrB0jdklbaiKIi16QyeNLtXBtbjdbpXwkaNVOLRpizf+yOaXKcuovW7LEbyhmLSvjRRl6JsKd7TaY9SXpvz1BZQymPVM22Cnd8hJY6MYLpWnrPCYQCBjMAqHCRISYkTolXcFi5Z1Xci7oZOBMaZJxHvXctQFSBdnO3TaNElNSoO6tW/N/JV286e5xNtKD4cwiSE+AilxLv3F+ZnQ3DWlZmLf4X677JNP1XsCFZVG9hlZQVFzFoFuUeLxUVnKP1aLGboN4VHPvgFmZEZ8uA6QGMRJil3MaSi8ui3wnd+rAnO/g8qzrVEvT/i3VG8KstOVbD8rUqS4e8XM27IRoNZfd23gmGE7bGi/4IJQ0bn8J7azd+fqaAK1Jr0vaRWYrw0MvT2oMPnePPGphLuD7P1LdObG3vV8RtHbG1MkLGzR9guhOGvbTpy9d0ePOWD+lH3cRMjmdE6YCC7Qy1HW9O9Zs3L0ywKovawYrhVUD7vOTG+8Ab8GXOA1Zr3zXZJ/TzWaOJ1D5AFA6CUMo0tk3V1EC/s5bYBDb30QOTmtvEAdT8pRn8IvhaHQ82vb1xmrzu9Py7XbUYj8QUzfxy2BYbNNO86QXqat33D76aJJvuiDlE1G9QQNfwAybBz+UgaoGgnXF3QVqiT9/8Pdlg7h192wka1ywD6pC5UA6nx3/TJWShrPlV5LWNgBAUcn0h2qWSAAo1Ix6nxa5OkVzN5sU5QAhICTP9H8ivH6zmsz9951bycV8HDatpvAxbYeVT8oxaQiikQLl8AS6UxnvBmS0BGjL3FvjBycFuD6z2HTThtnqEmlbxu8shaiKk5EBX7JBZ76Awj8hkYQiFRFEe24k2gjKrcBo6utbclUrGXoNi59KMBKxTQTbh8lz0HxK/Y7vKb/8IoCZYjGfiGcwIenX9ortt9gJAti6Hee7Q496tk0Or0D6IRcjk4l4gtJ/v7YHlDires61xXhIMdF0lKPPiiNcz2TPaZb805ivRhVen3bPmLujXBEo/43t7S7yyu5IIgdzfMRi5RC29xlBhCFMh+AeO0C7TvneG2hucy29pPIHMg60WBTm9WooAFURmfqIdyMk7Ya8zPrIdIaCJi92x45NanigZFgSpVY23iFkZWWITo32+ZuDQHYDG5GqEXZWOp8MFNuAVJqGQCCIEghBVY8v6YmlQYCrv+LV0HWMrB7N/08XM4ybT7M7I5JTIeho/RWML/3+PYl4PDL0kRSIdpzuV9nglIqGg3170ZTtmqlg1w8Yh+Q0U0OdxVLBH7S8jz6OZ0t7HXi8R5WD+C8eRqJt40gs3JXasstCJRncMg6uGcpotoaL9DxVGHJ4IB8bBJwLe7SQnX9aZi3PpijhQa+3DahoURFBiDnJYV8dEGITzJJ1qE06po45GENMJHei4ln8aGM257puZ/7rEHu/t+4yFsRzlfMIkOc/gQGBQ8v79ctbFYPHGV7kCFilg3JKWtPk/B/uZ6DZE7lcjLPVzeuhRpubWflPVxxONU2oSoYNI4/4E5Fs+FtMxG9M7tmLOjOvF/sREMTcZF7YxRQnLyOZDYjZBti7gB4MU1igroUL19OETJc7+9CImsa98AqWqhRCnm+bgFqvarCSddtTHiDcUYXUz4zfQrIMTo8xHHzEpyu52NLdh/zA7a+YktDWbLtliHrCrZ5Iy8g1cExPMP7004t1SKKJ9mmvtpqS7A422pdiiuOwxgIoceNGhiKhy6lea8ulVJHaqdtYodCRpqgeh9CjkZSGM+nWfxbaubxPtNmpYbooU/nfS7ykIFk4zIVvDDCU/4BpZ5IJw+ElFED6nZKC4YJztVX3I4tqK0kwP5ZOhmcFKeyOlmtnFdoPBPiJuHUNjmSZ7BA/usNP0pzssF9DvVQK/CxbDSNn3F20guUKM1GoJX3PGSmemjTB4BRt2bsjghq1ZLGkkybJPl2/oX7FmwuyOFysiZHBjdZhdxUmW0WES3WMje2AEEuTLQxz7n0KM7j1hmzGNAuxq5f4ilvCEFTAGxdnvFRJregb4to1Rdut6H8h7f/ylkZFZ86qt5LJGrLjAjDULRIAnm7EruiCgGQR5jkXGdotODTx6HC4ze1PKEqVhbxeeqy0tM7gC4kWHsIjZw4xnrgS+MLVGegcvlZhXIP00feX/ImlyIjCVH6Pnme6StUN5yZ5DjIp3F5ey6wK6SCu1/LJxpfwX7ToA0tWeFmdkG7MA1cZI6Rt2F+CrzGvISctfFR6PkPY6uQpBAT/4R2BNDRl5d9vNTBQcALMy/GzooEFYVRKR/ikVqkWeN6NcV25imZbrpNu2Qe0s4cbSeXonAUYd1JDfaQSw55MK+zKhucEhi0XvOkmg5w3hX24ZbD9Jq/mmA1GHWbSUafS4d1vifexRjdaI+NHveuaEps4JK+kM9zAhxVbTnDghxeVruX/bz81NVzAL0O44AYj7IJjtjrjG6VceUcQC6JnKwzFmx6iNEtwwXHRs0PpZkNuf2hLwTtLXX8lqLyg9lBu+PLWP4Zg8cq8SsHabhD/Rj99PqYni7PFduphW1b5w+fM1fBw5D+/AIFIdo87KRgGJuUcIwrOAQuw5++XsHXQFq62i6Sv4nCn9cC9Tu0uUAqr83bsAEEVZKUMY0VkH0OK3fsHbbRcuon/5qW7mO5srPO/9zjixXV0aNZeSaNANbESQ0aEhNX1wauS/k/z6IZIboUdsxPMZt/xmVlEMHDs3j3cRF+vONFwcj2qfaNd+/555YQJSqabnQi8IiBCxLpV/dKdyH0UzW4QhhG0j1cbG5Ef7/R65DNcfTJU1vRMmrcxl8Ov/WKZE0jDaAA+eDSFrH2llawiw0gZVIYohl+4a7WY3c33kWj6AQyNIkMa2Dj1putQH6RG7zdoj2VEopnyxwFqYhWcyCH2t6fzQc51r3mPunL38IVzp0zFxxYyd/1TuCz5z289MWCU9TMO0zucsXdDuNO0AYwq8mZ9V8tA7DSacwq83VmyCydLGVlhToZxyWPLk+OjPaiEx+klTIouUxpMgQA0KGFBgpAAR0HmTr/mM1fLoFQlhLLNFu1XR41I6YIb3iPLL2pewXquy3LBLRUuNb6cEa+9G5zuaBzCVR8JAEypAJNFwjOG3WSM/t07Om5RFBuYcNFCBJ3LhIzG7eHHHtGiZ9dD01SPzgczgI+FZqRxsMldrh5uCTze5q0di3tyYa7NWPAJqkcb9ayt6oL1XsW8EzffKFGEdSo9iNK6WkY5IiqcYQnAipRdDFpJ2dE067/szDAiYg0IrhzYz44gcd1jWDF8NSGNQ+OJvzvLlN0ffKO6MJ5svxUGCq+CXfKqVrii/187VMydb5zGn7XdvrqvZ1HFLKjsInXXXz0Xu0Xqjx/8mIxa4SNJ0JD1iuD42inBb65Q8jx4bOiSaUf6oHJ/HqKvnqYBZ+o9CdtZb3s+pf1SiISgDfHf/jKTZBuVgBfg2f7GMCNsqTvCmq2zoc09ZfGbhMa1on1F6lR4og/uCa86yNVZOW/5SyfcC+Em5h3iH8axr1qFAlavhb9u+vr5zcH169GMX/z8I2/QoIP6smr4/b0WNpU46iO3AiTBjOAfvGtUKI1ddhfbMuXuuu6MqlpWeQWoo8ANnWDgWzUHNSowAIo24QZuNMhcm4lRWm08gK7TZ3nDKARQjtLzi9BgXsuiX71RCFkwYFa7hYovTVQnVvGF/9qOEzXe5HwBNUbVp73n7AjBz0xLtN+K7iE5v0ZXFhkatS/kUCAyleH1WmtzjkgtKc5K4RXHqPqkBP6rJ+q95d7gDPm733GW4o1HkZYTr06nDTfPdu+z0Ofj0OfsUmKPKGd6jnPbEuJprWlBxLFuPPXVEq+BDKr7V+Lwjm2Ba7T8EV/x6gtv1oUunlNYQrH8cedYqgV+o16mm1N0Qor/5tWuVy4uouwPOiITw1hj3rXmFI1WsKJSsBSV3uo26tJywOn0tCKukZF40m9VcfanNvPMFg7gTt4e0o04fhOq1m+nZKS0vz3UemmXzxdf8NCD4Q11PH1BSdKb1fpXv8xwncD/uYZQcLjpg71YWghwQojxvfqzdlSFGWVPtF7pACQYC5GQXyefy1xKOA234SSJFB4NITjZx6+grps59FxfRitfd0jEnDAetAFannBOVE3o/42mzRpwLfLTC7JF5owDB67T7rMbDMdZjwTPfuStg7WclfDua5Zz1yIrRngSL5o9NLUECJTmLpsUXtPXmxVr2oTwLPXhwELty4xqm0mnEPRnhM5DtIygUKJnmGSbUAsIBlO9Tk+4eqU8/h3KpWt3qjP5GQHFllBzlr3VlW9+y6Ja6N/nMZ87tIzx81wkpdvYgfxOYZbThdNVHHZj8Gc/tu6AuFREyWYX3lYCg87gPwR9+IvatPyAntTdYUQawes0oqeYoKLb2Zjs6FuD025etx3wBOleCS1DZVNRSeWLVQcSGMzsNV97HJARVusaVkg1nPvTUFH2KV0/0jtSw5M51SGwWq9BvsBjuk+vHrGt69qsskpuzFDRHLNpnJRfoHqoJyAWDBFCa+PtGGTh1cO3CgCv+awFa7GzAAHvR8G9ZS3u7pMQuaTrssqTZXoSfb8MpV5Dh+DDVSj4vBp5YmEWrXA2q9QnhrDhFOegcV42iN6u1g8hFY0LmkKv97iCVUTSe90Gfm9QPCc8uVJ3XhqD2tgwEP0rUNhoAuvraQ81/zYYiIVkwJ7JAkZfHgAi+I5BZ6E+a4c0110RkiPqEcFQpZvMKMc/vzJkCAycTG/J8bIg65pGTj4C4BhvizuuxJFplMgw1sggWScANOMPooExcBkAAzKt/9rAHHZh3Fe8Bac224Weee22c98aGwt98S71En7uLrDM0Bt/foPNob3LcErJZ5tVk7edhOVjhDDF+tZt0h0FGMBzV8XHKbeSapq4vFSBFdj/rZMr1MODFq24/7ismanDN+3Qt1pti7a7PrjJaj3JlM1TklWqaI4yEzZ+zb8wgLpUvw0/d1ebtWld3UR5FdN1YZL26mMjMVNx5QF21zv50O6sj94BqGuRRAiNhG54L/CcG2Jm3OMkgm77cXPF5nzcXZRikeAlrKNtH1jO4D3U3byZOo1bJHCHuUQKcdly1QJBHs7SCX7el4vUoeSq6K8OuJOHOElDEsSw5HJIDwin/hzJqof+A6vJmjEKwaEayDkY6j/LocQO7alZm1z9cpCOC1PN024JhPERdFexPUQfYlHqc+poQ2alwGCwmoH9OPzHF7UzrbLgLhpqqeHTJRglDWAZHb4kLoPPhqOLnE+X7MVl5UbZ4dMiwoN/+LXwkxEjuRH8eIIopVcQ/F5hfztR602mmHJIkgDSX7Zu13zkaqf/MXO7t9e2tZP2BxGJyQycSuopQrGDBcbhfJ0AdDSg2fQncRNRxc+RIN7LDBoQ7d/n1E40XadYJzj5ek+/+EaxTB+Ksh7bNX0P1jZMZWHTzK9TpBK4j1jUOozL5CQgbm5hdUCRVQhcLy+2p8xcg2BevH6lWScUcxA4wuN5MsNM56Nv4Bs5yHNWaAC4aTTqDB7z9eeoRpW099vNN6qYjdGomNnor+YstIMMiGv8UPMlVYLyyOp8b0G8GTY6Q73r3bgWpLUBubIVvlQTFisuX5YYlpYrZo02RC9mFn8/Awdoq2GtqKenKRb2ZOs/3gZWWhE96xgQ/sAcQ5BMJYyzpapQaQhWyXd5g+Mky8zksnXnpDBd1PyY0Tp5IXSCnkSHdaJKmfIO2YQJ45I11AXSZEgQeeO+RDIzIiTrzFSKagSgM9u9rnafFVemRppaNeVNtm5Q1wsSyurr2DA5m/QMEgqWLYJcBT1dRNjgIPioMEPaPOgMP46T4Bwwwo97TX4UQezNOqsRkNln0n20ak7MOteffUEjV6jXX5uqYnWv4xE/4yFHnROtxzAv2WF4hHdFoMSruZ5k2Eb2RbF8V1JyLRmYxPXnv2vJ/MeJDX783Gqj0QfXIBh+UwfmsCgteZhLV1NJ3QKp1HV2aP4DWpv3CaYV96RhA+6H8tZ+vXCTwLh65kChgW7sINv3NJNmzPi8ul5uO7BgpeVK+UBko+bktX8iuP+HQuDYKyGT3u6B8lHA0c4HDiQw0ShhQpcw3UcTgyQNBuYjNdjrVXgIFyG6LG/uexmJcqlHnOgQL3f5dtShumnczU+WCcgeda81PljWvVNcAQz3Zdzm3LxhvgdkJHIEeeEQbv0Bt+CKdXtyQ5aMC20lHv3+XvstTCwBCtPWW3uEbBAJpalFJCgIbodQXm7PAUL6jFutd8/vGZjOjAqRIQM+eQxaywOIySA348fKJ9fraipmzH4pFR2qxOtZnMiZx2Hw92I8W/O18v1uVRoPOSyYS0qBV2vSuoZ1YpH2QczujlbvdssjiOF/o3ISV3cg6tbYh6Y/dD67zqTVFlLcA7MERcPencUb0bqTQbuuMZIjhWWaay8txA2ItEFWD3jeDjg8KrR8G29vanMOOHS5YQh8Ps+SJOpQLWTWThfXb0dCxTGEXTVTaW94u5qanIN6VIDNTJQmRU9R9fE4tuwTGm9FyaPTLxSaJLEKGRHUBaPpf9ROkIDorn0aIe8izSHJKCitv/a9Ow0JBNVhVmc1H20uXOfbGhWrLQI9CTfWLyLZKNj5pkXMLkQLtMEpmZHt+7sxepwj22xer8FIi21oCs7eW9G59rGw1uSelICsn+u14Q6ZxjRxpj/XcdxL+Rshd/vDS5buseBB3xQav5X5eoz7lRi0TWyT05vJz/T4+d/AY3K/FZusJSgFUJ2/BtDc/Y7kvLa7s9c4UckbxkTLfI8G/ThRJ229v1cBuQlkeTlyh2qlubzu22aJ2DVYPsq4FeYCEnM7u+pTpUijBnD98u+uBlhHXBh5AOFcekS3kI6HrOdJDgWV0XCgzJorcuYea2k0amVVYVqL+6PPUQ4gBj3p7f/IUMDd1t9G9xZpidJMtB/kCiwiUeIfWreJgTyqF/MqOIlmXCHV+CfdQ0vRmY/Yo8QMlhtehfFiDkshG+l0x3Udu6+qktP2S0nFlEGtDr/kJ83nlbhVh1ft21C13PRloJScQ+pgmmD/70O5UUk6oVe7LixRwz0p9ZmySl8Mcds8yiDjX3+wFF1j0WjwoPXohhYt7jeiGe9JEuZOHYIL28QN2kZhqvxw5kzlr/IsXQMHfL2TwyUOZ6/cbE6MhUBWg7LIuyl/3KWckBewybUJqEayZdlGtX5ZKP6NB28xe6WJVvkPB1STB/T9iRGAJhFIZ3vAMzOmewb4q4sqxBkkzlRz+k8e53lk76ohBHYH9CjZOigSe69zYo6X8yjC/R5cz+LizFfXRTmCB0uAHyhbaYE67EVMYNgUkq4eIVuSP39WHYV+q6GMY7fTwdWg2GRXLfgcaNIPLI9B4cP/rsbDEUSjwj+AMamwUS7GvduxKfNdPYaKy3aHSvWlgJojVJilFKBrk0Y+fFZ7Bz5pkoy6SldQvNS9rxg7peUdmYzK/63i6Zli0hMJzYO0Ejw4wutI0J1T48T8k2C4kfC4CpvbNjqNA0K8AjGZH9LtW5/9/Pk5yKn0esFN2yGjl05/YQ692sYJ8z28v4EAjH1Uy7iwwj7MaNY7yaK83QV5P2hHjfIyG7qJMdccB4TznGj6x8YDKvDK988f8aHDf/y8ocu8yW7T7BWmM/zx/QzM+FcznGX6X/HkYim4L0LeFdQM/VMPcaIe92Z5W5GUsB2QG6XebVGv98RWouJi2oGTzEgUBtudvaz/EjTlqjm2IiMZ0fcoSoBehT/NV3SsT3VlCnBtH7M/5L+wbmuxQOKd5hpy7s/TYMwMxuKkpIYd6kYSEMJvd1iZIl4k/f3/T2PqOrld5sYGykuzaXq941uXRFbfQGv0hCTIaiSFAt8uw+f5Ti8bt7dDo2xeuuSV+tqbAL7i0p3KBJyGBN+1toTz9n9fH9pe+pq1Cre2FRV+NQn7qkoy7SRekI8thJFaY36Be9sD5MEZ/+hyHotpL2HFxLuzUm3EkSaOLOV11wa/78+wbMl2snugnKYrlfwh9ly/IqxzVa9rsSWHiqXBGAdJLqVMwvfecCUJXOU6ueVldvU7n+7M6VWRjAQSB0EyUawDauv/ANbxFJv6hWi6POrBxsEB9SIIc4q9MsNlE0d2Wwe6+tPKcfV4ly9JcwSX70xkTgtef5iGQgoXZ1iYVpUSJNe3ptXo2h0896jqvROY274MbnsoonRlzL2o3WcYcB2KNT2MOBzdtWl6a2If7oQ0BOVe8bgfMlmzpFTFPQKOkCNOSiuzr8DD75U5wO0Rjvqpd08u5KZTHhdHW6dWGIA2b+riVqy4qWpuS5/RryqNVhsqlmMg81+wvNO0rQKFE6r2hmpDHBcb4wHetFvEgJpWo6Bp2VsA92qZ10TRgzLkxJa1pxh7hhqj0+SNoXicNxh6HES9yLtleo7FJmzampWSeWQ560ZiouyOWJo1t5dCCYWc2mrEc8vSc9C5UJ5HbYLfiJx8cEh8IHS9DAXPtkS4bPBpkY9p4UMTxB305cvweJY8Pf06vir/BF8hzb0gUZ8zWDQ77i7wxis/dJezOim3aZ/tJtFCBQuj8zFTalnKdpYMiVeW6iTxq87U9okA5+2cTB1iVToraZd6BEE09MOV7jtu2laCqu9pcUdrk0RYsnWCLi6M0mT/1DZRprY09JsDizz7l/Bgp5MV6H0emka4iDI04u2obsVj2ghQiFSm3ByqOR8SAW1HzG9q80NurCEp+UStXJCy7z0FGZhqjyDE3cX6jxtCKWVg9ChkRg7pHCGZjsOjmS9aJjH6n0ECUlQSGtiCKAIAPV3a352Utrn0NxamKQvHmqq64bUvDs74L0ijOQFP6HPSJMDB1oPazO15IYHjxVnt/qFmGnl8MYflkxGIe2C+8xOhCslmV6i0Pfbl7JoxRT5bOf/sXBfx3wq3uQ8p8GLAIF1e78To6Q22+lpYMoWHoWVQXlnHMZck2I+Alx+h6tD+c+/CQS6b0EthYb1ZcdG6WAA3+EIwgKnWNpJRQpuZclZtxDsA4eYPcFmi7Oz7PRLoLp6u+4YtZ7khab8gAWuKqL/mY69GWOb+rWjsbH6cuKdFmjkH5VT9RobZDQhPaiwK+OSeZFIQo3ezzNF0UV+et2DuNjyF9KyTilHXxzaMe1+VyRhYGoIZA71TgVdgjSEL562sBReAybF/ltWW2frAzlOrNw2MWrrn6CXiJ4/4qzyyfy+vBJ/a0qOZCNnJtXpY81fttnE2jPAHblaXWn4kXQprnoQHiHciggAKHN869XB3QSut0sk3IlLOOH1ezCR0a29osrFQvzz7o9TYcTmrngMCrURgQbaAR/fSbGFGLZibE3G+Q3lDeo6YBGS97d9dwSfg0XyOwFuLkvZGUGL4k3/jRyaGJOXf7+xWVlXoi5VgXhkDXjmgqnOAXvMuGGLAXvqrlOuDUIHP6xpkJroqHFBYlFIZExG/h3WneEv3aZaYqRJlY5qZ+xC0J1NwxogZ7yewhbGE9JexOCP3cdw6Mym5lhGlKXsq8jpyrwRqFp+lSqg5pKtLtzYiYLEikbOoxDCKHPoAJ6og/ADIqx9dBgknx53rg81zOnKt57Lf3DkWQztnGIQ0V6m18fEdfHIfB2Jf6Nxyh1wCaPB6W6AENTB1Hs8jCSZU1iRG8ByKpbp2JWNxklRdwejzaH8LudwSdkjYOJxtaBXzDiBgzEgQlPsaQuEhD+Hx0e5h0XvFi3dJa7OijoDLKQeeY+FSGlVCrG6n+GokDlNsg8IZA7rhdEiIjsYrAipaQSwfPtW+JZePOlAlbjLEqotNw6oOFSauPCb4MZl2eP62C+YA/5lomeOsTnynb64q9NMMykp4X35pkfsVew4aUtefjoQPz2WyFCiSetbTZp0CHP9KLdDYDdIgK+XNirxM15JIrbbIbVLfcuf51PTJEZirmkuOkyjbqgLZAhYxftO9kwGXkfzmRi1Y4gQWDPXdm3i9SMej3cFb2oPBeSqTb/JRED4GzYG9efhJpsatx4NZIgNwF5rM2z0PtTJN+Dkx/QEOM1wTpKKw67TbQAa0WONfUKaujrYFrCtHFkx/z7A3uJSEv+JYsO8ErqTMVROTkRHVnk7OhGasGZkS0v9ZEl6HPwKrs9ZiKEw+ccS1K07BUAmHJ4ZDQVBxVcoN2lcNZdv/Ob5h3ThfDJjyLGSuifbGEfv9rTKDKWde81aFVRNi9EjSjg6sDTsVQu9wKB8U1JtEREtRsI+nq5t5g1WAom/7nNTn1FEpIbAcbyHOoPCCfZsccpWPYM0yGJD1bxJBXdvggd+SA0UD+sFgr5hujEA7kYyCydzaEvJtlo7rgRutCWqsM1IHHs63Nt05fZ5mRC1Dk0UUxO0piyI+DYKGxsMi6i3/CghnUuo/32vGTaXb2bBzO8Lkhy6mCd9UZGmjN03z4goQ1YKOpyDiUwD8TShbGzipN3cfQQoI0vN0RB22M/ib3pwYiWd/yQA9YTrtohUUZmGNmhtg8OQaNscMoemMNq7cpTGxxUPVVqX10+nKk1v5VyPg8SfuK8iYYEdNon/b1a1vINMsYH0JA/0E9U5mb/LBT77iWBFIaysypj8XeO9XTB2nqPKernetYpNrevc0H1ORNQucHf62kXkjKKE4Pv/9sykFDupAFREKl8nd/ehU/IKmeOCEkNHsGLF70A7DU55xABTX/jrseSALt951rTcBMJGoz1T9d2pCH4PFKY8a917/2ZjBdNnqdvq9tp3FgOlWDa6I0YBKH7UFL/XsPKEYeM7kHiTEcJy9J4Bb8efN3UKL/lkGLQ7ARfjmJA/1C6LfsaelVcVIwdzELzaC15c1ODOOOJkXu0kOtWLAgnUx0g836lNlwDxA4WgX7hQe8Mt4FhKbEMlc737paHURhVsQCCTwYPVCwUhEcGQyPcTSy2zwLsSHgDJkheFusuuEBMxvQDwdFWdqoVbxuH3lkZWGxoBWjyWh88UXy91cCDJVibH2gfcRAcCEMxFMYT3N9pq7FtIgiHFNWSPF6Sp6uyJ+jzI0mSZKREI+HnTRnn2S5uIhDpUZdHgKIrLA4IqT72DypEZq3X//CDGp8Os1Fa6dEAMpwNmYq7eTxMy83MPtcXwtNY4bqsXdtauiUTMb9Pt2W0Dy1xDjYwN0dfrR01LkFXnTlxwpRSILEumY/6xMTPPLIs40tII4rRsGvLlnVa5uEVi9RB73nwQF4DJY6Ii1adoiVufRj/ljgARMTRJagwFcz3kTeRWu80wwY5MSFj3InLjMTGSVMSY5MsqAj8d7CVXwA4/33NieXsXAs8eWgWTeJkzWfA9jm18mSz18udzAcX7xxZHpVhO17Z7UfEsdKXtQgwPR9JH70prfJSJIF83RleuOYh72h8E4LauYnmi5EMrnvM2WxV4cZ8ss9LMKwIYFw2z2uUVmjucXaUYBZmrJ+E1CC8HqqBa0wGhwj4usKr+R9YQu4fKV2vO13mRd2pn5cF8vWhb5Cut6l7khS9g7C27omc56GqGyornMU06ccn24db//O0pZKBO/jYhqBXRvZkokYB19T0Yb40E4kQ9Xc01w6VSMmll8uRTiD7x4XHl0h6juPuMO+iKBAtiG3L80hTYyqJxIp4E3v4BxHi8yRdK3b9IV+rf7FyWb95bJFYtqcp4hNFrLFvQx1BzVShMAq83fv3Q3a/LO8DZJHpt7yaHmNkt2IvfenymmiSBAHWokjgdMGwJJSMvPkZ/M5SQXdT+9mlIK6CEFM+6/QhmzafmVA4kdJ1lG2++XXgGk+PBJov7lB8+P8M8k0dr6lrtdHc/mT45Fdw3rch0hplCVgkYho2+p2MfjEDTl3NHCfwk+6qHQt25bUqsyCGvBcK5+VW3JfevnqQGEYZ4ULIiXoYZFgieJlA6pCWeTpfRjBeaAzr7vuM2kWOftjuqQqoubPNTvCQaIUj8qZnaJea6zuBzOWhF4H7a1H84irbafmVeLgW7d5zBinHAcNxZzslT7onJTXY8cO8X0ovJyUaElqvfYmPz4zmD7dbW95iOHUePZuZkj7tnOxrFOWqMJ6htVT2855l/fTNcBeHjUzihUg6l46YItxzq8PLj+hvmwVd9drHdOMUTo2V9detGY97tBFIf4tyP+GR4ylLcGUAYTO4UrfD05pNucQYI6VjMh+t5oLMT8TZr6sDUGnCNbyPAIV9UjTvq5hX87RH/RbSP6fMO5L5nuuwmivjAZQzHTwuz2g/Rk+TZYbDuWX05EWZmIttg1MhR65iSyvXQ9aImv7NcVCN4X2aCAm2VU6cLpM/yRykur3PPK/Ddlb7nM8AE7BYRVKr5pz6J7mT/VlGE0GXg4KU3OIOEElThWaZ2koDetOhl5CLDrdLfy00Bks6pZbJIfrMtMF1uVYzE6AbF2vKFGnU11Jgcsn9XXG/4hdNVL+pAnFteVEJZFD8NcGxU1c+46h4KZtCu+dxJYEtQqmSGGx0X0MUuSJEbJKbt7gjve87n2xdgtSQA2ZSHsasNzximtloMBi0FTUnhci2c8n/Osvh1RMHPPBaOJANuS+JoL6cXZg0ODy0TxtRN4NlTSFQiLqQ9DOUKqgDu7Ui6DY+IzIXad1xKh/ayhXaCv/zfrz9pTiQuKzX1o8VwRcv5FYCagK2oXm9sazUNLGObmPEzhP4+/66qZLPwH/48Mr2Vx5SKhxoGiFpg76hk0E3kVcRzqrpquGAM2jSCh9acY0rZu71cKWd0AV31Y35hQUiKfFjWr5wByalJbhAh5+A9EBUTW5vZjRdlwR3q7rHpi0+PxeKNHuoQINElzUxrPMXqRQtL6BrVwAzALEim2OpP3KQIZqEvk3YCqD+wUI5V0kP00nqsxPs3dfEZ5MGUity0vBuNkdD64Qn6A3gUiwqjPpigvTwPIAowv6S6noEE4v3w6Dn1yBHwbYduoW+cL48AmmWrOzXx+lk9yGPy43OArC7i78ypEecjUvCg+Wk4BXHhQh6Kw6HKJVB9RsOp0GSo7itXku1DdZ/PbfmBfX5Y+63LglJaa25BuL8xBbhyf3QpkX8+5Xxe+t6WCL8U7iz07MNijuqXO2XSnOxlWF+2MMWYen9fTUyrdxNlW3UmvP6SRz1sqEfQS+Ty9Y9Smu0Gd6dtNclb5Mre1vrcEUC9nkvrn6sbD0ih0X/7mEJWiJoCrA+Z+RlM3dX2sb9rJZuOr191YL1zp6M9QwoImPIfJ8w/vtKfiagaY1dZKuon/GITKHLSst9LsgDj25yUM5MyJj+JGoKSlIliRqrdCkgUxoBQ+vGL+BKYcEoZmnKYE3rhSWktpAU3Rzn1stKI9rSfTjFj7AFPCQPjYdA1oaDWiBLByHh/kqbf1+bWhBkCvUs/atkqCDeWRKownCo0NCCReNzHMgiNt6VA9YcwfcREZ8kie0Y0BG13smTmZL4sqJehWB9exzv4b2JYgff1cKpBGxxw2Uw8WPlKe+ulGjuInY5aJM9y5Jj5Yj0AVXl+bQ/+70WQXpGrf/IhhuPUQgIKN1H02mrrPhJeujpM64BWN5Zq9WFaLhoJfqi51q+gBZYhztD5qimmlyYvaVtKdbQVgxnZr66UgiUhVGL+XH3wr2PvJUKGENH9N22jeyDSHthmoBFHBGvLj08LzDYCpReWTtI9yLjv4hI0JtH1gA5DEuWmwJNuKkunkanwPgqTPVLYLzVh2kWQDwxJcj4lzRxiWGWDwCtrkXZBgZZ3A1YabeBSZ5zNvfu05PJ7avlMsIqPryDGF5ggdbEnas/hmTJXD+Tn7USdOzIFtM7tg6ro+XBRMe0As8QiGcW9yBzbYudeFhUzyeT7LVmDBWw46yPuzPM8+faLhqxSNSO4dN3AEE1mpKOApMDtbT1cSp3seheNLvD1Is6jrexlTnq/BuwWpoHF8s9/uxVRYPVf0SWZCHEHlpDwYYAmfbT5OMRngn0yOPEjCHyIIALxyGfzvSjsLuIo6/4FedZLZh8uVEn6DqUeFYCEPKn5++oTxQyJMMoeRENRjF/Y6MGU5TpKMXOsbWyr9i6oXD4GNNSXFpSIQ7pqcPQgNpioAElD2hf8ubwyw7SfA4fMosw6BkL08jp5miw3JVtVYdw8nMNYfRC8ivI8QaDdb9BfU3HI0rAlsu1hGNBzbLLooghfEf15O2kqtmlqf3neVTQLHaeo3/nVJbs69YgDinweKyh/Daf/wB4v+B3EAemtkvSYNRTNvlVWI2ksH1x58/52VsAKsgAKklF39f9SINbsfwPkXY9pGplclSiez+W7AM1Em/FVWUFds3sQVw+C8C49arzQCv6pd4OuDK4h0A+0MolfFuJ2WgCGt6eVoU4qCkh7lb+tm8ntGXVqONeB+nx2L4fJ+DBn5RvMCOxuSgPRsN9oZarmqSfBVErRYO1lQWeIBezBO4YKxGTE0NyxysyjwPlSZPSEQ73C2CtwHpWBkFfwGCg0fg+CO6leTSARczV5Q2fRmo5pQsNAiHUriN96p9MPQGZTH0wuWjvIuhUTvGtazH1NmTxkPhPyUPJ5sucr/LtXdwtZSOug7Y6VQvmlyifp40jzreCxauunnpcfp5+SWQTlXVva+z9joTfa1n73tmhefus/DKGtTsJsKdpAdl368w7OH2vQGF5hjsbTBC3VFDETTBoZbwMvAZXREPdZxekf8t0ww0C1a+ObjpSbe3MTH5u25H/G13Msieuiq9jryCkKSObKRjWE/7F5ZAMK1B60bcFu/s8W/jSPbmn8jsJPl07vz82tT7a93bsvPieYeuPEyIveLdSZpS1wSutv6E5lw+CGFktABcKBR9t+Wp5742kS/4o5/bbIEcKQlzODxc6btZf1d9az/TdBRfjV7cBF2k86Of8IgCUc/qe5+LSEYYgZHMQjCONGqRl3ORidqhcJOF/PHwZ0JBeETkYjsnWWGoI+rYe8FXOAsq8SPCbHWu7L77g3nT8O0AqWVhfuvJVb+rbYOu0E/eWOx9Zn9nJd17uUhClTg82qTp5fhEGNIk7ypY5uVs8dyfrkE1HRUZt1GKGpOm4hwcKqzCpWMdLfZ5yqHgMEMyCyMETc7baKvfL76tLHwNyrMuzxvkc0Ps0s35bOxp3rpxFKlI3Esy5zFSqxG8LEjaaqKNyokOJaF+3YqljK0x2y5WCMlcAcZzMwBuMqohzkgiCMS9tjBHYzkP1n034LeVNbedQ5X5JtrFP3XAw5HeELfCwhxssk/eY3GafOP8x2X5ryFSR7/OuIjzfdAx2MMFTd8OHoZgzlioKfPpP6w9buQWvZN80eHKN5aInrUyWYaIzqbh9WQ0LGJWmD5KxLop1FVFGH9CMFjf7flIOQ4X9df/mw7hT3dsrnOvT8UJFn0c+1Ae/nNlm2M2RGkyHkDfwe861jPuwoaL1IP8g2hFZl+YHZiIcjhYadujc1SV3EETc1njkUaUXo/5+TWlOI8RvJZ69DrYhOfrv6LBggYKrfsWxkGkVMy7RDjc039qrmceb9T8eT7QrjEWulYoSFn7r8t7zLLOXHsc/vap8CqhCtS2vzYy4Bm7WoxyrjZYqw/+6Na9XbX1FObKRElpjDDCCUe32sVvsEcYj4Ozhpsczv3xcCynQZok44eyoarqYa1ablt4brZdkTvnqZNgCl2c2oZQBHmqXwa0SxfrcNyWqSEhO18fBQmLqmF190NnskSLTAvG6jWjH6owJzK6OLh6WjfYL9lSvkHZVCqusE+R/bKi6oGwAJJ8aQUdOidzzaoyeReiBLt+4M0a40uCfYN6lThyLcLYKr1dUk6SSj+KfSLLV02JkEAXUeP78LgbHqpxXYs9tyoQWG7U371YZszg0mdJtkiATYOv+jeTXRSkX5FuzeineqhvE+PxkF9JU6pvq/l0I/yH+RQspf5HnC6uFCU/dAJNfYtviz+2G5guzisuOCd6zjiNG5WawWrhq8ccUA99vLaMDthGUmU/N/8mDq1aKGPVMAwAP5iw7+zhZsy2cuD3AvYnEXy/ogqU5dCFb87SRbhd286Q4DQJl37Lm0D5I4PlxikgvwBXkgD660nUALVuZo6T8yU8lnsh5Kv9eq1N8tnbhR9jJgY8gS9TzlCg4LVtN1V4QPcmmjaah08E4EBOLoSv95mSG77qoJ3MkKVU/+UsQ1Idz7s980M4oUS5VUb+r0HY7s2BT5JT9/X0GtQly1tNlZCobzxxDD5voe/KvrwZgEWGJWWw8+/ASFKJ3vsjMLA66Rg9nJlsGbk+c4pnV7AOkR+XL1pkdeSA6gqPC4jZFt8moDDe7Mke8AoDa8FcxPWRLCdDDlVaygllfIEnwxIV7d1eK45FP0BNfXLXFlDDy1lK06YlLhlYHx2iWxP7KspJbamAJAwFSvdK3PCGXyFDQj78nsDqrimyApEHyyJdTRNKldZ+BFw5Bandx/VI6tV5EL11Zm5bNE+TTLDpOwABx3ryYMqp6NMtTLVDbsZjdkGtRVuCsva8EI4gQGRy1Mks1jDBN4IZbH4b/++SydwL/kySSUUdnEzXFEQ8MqqU1ZRoO7iS6f7eK8KEYIJzPVqq1a3h9ef362r0e51VTLod6v7Vdh4RN0lcan++a69dKtXLrdDH5NoQrgxJLWV+ObJOH4ZxmUgV3ucrWHC8FUSNqxnZu+Dg7r0yrHy5hU0/+Z2wS0o7W4Kmzd55hyTvF/4IfNFECVyMC8sSPyTdEToU+lyUEWp0JTXGVhpSAkyZZray81FlRILRjT1rmhMag+8Q2wJU4qs+fXSvTR7EYvfM0kDY12eadZKewA/QYZbIb3JRAcbbQ+vzzF6YDoMwbV4z16dMCTGMOLr26ZjCsN/kRB6AtU6AZ0X0iYi1r6B2cvdKZC8y4wQZ+SBYCWlbn5BN+ONx8R2TPwxhJSJWyeDwIV2b7+bdBib0syWn377JrJeDLN6SwCbPNYxXgL2dst2/cF6K48lSqNVv42S8v9OiNMdB/nMju0Scti0wFDri2MtNtqVajcOaGsc+8JN22KF9QKc69sq2zT5+sbOWH1yZUYRRuUvzScRNG5rJ9XO9iyf0CNk2lxbR4FP8cKkXE8TYUoKmoxVAnkS+HkHGbLQFqQShlEMUCgqUsU1fT4nSZ62wLE41LxrjIGZwIR1EyIwbgySqOOrDLTdC9T412TFmC4Qwm7daXHSLdu9OTzGxwUDrVHb78lev2oH1RQV0zbMBcauIhc43Ake4sMN6GshoId51ufj75t6neiddf8e7ZIRQX0adJooShwPMefeuNiAbnRvpdsiQkwn38nxIjUd8Lxirf0mJGW84SbwWLOB+3T/R0esIG/RFP9gl8UOdijx0kg7rWY4hRc2KUzi1FDIY5VJNmLHaaa2bPZK97xZ/gQKRjfKKadk7UwtCabIMwO32g/C+BAa6wTT9m98KI2d9Ykt4K7j4FT5L5eFunGxtqAHqWpnXgXVYVy+LMwsdPFpN/sdkO3oh4gKlzLgtNioBUBTmSxKrI5uopBKZKMRWiz8mTcmmQhG6eif4DIv1ZU+oQLcQAYQ2GOxja4klWvw1lw4Yo4PMdvgjNAm2tnVdzU/9I04lc1SOaemgwkVdEK8KU+HmajCARGf3OOhlEnrRi1iqODMkEbGaY9BdRfOOBCdGH1DnK9Cg8phAjY8cw8CAJRIx2ZCdy0FQKzpzL3oJy6KVXYE7v+LixnmjkUoQWf482UfGeozWAAHW90AcXCCplPz1ID1w5ecBCSPXEWYn8mFoIiHR3ROYtKNnra6PS+OWKOEA+2O5v4YQXYI+2B7c5JAnDCfmURvXBFGedhX/tvafnpNThQyrPyhLQGXY1F300unmxZSEViMvP0Oy5FD/HgRAR/QubvnEniWUBzTXn7EEnf+aiMbNafA2MXAQbdgiz1cWhgxDZq2MFk4OmSgpMnDDOFCnciqHTgYbeu4gl9an7Y/v6NHuo7GgH5mGhP1TWFLLznsFTisUxPW/yZSwIXoxLaMxRGSYbcglPP4wWjj8re/182zj7oxV+nJmOu24XiGvEZMTyhnAgZJxkStuD+7OcRPo49Lr0ccf5gUxvHSj/+znGFY60hG+RafPciCpz1tWkDYNXjBeeKZap+C8JcLYhzAIlnBUJ/OEL1oZzK7nYVJTCHgtVE+hR/ywoIr3j6tgSYZ7pBQFF0gHRu4sQRj37WMPEvtSjZNzZGDGGra5vWwxgwLLvg03DlsKbO4RNAQN/kyLNy6daCh5Ci7ltUga30Y349PpEWvXTsxUdcAclInLguj8jso/X6QgkejAdUDV8Ua/Qx/0wWTn31FQyKYo5kTkuIphqJmduzxICI4+LPr6N+uG6TVrF9FjnhbTlloKJMF8S1wCEpL8AQDSSXwa1oZqV4Mi1+6bWSQupBSU0oKp7pvb19wHe+lltnWst3Nlu/g1UtGklemyZS1JAc4XIOT0LXQamhpmeXxtIDv71qZROed/4oYKPWwr3nSsPSFCF2vQacaJTq29jtgrHvAukNQ06Yp5KC4xxg9eM5wbqp/CyprycBuMBO1E0JSvLtwxREgvZbxCdI/bsWHGyOkuLBYuf+01VmRe9rFqTvDIUSVKAstDb5Zhy38hLPqpchSNL3LreRJhNtsPsfS3RZ1Y5UnD14g0IYz7canqESw3Xi/KvkYOscDn5HJIR7W9TC/7szyp3E+lNomKsJW7KWzv847yiZHrhfC4rgdBmLV1fBgXBv1dRzAmtLpCs56WMIdaOeS8GGYYqsKGjf+SyeEl8QcE6IqJdjxqwBcWFmtOgURPK+v/G5g/qTagwU/l1Dn8PlLXBSqh3RGyGwhLTOkW0+gkLAMPlIDg/vT/TjluzoknigbKzJ9knCHLphERwkQbNfv56PLXjGkquh+gM8cyTjG7w+UY+gCCXhrv1LTk5/s+mUI5SdNmm410W1x0EIJNmcksQGWL4nbjpqXKi0bdnZ8wFBAA6NENgrShK1nBUr4UyLQZf1oZ2tyZrNPmb/FV0sUU50cg8aTqEFwFR4KAZ6lDrArQwJ7pwxsHP/M2dDd+9TUg3flv3P0fCQzPpFO4Ys3dAUguzbxh7SqGKz6x63CFB+hszjJhsMia5BfDZ7Y21hgMwhr4Da9wDJJYqlvKZXPzUDns3xYJw2N84oCv/7Px+AYldBJaqpFLusYAfZgAKGQNq24nee7f9PcYUb2AVcROo311IGs8k6jiK3PKI1VWollvw5uobXM1h9MMFt9svTGEX7cl3St8Wh6DNfvuA1KEOebtZUCyp5F0w4LwkbWzGw9z7NLX2hAez9DIqmOBqp/cPXb0T2xPAQPaEnMH7QCYvRtFpBwqd8lW7x8n1jGsrsjol8VLJbjr2czFop5wMpwvpjqW7+y0xzsTTdryIGYIEG0doXRiTIld+WN8YVgMkvinwITyx+X4RnLPsy1suxhZwWHbj3Nx5zUZimy3Bhz8x+bwSVuQYUM3bxJq4MCDUJcjKJ+8Sg0fYv5JNo/WHg8gPUX7JenHSFeblwopEEF4RA3FQqSBykxdrUlV+OxXJC7oTnZcLTbHWE1ZhtxawlA4GcK/+Ux2W4DojFdumxYqBdOlrPTHadwG61iqnKhzd2EcTjKB01nZWxDuoI3cX86jN6u53Qj1ndwhMqWPnIFSuRHHsfkdhSP/aclxMaJRc3dnvGdx4ZgvSjEjaSY26FaGDyWamPDUaIkcyPdLJXkO64gi4/f1htvfoLjlyrbQX0FVNCS4rqz+1BcXBQxg0D1Hqs5y2xtfelUzIM9Rh6MX9Sam8GpmBQ3BHNMSCnvAjwy3Ep0w9k3qicKnxmvSlXpcav647l2QPTnou4ZjUj2nQ8GZjSXzi+/ZTZLzUA5LNWVlfwLWUzOYgBxa5zym7Yj7SSWXbUmnphQ7tMeO1+AHY7lQeoQIkrs1NVzsvPuSf5Ut9jRRKeKJUoQF7cUiybD6O7EWJP26O/gVglUy1lvL1FQrDS5aP0kQbQTLXSTkc7o08ZqGYZao4zPwbmikxAcqofa7YF6t8Yq/xhbn/zVCN/oog/WXzcHIfeNackLFANHj3sXmpr8iqdSPONuXwKCWQjrxy5XFDIy6TFBVxUOmZFV5XfHHUS1zIebik1s5a6/9UHn/opUuw97+PW3NRotg9SxIX+4E68btBWNdW7BqUH7CJOanHrEoFOOuj8+qtkiMPR2lFp5XLjNrmEcH+ZypgTdt0IEmKKEtL+58XYNU9YEK2JMwRO02s3puvxdJoUNY3IpysmD3Wn8g49AZ/19255+KUnsN5NhfsKW+L7BYNF/wi0mC0SPyUSOYjLP1nsheWQ2J6kN2STi+FQHXcPIZGcNQWb8VRtBgfZxa9hCtQoLH4QW+k+YRafDGo6U0vB8qv4XTLH9T9uY9VWyDiDx0txiCp+shRwGnDq9HH1iAIhHJTaQQDVeNQiCeMTA86kCWlOXHRgC1+4+yKMQQnWxlcWc45WzirFV8IGYj/MPcbAKPDczhvdOB9bggmU80gYOvPTjfJ9jb4T1veNj6C29Wv33o0DFEP1VLsVrFfW2e9rWqwjQxSWROr69/mrnZwZfFs0+Qvhcip4nSkCis3d3GNS370wHVnfC33mDU9lA9c7ffhTRQ9qXtctsh2lUo+8dtSnjFEGLqacenW1WCCQGiuZFDCV4MTQ3H7pBnwciMh1yQnHV7BtRY6romAzvvqHT5RQIPgPr8IGP5/NQ47/wLHWi+uf7Pmx6SOUWhm73sO+409ibUwHx0B2sMWH6tH0dMQnBNNEMxZLCKuBSk14sKzpea2mbmkqxfkK/1LMxJzrXQI6FjlJGt83YuR+A6ywwxEfrav59PO6j6p3CIVnHINEGzDnTU7AKMD7tL0eV+1zRPcUavGNcumm45Gx7aenxQbFatYd7IjGcVvOh7FGolY5xICCu/Q480eB0CogHMwHgWIfpc4BXwpfINEDrDGAlH6CzHUzXRf6xIS3YGG6D39sd1JknEGslhH+g/glCbSIdvYo+P4oogjSB6qJ4CRDTNLmin72yv4cT8JNoBdTwo0xpe+2fvHcTZvReA+5DB6KC8ZADCm4IN0LCTBHKcup1PGleQLGe3g6aaSM0AzwlCYiDSV9S/Jwp3tk17BwQexwXJFfeJKshXRg+zQiL9Le2Bpzsd6D1D5FfUlzpoVGY+Q8Et2D/IbomvV/DQ46pvxckt1jpkowbyJTb/wfaziupHi3455B3PN4eXxEmgqFZqmV5QoPR1SWbwwZU/FWm/V2FB2UB9yFuhxmWMquYODV1GhI2ZV8jIKTZVLRufoXwtj176gi0JIWN20xtHntSIsksI6hAFUfLedAYdQzyPaXPB6mNw19RyXuWZvTFOem8SON0lSdIJvmJFFEH2YuIS4cdCflk3JhBrANYb6BtPvNs/gB0qHB2AFyywUwUf3Nq907zcQm0x4V2W5jZJjau5f0Q5zYQH0eYNC8mS/H67VgcFSfOs62h3nrK2D04iOD50/ggWQR+VxA5gvLOVpK8LVcaW3KD+e280OaBnWpngm9Yz9bvcRcGJieu9X0YxfvmF3WqkUIfEbJoPXYQF8+luZZ04TGEGtAsU0uBz0UzOjhIW5wgBCKfYxSvvNQL7bSpoXkbyU2pp4GJZEPLeh9vUqSJrvRfcMjGugycsC9UlFDERElOngahC3YlJFcqGiUMZr+MQgccUEJJOw4rhcg3NnG8xr07ioteCh7LXrAl2WyUmpc6DaaFXar4VEudEBcS++SwEx8u92GkmHxlzh2SIYaRjsE/bPt3R4QrFX/tg0tWivUpuey93rUY3KxZACy+rpWrRpyAPjHpNOZMvm+fj6htxm8nz2Mp93aZ7ZLUCwp7Gy+K8T+W66ZYtISPGwUZEQ2kaixB1jJVeHEJXIyhpd+Rz41lQYJUL0QdTS8DnzoSHAsoZqhljx2XjdOehANmXrWuf28gdotrhLmGHMiEDbNzi8iUEnP64rcIBwns9xnMSmtXVnQneSEbcmCgc2hgZcHuUrMsxUeoDHm/lnbawIHzOmMGUxVv6indVIhJiWXIbOc794ohSqezTzUH5Lkx6OMUUHDJUE9oTJc+GpS5isB9qIqzTu8dzGQIhPxVeI+HcE1fjEEbST1rvzJyjL6bM29iaDi4ZLSZYf5Lh5+PPS5WhiRsFmufCLoey/O7iNmdjPPGLon+9mLSBHkYCITJc03JcizjXmM3dsGFVaQZCzGOV2T9LT4gcY1obPAmlY54ljPlxxK+ybjwsENzM0XTAQW59y9jLorMdHP/vIp+VhszH8N0oa1lHj6scEkqVD8LyCWZiXI11dA3l0l9a9ViGjFUn24zOvcbWvHhtsjHLbLPAVzl4uIO365VZ3xtJBD+FxnzeWZiSvKzaqPa3ZrMCXRFih1BR7n/D5GnCtyFeawkh09N+tiPo722Oz8JrpO4pYmJ3BkqLBjvZy0cSwcB1Ch/oUSwrt3RhhbcR9THIM0Va/yCagCZq7sTRnqtQEzpTV6i7xCuooVeAegValfwsx5mZH1qT62JrJSNDhLNuhrDEb6V6Mk68XpvjZNxHENOvoxXBX06ckCuPs5Z3mWODF1GxGSSqrVBKjLI9eXP3n2k3XU1s4JbjIhEIt39hvr6SXSAj6di2LEt0p4yu74XsB4fki8HmPMN+hCGdv8nGt9m7WtAU50dFYwj0/Nfc28h6w5Uchg4ia118YTUqLspyW9BzmA20czgItjRiIgeblz19WK22TuYqJPEUKa9Wsh/0tdBXVH/EG4qg2I4HSGs3/K5Jaz602rEoi2TVymM7ohbzokEUUuyQRaJi7ZKUiWswfjF11qzog8SXKi99f8p4c0HVU/VKKE3wMjM2qJUneRuiOAqZNYvStjrb6y/+sS/89mUsn6jNdJZ8GFYJk1zHLfBsmMYc6wPZVDtDE1NSQ9eYZJj2GTQFKjKbA78BR009zDo++LJ1qojmsGepg+Jj95RDzbhI+efBg3SNO3U2hVZQgRR805YnljeQqMipKqmpVHlxDZ2e6zr9w3eHwtMCf32lGzSu0PljWs+HNjIiHnO4rKZMB9oFeLNaHDqE+0RqX1E18GUUqMUOPlv/j5QNx7dpJaDUeF2k1Hs5eGKh5aXWB2RLrPrwCBdJ0RrkvjvTNacrpdVfG6NIJ/jkiU/S7b6aMFPl6ulsyW31dSDLeEiW4cocAaPsnX27yPHXLNqWfgVVHuxq/SmjK4BAXry3JFbIwGf5KvWz/27jgzWK7a/0Jd6igbWQDXGl6Ippl6d37W56zB/QwJ1+auiqCUGqzyBP1yUp1V2+bpwlcEcAbKoIyrslNj4HwAG2NN8I0Mo9J2Z3hNRelRJGSEGFekzKdFHWV0qGW0XxFH783uTW86IGebwRwUDmLew6ErGyLne/6pJ0jD5Z96yRRRgJ78GugEVlHLbsNGAWLSzijtnQdFuPKfVaSpgDdGsr4IeYrzjNeWhx3z3TXN6mTUWNeWVnELzTTfUGTkfP7u7L8CRvyWtIf4X43xfnWrmEk6C5VTaPCkZ1gCrcUuEOZdg7EfA0T7qg7rVqjKl0jMpjkPDfRprJmWOCvGYdqPqBaNZZCWJqGH77u1fr48WThhluxuia8I/7Xbk0yl79sxlGm5YOKIcXD1akWo+t91DTH74EXs2XQxIVKOXtUGr9zVnq+HX9l2MotbM6F/cTMP10i7WuBEf0lpf+JJp7jD9YNtKG6vANJr5VnRESHi6haixppb1ECeb1kJSFasw7ojnzRly66eNvWk2Y1CzcNvxgjJF/zDJb9LWWKE6HPOjIyv4bhS+5wytCrtP/9H7EWQO4i4VV5qrA8SPFAl6hUeVIpPIT5gFR1vjRyBQRa/nBFFtHS4ybrCycDH/11RTWuRNCGuXdqalH7u25/vpszCdqZSGOT21tw9lgt4wheScTdEldYXZ+KpmctPPsJ2bnUQukXjJt9QmBfN+JpG9H74A5VM3v4XSJF2qcTqGU4vqSKhqT4O7TDcUiyyoLIpdCQ1MeQXIFgIWM24zHnRSH/8TyfO5uAJhoB5EgO31xO1ecphHNrN6kX+4CIM9om0MUmZ784t7q39iakKyHFYIag5yoL5JAEttTHQpdctd0cI0XgZwfYTqSFjGL/gnLdRxoFbJ9u4wTEPoUC4pMckitOlJy8XbVreElBRXifukAFGpMR/XjM8AgauMXNQiyBbq5EKQEfPxlmJdT6uI9HMVWJOp/k21XmDU5k7mbxdyGremty605Wr1pzI6rDuko9rzDnf3bsvspKuSC3CR84iY3APNwU6dJ71UH+g4Y7dzaIEDNPYw3u6knypOFLQRBzIhU4IWVyDijy5i2VKsygtHjAT8Od/OtxUixPDiKGlFh8dRXQSO31xvE/aWEwnZ9j/Hz/VqguovJcRKL3ZguiqpGYZddL+Xs/D9AOiABaSvQXiM/YKq+ugMyV1Qb+didMsPhxMIAN2+hVTHHu09qQnc0d4WmcYUqbtBLNdcm1+g8OkOi5MJRKC0ekf5pvl/KGRkINulG2N+/GuTuWLLV2QOZ5lb6u4W5pkplaTifwAk5Pz7EuCzxqrEUPvpq4K6uRwLTF8XUtQP5+XvDZ8q7l0EW580b4O3e/VGzeMLmCOcBGE2q6LGcDoRuavpvIp/rKc/kKkQzBnHUFtySYVwtZbJXnc/UkIuCRJaNCi/Vn2PNnTQuvwA69ixpU04ZSFLPSYlvr43OoWo51pGZlE6zP5JbhEBusY7jz3XZ5dLz7QcSOocZ2ToAXFaLCgdmwYsDvS3ihqYeDqXESrA6XaGR3GvvSiW+59BeOLAxG5cJEGT6L+Ie0Tjdau6sel435ZAPcn6aVQJEFT3vbQmnkaXI6nSj5wIoJmHCxi9An3boqF3+F0JVB2QNboxcL/mk+vPjUO6mqXCy4dBIiuhu+BT4vBoX+wP0t7fSHDNXPKs53+iFM45wjGZmH153a57qbfyIHDg+1EXi4ia3EYk20+sRxAp03lebtXEGJd6hnQEST9J6ta50ALjrm59TWbwpLEcgGRX8r1tU7rQePZji8N2IG2FcpvoJvk2iZ3oz2a64byd3zRgGGSRvLs+e0z0QnA1P02P4NTdSzu8Q+E9O7wnwZxCFITdasD8He0E1hXyuePt8/F3mCWtZ4SMuVGkRF/wfyRA0+2Dtg90/iNohZrQHdZcjTmB1shQb+mgrQijaHA09zpgxrpy2vCwKVTe//sKlDvCtqV7JycA2JjJJs0baygXrdqpOomVMBk7p6Q+jm4wCtMme1t8MgRUJZNiGJi8E/QuAppxOLU2uqKZTwh/1NutexJYlVRbIDW56gF2lNavEjMly9qy1cqZmxEhs1K8ZrB6mPcDUySq8liCjjDwcUaTe3EvGdZNakgZSAc4/A6i61sLkN+sB7/lV6c7nigtgSQX3xD4Q0SNBRgXpovzT+lnwcHSsEKL+Cu6zpftvijCmBvOePNuHstu4qrBIyVT+U9b1ng4bAzMezx0Olc+Qf1Ei4q6eLLS2+TMJ86qsW2Jd6Obioc2+ISg/s5NZUj5gWUeLwG84UUwXE2uEWARdKG8g7W6CIy4GANJwhp/wknonHJIqTYzvPoGwNtKw+rSEHzBfyadDw/UT6rRmrnymMbBANjq+jGNMWDAdCOVDmSotfuBAwefB3HkdYR7O/NcWz/ATQNv5NlxJ4zYxFLCnAU2xbFplsmaNMqr6KEZoYLm0FDN9DV95UVuPGVy2lx+wLsuM2YfVOuvA56fart4ZrjOXac44ZMeguxApy/suakS/Xu6ja1g5QVCHAEH1iu9fEmZgmiIAtoZix4Nsdx9tnoa2AUlM4EhlxIcE9iFqeE7YP30J6z73s4TIKplbhJ10TQmQTjIMInXc0D9/PMIA/7RcjPJVijD5dZCVmjn8gFw4Jkl7M/blJsHo/Jtwku55nVzcM+9nVmDLNXPCVHqvdw9ABtqRRT/6Qk5107hWux9oSZICZLUcqblMVdAcQV7CWvmMFAScf3tznkOPwESvcUIiVsTNaJCIqmkAky7WQlNuWEX51WRDPvAcM7peAsYYvPv+2pKtOaruYBLsc/md/41Cwu/nAb6JQ+7OA/IEawKOv7+zgpcyqtRD1uAQavgBvyObNwT97x0pPzqkmtDaE7tbQaZPGjAJofyY4SDb3Xl5um3rRGFT8iYce1Qx0ZzYv8cAYWamRi3aQOc36X7w02oij0fqX4h4z2X33Ewp8GXPr9iqKDy8PEWY7OHhkjYpotHYKsWY7YUKpK3sRf95Va+AuDpxNms7E4/FJvjkpBk7T89VPZd9NavqAJJ1veF2FZRKfl5KdpEaTtW40oQYzN+INi3lWOncuVvsYbDwPWxpZyjR60FGiQOWxNb3mqKsZOcG9slfH9QT3Ylqi5kpPWIQmL5jbhYX+S53p1kvYlt+BMcYhTAMLRM23EhKyJTm71gpklJ5St3GtXJL8ewuvGjj3X6y/e6Q9CZAI17mh1EJ2eoEDy5QypTzskrQG/wgIDzPNKvaHBq+PU/LW8xedtaLV0KEGTeTkQsg1A6B1EHAPZrrbszoIavkbXWYoc7F0EHiV+VxPx6G/AS0xPuwPbMiyvomoqRLKUYXLAsrEK0kNkT27+VM2BeaJ/jXm9k8f3WSYwC5AE8Tv6eXKYQvAD9WjYkucFAOgQFsINohYbUfhFzOwKvtygvWhcmCAdCCzulMVPCuo2IKOYGE+Rr5IIKOtllEeZ56E04bv9uklYcbmfgpA6Ss+1oR3ngDe7K3w9NBCWOd35vbyqnzopgaSIoY6MEeaoedUqQxNR1cx5UJmWcKoFGhFrNKFhFFysJ4XuqVW6kfveMJ0CleSgb7zUfrhrF4T2SJWN9bCRI0WHHiduVFtFXkOwXUld2T4GqXpqV59WngN+Nt3udHDSP7+aj91z9rZUYK5wrxC6pc5R9tjtVpMSjxLKXQiO7SfhhOHyw6MedbTjyat8bUPn7gO0EVbszSs9KrJ7bWxOfrY1BWStwN/ZyCwQI7mDiTqbvziOonINFHHUmlwsa9lSiBy8OHipqOP3+XhxRcHLYjZgcwjT0UMEl39ZvTrRPd43ZSudAjj+AxzzuCyeVTJ8BF01EifT3i8Y9knEmn54WPRAXCrUzOEdTpsDMzJRLwej69nfUNcCDCBT6cMwvo0Nd1EXuz+G5eWfzP27Fp4h8UTCZTX4Z5h9mU2n7593ptyYPa7e+hzR/sdCThrJvmDC5s+1TnAWsV5ArnpcD/oPufr/VfmLjLkUD1fMalZwKPFxb90mVdhOi5SBBRZW4ki3bi2+aWxSnFb1QruL0uCyfuXfrD/mNbEZ5hLCLfp+tibpF10SJ4AV061ke9puiq11uUYVmjUUl6l29jCzZrHZGANNSJ6ADDdSRO0n73SETPn/IO+jiEYQPnY4/ys1YputhFU4mUpAtZ2mfDj6a+qo3yTLARSXk/5LO0UoacMeuqq/MXqb4DnEdlV7YB1klWRsrTsPxrSh8HCT0fM7MC/8uOEhV1hLZRb7OMB9CTFYLqSO25O9dz7SVBbBAYVEApFvw0sFu90ZuHhGVvTmyKPiys5eonAiyhr5faXr10cvVlwfift9NRU1MNkeX0duMZc6Y5RZgIpGmgroYrvBU7hkuCl5aaLZhnunJUITDieDKTIP977zhjth6ooz7ABfST/Nb+GCHeAOcuHWBFhVYQDC/OEfaMPgS3Lo1VcsJCOCf7XxVSoim9bcsrsTVOw3UC6KJfs2fGZY/EaFl1yOe/e6lwTwPWXGp27nZz4a0llct5tNmImYAT+8zRe47L25hy222kyUVUNALtG2D6wC+VbPJE5NGCEZjscszgJl3GON1I0tlRlrwrO4S/V0liCazmaWte4Y/1U/VpFuiBjHxhtVa4B/7gqYLj5/ZxspcJAko6Y+iUxKjrjdy+5ftNJ0Z2pg9nArpKd63iGrgk6fWWT5Ne4lRLoyJJGCjDIGUmLAL+ykUyhwYAHFnT22jfGgmDTjmipPrcxqgoniJpts9u1oZ9xg2n4zAHyvj95Ky7O+ghZNpfN9A4x6IqkxjxSDzYTON3wkfCx3uIK/tmuUZOM1OGiF4iU0pc2OxKyW+upkysBc0G6NSry25+59zkTw+wkeHFoFvTJ1I9Jjc8UuX2u194xENbZsOV90wT9bdzUbx+2jxaFq5YhEawGI/riC7irzV9j5oC8Gg3PQ9slkNJK1ACierkYTTYKaaVouWHpUpfA3PHyn3fkbzBm3QhMPDxfaFFjIg3nqg+7dJHNeOCgr8mFW9/eJkpmMMoSgiK5KEFR5hy/3sbkuIH0un2id2jvsKkJSm+BOWLS1KiUa75D7TnbMbNMKaZFzXT2A6+V/a8Zd9ifDiJJYF3Brr1P8r3Yyl5YzcUbdtor7WFcIuLPI37de9udQyHggKbdnBZQufAVTKZ+ZTzmRbNQsVjspahhfSJMypaOhBERKbivYIqoMql62ofQ425F0E96/HPq+zy98Bms971a7mvbK6Y1C9jQL7myivmWSD/QMaVFCto1k9ZNLFhttUhJHSU9fwKgrG/h+/wXzxRLM6TxFSh+3Ivsz7AJ1zCM9vRDxdWFOqiTc6wTTpZBg+ahlCLzTy9RW6Uv6suLfC6fWHaKsQLbytGHyBVG1bLFwcs20r8rvJPU4wE8fdm8GTRig6Ss2cFd8dTOHvCwgEEwI3dCSU/wZhhDht58MqBA22b6iS5H9Le/qidcgaoSJehuxu5QP3Hj2ByTNAQib3izJHSDVNzDF2gtMBedp1Mp6eR1XMYYqCv0BIsa6QyjOedaAxOg3JmZ16mvMdvMkJiznG/+MixxyMrQzSBGkDnRAUMjqSpxIms+My2TMOwbDrbeePaddo/JkVS5r725tVZK/68q7lQD5Yf6SUpAnJd1xyiISxJllvGM3GlApOEwBJQsZUterPsxf6AfDTYuv8EvgqDquTG5B7/wn+IAop7XkMcSHmY3oNK+W1+aCb8eVsQL7dXWsyCa10ABCJKR1yzKQrGeCeoMxtOYlAytX5krougHCd7wEPpYmT7y9WrkUdkrDK8R7qk+v5MdFPFZGNSWAlQdXEzOVpZM2lOuiiPfSuotAIHDJYAP9sYVWIqBCbW3v+v4A19ed7sEGf9Yu0TuWQO3kU9VtOtejNOYVdhBDiOlANeXiPXi3a1pblxwjbogPCQWiWNW/NnJSoyRY0pUCiHYPHqQXY2uVhi3U9rSMMsbSONhMH8pTpSTB+Jj/Ii4L6g4xopXmgagZGadY+sg5qK1yeSgNgmYzrLrM60s9DdUGrp5aQc2CsOc88XLwD+tBZ+BouRYtNA+xJvCKxjTuOInnAQX3gSw+NzhnY+6DQtmd25Eh1lA//6FJaqmG6m8PqbdD0qqTU3tyXIpIoi16PE44tzrmSn+u4qIA2N6GNQzj+4PjieoF5xN6mp2LJW4Ov0ySXSdUAoNCHXK3vEjh3Fmbvh8LkRjNtFIl5QGw/0+rmDNsqTGB/UDIQInoBrKB9/rKqAxX92uqitYocXdVB00saAm//ZIiA+w6FIO/emUtPSfN6DCWWK8BybMRXusfjSyzHmMr6rEDyxecI9qPT9cfd4PxtnTtcsVH7v3xMD+xFhhxPHGgstqcddReqGMGfrD/Ep8UNj3LT01Q+SVQkDJaD9pzgPE7dOD43NDwoDdwnLz90V1EhBYBChw/joG0/K3/sjNy6DMoyrD/Yek6+x39YvakMeDdRHjcg5cWaQeUcPbjFbMliJoIFVjlrorD4twCSLF5OYxsRd0k5nyRw+ilFERa3l5eI1IncxDftMkLT1quevNR7ckFZDPFKLeJt8P6/1D9vXF4TmnzKjBxVvtP+O60ZxdzP4D538SywLMJ2QzBxe5Fxh0QlUKrr3x0eq6wEQG6liGI+zNKHBUu8jxFulYoG/EWyiUH3xrK91neuAQUM1kmLBP42tPej0nQT21BPcqE2VegJO6/518JjSlUJP4N4RJ7jG1hjvPWia1emqRj2M+wqKSSE6sQTMTC9XPXqhzHT2yk6ZwcTen2qkU3jfOCC42TeLCiZmdGjsTjarzRMl+p0/8a4FygCaqMLpDVNjSYd3tk3aAKTbWtIpY/HQ0ex3GuBwFTH3VoLPF8AQFrtnRqCYoniGFXa/RASDJJr/qFhMrnhhdqG5Y+Obe4qQkdV/3dmq8z1WK5uNCDe7YaOHjRyRGtdrnEt592AcWSCJ/8uIAFC4kOoCtq5FFeDbkgBS+2VmDD6GlHEOLAU4D+MyQnJmvj+LVoiT1PyxUbys8SkhSBcuWHgbnzpfTCHi2IS3Fy8Ik3J9rCJK4FnKFq1IxRu8bzLTPW/Qi6SPCBhoaT3VnTrFfod35J7jEn876teQs/3jUpssEXQYEQfgLFxxDx7MUpsEIFZU9rNNI9WehgHA8kZ4d3/YmIPLtNKBviqFI4xdvPHHsuAIYXM2/BUULSVP014D3+u3E6nc8YfCzXXN3sVOlh28xDeFYa4dWrJI3cWUbne3nFE8bHWk9oR0uS2uLLYPzle6T0YgRTB45sN0v1Qa6rLf+sP41hMNUILAp6rVS7rtK/wGafv5PIhEWobp7F/w9MVVFOUpc9+NYKIUmy1a02h6HtovJwWSm+L2Vwv1mDlsqLGLTM+SuZr7Z6S+1Dfa6XDHoMxgfQUz1LJMRCgs/OVWl/Im3m+DZgbLurdl1TkRB1TSv/Zglp1XCHpOyu7cymdOdK4WFC4wxUzURKdn5oYl0AfKPBZnjY9HNr5wQzxitk7T+sCZkeZSvDFD+qvj8bxO21MaWUi5NxR7zlLqswJiPjK8AMLxE4wFSAYgsnN3XeMMYtdZlEVSU79yBxPnXIFNyS02dy4Y9+6oUluXXkRa7RYDTNu2c2Ak+WdP6Xtajs4JMzEVgCQuQ/i/tEMnTKXGlWOIQ5+L++hkORpfEaZMe1xTFEXLTLWSe04Kb0o5+4mzR69oge/p7kptvBvqCgKfXRJNyQybwgmJwCrUJX8qUXHw2DyIRjsfgjez9uyZvZyph7374WL7pkC2O05ijQrziGD34CJupyXaMqmhUVe5bWJaxnxppwrpB8ndeT5jkCzTSggC3xqlDDe4grofyO2p9OVNoXCKKnnGqy93fNnW2Q9yn91iHaUCvLEkqfeHOgcuIJ6rqd22ov9MS/dnvQhNnJDZsc1EBR6CC90916Da+55esCFoPysXqF6ggXFOxFuIJp/RRyxvpv+/eDIvNgHCBxjA7IWWj+v0Ghtu4hto2T1BnGEKtXlT7N1ynOsT2DCBFhrIlEDJeWftnZu/SQJ75PTv3nf87H3qpA6K3WuI8ct/87Ugxz3QPxRiNSy/yo/esjO4kns5n6hX1b9t615QUEfRBiezYfy1Q4I7ShLGvB9L2bBJdH6g1fv9Tlo2/QorGiwE9H27nc9z6FbcFZDeAyPzJ+q9eNzYPRWTNB4R4orgtDBohi3QouOKJKfmSVrQHgrNJ/nzg8Lw1Cis7x+Sn8r6YESRVTZVBbHfo4OZ0ui+x8CI3IdU5dO2GjI1dbLhbe3+E6g8XaY/z0QuEFm7nYVm86VTL/iW//Rf1tl3NsUPyut6mNrWL+8nYYAUppfMnfnTiHjVzfecWphUO4vlevs4rROw7EuFmO4RMxcjuwFAIjpjl9dw5xL2CWrtxtLBFkBGbWpIdeK1ZQ0ekInpV9rslrZLrGH1N49dPWY0aeR2jDI0cX65Ovd9acIRDd93R6i9m78yu3vPxHhcKWFP++XgaVadodFHlSP8Eb3Lo1fid4fdrNkaxGv6sDostt2nBxYBE4COxviO6pNtkN2/WTCmNPMJGw0WLkwnyQcG9Dihh64v/BnWg3GilUDaakx3X5fChqmcqA9H3t5hgeYTkNXFGU7qNdmLFK2z4S5U/yt3UTX2eLwVpqn/gQW0+Nyp/tfSGUU9D07FvbS5wggwoiHDFwVPHR6Y/njeKVz6nrE5cmwd8hFy/8IIpN57Rytl7CnA/yRMpGo+JQ8xVCTyHedlM5SL9WKs49jj3ZoGQtZa55E73kr6hRw2bR0lREcO/R1/fQFGfTn/PWIEPVI8j1kFB9UXSAdmHlY51479Zd8rAhhXS+bl+TBqeDbM+YerYBPx2Ea1gTY/lR4Ai/6UU9BKBHQ5JxeNU7eqkqhPipahU1QeSkf9A1hMwOsieRkpwfQF4GbMyNfHOpJVC4QgCGJA9ToLe1QN8Fttu1Ul+XPisqkVJvgBF6ox0t2TctQfEL1js8vjpO3MBbaWrdhMiRIPRrNZSeDH9NeZFH2aRSXJbWNW9Ke7KvOlZHOTFU2aDzy8A4TqV5VVtOpatg/Lg9+rk5Talr289gpXXwIbyx2ZvOBvrHRqxA/dEeVOjbOpSFqcdj9wLE7XgoSPQDX7MlSkAk45u42+kFbdBuKtAJYe5wN/unQcPiBDn+tdDEK8ACh0B+yWk28E1agOtjD4o7YdiK0f0Z2t/w1T/V2M2lZvCSZ61YuhNSzSnbJWVO/axZk/f2MwWUjQvpjMRf3xKahk2ZYmbq1fQBam0R6N/l/YuqCb4sAEEGMPiw5IKeyyLJ6GK5t94zxZ7P9Ogeyk2CAGQQ8aGQLpEItg3O7/oan0VQb+K3SI82wcEr3sSFxROWJjmTNdH7ZqSs0HSRM/3JbnSGXHh5qtUgzrrry5hKuytCzTR9n76hi/DLR0Nwb/4PhZIkKyF32aK2gRubBPvCTSYICVmFRTMgz7LPfB85mS56t6PmzQ2ZNmSL5d+vuSZRYgqDJ+DbTmjA+FNLG1xl2LsjX5NJ98HjFvgXnROVRNzdylCJExV5dtMgm2Q8Ju6IwiCo9KMvCZvL7+8x1hwHNjOsks+5819KOL1yA17RiWklFhTs91yBQh53qu9RzCQU4/X52SUb7oAONs5fHeSuzS8JKL8GCn74FSuWsZ+1DhIyxsVSUy713hnWW/nzhhG7RAFlmgGlgN1dXSIBMojF4xGRNmRd6AlkR7RUDawdaKtHKjoiwPSO7EtN5ChPMHF+dSrks89UbUxxvd8PCld2GoZU8CcSGAgXZh8NHkD3RmTR8/6ecjHBvV7h2OlnUnPMbgO/V6dgMld9RaotG6zXtCixZ3gAuNPEqXZx2K3oYiQG/wtPAdlAH6yZvO434ewqEksc/JAwPe7MRBIv8haD6djHCuVHevVUhRhxs2Qsvvh5jKDIhI3LJ6gvPGXDbpdXzGkCunevt2giMIkLttX9uOrw7rQDL51MvkyuwozMziNPW3T9xawbQMB6bdZJYu7V1eBqWhna/vhq40t6WQ0tYCRPfPRauruFtT+EMYmnFb2lop1THmt6d9FSyjUzTpl2zsGfKJ04+yNOZGqNruy4ho4bd4W4d4UuWl3TyywoHHruRFqFLHskbpqGymQ4y8z3tgM95RgqufFvFHrlnMItJ+wkmhf1+Q0MSDV16CJetvnr/v/MId0dmm51BsuJAs+lJNxoy/Ae554cg9kQxN0W87J44AwAZyN/WLTKieRsZY8sWK7YdoaV+cZtPs5/S8WU+HewjjO/BlnGM2r5l6QALp+EtTOmgLZ/JZu8f9KPKCGSHowZPRXOZDoMnUEusbqwzr7rO1EmqMxAM2Zf5SM9qSk6fVDaAythMQ+2ZOUDcvcfOx5TQkKbZPYbPuffwH2F73Mhx0akLvsHHGwy1hpiy32KVcoW4LPzjwULYoU40/Focso2wUBIZym7zmipLxRO+sT2IuAqf6rzkG7Y0OzGtayPfyhcF5GgxZ2NmjbkWC1gelsxLtlI/4J87DFGcEw2vyfHqlk9ZCRhuJJz9nL7fHe9Rtp6Jqn6UUBIF9LVA2pJlLQ1MbBp7W3YgWhHF46kkAGRY0GUMk3RlRCJeAkaqRW/a7cazZdbR81HkDYUimf6miAhJxj7x9t44bAjY1QS8Cee8aUcVKkV2PSElhqkerF3hjkodwmjsrb5Q1FeRWCT7QDQsbDZApM46dfxd7l0gxc2Zn46KCIezhLAmEgJ7skPa1CnXPw8OWQx3OwUji3nDxhgG2bBgrv37LcGCEGLzN1NpKIAW0l8P/7t5jD6g22tiKKlYO9HkWjvkFj5RlNcQbNrerkBdezgHlJaJ7GP/tBMnjCuwabEv3tx1BvZr+rVGY8XeAbs3NnnYqW0zHzgt3nZ/E0z4q8ywtNhfj7kz8mJ18OUfwANFHg4zjdoFxAAEyHQB/dHhP+ypLDRI4Xhf6+4X1hM+iXJGuw4xnA+JedwrvaQCxetYaiIS0WvMZZVZ4D5ISFTdFwcm6S0pVpXY+zoZgTIsKSsB9PHo/i1KOE2B6eGfCyMwHn01Jp2+665KJi6oRcfmIjgYrW7W/3JxwzVdq1O5wQKxIqGdNO7hZCSSQtaJjWRB0ZWVUhKGKxbKEoK7RHd7GEp+Ck5iPrTI11IZAieaCyKj2ElcVli2xxneCG4CaCDbGByp1xZ3493Sq3UJtaJiIuiUo729U1Eiy86LcClz9leowM5rKdyynOl9ZUyNxZyCswwrcqELOHhhucHDJg2miL+3er7XxRl47G7OL1ArnuQqGVHfwNHd/aH8DhtsCxfqElGcnLvlHzSq8flBURZfnfcL1NtVaVu7yjtdpE9SDeYf5D1ByKdQMsXC9alAf4j4Nw+tHuDSMWl40es273FkN3QCfBMEVy1qVNbOMhFFVLD0uxeXNHtEVtUNuuEW//yAVwD2ooLx9bj4UBKw4K0daSWhyORcUb6bVvqSxzGXrK3/5k9tIfVZiN56R9d67UDGpyEnggsumBg6dT5tZC4Yi6G69oaezzZSAcQMjL9d8CpIk2juvNQXsflFLY1QDsRn4PFmIojLrseJjrWT4IEGnmKLKE9zhAicyXQ7I01X+ZjWOW0FhImCDDs6tDaBqLDbOdVuOul4NM3FOENSiLmusluDH6dFp+davRcwD6xpScaOVQ5ro4jALFyaqac6PNyALv0wq/lbOeKSr6hCNO6qkcsMTcmwubz20vdMLDU5tqJu2sRV3E3JkFxGjNHh2Ei4sZTNdvCzOTdAsjcpTBreTt3woDKgjc1vvolCO7qW/DS1ZQwkg1aiyaSx275ty3JxEgXNA5o6HcRViW2BARuorzMUZclBJCDIgLwEcwL89SkF1dzQ2jgZddM8JiYHp34pVUFLVdkIDilyvxEmdgeFpOrlAP6zb7Vssuv8t8QzPWTNqIr+dvQ0B+bRR+XZTG3e9PHxIhCkOQPAzggCthz4ynKBKBewUJQxdgzUYbKZ/clBpFjcusWzZOSb7pxtSo9f5ofGiBuTZyjK1rGBt3KYxcZlPeoBg3X0E5y7d8rUtwoiSzYRiy6TEX1d7n40Tc2VvktxgG+2a3BkMHAydSzt/yQa8OX14EL4fEZMgjfcrQK39fqM2fzgmghbwIEuQ6OICunS5gFVKSZqY8vtyFB4mPIrNJ7V5w7spto09yJ6ypoaky5uN+PJiZBccayXDygd+ugJ+D+kYm92RqLaSxOsYkNBHPYLZRFzhwaWq3SOBGr1MWRpPTXPhmpaCOLKvgs38+ewAwYZldeIEawTDI0Spwo3tmpZ7+zKwRjdHZwOoT0Wii5ysdQBvpEZ+isht9BLV1RkIAnb+iVIYtt7EBEee8AzObDNV2fnIfQxuWvtbUVEa6GPClo3c4UOKvRL7yNBBqC+x2b26//fgo2SmVnElI6KYVE8/h7iuvKdsRrHuIFct+OfvRLu6P8DpSs+CBz4/t0lDcM1TLSrbcne576PrewU/rc3IwOXUVH/nJ/Mbv2uo9iHJz4Z+2ouArI7nDCEZtP/pglEA89Xeic30LOdtBgKFET3tftpQPf7++zg6sJs+Se6V8whInfozk4whdqlXqWwAA/aeA12xRHROKERRSeMsmi3xmXRy7wHqOvd5tZw1vLQOduJOZicahoPJx7uVVm2Mwe0ta30bCSPjZPYwQeM/itAy2nkQlOxQLNqjcBPUoaOfwsJsZ3MRlaA0daCuQZcJfXQFcywzvRf/18GjySmYTAyooaLcBcO5F6OINTFtQ9Y8gxXy8KyJEC/JYUFpCENf/ddepLyRSvMb5wC+Lc5RZkoNefq+kqdu4Io/3btCk9AswKJFV0NFlbsz1lrsTp/I5mVUubfE7LtZ27wEUmVekfxoW2sXX/NtrUD7bKBd7s0PhK7vhR5hHKUciXl718jWxnZ6/AAo4J8T4Ax9Et3JawLhTYVw+tR/0rLBjGWGrBMhlcgogGCULlqG2oVYNyOuAHOR4rEzQ3DC53mMbkSvJlwBR+vRDxcjhmscl+Ah162vshGsfWmddd//MwwQeLrq+alqUpSPAUGD8klsazo94gcXSwNK1wb7T5OTG1fYVYOiE5E9Z1wUeLJX5X1PoDRttchZ/1pXjKWbgPZpQufnmP41aVvZPxaWoNmxWEqlnDW6/qmAEMrP5/XaSGXNRmMwgm2XF4ioYhPXF2DPzherlIutoLbEiI7ZInEf4uPj5XQl/95Fbq90Vk65/2m8sSK44bCHiRR8SwATWJzPW87juW1y5wPi2iAVbBr/VKdB0NRKXXQjXFTnftobNX0WPnrzL8/lrJcm4lB2VzMqKOPrcAts3PBrviecqJPjRxfes1nsa7lOTVQMYf72HmorCVduDLVXTrfvsRTPg5t5ISB9wbvm+2G+RI07L+OBdPBh0tFUgdus1ooOjYmybW/SRf6Db9WzmyhqbJ50rkKqxDxQuNKEVGtuiLbV39RH9Zqo78zKrV4EHsVKo2zU9YXz1xVjIjJg8mH6g93k0MDcVomU2QMM1S6PYmbLlsZA9bux37O+xR77lpvSW5N4nU6E3Msa5ktvz7/dUIHC6nv1+bnrzVPaUzNqFUZ0iPeE5HewgbJAWk+GpxpQP61m/6N/FSK40gPCCkndhRpaCRnsU22M7SgwbIXIwm7ZElYU/BlfgTJ/oRtrxlqktYYDYzQS+Z3MFZ4/UHf0w9BICmyCmc6P5fASaw0zwViIpDts5aWY6Zm/4PhD8/QQDu1pNgNW5NO65/mIROyOHtF9QSAK/ZfVjwnylX4T8FJpUsGrG3v3RkBOFZmg9IUYapuSkJcfLnOib20cN7jLfF7dNlnZgibSAgl7Y3QiEBSgZBzTBV8FdiRrFdbPb0j0CAel28t3d6bHLL098kiVKfbKdpY6L3+qOu+cXrApIgNNrR6UL+/ZCwkIdnqn9rw74+rccoV0riobaOy6okAaqo1JwlbOBqVkjXaZMay8sx6+jH101btZhMI657983A6tptKqNvv+LCX/eQvBNsSwiHiFjTotF8JYDhUQMrGm9jRJlFhrDQ7Cvdhh07AW82CsVWcvc5MgQewlDSr7VPKcQ0ouRizmbDe6mjy4IFTYT00U+KzULuyxIVBYE++/xlCQZJH7QSJXdFFrV1L7V5lYp6nTzY6+LnrwnskwTQ2unIjh2dcDx0uBFDPGvF1Ba8YNcwFneYipckR+u+I8Xu3R9Kp+cfYR8vxYKGRSMsDLW9dYoAH8eFhmiMx68uU6NKO8ZwnyVDIR1tJJF7iQgIgVrPvzEToK3zEHMg3ALcT/zGlO30F/sqPaKqxpNRFj1G0XDwy5jvqevfTZWd1OD8prEco9IxxSP8FJS+M1wAL0MDOZuUtqTfEUxy+tjoZLeQGmQefZGb9TdP4jnuHcQiJwXT+MpUiSrXOe37XqZKUiDFwcDiVk9xusdJ9D4JvLdGgb6llc9ZlQOAuukOJNUXqod26S5cdYxx4192Jq8HJOnPHNjD/Gsn/1bwnhyi4pWwaCXMi8H4CMTKnzUZIQjoOBH9nINaofM7XTq0mgO0kz+O+xzCoKhXGbvmHYTKpCw0GttdTSH1sOb4mhEkbq5+732ty5PJwO0AgKYaWuDb4W5TiEzC4CjPw31PIoCPvm4d6g6Q54a8ivMKd8wQJczZAT07131dZwrhNvTXxpgaNbXFsA5XNw3nNu72nDJlivy3l7A/t3wEsG4+uqYIFgBvANBRG/RWF9tNoI6gh0GkFNmtJU0tnwsBU6cTIlRn6E3S7UdiwxxV2WZq8ArQlKpwAFRQ/G4WsuWstT3bTl/4q5owXVVF1Ez1Hh/ij2U5H++RcKMMDKR/fv0/BgtrOzw0/Pewe0g8WTOUWFgd8Mf27ho4DvHVJDEKcPL/s6w/11/XGe+H8cdOPfA52QbiYlRI7YNY9//N/Y9fmTsJStnNo3F8KFEfV2XoN/gZNPAVCZHsRRyQ4GCVMh4ENk9dv8mvVNkblC/1VB5NXqw2kYoSg5eTQEQ0wf3TQ7WTT18WqqxArBQBoxnnv77X1oB4yaM9lsnSbemOjKeVnlMGK/2v2q53cNz8Y4syeQ/jjiI1PH0bK+0Gpn23YtzqrPfIPeyV7KsGq5hZkyNra5zOqLa8DdHfN3tS87yLcTaIfy79LmSm2xYatgL0XcF8xcst6xtY9ujLCqruOSMeIrGMJHdLI7OEXmkBL85ixTSnCsGDUhOHKPpKRhguW45uVWhumi7D6ei91hAhjyu1b597xAzwpGwea6qgOuIcHVsg8BtCLwhn44k0emJQK37o9sB/6hJQzCjw47EeB8NchY+3aB5td6EtnsUHF2Ya11KpAPiOk2vhxyiP5crwkJa2zbI3izFTKbMaY3tDQCFMTLkTwx78uxDGkOa4JuZwvg0fvEpG11SNdEbgNWjqT6mucUaVTEZZ+t0V614dN//yBjffzyAzxT4OCazFn4c1UL5h+9V4Gy3zgWFmgoEZlq6Sv5Zfw96XnG97tCj2xHgrqq9oeNswe9MnFrdxL1GvFSlMbepfqAI2kG7Yul0+ADXotgWVPZdhjzRXhYsyBwiJ5d8k6KD9Eu/DJGWz8g9MR6b1LNXzYhS2cX3fcPltjKRVhlEcPfL3l4PSGquX7tzfWD94KuF0IuTUng4Qka0L4J2di1gK3bdNWZ0ZaYXhI6t6d/66mAIBeCSfO5TiKZGFhnc/gJgjSks6/X9oC/UiOyFP56YVESkwNOaFrDGkgqldoiqByKJANdremO8LP3OWFduD6MLblkpTh7TMo5vENx08dcNR1ZMD/YopO9GXI904Mpfb1o9h6YJOq7zPAJnosaZpRt4kghqVf+caFuDqibhRx7bHCgyjcNjEXTabO14tfEikAPBmlfxpPpIIuyIH6FViFie+aTOtcjUnJ4mFlxPM9QRgY9ZQ43o1hq66SkmjFwbeqNqFAPIWhh8vUm4XZgqjBjvqVEO8LhvnBTPwTKPUHHBtJjSTgD+heHIg6STk03tLVA2Gcbd8tGI37je7JLtDjVb0YpS2WNKcK+uZzJYJNceKiZGfkukKRtJgGjU38vQIbLi/x0iTCKl5SgKKiB1JrWWBrXjgRSggBvCBkgHx+FTR6W+kE1Y+vKSwbjpixQe2frbEirEGAqVdPfUKYXWldLjSXY/sHEBNbB46yl/4VI3CWlgeqcUcc7erE3loBdESHKZqED6JIEO4EDqT64cvWIY3BpHsn2W4/+ttKBeyUb76CQFtWi1skZTlmCofP5S4231ZfI8EFVCQoOVBsurtG6U7v4UET1xymND4Y+BwpPK13s1kOuQq9XTFrjX0Ziq3ke08BewBiFCUHhlYJ/VBknSzvhHFUomhTQ+eFbLIt6d3/sQikU0BRmQ2BXkoOyFdz5+8ll1XegTDUSWtlejYnsr1S/OASWFmygiZMpywVTLXOAEKKrecEXLytBgJJ48I5q/SuTL27rh8z06rT/csNGL0+Rqdp+JhGH7x/6GdNi1E5ePH7G9c2b8jTX9kANtgYtsgUEbbWHzcrs2YT56j+U7PzRkDwe/1iBY4lgBZsng9p2eiTIqdplMDc/afbx5XlMBJYlsIMTx6lRInA8RjKj/Q+RS0uPs2YJv6dzjYJsy0v9mrF3MlFG8XQS8OZNMTSgM5Qr39iRLZsym37QAka0ct1r34qUouugEqMW84IntQUoDonz8AHYs7NmV6B7xAMpLMaBzfKCKiApRJT1ozPmBSvRQ5OO3esH3DIgqzaWdh3W9Ds6hHMx4wE2/mibuwJkqKCa9Cj1aboOQGrUb/QsKu7AypzPkR/Er885G3J9J9TCbnWxWkLLgBBnyARY+fUNnWJxhBkp0naCfDr5+3wqevMvWedD7W+bIesG28vvZOKRHR5es8x23tq8lFjFTU/AhHATJHRtRgzEjpmEeTRCrRduPx7MgMMqzCMVFMN5zlcw5q27kPgJlo0iKRba2cpgcp2MmaFPFo1Ou12gY5waQti3qnHyBQsT0a+m3XxjM0Gv46gjikz8AxJa6RP6GnN1PhRYP6Xws/RwJloo+z+8q2DpaHNw5kMdt0vdBznH+rUkPuSoqHfDVasDQz+1+EDdZLcgR9QUmcTkqjoFeuW/s2OxN7qTY70PPcrb7Q6veuVdaZzDq2gpDknFsI6jWF3h4GrQEOpN1SD9A6A3zW5OJu4e6ijh19V/XouaJbwEHy6Gl2A44Acc8iFzPcqJJJ+t4rp9PTdMkcRlRLZ8hLgvEQnIqDaqOIfs7oOl0bsrznXFDrISxbgzdSaDCVj8rTwtj4JzEE5qVFTqebvAot8I+cBkePywux8jFr3b+CRzcvNOtFf8+/ywrYT0DYCmC6kWUk9UqqvP+IbR6zwqN7ymj3QIy87+v+nD3av4/kync/oqaN899i6YzwyRnc70HM5pQUDN2p0Gxxt6JpGfM1A9dSzpcV8Q/ra9yeDuffbJirG9orKsqy5m35ff40WfHEdyaDNFUdYco/GhUuQwm0bw7Nb9ZaQOuoC+eqraS06SsHGdTDTGwyGOLOWFfZxEVRu7iJi6cZKzO9wknlCiN8Fw5LFgoXHR7LypYeYC0Xm/yYilOMpiqlaiIhgpcluGz+EyvOfaBENfMZmD+MqkKYp3lIh4b9hvfqtWvPb/TMeOJK/3zuDlBCVjKZHgu5oq49E5cYWm4j+5JAFUrwnFzww2LU9K4H4uQqneUzbSuihBWmVj3uj7ZmwYyudiqjrW24hGyle8EhSYBJ04Xy/1ffqtepzylEvyfuyL04u4gneEbtfrBiea++3sruz88HbaePqbVv+A2i/5H7rUUmXN2xnk/vSqraxfQcI9fbWVmwAz/wqcUrLm8hczdyWxXxOZplqv6jg/RfQ5I6tP4gYfQ2I8bLnngHVW4pzOVF4X486q3W/QibX09ww7U4NgkDUqpOguCZm6439KtEjzMDoh6YhS+VlGf5uHW3x5Oz+5TcJdttbEOk/TkcxpJanWAtLI9NFvYKr+Ge1Sqx/+7u19dMdkuUboKjr4DxOg/rmaSnUIdMqaH9KepDwuArnJswL/mWbK4yhFvUF/LdVYVggANwUXnZZFsnpBUK1rzJVIl9xEfhYxSfxaM6f8iTIDAz4h/gn/Vcn0InqMsqAYZ6LBW+QYRyCR56wESYtTlJC+NP8rkclk4qgRmYhygkcga7wU2oNBm/K/3hvqkkxucb6H8gidGdZdHs/W++NSyIwBFtyWFVB4Chl6gWVfUMhrd1JYa+EfxVbN/y0B1yFNdeOL4QeTGQ/C/VNVcaQsqAu3XGaAt4bBDN+XKguQb0puNymGzlLi5GrFh/zipEolg/ExMJhOB8hyf82XxLFmeLa8qwoBhtujVi9uZ3ba6usu5m9ftIToarohUCocQaY/a/b8Z2k6E7Fq9xVVH/WciGOUtT4dlILPHaUrXsUbQrIVeqUc9t2+7qSYr1aJmWpTImeMc3KtEXQORCeH66L4UJTNinZKpS9Q0wJWSkLFtAMFMRU8QCSPSpU8QNsVTtkSF5o5X1SFpOwq5DsCFR0yGzXxPHfuwtw2m+/cX7MRIaJ2IendC5/ZwXSDu9VdpcVoQ1/yUPT0MwwQkAFGm7ZBCFUWcykfsPn4Eema+vLJs6ag0pyiJmH49/sRgWn2AN5HtTI+ls8HyAcNtKDCR6zcdGuS9CRunROIgBKp9nUpcMr5jnSLmMKGmXRoiURWGUembo3c98PI1qYvh0kjrKnYU5mi3o0DdbNSm/73N9SZMCYdw9xq7oKmFFnwUC4T9p0dDEl45NFLV0+SbEmLSMus40QHiSuGV6QgXLzPF4MHefItdTDhIGN+pz2luSf1CdnvLK40xr2KkbMxxszvrCG/XI5gYalFnuLAqGxGT66DfVyWI8RpiYVUX2GRCcYgRPulz+l8R/SC8NxiqT/LWYXS9N+BADA912VeKgK7mvDY73OWJwumHjYgDZwKzDMTMjPfCuCtOGQ4AcUpC0KRvJrqvD9LgA4Jo3cGWPCyg8WgcxUOfp5+RrdABPjDqiokT8/XhKUElZe3IgzK8BHkNYuhIN9XYjyN54ZvTPrT7EOn6eaPOHZehQ2OhrJDhGejeFqnlyuKiBA2aU4Jewkxysv4o+h4eBIB/3b+IpnIUgP+vFp0YxaI5S3IslurxH2MmTf5yHJW43CgfrbSEkM9mnIA9BrWL2dzj4qgstzRshKbqDTmdVLBr8c5PpbMsh7w1JR+PyNLb8/g3EunccFrYV6rMWPcvsCNsWvT3c4oZv7M8b3ZDgPz15RnqC8J6kF2EASjL2BYDmukfheWh5ULh7Bxhi5uQfgQC4BWpl2dFMMZYMSgLquOfAqRFkqHYGwSeP/IQB5Por9U+7GyJydBlChDUGX0iY5c93UlBHFS6fBTkknL8UgtoMlLjtLW6/L6d3XUfKgdJ6cas3DEhio0M9BdvM69bmPsXEeub00IunBCM+gcB854Dbx7pIc1meeT+gSvgLlmzLuZ1Ip1CZifEeePpRixJK6yrh0a0hC5DlNI7BzpYY1lh5yhzGg5f9CVxbyd7Z3sDDtaQC7SAU+oYsDUAndXmcMo/ce5R662wVHwTpGWQzpx3f9wSU36Ai/cVu9Ho4fGWQBqscrfsflTy2GO9K93Wg4aEOCBrUOITBCLy/Vsj6AexZJSi458Spcw73gsNd84J3fq/zz2VpWu9nwhD4KrzdmSdlp3GAEg4zKa374H6s+eNSEyiIKJ7fa7NCq1ZJwqd+qVDst7IvsOVNI5WTH/6LwhnQDeJquekeSFbfuObgxfcoKP0sxXeeuUKUylfZCubbofnCNMc1taL3IRA+aWeJB1wtHp7eHMNlU0QuVEsbXXSd3MUB6yXZSXYf74WXbz/1UIhaO2FXLOWOZJwvswyMpPyWQZXoyr3sIm52yqHwuToVUT8Rc/9FYc7KT7hTMX6h8TfdHdNlJE1rM1m3qx2eK8480/VXIF6xzwLRG3Bm6bix38bD/k0vthbhlml148A3s/NDW8Kga4rQ0hQVuTsSCWqACbSGByHifQs+eEJsPCQDlxGdBffcd7LH9Yp39a0VC7rSYuIzLOo/gDXTCGvNR7fGS7nwKrUp0E33V8RknvP5olmlCgIOPXJ6G+mX+A800OVhzBRAoly12+LLR/Fm3N4R8QjGCh8J0zKhL3Upk5L/rNI0Xu9JvFZsivHW0e18QQfwiL0uO6maTVuzsJeFp4T9Hdo9BjMf5EsjAmfi53zQ6OAXPXE105H2juU0OONEsPdekO+YlG4UDt0JqJIVbFzjXdadAmQKld+Qj3Lzyxw0j6mQVXH0s3rCuH0BTgM1fzvQYkYX+sOf3Ilv98nf7KVH0S2/G8dtisJNjgLPda67OK5pHtLsDabjbVFNgTAbEctciV9oEFI+3GEjpghpnWCyvTPtS+gl/EUEB5M9aL19qsR9hTfX7vlp/Fck7eGELCLF832EmAlC2M7U7bpjBX7ZwUZfsxAC2MAL6geHzeh+Fh87UyvRLNGQxG9iwC/E9MK+8RmCb6ZdMsCluhmqT7YLd+6kSDraWGkyxQxJkY/wRB3Gx98Fsbi9x2FGHnokrTUx2ggh5QrrziJH/0YHLS2NBZEZ8nCJtV5/+LN+18/tidvXGXZ/0uql4OtTXLA+kvEKSw+an9nhtiYyybZK7C0eEWzjEruJJZC4MW6tw6szV3UlbjwignZ7OsJ2FZ8Ez/g9So0/F0YjPhp4NhPHsfzt7sk1h7LFThh3j2UxvQx2OcES/A/RM9cJSTLCTKazGeNTdcvSRFg3Ga8lDBnfc8suLWiI1Hg5k5AmpkC2Sq5hmv/D2h0gDN3dqaoQfX99rjnIEDtN4GLmN1QhP5Lugn+tT3/XbC5T+0kURe65dfItthXEBhqfcMSf6damgW/nLAYy2fmATQ60vjd2tg7Quiqr7mNIOJnq3B2oJyedkAYHs71vKEN20B9NMSCrpkft9wo9VDhtMU6U1Q3n8Z688GzNGnwsCkP00qB8adX6HSdm0phFYMJWjdGCHsNu4NxKNE4j62uzFr1ru/PBLPbfixJxBdfYdK+yG4M0IT3C6f6py65cKv3b4LpUCyLg6aXY6UZTNyCzDxp6E8w2ft5okpsFjj+VUW5tH+L6A9PClhaTGm4tWOgv7o1IHe4gXf5dxAgqsaBgmsGq7umMi691kRvfxwLh1kPijOX+GjQbIKRlBG0OEAapFiCYTN0SDXlEr9aKlNowTgKg46Yp+eeIBzVCIaIXNFXuQnWHisdv8FxnLJydVz7JRiX40erENMuvZX/CZF31DgR7J58RuJz6Vabwc3xWla9H0WHlz91OJlKZvlhuTemB5wpXcvhslFv7OJiIGgoX6wVp9MkOG86e/26ZUSm0tcOi0zYjd0aZtd3LiOr2Zx8qEq25bA3L5B3f9APR32/zNYioIjGzKyPkETH2Qt0rWv6ibznPIhCAi9h2/rM79svms9mTtv6/jIhCXgunZnAMhj+Y93HyvIXx8W6tkuF/u4v/utCg40dbAwPnNyykZmGZXDthjC3AbRsGVGTJmyV/L+nzTvIH5pfGeEuJZ2kJfw0WNMYKzJ8t4URFEUCu698Q6UHiG8semN8P/wS2BYPwtE8HWNQsozBbwgJwZjxjPqSoC7IKLLEffNwPt2o8QD/r9MWqYknTwiTqQVfroImYJTfHN5JnihIEU06+JvkUkq1MVUuqDj5mLqWwjm9e/n6AuroUXXMSqRwjtacjJt06m3I7GkVdbtOhe2zjY5G6ITdfXSw9JFL4sogAjruxp9h5m98xVcdypEWz7pLTGZ5wKHBQstAT+sLY1NmwzDYhl6aZvHZ+B1xKZndr8892KcCT1soGM+HPhzp/UQAq6hY41GVhA3QIL3G+L0Eb5funhMp0ZyFtDyfuo3Uprsr7k9lyuM2ye1nXRvy5Xhuy4ykBGHuBOmDV81BbuWlomUB7arcXkyepZa0xxftRE8c16GlgP1tubrDja67MHKpZlBZYhcYxD5F0gGvgEZwIVSU5PMM/M9Eens307sRPubsPoKmk7z+zkvJZdYXQSy6nRMlLQzzxu9l68HacAEplUT1W/uKfJk9QTVKCG21r+zVecXJyE21D86+PIQk3QAxj+MRBzrhVYwElfSsb5EOI7ZJa932WN7HBCRmhLhKaeIkBdqroAW9BABziFThrgsPF4gf+Llpyekc///pe0s/kV5RQxHzGDU3puFN08Tu00T6Zn+MGvduZkOX1AFPzEEnr64foB8w3/34FGc7xZDpdSYFzLeY7V1EPY3t7hZXQNRpF5GoIR/MNRHgfs2e2y1wTbyHTq4Ptev3ms+OlkxG79imqM4nT/y0QFB6vrd8lJxj4muokJPBD7tZUpfbkjrWe3MCl55++AvK44eASyZGDcG2b8yayWpza3G1dvKivfrFQ1UuRBCPs4GaBULB42eKYysIwgYBL/dC9GFmvotvicjSK4qSENwEGAlVAi+TMqml8Emj943jL7xa5tbD3M6MslW5c8lqy/+YGyWiHjyPSYSJEQ3GJ5FgCQeUhPT2fH5+f5DLW2Ge39LjUt6lIecfPApB9iRDQDZJf3fxa9/MVKcFxWmgGtX5m1LufAPCDqAeKCpmhigaD43GhF1Vufck19FZlh7wxM1sNGx5qeEmtXaGx5/poPSBj/HBVIaEopjK1o/mFPMsvMUSbpAPgT0N4bTdpBRgpr0HJWSJoWD4RrVs7dTW/YLU9S3PtCv4PC2/hGBSDLRTyTJoyirLnGL2u03srCsJfD6vsB4o4fk9pQaGEqIi94mcbajfDVFwhCsYK6IsTFs8Hn/MdyWztbGX2FReAgMPBShSJmwHM/l9JbUgAE28+aSXWP9/kZ8pB5i+UUO9bB2ArkG0R6xTOjAYmwANFGnzeb5dPIjzT4nG6J5/eDgTywdHtIWUvLWU7TRUrkZ0NJwXgzDIk8vd3aSDNBp4S7OIyMvj/DDTpZ0AxgiVtPJRyQF67urTrQd47ZOfRfnZop2eA6d+7cuNhx5KESEOylcZSy8YJ9s1jhx2OITZe5Zy/ySsH+85DdjJcwG9y+/0NZUm6ti+0KMsT354A5ejEo2yFg9vrfXVtgR1tPd8EsjQdfDTZmyhkRJdfhUIzF/p9UIG+CKvNvAR06wCFW+z4MMRnis1Ipq/0+Xyp7ZMiSIlR8pu/D5txHLtiHb1SAlu5XSkZ4gnQE15fv+K7OXN3Ro8k9HoSBmXlOI69TZutAUosM93Zyq+hPNz2FCzKlz0vEfYiUFTPxSM5FzxUlU45Npb7zU3ERU7tT/f/WXGBTZROlGGGv1q2xg2qOXWjrQhLHctjHasfVo27+YzYuvvb6D5XUP4srx7fBxpD8v1/cA+LP7mhn/kN/f/M9UOpGvY08rF6lSypUQr1DYpf6b6jqEhgfgCd8h7XxzonhUy6RI2l5Pnop0Zkk0MNZxRGvy7nXdjwT+pegX3ARmO6bPbCJ6wzdfjhdBnA7ot8rPO56gx92awl2fLt3iSWHOirMFbf5lXcRCH4GiFkay3902upv2McgGaihrYOF9fr4xGxUVrigjmMaYMX01KPC/Yl+NgE9M5Z1TdlcVPqWqxFikfwvBfeScg5ES9gyfncfVyrXh/GHZJjC/yHV6Id4qiXQcR3JlOoESK9CRDpVclgH2W3wF1AxIgwBIrAKXWIa//Xj0gJjIc3BgsKx5mhq8JTClQHjDhWEoxQPmQmCda3voKzfk/tAPdzHuqdHhYeYJKgMI8smzB6VOovF6yWiHJ7R85Vx66U87NCjOjETlzM6i9xCCYKQywx9bDQLE86ADMFrCtKH0OZrwxGpyzAy/WlUZK7N4/1M+c86Vv38YPBW618x27CwkfDSabOPlprij4sJn/8/NNDDDPkdy7SAf20YUV7X/YoFqaCS9iSvqV4EKvBnukMuU+Xa8yEf1qXQ+7zNEe7HtKx+xUWxwxahjB/SfzDMe7D0lgB5ysg5Gy75ZfIH60SJ1GlLS9C8gJ6CEDnLGPzeI5CuZszBuNx6ci03+fxBrQWTeB4BFQhh8pGYZYpxPoGIhwD0uJcK0ZJJudvJKy8W7IXpeuSIvaPjBF69FaQl8UCbUy7VhCSnVN+GaoERqwtcY2lml6ya6NN1E8TeBuagq6YOY2Ljm7fUhjwTBaNfAhPvO/RbfiMjdn8dNZQ09r6qJznw3usVBsFfMtbWwBdKztJ8cAFW2FvEGoPxm5BDW6GkFChY4jCDgLay7Q06ufn1C1Dh365EBJyrbCpMia/dgfefI7iq2wUx9CkRWWJXs2fYcJByQN6Y/hoFKrIjsN+vNRMSFefTolKJ+XAVXlauF2Kcpx1H6TCmY8avlcfNyaQTxMoHxLP2i47TGNjH8wSE4Cawc4M1hSNxbqH6b+9Zzj2MBmJK2CwOWvHxFQjIQna2vp3DpLNLBfyW+pxkxIujJChgQV+/dLT4xEqx8MbRi/8vRe1F0CzTAsbk2vLTaHUN6TtTd2PRG/BN4rLOHKF6JJshxDD6c+BNH+cO9d/41tCGr19Xs64xieuMzZ6rVpWkouUJCGrLbwLL90uh4T49jbqDvJIrMIdOXRYbRj+A4fqM2YYt0zYt5jWJSMwl52QVl9C94jI1xC6Na34yDFko02y5/lODnFO23BJfmJcZcdpLjFC9GCxE01V3PZ1OV+NHyu0qgogXtHAzFYaUXsoY3hnGW22UAdkLJrAvpNcpdJtXO9Uu4VrKPOxrNxcmuYieW/l1qmkUTAdzLFyx+vXg5hsAFHN7OmfFq4VyMOqVwYiLjbjN1wvaQ4lf/+moR0oaUApaEkwOGu9C7vgLRre+DqhK5j9+QFQPhO08db4FPl0OtijOV0k7wDS7n6dSCN3MU0FaGcdW2Jv8/I41FBcKDVJtmfz4LaGr1kd8UT8tp080jKA/1Xxqu1KbRibF4FddnoQF6uyVGsfVx8q6dQCzD/2nK+xJfM+xzIZHUqn6/SkFWR0tQUTKnSOh80zxe3wyQPENElzCNesfR+JFJioss/mKD+lgVcbEIDrI9hOswLiTCTCFH3LC0XpzBW4QHYXObLFd2e0RCzdzArANM25wB8Q2fAk/ExbMQQ9Nly+Uaw6a/7euMyxn0U20ZTMS4NtbruMaSyHPPJoBKAslLYKe67Yin0ARN/sMNh+OfOPvcU3Q3TUhbtS2HecJrvCYmbhdq48wE1iBk5yNswBXGKP5nXkLUOegqyE1ZIQGLL2w5Yn9vheKKXutI7uGR2wBxb4+zAY5Kb+PcSwM559ZFLXezsT8A2L11OLvU8PCrN1ZLuqR85AtwCOVHgK0Y2dfNx4CbdD4dw1juqi2XeU5Azuh8WJdpfRIfehGRxnjY1+WYwZICQK8A2b4ooKx8fv7NFEHvY9WINvVrKD5MwJfVSwb/3v9bVT3aAR0X2mpzxXIUUVi7uufQp0PDVS28lm68Gjt4X/fM6fYUaUWQYbej2PlE61zaRHPEC+Ynmdr/aKz5P4GjzWGLi69MN++uSGQpsOQexI4stwJq32EsIBHvgg4YfO3Farwck8je/jyI2erk3qPusMtLW2FKVzMcQNcKQG8faUjc9wT2G5rtC0qR5jfbJQC+OjRWW3ex7ravDgwwmtpNHtTWZ+U7NzkspCzJuez/n9n4ckcBZeS2qCFYFf7ALtGhtO3kFpDiZFgimvydmrrJM47EzB6PszutNfE/iv01TOY6jjG9DflP5PLUhnC/kzncp3oB7r4Ghfq5madUZcBL9pykdiLRrYMqhiCwhxtJ+rr/zvuJdBTvQMFtPM3xlxOJ1bJB8L6Yx0Uaci8yV36/D6yoidkYZSJXuRqXRhkprXL5zIkVz96Gx5ExOUC1Qp0lWHYdwcOGgnz9mSiyiDDaN8QTZ//11QGkb5pQYb90YY2La+btr7DIqYeDUJu9m1+rHxPx1Xz3J2qtSq63BGgbLhXLL0lokE4lIKVLV2mYU1KL16QKdzcBzvlkURAbhEvPmhkXQbg1w83gfEkFcbTpuUCe2Q3X8JOpiB2RzP1utB0blJ3X9ZqHyBwwrNAqWtQ72J4NKNjkFbsTCss8KPk2s+GykjypHd7VrOfQk/jPsgm7hKCC9vhBdr2aSJLxoAPBbop7eNGtsEUKmFYaPu4Rt36lUaPtZff7oVbkoZh1xK7W1XPYu9yavseCqJJ/AULfGcBwlyxfH7tTN1YV7d9Dvv6AtbH7isHoblcnYMl5551I39kPuSyB75WcLu9i2c6V48lYG6PD9supCKfOVuehQPDB1ANAZZcVKdiZFC79Gs9AP5IEo1QY4G/GC8ijCxRM1MQpAJsst7u2HGEge3OH2GM5GqwexKeK74zxdR2rJsIgzK1kLZogd4DPbS6zDE0mEma0ptItxGUAj+LJpgUeASTXIJMyow/tat16K+JPrGXswWozL81BjoTU56rcMjxcl8lpbmlKbxq8CQS2v3n8wO/ol9lK3714jmAffYvfxyudVAQ1ndXpjZTE3izHZaJD8Vz9YDH+qUuejF5ZzhWOkooM4fqWpNfKfQKIRimmjF6ekKlXuEt6UI8vzLpbcQH952L4wWyI82aNaww9tqrDfSttgE9Mqb+7f8LquvG8ydwEclFSFwzaDOcMfLR9hqD3u25admS5djihxtlSm0vCVMHuJSHPxAPQ4kr8Ge6wAL/NuOl65Q0a7xrgpEGg74F9eQHJrJlRtcsLzRqnxa83Ayrfa8x9n+urwf6KypbAecHSXd8KFdAcogWwjoI3YVYOqy0ud62/3MwBoq2yUmVWInjrH8rUZlDD+7L/+xlGlMkKqVjryQhga5cmb42zcWR23M6cbZwXIw1+W8II13OAKU4pMAcsNmVeXug1tLuHDAp8gl/wibJHIIPvVLF0qDj7w1AdSwdmx012tloGYBJtwCJA1o0RxQlok0AQlrvq4gJureSAlKHy4LREb2KTazk7fiFnfjoNH/2ehnQOSv6W/1JUGaXQwYKkRM7jHfp4L9SZIDH7P4Zr0LocbcR0MXmHzlvlcGXnOrwgIvdiWlic8CRMUKQ4Bee/vANFN2o6WSQTzTheKx/qafmNvtx9fKFBcirU+L5CY881+UgSZMwjhiBedHUv1vvJBnAJD3Ru0OgZK6qkGpc7U0ys4w/wTZe27kzhykrR0uk8Nu+WAcfXCqdqZ01MlGgASupHBsWeWZkP5HbAUxIrrMwt3zIpTZTLVOYo2Tbc7WEQmOY8xD0LIFCCcrQ30rv/0d47Jx1+B1vpK8xQXwNuJLAE/JqqdUYWNzWNOXLVQbRJn94my471nxigdua16yLM+GnnLIPzOp43Tqx04YE/N5yE7pHh9aw/NLBlAQPgjNyc3jrwh6v4zghZIERniL6Us7QBZwTsU0WIlRBk0hs1RWXczip4NcBEreE9iPZukfVpH0wQo+rt0st5LAHqpekUNvyyK5Gc143vmHK8OvhXbwByBKj0RNTXKwVEgJqqqkW4sCrXYxHrAkyUCNmQxKllpEx8GdJFWFkmYbB1nRwwgnJnwKXZy+d/xiG1c1VRowOnUAVPgGOOGn3QR2jzy+OsJlQswm0nRhTSnof9A0hkQD5Vw8NHIo6UI0Axsj5NrS8qOytnJ4f6tlHNjmsKOIPZvWlxkLTuQWwgUrdfN/xjZQeNA5yDmlz7sXM1OABdK+OtAytaBPbWVcOHh2IicPHRB6J9ckvhXjnrJt15+Zui/7LTry3zSqG6ubmIG3vQf4cAvpLpMrAL2CrVq0TeXcbKdSFtw0EAJfuaUBSLNBhrgMXRhA7aLjCjuKJl1PZ+FAEj6yyIMfjK1la0VqQ8xOmpykN29KMkqtuOVvEpXpMZZRgsbzkng04a/HprNggYxCgtnUZmNJ4XoLyOFTGndIBfEQQbIUDIC+kVxw/PM/az84b93hxywBMFiSR7WL7vdtu00dDd5fExUi21a/IciroV1z/PkrVDR/+IrvV34qlnt374aI21BSGE0eJKp94urKPIbhsiWPL3N74sL47KGHjw23CaZadu/43uODCKqWGVhEYsrQ7zMt1ZvTHhaAZ4Dz9rt2Akh8RS+UihWh5RnczyCazIh8yasVMkX8bBSyzEgBtZG1yHjsBQl7MeI4BBjEiOCeOnhPAjS3G8qqMJvHTdQI0n5ZHgY3f+/xDILOydB76evCLgQm/MSOI9XXGxNZE0ahjLYX/gt2aJzY+8hl08k/3YtYVO7bhzdTXlT0mZnGiwdLZ6d+f+h14pGZhZUMGx7MY3g67DUg6SA3DHG6wj6P0LWFkvLiLK4KxNrQy901hJTREY04ESL+gOplkrDadeRraDZPZEX7II6O9Rj0UT2JTuwVIe3K+pHjaxO6piAygVq24GbU3ukcajwK0shIHEN2AbtT3j/uzqb24/6GHTo6Bjkr1MJT08Q3H0ztNneXS9jJNBz+J3mIxc6BiAEUgsGz+VlLh9WAZlQ/LspSeIqKwaPhRCxrDhGSAPRwMDDg2hTI4+cTpymtSg456s+5i03pZPZp53S11JvZYkSo7RtGYP3MdhwjEVY82FC2JJETJgQW7QjxIAzKdOP8U8mT09cK7xFQrGQjHaw+s3SWRKg+OhBnbP+SQi4Fe9BlEurbBx/tQgzr4wY9wH4aTVnomuIzkcSPkG0xYBUn95A5kTn40aE9pKmqa2oQ+h1SfNS/lE3REl738jU7fbTLxXfVwyBGbN4hzzHq6iD4ipl1kZhyGTJj9K798KEge6AUiM6HUhzc6DnSa0vyrvksPcSddKEPZWYt+fsQsRvXQcIDEfUYIzCCqU2tXeivd/j4oCxbaNq5sU4+SG6XYCRQsufhcSIQFt4xy0/TAW2if5xgRdDuNzTK1A2F9TLM8nBsWf9QPwg0PZcbSN0GEb8sXYEzWi2LKbxh+oFTMvaqWnf42vJypE19/nVoe92UyKyG6Jbx3yCC/GV6sal0E9Vt39hIFacvdieCLeHGrW3+vv1/p6f+CbS3dqZOAdWwcaOSErskZlq3sgp+Qq2cCG2xFO0TiFd9lL0Gvp2OkrXKx9hy4Qu3vFN19iFYCK8tkHTTJm+/eL99t9L2uxo4mp0Mfnc9rr/+miUVERsGcc4EPgtcY9zlV315L7ENIXb1W3Xrarj7bpWQHcmHOdmdppyG+LcPb6OExxfbWl6/T5LtzD3k6WOt/UZ3lEfNztrQHW/0H4Zv+w13iM//X7cqG6f4tmnU6uvMnfyFrC6Z1aLODsshZdOBptLCHXxPaEbaAQkFjOoJd+0rgwz9YxTaH/3+QNFVxKm2hWveoamhKoi0UYKUh4AFaPKXiGnSZtrrMhEZXpYxbkpcFVz1RT2Q0Vk7oyEVW0hxML30UgVQH4Cr324QoT4sHo48lxm4mL9bW9EOzLH+hMwsFHQuR8fP/NrK1MJZKc+eD8N13pKcLa9Uhv52GM4Pu5PtEExDPHDsHu3azQnA9CiKVqq1ENVRzWVwvNtNH6XwuBfYTCpl2cg6V+SeO2e+FZfN615i5La79ZIvNZsayKjQvIBs73mb2dfxb6Y4zZy9jxgrelMuZieHux3d5jkXZdBQlW1svlP03JFl4IFr73SK6hW03uzClBMr1Kd3YbC6Pjs3ZcDPo/PLvvWR/6xh2mS9oMfRtYVWSXm6uh+TaqdJbob+Sj4rLkyE+dP+7I/Y3E5VFsg2g1SCI7I5w5YvsM1xhjnZxTSHxwsdDbrNtRo498S7Xjl2uSaSvcClxLQCE2HvVh4lUTjs9PVoMct73ST0/I3hg6wcKq7kDrUv6dGFvi6y973UT9lih/aw5Qc1dsuU3kKyto7JoeeuaYGCRWt/lxdowAx+WlMo+d6pAo44FrZ44z1Np5HKIYTO98nYQDr4Xu82/Q87TIVZUCTp6MgtvtON9pG65gJ2IAfTgTJ56hM5zaqvGPShYSYHijRs+fl4UAWEWwcweZdh8Y7FgCmQsZiD20eLYoAbZDeLtNQrQ5yCliluqNgCuN7We5D0VuxktHFB/tHPnvOquzbi3eKJEB3RjJpedi3qx1UEx0JfcwRvrHMSoYepLPnfPrBW37/Uns8yt9fHqZCUIi8v7CqCP8iDlkBHXIsE27Q3ZJRTV1yRPGsLTubmpbdrapKgguraFBjBlV1hkliShPgXddhYWPgjnGJvAMn5Ngup954EzzXeJXGcBv0rxaMVe56yICcI3AS2+r7WsM0vnVsvvo90xAh6UJ5gFhQ4xGKZmreVJH65i8wRmTDz7l/SOLz+NDaA5hQYjX57T+C6eQOnPeJEBay+tJZbNEEoZEaZurZVuTf2XY8EvTm83slJek0cOg1Bqyo5nrjuwLwzE3g3qwN98GG9yZmXR1mW1xfEdizf2C08DeRYmR0eML4GY+Z0ZSG3jiOoNTqnFKWecCKj8HKXQJ9UMxfvDYfv4tPnGlDBhyejPGx0bLkQStsB9Eg13wW9zxJnX5r2Nxdjc4Vhztn5Tbj1x9XyIvp1h6BulII1HWk9fWAZJ3ed4KV+Z/LvRUxBfkqG/CsKtLd2QUD3/LEhXXc1xl3wjBhy3jAlENKTZhjoZDvgOat5P364nFowKC9N31MuqIGso5HHqsSPgV6ID2JHP2K2ZdWO+jLo8UsYJLrTuUCVHkxDfF17tTpsDRCIgPmv+NlJHR46NlxtMW+RxQradk4Z6aa9TzYW7PR36VueEl13STQYdef+adlYUipUeER2zp8j8BW3Rw7XsVRqUg+dyuI59iMRBlL86aZAKaR63ohYbbBCvSTlupal0LKtNdYgAYZPRbybUKyryMp1ITAIoS5hyPjJ4xch69TzPGLQLM+VqM0d7PQx5xdYuycx77k+2QoNwJefMCMYUAk7svIMIEVUkZBT9m4d07cJkRPS8AdVnQ2ZJaYAMaPDGGGizRekgXf3t4WjkntvQbMQ+vKzXoYGHor0H5rC0pWloIJJGrJzPqKUKQ+v6ocF1hGcnkGSyKbA73jIZ0KcoGxPlKuKdH4y3/i3+md6/tP7jnxMkxk/8jb/c+bWNywNhcNEra3Y0JqhUBWG7V/GDIQhzIZkRKOQaJ/7GJaA4iFtpbOScsvyuNjNXR85N96tvd0EBSD38bJx/7FNoCK3SC50/tSP69uonkVrq3RUbsCuYHX4g1pPKCaP5NQPNyc+Ij4XPxpBn/l8Lv1nlHSywk6fflkca3nWV+YVUNsDOYybvBUfWqLm2vYGZhHWNEfNJw0TVYLkBxEFfC3V4tkZkxGT2GOcbfXTDHcHbjpss0/N/NzG45dsJz8s1cw9RloZcfeFAdyzGJXWYZ3dqWSFsWK72LDoKaxUz/YAGQA7sA4W5vR/KvrHU9lHmPPLVrFCR/oyj0raQlUaaFEFezP+K6z6Ljjmr3c/jVnL/fRD2wLOdILSrS/mvUrEjIbbEsyEbuY7lC0oLXmzZHqScLH3G7EHr9h+Bt+yWxEUDEc01EILVma/yA/oI+jkK/jWjPC9BqotZQ7vXfdFuhp0fQ5W2ll5qcCq2umhwa4KwA5pREPzrwaRDFB06jSdUpOwC8zqsTOw+6UizItJ/AQhi4Dfmx2S9mL2fhJ04v99nyMoFk8CwLVDhn3pZhEvIXXMyXvSDUhaqZF19n5pWGEusqDbRo+qSM4rxtc5Jg2+UaDAQzlty1WYF3YQPQgTf9Z+rJv3wvfdRhilraznBxO4fs3MKSCOFMqBTEPIXnAbjd0ux7IaTFmq6s+qqMZzVmGcn1S2LBcqzy0QoLi+DbPA/qDbmUZF1QlpTr5/eui43uZ0rCLaozWdp+cmAAh5FmhO5VwG9LTXtxvptD5qvNZNgbYobVodAMQ7NA5n34qgsC9ceHVywFfmtRWGG1288EWG2pyLA+rlkdfG8XsBeW5KQzGMcbPkdA2jgA+izFK4aapg4JbpQGJ7/HoQMKphjC7FpMKxxbJzCI3RtTlSEH8eW+sUIFTmE13228S/qRy/cZFrdiIDdwjBimsVbviJej1uCEbDeM7jxmey9whTt8pOaxrqxxGcdEZoIjzdXjQRdNViFAUwR4wFBuC2qeQ6z5CXOcqioQFFSe2YDSSpEWc+ANYirwT2FOydk11xIeDlzdyeJ5kMARn7VnFdlRSz2GR7jaYAGfq5nYbmyvnLPcmvbBWQv5oaE11VH6llRLqQJK8cZriy4Kx2fqnipMdb5ukw8iKnPvfxWwwF2ZaEhuLhRKtDutyZK/i9K6ic7irc0OyvnSgUvYJsrwaX1QmQH9Bv/fNSjuReFMb+LU4udyWNd5RihXse0u9z/bipNXm9r5Z6sZCORIS8PFDe75lVI5U1XbOWhRfvK1RXwXb21RlQaz11NRuhgnzqNbLOAZlBsM4qrVIzNquSOPPHHs8Lhn9p6R7YtS5mEgSQrB9moWFzNbFw1dC6iQsCuiNhdr1wvbTVeXfWKq4Kopet9gQnl3/qmiDS8/gOgVe3t7uiqeVONO7esK0FJ3lwxjUY216pdI0DAooLQzLs3z9dIcZuPVXvyb4EBh0OPETwv93I4ce72744W5RgPHm4KLlEpRusXmFK5tj6d/YIFJEhl5JvFBJV2ZsjDgpwOGl85T/aX/KtT+YZyv+oV+GmKAQok9qen9eU/JvZEZvoHGCfoqonIdyXBfiu1TwL6vUva6qSfMvMKUyo1HpEF03hjl2W65A5UdB7WMv/TzhDzlG3A7FAn97+uToKjai6tJnz6arYhr4XeZXBZLsxKR0KI+5tyVnbZeg/EEWPPZ/814PkBSAT9/e61pP+b3ybRvgyH69DZwcaZ4HV7KcXdQ7oSZ6+iXDjQSFFz6W+lc5WBFS5xMk0duGC+xX3X4GYTH2w/WMT2WoNWfuRAX7mMcGiTBcocN1oSMVeMy49y5lPH/l1sfwaea/5BQAvH/PE+lo0h3hXa9om7Jj/1kyo4nnH5aAlh2DX0/ir9Ce4ae/GExz99DahSofdBJ8Pmdj8z7N57w++deiZNUnDWupKWhcI5xtYOldecmeLnMBR2UkYn5uYts8fQban9ey0+Mxu/w83KFmOOexzXVa7y5nB0srhsUjtwPVJnaLwPWk0F7nw5CV3620a5DEv1rigXox9P5NfRBw1MVw7pr6a0Y5tOzQk1Q94x7bSPNO8kuQmJpmL1ZbjSrq2Y0Hd6qy79qEKEjX9b+2eEGkhdhF8M66kntZWwUUeR+jcOiPmgdqvhxZ51dMjlCTYhOzLeuR60BlpaAW/ELds4zEiRfqj29GA47J2xGYVuPTNzaUNPsjrw85trrn7FIeKJDO0JOC2tHEqZqPt1YeTCUO5reMaF7uTtzR2Ze0VnlBpDF6VMS/6MGJMS7phOo6Wi1Os5ojFLFEERJmP+33nzdYTXh8ipotWcXWIjU8gbv3eOhS4WYERI/mR9LMGmCCS1r6Os/GUi4D+bD5aKkrHvdrBIsjdN5NQWyE1+jXuMCibpSziTn4dRGIAvVPEkh1c+Es1nhvw7phAsB4xt8jKRIwznEfj1bP4Hmht4fpj58dIJKHPHbXzc7DTNOOToDzbF/+sQ//3lDtAjgwbed1JSbqWQb4+Bmpg3OY2k33wv52LBiPfHCW+CFKWnq5bni68auUkz8p3aAT6TXCL76yp+XozeN5XVGas30gSmu4iH3Tr2S6Ok0QI8MTN48ODpIqG0x3XY9/4P/q9UX1bDOcFBeEvxVbcjWrI5Ynq8IDBbyWt9eMEl8tij07Fg0PjmhpEs15E0SSHlqEDn9KR/+NUu1Mxfz5y5y2ZP74yfrDDswHYgh7LV9d374iWrBFe03Wm2iMVOHcyRvY62HrrkrdQCDyg2PYL3RtFfVDt26cXAYqyGxfQZB5oH2Ja6xdpn9I3wV1mxcaik7dc1xdWJGjM99cEMBAGyjYuGjTLZhZNZn1rRZ/9MULow2sLfkWt/+UNn1gu7NskqXrDP6ZEllZJ4jsZT4lkWj9UrgjquVpZu3zD556bynOdF3LNn26aiGhjQM1ZlVH6gapONgKnF5ND4EfEVGVqJZkPCudOSNqTtWU/XW8D8zBVZLEo09I8Otusj/JaZ5P+GiV7ul30s2RbO/I2tprHOJGnWDkGjoGRpXaGjJeLtAnv1hg4cbWXW0pKvcywyHrGOoq8uS7tVxbB+5W/7it+T4VfIuKSay99a2oy3m2To/vsmiIhA8j/aWQph2HRLp78TCn7Lt3QqLETWDbx8G+ade2m6EQ98CoxOlc74p6MjQALApNJXJMXzb17fJaaObNCd0kdRsn36XW1hw1BZKKE3SXGgKlCEJCTQW+QWVSNwyoZe23UkCcjNveTEs7cgTu6tboGXj4+0G21F7MFrjzcZP4PkiUTheLm+2x0x+UCK66osNB+rAntweq6+U9UBraWZyNR8mMWYGT4Mnyz/2AAMrmu6bD4JnBLxfXK00KrkpX+gC8Ls4vHZZ8jm/LZwtXfw+MeeB5P+NwdWoDqNCvxyHT/S5l3Z054CTpJL5lORRZAwMx4GAlEeOlTEf4TWPTZYXmafhLR+sd1uVAckpNJM6MWrXdF7G3JsJ8acwnz8bEHpROf2pAErb1v4+E3E4c1rcKNMwai0pMaDi/8ZTT9+/u7sGL9PftH5V8M+OIQEN1A+UcfYfNzF2fn3t1mjJI6MCdm43wjwEes0/HxbYFmyml3UezvwhfFNJ7LorFjbYcm61O9E5W1IHvCgaEEZZntAXlin6hZuOC1BUTNh2THaKbKmhpfba92OWjwfshs0Rm3qtaly+nbg/He3EvW4rmfMQ47wpulXAY7HZqR2cRdisWgDkOiP8TYwOG7nVJrKZlNuj/2QsG+6+CvOTimCHDqmKibxstG4Ed0ojML9+y8NC3Hk+bszLPXZClotWm0k6HDRb8MAHtgYBC414yxVdzNZsHO9PHgLyCfKqoU5kMVrMezK9iqjRKQL9dzZlvrv2JyoXQgt2Xfc7xOG3NUHxeA6hyrScqU0cz63Pn2fZHDi9+tO1nXu1aWiRGF5yncY8NAtGjPgCvZd4ytZZ8/YinxzkNBx6cq3MXKQFTBQsxMAHrOayds1FiKRWyB1cnaOdEB3yauwrp0arlTcNGUiCacA2pZgDAuiIHoIxgqFY4Lw5qhNg4aHVzfBlWDNme6IqNOQYcRS6pcjH7Ol1rSeo6w9k2GdUP7er79AA8cXheHxaMsjcUCJ521x1MXoAkNTnHr86GjtyXukZy4eMLpf6ZdF9NVeZ3/+eOrpTHiyIoobge8lmmNYgABCRcdbL8a4TBlusmHlJMUZ3GQQ7DRVQA3iqtGHEu6YqyfmpcxtuliduGaKKIu+TU43WZHXsm/sx0SgR3zimUniq2WesoBfXAfTcTK+HATxaWLAbrNNs5JiA5+8ogHc9rgAFVmIICGdNly0+S0P9csAM2h5Oo+x68xR+bqEpL05zQVH9esiiNzI4sq2ABzRLCRm/Zwn4mWuoX8o33f6RhcX6WM6uFozyiYuuQ/V/7PgBu/kiUnxRqUHGq+212ZtfLAMmAU+DrfBEEmHEzJg9h7Pm3fOZu/YVJrfxOiC2aKAtPpOV8C4nT333R+thre+ta4Uxg0/wrubgy1XOuRAmvyNrhBmjDSMw2cNtGKuccQPS+OSDaOWr/UtrGOfRLXs29crs1XJ/IKGrSu8hKtIpCyxVdY9vaIvE39sqeg1RgPrUxzjRzzMgyGzfG+WXvWYyGBRXeadDWNaLfXUx3RffqWHaHx07LI9sKWlaRmKnLeRP/uR8DRU2n6UlJYO3e7zs6e9czREzvW2mNIFXAVn5AiZaIEfC/tJACUerp9D33Xznn3BY6NOMBO9kV/IT+Eiab1B6mqldddCBFRJadkzA2l41IG1CqykC7gAgq7AejzhIXs9/KU5YJvZ+3crp4hqovvzJZJNCtsCJ3QY0s9Y9nf2KffvysVmtIpdGYU0PXi+VlUInwRg9BhlWlQCuTuDrNa85DTH1s8mQudnFJU6WR5xBc6MI99mDhBdyle7g8qLeEcsVepB/diNuF/J32lmu0M68wurr8M6VlrfcxWJ8t1uyHTwFBhEFGciM/iyagl3PEj1TlrBtYvhOJmqPaLFXfPWV/AsZCsmDnyNwModt55ajbpsZqJnqwGkRdg7cbB+BCBzamm9H0/TW+Koa4GSxSoU2nPDjGTaU0P4Xnat/VUH0DnAsgxUtekRMbtQfFWnsFEMBOSpSzDIkU2uK1J8TAnBOsjlr7ixldpoVP6LlCMY9U9DWMabxpANNcTmgx3RAwrrL3lTMRQJo8znw5rC8ON0ueqp1zruWW3eeMVNa3YPKHOK+u84AWXGwKSbGlvPlPi1x8+VYlyD9b9vfZQL4XJXaD3+So4PqwjM3r8xbCh32SVwYmoEVVR/Zsfvd/+y454mSVmTtDNfMvwf+R9Q4+UbLRxkCIhjXpIy0grYKci64mmOVp6sU6bCqxvvkn43Puehlx0djnVA2uBOnZbNFzYIg2Yn4isHpjpUtfmcjvpvPFTEVI4oduQQBKN+JMLJ8TINW8bYn/Zk/bfbY9gfgXFF1k3gmMSrenBC8hQhsPPWH30jNGGnhad0QdxaqdBpqcP52KjqrJ0Pj/9EWSY2KwuhNUZoznEy7F16u+wOTxsDqLM6fxtbWkTLLSfrhBPsS+4q6h5f3YsPDtYfCCUy2FnOqjtV4MAxeQWz1ZfHjdChQufywDYl+Gl/9YFnxY0f8NTchV2qT4lm7zuqp4kR4DqypnJtyRN8k72S2zMhiwqgIk/jt+2q36CvUm9zxb0foAt7snE0/K+9zJjJwiRrM4vhHk2PPvepkrpogTqw0zHOI/n48FwKTkjmaYk5ErPeVF7LF1GvLBHFCIdcaqpkWvS/xCCaRX2piPx0t0RmaO4EQIcn51oGevOlso1kDaoPzunJ9ntQKT+3emX+izhRksy1oNHfZhmXjU0ZTjeZMPjrGGkvNgm+J4QuhMxStqqAS6BsGeZaa8qvZMQEvPex5rG7iSEyz2qVeT3/AoDHcxg/qGy3zZa6PGH0hcc6BhjVDLlL4ZMZyhWIUM880AoQZVliU1DgSYqInLhGJsgBr3iZu7cbSRJpw1BlWLKXQmws2RG+5d+7LUIHVI6Mo3L7IiTkEqeNX7PiZrhvqCiJReuvlzfdDO5SMwkqlljA2mNvu1Eyy910bbzkw2B5xW4OQyh1ddB/sFBCDl9QcdZ4ymZlTM/qHelmOoyMktEqUt6VxC/n7aNZwLZFV35+wv1Qn3R/ZhisWFV9ksIhR64ENg86N5fp5IWgkfWLUt+WxFFF4hEpycqbr61vANEG18yc2x9m7+B+Bqtb4gR05qpQvkhCoGjKwxLZSJGWRW/zTfh4/gAujbJ3ZozqAewU6MClmiqcqcqlNVEex7HvEtcUC8/j4ErvhqsZL0PPwuqNz3JfzBKwge0Djtav5xmlESzDjybnzi8OcFgxc+T3sTzhEZzB4Kbw3se7WfROm+idFgeAOiiNunTcTZemc2LU6ubkNCRYoGXRXshUnEPYobZjzDe6h9u28dJ8KoQ9quptlPuOe5LqK/aaGGmlSaM16n/agh1sA/23pC9r+c0X1ZR+1i7G+wGzSB2HH3uMn81E4HGiRsyU2aVjk5ATty5JlUXxH60ni/1545jW0OU3vUo2XttkC+i8yQni8CJwJigmk162jdW87PkfiaKKTVP/q66xZqGETEm+vknEtfrRjWItxJ9Z1KHFSTkTGYctxBMyoIAtF8eU7NTR0XrOTk0SOE7n9atvLAL4csnZ8IGdr1fnMiQ0qS219rxysVWy8xcXmgl+j4/lHZxJyBr3PiHcOMY3nFE0urEmx4cUXnbA3pV6XKrv4xQKc+HH1KVIbqtzI+jR6oKgHAWQrv70YFUUPDxoVqIVWVK6zNn1howA14VkwnaVudIAeb2mJv99pRZwHBg4wWHFpv14Azzz1dCS1dvFu4N6aj0KeAQtfdvqSJapEPNoedT+DExpDuVPW/2U5eIAvDTBJdND8BNTaH80RlsDLMLdkceavenHxp5autp+/D11POI45qWwaKKGHMfBu13lVyt2SmrYF5ZsL2dNNt4TFg+pkmC6OqaL0EOapsJUICRz8/sBNPWJdzJ5CmycQSvS+teBCE+ZSuZBNCZ5zTBx0xQE7e2Cb3QFlYKVBWa9xdVsMfhnRxcNEYd5E3sKT1m5KbM8j9jD6H4+kGyA/TBjelxRWyNIas6jATOoEEvSAscJVPV3S/to7ZRv/YLiYOkae68MKB/x19csXfRlYIz4pDbOJmESrvdVUY7sNRZdliLzziLbYB5+apVVAg+FAFsTEHvdMhkLc0UaPPqPdp1xN+FTVBmVoWm863oc7tGbDIDdBr9VnBMI1xtuZ8FARwiT82Ba+gZpv2k6gGASelDPCvMkb1qUj6Okev2GP3KMDul/XupXlbyaiZk4xBKpGd+O0PpJpggVhXkScxLjJnibqpCtHJDdn7p/SNNeqjrpm2+sRBOb75NaJPJRbIp3HFajyLk5w1OoRBm1LBH7q6yQmAFHs7xFqmNCr5IbaTVyF8WZ5r3jByXGOJBeMDVkx1eltpsfBs6wIkYy82/R+kyAqt8veBYD3r/cGbdb1lAwJPtbpy0Qdp3SoKlcBEL/DWqID2lPjp69qWJ4unsJ0eswY3eJSkp0e0Rsdzu4UoUnOd9RxYg3rITn/fFmqmlD04ZQre1Y9SnM8fmNotSAsBzCdV6qa57uT7u/Ac2RDsCacD3uJcLCQkBlHoVauMTkYZFiXOHjK/kBY863GUf4b4uhsFNzaBDH9rcoAqHv8QyjhU/JFT0FOjDQiMNqlPxJ6du++AYDzI3xLW+fqzZYYEQHxTp5kwJxBBEM5j8p30nXTiJqBTBCmbfoKfYJ2g9D83tI+km5sguF2w/v0p6kWYOTt3d0RHM8m6+xJsLKUYNUEKIw5vFv78CpJiyo68cSH9CUEa+4zGe/m6DAxFofzEZ/gfDOKQ13JhUWuYvxqXhLL+SVjJKIsZAlVDwvZEd1fDMRyn0pA6gGiWEQXbqoMGn3GjoIwsGmb2/EvYmwfCGjnTM9Gq8TWO6mVtnC97xi9A/FJQTb+TM/xOeSFP60gnJejQPWUARBVuV/oANcOPlETqScklMZOSri3z7CZhcfDiA+JJYzY0JbYLoKuLK52hNmT10Klic+oLc7F1ho+P2OjqGkpkI9wGUO88fXq0CGpky0cEOwQFnOUNnsfGQdoH4jCql+1kQtC7UoTmZfuuswAVyCmb/P/ih71YuKTl6hOPd9MPVGX+Mdx4Vz3zk9w8CqrM7SAfr/+j0EUc2kbNBfOXdJsLJf8aB8h+QARtNgeSF+tU7em0S4i7dD73iyLXA32vhk0/OwbAgqFSEehxMlhDHXgzjw9wfp0ACWfKIzTmVeCVqp2DkEmD5nlbkdmXncSG7G9YVS8+KDsCGZTQOZfjLGatVBMmtniyaQA3uXzjSTm8GD2Pwl9WEoxwgRoob7XOIQt12oXPW4+FziPEDdcu66oId6Pf2wOpwXe9ilBs2ADJfjIE5gZ/5jFv8PBZdLu5BCMbMSmMTDbX6Y83ivdxSaKj6WSZmkI0Fa4JEQRiTm7dFLeXbbR/UD/XHZJzc+4WSsN4cBq7vlH/feyBUB5m1fAPd75mAah59KTAQyBDAeRcW9rJBNGmJ7G3gOAIOY+J9fP4YJBcwi4pMe6ijtf3VmVv3mm4F7W5OQIJ2z1KkV2BbPkfBoOk4+Jy/Gab+eYxRZSotV5CW8IuKJsqHjb/wNcAdFZNA7uAW+0j3RkqJdGZ04ZyGULdQQm/8Y82NlUdSi3qaOCtGA3yrziaiLqczUPMfLic9OSyzP4dvtD2J38ykr1EJX+vyPM2Y9233tqiAifejg+nvQ3RAG6ii+yWbKDw+9xOC9W1Sv1ydx13Lh5JotlCE3BofieRF8umqNuc9/rmZSaqaBKfLkxx8hCaunjw8q8VIKlA7SIT2qTMrb+4mA0RAbIevyR0IJtSVq9zVBFBbB9ADtwPIgIKj/9JRFZuFKnqgLiQxVr0SPO/Pdj+kUTAQKwUf2J1iSVkvRZ+ghr1OL1BwrT9ZczhBcrO8XhLME0uVp60K9ZbBw6UkC9DYT7YYPXAjJGv89Cmr9ttsG2eTNRgAQzjnRmHrVxarWgZqlrVYE9u6xJ8rRH7jKFOOPu3RJpervvI1evtWowV00BxnQjyLO71O9EKGm2czWiKc0RFKmvyTmASdMZEt1hh6ZaCWf8LWUqsOiVlUEhH2ojVGN5nN2k0rFgm3/dbvhcuzoKvK2cwTGbdLUoyoD5nyqRnKPFBSh7GRasCp3N1uxW5A4ixnj34Dc8lYSdCbVug9A5lWisMn7e6WK7XKlg11jiRFC/nSaob6rGb0OrUGmjAVD6v23pIOfC2fu13d67jhkEP5IVf6r1XJMKCx5vOtzBa23vKJO5qZGw2sJXuYWBiFWGO1Utn6nTHLUVmnUkrNr9uJcom5eL9F+41uCPOqmdFR6qIZeWCuZk7btOZfzO7MS6OR2BTlUb4pw7MJXqZ+o5SDYHKGK8D3V5XfuKU7OCK8nyZRpqYOBAw4z7VSQSsrqOvdJaqadiNLiqz1Bbys3cbLoVRyb5gquERR9HKv4Rmd0fNppTuNNIiSACRMnEnQzSNLgLpP1oosKNkQQ+QBKXPtavA8MknmgEVcVyVBO9vNfJELT1SWtqX7byWfc8FKXnsLB9cS1bk4I8D1Rt4F8rYXORFl2iNNI1hCyRpi11E0yLkdv3mhn/CKEiWeCgj1nz98gtj59YAOLeVzerqW9e6vbFPijfwDuWA1NmL10YFKKitntUpjEybzxTAo4bO5cxaLT2F50rdXqwDDsZAcr0INDUBdtCP8H/h94Gw2WWGqUovPaVn2nWBqm4K4n7Qaiik5vK+8gjorm/29w7sMGmmTlPsH4+uLMdZhVPytsTxhIyAiJqZeZaehbKgNTx5RkbkIoEqL7SK1SiFl+tLvQr4KK6dK4y+UA+eonxRKefks2aw7/faGLkVNgXPYIAWZClKY4OBlbu7ZV8Pe77hG8ZVq01rJuRsFYfZVohqEg3mT0RQNTSCGTu+D2yqviiKGUb/TlcAa2E2E3AWgPV39518mMnXt08i+MxDiP08z+gJ/CHp90mglwwOGy/c5XTATnz2K6exqcDzl0BALm3FPWzfohhT6P5QhDyf/sd3pGX5khTCbw8JB5MeLdzen4hn/XT0SIh29Eo0OMEYitfTNYW5ZPGyXFmke21GkEDuuPh6jbz9Cq6tvT5fg0e6E/v7HjCqdcJcBXCqayKGh27BqmUnwILTYMj8LoNkvlc/rtcx8eiM8jzD7FIKznJGb//ur3GojHWasZ7N2I2/nLzKC6mp7zKy0aatH1h4NjuYpJ6ZIrJmAnaaOSlftNfq1RmCPCvuYk6ifoYE9UyfUbYD4t4lrlbCzfUMz8jK822xMV933fofYa6gTdH/UTJQN3/So/0Rb9viYI1jzE/41/BPE/91Ka5xxsx4nElplyLUaWJ072cGFOvGpkCzvjBgSQ/XGXyzLGHSPdb8WERXtsi6RSgRWShogdv0CgiNBIow91hqHkPBZXhOPj/YGuSwDh81mgy/xXPa+7XSklJm1K2SaQliKmDU2lCxamk9gdUybv+jGxYeoRwajhCu4nwSNosmQ0w2/59R63J53lRzYa7Qb2JWLrqYYTfIucJsfNClfwrOlaMAf1HdbQpoPZ8NEgDzWvdgUy0bzCWQEcuxT1St5FE8BubBLxvpdoXn8FBJudTPQ98EIhy+NHwhPU9UPV4VAwg6TKnmeq+SzDdhiX/KWHytpLdgxPZWnWuUGzZG3a5x8CPPunTp8uC9z39eIQ5iYgYPlmZovEr7yeEHBcm0Tt5PGNlmJ52T4cpjJGSsCUswzpBFK7tH0O8exOlVl3+zUNSxII+JdgV5AnqwCevTZu8PW98/XpYWVWvXPHZwqOaoqXNoiupRbBd2tDnGTr10TyDoCIPVzXZuf4Z/pCSFLpHSv74vQnefKt7dZk5X8bNrk4I6xJLxtEfBW7+dnnvIS0rg+a5HVicL4x5F8wKIKn3ZO9kEbnyvafIW+NkVD1Pf2hMVBkUo3q5tUsskX6xh+Qvma7oJOza3tnqgDClOcwcoAePMGtY9hRXELaOLxmEpkBurnvBYIQsGIYFaCGMxn5fXy24BT6deyhN7R0JO1fk12TK7mhXWLjApPNyKXF6+gP/DBQn9NM1uE+ggYo1N5/0ffefMewDWwCH0HOwcuVBUswANUZuPwtZNUNfsJmVF0dwt347gS810q7+lZded6KizAL6CD7gY086zyhVICLma/j7c/OjkFQktKH0fVfgG6az+DqmIwf5K/h7Oild+S3iaEUGdVfeXyyebnMSskV4GtesRbWZ1X40Js03hpMsNMqli+KoFtsooFUuO7dHLaYa+BHjSuqCzy12LOQNYziHja/8OZQK+Qb+N/3prsIG3HglM1R3TaA08PzHv1xw4txG13/sK8TVj+4t/zY7d7rLv8GaW573fCVKhFtYZo8Cz/SzupEsJ00o3fCE2IxaEk16dIQ1dpuikFipTm8ljcvhKBBd8FAA2RJbvxNUmCNcz1WQwU1vU2CRK6tsJPa+svd+NcnTSrhG3ZJ/kTA185Sz1iBSd0pDdQHx+bi2/dtdsxbY+UpoCOALrzCQhsDaGqsB4pA4adJG5qkFYCf0K91vuXtaaSDyGLqJMlc4h+Uz4ARQFQ293voTXWi2dDKsQjgcCMNkDL1604g6oQ1P+POHdgs3RZvGA2Sbf+FA1ckl8p+rRbDzdYCahEpZKA8IJSES4/ts4WfMbThSHXoLmZvjQEzHPwPA7LgPBv0jeLlt+nnN2movo5A+licy8Vx5B+BXkbnX/DCuOKxqkJgEec4j8TlvP5dqpP3Xk0q3udrxqlELTH2QOlp0BIde2KDyrk+QmvTdOnMYS6+EJ8bamtSPLGpXk0A2rhcMj9oJZR6rOkwxAt+szZTIqMhtg5Ls7rypRm3xpYsxTA3A1Ebq6L1NGNIEQH0oJTaFaQssul/0VhIrpd87Qqdw6RDbf/FDyTPjCMN5U0z75IcI5/LnWuMC5PzzNGkYsgKK7/2cbmoW8dsSk+nVb17GsjpvDoYPDvfusYuI83GP6V6W4YV2Xw85XRrtXlXs9C7h1xyhjW7SHZ3RQBVpiczkPXIbmSloRpOZNEmlAKoacfsCr3FHUFaTZKSeTSizo0EnZGspSkpTGswa9dPClNdD3Wq3CIYXk+AkUuDEUW6Wsq0abtTGU0hhe2X6lOeseax9hFzv3PrdqP3DvIx7udOBT7xRdgGwqYiLCb2BqygYob7WiMGvGIrysIqAELJ2M+a14tU36v0/1qQYNRiTxTM0bhifgBAkU83PeX22A1EAecf+C+G9jX0p4D3UVmXUi0nHNZ6HBSFwUrYMNd/ZHeHoqon8lMZRhDZlBQKRIo8qNjdTwIeezIZOKFN5gt5lHxtO4fYgvwX4yFrpzkyDn9PDDXnqvXM5sPq/e9TWTS8rcQWF+oegx19lh79VFL8CX/52yO22mHPknxryF/tYGa8skVfKUUmXWFFEBsGnU/ZDQqqQqqdehE/rySZK67oe7nfFzv1IqLgflqXh3io445IO2JugFXQR/4sk3cy7fG3f/bXXRn8w4v/Oc21e+4wYmMUCtUlRrMT/Pe0f4PjCJvyihhJU249/AZNqiL+IbOinwx1Iw/EMC1IXL9jPrkYBjF3rbkn5Du7QG/lLSWXh/RDHBO8IItymBxSe4915YNQc/b1aIsvgUFwTbpK0LUUU72E2w8Ul2n1Ju9so1bdejRvI8dMsdb1rHae5x2+U1ZDVbI9y4hJFkKtwPmL6xWpaRBqEEAZBiJ1ZMTKOqoQtat/jgDi0KC4dmy7/DTnva+cL3b6GTqec522xXGH9zMK6II6g4GJqm1enxHvFVr2IUKcsKRYMW+h9r3Splwx+Wl1JxsNeDH0HAAD7asjOqi0+9Edq9TPQb617r2xS5xJJuk8onyqhIPULlcwU95EPG6L/6wIIR2PBChq+QQyO4H81sGbjZRYlwEGOnu6IXI5Wj2qUaVsgq8nvZvwkdRirn9zzMHSsia8GOdpu5n0EJUW7hmiqYVLTUKYAUQdkhbQpNgcPvjJPfroAeI2jkOQAKZHinYAsx+RQb/BwDXUeEh16aF+E6a70OkIt3JZMnh3V6Z9Kn+b3zFgtbNd2+ZNIWG5NQcVqEhVumycUNWfZ6Zh+3X/zN54pySch6lIXl/+MXAU/c1ksY4AWGjN3BD2xe0mzc86chMhlU9z8HwKSp5wGkrxHz5VcxLruM7uN2fMaeHY69FLf6AQUbMRAkZhIKO9Bsh9X/pfApDlyttckTeSIPDetYNdvFIRe0XIDwBInzhvxOQSu5rUzlx6mgvSl/kZH74Lx1yAN/TbVbOvjMKvCPuJlY0gr2WRLIpTS2aZDVGrl4vzqq808BedA7El7Pb2sQSGMZVIZG6qo+Nbxn8NfqFuEPzVuh3m56cm7qDLEonA+KgxLnr2BXLQZkHDt6oWIYDhwI88krsBs0XlUCitGFek+9BpVkMWD5jz2oxIa2EQ9FFJY0DVXfFPEe44rJT/46+0L8+aQg1dPefh6q76FJgGKlpX3PAL83SsgbnkJymnTqepNivk4V9MzvflZvw4K6Iad9Q6siEH3J0zfmgtaPACX8mddNFv9HrZCOj+vmlU59k7BvidTqfwye/KCyBxUDt9wmeFT14YYNwbiiRM3iRf3mKuQDIomYnyL1qM39mBQDjiUglEJy//1c2CSi4nrdP46gsZNDshSTk5OGS3P3AHnYmWDeibHaIU7hGR9yp7sw0tb1MrPQa5SplccbNKpqZARN64M9n4QEit1HguNK7gxAy9FreO1dsHimUAJ315AQiTG7huE2KJ16sWaiGUjuDhBgmEKgB/dfPLL5aROZEKXiPW/mDm04hFgM+sw0io6ShZXpDu9tn/GCH6mLuo5NFlywpZTih9Kh3ckkJFF4LzFa2kSvHX12JhxZX0qKbhsTKkH3QfMao/waXttyD5UHvZlpOrNKoj6TD+x2m2SXelBWm5D2b/vu8D4RIx1K1VVx6rVVYhnyFem+qVQGto+7MezN2GjRWbqt5hM1A9GaxfdIX32pkVeLzIhT59sCKhDhAHWbJGzyS9lcUxo+tMgvwhWCQ0fvR5hpczfn8Dyj/KKjACBkRdUrEKP4Wnx4dITsc56R7AGMZHJmIWM8nGCTtfMJZ2DoRvINuyDreqGNTEBD+6nrhF1L8uGR8I+L/a5f22tfhWUJ72d6jxHqZKTu5XF67EwDkZswghsPgXGGbik+fN3Ue5SexmnZe6HderWHsgvvmfOI9mIPawBdzKoERHARhhXHUeQ8xevumjk40HxAuWDbqFgowz/lBVzk7nptBi7riabz39jox05nx3nmgMQUZquwlmUp0Y8JtJ91i4LQ95fXyxz4vuiispNPnIuB2lt8QM7NoF9jqOVwLIGM0UaEJ9iPPCPQwqbm4mAYip2pHSD1vd4epKiGeHKyeZ1MiKBEW8tk4EY2wWjbFue2w1odp+D/ZewAq7W/tFqWZ9Yhd2MaAuOA45+bFgSnQI4d3O5G9YHM4VUFejgDujzydmXCbBH1U5D2lxAEVf4/+/FKzFCare+nlalg4Udz9yFD2dVufR8efTIIKXH7LqN3cefrEwTmzkIEUMf+2ru128z36O3zGso06cGMXA7fvvm4PTtanGozn/sT1P+smxH4lvFfYHAwH5GBOYdL+xR3iKP72C8t3OoJxPQUMT/r//+j5SXhCbdziKa9S+zGGBDWqtT+CXEL6C23jEb6wE6F+1kbhnODkdMcF/vdhb87fcApe8r0i4UXznY6ZazhkJdVcc7KMLcJXWnM9srv6zsZmlLsGkuqajcdrhIp3kXxuChJXhkjjKZB0wnavohlaX2gOlP/aLIW0b9cpzEmj/m1oY5bYj2QmEBo3QYMhet8OQH4ukytxpuKBIB/CFIVoXyvsW6H6gxEut28geRwt1mN5miCeej/gM+dxxEtK0aQkIMnufgRx702ORWN7C6z7cwmqUGF+PYU+6AMdowcIblKkGw6f7m47u+BdOQcRHFLf/LkUO3gAOF8I+vj0FJOAUFv7zuKfrTfq+OeZqckXRNtNMI4VEZGqYSkJokSsw7WnvnyQaNJg7SsjjSg86mdUrcplT9qrETa/2J8a7M1anE77kk4wHsDVL6qorABOVte9upUBD4qw+kUbxBppBE29PfxrIjBXY3Feh5lm8HzS/BeTh0Ck3/UTZIcoJuRMVsPioKmLDIvYfFzT9ZXdCqhIRmX7qGEdC/WhbAW7x2zBsEmojP4m7d9n7SYZdolFe9KVXXLlC/2LFUyrCwyEXmZStrD6y9WFQIm5G/rXOt3C8JOPW4h2JbdK1r2XvgWowdWjKhJXLf3IvwVdnoQZ84ZhKq4O4n//r5vm96G1pN0j58AAf7+45Dd+EH+gePxhx1rJuwR5SnGS5rMGNUSehPUL+b3kScABoJb89Ce+I9dpJ5ob2GjgUmRY5sSrxxmO/48c0KG3Qm1Ah2Mv/Im+OKzhuoZZXhRhhZ+Uzx/gLPhiXDHtk2qJiqTdbAKUYkYYtLjMAeLOFsWFFdKbGnJA+zz8kk5MW19GqKZqhtsuFPuphwSDzd7xnDsu/igvKTxAzQYzsLqhCM5CmM6U9c/gfy+MXXlNsFtsrkEtm2LNK1ADguzkKi1xxnEVPcA2W5cfsXGbw3N6VhF47pnTDfixfuzuzf+1suFvznZ7KKJLSBvHHvm3lb2aiHHefIZFSAtARZ3EhATffBTxwZANatCWwqTrwtcsmiOba7hF9z8HlixW3o3/XDY7E3A0KU+DsNbnaLs/0fL2YFxq2N177sHFcEXbqQfWGHp99Rg+H2MUSOMlegMjBG/k38a3XD3MItg63wzMasyyL+ZIiekIabYG8T97Mkcste2TC0xVBtkUtZX0yXoOuBPTAEo8RdYX6f4Lqc1v2rzCJJvU7zByY2C6HHfgPvea8BERkY5DHlmxQGBqOP1nd2JeCeO9iSr82/IgIS97O3NJj4+ZG3H4gKV0GFFNPfyq4tODyhfssvs72Gr0IU1ihILBdhZO71hwdfCWqXtqk368HpSrYDeblNdkTJ6iea8l8atlGDNZkTtGP8GqhnTmKgdhU0+yhxuczuJWhCDbb7BWdBe3NAsbk9ZeoPfKR/3xgtlvmgvGChFpZ1HxcVzvebd/L25bVvplOTL2nWmjJ8kTRV1asp/Luuod+c0W1XmJVEixZT2YhO3n4jYnYwhKlIPMQc3AEEGKOOt0MFmX6XEoP4L0LEhVm2PSGtZj+QhyJauS3PQvdkZDaU4r2SmDEv2Lw/zGdqGIRfAMyyGCiz0gDnaS9EdbNda9cXPok4glPeowgcmhh0ppjuTwRXHc/tpiEyqHlBpU+SPioBSM1/81I2gjYnqURQ/r6IDaH50ANhoF4n6n9yd71+eBSVdvNGTtonlfKqIdwB6GROk3L7JetO8sNdq4FjjLxRDK8tg2b7xJvkndKjmH9YGlnhCB6FAfPDbxZKf5SgDM2k9ekntPVpc06ItAjwvyTAH3VB4ONDi5H1lA8zU/QUWK4lUmZiGE6+PWMf9zb2vojNO4m6NOa7LCsSAnCalEjSlIHICs5qDAJZcWwYt6BLJdEEIegsK5YKqk40AGcEVRgg2N9G7ifRNfwr1SCxTtaJos6OlvmH+vXsOaa+uxZmHLeuXF9ZdR0Q4DFFuQWH9GTvoqj8306fdWkX2hBjygK7oyGMQ+MNygx6uLOFZ0hMlAXwmmuvTWohG9exi4dlwX3ACqVUnYz2kHRhLY22DZVHaI31hb8yXxzKwWu87lMenBIqziLK2G3POiEMvALRYsqOXSe4xysq3mNwirJnCWztcVUuOxOihWdNBtI5bFeuauQ4uIdplIYzrJIMoyulTmyZKiO139OqbGJio+xEOZQnfVYVA2FLKxrdtofxYSvnFiXfG4Dxn0h/ctNfMRoK2+nxV0s83pQHzcmiI86+aCuQb1ELk7d7Q6sU2I/7O5si/yOupZ+onoiFyFbaf2z7UuuQdMaktR6qVDsNKIbnMuCMFqIRAxIUrdh0ZzegYqzwRXjelCR+yfknKrTmzZW63l20SZu+ByRqFEvxAo46GKYDIuW0AVC9soQmjyhM4efyTLh/6bjItAewqKeYh2/xRyFS8jDK/4isLPLWpGe8JecdcWnCGaJnkyxIPY3KJ7Zeiwu7Tys1gPRjxi2clqSksgyTvtbQbOwWU76/ATvSYsgPbMaNdyjNRB7aZZiW09rwPZ5siPwllzXB9A9yfrMmKvNAWgXf+PNSynKns96fOweXDnEO4MqqxJjJviOqF48msF3jTXBZRz/HoH1/nuDsPko13Glf6CsZEZpMZWpONBG1h6gD37e5jdW/lkyWbyMOqj6nbOXlFBRxFFOIVixgrLVmGMQVvNTiKsXfDDd0aLWQpBQjp3ewfNc0a0K9fiQ6AD9hV+2mKnzAQUn+GEy9LOY6WouKBqbxsTKwQ7xx9IRwus+8RHpC5Y9XZx2V4F0Fg+L78gPTV0CwcKJbHSC9iq4Lrk5MPmUPUYBRO5YZ5EBG0xxImJGlkr2GID9LLzoD5oT7mFGTKx6ilSywYlKLixF37gTJ5gZIAI6KnaVHhFg//XutDP+Y2G88swyxBgcEJSP08d0QxGl+nBUge5F22RG1THa84/gKw/4Oz5Q03RrthpBOtoX+SlHFBl0oypEudykVY+tl1cyVeBzgKIP05YdD6LmSbb/z+b4qWa9Z6b7IH+gPq8ilbdWuZm4pQK+A44vd70qC+R0nBx2V16X7PWZK9+DoZxaGswKfRXQACdX1pcltfP3rpmW6A3yhmjwESmfcPpjIbtOsifg8oYcl5aK78s8aDgLnvsX4jit/Ek6SGG51Rx+UNd3YcX/ysbgvtyyuRDbKs3aQvnsa0ZZhSmrnyLbE6xabrOOo37ZgRDaoTWOgR+6mrG2tInZcNpwD2aEDR2ueFe1Ax1BDGvTlaVTj4lJMvYmt8VrXpAXDs0J0Pg99/uNG+32N/Rk+p00OX01DleZWr+qYCpH2F7+7T4EO38PC9rZbZFNrZ2DXVmljMr8p6LcMgep6g9a22g6WzhO8ADNm570lK5b2vztHr61vecdYy1GWlVIh0W7DWY2LeIuY2+mLplXFcHD/4shRY6D+b97c48BrlXjq259obCpYn9jvtaXU46XazM4ipvuyFyTAvbQBC810oL2E7vF6vdZYhd1aGFAFpIOYTqZdLAKo5w0reC2V/npbXPiCV+BVFENOFa8ln8MX+70kRP5Px09DxIJ3rql76Ik5/tfvZTl5rATm85OvQcoqX+gTTSM5G2KW+7bRwf5FJDBnYd6yRzoig9Q5IivwZHekZELjEM98JnDzTjuqoaFx/00A9imngqLlAD5cxTobEUICi+P1Yf/DAFofz/W515O5zddY5Z0i20K6SRiunUVLts0lepyO9LqkMtQt3mIoTKw0XmQ5IwV1/lV0rd0XeEw74hm/P6joKxLIzJk20FoDbI1XRwfRKNeJq29MdSmML3e6dWnFJhO7Y34OIwM9UHn03Hp+f5uV0sMSbdCUNxHlPSc9BEHFEDhr9XRo3L2iVvJgKFuyKxJSGr8K+gG6uSVdxwarvU6HmJHioiXNLcCG1iWKtrUxagglb8V8G3fr80Fo4kCRErb+fIqqoe2rsfXlz8Rmm/Y9gMcYJLivTdGQHe10cOpj5y5y9fgjnibHhIB1ytJ/CraX81L5ohvxDGl5cmlDT+4PGci0iYdpo5HfbRGxDlU/qOORycTSJTfyHS2smgs9qTe7UuBY+bdPowfHrUmx1PfqcpgXXBb9iPr04cc5tMuJYzUGsMfQlq1DqH92p3uaMK1cBD/TCxpGRZjRYBSaJFcfDnKAAuh9augG8z8IwdxBqbRV1nLXUowQsvlNFZeoMesQD/ZeI5A9x0f2MwH7wcUe5toua9ydFGRQumlFf/g+hSeNfFZt4qDCkRFHKgoPhliAKOWTx8O36IoDJRbpUyJHVBWa64JMExXbZ5rg3+09DBTThGk2ObFnB0yl1km9LF0P2d8rBAiyM41d6pqBJMRj5LL8qATCXRaUxkYGJAlLRDis6EGi9Zd81M5cRfhU97tBwUCMtwXsdM9zDWteOdzfBj3poutMsMIhYU12pnGQrANWvQnC9GqSjsN7ltya2n+oq/k3LYHi5CJr+AM5u/TkA4dODqqIIdBvIWpHrrbQ4aHewZf0bBVh8vgErvsjMds/woiL6+oIi3tgv0jPrS6EwoHPRnkZ8Cx2jfrnmEnUhrJDNXgyH0tREfpPZKQpbN+oI6Gxy8puLde4rqXEkYzDLXx5oZSyYOdX66HM5ovUY2H/C79rv3eWPoYEfj1F4gdpxdQAABbY92OEI/UTSHr73XnTFHmDOj5RlZDyUcUhrKeDqJrpP7U9tUTAGW0JfwlvnEs6TsZRxlnwJXlStfdwaqO3Oey0CybZX3dB9n2gBmhteMAHQODqUXRHDtFTOswJITrnRC3/jWsJPvfU0+W8CvJHmC+Q5y1+flVLou99C9wL4MUY/Saiz5K2EeLZaEB/KCZI4C726P5QZefUPq7W8GTLjQk4kuoUoaBdwXrINgzhwJNKV+tD6t0vHs+6111DH3JTb8mMxfPQzpzHp+RzteJ6STcHw2yiB/U0uLN/P0OCctHl2SdUYMBz063cnGahB/klwbM4mCZIZX3m/BAY3LplmH5V+fMfEK4WGWw6f7mtKT0DszQKRaOKcZjVhxsKK4iMzBT4H2zUWmiVhgyEogMR1bpgB+ni/Dhkhzvd/HRdGZthAMZSdk+bztaTf5UW3c5WVbgkFbj7zkaYVP5WJaufy1AD60sh9s/Dy4VRHS0ztgVmxxxd0d0Ta7GCYCpCzqJuCVNnw4hUhhDP8wklZH9yDUsm3BycQ9cahEAaNhzPLa5CYybf9N4vLZ1dVfxs43KeTeWS8BIBsXtCsSjgkpbHZN30m7Oxm4jHkVahoknKDtN8UHG72/8nIVIAWd+OzhiYkQ1nqezLFU53ZwOvsuuyvhPSrSZf4Em9lxGrGOWXKayrc6HKAp5+59SWodzyKJX1PGm7t99azQ/ZnXxkzo3EPe4UHAb9SEFMYp/F7j68WdTzTfwkw5ekH1VrzrNEirjf0ov91TRPl9YDArSohAkn2KPhP2MNqjStoLEExnKTQD6GfoWHjSt+lC+LRJeQgpzpUwFnb/aMpr2ow8Jap6ltIXYqRkscteQIuu7B7acOi/uaSi/VvBNE0ZAVPJAxAC6DaJbXJtWZBuyJK17AKzw0JMxUfg39d2lpAYqodJmAcE3o/na/c7yiW1ZTioI7WGoQQ9MLzrN0gwUOlDc/Z8BfwqcA+HOY+oukqE6BzJnQyHDcdwn4DtlregE5sqjX56jrZbEh76WrVSUnSKwrFynzvI1c4a+IAQ7fXNiLy4wPeAD6PW8F2Gnqh+24RE47fyDqhUij6L9gVIWqTdPrDV3cB1xkkFmoLKrvJd3zKavd33rIV/nPiCzsPDv4vGFNIoRlddGy4EpuXLZZDa+bMQBMiWhZxo/erAU5I1DrBVgnLbA2lOtwuIk+Uz4zE3TGKkWylHAE6aFrj3FetqqIOU3SwAXB/fnsBU4R2JwG9husvubzP1Cch6WvE8YpSIppHwxGXXfisrD2mcAZCoYKN37SUR2ESpGSSiSO9/EdlnPE2VwYdQSwypgvp3rSP7d5CsdAvZqlj0ebJdZPwa4Vt+elVuNJ57gnomCN/FfN6I3uaP1/okE25M7TzW6tXhtG8comgFPgAXFemeNVBv8TgG2RSqILu64Qo1t976jQrutDFj+YDjrmCp4DKn2quGn5XZONrtO4gwdDsup97ufkb0JCVOrddkfOYbvaOGzG0YbUtbT3y4cCNU6Jfuel0nch4ejgUvvKPSe2X4Goj80x+Djsl6pvnt+4rXI89wbEp4VIURiCcB0fkLXhO091lwm3PC5isMVSs3leTGh4iFP9nQ8IL5eLadRHyrU9He0EvrCjND1HvTSY/iiW4J+q31UkmamjL758lOGPDPCM9WLMWN3KLBVTe/JcuG1fMbzXXVtVR66gogCcmWwA1xoZaToNhVLscI2Eg7Q3ILrQ8Ric+lnmqYvK5v+dIMlKxN13YhlqFSMaRqpFgyuGaKkqPxtBi5LO8L/3DO9Gup5b906/ycPABLA5e54nEA3/e4n9tLUJB56JOlNVPiMufbbJPbtTX52h8FCk5cwn5sfrpfSqBjw46Jo262ApncSN8nUT/9yaayLAVIORUUFLLGx7HojA6rbcVvnOFodY6vQWXjNfKBh+iDLkgiKEPjR7T2azRsvSHsw1FLbzoP6ZRyChOw7pq8jSk0M0SAZ3KNca8qTZCCGOPJqAlbz+MMWitIc1UKTUi2nMI5Wz3hbYOXb+Iv4H4eln6JKRkJ7osW4MVpR48a+7obB6OLpbG/q67Vp4pqrHPL67v9ouVZPqnorYfCTkoQgKmOb4MmTJFvaOLzNBj+FIDXM0QQsFehRUFsdX+xVCtaQJnYCYPDNQQB+AvakrhYAzMIwy3FsRZxUE5JnqvKQxHPXfCWvFq94vl57IMkQy8ubvsbPC2A/VmCpnvt0Rmm39MfWRUq+M5sMFFieD4ngmS/m7Ihc103eRWxAKaB5klgXnbUkVYTQEjEdUrwC7GVm/xeYOUuy3olJifkCQTGlGAbLo3YHNCeKmv52jcsR0vTtmHGa+8jKGHue7f5R8ijyqE/JAP47mo32U7/7LvIuoGhIcEz/MNF5NifyT8jJ3IUgwQNCp71QMAX2cOJqpk+LkCZIEJDrLHU2x+i+gKEPyJ8S3rrD9hljuTZtyhQs0Dru1KPXsHEhJ3WPdW0FCoB7Z4zutpWS/TFGo9KICe3Iv6t8sGTTnh/FVbMDgmsujhzJrEuxHWzz0WNybczOEWGJSWnaZ1Ds/L2UJvy+CbUplvHU7gPikkak9onEUzFpVilXnxFNxQGXrtphKu097frIh3WU/q8/JWkw2Vhd9Gczsi3iHwl9lGoE511rTvnh0e6Q3cLA2HCtZnXt10JwnjGQj08AEQeZ+F5NiI6QROKM7nRF2zXWpJ0WJvvj/7nkzSXHueUcXNWIRLaR2xdcKnp3lztnY5Upj3sXM7V/WT+2w/hQ97cYMS+2SsYME+T0YHrFbBBd7QLvuQ8VSMOQOWuWzlpAWxzkYHGpVq71ksEiA2HifxNTLZUhxWOt7o3Us973VuNgv5W1Z+FnoHi/5aDBf/GmkWIThjkp43HdyOe65QZc5h5qfy6q18yAJ9BTD/AIKVIjpHUUmccdIbOTUkQ5sDlVIfO2jGPXIWbenxFyyzLlJwKloLry+PlQqvga3MUAaJe57XnkUrWXu8jPHRkwY2VTmP/+8eYwm/zIN2PFJqFJmOTfWLSwh66yI1cII9i5+tLDLP/HiOsYZLCSojnPB7uazLfSHvS4LXZMmhDFgctJfadIEvtiWaBr3fpPgh8JP2Ah/OYzJxSvzBnBvgY9cjXnVA+TQJlONXBXv+01kJMtLwf9oocjUn1Kwf4il1UH1CCpZh2H8dMT1pwYr/X2qovFFxTMz2LhgHXRnwhYEr6b4TL1rZlQNeEONp9yrZjgDRWFNLfpd/eYsYtBwW3bc0ubzesJrywhUTtk5c9aHrZ8RFLlUahSkcAYbEJEByWwqrbZL4Y0FN4OGu/Fq51k2McQSx3RvP28IY8/G4t2goUBjAUs8LkmNCo22j6wONLxysqSmSL7YzhZIWhMK8uzc5pijyUANgI7UpCR4L+5pP+ZFn0EkHZSnejwKbEVCMT66+4s3dUYyInYAuuLLjYh/OZ9sUIKd8k3z8S0EwZS+d/mVx9TA+l5mR7gsmTUJBjHFK9MjIOvfc8LyJDR200Jvdc7hDGuF0UgCuo1zvw/tOE68EmINgSEGliWTv2qIof71EkfXE4g0uESKZo9SyqylZYhGOvZH4nOkIEhH7ZPzrL0UoHqfkYWq9t1TC5X7+G0/h5CK37tSX0Z7vnzMid6aqLoAsACofSAr04q8aAg2SVJZ6X6cvuhRmpZReHgYivxRHrAeB89X5xCYB37UC1T9G6SmfBsOCNruEJ/DEW5NfBykYSvW4ddS3AxVTeu4LtqV7v9FV1Qdwfc9WXpMkjdISZaUwouAarMnOB9giUR5SsqosZNqymr8zsqdOEBQf/CgFS9oZlPle+Q8eWL2wq/YJO+PfyiRVopdCcbg3sDeKblYKqUTV1zl6TthTOmkojGTZG1goOJU1b8DrdMPgvHnaX8uvYGGrXO6UVjpMmlvXaBVjdEZJwkMBqvUnqyho3YvCCEGit5laL5qeywVWCAv0K3Q9zNELaa6T4N5B01tOqt8UFmzVd2ET2wUQkWRVgqGFlMJ4mguwAvtu570KNdnnUWxvL7gsrxp42r7UH7pPH4qQXSWei8xwoiuU20y1dWqYP67ndDHToYiTf9qhwQ7bFi4VwcmqOlN9UyjzeOsjXAdvtfyMnpZk8QcUBrVZOTKwINmDW8dsCBmlflfJbDZKZ//GIAJ67O/TlSXO/bwfAeQDGsDJ5k5IjX7antBVhn8WhHJgWAAR/+COWeYLWTWOgT3KoveqsjSL3mo7AcipJniV7nVYwj/5RNkDTUE66eLiJv4p+JhX1oc1DLbIWCDMEuvaUzwRz5EJrLTipaEr46OHFL1sPsuzxl0ud72Q+EQp65KWjtG1JUbpXK8SjGzO+v/UEjFXYzRSn65iagmyTo9EZEBJR7dZBB3Ht+0an+UK69Z0YG0tA2aJ7r4UOvIaf+mxNtVyLx4m3vXAelyfVtpvxbHJjLoelU3SRop3oAZFOjEAilcyzTSy3/bTTu5ezBR4yy4j2LME5RT9JQpisHlym6KQRx4dVnZIAg3CCC4qTPI+McSX59pj4ubkjoYp7zFaA6Jpm+jRnqHw5iuzmMt0B1V/eRpFE7I30lfYvhzI7dcpj7AYKP9GKGLrRJkl3CD9QKsxPylG5X3ee0bWfIynp6xl4HQ/tkxYzU2y8djmkUJ/MdLbyv8uk37Hz2dySWu/Lbe5AHTqyRLa1Bwl2CXMwgz4YhEM7mqz8Kod0pZZ4NGHrxlVcjGcqAWBp1wko1tgOF1CYjfJKJ05cHMpbbdp16af+jkvhCVz/QN8CCbZWIw0WtIJKAG1bEUJfcOPicNAGeSalYyl4wWkVehhaw9tU1hWFqvlPIsd1qhjXLAAb/VQwz/XxUzDMGoLrWMpJHNcdTenMtcY8qlt1nL1kCNLpVMZleB0UMIuNXk+IHjxuGoLjg2L2Zy2pRJZyEmxDRLsh0IqxDJnli70Y0DHosWDhmlHWWXIMRFKzV4audKOKQO6kpYKS/c7D9j6PV5E2s/pKEHH6OLA0vAFXZlsYXZISScGHbakdz50pAVTa2sqWLLw5T0rLNTl1v8cMlULbZaIq5BFL1Nwqv0t8UmpixfSarsmqcRWVKnD8QNZt0eysmuJtIqhj8I7xOn0AfdEGjPAGO+dA84BvBR9cmPLgkWX11k/iwD1QZ7ubxANDueKG2a1ynN3r8y4J7an+TtRmtRnjT1YZSQnPdQ/Z82x2bGUEu7zDQB2fmd0R5W8SabnA8E/yi2rN5xyxpL6E3mE6VtgoCP6jNwKDaeNL5utb9BN/rBKj0fyr9Q8th/O1wAw9a84S+bkOBZ2kdbt8oT8pj5o+ehKZ/42BWUySxOHXXjx+dSP3ucLKePPZbqLbff+29COgmOBClk4eK+Pjr525JGixWnYwtv7sqM3lmNZ2SCwuHOrtRNE4jNCdyXaEWY3K0nyDlSv/SpaGd0mNdeE/ZnA9J7lp+sRXM/2VfIQHDjFNgneP0w+QP6ECTOS41BFtWolBpqzcPcpJnbwkEbxEkhqp+5CErEw9bY/aEPdqoE0+lyYq1FjmWW905kkj93TAcZTcIRbsjYW/tVkDYy6SZlJ0ERNL0GHduK3+7HNN7Mj9uLUkRZ416of9fkFl3Flc9kuGmvfzHPsBNMCJHCq8MCsVD6uGmK0+9jk3ltF66/23EjKBaGNzTh+doVPFxWd+RKxu7+AJDUJo4i4gNg6xmNsNJXPLindTZfioTbi1bkNkhXg6t8OoEmDKy5RTt5kjlT+Jp5uUuva4A/2mWDIs14o7picFQ9+Ov5G0CQeZBXpFkre9k/eTYiemM3qTBEw6iP0kqJE28UT4ApW/NYn6qhfuFnDTiBI9IioMqxB3/+nFN/q22Y2T+YZpaeSzmJwNg6z38pold7zms0d4onc5E0A3Sl6oPUNROtSiJCfrIMjDS9cYAdGlek9nmbbBYFAd9Q1t11emSosIIwXJAMugePtvph+zgdzmNz28riUpFNJBGIZ6cif5YZTA8zbDwoPVA8eA3WZr7iet/hIfzpaU5Q14on/mzUc4vOLXf6YkIMCjycPFwuNPmIvna5siVUorjbRZxi/hqb9NDZJ95RboWrWjqLYIhG2XGuZGC+XxvSbIbHgXKPNd72POg6wRO9r5n2C6tZK30r+GVksUGCk8VpqWNuHVc3CJS8DPi5UIgPZMVp2AWvm0DpeHsntSwR/qx21QSDgJ0C/TRE36eddOF56NQTrvdegokMkbiSL0xtF2HutoMEqfXwc7UNW6W5AewNEg3GYj7N5k3iQ9saS5zVgLyixJ6lQp5SXSnUyvpg9xi3I9K2BmTyE0cGLqLUgirA4J5NSmOas3epqm+2Kro8h1UtkIVKqzOA0iAHhlAwKkMglBicWDTVhafBxzJj3/HR7ecLXfrUpu3Rk0uln36wYepFmeQFj3oYYk276H8+pEvKbJSrXZFZBHfWyLGZR8NPBeIg88pMjveWniCWJ4pJzpGxeGEAZJrZuqnXK1Up6nFOdBHrpRCZIhMVrY/LgQlyJorYnYmmTT9cBTA89qDSswtEr5sG57b5gSaMqRzmlW7pVfwycVy5xPLn26XrMTtqEZ6BMU4AQLJBescYr4r1dchQTqGT6Ju3qjKLHxlR6VAGzJCln1zXGeH+xrOG0wxi+KsxKQPyWPWSmiXh4ZAHMEDdb1/9sW3U6hzpDtxUZ2ipffYv5WQxA68c9RI57KJnrlV3hKHdaEG0rN22p2MWP8PBEDbnNMbwSBi47UL/cRygwgKHRpZrDN5oshYD9FvGqg3Q6Wwp7TYwcrpBuAN0vNQDUlMM2j2OzpZNiv7alzIASU0if5aIjcihEHw7mVZMxhHVe1VfC06EK4o2z+or10tKA4SLm+ZA4YwJBGGBMApyrRSyojENzKmAuyBrxBbRewSZbTJwD/m41pT1oh14YHGfVleWvyG5+f0/qzGj42U7OyYgjMXWtnxM2d3P7Va58SoDIrYSO+VNaag3llXjVdDHncDhBWvtN4cgqj+WNExd3YKDfTUIpRlbxruciPsXRUIZpDrStmDqR3NFhgSdwb21/9gpygISof7B21gvG78xc4v3X2N+d+hp5NIZdJEukuIk8Jzh9W5BvqGe/JuMNGifgF/2Ql2fQC+Pc1gB/7jL2a2nnCRxz4cRh2qPBPNqEOxyXMuWu4b3RYxgHoBd2QqZLLgqxdK/8AR6T7ZyWYu0EXNpfUZh1e6iU62MpPF2Fvrd56kidpiCMJD7VVxfHsSVOJWsBWbyIYzgsGuUQ7PmVoaZfAa14tuB3md6KInXOL3atj+Q5DSE1tG2GxPGPiooqkZSbrFnvVFzfuXr5vlq2W9kQDtsKsrI3eXpxoXwtfDr/7AxrI4Glv4keaBeas7jmAn2jjHgSwxapA1CwDE+XJcTg9YapTyCFxcifq1XB6wI/MKYWxxW/FkVb/0IhTkddHMOhNLdyZRZYDFGHIolFts0V7WmuCVcpxnrzpTA1395NTIgVd16yzx+T4ZmzlFDlqBLaHZRtDUcIk4/N8eBmLW+s9ntAynFzmkBiJWavm3tlBQlOAhAAK9RF7xOI5sQVCtC82ofEXf5fisSMon7zjpdTNQ2l1xoS3VsHa18nU0pZxqFpvkKK/hQ2Uv4RGYVRo6Y7qahBRzVyRmPanKM6FZ9VBzDgvYeJgo3KjNsqYJ8VHi3rFlhFhyFthQV7i8hshjT61HzSpt4TyZQdZMZww34wKV+ubc2M32D3se7c9KSWvyKN9s3NqJpIlvFCvzx3fH1kcNJs0jKiyQ1XW59Q0URgsBrryC9/kGtYGxtvmJtvrIo9H0X/6EIzoHKnNRw3iXhdlijDB2pM4TOju6ewbIaXx0msfg2+SBJw8EJWrO/OQZH8ref4XTGLXlxq5kTXRlrbBM+V7tuF/WOaf/lxUnbzmOjwGn9/cppLbcKBLgRl7OfByDl+b7O0i/ENkQsyBKGW7gm2aTDRz7+cMmb9gIy/uafYWUMdD8KlRSHf5HFiPc8cKMai65sYS8ULiY4osRrEIU+O0gCyx4QltMH9U+eCfh2gPP8R95VVbejcRfdQl0NcIYSYuuXzNoKCorfmH9gH1wEbcit9yrwAwfgVPCb4VEvI3+T+B5XlxTuLkdoQ+07wo4yfqwhvVcP6ikIPkq6IEnsDPo3wbIJ2qHBbo6FPyAs/ZtNXR5lJMY50vMPA6SU86FWWwpOnUpuC4NS1/VtsHS8uQAgPf3bqlVK+kEQq6DPG4OoFkM47nniOgRla2NaG+kl6nLVXlZ36BF7MR3es/hl/nLK3dupdkPaz5/IMWFIPsvbFTsy9IsNnjgmTEbHwc9SiP4QD4TQfavTHvAn4GfeAvfdfb0CPTwF48qU5/fEBYLoQQKLRH/0uH+EGW7chi+9oUBYikmojKYLQusAFwXC7deHkkqRRBCtHBfoVMTjDP7kyhztlhQiQPK8K9E5MzOCQswdla3EuoZRWLU3VSjq8NZLuCqtkHZb1KyMAMg94+O8EzmdFwJ88UKbKO3CZRDZj2yX8QZwMRSsYus1drdxjnXF+bm7ncqp6/4QtPZnMyM5XdwjYqNZj0zJ4e4TI7vBfL3jGMDd8d+c2nzLsfu7VCMd+f9YrQBg8xHm6bk0QWNn3o1zKJ59K+LZ5ceY6qmP7K5mbwdu+2rlCi5n9kHjw6xBU6dbdjqvzcfwxhyTANZB4bmwUx8DsmzovXv/ftse56XOWNgxDgc8QeWPn/ACZg0OFyHaCFtYmBE/LNRDHiT4vg0cGcY3xYUxwzjjm+tlTJJUe51+6xVjx6SEXRcD5UI81/t6euXtjZfi0qS7o8Py61pQwAzmelARqL5MErSXIGgCdLVYoeZI6qWHbAd9GcE9hAzFg9wHvjUXeCRQvYhbfIE8qxtN6o0T42ucOzu5r8rwq7rtg7Xvw4Fv6z37taNhNHWU66vsv0VtSgrw6Ng0+el1YNGztkb54u9mxuUiQaWtW9w/1RPt16kEliC6DUAU4B7nY0x/rbeiS2muZNLGPxZdCpUe5No58csCWy8XABmI9KMO3udhZRcuMnS8b6FaZoGHeGdWr5emKL761BKnMMxMoTMzYGgWkppNWKItKIWm64+qqaSWZXxstyecKAiPqdjdaRC+mbSB7jrOkoo/N8fLCwRooIVl/c7sdf7zn+CuEIKWPaJj5fpf4Sc/6lR3Tr8mRsgnC8OKh2Nr3DH/Pq464Pozr7tDHRh6z4NXOyrjSQ/ClBqgZRE5SS3tv0xaW1gdiCEs67Pg3c9iJxpULqbHiidRkndG+FBBLWPX813cM4duTDX4Ic/n9ZUbWcXjDJ/EOMm61SHTmGy49sLlSRlNEw+X4uunYhQtJe753Vx4hLiTW7CHHTd3Er6frxTQu2WiUM6MUL24ciaZ+BuKu7M3BSNw1gfKv6RZCTn4vElcGAv+NzLbwWDQtB5EDiy77rPZc0r/BUur3a5GI5UntCruLnXhS7czViThkM6BPh6WGzuKWK9R5MqdW9o/6JuSOVW21avbw180q2a1EumrQT4DqB+9qlvWwbqVqvNMMUNCqZeWELOqcyhKJRNw3WM0pFSJqSiwZ6NvXFHInKAiFhg71ruMgzNK3P1+Fra+fxTnbmDgKdWEpLq2/Db9CKbcpB0d0kIyRUq+ZfID9QbEuQe8q2+XvuRxGXLDhl0NUOQt+VFM8r7n45devRaJuAcntTzXEhTrq4vagiNN3ubY9A2D2wiJRaoSBVfJImX77pgwv0vZF3gULyZ08Ie9C5mbeLn/d3JnMc8zxOag44cPNympBLYcSYfmf67MF3k4X4/mll0hb4T981g3cdLiHKHsu6RpMkj1DtHPu7Du6EwXjKEsDvfX+3sWiDWE0OLTR0FohCR7VHrKrE/ZzSAWIzVE00WCxvJIzVsTi1xZLxRQ0kbdD58ulhDKOeyhYTKfSaums7+L2v+4Yoae6vMXOIw4XOuG+JuqLlPS4UligW03nQB+BVcV63eK/3wUVQzRN+mg8cfx5ZdkN173M7adk1zbd4jPabOD5c+FKqVZzkFOiyt5z/AURxSf4tgDccSH82Uhm+tamt0fSOtHwtQpJJ2csGEfN4J7/lDzbhaOkb7Fu4XBWdIq7lMwAQws+bhuAdG5zUgDHHq2eQ1QWRag1vNKqQfnZJLd7U6F3Nbh2gOBagFX7WZCmC9hNy6DqFuA/eKxjAL/uZPiRfDxpm9366Tu4v3cfJyqbua/kOXLRN3kBKSc7w9T7U8EvJEod54QZLovs4FgWtP/z4ahE5T/Rv0LYqM5viUUqz/BpbGoRfIEPiKzWKijaWChmPrQO3Fm9Rc1PZxIpb6nUyCLWOv8by4blZamsSmtZz7KJOyHCoXDi3dahptYalrbYidNj6zShHkyMpqGpUu1bufRzzw+lhcN+KETn13nUdrMhnKpqM9FaqMgYZpiUvvR4iXZ7WU4xg6J5K4QlQ6TJk0Tz4iqBZeEEK+OS4ZO0V0yVHvZdnbXAzWiv/fWDincRMF691xClPja6nREuOw8pFluCr5c9qO3XCicn3este0rL+o2C+gJTfIpQyzMO1t2OUXf3FTjpc3dR0KIcGt0SjAZbPl9kQHYFyTKYN3nGJmxk0tARV5C9jShm8wW+W9NlDpir+xqlI/Tub1CKl+kLKKzh8Tz7HFSc2Mv1yVSJFu0b/v1xoxTmRROqJrDl9JlLSYUZxi1bhlU9obgtfKZoqwkW2lzVMsu07+cPVYgyBxQMSNhaKsCo/YG8uY2SFM5wQm2qWzVrssfHbzzqHKbZRsDua2kp58u0wKDN43zJ/q9dbzj8tQMwAC7cc1sjNw+b8kNz6+os5oSZTluu4M7vqDaufgxsMTiN2HX8XD0JW7qNe/WsBavze3GN+xRgvQ9XWeYiUBiGgFKXKkc0bHhCphCvWuFtkY2wfr1YJCZoYD9MkMpGJ+WFtk55tEqngXFW54zRtJAqxDDvv2YLuzc/WMt8+zI3fefPKPzUci7HihnIo3RwJCz//8FF4PngPxCT1TxU+Vh7vJ5/v2blKJ7Du59+WWGGaCqhA6C4HduF+N9qqg68YvVLJVj3OVaLHD2tEFyPyfz0NFrTNjjel6bBFQcCWltIQ+AAuUDUWEay50gq14jrFKV9Z5Fh9iMFrs/akkkhsFZ23MgeFKU31ipT1Oy/JXemO/mZZQBkiFcaJEgEzKNaBB/qb/+QEij02OyAgQ/jdaFEFP/8mptxdjXkZ6NXnrZPBcYpLznsLh6HxUvFyxP15mg4VRzCC6B64IJiR4ZkBYgNEi2bHAkL1nQnZuoYjsuTaIZ476/2233FwdBD/39lZ2JpEsyFyp+fv2IBjoc8B8ES4CNWWY+dMzPjmtLzrq3vZfANan/JKu/x7HHnqWdhmwDbliYCiwnL7V63DFd5uXlk4uWKsoIagXnrAXHKma8cc8rytx0UXR+spsdJpC9QHUx9xnttnPXH8sg+xWcpDeohvw2PQzOHMqTh4r5qJvZAI+GYFuWWLFBT3/2KSgUyN35YmKxdATvhgI5Ts2rZx56IFtaPJwAIAjxjW4WL4oncLLSffhuy54WRUdVcfw95SqabwUnk5EnbtWytCQd1t2IS/PjIeI1EC7bfm+Eg8iMZc29fxLFXBw2FDybwiOd6K6N2NaXB94Hn3bj+4w/3raaENl3+zaHhx2PwA8r03J551G8HMh+NmbPWg8j9Pj6jgQ4i4DHJM7lZHd1AaZrRzBRUj4sCl+N1+uGClA2+PqlodmoLs4VdyPR9Qe6gtfopL/rJ87vn8PQIl2dn1OKS3WyhoBjGQ3RuFQS8uh8I0fWenvK+tUkNpTQ5xAL/4KpiQsd2TuBvw1G3rVS4HhZ8z2Dk5sfpvNAEDzmp969sLzqUIvJb4SppBmAG1CmtexJ774ZmYrrvAj09gwgLVUZaS+yxZPSfofNR/yrZvhprfOI64jTiPjBZLEOPjUSBU6hPqzwv+IyLIUl5aOnqBV4+PM4dVeaiG52iC77TMZvRFmhb9Wc2ronaU3JrFCympY9z9OKrWeYYzTFiIEubAStPlyIWNrisVu1viUvKGAPIirzXCLXAcJPPIkAEOrc5800+ybVK55vl5IpRTcAulYbbN7LbnDUMNnbleN2YM/K2WrxwwSHcVxdXl/yQ2lg5PYX8Jr52eGLNPJtciv3ZkInWPJJ6+TlYFzasc7mro2Sfkyit6W+nzrLz68jhJmHs+cOMed2hQJyQYOu+xnhMDUJ6i0iHXdB9vGAfk86BC6v994mr9mAwWxKab8UKdrL2ryQCrgKu+boaC9kDz5sc9IF8optlTe7n71nwsG4KkrBL5jjbKbuC86Rf6Whj7cM+TOtvGR1u3E1b+x+bTxQ/ca2ojvorvwun+YbjkhC4NNlnEdtOitWDcMZHAWzNNb9C4mthlzmUgHS4R6caFOe4s/akGGW0Y+H2/j5++qgLPOIhkxaxpc8r8x1F340Pp1IdHwMXM+7X8qq0ZAXkVp/jr3tW+6iNzo2aXNX7YCTCP5N4i1auwNAibgTnyV9tPfJyZZZ2N28+S6pzGcepZSTzTWyiliWai9eZan7yTszaT03LLqayHNfEyoTKgS2DsIYESKCJJye7G7zCg4udAL0p+MzJ/uarbfs94PMJOTcZfb01D1bY4lOsF50qv5ExIp+TP9AYld5auXnew9qut1X7ENsbg3LwMEfNWTmqQzRjMGqueTf7/GyWAEnpYe2SJkDmryCcirwAZQZJ4uWgGQQ6jOBnFA0UUXzBV4bc9SARMXXaU7bV6njkzQZu0BSDERkKC5bDqX3DwoOCqyYw8wmEjjmNsbijwePw+gyKaGUXGUkA49VvZiMxoWZzzgWYKQW6Jr15zztIAdz57L8yv2KMwLnpssMeTLF6JfDi/tFpzlkSEGnxdLHzYkOA8D4JTdUIvu460ZUYM/TyAfpjQics7+15e72Gck8XpKDPHbxgMPxw8YBIHGB1HJp0ZHpQHGTHSioApvW6JFj4rc9KiSUyenYQ8I4arWzpZKlTztKpJ/gjuwD1J48abg229GkLxc40+MXq308F/bUwnbLT49HCf1ysz2B5kr2UFsowx5Sd9eb/AEdbtRxXitT0YBUH7uu7Ot47co245DZDGR9jZcsMxdpWNZC4TZFsKUI+iB8X708XBfyVRP/TemS+OKbQILOyTRvGM+IbJZe4VYP7PuBkzXfTxvgtdFFlcJLTcaNRGJHJNPz7bamf4aILEHKmWY8ed2faIMRRK0/FynzjwntN1BrJRqMbBkoj86aVmVH74Un65JTyU67CoDM/oPEmBEXSzer8qoYpZn3ktjuyaToUDip6ylK2oFdicmzzku35Yi1Js9LyzxTRXBnZ6sWe1+R2M6t+mCbh1u5ZM+yDwVza+tJAbh7qycA2ZOmlpvMWGGZyXxHGOvmIcj9/p2UpIk7RVv7lB3wxWQg1hejZHEMn5d6BZuhDPTH9L8GJRK500N1jDzp2kBvZiDUw8rrWlsNapg2F7xlIyNFBJGVByh/EJWmF3D/6CkVq6O2lTmkyaGTObheopgRVwDBe/Q5cmDmqsZnuX7QKuGeixKoLj65Hln37a6XJafP4H0xL7dlJZwPgopW/48uuJPXYuZvFNWzdAWasDZ6I6tov9Tb4bchpENirAbh0a7YyytSmAua1N/DUqztbW8DorZdo32AhmsuadFPit+GXxSTxmGtwvsW9os1u17XNn/A2UrMRJszLmDCV5dx1mL7iHmPz2O90VyuhvI4bM2v1i23u1LNjhyXf77VPyCw8B0A/NTMtbeDRzQnl36W0/ojkfAeFHTY2GI0UiH91ZTg0gIBv5Ey9SepjtU2/Z4Plho6KwsLFzp1gJEP1Ih18qN+aSn5+ZlAZh4p/c5sA4LeTHrGcK27Q8mnvRAK20CfM/DeYDkS8dJBpKIlhhq1WX4o4MCpOZ1l8IPve6ZkqYn3dREE6s4pHHQNOO5opowirKZsboZSLg+JbWHFEMCPPAZYTsEwVU0C84/McBF43glWBo04lSihY9N261WaIZ+X2Q0g6uA4KL4fxBy4syjlHqP/eiH8Ql+uzoBi/fSINB8DnWs2y36AjbJYdVbFLaGNk6krGfaWrN13Mq+znJFBA58PT3rL5f7xDdRqcbNK7xa70kTiqsoU6pfbKjsJ38ZWlJR33KT4tlT+2hWVS5dNJru78+O9tVGzG8eT34hkojarPOag4PRI8AmCQg55ZtKgBChtCMsy+CGwwoaIYdvJ4sbjbalPI8VAJj15SF4NzyGDV02z7ZMarGr3qzaBvX7crXQJzsZDz358gD+N+6wa7YCusKFOYL8swsfnyZDzPYhCgmQebong3LU3/TsQ4QBQLY/1PNFEWI5JyTPJjswGSC72JsANBa1YYLOcmYT9vCmtcdSxqnwEYawFbjcC03mGu2HNeNPsnJ3gDKnmNYUP7WSxOHJsJIM68g03VG4hcnv0xvHtmIvtVWv/ZVUn3vpceYoocf+e6P1+dOLtL6Tsmyh6UqsjgOfUSRhjASv1zINst2sgSJkAa0ngp0H1inwm7kxUprl3ICzFUNnWjHJMjKbzhwp2PQOEUTevw67deA4+sBMQmlZqqqGeorzyrtBUHvu/6BWQDmaXMVpAeNxmdu8q4BQJLSRLodW0hzWl1ygLpXJ/eIYO/cY/YdksTQ3dGgMvxaW0PlG2Mfdb3pVurEAejkCr/6PHFKTfn5tK9SftD4u6AAlwtCfTjaJCEv17DbjCQCz0JCl0apgQ+6Yg53L7AByqtbxh9A8psS5+DGP7xKJY5m066i7MVUvcToC5Tk4AEDBNiCNrzeIho2k8vrrR8/89O688KsfhnZwvl5yr5LQRIX8W8U6vCB4MoCUruiyPRnltbdTR4RQnTjZB0egpdpGV5n6lo2O1vnSj+Wam0u+Cis2/OPpFyJgRZ7SQwQYFcpaYh+zm01jt2oL7yXAAK2AhpeuxRKOqldWC+swwR5a8AgVb2poywQUiwsg9xQ3lh4AzE03AcbC0CCm/Ae3c0bG4QNuq+fJRr27Qc/qtYBgD5PX+cluXQtT3CvI//j5iOBU0eAwl0JXW1Cs/NzcUonVXDZK5FEssCtkb8QCsA/MxWP61WVYEoMlhNhCxuKG7usfG21d2CEbUtkcd3uGQdbIZUxifqeQMP4NcXkWui8g11T1SwiZ0/q+M1yYJxt7EpODDwUtLIANe3TGHwyZOurH/d24EF0Kv6C8F7x69R6YZiSBajxV4zyK1tkjnSuG7pZ3DuKrMXCeK1dEmkurny/pR9J687u24sOOP+LLoJNY7GL0TXHIR53271lZdbD6xmnT7wnwYObkLHB+betkfGTvSVgHCHV/35wh+24bYzFxprNPq4NGF8VvXT/Viv3cnrn1x7poGeh7MDN3CEO8Onld/1yV+ndUDOAClmpt2O6XruWY6c+CJ4JhhLO9jPA03OhABA3A+K87X2v6o0W9TdvznWOLB80jD4h3UY14ierTxCs5Sd5ucBv1Ec1WvaasSP1e8/hvYSlaqN+dHpic700maxtFI8iHzZ8Tc+4V1ciBAtWirpROH2vyagYIZ1830VjPxW4tre2dVSOojrqPBGNkEhfUrk/5bhUNzXZ8CaUvLIrlppoWtMVth44ad6DR2vMVRLfM6oGcRp3EOkC+TI7nTDwYugpXWaaNu2To9Rn9XmQux2KVBLETL73Li3fGPkwF1RwA7qyFfnvJJ2rVl+dsTtaOp5QjQ11Yww6C3rSRDDP6sJlppw1Cv9xUa0Pxs1Q5DarPq4jNKPF0iRb706VJiKtHUh09dW6Jxg3QHR14oKkj2ZqgFrHb2L1ZhuSFvtV3Nmb+RGTSgNc8IXtxsiuR07fjQzNWc30ghMEKSzSYFt6MukLHSWReDrfb36qJ0d6BdWHO4jd3CjIZmj3aenUqIzUAofJbWurXWidrKHF25ch5aYIiNAfnj36S3Fb2axWlYbvTn1tBMhH5oaew9GnE4Cy+Xe7dE94aYw1Re3FU9sDAJJz8Ej4a/wmkepDrYYxE6eOFmipQR6nIyN3anmbHsciu5hkSm8R6LZLahElM/ebYS8H/rxu4rxV/Cujs8ueaSrBnzMaE5eOsME48u98QPlKRTl85eWnVLhl2tiEhZ++pohv3u8sFhrzQ2uVZZoi3lM8IBDGVFQADuxekXfBKwlOAEXOpOEW766lDftOn8LhqCPnDlqJs7fFRwgFBw7Q4ycXMJKbS8JVUOmOkt/CS+vonXJjtuPRobDHFuNGF1uSWCWhCpkNkXyD8DZp2hgWqX1wrXmWEYWYrXzwyCNIK0X32M8D+3ypJZtoFJiDExynHzqYxWXzhNtINfqIi9qeZfGsPZVymmCPHPdvpnnK5GNkuVdIuM1G9qwpCc6OYRg3bEM2v3Te/wxw231W64iKiDWoWVcX8L5tzYcxEc58fZkpAZsKtvEMpki1nYZy1EUkc6dhizBSb78uzCsYEXB8cfT7nZasuBHKIa8E8Y6snjz95FJGig9wtri2Vk1a2ye67TOHVSaSTTjBQfrPsqc8RMyK7flVrEqsmrr098Kwgwob3ZmvcwFL4LyBsIInz1pXDAAnSC1hqwvDaVbW1oVN6FnHAeePPB2ZYMEwqL3c5HByQiHgLyvj8PdccnjLTLOjLDtdHC4F/eI4r6uG533KCfbNXUHdP8NG4N10mH+mldX5IUEIgqgW1DPmuwJBALLkYWU2Q9iJ22haIFfDrWGo177XRRR/h9wj4GF6x2SZmOjCzcCGioqmIWxdPnms1EBwjwMJFXgzCijFVl87oTUA2K2H4k/UDw9AIZ4bYVj169RUMqSjUNdqASqN+EJ65r9rn/t+osFmwXzg0DTCvPrCSESwpVvqSd0xBlONQjXu6Duu03Jrk68tJ10jO98VOa0sd1ht6G0HAMXdXbkAJSQXI+C0W212jLoFYRlzdTjljDI7wL8G3pYTcwMR01SJKdWTbg2pkKF5Ir7OAMDYKUswlnLh9gastRlJvSqo9U0RI50r/9ULjknHOAnIwJAX8rN62ytWDRy+aJ23iR9qmRmwwCzeb7BiPgwimYvRdJfRIXFB7hHGlKQ9Bv5SeD7lhCS9xwOWFsb5VG6rH5h5gbpZrJLmHSq2BxL7Se30I3VUAjVNEYprpn07kjPy3Pru0hr2z107PluIPoiEd12xWXq2xvB9//HxulH2uyNmlbnNVa/vfKj60PGxrey1uKm33boSGTRrJ6EkmUkpCTIwDGxlsIS/h3BFMPUPYcDN8mQG734amfsqqV9Cp+fMlyBv2fbsjga5byJ1nkIAZh8Z/oWpyLpA0vj2LcANUH8TCAclAF7kJhLTTFqi93UqtrHGADMtsn9qorMAjgasVl//0+co7NuBIC7xNivYHMztP9pE350EKoy2epbEyi5rXXuJl2wGhs+CCkbNGXV0a3tue171vcVoewaAh7vtAnyp8SxNsjLudIjfRjdKYa/F/khKYjK8PPzTaG2c+ezgjHQWAVr4bSMl3JFETFT6kl16pzFgi8VNhfQtpL6zC7uu8D1avw2TnWZK3DPm/Nc0N/o2HZbb+0yPFWaAkG0UiY7HaTaTpTgGeHLDozEerN2RD1M24yn6HKxEF0V4tqacKEZ7ka+tUCdZol1cA1AxktnecTfcTWHW0RTD3xLRFMNjdu6CBcqDRB0rMnsXyj5zixtYuGzu6HBmTbciIwuEIsYZ6S2FDtSaHrW5QuwJmoA/679N0R4bteT+DCJJa2AsEcSjxLSYZzpY2pTSADHCROsY/YqDaUjCnbsR1ESAWfT+2Yj8LlzpTq1fOEpsyS9akspGHFEsJBdLlN9qHULJcQU2DbbVVWpkk3DqPo9Mi+HllmHbqkNqjpdcMH67vvdU4z6//IjmMguX2NauIOSX06iFtZb1focwN9JeaSKwtAtH56K4G+fuB69qXc3ibbftFhZCtNc4fCVjUIMwiNNjkAc1296ARUIhY0vjLuiSqxA2dqlLn6yoX7S5zN8P5YsVmkTXsaUcft6z/tyM21AuSXDaKzKuGFgQ+6RISxKVQeg87GiReHSBWNrey1stxMslS6Zh0/5V579K/izJsHNLqO9JbetP2ASpf0yrhjaxRnhejU/xnNGTExvBicRjseDw5Bv1HZjL+w3nP0WuL2yMBTlw/IJGa242XOKz9WoJPLcbG3r+XZSaoSvsupbt21fAnIFQOIXUTOTKvB4nH9cL2dK3EXr/Y55X2PO6OmqFH9qT9Odn/k+q4lgfCFtywJvEYVQYJ4CQaflLRIuUdoWAgUlW+IOUq8y2sV+WC0EuJ/qSQHeI+r6TXRdQsK8e8t5K9r/b45UgwuRfY1F7Ua4Qa4bHVjF8LslWg5GxTBtVRSKJwLaZdZvOSPOvUZifXcOHxNU5CfHut0H5J7F6+Z1tEYGiujTkC+XnYB7stXn71U1v7ydOHsAtQDFPkwx8V/OmFYB9YTEbHQ+EJulsJV8F4WIufTVFNyyLGVlgrdTc5KdAyhw0nEJMmKMcDigkm5RaEqAShqBjVk4/c0OIzm4Jhfo1S5O+QiMSArb4Uft4RGAybbFxsl5IR18NgbSun1aZpPdC8rlcaa5jXinDDPAOGMCR07vIzEqy9mGQ2XTv99xSnvMTDRlfUMYmyhliXEkRXtodhVuVD9NfxUoVlil6b8ayPxIU09AG1po8utWFuq2HfG4pEeH5DRHS5HvIVhuYRMdFqccnJyBgncLXu2PvshH1JWbJfywJQ6y2hBDhhqCeMcMHt/PhgUYBCkZ3Ph+d/eH7VAxBYwd0Tkr0H/GxWL1WlGGwMuTVWcabApab/HwZZX/Ba0moyOdW1i3/S6yH0nz7v5kbiz/2J02aW/Mxo56J5eBE4b8ChqehrdZCa4+0pLLTZpnmzE1NhcS+m4ifoIPo2E0UqvId6cCRyt1xqAHT7xFA5gy3nrYj710VXXje+dsaE9V0miKTx7GGsPY0n1bToBFdUHk6RcjgDXi4tpEpaCEzMlj+dbIT1dJh/mSz14nQJC7k8qIPDiJQ283fJJH9tv9jR8Mb4dLqrIUE4T/ARLmEOUNleuIuhCDnepea+iwBuqvpDxmdhF/HqD29+RRyKa0o+MqGIOimYTa2xcWlyAv6uPZEvNVX20nFDCWPLRKmbC/ZC3CxuAIsM0Z3meG5RhoO1ex5nQi1ZPJ5/A8cKbnhkWlq9DEfRzRTkdxvrJLX8VsrySbWVj4NLVoO+Qke3sBbsR/vquhdf+/ywH0jWEgeBBqPY+V6mxM2ER+Whh3avlHRARHrGXE6fiNTQkO2qClww4xJeZvTuPE78aUw69WaWLSaVaB71ruhA3QB7GRQXb+5ncPo6if4FrwddMiNncbYEqdrkjnY+RNhoY9kZ0r6bbrGCuJ0jEB/depoBKP2bWdT0Ulu9Oiif8r+Cbd6xDi2bw0tszlcBm0XoIOjPrLSQN1Me2RlnDtU/TTqiCFkKtCTnDuFzqvjeR5YtUk3BFE58OUN3sGMg1oJMyzRXW9PQT0Q30KtFpRDdz5HIkLeLsh1XttIxbtB35bedQErugs1qdZDsskJMKXQ3pGcs5PM038vaT0HVCbeecpJu4kqBBrr2WAAo1PLjxmXgBimq/leIoDM4xp37bxKZckLgM0wQ+8XBRPdL6+kYy/Lc9stfLyQSiwqLQDEpXBIFXK3FiilX1ylWvyH3PrZJ6ZizyzyafROmIkr8J9oPwC4fheG1XYhyxvT5THqdgWMWLnTXMLngWTSQmn/9hJruK4is4dhBOHdWZ1frGEHTJKoBP+Wru5JcRb9bAJeQgSDYKf2wEe1X8NdR6Fp99jPZ81S4T0DCnkFKAJiEBpiz5Xw7yec52Nj97zCvccVWAE2NnjSoTNdigWVg2SNF/1O/r0y4C/FuTG8bJ5GCNQutTeFhbBYeZe6vUONJxcZYdOC57ECPMlAd64WMVWTpLaBYUQbP6Zn9vdd24VEjaaKHaLJod2zDRvTrGamdbJlA02dz3gkdX1hO/ONxYAEqREgMM2ocHOb5ifcflkNwmihvFoKWOxpJVMKDmxSK973eb2zTaXYbF4jXEtiU9RSWCG+cs5aHMTfFhrANMEXJfIVaiv159TZIopZBbthO8Xwro52LSN7/BM62YDRtTK7qzHF7X6Ju/AWI24dKZTMJUYgy/rBKmW6ADOGQDjygGQ0HpEmu9cVsJ+d+PZHNOJ8RyRVf3sQdZ4vaEE+TfdGVGMhsSRqP6acrw8XkC6MZSRGn8n2D01OH7F9pWo69x3o6m74MTZp0va9W9XY9S66lcdc5GaxSTvrZ6qE8sr1F2mUz93lKp2Q9vro4c05OTr/qczEcZ9Djcye9gnW944T5YvPBX77kovilRjT32p3JFmcN8nMyh1X8JKexxUUTpUkTTaCzKxvnS9AYcrB6MYzz0Okbi3L6a2ZQCYwAXq3W1o9LOqPaAaOPyZp8kHlXGGKr8eXuN40CDO/DYkyNXqQyxmFuF7iSOqjQZlA9NEEBMGtQbTxZdUPdDjOHG+m7sA0LfmvUUF52hgGzAkSIpmFyUsEkBpPoaKyVrhkOnTGrxwX09gQDQCMvlrBG5L04nQFfaPRzQw8DnRM116UyYJfSokQZegi/Y8CViM9At6LuaeLoXTGlNfj3LfRMl8lnlQsZ/ttgkIJUCRXWugOKYsyexC4IA3AdOWCXj2fe6SecQ9lppljaB8Llr8gppxDfwGpJXZNjnqrD3i8/eTUQhsdqOOrv7k8uin7w/ddxMUU7GQ6OuLMMyql+QzffXRxcXPRPXd6ZOZYUFKJQYxoymylGopkovqCojNUU2R/khoL8btz2d0G9w+zeQGil+wIScUobVDB9+/81InuX9lHGI5EPMCTKGb+0k0laaReto0Rpddjm5KUkdcxLmRJyr3QPmD31Rae7F1d+jp5NAPO/fHJO9A8ftLHR2iSVDOnwcL26K6pKPY3hElCU8WBIMusAaz83WA8J7PpBGooPWTII7MTrxwNC6ZEdehO/IzcREBe5YkoPwJrthu4V0QzSU0xf0HNrTez8g+YCKpfDyxI+zHlSQc88j6zdSUvADPqgmbEQqcn0DpM735e7tvPfhoUFUeXNs/UiTThVYC5IBXcfQ6SPILzB2cxpFWzJDMMj5eOCGJ4qZFl8hHB+rFXHE03D8k79YbiTPh0hlJvdH1CkXZ3giRHnq0It/lzV0zv+U3Pd66csaelCFhbgxamdW2BWWNjMprq4iAGJn26zbZ1gIDdPiovb17SnN1IQk4SMfvxSlP6d52JEr2uqGtlOCvZoDOBq/sS7Vf3SjrrBfKFjT+OvkpAELCujSv4DUq0AW1AzFpGGQwuxuc3Gy7r3OlbgE59oGcU2HC1i3QbSCohf1UY2oeRFjltqkiUIM/9djIMgHamn/hhxZMpQNDkOrw1Stgis/hO1hJh9LA27v+ivv9F3wDnMFQP5jemIQD620WR9UX0MgjRFRJWFmcwPLjvIdfzll47h0Yfv8UQXPg450aq10FWcq2Vs3hKc35XyfTlwQdKdZdXcTBW9BRW13GlLLrQ/7bMiQ8Dep0wimkn+4InpPEM1B97BAiEIByKA+r7WyquMsM1CjS4hq/wDC3RbqAiEF6ndH/wAFUvZvqPW/sDb2bnFz87l/lAolSl/7i+nGAbIWYr2A0NSeiXqbk+TYzihqYUzFT5i4C///Gq142eOpPe1o/XGzAc5nkIckCZCwitVj+5rOqvHwoiPxGn4Fitr0n3c0Ifedhln2qVtk1wJtd6vqX9L7PszmzlULttGJpyPd8IzQ/luLxd6Ou8Tg1vm6LwUV9kQiR0+Erz0Il34Sh1xqeZMi/cJYFCIj5yExflLB0b20ieriizP1c9mLTGo7kIz8nDlfRp1XSbDrvHGuC+hDNodGitTcor8Bnngln6PjStEcTJwZD+oK+uDg2Ug7jouPD8Ex8lUWcUR8jPcX0E9SWe4U4QuM61IWUpuOdAeiGwWhlT+El1+3PAAC0/HvAtYMTFvDBwnonXEi5NzfK8jX4IxuCFQKj70a/aJsn3YE2rcqDrMO3cnsbydbrsSMc2AXWK5RsaZ4n/k7MrDJ856zzVEOMHp7lfBLv+QbePpxL+VkLPYCN9WYT+Tqy0lKxyP8GZhePCRzquhIIPNwdMdlimEQXtsSsInW3r5gwwHi8rkYzZMM9YMk80C0Be5LWfzU+NeNyrKzpQnWnub0e7lnOTc8depE8tNRKZMwKhpCECT8joysYzMIErmtXSkH/uu4tYeOj5Q/ItoZrs7trIGSlhpxOli6w/3O3BY2x6eS19SKAoP5xD5nQ/iBqFWNxDVjtlDkDa7LEihFct6XFbQIXaSsdyG6yBc7UUzGBydGh9sgbSYPCX8tk2DriuUoblmH+qhGthG2k76LNHyDzYTnnhqyQzYcyI5I6avKyFpQ6zwgF5CoZN7iQRW9n8plQ3hUBEbWb+XC10QtU2Qfj2LLQ3eL1iuOePkCrXjppbukGH82Hgr2G4b6rkO9v3XDNfrl4SI2AsBe3aE5WonscA7oFBzHSCnahr0kJPmtHogd7baieyLixL2khXoPJ8+5xys9VaunIEyBipi4XphmbdiKVW+5ARmeJ8xqpo/maNPDR+BflxhCSfXvRy23r9eaPwhK7EBFTT+tINZtkSWfqqnARAR/UyJiDAuorVLu3lhdGqX+rhjUGaplLL8+WdbmqDULPavf9QfaMdNqr3gm90894Xhrlffk1Ewr9KuQ5Sx+dtgFO1PFe81Jx6T/90S05OC9bSGi3EZtXIYXl9AGR/V2CVCIiZ9fOYPUoqwORPUHLntDlBmFl5YMjfAtxUmaWUlCXAH1yJ25JctIfYDARPdntEnYXJg7wiY7ojL6uBNgTSqmW3++OFYK07zJ/HXVGow25AW/ybyPanVVz0s9YMBZWcUdadctm5g1CqxDhA7V6QjU8PHadMyNYv/YvSAxtq24pKoBBrG+ZOnXHmr+3RALXgNFnkD3EfBkLuNqjkq50pp3Od9SQR8MEa6DdeIX2lnShYBIc5G62MEbv3+S86pJBhG4odhNIiX+fkT+ED5dL2gjnssUtGGgKmdM5ecSo3HULsxaenNBknOvx5Y78/cRloZul8bDAdGVFT+TAO3E0ZMVCbw5g1ZQzgOitduKESeISQlPYwfp3ihI/G7OEI7zKZ0ob5enAevZBfB4yPOAJ0jZQyawNRWAZW+6BoPqW7gqBfNWRgxAh4UwVd+yM4MUvrlxyQT7Dy+58Ab0fmj3RIjyTiiZovu3OXZBmdvTOnTWfOKD3GjCnsPKvU4dzIP8G6seeEtgDRUQj5cU9BnfPuXVNCjac3kMnMCpdUBtT36HFTZDgnN3GsutFmDQyjUp/ktLd26agwdzPwN43wOpdp+/sbBsfaYDXIDmhgrSpO77wi/oTiU1eapX1mUdqxAfY7VqDBT2KJejYsgd9Dl5Yv90Jppq3k4bKRybilTa3fXHt5DQtU03jFt9V4WlMMWQFNHIlRe4twmGxgv4sqdTgAPdWMX5DleZz1YLrBIso8eNe3yuK8cy+THEWOP77XRdnkMG37/rmief299f4xef7HnwGdDLxjlI+2pkI2rhXS7v4FpPS2WgILvmY8TRwt4z7V/Fod0FW8wLHS1tbOe2B4j5uKRnyVwMQrXfPtRYoWr3rwvqCm0hv1CC0o8da4Wbyq7qi9MpQTh1tb93x5/SchMq+HzgMjI6/WKmHCPj4xpRCjfh/qS6/kNDWhmg1LR2HyKLq4TysosOeL4+LdtzeaXRrOj9iJtZe/ZMy/RY1or6jUobyXV1io1q42+3cgCiDsmHYDhpd6G0461T7vAHEJZfLTg+Gi5Wuyjc/TNTpXctSi+rM2BqT9ZzaXV1uPFxZ6gCB0O/1G0NkUbNoFJmMpAuA2NJLJNZKLUrqE3nyhEdYP7OghlKrKKqKO/fAzLddDGnukeMG7TNtIdvHB5QU6CFihdUSpg0w0KXzf/S08OAsFZQNCPyPdQlM6eS9pyrtOwMH2MiaraqtNFzkb9uxAS/x8ZVw5cO+XZKofjCHY/lO79LZ+ZVhTu6rsaA6ObwNanVVBO+eWTiySGuoRCil8MhBTgiBrg0pxmGvFJiubTlLTDRn0md6vWO4Fhxb3tl0oE64BDXzegj6tULFUPkxGFU5+YOP7vlb216Rnr+AueH9d4f9V68jTTAOoc1beDiT8nrB/Jk49VRgKMDIDqChWsGVIPV8xste3vb9Ss5czAZDmJl0UCdnCWr/Yulhqty0JJCr/RYwe+vI+Z9Iv7VtE+QcdjUltFXWcFTnUcaEqAtmydCNZJdKBBU8vsOR6zTiHCR8unNS259TTdRb4k31IltZx+Kq4ePHJLKwSE695z2u3/lH6YkiT9+6LmBdZiXdTwWwoowK8uQ8KbbUThM8lkVNNwIRtoVPXNds/bBCOOQbZJfYgtJZN8+fz7n0l6VHtqYqmpE7mxtfIUgEt0Q8oQmXKNoR5+rwXJStB1PJQZ1vjX5oiQ8xAGudwXjQAB6vD4dOLYZg8yCpyUQneOplMvKlr/dGuyHksLB6PMAZuZBM4MsnwY94DWp7LjZUpiBM82mycO+UejOQ1n+oXS4fSMvoGc2jelAbQjGM3wJ+3qY2Rwmy1B+E5vQwbpJhtBLM1xFsFJLEhJALn+l0mV9QEO8YFDQEjbXHOtezIjQCuX3vXAN3PanlcC+Lxjt3rajt4f5+J/kJLFhktQ4SL9C0exk5s7Hiqhx9Iibgjm0dl9bC1/Gdx4Mlgr47j1JE/e5wWARHNecgR8oDmVDwoqYUUITQIIjY3LjBDlHS9KGNyVfYTOWtHv8we+mucq7LXyPsOWV+IDgdFC86zSgywLuiHjVXbSXaYuFFlCGvdRGJkvPvTWYx105myADNCgBkBYSChN/BRYssswBipzk+JokOXfIcf5RXNqZbAwFTBdddn1popJVACOVLTt2neo/GKIXEKeL3yiDN6X4oLR85pLsUU21CIJfNMTuRxSr3JS38f/p/E8YiToOvBkovj9nKxk8uEeRR9I1ZP8rzk5rK5jXWxC2jJQafylbtMlI1giHprJlHau3U1OErqsUlNGIxNNfyby6YyZonyuz5/f6wpBhv/WEcW3tlt6V7ltvYzJeVznCwEucYwN+80W7oDroUpdbJJNmbiQ1yySivEJAV8aJtS4dLqNgRFKK8/2NhY/cu1FBq1v0+YJvQW4Vd7nvfxYSPRqhT1IAEEoI/m9nr298B+dFQJBLLGTkVYUaQhL3s7nmjQ+Dwv6AOP/x8GWPXte6voHv1TkkCz2yMrGH+KHBria0TgLlB+0oxt/TvSTqaW7pndVjgHkdYFpavz027XhThSoaUzTdCrEpqhJnetcfVKEHkwTePbL9BlBpXHEjTq84adQPJvS0wg0AfOIKkY3i4ZFlTzOrHBcqWbYl52Vg6xLGX59OaSjcq9gCAgabsVV5kM8NP2HUQpgta6LvcNOwlUwTeYPicIIcc4o0K9SOSH9iVKczTtY5HuhIcHlCB1iGP1Vb3OelsKxqo7iVOef8Wo5ZYXbdoEKoEHt/NoDVA/5oGUgrBvqd7P+QTiRH1BI87Wz9Bncp1aZOYEXHsyENZ8esTT9IVcBQmqvxYQEy7FtmksNjF+XF7UOJQ6YYj9LBzqIuw8B+2x6vpm6MF/sYT9a0Rx4uzW+vDq0f7qoxWy6PQ2CR1p2L//1pwfTHOBQSkkc2rlN6LMNbDwcNF4h/CUvrbtf+J5Xdnw85XA3U5kA0m9H5lPCYQgiGzE5TLvARxhTn/Yju+X4hlGUbhfTTwn8Fp5TltNd4O6YZYFs/hpWSUm381r+EWHZA/2l0Z9+wnaHQB8NAEHQZBFNJ4XYZBIrMrYBITLvHimyEsQZKACPgp+iRcmIEfjmFWO0DCuxtUwWuv0PbKisUG4YYapTPfKFTOcO9X0v4uBgWPKqBomUTqKERFvTAor8g7iv3fVRZE8TGZIoZ66qmKZINO3CM0//mIGz+rwdQKO6CKBKyBLNU0hVduqAQ01JQUDeFWHPCaU6u3wdzymKmiaN/s+88PdtVq77oBE9HSUfmfbx+5AXDyw99r5g0aZpt70x2XTvYhejiDE/4dogGVolT/5R39B0BxUNEfLG7BftoPYoRbPhwl2FAp37AV+8eYz9GbVX1IuXoP+EhGP5sgYSv7ApNDTVggFM6EHdiJxOrUL+f55qmti6kUPsWDv0Y+LnUcC940l/ci+7cF5ykDk1fSkyBLWWZH/mmmaDz+lGdoDQbcmQvyuQZNL7qndNlOmh06Pd9BoM2w+eNcjNt41cEuwxChXpxzrQocLRdShdLYBxpoQcIV6R2+9he16+My6D8urje9AU3Ya/ssIpjpz+sLF87rusdb1OGcxehohdjDp57PX5TlxHE27JU4QkgspFEe/6ZH9r7kVNjEfMBaRmVhoyaJEdhhFc+y1VSkxdz3HOo2I4exOI8GkWSLppm2ZbJosm94iOPe20cD55ggY3J8Ac628GCZVlr/RgklfvLKpKMnuHm+RliApKpXCwquWY5gs2gmbJpDJWwUcqrS2N78GqDNsQx4La/huXB2778fZj54EdQ/gddhSbQnIiQS5Ffa0hYSNavwrv+64THJeP9pTgg2P3RRuDP5ssVWXM+jRfRxgCkYxnj0lN+9OBoss2OaPjuMk9jpIH9jXg0EvCEiVQcO60m0nbTby6q17vz1SPHYsMxnpHYSswJazr0oTX7jExm0nV1sGqH3aN9ynZJ9ANbQtIvwvQ8MuVq0MZJCKCULb5AUM8wt4Me65IsxPPovoPvUBj1H17eFUWvUqOq3U4zzW5ZGPMlFWG0wQquybuMFtI5bqja9wmRD3IfhGp1e6tmMQ1EjVTHH77R0YeiNhoSyhfKG84Zmmzw+m9wcikCfSlhQ+oo+hMkkvSKJYEyS7nGVw61ZeQSWIH1TV8WNN5cKuRvdUPyWnJh8+0emk4AOlA33M2/P0tEWKIpjGIIhjOV9W2W6ukL8bGFyMIUUI1Cwr9ST0Gxr4HSqqTP6hYVzT8jr+slyKdVvsLOZBVbxj19Gg+iT4FsO7mr2Vj3fMkPbbJFHK6aea0JSGQNp3HS93Q4t3DFlHQTH8rR7HeBnx27cZlv7wV9fxqttbYVoPdM1FRlasaCei3kDdQ/FcO8wnAQEkbbHneozwvVmhL02JMzmAQzjKpqdjsmhWim0mHRM5lfNQXY4rRD+Yh/5OglgTZsRPbbiHHbUBg0e4ax0qiTZOs0IoVEJNUfzcrPlnb8/jvqC8A0I6EugOjzoWfw7+XDVdWbjfNCxPKBcP2qzTRdQ966PbJUG0ibJUjiHGquIu+ZOcnRUirm0aBVhrrM62KJNkPx44rFmxM4mprfOIAJWLol+7Jjv+LhcnXJshe9sAuohak1AFd3qgxtIQPL4Jt6kndRM/B4Th6dn9y8VX5F3DZ3hbG/rp3dOwzYEfSwXm+7xtFNNxxwFUirUO1A6bkYdRcwdPMRSL1eCQKb6rpkubVWEKuynUPSPoXeMZpzvUtpuTrz2macVGQTn1WYu7f17yemv/2zAEzm8Rdf+kOk4FGbOhrJzOgWKspgf5H1Ti/7AfyGLsCgUAQu+S4NDGTkEdc6RSCeN+mJCMRD6OaXqxHc41QQ1pnUQZR+mdbUpOC7ZpqJ1W+S9eR9TqoKkOaEjouH14GGClBEZij/tdXO/dlUSgvBftKTgfUDg0XRJrWViR1Q3Rtc8UCbbCzIgr+kvVkxOaXFRxaWOHDf2wvy2LUWPc2P68cEAZuVmK3Cy65c/35xgcexSF7OLrVTmG6FcCyL4ZJbcV4IGyfeuHIBAy5VWSZr1JR3j7rjRWp1IJ68UNPJQC6MeUpqnUryZbpBsrIz/L6cg4VHTftXBi+BU4NdalrCu2ODGudYNgRUk0Thlm0lo+56AAs6V1+IaeRNhpUw0PqhZtbyVtuHf5NOM1Lp766g3lQdWZRQq+uKWnmhRaSxfUJW2KWnfz0rMdVGYlZtbtw0h4gsaDnbscQFG/elvXWkQZ3ZazzDxVJ8L1OVLHFaZaumCmqOZCBmb6H3MKLCOURRCNSlEigGAP/rLXY8MqiOrEfZHbQEAQ81K7pz2FSAplyrMlRieGC1emlWNe7N8qT03I1/PjZMJsZXzDXlqhVj+ePF4gKoFSf1saCZn4VH8pdvA+n3qvI0wSoEksuFgN8nk4GDANbLC7tRzBPWMWLB5+k+HMCeRb8CaxVuotXBadoDB9Q7hscg0cFMOWybdBRBGxTd0cmMjXqe9kw2sLdPi15lwyJd4AXXEjWvwNcbN+9Y0a3e5AQk0Q3JiC2n3kD8nOsU12ZszPw6iqhsUxFbOAC/fpbPngdr80SQmiSku7YmhSczQUzqvbs1cCgmcFXNIB0JNxZSOUxTFwq5HR+OOVv/cc9JmUNJl5FAA93UjwvLG8awT+a2rwG5oSiiZlbk307H/A2zqUOT6FyZotE95Due7FsiP97mZNTikieKvo0SfASturX/1Jf6aHTfQwXYEM/zNPcFJ5gc9Dq/dwryZfMVPQJzwb0bLU/3KqneS3Tr+3MK8Wiy4SrdhFJmBUCClVfKm+S2EyewyfMhLs9/A+6PX5Vx4eJwW0Dcup1OwDZpODUJpLbNc18I8fpeBQlcGkrGL2n1LmT+5SIF4HHnvV3dMHdQDpEE9imnQaav9KoRiK+m41cod3eh+jxf7V8pGgSc2x1y9wPNa8O8aGkqha6+P0v2jfON2qdPoPKf8/kAFNFWFXVsMKqnAGU2KX12ODDT+eAL6VRPvKiiGONMnWJE3eytKJKhsVoe9Fl7c1i5ObF0p6Ot5x6QLV8hiyY9V5rE0ipxzoMV9bkLQYUJGrlWViHJGwcEhz4ebqjZsLapmHlIwpaWlALhP1ppc3Az4tspWpqDIqbvOx2CxFsGePiQlb4kbkY/7vmj+AFAR18UD5Gflr6vd/MX1qYBJ1ZWThZh2hCdSqCyq48BoGxxxFzUJihFqJPXkTMtaaQuJE8t5v+19E19y7FICbnW+pI5299WeNItGcZWE7H1YWdCZ2RFiGQ43+PEIkR/MnAkzSdPoffTOp6blwLfIT//DkrR/Ft8gComoxbSxAPRD3ITCQGsQ4II4crqxKO2xB2/Lc4kh3hVXhBQ/+n733iJOy45nVqEG3v/Zmei/RxHMOedQFgPT/+uG1szWNwukIAtBdASdQpOSyfzVJ4lYVutfvh3wVcCMh5y4OE50iwjZc5tPlD6zDi3ZkqmigHIjMsxKERA87TZV5/3VDpcrd+N4KRkdykS6mJRUULAevJP5x9xbMfi8WUQYYgzXzMneB2pdRxpAwrZwcShNfgmQhFA7uQsbOMsNcoiA7SmFAZZRZ2PoXBNUEd6lFioJiBGY3qrBL61twoEd6kXJOevA2M8tW9sJyLoFi5oM+CXrM33Yc9kIDiyToGtwECZDV53b6heXuj6RuwoPV8ObLzvoXEJsacZIlpO40vmPOEgqY4qRByM2rBnUB0X5sjMxF5VF1yaJxaZNJZQAF/BRnQOH4ysBYPg4a/DG+a8OreJ1+b9F3Hh5GHg8zZ3R5PI+bkR0GuDX7IcJggTVTmwT5LWGPMcUhQSe1KUXmQL/+NE1SL2X7lmvizUrhdsp/p6plPDlmanj0Cf/ZIudE2JbYnRVy6MlqZZBZb8ZIrEziZ/WpYvXR76PUDZMlKdr3SISbU7W8+tAYCsANtzNGOamxsJgZV9PQdQNAoLC1WFbgdMQ4nCW8pQYFozReJ8cpkZVU6qoZAaGBiOCasSG8nbe5elUBKBpV1JJ/NbkRXZzEqPdblFprATtZzema63DgZ6fzVVXU6UkOcDLzgJqxWkpc3n9AQ5VI2GHIakXmNekg9I0vy3HWDXR/KHPomZpPLSKaETcsOlTauXBYKY85Lq/CNamLLeGLjuX3UVrv1ewsagzP1Ei1EuddAsY8zQ1gVxsRNtiy5yHVAwmuSwGxvftLfeNY8Dyy9wR+UAuSraTpqDiYmUBW/4v1bK24Zugeyvj8hGEB+T2eOtXwTh5YcV0XnCJEeisFdmg1WEt5TwwWcEIEvHFyeFwpqmldwN+RpE7HXPbjASedYvfQe+WVwU/C26egWpJHUopKNWRtUErg/A/tEEesOJqzuV1s22yJMSycgagZYGVqDj74D9Y/Hxsqi35BbCLcaTGnUyKMtXYD5qkBxZAPLiaYokMJB2w4fWGT8Xa7Z9Aexy2MKrpPxROvrmoCPLbHcP9yALj6c3k57cEnHiJqQ5stes+mzIdAnBA9u9ZNxEY6aPyGDF/+YkI+psvcaTsj4Ho5KHHVj1u5LhlL3gXpB93ErNQBoZvfRiobxuNSVmLj8OBaSTEGMmqfoxpYX9RglJOubk/ORTXNpLqz/Bu/nw96sFqJz9jV+ulUSnBmCz6V+PjgB/pcnhgTq6gtqy/ypgXrhuKxOc4Q8SiIhuK3+4aUjexFXJA1mdltBbv2YbYHjEalkY+nKCc6d84/R+Dq4BJ69bNUBRIpSwNDISkWJ2tdZpMAUv+iF15HWUicrYSfCU/1Kzep3dhwtb0li1Td0Va2bd+00t8+fKaYCyWGFLjPUCdKo1uaBtWwLYKtaGfE9aJ8Qz+2cSLiOBU3HqQ4n9213qkra5i9+umZ8KFA1FyGWlVsSc0QqTa9qLgdAkw4TgeczyjsUdyJBGafVug9pRRiLmAZ0QPbTJxhRlpcdcBzN/NlBDE1jVc+IlnFqDGQZRAeEkeGm/eHbjb5CWEL9ttmBqhaT/iCNeyfg50eZwBlXLFsFlp3MjKuBrtg8EB+Net2VRsVE+drVe0BFgjN434pHM0h1tFD/pxPwRtLuFLfdwkPveqpQfu20zxPzjvDkSS0vOTbEoCxsMhKq89hknoWsERkaAx/3p1C2brZGm5ksT6kbU0J4aPwBIO0a/w2NFoCOxMxECWeXSdWd9msPw3I09zjBpkfF9RyVQcv3LgbNPRxRnwjmOEDIC6KxNZwmE/PoGg5uZENjfXNSzv6SwmOGs3k2dXsIRznQfWzpSiskZ5tesi9RJ8Y4W62Fy7iQIcYOs535UpHF4Mj1j/HTgkxO1GOapwkbVbPPmOkQV6KgGynwAI3N0ueL3la7COrWW9gM1ytr5Wx+fPpNuqPRoPy1s1/QvGIeyJkVirXsgZ8MOqpR46hbULX1cXQyyJy941QIkjdeS3rpj5wgMF759qGychLsl6SBLOavEwyDRKV7u7e158ttm3pM+d77vz5dGe3VARKlm9AE4Brt2iktx52kc6dCZ2bDoshg2yQULSNLuSGK2lMUy5Uzej3RQ5TONUTCaZ+ax13lTdZcYpSOK+U3MGVrqh2Zw9HbNoVK0H9/Yh+Ze7Wc3MoMW4aem6hN28KX7O9873o6QXqVIuYN9qdV1e70ACY/UF9+RLR/j8ENSQgHC3rjbWiYGznI92ybhWf0ijU3I33f5FjG6WMs5nQx0TuihbChL4HsgfdGCX4cSI6+fpunZz/TYFSswVMhOgkFgvIOR9+wDx4Z+g+1QB9ge8evy3+85IstGCQw4MHXfnNRPyZPmizjnKtncswXxQ+gGWoqo/1pMl1oDV96BMEmYGS26+ldvMeh67UK/iAU41C1nc79R0DJV8lzq64XLco4RwKbi9zx0UjM+kpt++GLNV6qKMvfRdUR8omafOzAEpx0+EDUWKWzZMXxRi7fKrIjTyvL8qzUIqaKWikDDfeRef3UVNz9fLTunY9zKWesGEmh0wnc/CCdaBkvS8kmzc/ieg683rrMB+F4uzXVVKxLJ8Z8p+n//L00oLSvSP7edybdmFIbDd2EdrF633Rrswy1VZCZqgZxtzVqjrojEyiC78srRlKR7BKLYA/fV3x6+nDWYYWKkHOCORlEvi/nr4wjT1eq/aYJegPK4UAvg4PQJdqiarWUQnQwFny2+3rL4O6a10ugGeBZt7rwObJTTspIx3hZ8Lje9hMD0h43PdwkJKWTu22dmtgDum0kABK27NmldFm+jT9/uorw3qCDo0Y2QMcdnmVDMqhMNfWIqAq8hd6/jumVmxn6TvgRVvF/oHLnRrDiDWe5AWsGVpplDSvGCFXncTGdwbXvci38XA76Mfl95yM1hb7VZSYPIKS6tihyLk7Drh6ArurPcp2SgkxL0QxzdzAOgKV9X7Yp2iPbBWGQxpTWGgtuLh7SfGDrT3jPoVlA3WWHnPQoOcCjgf+wLq6ZfttYnGl/OAHt0lLaeJWup0IInMZrogVCPsl+GHhfpX7+7pHR63RBdQvJZMe/RlN424/h2lRn8tL9s9xCJVqS43XeSY6L+23K8Q4WfoBX69m9qQLLnq/Tzj5ayEipkmli/fcsvNAfia7nIF84oTCyPPyz3N9hdNsu2dUq8y+kNRk1v2L02JNcOI8xK9wFUv7NTJ9U2yc53Hxc9YUYnJden66DQvMau/Jf4xLfYoNkQW3oOVM1ijFh7W8WRLm5vnGkwtITrXAOBw2ZQlwHPL/E3gDwb2Zvn93zxBJDba0nG+AUzPXIWjKAJxVb0HVtHDmbFPqRRFF2rLBcRcYlTnC2CVJllWLlNoqccNUHnOQW/W/RVRThsprAkm8VqDOI7X5InlnIwis0hYNED0ubOQmfuzqfjZJZeCwzKEdGLqqaL0qm1oufPGY8uUoILIzAxw7LGaZ8eUIa5P2dfcj3mJ35mP716VMMINqSewMulYAC1aqNjpbqtyP/qXn/WkelWNoGFvMVpLW7VOkLl+c3Zn1C6rMdZ2GVcrf3ln//pK0xCe6ZGKnf9+h5ajyUG6L6E/4CwbVccy8wSA7klwuWE2Iv7OoLFd3I3P1Rqr3AkkDMreIZkhpaf8jJys1wnz22wMei/u9JiujFUfd70ZsEyXqfveBPzdD+wwgu8EYSHc2s3wM5863q3I4LOU3nx467IvQ9stB3ZfoJVepvOBlAgv6nZ2fUjhy3gigj5z/4RSE/jIqAo5xQRqRGLmgGqxXAljGf1Zj3DxytE+CzPuS8+nrPve982ZocpQuO0rqnI/6tfh5m3Zcb/xGkLKHY9XHcPK0Vw9raZOvezhu7C6GesIt+JtQTAOYoxlZ9jirjxGQEymktafkej8si0luqUP8xZaPq8iLlQVI/l1CsHW6bFBJAavO/DWQjtlTxWqpYRrvgU9LjRmeuYH2McuILWS2FL+qxLiPR7UrwZXUg43deQeLhut+tRmV/30KCy2QCi9YXLOee8onLpAkQJgoczYfP1SbQ/6KZX7YP296VlTe9xQN/rSMIX3CJqHTOJPPw1U7wQ7jK5wvLhADE4N1jBfjsgOVed68lq14VSQimoPe+k1bgA6bFxJUWjiwuPE0A+7iAeuqtztxuB8ApvprkkOMO+DzF7jgfNWx75ib/mVmo22Bzf6Tl4wz3Ql5sDgpES2UcWPpksUll2+p/8urmrm6zUusHe6YZPWlSNuOjQ4hcqXBAcvqhA1D3795fONaxIlxPe1HUShus9bOaK2T2TMBk2QHjdxMsc5uLclnEaq4qzDdaJoXDiy+i6PP36B/oa3YTPr9hQqdIUxY11VpRSe61Tk6gHFP9DpyJWbMiEBQPQKlw4F8Ruasfe/Gr4lzSE+quI5LoZvsGQdH5xcpD49qq47bssZ2WcOLeX1Dwg3FT1t+pjUK/VW2hFGkbYWJUMFVHOBTO7U83wrpsVPDtBov8seldAYWd029lfdUcJwijuPSjJS+G6sXu0hMfHSGs/S4E+hXO8r6BG0MDBjOLHYym9FqBOqX2hcGTCXhu0s0XkfeKOXC9VkmYcGEp4EhDJ2nZ9Zq2GUyCsV2jS0ymg73Sle4+RruSCTTr5cDLmq7vGRCBDiP63IXz2s6OBsKb6sPCCUXOyrzJd40lr9fo4gQSOQi7wWa0r6rAuIlARkWE1SGcoh7lVqCPDQvHCUszuC37UX+Tm2LiiS8XWpA/jCXiRDhDcwC0pODWrhdJYLHOPNLpaMQP86kHDrAj/4AxNCnY80aMgCwqYysfP8QnlzEEgf4v7p1B0z+0UKI7aorcngunBzHiba5jriYC0QCdm+roWMjLAv+jO4pFraomzp5DeI73yHAad9gpYyhX8kEFr0I0cQq5/drid9qWcqioG9a9MnZQnOZW9H5CW5aoTps/Gc/SZmdQdR/Tjpd5YfNai9/UcXNBi+dIyNjQqbPXgGodfvRtG37ckfGho1DdoODvC9izlPNzIalBudK6RQ3OQoz7grSOT1JCxO/e4HtnVEnxe8YtcAxdF+cyl+BPU6ho6zkOWzXXehCobxdUJsnWs78P41oX/wmbdWFhHWIqGyhfpixf9+6ugQeFxU6YU0k7Eh5BXkhxrIe7BmGkmFxzHkodO38jebFRZRYl6ij0Kd/WUPIYGISRaR7aQfiIBbCt8RvG5zxwMqjF5rx3gy/+6sDnyfQA2craYD3OcyBarY+bZEPnk8bUwYtbP1m3hf8K/sHgbkhoJjQZLtYuI5vm2SwypDIK9M0kpDzy5qDlNxYrO4Jkoxf68JSA1HbHMbgbTyrX+JW80/AojUZOEoUwRnnHIefx4R9pBAJ3nkx89pE8H7hQZTtr4mnCzm9d2rYgXW5u1xK35g4zSHm6cKMeucu1YPcOrRDKW+LRSfwQ3wL6+gB/KvojTQ1Hk35kPNRhoXWNfq0YpXS7U5+DSXu1djPc/AfIGIO2Nxd4uN3TkiK/EFaftGpJOE2Csljzk8xaBnURWPcYbLZcqI2KxV00+8C+50XfuLXQFmzID3B0qx6TKJ1rpC1mSLD80begkUYa9RfCb4SFT8yEoiru5Db1kRYLr4KW1uZtXCuxj1nTCG/6HrVVPWLYzV0LZEpUdvMUpKbUXT9HywhF8J5YZoGYoN+ZAE7IwTQzsYpJbK+cvo6d3VSXc2OhvXVD2L8U/wFRClaRP6CyBWRLRd+UQWcFQrswCKDxB3bOR03xl8d7aANX49tC+ugyc9Z1naIBf9Z/Wz9yMY7Ij4tSYaf4t4kdcpzS6DdSGCWkjFHGOiDAi5hdd/qMNEkw1zCUOtO5lCfBsTXzhZSjVz3fBi0lDzFJFMB3oJP8rGnWAJP9fxhbokIpBTS8os5gl+f1oKxHgPUirpDoIsIhucq6+nlTra1tG3XuoxNo33t7JD94dHIid4R2Pw2ij/5c1+OfRCKTMu2FlzdO6oqQV1PC7F6z8h6TyX5KxOIoFQsSr8E/56GNJbcAbL7UjQTN3aN+c2hQy6Zooy6jZyk3clKdyScIhi4VI+FIho8MdCfkTmbBCzpTvAy4LKywDcQo5tV36ychH8RWHt8yBBA2BJZUaeX9n6ijDhcncpqUuucrlKse8otNQgY8e+8gX4C4c51h7QYMCtYRWYVfsUmp+6xQVz9Wps9di8nxMUrOaK8phKrvOXbo8J3hsc2QDd+TfXsqQmIBqqudaNixc8Poz1PSXhGS2Z4FnmQ042oJ3G61mXMQVQLkUT13UbNV43PYlnpECHtbLDNGpIy246ehENSM8PwasUl938PYbqnprL5i5xUH/50D2BggQxGwxpXES5lkIHLec+N9L2pTUhKyM4QjODnlz7CR2gWtBmyWmFmb7UrzkVShU0UVovrLQMUI/KV5DSKOWxDs1HuldywPHOKWB1cDWCtoL5Bq0yBeTMA2xqaMY49JbuCYyiO6X+gdJqKlKqG27bBmREwb7rpZ6J3KEe6SnFR8iMzhAxgjbCr4KRh6/zU4OEjp44P+u1Q/Qc/WXkNZzgjm5MZoIs/t0Q18rn7jZHS1NJD70Y3VEUEvL9mHrUQySlPYmhHMnfApX5z2ZGKl/cQ2I8eIwKUCgb5SdCBPdt//TxCRz7yOzRdreRIcIBLbGLlBP6ARTVi90csilB5ysVHgb+t/SRp94FYNfdyFHrKBzpmsFaX02/y2xeQ8/RSHBg+Awt/ZfVxnRPHulEDxdPIby3SxBoi9FtDQ5BcafPGdnxOsf+g73yXCxYiTZiAlxbAsZG7zjv6bcMf9QJRjdrIxw7rN3Vmibx3Coh9Y21Yb44sUTqH1rP++uogQaQKsnsj4TqmVFbywINaL/TYImWP7JYn53eXjr4e8Idx5QL1ZC/zTJI4aAKgrqZXNMliLu+zKMhgSC+GIpoZZeMbhnQjrQjh7bAPtbhQ0xIB2inmT9l8vCfTt1Sz0MnQr/UpqqI44e0RQd9SGk4k3h2i/6uGG6qOjoiNI8/joc0yIfyRL3ct1aZXp1SOJiClP3hJLESMAiPpa3K64tvue9XUn27s9pMXeH9MaryI4nTVQRBu5FgSqnf04+c25pYG8eaIb0Cpo1ggsHZTl9qee8pEEc2b6k+tM7YvXVo3OVum460+sBLt0r25h7sth+W+X+G6673Q2Fxx26RT+R3JGUS8g1a9I5CfVUtoYHwmtFKOlBDYUUc8ODu3oCEdApZc/g2WLUcts/h/sRMPfs007vJVNu8BW1+2PKoy2Up6a4tXJ20GQYvmtU1mNIQBxE03piScUTD/7wk9PlicnJkdYXQRHw2S7D8bEwoDGIOXHKMUkp0TSnP6q1R9eKtWS+MIGxpuKqGh1PuD1X93ZKRd8gmXRGlDrbEkpQWMahE13mrp2/IOa9df1RdIUPrv1C3tZqM8Ucl+TCHvDsjdYcTXOAEigW8uwX8ejQIHai+zCZG9Wez8Z8Lkbj3Gz+SY4qRYa7YA5+ROH1LvmySpWrnf5cb7EIJ0OBPrKW328KdOXGY5CXw49ytI5C7jqIlT0qexVEMbRCfqNK++m1nRnAwWb/nECAmVCDOsbl59aboo26djAUa4iZE9CSMyQqVk+lG62AiPNLt75ZOJNJkHph+kFpTAsf9EmEXbyUOJ4fiZnXxXNl9KdV/4baDXwBMi/B2mcvaTLdFfrmL1DU+sN+iAl8l0qpuAtnYDmhntLqdNsFHh8Q8Xj1uu/knAR+U1PBr5ygxNhqXPecZ3zPg85cXCkjWT6DRhKkyr/VzZY/bGQhPDjkNjzOFuLS5KWZDkxtQ0tPCO7hJ1jOHiu4RJyCze2SIxhh2Utpnn9oJt5JBpcS7GjzZluKBGXkE9zHP/oVkRzyNvzaF3PnRBnWVQSFohvO3dWAz6tTVyViB66crir7LoXUJvwBc1COSlIBZSiX3J8N7xHdp2AH68PjQNKJ1Aef5AyMhpeRmxtTvXD1ZNpAAbU78HsKnkiiXc/VMtsaJeB/YQotvfJlX/CNKT05L4q44M3HBYop10kQWRjuORjqepXfowXlD/GNoolwnpSXsQcYf9Ma03x9y90H+R3LGdW9Y4A/gtYrBn4nyUYeStnocHfEWKFFhY3uvey0Wrp34NCzx+PZ2Om86o8/LIxbeShdeyWAK5xa8iW78PPx8xBW5xbJARZDvuUXRFV3bPO6fceVDw288uF8QiAJjW3/2yYds+s8QB9SFWqprE36Njw9uC5MYeevw8yt8eVFPA+IAYPxVpUT2Wqzo5TwFS1crnnpRHku1K7GFkmTFwig3T7h3Fp3BFWFuqQn6u6vx/f40vX2Ybf2DDTGya/MKsnqMLieyEpCTdcwz8NckFCdLo1wUrFII+/VelH3Mesl7YlxVY8wJrlSWp8Y+BokjujTrCZrPk2cbo5ri7XN60tMVrG47x78d/9934ysjkBtWyL0ddf1+PBx/Rxp+YzU2PRkkRJ9Hna9/Hlss1DTnXfmWDVfROAr3QbCWJ9LxZAaa8Y7Uvd3UpCzHXDC8cqQZsN0z0MYZWatSAuDxXphIq29W8/8kL1x0P/+3s5GQJmDWvTSx7TTxKZcrplNwzkp+KIA1rNoMpJ9+QQPyzoYAS2XqHgkU/ukaiBMS/W3YdH4XxxHCDSwShn+fcg8HAb+Vj3NOx/nnOm24L+2AqXmtqZQZtb6GiPyLVbWluIZBN+4J0dwIcjHDVnC98mW5s9b/vVU/IIKNXH2qf6Giip54uzrN8915rDmOT9onE8Da0+/weK4/EwNUsVQ3pkgEm8qa0R1QZjR34w28BbQjL92Je+u1gV+6xJZXuC34+SeCkLFa1F5KUeh7y8tA1aKh6j8UAtu/2SXZqLg3Dyz4GPossiWGnKHoUP2w1sKyYwx8mUGa1S2ZquxfRxEyRcKz1Gbsr10ILybYKBSZVOV+gTMKObxiBmFibv5Fot8MyatGXOj8OnX6WtM7lHqbwtTtmT5asj2eit8Klmg2RkJS1H4CQirrnVFXkHEsCS6SHQvSsy+sCASxQpQ2rgoA2Lm7cDZOt3VovqxsWRgx+KHSen/D+jjai5Hpo+ZYd2ExN9T6jOAOkFfS0XOnfS+J2hFwb0lPQqukMeLtTpt3rFZJKFjWR0po0w5s4/hH0Fpbty59IvLBLDVNEhYoKiy7xFKjOmtJHqGWjFtbJ9k5sdESYXzBkFDIrpavCm3h6de0SEWueLsLFVq3LNESSYSge9PzoznYVrLJ0ejdSBlGOP0ygKDIxOQCZSpk61f/mUvCVMLQtan1MSxAs+8nqWW9KBx5hpXaco+aCqWAP56kuwk98YRdTp8+tE5wbR19nB4Ch3cq0v8sTOfb/Ygh/LHKk6A32/0xDIAgNO4E6ceyCjBM6AG6gXX39G7cPabiH2e9UZf8kP4g3udbE65IeBZOkkCGno5sTWMrNgieZDzEXtxfO9aRaUSVduAsLdP6IhNlnSnoL8eU3yy2YrC1IUXyZljTF/cCgzO7xolsH4Q5bKGBq2TeUobeXmvz7VI91Syyn15gfK98M+vvHlDMvbXKnwzRrR1Ly1mld8VeSyn4+u4tsdcNbElOy4jHCdwKhdzn1+PxEFmzjuocmITDgAKaB29/Rjq7uCkUuv6qZpT7lH5qRqEmRl7RPsga04K5/OTnm2XoylIFC2NKaBMiwj0IEDbmqsft/5c+m7qpTRYnGxOG3irMU1Xcdo/vhoFblO+/g5Us34tNqtnKAXlGuujyWAANzi8451z0Gi9sBAYJ+f60cge21WFD5fIajuqO8xPwDbE/kcS9MFf9j1rixQ8+IZmjkHLjjjEnJd8VN2Dhkn9ADzTdw9M4juch+dbR4YPKz713OfWJxhYGm2Odm5nxCBtt8uTGc9BFafug3/w4W8DjCn831ho2/9E1BHwZf5ZHF80x/OA1Gr7MOCG+iYoTUYBlDYlyUhXFR3QckSo3KErx/zob+nPSOr8SE8450wGKCrXuzornn5i9ftGcK7i8Si/jhYfXjsNQUACYCajPk+4o0rub1DbIl0l2QKFdjJ+r+7NMDbs/t4hQu5jkez/sehMS1M2RpSvA0KQiLFEaisS5I8PFRKyj/OZIbWEbDtGsFXm99BcsyY/WpMsB7pZN41zfTnDVqdQtalOmlrr77qhBvhFvBCpVND0PlOEHXdwMIX+pzhqb38Oh1MXoltgj3u3KBSsd1yStKtpA4goAdPd0DkrsAabve5oX9Ipvj8ZRWPtXb8gMAeZtcKWhva+3Y7Fv9aWnvCghn/ToRdwpXy+4F8CFB+swsS+/9Gv7BqBqGTBFHOfvd+DmyrCFaqQSe6TitdQwNvzJgf5rR3+uchvuuwL/LV+8VoiTzkfi/uFp4KVNdvP6MS8MLz06T7GAwYOCGDhd58U5c317OCE1ky5Xfh2L6WwpdTAYifx1HJj3s74UbXYF3xaJ1yGmM+6gKyk79DRqF1YFWAKpDrcxJpxmyXFB6g1/lRJQBR6usftn5VWjctJw1ZPpNBaaPNF/gcRguE0L3mJBhU+S1wR9k6vH58lsqZOzZNuFmD+wBmdZco3Z6AATM1ANek+3Kr5xOvQZvnLCx+eNtTmn8bn7b1Aef+CoLXgLMuxggahA5DGIlDNZSVk5TRMBeKBXg8+aIbw9LSDz6SlIYg8l3ahFGX4dH45lk84GWvpZ1nF18ZoZ8WTpYH77cWzhxzn/oIvrc8rMlRhGQWozPRZsHDgvv+hwQRQbDSmJG9AE7y+Zp46Z23N+8ERXSVjHo+LmfSgiQeXJ58S1oVLXcTE4BueiwS3PAUfykFqCDAtCE1y432Fu0VwKF8GnMHtL3daRTseef14kj47RK+yWU9aq05jbMiaVQaAAce/FlfchIRIPCIP5kzeepDKcEIu0bUkeJ7UUdx4Uhpq702M2Bbjaukcbi4DDMN+eYGMk6s66xu+1Lyzq+KH47Sti8bg7VZbGLwuZDfZGg3DemsD6EnNmiuq0Q8oeroTAT9DLXcLS6qDPi+kC9M4iuJQnC9CV4b8jgKyqaQ6fNPbjE4f1DY4S0cclQADVSAZe0vP0NE/3J6dAJ0BmjxrtqP/bZfWtTziPA1Ea5JrA6U+kPxIeUMSMQKuW5l0C+jKWAX97NFJhqmutqZVimjnbN1sNtH4YHqeQ2xRrq10U+G9DZ7BY8LDv5xeMm05935XImY8EjR7gz2lcqIC9J3RyedzZLJvmwtw8+DAnTFBPQJwtWpW10uSVa3EBHW4ec8aSTZbUyDK3bQmyYYn2XnRBdgWIG9YTdNVp8rNGwMwRC+DViDndKAKHNL31Y1dAUVjvem/uhiJMj6LeAEWkiiHqMMES65w0tJ6VVHSrNIhiY2pYW3Tn1xEHGsHoq5wt3OfeDzfFUjjAF25qBYKiBa+gtIAw7l4hKJCQbGeeDvGfGbTq4mk2VK4NQtl2F76bPuKHChV2ln81Cjqd2odS+Yj9lATLBrN+ELvcZHwxS8meGZBjr/3MsHjm9XIIhSoWKjuwiJqBSavUCzji+oHKbuELWVYI7wk37Gtpz2QiMFApY0SeO6koQdZyHhHQ5SaSGnf/VCIP3oofFKDLQtYobIXaHWyGlhYstYt4nGSSNnHbJ3UqAnLeR90XQvBXWIzKqhBObKIl8mViWZ0Thsq5mLamRUY77sheMahT8LK4jCdHpQAIFvm3mKqUzeEiTEmBaDOFW+mB4sPk4VfPjxUKEvl7Kem2K5POqheBWiYIlBaqAyP77x/k/BIfEnpigptWuFJ8U1enp52At8U1eMfwb+4Bor3WMk/Sqkk0wm9WM37Tl9Eey3uuKjfaJVs9Njz0a8HlMinmJuq2ukERnSGOjdvMYQCUEMoDF7jQRoJgQSWbKZ1RhCP9mm8tZeXZxypAdpa+ngkgiCpFG3tlvUvx7vv55j1ko3BEel40+rLdda1H48zP8m8tsS6WMkZGF6LidL2efIVUaUwrR5j0bzGEQfS2Mk9GwZ8iDT/ALpuBlxnxiaWbniOuJRmXn6YPJtzmDVt+QetnhOwihtQ6FwVXbB7xywx31ouzyAhPWEOIyXLCdJInYd4F6hx2dpoAMP/1rH8ElsR+43YkJYBbqZvSEc8qYanKyQJiG72QoBVyIZt8JINbm1WfVDnHNHgPn5MtXbjuagJYFKarvN+aHALBs0trENUmWTG/GgSDG5QcaJXyaTuj1qY2iyG+NEYPpbbAvSxB5OFaA23o+m22f8yu/mD4ICearIHWEaUFoR7oJQW9cfBjSTqcGLZODt4/PHiQAMwjGIfkvmP6IcyciWiH+vUiIPB+uwOPp01X0OUht+0kAWJ6teFoLtzG/7NFLo+Hr0k2KSOkW4RQQcoivS1Fgc1FEuYyvUsYrK8hLDnqMX8JcWXDfD3w2hsbYlVlMWIo1gdac6hAEiCHmZrI77rXyJpAww8mvx3qt/8sAldJW2VjZfuIAGLT7R0I0JmfvJu+X459ZV5+vJYHp4Hk6vrjgeKN5nWDn7/qKV5usy6rOMAEbRVzNyLCtKl7ePDpFXIoYCcNcKY0Nf0Yk1lJyXkJzPbcbEky4OKm/RkZ4FV9JK+hBo7QyPQVC9KlOpsxxhChSnYZtljPdreyW1jAxzNoW9Htz8Rl2+iNuxo2p3/Ow4he595q6OsahiEc3tkrzzj6yUEl+PHhttizx6d8DcmwHH4AUI5sPguJ0FJv8Kd5LzUZgYJL/U3BZKFDVOKTVZCDYoHWwwjs5LkB8M0xy+0c31al+EeomazkUgeGj1nV1C80IB/3weu1nlpd+s3EA/iR+hlNf0WMYaf/CLHndG4zSKEhIJKsry21T8DaFE7+VRSql2fHu7wiXzZXKKvp4PsjedsCM1wZ598ClQjubNv3S3p12vaSmuZBYdu7mb1+8kUSG1A4YScL5vQ0mpL8hoqIvJHTiKkt/mGJjYAGnNuv0wHvZUY5+/nUX5jXunVP8shOTiwJCDTIzR+D39V55TeFot8lesEorS/2auH1DSRPNWzjjmET6PVMAhe+9lOiTUmY2h0ZRAGVV3IDGQlTD6y2fxj4JaYSstrf8iGo5K3un4FSdcNjHgJ+rtWO9gPIVpq3qnU9GwLGOwDFLqrmR7SGkBQHLZ6c2ghyLZq2+RUpokDF5Cbtmxnrvp8GnBZvvU7lpHAYI65rkLfe4LKPCQ+S2Xs5OxBLJsycWXFNhv+81m7mQve+ROJaBSyJpG8M1KW7Tz7TPqJlJCWm21FsbuVSwrXnF0LiZerbEoc3+1/bhkDh+4OQ0HWdI6/NqYCNz7Tm9lLtwlVepSHJ2t2RwyeQcttWoH2Jd7cbbbVo1LlUgrkB86Wlg0tz5lLEOY/m6A+/1ONqAHBBZqcTXDJ9ePf/4JveFn/86+EBOxaKexp1Nu/X9apnfLmB1Q/UKE31RuE+MYXoCvd52IE4UeaBfzOe6lHLe1OnuJhxB6a3om7nPMv5e41lGsJwyH+MV2w2Wx9etFcDS2XefaYlrmJP3toCLZbH5hqf3A/xtEu1RLIB0i1PHTWsyou0M5Ux6i8CAesd80bCnjV8cTZagnw+Tb9sqevCl6FDtHZExZOmr4Ho77861k5PP9475tEyj4qnUF2/axcG6dcuWTXZT2XMMqs/9AYmR6A2OG6Sd1murOG1J2M7HXEPqTFbnEgKgy+l9KHscJVOXKFY9S4oLL+QdO+/4qNi52X7dkpt4psT7sIELN5/vCO+zk/mNBvamCXao7hUQK+btsem+zNjEbWgGWnfm9efVKBy3XyeN5EjAr1KRaEw62DOv/+lI2xqqkgC/xLxoxODliErBec+BdWe6/qu8YiYly1i2gZFRqVfM5irm+m+DthCjNRbSZdPIwMEc8x3pB1hEX+oOlZzsbm3NWW8uAoA+0rbtD02YMpPa3CLk8dmwsLBuYmR7wuPPDN50gJJA3Tqs4VkgTDFbnnk/kO4SDmxD6/2o3UNtlxJEOAvgKnl0S07gOciDG0dGFwRJiFtOE8cwQQSOJ3nAeBcAOGr4Q7q3FM+izqOtlKqJeULEmlrvo1S/Qp8qjLUQuKKkQ/QjhBRDd2LudUk0xNBImw0Fgq17Pl9LXwaZ0+rZ3hd5HLrqvlsWGXT6EpvvQoK8a/4NZawbxIF5UrCR+H2hGWQGAW5K/95ic3N/teuXzBstQU/XsfmE3kpFdeC0lV4f6fyQwnHp1XFYnPFGXFY+dfe9QaE4gHqgtZRTGMtVIdFv3MN5cYzBg/AlB15h3DUzrzgsZxTombUKGwbNQtZWwX0iGa7KQ3FtqCDLRTzfNHJ3FtkiXbYEj/qpBxSB+V+qQlbMySsdg3cVi2ICpqtoYd7jDJHpfgm4cdSstGd3zlyi6KntM1bljuSZO5PR6T80UfPyKoz6cHYECZeIRjt7LiHXKbRU1puTFK737dtc67s0q9/XeOtXETLOcEc9jbmCTAl8Z4ktkEf2LB5HuTY0CSLP04wzoB4P3pDIOHugSHs1fYjgf35pK3YTvTWLrsKSdYnDt2l7XjbX1Kn9rV3jb2Ddmpw+qMNapC7QaPakcrd/yRvdqtENYMjdSLehOi1Za3f/X57YABSy9uf86OW7LuyezTeeu41Trf0F96gbwtGXANIT6LAiA2kpXyHDXcsfJc0Y34bVxg3N3TNB2dejEjl19RfDO23D5sGEOpf9TucrKrPlmb00ceUqshXD6PH6+FFpHLlrKO0kP++883vgGhuridNm6PkX+OSGEYd/3dK+O/csWh1AytKoHVOcoCKynJxdq5kiwe+KKwB4SYh5n2ZNuRhzgdGouKkXFhqrldxrM19CXUZmo18r6SaPQf+IGre6+ZMkwvpIynRWIphKsQaWhbGyyuU3Ro85IqIWX2vbKJFRvHl3A7JT3xYLnlxJmRs0JTfdRvC05hDcVyQG8SlXGPrZQnLPk/qAD7JkS1nB+PNh7b7eMekeKIUI+0jWtlcX81Nsq30XNysUeG1XJ+E66pUqzs2aSUH1PXZN5waAgPDkBGYIAO6J1Ok6lbCHF3zBj7LvJMilTGbLvkpVC6ZVC3cXZz7TiMN+ZlCILoeDf51ZMoVlipbX/WeEbwW1BpbvRH6zDL7FF9rMxVwWUdKdCn/P/vvTSHgz3sE/L8PWlMdt0cJwhisZ3z1pCShxrP2wIfw0GYyOihcZsjSQnTmBQeMjvDhFtl8psMn7cyodgi2a5wP++xyCK17LciroMiFokFDsK2U2uq64B/livWASFHJdBxVwxsCClTTDpSzy0nlRxODPApm9hyoz6tLZYbeyMjhpf0mkRMm1gH+buVbVRK5r6KvkxZpKd+7Mz8EJdIxMSKF6iFLuph2qcI1HWpLBzxFDAVzD19Cvuy9avrP9r22919hLQxJ7N0C5FoKl0y4VLwwTyXapppujtdVVqWqB2TEo2jM17Drhd7B32gqNcze5Ybiw98aAU9PQeTQ9apAG0Y2Y7RnFY48MLUXFP4mdV9IAfIg1+8/qLu724b8LJerapAMdjMZgA0OnboCVxSqLhjC33IVaOygC16pDCTXvTjXQIMLiDKscR8Ae0UKZHdMThaMRqPs8GBUxDm+hAV7prY7nfigoTVdcgRwqZIOU6FaJ9gAP8+LJG/MoH5Lvo7xBvUa3KpEoJhegCeHZHzivqpvbowM6MBYqNFH1OQiM1zsW1dw0Rhq72o5g7RjfHHP65EBCtbqwcY47jqdkD0uD7DaQF8OvfVPK5N3ypgLzF/XObwMVzABV7X749WF4M4Os9oCVDc5KQeIJyQHaUGs3+H2uXUyvZOSf/vEo30EK4oN9lIMi7fNhYFOKkys49oQRqoxgtP3WnmAATFGqF4bybj4L5JUx5vP1D09fZpAXCrJyIb56hF7VcG0JRIW87gqMo0FkuQB8CtgUArPZKNwiIu1AaAqMORi8vh1GNdqk+aGKIsiqYythumoaaB+Pk3GqI/G3+cv/YDp5ffmrlDTmOW9zjdvjKlnhxiZKHuP3TDKzqHZMM4ct8ogdPwwux+QsaQZDdlJKzHx0iwpiXr1HWp59z63s3PyMxFp3kbJNsau/jNXrNyI+6dp1Jl011GqUlKIm1exnhwviCt/13Y3MaMnS/n/fQpp++Vr+3+XIlsO1sDMNWeqk6mUKFxrjSPDpXn9J0oXBslI2YtFzOIyafhDJYScQ/uWFUFtIDXKCgo2Bps/3Mx0xEMPFHMMtQQqNLR0NQWQ9tYEkCSYQb4hoSF1xzda+AzzQuvjc07DukK6AwAWhcIVHiAi+s1u9Lr/DwIAlChQ6ADFZS/gqUdw9gVp+/zKluylESh24q3fS8sBmRqf+MUmpXk/IBgLXFgZ1cCcKi5ELwXXMicpeaYZA7HjhY2HBXmjLRQhyLfFAsAA6AU2LKV4kWpmOvD9sOqMCKCWVh8kCHwRCFqV7dv/G5vOXniLLC8MD5rYvOTu5RFfFBflcUyqH6m8GUB3MW54rSilgdyoXulT2w51loRACZ4b9C602lCOEKtOPIRF12nIBhEQqblKjuvvbH5EQ4ERzK9v8RPNiaDn+C6xtd4Zi/3957CvAfImmA3ME7fjPq002Z+C0l7IFtRsh0X5p+goQXqpfcVGPLQwdPXX2d2AxfYrAOc9I+azJ4lJ9MOUaxBenJR2p9wC/Uzd9RT37gubo9dtvu6tXINzodlTABg6XS8suG5VSmcUMqg7xgRIPGH+NQjaK8zEekVv6wZ5vv05ctIuWg3Yi+SR1JkuOAHggVprhTN4fJD1WUmEcQZGwUPrk8/wDDGGoKI1R5Dl01N2DJPJZyX2kzMmukJlOHAOU7lh4iL62qz+1o53yikAVranhUGXe5xCgmh71EwVX5Jno+8Z1C2b9EJjx7KTqBEc9+/68h6moTL5JvazeonZl2l7M31R4I+Vxvq7X/qiJNCCN8uBxiITEUG3NTywisrB8EojaHUh+B1fAtili0vz7hzRW1Dr91LIZ8/hTzP52YWJCT0jbmha9IRO4wSVs90HWAt98pGVC7YQdI72KyN70YaNaJ1JqInKuqo/lKEMBTCsPAogT4Q0dm98j+W8To4qOxLgr4TQsjW2jRxqFSlcvgydhR8dJ6PLeCiRwAi3y/b/cdGXvqAvm21UzHxxeEjIPjPCNdMmE6NpLlUOxmBfXLJtl8BtrfUT7KKn+fp36+Y/B1ICPcG3BbF+WKMpxQPvpidVsZmvxwGbYXSY25nfyIPNFRfkLyK7jvYiE30/b0dJGr77ya43RijiBcuVKSA4dxnsF/03o81Bw+7RkwZxfH42MXtynK0liJll9KkDzfiItFJftYBRG0YqxwGfrwi9YmJmunemd0Lc5JE2yCmsTkd1hs/6KgRTfF50jMnTL4rt7JCIbfiHO+kSHjuhh2v8WrWxS0zSnSwYctLiYhUzK4YR68GUHP0X9cW12Zpl3tc1eaOdOXVtSjTNB0jHl+dPL4CE3ce+0qaVmuavHiCDEaf4JXc20gyJsPe0EOIPOe/puxtg/DsxgKRhxByfJxIrcIIlWCdXIR8zWEC45QGroAZ+SFpImj4gZG4apTd52Ex6QFUEIxzLz5+zNOGPlzNzuwaAcCX3RzURC2lIst2FLiImrrEZnDl2iaEE9EfXGHHbtPgl9peinXV3bOVyfK5Of/vHiagua3khCkSAS85dJE+b1ElRv7UQEQmNatUFgsUSkYUNgS+zEvb/N2CGT/JQR1KL2JJj0h/s/APYCUORd7HMYCkuJIV8sQPhAY1MUvuXoYavow/FkwtFwjF83xC9DOHt8YtuMDU+dVfkiF6coXMdKyAFw6GlH5tbGnoLfSEI1bAF8cJWMAaWv66s4KlatbwB5G9S8UTBPj5WeYx2BfhoKd8H7EfC+Y+t8FL4ciwW/A4nUJjAH7iaQXcRlRawhSxa7wsw+PDRmJ1yDj0jC190XRtcIIywzUaOA6terv/xOnGc2hOvsLAJZshx1NBPATLhejq6xNDR7XDdFcybPg2mDw7q6IKDTUv2bZueNzUgpDGF0PHdwDUW9euQcdY8e/RLJDC8mtwkIzxbEr00hxMiPqoi5mUtVuFRqWQhiP8qxzNo7/VonZrEKADu0oK5H9FS6O9sky/5dzJCWlCFjSmBlV1zFYJVG7wo7zfwSjQNdmzntC/lv7f8MOnKHcl9KutH9wDdSw6Ah3UYKIy6V5CKLh5QV10uTo4WCTGsYG2srAxaD9Yf0JM+wIS+cdIezbAQYcXNuNfqoEqe4dWkMUuFUG75LDn682GnyMdv3pzghOcy7YDPyqgmRJn4EK5IpXJ8lg8wjFW4nL5CJ+S6xNzyIUKbFX3kJk34CHpnSBlG+WimGLEZ2L/+mwQ0l5ICQ38ksQv2RY/ql7fr1E84E6cliyuuEZZ6FDwthHqJfT1y5vqFGWpYGpqhrW7DL7h69tWAA78RRikW2CDDGAC/dFT1dzzB6xGKKBDyApIep10jgtdF5+8MLKbELLYGOqxpDBsxpbeV/+V1bzuosNmE00sRdQpX7YML2ENlHH7sdoL2Jq3Q3Z3J6wAtllmqtmgWDPRdRLbU/TE6x8TMgXEPJeVeO0WgHAm83TBJJ99U9Mqo387rNTknP/e80hb1nsDHWWkR7lFmQRZ5Ta52BOw2MtS+WTW6lqw3AXVYIZ9pZ38KEqUKZiabahAodMAKRCUv+f+QdbxYU8sVQPAldKtsltU8mUy7jUfiP+m0OmvqAz8dH2ronZQcVrKEg+3rMKNut01eo8Bu3Z8s1SNElvPC8hU1VWGKaCR8z/GyfTi7psGfRHVhLI22ya7aAXKKhBKdUmIGiggbmSt4342BbGrRECRQmLLFFVQ+f6Srn2ID3tw4Akvwo/5ey+8eekFOAx+QT6py1A5X/oYEX6UeeRu46HsuzbPPwe8KhxCiqYbfCMpKF8E1Sdx6dTiNpc1k/4hpUYDa4CgL2hHdllu9v+khpwst6z5kSxDEF3iCitR5G66uImoumtUazi2CgZYSMEbNVmFBISe0qZPbiZ1Fg9x4cBlPQxNmeUAdlSqgU/RsK9vcBpxsOs/nX6LYWr8UWRhlFc24+3cUVGcx1e4G3Cah8IvsYj43Aziyhooq6g2qUg6HxuyMniUep2jR8crrc99y8tS/IPDYIlZBWh5VpbjVngZT0wBtOe1TaQZHvUPEGmMmcJwg4xtzGA1lt8HRRbYa2yB7/7tKgtp++FlWIglQ43dOp2vsjOaCPYu3nqMKQNLfzTplSPqzPwiGU4Sd5nKqsi40eyFkcp/I/LDT+N0whW9fdCxinKXl7jWwhi0xCBzyzAHq7y57wuy5ijcNOhmXt/RYaLogAMmS20P3aZbUewrKTB49p9HNx7bv+PX4OCXbllwgQ1Sh5XbcmxZukUV0FJLSb1WqK7acO+TIODZeszv1QINQJFOrRx5LG1nd2J+6iljr7UCctu8WsPvGp1axkuWst2oD9M+XmfE9kC/9QFKfki4mcw1Tzs3XTQbDq//ZtXeLzGNMFG9C1K6l1U6LHVnOXkJm3ZFqGQMMug95EE7KYcjwGuvCxnyW3avw+GEe9HhKG0OoYmpYXE1hwfzzLzc+UFBRECAHJLwg/JG3SUYGNuJehlFGMYNkUByOOa+FV+oTMYgzXBVN1D0aCKSyHFI2NniQPSgYyBpS20opKNy0sQXHpgHn9OriyxvvkC8Ix1atsLKunReDiHuAi5QR8h16pbHn7xYx5mQbx0q58B2a/t5exVjRUiIFX08kxGVKsCY1YLocqOjDe+yXfSP2Qo23UU9EZBUCsd+q3B9q4DBX3LX7i9X5TdInRzeMgUMJYl4lZdwKpQX1JtiYpKGw8t8P1SgwTuqZah97R7u2Njlyhr9JooCFT6iQnWutmEeomeyKHwGdp+MULJV2DU3ebt3dgaaLlv2uS2cANm/yVgON+pOeEZ+/DfE6cNVmop8RmMLhPEA3fSIRGIKaWAxzcf4etxvFxi30sFezF36zEIl8sWVN1aIq6MtxhNPSBay6+Le4uCHMfTkSHjR8JFJXAx4sYe0fVMqKRnn9FTPI5P8ZMC+KGUoZ1NXI5U4NOwS7tWodpKj5Yt2VVom01WE9MljMHfKJame6SonOrUjhU5+VJ3nYRtm7liOXSO/XF0ix38BSHHUaEwxHcNb796cAEphazkiK2CBl9OeDIlNxMKOACn2Ncf4JlbXHUy/ikDUZP+CWmqmCoCOYrvDutwZgS/SUQoX5aCAkdqmfyhadwWVP91Rk0GytXsxcAewIB6+QPn2g9OTzxItHzdqHwPiCeuzsu90xqHOrPDbGOgCQhWfjgF3IHD1bn34RvFSXQpTYFncHMsCAK/LidQ+rSPNcNqndVOcv5i4XhNVTyNQyCFwbr6bLZ7PT/2XSlDvE3fxcs6S7tHgp+Ilit9pBfZf9nhluzcuHb7uynoB5txAPGbyJ6WZHGEbJ8oNRnEpV7H5FhMKtaTDDCP4SoP8TADC+egnNO/LW6JjS8A5mXovxDXViI/ZunuxMqNAj0jkPMtOslp3M4NuuEH2JbIpn7q+QSVsnda0j75YUlOVjIieZWa+JS6phEC7FwZBalLZd8hzkm9Pv/KWCpW0PO/p6BhZWhAQ1niQ0/YYWVZCdahR7DhPK6qYIhzBfPVsb+9A+H59UAKzYsPlpyzAcjEm2C685BGgAWCDWlPF13kgwEXBKJzXRbXoLE0QNAxi3GUgP+GagBB79oDcXAIE14go9yvo1FDh52eJUxmaD2LPt1njp6UwwhuF+qkUKUX/OqEb5QzzZluhDILKI7L9mSaMExch3VM9gpnR2hBu0J9BJks/YWBYcU2TlugONip0a5/3Ispo0QyMg7fi/KODqCk2k/B1tJixLdofLItxitctG42Tj8+P3XFEBcAvKdtwoLkJPjYyhhfwwyjgdUawLOB9TFOoJ99xUzwDYAsk8rQrSSR64+G+pCcnV+Dv7hTurEx+Ak1RUfXYMGahc8r/mQQIxo0mCRIAXN1IPfIZ+zIdH4ntfleP9uJErJD/dH21cc3XcWWxXqB645fglr/kLgOXlExl+9YixZ/az3+N4dh7TlFWmaboVfWsZwFhdE0t/0Bz27xpnlfoj6juryDrAP94tmgglVlJ2j2O3HORUKOIRa9eKiLomr+R7jEVB2Wp5kSuDX8WYH1L13kXuSNfaLnC2+nuYd14iPALNibazwj3TvRyVRDafl1VE0wi2cxn1xOEbkUHsOeyimlyjeBjlzMbMZ7ocjOf1vMXyO3zagdg7pz46WmgD7b0p4AEjpPIxmq/sIh2BvDP28LhC/gIkZNzQZMfc0MN9PfqCRsbxqmkxG0SWXtqLHyCM09kolbsKOORKzz+Me8u8P/owtYiDaq1UMEUG4Etta9ZAQK20xA/hy8C0EZyG7TvK5NfZcbtK4PmnMlMgUybGroa2LF5mvKKsHltuuJOW1nHs46UMT0Gh8vYIGavgzjD15x6v6j+ms6ffBgTBCBcjUI6kpf3vXl2FEMVjegUmvKdclZKOn6DeOKbqnwQStxkBk/H78rzGKESuJieTTnHZ7Gj/E9+8O18NhFh7nBtDcimgiqDI0idsW0FYo7zOE0/NxkB27IFCfEyeP70uQFnJ45Uoge0/s/5a0+C8djlAl9dTN8S9RWgTC11d9mvPaXVGvKobN2ccoAeCN7QHBt07kJwu0V9UAhqrVGMBP//7CtVCRTT6I/ItDMIM0XKT3LLLqtRcNnSIfZeCPQAwaJpUHzdN9e90zAYRQkNabrVtXamhhYCyQFjRId7ODhq2IbzCn5r6qgBoPAoPrFQC1N5J8sc0/hwM9PBq/8Kb8okObMo8EyOTwDjDpdD4in7fJvLqSWp06Bvb4/JglImzEjjlaurMO/UIiO1UT4Ju39XXmJzN/zWD3afulxx5+GFejlDCu9ZL/YbGOCzz99Hcf3zruGBpwvx9ugDHEB0KwC1nh+Y1Ry+RRQlWQdfOENT6q73ysNJdB3w0VmjceNhomxVlYkj9lxNigHBYLF6ZlZhuWUTWEN5C3OxyyYzU7jvYFe1EYKW95XJ+NF8Y3D2yEesLpoSGfwSRGr70VkcLNPnaQtQkljHCmPxcyPqQbRSND0v8VWG5EUDjEfJWAk2u8JlY7cu3NOLKlCFgY7BMdGQCH3eE8sbLdXQuJ2wLyHmLyQxRjvq9xX9p/mx7NJTGIPuL+Zacdgb542tHj/09ZBg5wWtWpAH1/tjEs6aDM7N/yTeejWj1d+IsdZY08NPP/Hs9zLo/t0LyRahSCRYhOWgXwI4aUvxMI0TFu6veQM14S+CUdMX+48AkOyayWqxIVxLlHbz+VdFswBk6459ULww/ft4dumgK4rYSoKOhSHJ8BEKw+sfdzWoO8tG23746DVOE8AWThLSFQtmsMBJGC5p9zRAHlJrIE2twNV2h3tm+lr+yMaKcwL8fkHbbPxbBSJk0OkAyUoN8T7eoaoVAcWOPCDcdxqekmTLYVHgYKcFcvETuK5Ro/zKO+WPVnMX9RkdA0E1T+jFmwKEQWO4GHgWjFzrZg6u5MKazF1v6wAN6dtGdrSJNk2LBBdHqwHw9R68hfgPT0Y5/syIKI8CKu6WzS3TZAFWp/JYx0LvE/sDXVfQs9jwykz61mtA3UPQ/l9j9zenq+SPRr3vH8J9dgH9hJ5WreQn5zKc76ba4lHH2XAnhJMgFdvbTyF4DznPSwd7gWJTEVI7fzKQOemxaiNYU9oDClJV22rR2gBbJNdiHfluWmy3cs8Rk6Dd2IzjTBCI1RY7kWPbzodZjHvPDgw70uVVX6UBJtU92rtvd870LuimktjHMQ3Zq4pbvidJtFwhw/V8T1smX1b6E4hNVcI2ovY48yd2+V4DQ958MExyozclnHjbPgxUBbd5HbPRhfrJusTf2snXhyMkoZKKf7tLO1a6ono9xHeselCXiOMaPZ94ZsA7xYX6xJDBLC78FfgCR/fsBp+QqZ5dPzEX7M6RybW9iwmLOiiOY36+eYzM1SPWfUSWcDQvLQzWQ2VdO1Nr+NN+dwrrOQGoh7+b+3PWPa+sViADfFOZBciMulI1SxjRz0xmeFvZG9ndUc1sfR3CrCZxDVWsGX0h+aZtLltW1hE/C6kigvGU45aGG1Mp60hZew87BvDFH/MoweynZLAaMTavlYjqqye+O7D+T5dNZCvEfP/v5A08SbfwRgQgxzF9pUGHxX6im+IYMNoWzXdG+wA1MlTlHw+eT2GTf0/Y8IfDvihrxtuGjz92Ry/V2tfszYLRZcwaHwPFnpQQEKeyPOgmFEs1/uv4AEXH5NuOkuOwIIbFChdXQUKcg5+v49KwS7MKZYyVrVxv3EqvQqKLNFtQwKEYqk0cGGighOdmCmMGB3SwG9VJRo6FkbC1fsq5SFCNJhLDtG7Wq33oSOweHUqnUzMiwFtrGqWR5PNG6N/5gT0PBdVNknMYfGZLYsrB3LOK2JIC56o/y8Kx+3KTgkL0rSLP8DCIswTxTS/8J8ep3s1OfBbmgEMvyWWGxFdtEmxHa9bBDabkCm2Ruot22MNK0n9LZmKE3cz8ZP1DNlxaIXvqbPBXWbA4GETo6Of6QUmPVQTusyLxjztDFJW1tDvZmQELRcVvP2JYApvT3ef7Rb30be5I50Gr0D2z2wMy94QNo8jZtEytgyXdQbJ7s3Xe3LnI+DWR3JAVm8GzZ+S4x/wC+4DozMoCEkTTt5ymcmLJNg0ZKAkCUEmLTMjikSW/ZyMvDzZE2Jk2CsI9cbSy1R47ifp1A0/MRQD1yJ7+RRA7tFdEAd1AZ9gNAMWqWyenFlRT6oApggFjlhcEb30P2paWoOogFQNRcxvtFr3KHXCkmvnvfiyQ6oMDEm7dryovkpGxMfV7xScCg+cSLgYse+AfEqF9RvOpdy8BaQOQ3zqLIdC6gDv/GD0wdYS5XwsQSqQv48U44cE0silewM7mEZgQXeuogqE6VmY+vGaS29P46OwRSiso36vSYHVgJrYC71OO8C+Gw0sUvwjVaxvM9TCjg/5GlXdPscAgQVhP2vEwC2K9+uN6BhKpHOqWL67kpKphiKgjDR1coLK7zMrp12OE+bKa6B2ywhA98B18bpOcRFhktX890KORi6y7EXYV6N3mYx03K7fUHlOvMJN1ued7YxduRr9yFSXyBLEyvzysvUVA1obayImC791MhDwldEuSHOl2Qpi9EmgwdkWhamNKSJWA/oaX2DPp0t0W3SGDZHYXcuzyjw1lAux8cIg9KEV92hIi59JFXMbFIUFQNEePhvWLpzF8RASvMBA8uneVW/YFNaZ0rZJicTbVsPT9c6IMV5RC4Br9SqnqBdxu6tVcxUu8tmPOyznnf0tPDWNFzjd6Wai/2sL0lcqWmArL7voEwOZ6FM6Xs57tJqXtzlM9S9qDuJ3qq9JEKcjNa5kzw7Jdjwe8VN/JuEvjIuR8b3u/kanh69514riAZXuqmKNuUeUY/PvHmxP905hXFDZ57FNJ04mP+21Yqh/unP1wdEptsUd6BV2aRUAWf5k3fsPB2Ugd+ByETERXfjv2msYLjdekE8Qj/KhwASKZUmh44w/zA1tc571hZ8ayHYlhhZ2We5DYK67B4KYN59Ihkrs49xiQkthzJZbZ9qbbZ4b8l6tE9Td9Qv5hv7ZLZmUu453Svd1hTNpVLc1zKpEn7O3eEVOMzH9tc+d6kxlLtA/vMrUZuAqtKr7TYxy1efTlvB+F5MxL41XDbkV8DnQnjjTsIMYHslUS7+gUv3RBKg6UFgLh01PaejdR7Autm11c3pra/BmbxtYdMg2sEnahSBHIK7WSaBZ6HYf/QG+tKgu7sw0lreTjscDn5ufATtn1BXbn8PMRkdrU5a3GAUPzhyQ9JCw3c7G2ALR/ectCxE+Nq5qUiAhFtBGHNqdzXQqIAMsooLdMAxjQC7rLu6HamgC3MEsvi+6x2xfUZ0Cwd3b61K6GgTHajYMgToloy4PtPvo1vyfYgjBtvxya64v7kkZGNThEqy02MqcDBT3ka67m0uHpZk3u7RIYwavYEeVmFR2lzGWO/g/6zO13/Fz+y8G9/ezQg+R79zlFBwViSgONDPT7PWdIVFcYJ0QI7gbUlS/aMQKKsFDJMsrA82ITJngpFl/3Ug1oICVy/Tzl/S6OyAzAERPZwpOUNpCU44Z3ok1YHiWcTsUYQcJH/r/W9hNbcmepRCaCMPxFsU4i7GIXRX3hj/V8JRJiMSv2MBkF0Tg62XnBQz8yUdqHyvYeCmrg3SPEz5DehefxKF6deHlhPA3T9NAICdjCfd3Mtw/FGxoYa5J+H5Dw5k84IsnO5iMo1IPOHfH/l+M06ViFBAI4ibzVuyXDLMFEtwrmS2Q6N2pPcWVd9BLPMab1OAyCqcw3uT4j38erkgflLWMOjyCt1F8dqSh2CFUi4oe4gM9D3kcN07dROKa+b76ChM8iUFPRwTqwWLxO3FwP+pGtxTZQeva/WJMPWJx+iyyai5UAXxVYivtYXfSEMs664t0IU+nxBPsSWU4c3wxlmI5jKhC7hEt8yiE85ap8I+JMO94CsHpt6Ho+tuqS1YuIoELcn60t8GLJFZ4xi9y4dMTDpMNScIwnjvPjzs2G4dTjjUEyNuRlCWCfAq7OBNc6+zJA423WRB0RcFWG5dqrGsCg+1BGXsG9DlFLxtNU5e/+lNrq+bLSEFZT4bLFr/uqbqPb9mu69xMvxyq70mIB86rBvhX3jXfk/ig/Ab6xBzd6Nb0JlkKM8WD0055Kv/3b9zLntrYjdMDqAWKF7uySvQs3ZyGen6EVx8iktAQ9hhAnrAiy0jaHhkDKC3GEoGuQX8xCPZtWbubbMf9UZL0t5WvJAQy4XZ97ItYYoV9tlbJxtaris2vRpFlTIbGDOgUXmn2F/BPhjtKMgQqOVG3Hi67hdp0BwUJg3DuQEwOM7Ovi2/4H7pVI1FO73cowQIfysyhu/RV0UZ6NsDawhYXOvEqeSpyRgtxACAobspU6f6HzHydiVlKdYm6GJ6QSZliNbRevpekJyXTbOWHDR7zYOSoxjQuIMWZ8+4T5psCyMU1ahqd2CM4V9wTX5Juh+LtpDtlatp4cJAKF2VDwbe4aRZG2w4mLbUwtMz/qC0J2LbHfL8t9NZNzirInqCOxMcjMD2NA3UvOtTsi50oPSMoEfO/8joRhRNCBc+a9qkuFjbehR4YiId0c7doGGN+rKc9oV9oxsRo27ho/rXQ3lMmMMrAFDpRcl7AUs4C3/p6hvtSxo7uKU9k6ettQqLdUzcTat1UhxVXMzQYceNrAsCro00TnyFJY6Az1LNTzElx4AJy7EfIlG0ZLvlp79eVd+q6INKWdVH1tk6YQ8tbsocYik1CdqD+uNyPn710OLyofaoaFHmyWkjkauSMA4vtwa0zQIIcRJ7l617abmHde1icIER4Uipkelm6EDo0/k5tCRi5t4r/eDoT3q4BJi0/gWmoRxM3Q6rWmIea59chYav78gCQ4uL5pFbhqbBfkGibDVblo8e6JVmRM3AQtqpiiY4z1FJ7a0O9IRI9ppg2UJF1M6N/bx95b8eUJ0rFRFfzo0aMpyH8my4QKQuI+CFYnUXXO58fkWeLvXADAo7/HHLqJ1bDJvM1KIFG2cVMEvRU+TLvBEbMk+tOwkq+xjGGG1wLdZ3gO+tBiQVJ8nyXmihyY9T0hPFxweMMwfaC393EXBTDHM10hAohQOooc+dL2qPB7L5sGq0pmnuLTDVSQvjwD2uvVGEgtCop1Az4NUE8MsPGraFDu0PN8zNyJ31/arrpxRvp9MVvZx6cfQ0kaN5mhNRxQRP5slU5hcBa/iDUgyRM+C9ElyYwXqK8NgxDB2j6XSt1ET+AojRwlECnkuH2O8YEPlFJMw6MtMl43AiWQYcibtyb/nr2z60Dzfk4pN69rJJzQcDFAojJVwf/hpaT1G8NiCHGlK6+NnspamYXfPIvhl6Ge/EEzpymNh0yWgdivNW4aA9BiU7YuiGCyN1lm23Qc9zsbajizMlA6iP406t40UzzjXP35Ed7CbJX0C3mZTXMRJNH0IdukOMw7+huku7LY6O/g0Q/fY4+Jk990AkkdrHrcjEf8ErPbnmLShUrnJ/lm9eMt9TPl9cTTOqn7/ZCL1j16t5ED+OKAdve7y8C7JZBi1XtdF7L+uKUHitGcnfFXINCFrLSCFoLciIjmUtTto2+olfJoa2ZT/YHPwolMeBVdcndRMxerK+qU48qxm7ZgKo2m0fvS9pWenpp57XfnfS5Jzd0UubUB+DGOSM7GYVJoCZOupV32ZkolE8XFwmxkcLQ2GELiJt1jCV3tipl06Tr68y4hURtEJZhdg7LnvDdFpNjBAaakEy+XHIU2qg5uwoEjdd6dN1pVDLWyPAJeb5Y0Hku0C4WkKfNTg7uF7ef/8Wb4121gLU/u561Oi6kYjOGjFBWSCgFhYVmCVKffWgaiBCnCVBr/ezmP1Czib+sspVyjpZTHT4XZCyr2bXQHSRaqCIcFAIE0Lav5rF9Q97LjUnCzkxUMAUQCfpXBe/F0bRnvo9OKI9ENVcgzmcvpWRv5ZkWPwvQfZJhFIl4HRElS2l6o/Hhrm5kRUQ40Tc6bfb9vk9rmHpDB/VykAVqzrEhgJ4X9N0U6h5fvCbYVkCgYxsLvWU8lVUh+2JIdZ8Q1/3grZISFmx4yplMx2qpDQ7BBQVPpCM8ZSNayTyRBxpvDXny7Aw2UvVK8mjkUT+pTPuGgxbNomCm5ElP3coE6tpEv/LT+qh14IMa/i5gyH2EroK9JJDbAo9Odt37bdunDkKbmQXXLIqIgkCwHJ46nYWXbR7M4qi5M6rz+NaNGBnqRbWioBHXGjGRMIIm+D02QpdyKYt2ravqNOmSsOO/7K9G2Ke7cBnOcDMLrcDFLVF2n+cdgG6W8nhysj7CFgsKPWzWB14ca6fKIAX+yGzABfSMjIS8ViJC99HF8lAbjxJtmVvwwLWMnuCE0YLYuqBFCZ0PweDzd3369YaPWTOsa0c/4NNRzGqswklHAx0ClwkoYAC7QWhza5jdSVRYlSovPLs+48v/pPNo/qItky9O8uyoutPkISLUaCgptVG9DdvoZqyM4FeHQ42LFum6vdCljOEitJ24LtCrz490Ivwwcsg5GKBVzyodrhtXPeX4X8Fe9UI9hZHR2aXcNzoPG/CHjfKwMngDGHYtTsbmgvVTAqw2EycEVZJFifKopImaIMdDH0HOWwq4uC0A4lbbQC5gQBAkOcDPTEpYwY2Xy2ZOJ9dXT56u0tRXKaAAL4w7QsOpT6KuzxbT49JpkfK7iHJ0l/TfciRIw8bRK9rkshZyXK0gGShhJHxePbvi6H3WYg1364GNHTyhfg4lelyrM4fOWZX6kmbOOAIcJzN02CofYO5nf8urnoyxN0oK/4nBtRsviSp0yR4gC1iG6ILmbR+icBfXyPCFO6MiTqJsPRZzdNBWi6VSu37DDbApsaURFsA20cqMlgviL3fKonC2Fs2JCRLiB7t+kUIgE9avElyL+o+8cNia7jqrnTvfPaV617GfqlgdK3ZocccfYp6uDWTae1cgOt6xBZIi7WmMqLAQFsEfi/+zm+1iujqx3DjGl7PVCz8v6FdN2OGIIHzYYTAunJGlM1J5tTpc0NZfw9IkDh3zNmTsA7u/0cLWRMLtsavTqYUmjupEb9ykSAMmVA/JHt6aDggG48VwRneobmH0yS9Eb67gulb9O3GRhJTOCZYEUznZ/XRt+iAP8ZkI2+0cRomiPOxb3YON76TVtDXBNzUJGvVq/bCCDiRyXWT2d6VGoDBjsIx6aixWeKaWfrK4TrnhEmyYMIElsJVMNv1/O6i5sG8HSAKvE02kR652FYzMSMTEwCS/fXSOkFhHlAV23X5Vp99qnap8m19ubUPMF9A0vw07sPwC2Nzw3b+QTZ/ozXRGtsaLP3fYsbcn41itmTKXUH5faAFDdg50KSHyBfFDOAIZmNCDvXyPTdvpjdEXjIPknEY2NHKsgWxEKpPuJuvOv/PWYLcBfofPfFfJ8BiebgUOwkGp4b/w9g+/GtWbvdyjfbby92RZE281iOCkUW33EoJu+aoS+bM8Kipb5Rl4Cf43MyFQJO4PWhVGUaR6b13Xxsoao0ZlbxjjGbIltxsjy4OyUwSa+BnQ3mOPjXfnrVhy//m2evfYCSD2/mgVIENd0n8egL6CxWvTS5MS2eFy+ajefqTDm4uPXYlOli5SBZypp4s0LWD/65fAimZL8eAgrcCeA94WGdxYgLZqMMvbasvljZ3tWyDWWUMaCsgNfhzdb5olQOuGXdDiswPu9Esug7SkYqDoiATPLbH/9Lm4SXPX+VOYQNfeOi9vSOvu7FLQZuQ2qoZorpF2On3K9NcjbbndPCd3cHobMGz81uq+hD6YBLzA1YUJDPuxJ7VLAIibaJjP8jolEvZdOhfMyQl6AjauHHcxWrzPXYsHxEsizIlBU3YXFW1AQbEf3vEvO+s1EVfJArUFO5Rrgl0m5tcUV+mruEcoy4Pj7ii4+Y7USuVVhwQOy78KLt6Vnl7tNrEiX+rsY/SoST6ZHp4GEhl+fH1HsfUAmGrA8xxGYTDSVK6Bw7ywPbqVy82f8Rg3VUpRwC9tEUZJ9vgQfh/CD2C4MYaaV2r/Em+lvswi10V4x/8pPSS7kYLpHSrfy1d737bXMG3atO3iYDI4jKJ4VeZyld8eTTsIAKjsBiBDYp1w8i6HuVl6Nak5VERK0YhQJ29zDuzMLbbG0A4u9oupRdBP75ff6Mx59LorYsq/2t6vEFyXYgYF+JOnBNidWS7cHcO+pC1e53fgXbUtgjOdkGJnQg5GX6v1xzOpx8WsOEM1H5nqOF4NQJgCtlmCXDuCKhgIFk+67QHW2bm3TZC0WT3q0ZtQKAe503MUyL89mL30vCdTYF7UdxV3RDUUU/OHmJGzLiI/WZopTTlygDFgbO67dmH4wtxNOf8iCjyVCBgAUrx9d/lMP9LTmkz6Tb+dntwSaUbbc496GclBpEHnJUdOExs4HMvEm2vsKR52jv4bwCdO19DyYoPBTlQhVv45vImZAY+/UAqM+ZYy9R6rmKuhTmcpzrFQcds5YJZetqgQ8HRRC1kCFC8DJkT4MDHvmNtbpupJ/FFYelaq5SIksNqJ90w5x0sI0uYcTCuz0p/zI1gULpXrNQELWkI9NvLWs+EfJBVgw7GtFdDx9oqoqE91TwTkeE2Q1rj0JW1v/AkVXphEmKx7MS5ZypMrS2DIFtsFLkIzJZAwL7dOs1zEGok68GfGLNzVDKGDRNgbjeWywUqFKLVx/JFTOnuSPyKL9Gf2cyJAUmWXyG/Wj2VEOn7GzNOvtx1OtdFv4m+cgzKxXJtKfkei5gwjeAXei9rfOTn2lHOY0IVCL2Xbje+kGgv2nOadxcC3lZi1jy3sH6HOVxi1rHP5lZj9XICtnfnOvXtqvzWucYEeTfOdNdTZZYlUvODaW+jpmqiuBnA5jnikChzhBpoCzWpbv1CwUy/Y1n2rdJ1rDxJl6tHZlNQSbYvBfN6VZGSFjUug6UCa0KPyBlgUv/uwKM2wL0HplSJYPchk+DY22/RbjQ59rcUI8WupFIOSlcpPi5LfEyc0tc7quBVUaXRvnvYIFpeIgNwVilDRyVu9S1cXqAbNRokiuLuTmjgoTMfP9Uh/Oz/JesIZ/RZyS9eHM4xUQb9ybV7qKr3ZLaR1iClmmmggEi0apzCajti57eofVh7HFv3Vjr1DDXGsPSJeWcPC20bDE1fObr4aeJePoITn4jD6tKwSY3o4J9eVFZicb9oYf5dykaIeXEkjd9LzM3JcsAE6VhATi/7K8NsGokdeKGbwkA8DB+pbKeCkojhv/OnX4CQgeI/J9GzK+yKsf2KbSSPM5Som5/F90UvfgdsgYskIVxY5507RZnx4lnSvnv4oHRGMHQ41ozoK9YH+1d0SVOf1oS2jQ/0kHZQQP0dlfYSg0+wiq1Ce2WwhHoVOaOH4Mb3q7C0HWNlLGkfcT6gqJAvZThf6i8kST6tHG6eAFIXdFRywAHkdMboyyrBiCwszSfqh3MSjmiI69EIwTlzKdu2nAtaSPI4JiOr27SuyhTS15vJcTUKMOD58XIF292HaYHaftS8nIBANdTw8DQ1Bual7/g2e80dof2L966AoenB2ayGszp6nQ853kuOikW16SvpzRv8Rk1m2Hs7QmY3FWOZPs0e1MC/FlWj39tfk2LnZ2Nnih/S5NhFnbBabjQBX7U9dQzIXbu23G7MY0aIu85dpsEJGxvUJJbjyM9wyzHEUKDfX6CIJ/ujVYhE/poCYO6/nx0+vGhNXft+EliBQgCg9rKLEzIhXo17p7J8FIBEuMronzmW+BbQSNrO4ABpaDFLkWAt/auMzsPXQoXwIu0jTZXz0ZTUNSsJCiR8nZyJMLpjotHT8l0rI9oag3x05IdljR/vvsXyC+To3WlxKt7mQC6SQ4i+cYLUceeajBqIwMtEFVqaR/ATEYTn/P2+Pw+HUimEM6q8aWcXlXI+Jiqntpx0NZciHTOx3P5zDYq0xLa6RI9PdEpJIrhIvQMdgbHWgDalX216eguoFbGf2wiS5Wx/rKG/jmPeDhSaugOfovFudTiPVzbMD5f9Tf5UsHpVhvb4ONLzVqpIiovymWVBSUr66Vm51kzqh71ZTq7x/a3kfdZCEC2xbx40MJN11mcKeq6dV/9OK6ft4zFZqMp3vEFuXzpa/8PgkxvxqZM5aQIiF7Dv9Seyzb4Gvln4D8PklC0BQ+Ygsmtt/fqveeiihRF9CeXBA/lR2gVrXSnpmHx987XdywEQX5U9+XbLToAOoJt6Fd299p3qHAohmOh+4vG/i0K/6QE7RGBe/ZrYFaa+19zKxJ+XsUWug6O2sHDEj5vZZBc2gRQSaOju6exoIsOQ8rPuz/6HxiwE+hPDgEaC9oZCg9mzxFQOk+n6sUCEcNrEziHBGl3qJIs2ZmJ/KcASDIjozTMRIXAm1p8PF1da54LyYN4KaxbS1YqnABA9x2tXSc55hr4qXC4aTW5mOIma98XIbv5GAkKz7lZjvDXSqgyW6MxeTMxTNuMi2SR6AwCAddJ+Rgu/mPw5bD24lvdgMhUH/vhoz226XDNo7G1zQeg5xaPbjpa3kAm12qtKiwZ2Pcn4SISr4gsfGAOZcC5ux2GaWW/HN5VYb/ei7slCvh+MSRwVHQsQpyETlOeqvgDJ5TKwmWHWLNag6WgNj1+pGqxLdHc+w9L6MdSF0m03PTRapj/6r2rWMuZltjVAbyPG/4jDziuySxW0SRicTtRYcr1d7Cr2v6d8wLw40to+KCRdiGi7A1g3zxQnLMsS95WGWb0CbORyniPR+SIAyydG0YUvjf8+rc+JJb4oackrXgOqJHacMiGO0ZxaRkVfENS33yaLOVv6qEcKxS2wdYLwSc/OYDrW2/zIIDeT4xQjDwNfXRjq14e4AbIBM2CVMbC6FLiGAM0EkLuafciUhdlSHOas0XotiMJe5W1JodnvAy9AqPJwefRMY3iRtgeE8crbdasJNaWHbJhkwY+213UHNxDopwM8E/vKmKnds2ZXLZGq9ObGWXzby/ZcJ0dOuFT++dEq5pqrdg4ag6TbfrVChXGbjhu6d8wDpf14MEEPYS+Z9nR82vWcCzsEO6/xJwJc93OcJMTjmzDf5V+JoCHZLv+vHtgEjazB2ByYzqX7gCxKkVT5Xq4zaW6S8DxCpR/5II3NgKmWQwDIyP2z+rhDdylqxEgFQprgMOELPgu7GuIBC4ql6SZS8QTOiF/TsLNYDso+bBCiT7Hvn4qbt9ers3s6XQxJK73J5lDa89kFypC0xt8g44144yoRFErF8tEegVR3NHGGYe0v0XZCfi3JGLxn4Y5A9/XOX/+M0KNBxzl4R33bFn6u39wDhYV9DgUaEWJiAYQSf0oySnj06CaptJKvSlCLfNxHQjFp7+I5GyGuNVmXXCX5V525xmeoDMdTCAbdm4jcuVjMBiF2EnH/k+u9SgDVpzXbuPyL2PYT09krfHtnURcyiEjYlA/Z4CaoE8jgVJMtyIJOfAHk6C6DnDgo5qig8j6QhCqSXbaNiLoCFyYH5S36l6nR5H24U6S95TQ2mbeKHW9EUTkGM9WpeQjHpXK7gkByBU8vN8wxcqd672IKcdLvfdUz+1AA7SRrXJ3dUdPOncAaACeeOfaf7BlrF22ndw38ncRbC2oL3ZgYkp2jv3G3zNFcMKHKMZK54gDwYzYwvSfuay6wLu06bX+Bqg0a3SxkJeJ2gskdFLUnnmrjWYKfvGIe7Gqv+AF3TRHJxzt4yo3zrwQMco3LjYcy5IX+ZXnnGKSr2wAz0Aqb11LWA2u5TFZICNdz/MBxVNy2TRFDapQi7faScDsfdTdy2/TfGm6WN4Dly5H2jtISik5chD/blikS3WraE9g6RHE27zsnlOHrBMiWc6r/ph1bhuwazmfGqLKrxqZWqIfIJJUixk0MX6kawLW0DtkG6UUrXLj6xgg20EyauS2Zei3IEyk7dlHxVlvd1VS7r7/ico+EuWd3SpLEqWed1uXJth5KCm6PjOFF5j/ZWu/9tyw4GRVLtCREFh97gNDrgc1CDLz8cPSRBSsD+k6/Y7DFKt3Z5ydT7OBNi4aU1mIftjn2+4M28T00b78sgNta6HZQZYrhbBWrG8zTZ5xAJLbm+UNJ7MJJC01H/E/jzVxPqmtJern3a28EKus0bKtM99E9876nT4uk1VeElW2t0gkVhxAo9EJ01zZz+xshHDQfcD/dQ+4RzStJfB4G2ut8mWAJhlyN72ylJ8lJ64WiguhwtxGkDdbGPuTYRR0vwmxoDQ6reCBGXJf/OdMXDcNpLSA0HDqqMo1M50GtwfeholojKhl16Xv/bXkuWSdCstag9Tlb/mH7ayadrrVc9NalE50ynyHhPO0Q4keAgczwNzGP9YvyVDoVZQLh6fWt2K4MlrMT+gvnc6c5yUTbehWhpz8jm5Vh8xsYP+Hxv5774Z5Qk8jnzSRhAfGXmU05dLZJSi16MHWtKzsZgoSYVuUBLvr82Kit7cqiGDMckSOA321R9PjNosuaUQEYV9PlceBy3s38fBq7nVvclB9ozkshKdYLk3dGxFQ2VGgHuF0U6kmemTWLNiCK8Yle58B2fG6tCeJtZV4BlVVCISJiBDhVcLcMA0GwLA/Mugf+ztqB6g/8igXD9Tt9amJ4lxpwAHM96LWLyyN6RsG+ig8w/O6D9RGAjRVO3BjS0ecOnkQ3r2VHaYLFFOnSzl9htxjGcj6inRKRv6nUNGBte538mfaNI/FmftTpzcxO2moLPykpaYIYYmII6Zhaq/qrI43CaGRnIC87vHkaQFD4HVhbpypfWh61WNtPPqiyI15cRDMtpIGhd/rCQz48830uIwcV3maPK6do2IP9ff+UZbm+u8RJ1ZsYSf0GrFHrvQlqbuYRVRvtWQ+i6e5erwkLBZvfESMh6y6otXuM2GfbGYV1Op4cj2fphLXwTghLoWoh/LLP5KyO09j6FMWfbMoP8gWUTj6Z0jZQe0RJNLZqpqCxqCVooOUaus5paCAyqoT9rhHCx2zJqWaQOD8IiT9URfO6zFAsl+13ZSGLXDAspR/3N+4lZbm1gGumFGoeYDWqlgpTzOm6Zv6TkNn0Q+ZDE5NcEtoJmfd/wYGucvPeOSgJG4wjkyyo8wRryY5aqD836q3jfvo+QoyUNabFGVUVfARtNa5pzGrEKrzkuSxxU6joAgAlGG717B4uMML1JmvygtfmeyRG8wEoqXRJEAKM3FSC8OG0w71wid9BVZDXnJoRHZ1LgjTLwIZ9T/Yr5KWmfAmzrsS2qevWeFmLpQhxdcEnu84aSh7gV7a0qHwG88QxtTjFuMvK/UvqYBZauxdrSapTZ2ynAQDwrBpv4SBq9I3byRxcwN6QpOfSHhRqQprAU2tGxJr7/HNbG0pRJIUPFw9Nwnjasx3ANYFRVtf1SVaLfh3/Jw0We3qQZigt9sdcv5bxfBWVDig1+1XtRQtE3fd7l+I9FzKckziO2F7gYEB1RZzdKtO1jLR8SWwAPx8UPqkj8dlOzTQrlGDnxbnsLBuV1pUpR5ZdJLGlnzrgl9Yq6vYDPyECJAkKUEt4IR5g2yTYz8vfZrIT0k3tU+0Io4tEGA89coeO5Ao8mK2OoTzyWX/FeHqZLvISYPAmNsO26e+ZOn89AQqdWHjmjeQ1EDpE1GmPOt1iVi1gy25vaqfmQ6ZIoBqXa/p0ikkaiVqeCiTepG9MDfGtMJ94iDoGX2Nqc0pdQeWuWAzWGTEhaQ3sRFpwxM/1NaLYFqZm+8jS7Y/rYdTroJ/A3W3w1EJ6dNZhBiUbP+1w5BqQYzmzNvoRmEDzfzNnHfNUdpnrf2bsZ6WFLFN4rAH1gnj4DEP2jYMXvmbcVqCmh62306fBgr5R9T0SbkSffAIJdwL/hHjvYEtEMNUrvBoXhIafMAKiq71MFgk9gXoUsY0/BdIdDONw2wqrl627YR4f5y7oyC9EtbAcGmYuKFwhHvpNRnY/ym+yIhy5CZot0zLJDh0Ht3Wgak2z4qrBBkFpGvNe6wZnvC0kIBpqJPZ5f1S8uKdTLoc21v8LAu+MpxIZGttOLHPDvcfQ1PdCd7utzo784avFbaA1egyhK4IyxVGGJbbg2uKn5cBpuQciRG7BMuHuACweNNm/By10H0eDC5jkMT4jZ2wb7ojwoargerqPNB4BF2e2QBP7UsfmkQjg8U2XIskak0O2TN1Fd2LZv7r3MO3UiFRaeKPhkG76IIXm2f4tHssPsxGJ+I+Fjcpu0nqYB3yK7WvSXPNg/637YuLJ8jW4KPjqZBgVriMIO82elpCwgA4OoH7gesMorDSPEWSa4bU4cFzO8b2uy0D43O2adWs2VMKKTPxQOxFFF8DQttkbQ0rlPpd1eJ7DJHKp6/BGP8lgRZcSaZqMHysJj5ULvC7+N5M158zsuX7GTrlAjWcLwqfEyWp6cAQn73rzBAG4HgoTKMXzTk9eR9jZwI6+wDFA9v9ROXiz087rcqZXqxxCISe2xuupB/pNGMB89y/dDZFRCuCcuBcblLr9k3Y4JOktWA309NejIY9Y5r5MNV/9FGp8zbXz/z82t7PbyVU2wOtSq515G7aW5CfnciFSgwLbYuE9wuFTlClFmn48bmTrS/YqcEmseN09GnDqT5xaaConw3ZPDmZmOLoMuUle4S8HMyJckAqYA9P5w1tTmzsgvlvmFRPzuQSgRdP1xIxR0qXmDQ6KvCpKiBbLPrPaNBKUcGgofs/+cW5Kgt+bzBYLe8ar/j9LyhgQcBN7jOboZlWH7XYiocA96DrAHSXLWdzThkZNQ9Dog5Jhp/6unQbdiFoTy9GOX4hGGUVBQGEDNlBb2qtBtbuZfOJwBlYoqzBLLMU3FptUtcAbkh6l/8wBp9CujON8QqqU37cMAsoCqPCNlh+Eq+chK5UntBc5bihagH06uw8NllkP+hcqh6UKsPFgMwABHdNzif5EXks9q6D/T7GHEvRsmdOiMMxo9ciTUPEnsc3mOdrObHr7OoOxU/P5RXK1IFmvI9/cxsHgeBBNYs1OxSQdypqeRFk8taVxKrn337Uqo42Hin4Nk+Wobu8RUt6Lk5ahq9z6HQtCg9o4NRGQ66yu7wfo/6or/FABM7cccjbpgXw0UFANa9t6z250uNKTiuV+EQi7qgAx+Xkdxv6+KxKiChUiSPpyrFEmD50JxH6yTC5+Fw3Zh8nv1VMJlmFPrqATwMkw/7RcSM1/qyLb/jHyWIMVcRP1vQLOH9HltF8/W4gS22dwMhazYMhRZjBzsCDAuIeTZthtyCfVjHmG2C5Bva6y1AhxqIySSssD3z1eak4QugYfjz9c+WRF7FFKNAGlX5bYcWge2MSHWSbBvlGkOmmBOHKCzBOTFI7P1dfbVI6cAyCSkb+3QGH3meNlTClEgfmtfaRalwKSA1WJ4LCbO9DZERxzg5O6BJT/ENqRoPZCosjGeDr4v14mz/G2d1hNab+kkF7XU8bA/BVySBGZSzrf962v3WR2yn2V41fD453I/7XTKQqg+yeGopEHxFFmva21SV/6h+oEgKBYDmUrtzjhRhkZIeZKzvoKHmlJKRsG9sEc8NHCe32M67TiS0G0HkUvTvK4BwWpI3jzMB+yBSR2ZLxeGNSPIk2jgB1tp/hewNJKSIVfCVpzR1uFVkqGVQ8MuJJTT9UXBEsg2s9YDj20ebgP46MgoYSl820/FRTkc1fcYBTbceYExe9eFuUEYyOuAIoi+EtYOX1OsseQksX8ULf41GtCBMuxx5nkgwelrWuV9K4uYKaEiAKcyWYVb0aNTxeccEW5atCl/fw50NiO/vmCBQrTWaysLZjORWp+zc5G+wR8RmDgmRSKXrjYBB6zY8hfo/V0kMfqYvP4BChctZB3lSrGMrccwnqfVL01FKf1NdUtXgIF9270ZvhFlu0RwRbquz87Vsa7q+Z2KZwmH+f8bYLOu81QfEhTI/UHF2cBLWW00nWCEgVhJUcAiU/ENcEnU+5iluU8wLSOq/hFtAP8oWwVSuk0X7+DBHhwQRM2v/4F3AjS75Hc+IQqYCOu/Mnw96nmL8DZy9dFBcCdZNEpE0wTQvv8CTUX9JUnQqbZYrG3oFlYVjPjdymuxpH+DZ2sOFon7oaboJlN/G5EeNkxA8EzNrIOUjlt+Xii5QLDU/byaIeyLkCTqywsQVqpCTohjXK7WjUuG+CqzGTWfDUkGR/amdLnjNXatzhPSexInPlGGYIe2vM33k2f31W6YEfCogMM5FFe4bJaDFyNWK6C2gKIT5F4m+bMyWOH9MEIHzFhQDQCnhgUp0HWP+FbVAZfWgkSwRR7KZFHIN7favfmzvvfl6azdmBCKu56Ijm7jGYJH5SUi4YLFnVPeB6g5+if1SOn8pWNsw+y45SEMN7Ds9AmcXw9/HGFGgN/DdOYmTmVpuQ7bSTYLCAg7sjGjcwvAhDxzsQiaATfOvxn3zPzkZrXwhz8bE53GFX6cVgn+sc3PGhDEWkbJNasGPKePVPs2KwCLi5xNjuPO5Pcy9xqYJKO+pDLXB26RRewdnkcKX0tl6ylT+emc3aXWJrzny5l/i/Ct+HOrjhKueU/nArOPz6oaRopZAnLzOxQaIaXCMXZdsGob7X80qpqtEm/NIGE1bkYcxos70K8MJNYCo2Dq8ZE1kXfz+Sw45OaNHe64KGG21tJyAE57tN3Ls2MWTK3Z0dxXdLjhDcs4osHRT2G30sS5dH+jloO/psWCfb8qznZTUdsUtHIGfDZsM2m98til3/6kdt9TWT1VpC+UrIDncUfeKD2TU34dq2TSk0tw3io3xvLxbor8frCUPvPmnOkZFTzfEJ3fWxPpzPK3DPP0TVqcPkvMHI7i43GI3UNU9DgGU7Rr8Ei2JfB7MUb4NGFeA3MtBHykT248oJnHXzfN/Z+edwtxS8awwEdx2pKajhlb5AyB/mw9rryaLVCTFA+EgWUC8eAmVcL56fixsxyUcCz+ekYDZ4bsewt1mCx2Qq/K3p3RJHsBJN+peQV5WGN+5LJJGDHgiAquATkI9XC94EtC1XuEm725cUVNqXxqSD69f1UO+25D28ZKwfbkc9cT11iAJDvX7L34PPyq0fHIeiEZRm4GhhEdWGz4n+ieVbAx5ntMTDtNq5M1DLjIuX4ZAv8MdX8ovY6wruIPV0td1Docj44p4IGfFEg9VpTpx3goTFhJYeA75VOu3r+YGPfe6xTFuHZgNaDrwiHCASL19vcBpqfQYwFhsiR1gcsBR7hVEfUpTxneDAiUffs6POaMiO9aXcNlj80r4ydFWOBM2JFvS6nPJdRnk7F7X6ofRaeP+phfS2GAyO/M/oOA2OfcN0TJxV1XoqFqL+9y6FBTVStrH5eMwnonTAF2dN8rLQH40Iclg5DklEqM/o0Gy+hXiQKH4ujl4jz+vHoJyiVlEdMuIc7B10xIxNdY6uzUcpuluvbuTsWKupN1R2j0P9XeuSJxruytwq31Ol37qJywP36swqSztTDW1hTO+gSLw05R9q/f5zhN/vzjkw/LygpDAsxg35I+j9kd/Zvbrh4nGyd39F8EEvZDVzbqJM4qMr3AT5J+Nt1eSh/gR/4yc9X3zcqjOwRqhCbQo78lJXd8nxFdS1M830yttCP1+OiLKGIBJWe2eJPrAvYwdjKzGlBeFmXslAf9diKsw+eWVx4kevV2DLPTexeefQyjWGHC5kO4GgutZTiH9F4A1BUuKsXMiqsCg3wHD/nNxg4IpriBtIiZGi6BwnJAQFWmgt6zS9eG97ATuwgcj0kPJzfoSgYOghcgVQL34NVr5R/JYu4CpnsKRmFB1yon9PvetHHuPgnJOfJvbG75MqciHsgXge4jPctbbhYrd7F3FmQK8Ae4nfvUwJpzPNL1WnWPa6MoY8lWgqHZ9YezWyrjJg/N5/sS5ISAmW+0U6iAlFKN4MQwuNWwWeXKybUGF2ybfVhKWDsWdn2HtzeDGSwpfeUE/gTjMc92W+QLuKf6IYBb1SNp7TXEdmKL/hL5aOrC0MbRFLcdUQUVpHg9nwqCjLykJpon+OHVVNBLpM3FAFwGLyFLn7Ubl52lhyUl1PjfJz2D9uXPU+OILtLVObIR3y/xeMW6FVkhhu0Jiwo5eJubNza7gGEdmUmlp45w8a8Jh0JhQk/XX+vd7fvZq7FsE6ppqQA75xEph6rR7/FNIqk1zDEPvXMMNPdvG9v2BF7tX7in+rsFXSehfZBIGkPnV543nZPOXFWqysBOIFCYuEBNcpvJwrKxLYkFh25r+parPvCKnJUQ5xA8MomtakaoBQ0zLzv3JNs6Uy8WvbKJy+O8VbvPMJnKIjgN70duoubK72Ttkuf29v9Zo9QtpGaW2Cdwi/iFVQHs5gGaEsUtVuZaEiKNnaGQt8LcUkpl65tQgo6fRZ1nrsiJRBrjTBb9quRFHNQyJfykicUTFVGl5YUJ34rBPNVzlbD5WhjefsnAcIQWlaf80mtDXBOz+3Sje3ROGlbO/8qqqrySQzXDiT+cl9iLKtdM4F6q+x1FGVYQEE3UKAxwqmhvHl599jf6rvTrr0ssjbolcLh+hJbbO5OCmVBpCnBed/Aa+kbFwhtUjAQI2a2CgPcIZPoKLuc8gv7CyNLE6LlxSi9+YGE7QwrVWOwBRr5yoKkg2E1+VXIq1T98K9g2/ecFeCntqga59PAcpQhk9ooCcSSIXEyrWrK0werKEQ+yIXDLdXDL/rF5zKxZGRfATZAzny0ShY7k7IxSp1xoBZO/Of4vQ42MzIL7VU83pP49nqalmfxsVIZgvyjsbr9fsaziDgMWwN3Ue8EZZJmGnFFQSgV1vdvL4V6lEpQpx+iEhseGDFwmxFlyhHqci2axsqSHJDiHrv8omiBZTnRUwrU9pUNiqvhN+kYNvsgE8E999iuBdr7eS33IivA3hmoMIw/JH/7BfwxqutFHQjZAO16ZzWJs6X5fx7GrkiSwQQ37hu1i3KTAsA8/XbFES5kVWO4JOE/axE8iYBNlK/HJFMEXKiUx6WOqpSdIQf7U+P7SUWHifOaL0nz5MvySNBbHwaXmZwcOzwOazNaS0aDbkv/qiMDf0VNtjBEhwHlzs+PwyIMJgR/1OtR+PCN++oFKX1T+1yOMDInIO4of0jdcYS9/9Em3C3/TdqWCKjpnMExsc8y5meZA/Iz1TxpRT/BnVclCPbxMLnER+6s1H+RdUmF75iRccqn6zhYyXuQ6LknWNVCjYkvglOV1jtP/9wTc0bt1G9wRJXvN3XnXkkckcZWBCqGFezXaIVmxzcTS63foe/Buq2ZCgtZ9vqdbESEs7O+VhmiYNPDPDPp4jpdAOqGfzvDYZMx4Ax1HBTdUDDAF8icKqR8Em5sqfXfh2Cff0yrbavYSgEAGCr51XB8MR7ewJGRpLekc83gyb7jovDcVd6ybIf67/1mEKrgkETLWhv/C6AW4qD0ncqkZBM6kxCB3HBtHpejsa8yc1flZaT0D+1Ww/FlJVh8MkxH/bMHGEmE9PiwXkRWVso5ljUSlz4igN7n6yinS8xnSEzFpKY8PKZqf0fXjyez+QrsPLn3h+lunrh4hNAsVvMX6bGrLYRKJcrp9yC+hcyt67phtoz6fg9vsbds8XegnwqRWSIPRurf5EdHE/gV66qupSkIxlDmOXf6gP1EPmqucAHZJrY2c9odC9I9c9u+MLO/ERsusWfy+JW0ujZ5OIfsku2U5en4WkS4YWiR0Lgd1S+hCjTFLzz3rro5Wf5U9w/3ZoAVaLgGDq5Y2TpptMTl/twn5NT7r7hPSqD+yCF+r4+zAfwJk94x39BBBxsr5hY7/P69aFJP0MSur1DG9Oj95jyFcRdP2UqejSuddIISjpD/oGGwXxLJx8Yq0gvRRCImsieMfNerP4KEFek8M2v6koS7dgiX2pmWcuOhHezp4gljOoc7lXC+FmJuKpp5S/6zGACQHj+svd7vhTrrDuyQHcbop1ZgoiRPcbMP13B5tCvp8o+f+Qdxdtne1y1G8N13ip+B4wpTOmvAh+qGPV/FXJcIN1Y/rm8wZ41/ScaPi3VzcfE96OUdp27O+UPgWH+fI8ttgUZkh9GkUmZ1Pag/u2dwWMKvSHLpUMg7hOKjWxrG2DVbt17fpl52zImzAjsyzE1c9JxsiuNVQR9GbN5Pmk+EbBINsnW7cBByguypdcMhHmjH5bYKdcH4+EkMGqI+1xxYyg+0qKoYez8zsGrEDFqxA/TFW3hIf8dtNe+Yoh1U5kroHIlorbMvHHLoipogHIvZoi8Wp/qeE4JQtHq6J6sFZAI58nXX1XRvJI2YtlYbbXbd3Jjxee5Ej/69XTNYBx/WJWjhnrnUDKiJLHOtYPPPWeiwi0jX4kqRwe7/9KT0hm0YD+JvnvOImBz09K9a0ctjWDpYJFB3QfCKuY6GOh2cTXKc5vijVgVgNtqtYrLEid1W0ZXZhXzRlt1khFROKVP/6dVqq3aLtapskCE0i//H2K7/3Ri+vImFKbHizezaS5FPIDtP0mt+Kh9di0h6aFbtHVK6HyoYbkBi9JLM2jqmaz0RKTZzXUJvEynb0293uJgaZW38G2QFbh5UMppQR8MyNiGj2mzoJKzFBo0hbiBmBDkZiRLAsQ8rwO9Pni6o8R1gDkHtssEYrQFlvQs5Xk0jRoztNFHKHgrOUOtHvgF6BBMIwjzyrxpk+osuMGzzMELaAhWoQFZ3lVtVgTiCbLXKPSDwCPnvAhEfLhA7zQ9RvUV4G8u208A0o/IIcN0PBseypHMA6jxtyPIB9UGcqoFnsn7WhwDj1b5d6r7oCghxkb7Pz+Sf9/iboVGtUGzPx8zhVCoMt+UH5Oz6fMW0IeJKvozGBuPR861hl750rKGq3q3IGpk6Zhrovbi3gZzw0ITd6WDD/CNwHkJhcr8kiHGlRwb+ofoNNWke3W5l9Nno+Ex4w7pLKPj8GRG19yr42ZIwlAgywdq52gP/goG87/9MXGW2/6fSNrC6ePiaMGd+OyfIEg9HtIi118LBjxyJWyNYtx4cujjiD83Ala3HMs4VjQa3MjuYqEMO0YZIpIXVIgKvQAQEiNixyi/8HkspX1QEI0zKqPlSkY8NOhLlOOYM0ozZioZ7ph7MjFfnj3kZSWbg3qY0nLtEmOLF0LT2kTl7vZYA2BgiIXiIIvbzZnrHPlzHujTbWlHnWHXHlVodTM+zH1qf37hOarn2HVPYV/An/67dpWvlhsuPeSTCEJo6DHWuW13ys/ILfCgVgUXal7ZFWi5xeeIkTDU9QlosUFw7sFasXrfNAun6kI+FmdPz24d5t5DGPikYC29yn3J2vNgzyxTSOBSxQ3APaZ+NJyX1G7JCKPCymadaIlOhFnctc9fildLIh5Lgc0ljK13DzbZgvQKD3mxQwhoGbhVrtumwfoK5+sPc6mjGrdnP3cuDBUf58o4ZPEaDii4RI4UTXRUQiAyrq2icEVpGRiUsrUCUProbcJ5Nwgx2Fd4VQkut5eaILZzQp9cmfk1z32W6McFC5A7zKgHeTNh9NnH5QKRTUaEsfR5YSYAJxbCHIB2qVGlUzPLLPjl2HYpZ8DuaOjQpJJ+tAu/n2Kro/O+Xdp3YPvt+9AWt9kQn2h6cF3wi5q1Xolcv4+bZgJjAdEZO5YDkzEMVPBY5T747wkqu5NRyya+ao4rsCCDTq29WDm20T4DMN7fAojS1nFUVlrECSIpvE4vDqHL3zYU1G9jGrZU6t1aVMegFNma+yTR7xwASgPftkv2c4td60bui6Crn0bmBDufsQ8KuOCMCe1dXVhNV9XkAS1q38RcHPCxHsKzbCcDtOgC5rjIspcj0OU879+yBiUO5YNcrIEolydMNkGDNvLRzRlFp0cZwBhJZYanE+DJ8XA2qfv03fAgrdCuw+URkPI9SdYM4Gakh/kiwbzZHmogpbIGPoJyUH3mQ2brSg5T+raTVJgYv1Ru3+l1XZsV5Q6Uw3HB6DmhjmM8C1GNVL0ClX6At7/ueFUQuuDqGlQ7n8gycwhqMV1bBCCvcHAUFrVNVuTY902XGL/BaRJcVA9FdAj+n8s0XZ5cfANukzEZkrZ27B+BmG7bX0YtWG+9lQv5RLcZB6tFwJ+9HBVtaMMUvCqkRGO7eSwxWv+xbMVbfAB5oKGO8AuvXZ8YKxSDLTtoEWowWLv16PbjDvFcCR3mBam1dGKpe/ALUOKzJZXT0o0MnUdS2v2jcxh0y3VJG1LM7UPWe690oQg0IGsDTkFaA+G75ubQHPtVCKbl8A/75l18PlXrUkIyQkvX6TyeQ3Ei+Mn/RK60Mn945xe13VFzE6qp6MjUBhQrsRGUSnxQr3IAufqvZQuQwLouVG0XIr6G6JrYAX0/X6KB0F8LRrLcdyPObSk9qx2vZj0IpXK9MEyIE+xxUuh3qugp4pbBqHI3uKEtJwopoqppbvWXbo1UXLnKjzQaA6/1OstkQ2FVorWZQhYmKC/x9dtYw7NbQMAD+bJM+VURfMyuRRUwQsktsTgLFxNqpewZAuyInEuORrtnCNCeyaw5n/xq6GVI+F+N88Gp2zip5oYzayV39lQ2y+pFyrKlrn1bKs5nRM6JW6f108Ur9khODEtnDwm6dRFIA8zCx0gc9GwRfOgicc24L12ONtATvs1G75qM/Kh1QQseGLOWxKrYsFFgmVjED9qO6VfyogmBeKtLYj3pXz7Nd9J+jXs7gC3at+aSWZgMwHN/PB/Jms5FbyKwn0JXV8ruVOewnqVbs+yPsV7gYPOyTsvOS/vT6SnLecnecDSv83+86GQ2vMD0pK0ic1dgVqMRc1TicV6rdbf0PTr2K1XSWodd9ttgI10oZypKQmUSC0sVoFjFQBaFb9s5aMjb6orp8TgJaXxjl73z3a03oQIlgrpFu2ain3oNvYS+FN5Ovx+xrWQMbFO7uqZtxllQTqOdUKG7KckQj7bIZnZzBoepYOJmAfZ4EEdcoD02YAcakp0FrxUy5mI4HEVx1rvD6QZqsdg9aZz5z7NmPz7aVHHeXaALx4PY46TCRCMZIrHEapvnqGtvewV2S07OB+weoLdabhjztdyu+N8DAbEsS0T/y8NFMQWADqt2MCPlNLTz08qRiscuKMBL2d32ThWbV+I6cVQs5O7K7zBnG6dRsq2SUP7tDEcqGChc+nl5wi5HOkDEQFv88xKWdCyFWR8BsFGOJfNrBAAJsSi6wJhrCnFteiK9pJwtxF2ltSYPaXPaS4BXFXJJkqhOJHZJtBV2x8o1PhJsf07YtFwJnDzgTNja4KkQE9cMzyUZa9L7+fXyahwOhIUoBmqJbxp8f4JAE4ogJpT0o/YOlnMacLPn4bELiHR7HloJco3hRfV1S8SlR0pDlCYdDmIW5tW2oV2UD58KITsceTNnZdk/uAgBVWK0JNV46FgL/OT6OM9juhEv0327aT2H9lDWuGbXx/7GQ0TcDA+Q4m4t2spQ1B63AWUrFh8fkob02pRUhZyRiHY4PX6x8NUQBGCXP2h4uSrQyA2tICDbA4XzzTxdyTlKa+zaOJfkmRGss+9MelpJVln66HBbauV00HBzVrOS8/WufYePduaTpxWtU87B3dEVky5ZFjwzhIl27TfKf+fviGV3M63Nyf+5UDw9JdRxfHSr7nUXZmzwCn9sNkKzuW0x2tKL3UxDG72FdiHRHZdf/aoxj82m3oehZj1fmtWL7BZw82kdTec200XGmKg8z2RPor/4mllvCO/Vyboq3BW5hScKlSz8WC15iL4f/y1nirpgY2vAauly3dLlkSbJq6sVVSzKfFStRPa0lGm1imS08Kxq6srJzz02A4NUQ49B1wt+97wBedad7A4wF83QEE/ZxOv2yo1ZY5HdQ0kZWCOLZDkmqiL0fczdMbds4mYy+dl9W3F6DTA3lub6pTB3bK1Z+Qv0VHb2tA4q9yLQ88Lh0Z1ca7h2Mj3RsDf9YnoWR+AUIHLKnvXILrMMugztFSp66hZcGjJ3tzVNxLrFse7jBR24cWz6lzWFCs+bO/QxWGulTzUG/m139I3KCJu6x6IDiDlO5ZDjzMQero6iB8kAjKMkc7M/6vcWx+EPClna3xtiEcn/E4RNPB/hWX3W2qjdS60y1/seT18n4fc5OSOagwq0wIo51Nhtc/AOgaTIYEDC+/I3HSR+UL6HS4NE+Xw1o5TfcBll4mu2SS0ddodIPfDQDFIhc7EpoB7/YCpfuDQ+JvbZjx7pnOVdSPMuhNzvSIr5ea1WoQLJGtip9X6kh5B/h4O9+HSe2igGGPcj5PimkVm6vUEv5SnXhj8FBMEte1CqY9SVBFBxNIQovVDSa9WnUqt1yrce3UbC7ukcrq/4dG/+Xy5AQBDVr9h1th5by6xWdu7fQ/472K/dTP9sX28eTRCGXOEZ1z/jEf7ymtqC49gW74Sy/FMwDB7Yxau1FQ7qu+XEKMU9ZV4Xq8cpsSguNGUbe9wwtQ2AkqikvieRXpyO6qLnQ1++MBN+uIgZyWeOpzx4u/DkhjPATpA8DKqwb8lRkO7ZC9kIi8+D3Y6PjW4QNfnoYevc9JALyCzJN6KsFGL5BP2YeIzw5YrqxJmY0KmJznl+XFDs7baH5EGBVE0GZK5yLIk4hftVfwi2aNjdwXNOa06fhhinW0v841CvdwBIfiEZgLroX/AvjuuhHSfCEAO6JhPJ6N1Kyvz/z6rUarOG7u3VPPYE+1TuM0F355Qr0hsYLcLO65ptpHS4FYpQZHqSszzf1fsD4ukqMWV4Sh/DwV6VphM+PBrTucaXFgiCqd9HB6u2OdWX1/J9Bjd1fFBxqj+4Yh80/NUKYYzu7PXCBQ9wxFuRO1kLfmQbQ7rCrce5c9oimABbAbPBE9sKnsFZn49WrIUYIIrsYc4po6dVtFo8j+3Q6/vgafAwXw4TeiDbbEJAHPWLQgmQz6lh/GdfbwWMVDd+IAJ90jn63pAK4Dsrr8T/v+owIaUU6xND6pcWaC9Rghz3cfO56cl431YqeUJo3TH0TCOg/2HX/FGEaN8f2TQDjb5QSJsgtqOlQecW+jXrWPH+6F8IENMsNjLu8ST9l2V/4zlCZY6k/Ju4eagSgkR7FTcx3yyjwYW+BsHXqWLTMDMRUiVrjaMTMsQOHg3wNj2NYBdHbCwFXFOOl9vqOvGE0FFekirxIbV0MBCpb+zh0exO04TBBMtgg8b6pF0BSHPkZzRXpPE1H15HC/4wDYHELBLB39sYWUSyx5PyMxyZ40QEP7S79ohy2NAMJGFpZWRJ19fJ7t99b/DUtfyPwNPTy06C8omRo1+fGOzVzGeg2eF9T7/cL1yqIjbXyQLHE8xBR6eB3jCSu6C4vjYWkiuU4WQSc9nueT29T2AFDuemeklCY6U9tNXnwKjENlrOnpvahZfxFGC3Aa05kI2Oi/LR91EkXORBTaBk6cR++bpm4JiTKcVfPiC5SaWwS3fnchc9E1Ik8tLzmEnqmTojyo9AjOopMSclgiQ64qjrsR+/OD392IP+KuJpe/SFtab1BrfmshoS81IeVwELYHDZQ6esR0RAnnir+38zoF2Ph+D8JsX4ELld7Asw1FrW0MS8zVr4hDbdrNac+K3++TEM7zy+7xs2qcHn25nYFM2JEDFniUVFFDY16s262WVf/dPVHWyej9+9ue778JpE0IGrowiRPJ3gdUDkSkcdxzKW+sFZp4FQVhyRSzZLUmEXHlM5vrdko1rNubVA2+x5fiAkkAhNCWV6iSGrWv5pIkb213R38MsKU6IpvXCv2KOba9mez+dFukXFXn9MAJ6pkCh0RbqtZa+TzFFU83NCWNT0ff/OM/OOQ/UpgkfStdC/FPI8E/NaXm8jSibNom+lCAqVaFzWufxzoSbuiGuex3TGQw2sWo9JL1O7SWNvIlUke5mGHnMw9c95FUj5GFHccfHO4tA7rCIzmrgP+SI0/O5o36iz1Pz3jUMlHYp4tts7OrdB1SD/9kjy2xoGF9TyUQQiBdq6fTi10v03bCtk5SqDdD3Efjf107RxDDuPOeQLMnM/IwJHMrPMPQ8FVGwNq85Z7aN/6dyBmBwmgBkJJfThGod5dxwClHv0xi3jB5ug8bCtwaxoxc+FddjzmXqUNGevHPn8Gz4rUECypUCx3TrV9xYOBXCU+6/hkrg1NKsEmbvVg1tTfSCNQMomTlK4YsklMHBmrTKwGo1tVtUGK+4OAY/UdaddJa3h7xdc91rAzgBBeQHIkSvgbdkS0BCxeloMV+NO+8zdUN0Q9scxcUZ6nanFgW+BpyImqsFLh5qhntn4swxbvcncyE7GnwsSnHZTr3IZ2kYLDFKh31JP8fqZtBj0lbGczanNS0MbUvE73SmaS2Q5ASkcpbmiz0TAUkdDNrTw0JkHkKzsffPbxzHlbeW8DtWMP7qIz5R0kvX7BAtzR4vVEfrPcO04IUSit2MWk/PR5PjIYnbI1cgZ2+Pq9wc/yhbo61HnPU4CrQ/NTlDFLL0ciprMWXW7ZNkV4AnPYlmTT+1GZFa9b6MYwUAJX094fgJl2yl2oYzBi8/J8XuLTB2ZoBrcHtx9vn+4zh5SQHhC3YFPv8xwjmR7QzP4tV/pFeaxhyCPrFLiVzHMd5zr49y2pvCjvomP8Do8KH6siXPQlwBStRf3/AdTI+K511byqVyqzpv031qQEHJ7fTD4yrXCCEPb+gX3KhfVRfUKhxrIEmw62+YE7BWjf3tb3x/uK0ausTMDVZUANf70sym7nNye2gTOE/KH4ZlJ2yoY/IExI9n4/BBwYT5WwVfO3/1Q6BAlvdzkrtBHpx/Vk3slaHod+ypzqlNOqYqMQGpkxZmNPZXFdvfhswfBu6y5NTL/S5N/Vog2pOcKirF1fdg+teg7e9bs8vam+Yi9JGtFGx48VUoXsSl/AP0PM7urtiZzi+bHEOTlCSJuG9g1kRSgJV+Zsk1eCPNtOat7n3TzpsPXlg63zZWAc2AsdWyiB7tpjETlEyKqgdAVPsd33IGgR007JgPvqVXl3DbkUdFt3U9QzNdkP06+FoO6Yxa/oDmQgUfy+FAv0pCPKKtqNxE1F0oKZ77GoQNI19LYDFizAQ2QGjvv3XwVzR8IlzaYRlEjAS4kh1Zug8lTLsgganOhRqIuJuMmenuONp43ur1bcSz0ANtwcSXalfrV3OfAyAd+4B2ZERCJwrQLqeuRE/b1OlKMA1jBVIdcL32FdDdLMha+wKcyHjhjTP8QeTfxzd+2mTtH5F9BpNdLcvmbvbsHocAcH6lO8dFX6lerFgUuuLpv/xW1mPOoa8a3RH/+H/IMqzuMY7fpEu7w8GGdqGfSGhuX6eceVscmf4ICEYpFIhEGsVL/gZSVXYX4ZiTpgpptaZVKgoIbJ7T4ZkqLYeUuqg+uy0o8uSaAEwVVlrbD/m34Lz4hdDnVG6vYltxq78I5R+OIxQSwJAJaOP6caHp3utGR9lvJYrECMsFMeCf4PZUMcSPtY5RU13M8zYP9FmD1dyWLlcgWKYZfkVMm1PVEb3BLvZWJ0s3tJ4BN1qfgH+J/t2jzV9TwpxzT7nMtKRwlw8VdiEyv2V4ujdq9ZrfpEa+eyvpgUB7+yRyxPsFdA/veHSH86X2n/yRLX3vTKOM4uIS7ebw52FLbBgzh9N9ypdC4tvwe7OKwqtFr+utnoNUBRYCdgpvVhTflfdm0+xTyq6CJ1QOsPkcYPeUkAR6SctIlhNGXtWsuMif4fWq8SIxFsX5wDiNaHioXrmNkA5auDq1QdJEzuBAC/iu9C+kBoEp7Kg0+FmW+slIfLx4QD57n3IbwEvya5w6TyRpnsWmIhx7enCopIdDRqv0oG47v1awr5NgBEtbsEHZ+QsNFQOwP0+muL0oIZT7IxlJB/3UxWUC0ONG+sOTw5kdN0AfWlj8m3R41zBmts3ubUhCW+KHbaUYpDUFas37LVS3svYZA8hxNOXRy843Ta9ktg1M94NrcMCf5D2x1dd2GKMTE8QIj5ieq6OaGJw1uZfvu7y3VcjtRX+7Lhf5aEbcM4Y4SmeOCSg76mu4lM7qiNIDUA783zfTeFABqC0Jn4g2kGo7cLRwWPWtshRaqvddiEjXXWFepRC+Fwt9r1d71FMOI+NLv5pZf2LpS2USf7Nc3ea3T/QwUhYRklV56AkOJgzsFFP2SEALb5xqAMtgvrCHkhAOMZttB4e/PGi0gMWuZkrx7KzDenhnsKRRTbDDDqrJQQfJoy9G+ozQT9PdzlxoTsqO9QzYcAIHs+l21+/IZVOG8JzfYDHuNjRp8SVcXyj9Is/SlgSd5ZHGV9BwUitRFFr54wjHnTSBDUGliaHnibYue7TI2GaNsyCPpjL9vZpWBvF0aNZOtk4qo1HD4IuuQuccj46yY9qayUmd9MoFxpIdQijpDlcME08NwpIem+M6ldbAyi0tds2CHUKHvd8/AolQaDRr4uZFJHB2Ap0nK3y3vypD/XGtl+gf2gW3OjMrVwClyZRGcB1nYpCbuF7wNcXkWoBMx9XsFdYzRXOdTaDllThVcuBojLKgA+hbdjUK7jOc23oopNj4Te5wENScA99WqtjtSg2gZlpFFtP1OEv5nfZAZ9KT+Me2nIKHSDj+O1mD5gAGw4LGO6O4hao1CklUquVi5x3pjDlW3Lrj8yJxIh8UY2z/X98ZzA5JvEDeFSbiDWCMPLEHwHw1eqZwEx1gUXQnH355ws2jhgX28/aiqoJwziApLfofUN+WawvrPEWcWBHMx6W6LzCSV+/vFfkU6J6iHac7CzyRWoxUS0lgavHpc3qWA8kVKDt3foAbWn+tOsbOWXo5Zy5Vc7ix2D3s/H6ZVxn15DlhKNnXhcZ8MxoJUtpZPkKb6ylcTyVItDQdOjAAXOq+MClqUD5RKEE0dN8/zBu0rIhSh1CqGcCwqfj1svcj/YffK4BAxaT+3VXa3h3+q82G6zpNdbXCKkUC1eR+JQPc+AmVjNZ1GwMdNgu6zpVScy3u1FMPAjXbT/027uDp7QoLmthws6sRVjkGtSIkhIQQNO39pyDX4IGClDgVsMSGb3KK2mLp4lPb9moBVL1Fy35GqVK1LhynOk9C+wGT9lBB40EDUfVMF+m5JnlhQcEV072hvZXm7t+WwRlAo5UFVrhyrCE9SB8KfbYPaqOP+e+KjeMwF8DUIOJUW8AJHJISQfhVwwaUILljhYaeQY48d6IL/vgvjozHLy/h9fY9FWdq6/YJoN0TfDUrnpBelpEr6MPeYyLZW7viROWnTXqnoVlG/69tAeLM+5YfklGcFV8HupXSUJD6ovhCoyOQhTKPYEP6ql4KHfUFb7KVwILq93mbBEwYhmimcVFD2mgxk6MR/G8wCn2Xf1brfgR/w+VXhiu2vee+PbS4ISLxGkN2JLlT6WkYi0Zn7FTvoM9WcgawXmvymnNheDg73lxjrPlzeaW8vVSSnuMmJESgeIK+rrlGKun8wYDDwTCot+/poqq2oDomUy75/AoeVDUctRJyFEETlDDU7kCz5HoovM6sLLSh11RqfVPSFK6pY0iJnhtwZ4gBL8Db0Okti0DjtN/IC/Db/kuOiTwaFFmm5g8QmMaOVDlL/W49fl+mx+rkmAmyhX8S6C8C4P05k3eCGeOWwkWuktvoARA6R/lM6Ke5K4FDqXQ7jHmARepTb1cNeyNJKh17bRLGlH3MF9AA5fmdXUUSY3RfKC3CHOxSN8VmLL6l51jpn4tcmVT/QMBgiCKxCKNQCl92ygTBNzneIMgRn5u2yNoFMbMNpeq/xiH5J5TcmVgjJkBQQtclnomldIb5cVvmrbdi+/GnRJwNaLU55BhRdiUyunJhUJfqZwXlvm5nicflwzBCuWHc/hH1J/OCkLfmAJ6WO+2OtO6MYY5EW1cppEgc3BHxYorCONhgT8pAcn9s6592SyLqZpw+KrQekeoJ53EqIZCevqm7J9RqOoq7/fFG0fC1D7CX6MlqlTzVrrCdKm5tcJY5p5RGx39AO2wOxQma9je23nZzvxeOtyIGX2U1QdOn3pVYm4NlRXUk1sVPjoUg2lCCj9KmUXrwltJF6SKda69UJiGSZpBv1kNdNy+zGbIkrULsWL45MeFKoOr6D7VXP9WpGoGycyZ/ealnUfPdOYaYn+bXCROQ18sLsyfaE5a/FkpK3MZNN5JMdIvtKYAPIQjOZr/Ie1PlfpHiZn+GvSMDoHPBSvcmeuWXhCPLK5bvIpq3r0krEO09tp/aV3T8CFjd6yVfvxyKTXLJBkXBRe/nuTJBigwnN+aQHPPxfUyZ99PH1+K7t/PNFoSU6BZ/K92P4LvEtsRfrsSNWtK8QyNq0WUh6ejaMapXGJtZrJR4p3nfz8UPQvhxCe7shUff/HXts+KO0TLuFhZcYWkeSi1NOofTYhhTktFUBbsMEOj+6S/kWdYGrL6EGQKJs6vw1UMP6rihF/OIsC2k8yzPmE1HN3s+6U9pHeCprfdnOLZCL5I32RoGhTrumGgDd6Ux3pYiOaIPdk+MmFiTZtc3ZNgJmXPl7tOTj1qErN3iToxuQN42LAudTROBRI45I2mWNEKhkegQRX03b/ffdQJh22/tYMqLodc1pZMJqaX6rzlbMpIHag6Xw3tSpxvbCtSO0vAKMqsCpPhJQZ4VbEIPD5ZwJ8n7tqskNIbZXAcq3O+WSZyDdifrwONKYJ9/HbxnUUDvy0Jf6yZEhWAJU7wWoTMpXaZH0zbxPcOWDBCUQjwMjTOPHqBCUBfiSRGgQktlVLETK6tVLrTvhwsFBS9reh2H+zD2p5IszeJiVR0gjwEXd1k0Bruh4xWrHwpYNkKPhHpSMf8b0enC4lfoJMsGr+/yD4bVbqEtVBEsUCd0ko8GjJIhU+ey0XjEbdwkeZ/2gSCGOsFgFAhMICp+aGasJnGEivXZWzi6jANy4QrrvitlNAfkVKLP+AsADcdVoV+58hqkc5bxr8qI+iJmv8+QrnGJjTFGQq9itEiy7iX3MR/CozGb7LV9b56gAEPi4eY01732UboI7hmT4i4kwtNFAjtUoatvBFV2jJl86N443iVRzdKiGLQsX/0j6zCjk/IThlpKPQWTV6f/7p1ykg9vHwco19aeGtVsYmAbEGnA90XVA2b0nsCzxW50WUOANnDJ7dcAIR9S+EPaGHPToHkBEFWQ0nQZvI5SaFWIIVhT2KmGR6sxLnonhndRYgWC3U7QP2Fyy0vieEQBOE8+2OLsGoVUDe0XRdFFvg6IvI877AyXk0dUPgsrWN35sEo8BZmm3Z4neiGcqzrlOdW14PPNFUZcVHf/cNnL/lVuhY851RiKdaVZTNSqr5nq0XshTnUCdVaHZl5OT1WmxDKZ022FDP5QD15q+Crhnmfozbn+ctjwaxbA0ojskWmjbQgQ9wTmvtbgcmkMMSk8v6li6n5hsKCWDi0N5a1tyY/0HimafueSZN9sv5PDS0wXG8oyOug+msZJEej2QFYzeqwIj/Eu02s1Er0ba44RjSHwB0ufyAUIMMC/tTncLQjWjZ8fUyS420vhD+MXv3RHgEKj6eyFWXYZQ1CzVvWGnY/O6lyphOf8cqDM7io+vvzKijxFL2Oj5QU8TYDTN7iFLDOfXiZVTdfhilLuNDalhWOgQwG16PNazCunlgPu6YNgmizXn4tyh7iuEHtWHAFUq8PLE1lC7eXOPq13bP+QcKCM/q8sx11psvZ3vANGQMGMa+RylzED31UA1zCQ9n9QZduZnJUHVVARTDT7FsWZ9DHMCVOQF+MY9wEy/xXsWm3rzpM+cUIwgAcn8EOyO/ZazcGHp/BnOk8GQfAfaxzgkE1YwzH60I1GTo93DxtIA5zpxmtIUSbcZWr6anoqWp1X22kjeSMWiXH0c+58nwRqlCMPUhDQhJIlH85eok7Sl2ZW1Vg9dkRS6XI3hkPLynwYvRs7zs6i2hwf/XMLYmYliDroqQiBDcFbxkQR8wBIfdJDovw53rfjOpFs3COy1j4YOBMWosK4q4JY2iS1Fn+geaKEytU7Ww6/Pd0vYJDlW6rddDBW79hixK+2XwF21evCG7tiMyYoMWIv50Sz7hSI5fvnMG4J8YOcjSJJBLxKhjcHuTKmxI2WZDrxMyLUk2bWwm4Bm6XLW0MyO3Q6kIdjfIKrw5rzIbapeoa3QbB6Dha6ERInvCtphblyn9tNgJ+QqC1uLbTYPVF0jSsNogiibFSaIcg5ZtLw7s1qZBAgfYbHioSCn6ZCecFUNv/oRJ7XT9F7I6BXnlZshtqKyMs0WDXYghXK+pCU+t5aQ9nJdWbHaiFHdmZj/K4QCFBtcDY6gLsIt3tphktJo3p66FCrK3Rbo8tfn+koa3Q0H1i5/nBcDVfhxoYUCoRvrmelNRrF1dTIuNwwHlbXwqWH6282Y01iOXy9hCZzlPDj8D0q0MW8p3txOBQ/PzYFVDHA5Xyz/KscEuilxAQGrMdXCLmWEV1noPWOh6ooe/k7RtFNoQMeVdtUfZHSRZqya5GgQCahwcLEGRqse9b77D0duOCVtJy/rpmOIzKSFmeiVJtm4P8yxp0AvYMCrhENfxp31LjYcFXfVt3X2pJ6xeOhE0wnEvlA+coYRx8pZCTL38s1W+iGpiw6LcBLI6aQ67ekMVl7dUvsFkJ2zlUdblHaCWSN6o1Z5seFm+jgfX1iPuKCVQ4Na2OoNG4eag8LMsl425FlbTG9RlRwyNJclKFbluQCeLYkZNMbx3nIz3ocxdGcCRjD3L7QEuvG0cFmoqfHyXHby9pVTOA3X2BSX+GH9aoT+K+zObjSW/Gc5M70vSNTywQlP06AlEhgVK1r69lIOD+lE6ls91hbBu6/T51sXNDw+Ist7xXU/kLHOuEOGuxhNbIrR+fLCQd27lRdpcrmAWtm4dwQTrnDdeSz9wCAeU4VEhp6FiyeSFYRMyE3NhkydfBAhjrKTHfcXvaiuuvQOxMzCiMECw8sJ7A6S9DUD/omVu616LZ+u+hSKYoXS9ZhKp/6B9CBh3z9/OF/xzxFLqJAi/buUficRDhglEDvxYaiS05B0gqDi0ehO41GjUPEIApWHLz63M72vYebgnSQICyLWTzoz2zo7HpfUvF51GVlrZOO7ImGYfstAuzlAqHMMXmbT+YVMKeHTKlIyaUWFkOhaGLjvQYzO2gbW2TJoY8meKXTo64PuRyyogsDVp6UdvTmHgrfMecN6GGPoyeIXbZSMymyF4M6ssiVsAhgGay9i3HjzCzZwP2uzAFX/Pxg2LzCjX+d7HC8MisCeTzAdQBjDoPkigtd0LfCAT+bKSYqS2k8Gy8Z7ppsWbjcAya9s996OeJu2v9LrAfLE/NYxM26+/oh38+uXmmknhyjcBWqkpHpnqwwlBUWw9OCPVGrWFR3zVrqSSCx9pPXpM9P5O1VDLgZ5becFPeoBdPC/Prjebu7TrXBz+oPUc7MUEZ99JSc6ic0EfeGBK1gMn8QOEi7CvB0DcBZQe8lxSVpQrWbDUSJk2xeRqTbeglXUyRuuG8u2EylMhExO1M7q0xIVWifTEXmmhgXLcoESKa5JevM87/fHmiYZ8+o7TnJRCKDuPyzsV6lXdUcGVddsK1XyOvrYLPGx3NlERiAvrGTIc0/RwGqOngXVEAvQVFg84umArNlHrpPdMGJxtVbQ2LgQnp3/I/vJzMgvhOAjryvFyzaMZ2QEY8sUnVdifWfKG8lD70NxTF4x3kp3TeHuIAMGwJIMw6MyxcWsKC1my7bm8BcTSywu5eyVHIWwchAtu7z2mYRH3vq3LQXFawO+bbeqA9AhmGnUC3XHJ4JjBWO9lxRXqvspSi6tY4NIEQvkMCyydHhrAqvDHtMDTzO8pt31CsO4JXihkwMDPi2wapBgTwHnSRfA20rppfBDhrtKQENKeYQIwMw1vZWBwubscK7hZjsq7oIwb++1nqN0/fqqTm1+AXLOqepslvP2neLYPH7YjTmRhpVOuUmzfrwWB1W0XSmVea7Dgif3rHjsiJBxivPrq0oFXYhnqT+daZ8VSJVLf6sgKl/DcItBtsNTE7Btg3hwU7wnM9IAs+clJYkd0ej5jWTrd/ijalzC0Zx7QckSATv57RGIYDsFCJ2yFXRzh44ZzqacD8ZgFiGdMNflTqvkzatEmMX4O2jbpfJR6tGMzliGFOCgn2Y7AtQWeqAvDFY/qMotFcfYGfu1eFi8d3kvuSKXFUIJe3jS9+fhoUTyHxkaGt6bj5sNhNmg6xz394z75YXPudX4uS4KWsVH24M9Q+MzoZau2YhIsSBpwQtlOYfwMGqxfZ0tIdf1Ir8VqetGRFwZ9j+uIGD9NXCZKiP5S2YRv2wChaOHR4Fs/3iZgQFIY4SrayZGukGVMyUzO6CcNrlrEsEHU4p7d6wZ4J/C+tnRLNr5XoqPqub8I0R4YzPPOwEwHEedLfO/re6AgUlBwzSVgXxJEEgb+3zkHQYRJCjFuEBfmCVdlyH9X2nzSrpeotwwb4v4TcesH7Mnilge/yXfCCcEOZyxDBtvmoJ6SJzFyVlC4AxokLv6Dwu4ZQMst0jaWDRKc2EoU5UgP3jq6AEOCnk+2lGBCTWex19gKLTKhpWPhUXZTr9Yz9NgJ4EFkLsh9fk76N8dD5VB80DWtfvuFfWB7crJCTPIHeqH0GWHTZGgBCobzYM5Ep2eOo8Tfj9LeqH3K+ykYK1EVRM3fTgdlMHy7G1u/b5bDmEonI5uGDg12A4RhHt7fsST3g2Hd5t2sN3vDv3kjU8HsherJkDwxzDo4tT60MB9ElcoFjNmrFyrrY9xZZeOeogsIKLtwzCPXMzS2tr2idWiSLwbkiMpV79+uLCxjYue+75/5k5NOPR0BmkSfZWzYKt6f9looUaHNmpdODFR9Tv3+CF/mNHSh9STG7/hstLy4u6FQ7kQa3b/9vdSB1/eliuCuo0M/tS4lXb3x0/+kN3GvSgwMUJA9Mmzn3rf+gvzonU0tT10mm5oRPHDgwmh2A5pf39ZzP7X7mzEB6bGjAxeo7YN6KrUYEdxSI6PxZToHCxV50+aSGhXPore2ajVbUVwt5l/tduiyYxGzDKvk3PAKm7SMl25Twg2by3weAtVbnxFQDhKIaUSKMZCZ1WxnxUyAvbKc2FZG5oQGZ1iED/76abn1QUBzRGcqLowdd8EQO/l8H+cYL7wLU9d5H3GKBSDzlFZNeuGpywgysJnPQAQ+x1x/W2m7U8NpbPa3REW244Ju2YU1LmNvzUh/oT+/qzOQPC0UOY8ySPKr82c2MFkgpQ0YcscFNBkOwgkNX5hj+vF8ARfDyxR7co1O7en2z6JKyIP3utsrpUFqko/E1cvhlSJZ2kuLC3vt7h+sdeQJ9Dx8qpQHVVK5tdOlsBhsSiGpRXzAHeckv87OGtKyDJ2BRSSKmmROq4pGFxuxSAM799NSaHfuOE91QnG+l+QmTkhNDQhpvXOOaWibzfUwZjwEWL/MPRx53vwa/vtaK2ha5p9L7Zbj5/KyxHsciEVrtvo8ZCxF6X+LM7sBkdVM77bbhnbD97VM0He1r7O4C1NBlk9tuxR4/PzPTAU34Jn9Y5KxwvvxuX4d+GcSeJNCOaWBseYQ492X478cyCavgTkElWYkLCD9r3lvxtPe/m07IxOtRYfMjHnqo70TCkMFGEKBMR/SQeFPTN8dLlvFGgDV5vKnn/XGk/EoeUEurgT3Lwedq0W3i/u0Dki6VVhWyAKlTPpPiQVgsHchiEV9OPpSF6LZYevfq+5CYYTkU55Mr83zHJ9P+3WNWUvldAZ+45ZQet7vZa8hat1BVNdwrEtBdBeeO6SV3IeryRSsDlP/zDKcT+wZIN5RNG1reZALGMyT48jsvoHnaeukObVhoQiU+8tkbocqC4VdQpCgp7WXRenFlhcJM6OIdHPwNcXY8lIa+0bNUAQo0JeolQCR6H+vBBUvKHDeRTe6ckgFGv8usHX/Jt/s6zlB57Pi5ewL1PDc05z2Tl1aW4BCDO9jcRsFFy1b6Ym6471SsC2bOIMM4NYqIuQkMR5CJgwdQMwg8VrUnO5AqM94Iv5rJySrVrZJ3iB7OaJaJFrpBofsthBmvnObzPXVGop2+Xet7q48Dfxi8WmctOhSXFF4CRqO77LWUV0JTXXAnekjuaoQVPKkZ8ZbVJPgIXtksmG5dijLNPUbES1Oc76FWoUrr+zY+mDSRJCL4fcEFqCvGBuhW7uPDrKAjEkT+g4H/S5ZmmvmhgGLwctQZz3sHNr/g6mvyrse+Fx5zTeRgPO2HKpkL8iLVTMmw1RmtMVbUYeB9VOk2FdV6x2NYll5tdyd6r49Q5yxTfGaFSTYLC13PthAWBLd5ll+kvCDnSshwEdPeX8uuNPJBxgWi9ILEBR8KuXSiBljsyg37hqIfogQxHK/FZTxh3VCSrxNmG0x/CUwtOaoU6+9n61B79DCIsmkqvW1cNUzF2hZ9W8AMywBfCa2By04lFDpAXSKvA80LCqCnEhsuINDywJRzh+R0eIThGtAej9P2gh/ZqKrhMPowCidsSqUcSfKEW+lUfYBFDkGdjH1DDOnibhDy+ypjn7uWKq6Mpk5yJIjWrFm4VFBXLhHY+8RsIccAU4gwaeNwwZw6Z4xHj78rKePhZn6bPQ/uz19w0/TlWdzt+u6kaDZzD8j6sRSMsuG1Pc/6oqAMWuyGbUR7hk1dXAlmYbii3B8Y6u2ES3R5nG02fG+X9IcpNTwZShXzS87peOBk+eaNH/G4al2vJB5OhUSqXWfMPWC+dPP7Ji+okxGYiiy3uzTLchViix6lSA1lKSIhngUSU8uz+9pWpPndx/kQgSQ+F7pe2oEpdPw/PHUqme0ZkFEwsSFfuBq08vBpKUfqAxIJPMqkNxW7BZbLKXZVV76OTW2V1DFGb0IMvuZwQzxNStzhAdbrMFXZIKeMd9AtGRYyZ6b261k4DU04qsQmxpvXS9LvOWCmTmUBBJNQV0l5E6AV4f/O/qL8AYTRSg9K2tT0Xfc+B4LK9dBBORrh9pUIe1G4qWn8xRxZWhQN/8+9BIkvGvewS2nkrE87tLsBkyhvY+58xKbWk4XgNwXJ9dlwK8qY12N9UuxC34pSoMwGzgVGLSgb/jYaMuac+KbFLt6uF/HeEa2JYpkH6h5MKY5blEnpMIbpwaopfNUJVkBOb7PisaPbGf3TEs8ibbhu3YyiVnz8wB0slzAcCsBeFEtC2uc5DVTN9pfOWwDXMusQvJcwV2M97idIq2JZkiBv+LwVTPblIMti96vxR4r9Yihn6PRNy1N6hgfUOVV3oRaz/OtiRwuWU0HC32vFKbOWg50A33ehWYkbCOniB61KxToK6wQMQG3cfsitDHb6/BzFw7Rp/EkDiRW8G0SeV0TjF0tOBFVJ3aOeo4/IzJnA5ea+ciPLULN3PzoBeGsiQo+EFt/YDjO/dV3WlWqsxQR5m/eEsUhHllzreiGOUodA/bkCaYL7CAbx4fK3olmdcMPm0i8rGcb9Rk8ZZZ0vq4GCCHUiOzt6SqbqFB40qFIj6kdpp7S+nVQtrDSclsWBz/UALZ9Y3dGZY4LXv6n7zXBTbZAO2UPu5LOFSQCd6sVBF7VjMJYzLzmpSF0XwzBnN7/GbfvsJjYkhsVhAzJXqT3TYJnDxNg3B2oSEhfRsxaJ0UnqFJKjn8hYpfLa5MCFqieuP9zYW/JpT1LkNin4e1UNYuQgiO0Cx6RYD2UCmQn3IAEwL+J5s3nCAvGpJra7NFtDzOwFZQiaB5ks1NOJFuXTGRwYn3DjPkf7oqtpHXrqScMVBmfMljix84O5vqegKoQCwUOJImpy6dGCSL+brorXb1+0gXEqQUOb6Qf1OYg80ojF2icIW5jVwtSbsmzeD3HW8hN8/MLqut23/ZjPyRWMRikSxFBQrMjaDNmPP4dCPssMac21Q/uaIWHvxsCgHIrxWf6QuSWoWVlnwCuYyi++U3kjzbzjpRVhtcZKw+wp9AijpmPgyfiZhhoBL/mp+o0Fd4/T/nyQM5XH++tgd/kViTr93BBKjJgEUGG2NozPd/vAy/K6lJVqpop380pmW+INhBJIU8BEBTJxkMFD5oFpYpA1KQpP8mEIf9/7RvZpP1XzzfkoFYAtxaKdOc1ALFZj/rC/PgCvbE6lXV0aa8TSz8jJyC0xyHEYpiqAKda47YENI1S7m8FGgVj8tQccJ1CjqyzLqiOMF7BtWa6sqazv5m0z4Mlz6A81y9IvXbhMLGpVN0Ei2tY8yBKEmC1vg8DBBFYntkryjcPx8AWeLS8xj3pv5pqUkwc3sRrQ0MSOXZ7BavNqdmWGFR6PCP8oSM8/3p2xGZnXct/2TkGwKg3tThO8IkgXf7TR+QWOVMtBhSf5N7JPlrrKeSK4iV4XVBelRoHuw0vuVk2xR1LtufRPegAbIfPUF8nTgmuW4wg8cijilF4fhbT+jVU9ExxBUXdbefNGgCDy6ol6kpv7kgVwE54HE8zANX+kL9NcmJZRpJot2wkPf7SoXEoZqUXOko1MdrO66XIV3EnHDCFADJQ9PfxOPXE/QBOhANy9efvKR53oqcMEmhiBCLqvY0vI51P3uDhU7Y08rBKMwEjlNSwsJHGqkmeJuUas02VudzgAxLwb4CwCAkknAGHezlkoTa10KlJ82Ttqb3y6Yjr5QdscONSuPSkR3xr19LFDWp8NNBJSTuZVtIUmqvtjgldwyTd1RCF37ZQI6aX3n2INPACb+Dm1CIPjGEqUBXOxyCryiZuZHsdt4/1GwvQKZqQj9PrGvL48CoBMg3y7/YYFhlYdC4S8WuVYgIcP4r3vhhTzlLQkgtrtqOZxcrqnbIdNCiQ2IByP17UA+SdHD7v93suifCfQdqH7SaGZ8iZvcjRAkcXl1Qrw48yC+hOnZMJ0M1N179MVydTTAuEzLR7+xV3Cl8aIQ4M9WcrdXzLFO6bSUoiU/KKmfnLA3tvMbeOkzmqO5Nci28TseiysyxMi78GN1r3PSjwEmXSnAQpDaskoEtqEwEW+X1PaBHYxMZcAKYubuxmMluWebz76qE7LovY2heq2a5TNZvg4QxL/iv1F2xpNRjeXioHkntoYR3es/pqegUtCEsVcJwG6GH6uH+TN/oJtXQ5jHHlk2Ud1+AB6OI39N0BOdh5o6B1miITRQn2hy6p0bFOXzTJP77EDShs6ymSWMncEWctEI3P/48QJr3JQL0Lu6LI8dAEHQCA6+Dy219Ia4hCQFcIsUJenJoXiF2iZUDkjyuI0IJSKLOsxPyvVgyA6rFnM0OTvry5vJzmGD8Snqw+vnkk8d+U9X+Tt8ERX9vwJh8rZpUE7d72jkJC/5m6YwGpsKKS+Vrsl8HQgrCtaSt6CfTBh8lFSUtcIuvLPstov3HT8qntxufW+Hwc/gPxY7srXvMVT+D4SmvbM6eVVxX5TRH0Dl0CPR+Zgl+zYi8cbDn8RWVfwd8fNIesEzMTZqpBmbRPpUt5MUiPyYPRFqYzXpMLhAypH2tqdkdoIN3f/qDrvWcB10DtBqmWTEOU2xR3t1kgvto1aTiHb8f+g4wj8ooKuMX/vV8Uo9ORv51HwrKrPeMUsjbFFDHtoo5ieM0ip+IrVpkUt1N5Th0lmb4nDfbzGazBCO/AqhFnBX+p/OfXr6mp34vbx4pHjk70gbbCIQdfOaSVyll1DZeTsmH8krxK8pwe9QUjQBTZSlFvS0xLKf7VgeoRMecMgqtu5CDoTQuMc6C3hYS4lv7vup4vyJhl5UowyRXYS7VOGtjX6d0lOgcjrQ3Q/89sLs2KnJzsxyWAXt8ZXL+d8WHKnHJOh0sNknUgv0kYRP9I+1KkXoLGWuNBARV02kki3oT3j7q4q2664MWIeMjFztAzCHPyOaT3mIUErUYhZggmQtLoc4TNBzOvP9KyUyjU4jU73ePjNq6VDa79JWK+8NmfXSiENvCwcbmsAM6LG90bF7jNdhftF2IZWlHvX2CcEhbcNMkgyYnV6L5VdfEGzSd0jbRZjv6cX6uGRTQHAwInQG6aqTxg58fBUtOm+Y18a+wWaFrl+XMxXqnNB65VlfjeTuW8RK7ItkFHHdyLFVWCRe7QronRpl7EJE20Naso52Ds9gQWpsqM/3B3CfUWbNLYst5p8m1UXty9l2ajUNFWump8RhDCs1ZpjUqgJHKC5OYd6yG6mIvPC3si9epStpo9rc+c3Vos85WaTINBcVHSOqyw3HNLBTqUq6gZEKUPBitToossYiJF1P0szvw6qqELna0Y27MuUt9UeOvX8CLE58UD+8G5fSb1bOx+IHdAlnQRRuxgz4/TEggLHDJ9SNaYMgT20iHr372eOYqk81ROmKWMIaoEDB5QTKaFOwSySrOtmim6rVsVXecd8pFpsPwWwAk8yTN0OFF2LC2HH7y58b+m/1C1JjLwPgoo8lcItXRwCWSdLJ7BhtL4sPcutoAQkzN+ZEXZV3lrQ4weki6RXvhV7RHuiI3HOGjTVdqEFMPdHTLIjwcMjalV/6kr6bkVKVpmxQ4DBxBPnQTLg8HdyM5pcFkx54Tjjmhe2FwtKT3oXhLWwA+kRcQRruWhWRJuZR/0gDtplM3jnpVpkyWSqGTDGXzb0Pe8d4vHmxpSaC6nopxVSyCZlL/4qreAV/PThGZKvfj8tltiQwtFI5OmizgcutAaYcpck9HYdu1nPaMfS52wMyFBpQ9Ci9iXvkeeYOXNitKtBe5BWsKV7r4FYEthFlKAOkEw3WDqGXO0GHMANNe7gc6l+B3ELf3CryNF2GJXO7WIdxdN0CUKfiKDYSJI/XYIzPdsAjPLgXYBJ3eDcP8zTNtNvdLvMCjElJFtRg2/2q1iLKWAB9F4u39x+VlUd/BeagubN5fHSw/aZFEv6nwijUSg3c+pO+BXfFznZBH1wD5OShQrC8HfWzziLI46XXzKDD/e39bFnY6eI/K5uvHULDT5XIfgVEKYO5Gmmf+UxSZc7YJIyRaSGj9vLtm7Ik89ExQCQoka/4s1L7KUAsgPx9497jDITtZTNIGxC9Y4prC7ezDTUFyF4BPa1o5ziWnMccBU9/mTVrAkeE0du00FwXmjJNt57ZnXxtu7jcvHna51aP/2qu6p959EO8113wXU+FGx2bfEFy0v8ogcsoslkC+PFMdomEt0ezowIIs4AokFuhUsjRBVCPxEBa94W6zxqgXf3khTuFYOldNQ1txkRWEICmsJUUrssS9QOrcpTXYnz7K40lrLCjauA6H2sNHWQwlrJZ81KIme1wn1I5zLJ6QI47pbM8SgX6tRAyJBdvIs8jhovkD13Oo0Oetb59bga4halsp2YspPidZiKvVWTkWm2fVAJWwneDApl4MlH1Ubw2oFIneT5WMwNj7O4oOet+X91AV0GyP0AJuisMwa7Ain2PIPVAwzGKkeeSph1YcFog/RdC8oBdhs/mWqi6637o1cOIE7uvtJTf92HbYk6n6DUiaVHYzod8xvmJ7j4IA8AF3s+G6wOKTudFuvruuwpSb6L4vxO1D3teZzOGjZJ/K5t4UJH7O8Yx8ijs20HColX1dPC14JFr5kuBHGslabh9uZWc/bzLuVq6DakE/6X3BAzHTFdN8t9h/bIcqt5JyxjQvuJsjEzDnpzRtmavHO7n+xFsCVheSwcD5T0MgpYw8V7pAAeOgrq52ZeeI0IrP7Q2jc5v3fKL6PMNztlLDuQVUNWkOZsvL7rePpNcYcBPePGk/odrGGfL5rqPU/3JmSI3UnWZbAqltRbyM/oyL0qCmui7lSCYjnUAkCooVJw8+sSQXxUGbFgjTcYKQDR5Tb11PjVO+VuBrm//lJuq4rUv2Bk6d6NHm1ZtXHiqnL7J4nCaDTxU183BJ0SM5rUaULzM6HCKMffcNwPONZX2iBqnQIogVqe3DxIyn7w0jMl3fWtChLx+Bm+Lj5eyJjS+EbvqC9Q9x+NmsjKIOUdOtYB6jxyoDGdYKU84VV38MWihJUEmZaZFPKpGW/6WZnmmgtHtblrL/NUJz4bVplNdeyiWJptnmq+0W6yGi8hhp/K9RPF7SKqZc2/uq4WvWrAs2D4/X/FMfWcPH8JVDwhnp1vloB6L8xqiBzpTpuC3pV6lIesVQ1KKGR42zC8loyH95b0jGt6m5imw0uEksbsnC/Wof2HokdbpdAL1Cry2to0A//XO/k5XgWqzrqSXflK6foTWaoPI+VVVbXupSYPw61hfG7s4Qt/DvdOupIO4zcwgWqOY2gA/gHfWedegdRvkpjV7+WvpiMertd3iLqCvKxF9w4hzyA89xIl//ehbTB8LzijA+Zema/vw6GDUbh6bix+RXtN4YAwLg0SU7z259uZrni5RIJaugYL9eh2D7P/NOlGeHZ7S5MayI+0jnTTbJ08Z1XJGVEdmHCgGv7TXaCCl9BinAMVr9w0T5WNHpS/220Rv/pH0HPpGlf/reelDFJsEpRi9pOXyNuOzsWwcSDQLDhqVGq8o6DuKf/QUlO7AAk7wqAbT5xIH7kl7kfS6VN9l6KQ76Jo7mmBDMt8Avm0/llZE3MvRth6z4Zy5aESVXqsa0zUiUJXcEXCFwb7nRlpDe1U3q/eNosAbFKGe/VhTQemAKK32dAlrhpIj/+QMPxEvZZO2NosnAwPzT5VoYS2Doyn0C9Vy3MwTOY2070rUs1F/CNVTyhArLRSZoNTDI+iAQbnKWZNedFNAaRzR8h9uoYTJxPykD3TIsVBb+zimKedULHuHC0ML+o+9eGlrmjqsTMkuxMc6DjvP3R7xBuegZEZgSVWqUDE4Fz2rt4lVR/t077/w42sfou/mNTaBT71pxdIbx8je0040wlyPwrdLqv+jTZXvPhf6J/7qbaGXbeD/I+2Z72GTkjzMvrQ73HdzIPKNrMvYd5W9DZo+l9fzty7t0BRzUGwHHS1hFvyAFimgNmEbyYk4o5OfRB6r6gVtEccZzl4CJj63XwVBRyUb2vM9tdZ4tfYIw7dwrhnRaOJyzoKk/VgVqiaU570Sk3Ba635Avh3/ZAUcL9COVq+c8LSCHMDUBwfd7VuWnx6KTUu8ra+Sr4RmqoA498DQUxmo4GdxbJ+0gzX25w1ueJlGpBnIZOnCHQaB4jJe+9obb96h4vI8q2kBYUkhkw8eE++oSdJBUSlocPh/bnGDvdtl1MLm6iXd4WhVpWRznD9zC5mAGloTepPMjQe3AJ1F3X3rFUFOI84rtdGfpCyem7cSNcWzsoSS8JPw+2m9oSIujSKD9SwCRGzhKrpMyccY9tPiCAvMbZZH52bEW2E7+vKyF35IgkgQMeR4ddZIum37r7rNvN/5dB+ZmDGjXpyy71IgcFn0M3O3kyuj8nfEzT8o7dICGj9urlHJWWk6S+0kjz39jlfjuPGd7Ge36RPYBqBQXlxgcIgV4lvBToq6iCk/cexb12L3I3Nz4K4zRma3H68iv6MLtnNEKeAyKtx24EChfAl8P9lcxkyxeFXbvO5/bjmRT+XUO+VUi3PQ3JZwvSh3qUwW3TJl20ICGV5D0R26ViDzKqJvLbfMvlo2uaSV5j0MzZg/z1Lk+2lhzpPvPcKR405IFhmo14SQTwHetXAdCOyOB2gy8MsyCEcNcYIm5s6UmcwBnruIgeURp4u1IW9tzcFOlwVsHbII/CqUem3QCFp1J2YW8vSvezslW3HctMsX3L4c2xHs8jUz7HzwrMyeiNerAZtabCW9oHV3owbUyuti8mPY/DZiX26zGFPUJHfSuDuvk1e73zScMoZEkI3BRInlw4QMBd/sMqWmeXaVfVqVrnjNxkY4WV1idbTlXvVKG7A6V5C8zPoj2IigWXASeb6/HhzhrRPRMBcQtdLb880U09rw1il17PaCvKoVB21rVbNR5JjkgupgQiAqNR0X3FErtk0m8zh13RX/fycs3n5iIaLX0nLPo8D+/l4Y6sw1hUijd/UVtUsNpZm2yESkP1mBQGI1Bu530zr/eLgBdu+lp59KiYu8zaAFVnnanIpKBve+MkM0GSSUSzsRwVjk2HIAj3zT8Ta9EaVKT6JPxR3qLggQjqmrKBP0xPqkKauj7dvyzKBj/Ez8JWA+3kNQ9ELBNgpdnfRe+k+ad9SlQtVGshN0J6Hv9wgYUtAy5P2Nn1soha8bnuuVkbWLiu+oq9Sry4CplE8QovPCoXUnBKEk9Rr8M1CA+nUQ+yisUzt0hTkBdcuNN2otAtdjACkQHnbp97N8ZlFdwJO4DmGV5Jv6nAs2aXX7Q+sOtkDr2tmxrPVnSx8SDvheRsysvyhByK4nJlM8whqLxqStjd9/k03zLaMm1qLVQA+dFDf8sSjP+lmZ8XpvzTUYYujShZSCoRPO3LOjlc6+e6IdRC6OgOYqiLb3EXTi5HgbpgU2HQ1juj5MTZiE58YxWk3W9iuF3TdQWpKVipQI2dk2lY1vdnBPay/KESxzGrqDmfHV9oxd0Jd2emsVDDBPOHGjlqEPiwbCZRzEcQqPVvyBgypZJj9h+MX8xawsvAhWr2caQIEi5UkhTBB9T8B4eJx97ruBcjTnFePyDvfiiUS0GeTkshon29r0u92FQhd+6vI2t6KxhQBFj6GPsTAMDh6mb/U79plkpYwA6bryzIDEC/yM7Zxp/E4YtuWAsaAVeHGMScgXIZuKj4UL4gZEaCy1qqmDe6sTpYMiE80Cc4FRkzs/dkA28PvmcchlqvmwDcN1ltQ8xWIPROpfhKzhaIwUGXbRw//BM1qEarnNEXWW5qjxc/7u5+FBF9LJPVhFSSIPIBIOJd28qyOBkC3Pn8nqVOif2rRP/VskhWmxiF9umUdPsi6UfuOt0HHiE/XnG7Xp8oOS7bdh3q78g9OFMHZT5XsZTyvkORAchZFXbj6+NfP4POdT2uQH5QGj8m6TF2weNFG/+eZiuqHt6BPwqPjbru5623zLC/KWOTIRNrUD7b3I1rv2/FqCqFUw4Fhmc50aXx6Kh058/cmlNVNlX/Xi34GbgUdzQqhuETVh3VxNrSKkZmim15TWDhtXVP44pWu0JkSzfma2ZFzdx79dn62y7y899XOPQ3KTNtng1SRVwPwmHbIa54ejSY5zxHn1/TEjtQZvpAPXxRg5yvr8kwxIOj5l5B0kCcII7B9b+ibjZAe16fiisnsorZGOhXkWj8sKdToGIl9NwEJ4Nyil41ugntzAInQU1buQZT438K0aKArsp/I4WAww7UmSQnwYjtH35kw51KvWQ2WR0m333OqOBr4PB36dMoa3RYc981P6M7qTR0/jw5YxQOVIio6KA59uQj6s96Nmgzs8WZwB5mv91UHK3hO/g0oVsjISQ31fbjKw1DPfLNBnZpK+SWcMF4kAjz7s2aVk9sHIqLLttkoONiPsy8oTyasz7Q4gByS7h0IAwEV0zJS0FWus5eg5hZpeluvPQR+M3M/aJcUv5puQDFmj4fSY/yAzyAj6dopbA6Q//SB8/MQIgmPk5R0e98mlArCbyws9sVyHyaExiXRdDZyFCh3X5dsIQe2jtqKyA7ivKWdRg7W1/Yy/SLFggGlpGkgts4o67abi40t0FFw4dUx+jfCdzxaFiv8M3vOxH38OEGkQ+KZed8IsCPnzeHIv7zTnmeAQrevBRprKm3RueqneiffkmnDNCKdYEFgB5BxUZfSpz/cEu52cO0alV3kzc+dL+3/3jpvXg/y0paR0EcwJWM+w9fdXOEIf6Uhh6adCBxQr4Ooaj2zSX3UphqeZqzcSPZdbamFTpA9JOrnWd6S+9qRmpPP62Q2Ez7DRrkQCvj85oYPT4fbs5Tr1PfhojGq9RJbfSVJ+beVRUwwkk79q3kBzE5U3j5t2KaH3R4HFRTf6q9OyY17LbAhDwrGbH/6ISGEKA3rR0maKZzi7etjo4qAHN4QmtmL76mfajJV/CeztOuw9yUe8q0UykfczQ42MstCc1M3eK9C8efaTqtIqZJ7/93V4cvtCBxh9y274m6a+uEav1Yl59oy0SD3cmRZO93QrZwBik3mtEVqp+vqK442YenSSmdBGyNgWPqHM+KXZbA5CUyaQYRTb3/91S1gt+j6b8nxWGvVf3kRlmqbLc1fXZilI4vALstJoID46DPBqHk9WV5lEZqD/4BzDzUiuBPp0NZ4VuMBJu+Tmlu43xupQCyCePg59g5PPEBcH2BDQA2lvRnS1Q4EkenNSXDdiL/GrF5PwJPPck4/kZ1pn0PdTOuzKKNrqcTkTNF+Ffj2EE9vcX484DHwZxlmQCmcf6dC8zqPnobuPgc4j3FzK/at1aQOynI50q7U9jHIPFxuTMK23wWT1tpm/X4IeW3SVRevSvMVtUYCU3ceIlV/eKKEjMv/8Sw9U/8EQ0gsFJ2hL7pU6a8eQhJ+kvTAofnWdia/eCN6bQeJcwJwBFQ1qJ5BX+cMPvV+8mXZxT1G9InrymwmJSQV0hPGsFKKqftJKFRjMggFwtpcwQZdj0A8ICg6xVN9rcp2cBu1fYe6m+uydzzCMcxhCbs7+3ziLu5gVpAqE1AKQawfhZSS1binI8UsGzXiBFhQSKO/xeeOPLgEqUBc+hBopNNGJWXXIYMYDnp/Gwf3m0T2V2lQljKMVqlQeqE7H5p3dPpzq+ZxSUuz63XKeEAoN9oAOWRsW5aCkzoyelHrXL2pEqZRp+yg8qVQff5wyn51EQjv5eKRry5N8+DYrKxAOwKVjk05baiLCeDGGrp6bnACAgmixj45i9B9t7Xz1TvcCET0IfUXJBNVoHulq7pJucPhvnKimzXsOq918s558yTJuyP2++XYRj5jNfr/kPeZcprOsdljVnGa4ot/cSYDlXccLVXp4thFDNGAt1xa97n5bxuWO7AEXgYfECwltP8R+0aBWE5E7ELgGBftWccXZX4JzfFho/xZ50g0YpzwGu42tPbA+d7INR7dAxlzucTI9xUx3WY25wy/FC3NNUTgRC3/kQ7m7iVemwaT0RIx1LMc5DWsug0jRFTTsqEB877ed0lgpk9YoBwpaNK4TrXus9SQ68OdLAwBddlKzngOWHuRsmlg5EdMqnHoEi5V/t4DU8FKoUdk1wq9LxvMvi9IC4YNG84rhAfjQHsm6JI+LQ+/BOd7z7ROw+ixAMXc4e7ZcU/0ylHi2oflzRqxm00Nk2FsPlc1vZeKj4B02enAp2E7m9dGFDiL5Lkp5SDw2/Hy42L+OP3JlmmWg/UiyUPgzNGQMi1ZtQ4bETweBUr+Kg/IQFRW+oHgYLASYry9RMm/Vjew5/imS1a3t/XbMlKcME63C9nJKWcvT9yIPNKV5j4Y9x+v1kUrOh0vNYBgDMPCMe5TEAhXdT/c5uF0F7I6SzSGMU9zqDM65egT5lHh5aGfTyNHE7h8u54RDGT6h6N1Kj4Gs477tDygHV+EHDESnraGhzZBAqCysJTvNTyHsvY/A99vlORreI0ENc4mudZGUfhIx8qXgfN+ZOPae+PnMG30rLoL9ivZnUCP5ccgpjT6gkA0N8frOVAbcFzlRlI0vbPrhWT6jk61tLUZ5gmkg+kmHnyB6S5KJjcXTIvM4qZ0EJZRHTF5Wcf0wtxu4i7oVPh+TV799EZJNgRr1YTzfA9RKPElRR6SfOb/ra3KrxmT+lFIFqSGHfzf9uYpGPaZMRpaZl5+xelJNJiKn5LsPdIeSOttrRYNRtSdSWiFsEvSCHk9PvN89RzUf+J3sID4b6DKuelhzeKvGo6ZhDvLXMpRfCw1FyyZoUXumdyxSts36HOAFyB/s58RIZ8r/MAfMk8Uhx3FFcOs3D+s/E4t95I3oIsN8ebFqv8eOTCFpuXIGmPdIBFpTw0WNZfFIHS9PwjA9vC48NZDmQ984v79tVcMPtXtQWgYYf2Ui8Wsr8pRF+y4XzhchEohvBnYIwA4AAdvoYaZnnEdPgB4zx/6axIAp93vhHthzWNNPA1Xr4EV3TNLeP46lHclKFOQeY9dRhLX0hWkMY2iaEVRiHUFPHkO5TprJqZBicBG7FoneNvJf3Zw+vA2RDQUlD2IUfF2a5aLtdxD0aORXgxpPBWiazQoJ8CmBza2SKgmAQoWEHDPJ3ZBDNveZeYdJZtONJTGAaVdQFB2ccxqnVGMA4ihIq68F9+sNJtdAbPMr3CETmqIbYRsJmUv4JByld4yKf0WPeUNuFg1oUSK+hr/mCUzOUx44SGd2fgA9Tq9xDW/b/TIVyFNol2vjc3hVZ8z35bYCn/r8dJBZi6tCcojQdB1KgDkaf/WLk3C0FpV1scQ/sVHUrBphd9vNI9tjGXGhQpQRWgUB0wVKoKBUxeSnYIcTKnpl/3QJzOq/Mruv5b6HIGB5CvPlzyh9+kRenno5ITYHGreFuTXH91+Ztn9gpSeaXQJaMZyVi1x5d+9FXJtJ+EwIVFlR9hsiO51Dbz8IkSUNc9jHi9gz7ggn9G/l+0OP0SRXoKwfvpiVfJkPa/0/u25qps2Bu/0dXXmdBxPgdMY+Nc0u7kK3fPktxXFU4+TfiR6JWy8GMRFo5Ifq2K2lTjI1xjiCodfOP9tuuAaTpwsB9tvFZ9JUTePwxwVj4ZNDqYbwEC2gmJFf91vDrUfMBgQv4ecHMiLKNMgjiRJayJx8rtN5VOdAf1n5L/sGMWQJX3Whwl9WNAgtrdgXizAkuBea20LCxuUuLYTd1QxEqeHYm2/xvk4xZ73n05bYih7Dl2vT+MImDhfDgZYxUTQyFw3N8VsZhz9qz/U83GSMRxg2ze970PYeVtBvgfaNfbgpMMrwFOmjyqtYxzaRrPZlLk84iA0WtfegjF5HnQYrTsP9xxl6ILTohYQkohhcW3xlI82XU8CNFetJRe/GvUEP/IqWdW/53juXEc0cO0Z4jHkvxfZHngwGJ3TjX9aP//LBWiJp7x7xvQpZgpqkjiu9dJ4B2U5H7HOR0JJc20zH+ByM16UrZ9k3Ix5q/9SYJAHv+bzfjd4Rd75xmEazLJ+hx96HcjmXUh8s7NBELfPyjWuLtsufKCIfHmiN9a2a1vKmCZXFuHe5unKf6oYSmCgTcVljod5espsHcctR2XF30Dv/YLIXPSxpeberNitEjMVHVRhdPOGQuOJYy0fp1BDvbhvrr/rTTDAvi6COyQ9v9KGmHJAdSOFsCl1LqWt/x+xGBvXlzdXoChjur9XWtBy36FqmCMK2zMNObd8gFsTWWj2AG+hTBJ0fS5VAZlcLYHKFLdnAc7U+0LkOM0PXfkRJBJmDQXXQjjDYlTaNqUuqStcMngWjniEZE34Ex8MHGgvrl/IhGIGq6zWaCUQft8TxJAi4/W1/BLYlfHn0I2qfRNJha3TYytJZZdZ45sBo02Zga3zhKvVeP/VIrgmXrmPKxOrrW6HPu0entpmRcGO5Rwg7Po6xJamHVw/kVZ4/oiNQwJPtmpaJa4qsHHsysdJZR7FxB0axbqzBZbXbhgIYDz7eo0QVpXByD51vLRYkfUM7EysrNS4fIwJ045UYYj+gOZZFuT+w4fyEWOwGr9p6Kkc+IFBwUTuys+UUq5htYlufUYdHqhKeLxicqkurz7ws0XaxBuuIPd4573zTIOkOoDgMxlPc/4Op6+DesTWForIMZWYJRzesiMqy08epDQ6uZsFODxynnni8o/roon040u4ZTyJmFtyM3tiUtUsEG3at/wqYkTvtXMY/Ssl6HVbvoB1DMkOnZrWXLET+7CQhgmO9aNXQNRAAqYyPSWTQhV5xMueXDSH4BdswkF10Ii/50SvZE7Xsyi01YW6AvGOCh8f71SgFlvFHCV9h7huPUAUFW4zsx5tFuK/oj4XRzpi+iaoJh0rL6I71rA2VzFfJ+jIaga67BAqWOx93YyUi/6ybeQime52HRuoNU6/3H/8LYx+nOg8L+vUd+LRibUAMiN8q32tsDzAaj/06yO7CFTNnGDytAH6iEqR5GtBkT40ydyiqlod0fmrIQFUUckQY5NccjohiDrTZuo1Eh6JAPrdcEdcYiV/+RJR+DcIJ+la3mfqwJpTjQ5XO9x+H11+ym474bvxS0s327NbWVau/NJf5+2cgAOvyG/ysbMZ6C4Fs/a3ERF2YBypmCJfqK7N4hr5YgO9/H9OhIMcIybL/07tqHVbTcUuRqpYkcWzPjLQg3KdnBlwtUQeQqrnxVA90M0DqC9shM1gkg9+wzAek8e1mBD1hMK82OQOj/EUnaQV5paedYwMjUm6n7+65dZGlxTSLewdPpbrZab6TCzQmaj1rqIdURcsJYBsltWvgUuS+1JvAi93t4fUYLDM8qdDP5VXBvyye7nhZLkgNPENPCM2XejdSIAvJ/aPBA5N90tGvdQ4oWcNb9u8Hlz6X0uNyBXe8zJ4gY4mywimV4CtAlQFHNtWmiU3HYf0tVp+Mf3VZUQICb/eEZsCR4jd4esMae9Z6WBQTfVgYYmEYdOpGTWpXyJri7u2VS4ldr2qtdAYqRPf+NjuqDrmO+WiRacbEEQkGnoj43zGyk5P23FNAyPEiV8kEIxoALuXNT3Ybf/6yLiE6etbQvtXEP06HzJo5yifCaTym30E0apOcPKbc35mIiEg2rkeMjG6NK8KmGCI+jxjBXcq7NmFwDgJvMWXxDPFH02vKfXnVZ7AAgYCGyvtYWlfNwCY3Zn0znDxZttjDA2Afxn+2uRdu85ZE7kk1cl3cmb3pbU0sA7OUaUDCa72xppR+mTaz5U56eFhyLSHoMEzYr1pDG7FD5WDub9kzJ9/fawoh7+dJv+YK1IkoLRNg01um2QwMMamo094GkeCL9ShDV0czotxCkqE/QtvMjWNZO4blzB27Zvm7jKvlR3YdfkfkoGaN8gurARPcLuVugdAW7ckeZ5HIJ4U6BQPPLuuVvOx+Gsbp9OdvxOVIan3FH78ozifc6R17aHjWAxoFYWw7XTkGtNp9UGeBhjpaVlgds6GWUGGolIMlZOLE/4Mw0CN4n3BhrDaFpf8egHIB5r6XRfheoG9im/ODbqOryJRLpJHrj4yZSDNFYrVIerHQ+Heduo4hEZ0TWmsi79Af+pq6yVolhcXIg6oS7h0WYbE/xTcBzs2Yb0CERqwy+JKkNpokpsFJzzcQMuIfA7fJdlPDxY8v8lPIKqIzlLGBuzrhSrUpi4jmDfWUW+8I2D5g+n1SB8fO8BIOGJ5qbyvChpoUwAufeeVAYok8g2E4ZDzO92aLCxWlDtqFgp91HMGx25ph1IIeRuCqOuQY6V25wK/51cxqVlkGhl0anX5ZwZUOTOoyWHpQI8loSzG8GwLjyFlRsPGRmY1HOMBWACICAowN44woeyOOL0W1orl4CLgjL7900QXb/F1Xpa0zoDAzlpDKcKy6oexBDrprP/CgV6DgfcdI+Uwg0/F0OQHY29rAB63ixPPgsr//PyNTJy9+EQPeteqxRULHJEqQ5dME/gfWowjBOQ6SeX5WDgy1m+ee3g8kvdnd7GYyYgSUIAffEdz6a3eL4vcwaC5sRT5xQVY02hlIPfyimg7Cot/NhobTce4cDf7scTKOB2gQRwpT9dAu/+VpJQk9CdtmbleuMfVgzqRjgIvVfgB8zR1DSeiznQNbE13rxgNMC+bEuHzWqMPn7n+Au7F0GVGjwlkgmvqMF2TDFSeafdnrjttm2T9uZg1PgFj3WJGYOmy1NEKu9b9Z61a1/uhmAILX0srGxvRzYeCs1rc45WLNGXqHPTYYaUNS7hDUiAU0VkvMKPGILWXFoBm4YTpBptIIRn+1WSdkrB3l5KmRqjRko/I9cvcWpieb1ZTssZKikrqxnCjVfdMI3Q9Idz0bQDi+ZEgmw1Euug0CgdmoQaWE0rRGwBji2S9ERt93ckv0x7AWga7KXS0P4H73J9OQgXmXMgNnHKXg0kXq35m265FbBUYDgi5O338IJs65xf0JuGuiZi3SL9PR3zYoEZP787mrN+4zc/0sAHEykAyNSz63q3wIR31LjnS+Fgq0QchDR01buTuBsOmHbpMCmsznnXi5FXi1mdBALnoqUkjCgoZH8qLYvV5hsF3s6CTSKaXMH4DH6tpL3rK+kdrItf+6ALWxs27WInaX3FKvwF1vkrvahBvVIEo62Cndb66CrXAWNmAbo8lrIugib0pdJNdFR2G50JuLkJWgznpnFrGJLazvlsGvMsnHoag0qcVDKzu6SOG2itP+FPQgoFsNHIKeeIzJAXKlTXRKr9eZemE3XELry42b+apmYvUj1k41H/une04fH+0w4KzV4aqI/L1zhpz/c32AqZt1Mlby8JEWJ8pO/iUoIcbQ1Zk4OW1ZnjDRvo7Rr7Vv97NHYdc/N7I5D1v1Rp4KZRAE4hqfORSs6jSK+OpcI+NAa6Q0Q2zvLGGM1NwtuhD+HYgaFDU+9txmKWL9yALuMhqTicwe5mOwkHx/RlJXT/n8rJ6Mea5ErP6Ohs2RQFxXmo6CJ8AVUndJv7lNVC2rWgwU8tAMtxLaYN8+5rkvWUciYrVyZHO5eH5SOb2C7ccTGyMhcGubzwnC9yEr51WtjQHTI44gNoT2J9DOJHuNiDeBKCJo3rvZOcRaY0Mlx9Gh0wSq0S94bOPdfvIIB3PPbaQ+JhzRyOQG3w0q1VhRJovZKsz57iXSDjn3IGPS3NI+oZYpoKMoluGH/BWnuN/hx3XBkilkpMtJGGMk7Qls5VOhhmwmuuW+cT69HLAEgoKqePtZ7AOE7xvCRF63jGTx3c8thwM2MKMxcRCmUxbbEtiibn9IzHeMui8eqfzgRErjF8WNizDUwVtCs1EXtSAGIMtkqHSD6RRtzsaLqX8/sjotS/Lq9BSzs9DBqKB7vJAg6uDXz/APgZx7eoR93US76adjfG7lQETbHEO+vVEdo0aT283QcEnM5UnitGJS9OvoILeHSUFNjmbQ8/Yg/v7frebrrKF0HrWAsu5clFYvl9UevU66ABeUXIqJ/41+32BMu/sgNag0IsTN1xD0TvXdHg68nvDXw7nT6+HURoiQtPEbDpWrRYw2qPnv/P1WuXiGYJnHcjOF30en5SUzJ2tGCmS9uJWfz6s8zY+4rBGuLICepVgBkTucjp7oLO3BUoFujBAziauEyuOD5BrLFhPQiP1tRTo2hgC8fPT61Xz80WzRzZat2ZL0LnW7ITpmaRftkAyfxjHBOXRY8T/Dx8PfXThDU0nBN5QuMxSHH3L2sD/v2yUHQmdxBGfPr5S4AnshpupgwbI7uU4Ta2gcHKRRhrkUlOzHAekv/cdduhLI2j1M8wU2YYd+iMcfbSWVeO2jy3fnR+tH4LDlKs41ofs9SrftOY5yMBNQQp7rvg2EiIKegg4Kn/zqpCasyAcPYSTP7Xo27wQ/aNbL8RB7DkrBUHXKHsa0yvWkNoDvI913GWGeFxTc9OGVC6rMgabPJ6fR1PWD4/kMHE82N6LzRPFxrdnLWoywb/+EdHzYi2GOfivO2u3+sqxt/6prTPbepGORkFZb0yK5OqQ8NrZ90CMEMpMmvhZcmHNkxuUCtsxaB3OfM34i25toIRF98LwYLJnXPhEAp5FmiWOjvXzr+Cgj7yt/VV6W4JXetzPtqJtyF6odq1lNifE5G+6Woqzbo1sKvsPWkbGuSux6GxiwwOeqU61PduKp36U+3tjWKjkeKIbhsf0wKJIePzLO2GfHiQngeaFm1whLySX/7VBEnaafuVpAFNvT25l+P+/GosYT7Tqqfv4WfY2dJMNMIgu9oT4AMWIjG4TEW8GPv09lramQ2HWAJRebFyNUZnu/LH2aXl2dqrFc93owEjcZvPLgl5f1CJL7Ke4Y0UrULO3DLpHhnOYGrzLgwJpTiijqf2PpPvRTb9vSZtx87QUbQ6NPqCBYOmWxk3eD53put4Ez0UBiDEtMhehzEDIxSODasDyhDlbbPbByhoFnx4t6z5ltWlQ+D3SaDUfHwz6nnEe16LQy07ljk+H+VngGvsVh3MDsyNWJDZVEhDsjg2UG18UgTEnaUTibSv5jdrqlfBC0pik7TwTxd9fICiN6qzCVoQA0p7haeFau2KkUiJ/OsOKKZba8aTmMsV+ibh+rstIAifsBBKtfbzR28DowJqE6x4SBRGdSlO/RfoJDwvkVSxt0mcoRzg2g28zNzTNLTSMuIBhQftMkA8mAGhKP2kDLoqvntmG4Rwzohvzb3vo55JrD2AUm3kDCVuCE49Zqll/LZNkoGkorg86iIrJ8A58w9d19xe5tM3tIy/teaxgdYEjdlCkGPdqflhDEpUOOIgtrSpvTlAt5LUgn5z6Gj/qTf7DirkzrR3JMXaJEoiOxPVglzPz30FSZ4rdEvhquJ+mQoJOJUNZcfQAm6+j+8Oyi5Y6SxtCDacn3sgHty8HiHWslXtxMRFL4aCIo2A+q31Pm0cB49grEHWfMtd3w5CY0kAr3EWiDRGvBTfnOJi1ZQs7Eh2S7HU+xrMibcRLOCYZayBa8whRijKw/B2e7vc6jPV4cVqMG2yDY74ZHcInLO0rh7UbwFNTy8c+Vp2rYuwR8zDZ1Sx0TeGmQKX7s1Gb/NEJHtvY13GWOhqubzc2DmHW3VCt4XjG1FcHWtLqklyPg1TL5EF4qZ8jKfhlQMt4zB8dDq8VPWjSJOKrEUahxVA65UQ21VulRMuAqZFMCp1djCvMojuMJWqTPhkT3zf2jSju7NBG8sjaqhLWI8+wN1ehsE4aLqtpkItNc5lTxLs5mq5B4//kvjteufvq2t0/kUKzgU5dBiHw+JcWfFWv5nblchZTiwBBbTsGNRvv2VjNkJJsTeFzlBhUGrgQ4crTN1HMMNZ6Nwne3LxDslapmayUfKcEs7tOaMklAlJwn0rRWCEuZkwkjUmiKBc/3i+1KfroMNRIZtAau5xGhWRxizqPEByNb/fBcy+B06qhPx3y52EXVgdFmwIRQarjCh0LLa+BD/ZQEec6u45eWkIVh9fLwpq3vHBTAQkaigs53XQEmIK2/nhvYULI0UAFJwIlu8m4qXHUVJBJ1Ls+uqQ865pJtptzZofGr0TulB+nXfQ7nfmd7rZOWliDqrRgLwnZhan0QPazoFM2XLo1BXwDTM4l58Y8t1ejCL9V+jGTLC/vK4QyTQH07nFaVbaFb636FPvonx6W7XoM5mNl7ijcq7KBylc9vZ2QBzdhRF5eCZa52YHy1kIwo/pH0LRkqgHgXng+B+IkgYxmbUdQmRnn/hB2LiMroibxjZ+KRWV9jme10L19ok62m+p6T06YgVrd+DIf7QW+hQvZ+5Puev5wSWFG/833meE5WVjLaxlsFDyVCiBISvNaK+fyGC2KFsiRo5YZCSxt7sgkfCusouj+YMtbfokwxkAOhsO9Btebl/jCVZ11ha4dYgJamO19JO3CJXfw+ws/9Q1JD9KqafgkX0ft5Ao+xpxiHerrQByEtYKzh8IDyMfzxdNoHunnGEDpur8Cr5E0BHyIxTMnHYEPLJeHbRfiOKEear44DmicmsQB8Kx4RGIXrK2w+ip7RAqcfzfCb0TmnDBLoN1dvZVetqs3nOh8KeAtV0TigjgcNx/oN70hweQMn5HpGsZz6gu5YkWpJ0VkTPx6l6w4Fkr6Jzlv2Orc4qhmFY/h+zZvmEYzSmDe6VB7SFI88aFO2IwJrPnTETNrXgo/4dg3/EuFSf3w70K2QzaLxDT6whT4Ue+hLpKPg5hSq6szH1FSAqztWAh6hZEf4G2UfEoP3Su5w9MKXW+PrWbIRY3eZiYTXU8vXOWLl1HH7VmrwC3d1ddnmWUaYygoHGWUYG98oGsf24LJM3Q/Li/wdTusT2Vs/VVnk8oALcRGVi64VzxU4HrsGDL7PyjSRnagP8+gDThRUZ5+B77VMR2BJQfHjes6fl6d0ai+QHNQSpZBVYGLPU/085leYoHOqrL+zW65aMB5ZAx4aw1OluZWVV6OwLpMV/ek3e9nvoy9zd0WfpUGtldzh/tdaRqpG9C8d7WFPnMzO4aUFrvOy0oACTuchIXKXrJu6z9SrWTzrZRmowxutDYFk8vvkBUrI57PRQknKCp3EZ8OhAhaapviPgOV4TBn8fKY8El6H/DgWa0jXLx1WE1MVstEwldUtSNiQXUFJ7pMzLjV1UTfnOrdlJWouJtOK6QD+0+JbJcLyJd/NZ+mCMIN8RixXcse6ugzmm9xshdaSlGXNIuQlz3tbuK+LGbzjHaACu9+08samQtN7K5Lw4CZP4I7RYr/4EdI/g9pAT5wmc+1dfbHnRa8WZCW3ITzD8D9WSX5AyrrYKwZ6M9ug24P9nyiUEelSxEYGLvW6I6W6e9z66Uy3qzNkOrS8hDzE2Kt44Jq+J/AvcBS4WYKVfGUcUNaOtZTA7BPOIQ38CG3AU+KL/AehKTDOdhubh3k/11AZrKhGokkNnTcZ1xhM/g1CRo04d15YLTY1aN/JS1BxSfKxojzs4llCi9DufGVU6b/7ooUsTgpV+ECY5EjDhaH/+NwhWi3RP7mPbCKxoP+VobftPbbcf042LGNwXspNmVHdwGCYiyd9KcyopY9H8etvVBdUVT6cUjJLarojPBo47jxJl3XXYOlcsdlzdXwPRC8QyMVZdghxGShD9pi1TkzOd0K856qgIPTEU/TQgSYmqgH/ImOXs4WCECaaRem/qALoK2nmh/Eo6+62yKxAOZZ/Qu4a6uTDHeMoU2y7p2Lg3QaJ/ptXCzZJSNkyBhUGwhaX5Nj7xsKTkqXOqRDC35lrrikZOLYKoQgp7A5DxrYB6QBtp7Iv6552J3IN/uu82HSP0XVZ6UUEUmKo9WlDDjkgryEzx9IoltTzJPRqE1jmCWs/lkZOhaUBf7/APBI4L9XYRYmg/FW8bPAPgOcvl2+Aj5BIpY1udFKyQnOZzv7X3M15G7PgQx5s9T5V/fHsYE29g+RhXnzkHRstWXWNwCR+dBQHdL7jcWLYVZ0IExYKB9WxrNSpsYBJXjCTmC+f4RLebVzRXoiwHXVBr4AoHKYpRdriM5JGryHg0PYotCjZjMCp14K3a2qrYZpQ9X+OuVweuUmvOw3bHe74PJArFzp22udoLappHIxvWEgG5/6vnLdiUYyydZR88m/QdPyJpoVtvMHR5V0h0hghJ3IRa6WFalvEbDW9bVNi3ydMmbTtC083IscxgiNRvhoM0zpJj3LSMNDmd0CozyDfU4l6OXFD+34jc3cPz6Na4CsrcAXFjBHmqrykQJ9ubLp0co7t9D9JAfXlWqyDIZQWiiFTA7+V/TW0xAbriu+6VmQQCDHAKxz/PTsKqE1/71XAeHW5n/4EzpfDWvz5D3TcSGSUYPbkfG4TuKYMvjJkVZS0tgzjhoSc2+ROJtK1WIgJyPhpZ2UoNssFozU7Oli4mHYgaaDGJhQpoyE8FT15Wau8mh3Qra64zPt9KuAKyKoea6jwWDQbOmNUold19o8jEscHNEREzBzl1avFFkLYVcNPue1OnczeWeuf9FS/aoRr4RVuNa9tMEFi9yIzjirCbL2p6504vrufaieUyjqCMIlGPzTuPt3qJ2yWMi5798BU77rjzI0nc6AdFH24RCWfEmtdJNnlq5PpHU+l2vO6JX7R6LUYgkwgayRZsjAv7rUTKyvtj29jLuPmPFtPcvyPqp3seSxo3JhjWxof/Sww3raCCPQgYhNwoFITLtsGP5yOJqRcojwrctU4WBsmSO3pr00ljN5R96iGTXMz1GXk7bcuW9eZILci2z6WwtsTaWEt0+oFYd5Xq9G9ap3egEnHnoGdW6Bz2LmzgtMrtlwjrBVVuJwRoiIyrPG65cRspA3Q3lodMcREWXc8woF2tb8p4/g5lD9ZcqW+OjYwJ7pFOlpH5VmtKqVsLDkauHzwR9X7+7DpA/k1HHTUg+Tv5EBsGT3/J/3ilOLo6ouRUS9B1dTlHirREMZZEN9+ruqXGu81oDwhVRuUJdFT9GCVmMZ39Roh6djQdHn+AVjlm37qEuTj5Y5J5ykozKCETBFG2Xn1uh9rtDgu/EdqP4bofjIdWQ0HyYH0YvQiu4hTwoix8gCFr/uVYh2oBFsr7Jp7CYPZE/cEvPqAsK4hJWWUUE0J49ZjXVDDCwKc9ubRRpC/pG0BvMKvasYYZAoG02prPdpZsEzn0icDbMdMOIWl4vBKWHbbZj1ebinRKqeyO81tcdkdyTg8CiIa0jA+Wc91smVlKX5MmPUgDbnLoztlR+l+MwDiiFeaX9dL7/pQfNIVKsMeCbDnxhchJMyRwctwRTa/U10OZTNNwWv9Ubnj385plxktnWZ7E9i+uI7GtPznyyBEl+hfZPNk7RXZ2omrzw5kz5SW0ulOGEwoObuaQ0Hk5KOUZXTcfsYiALFW5rd6HEMSGD3KcOqwvyXLoAujgYM062Ca2mmFGnKI0mcmXiGeY9XWNYhEYVMPa15RvQBSml7hg0VlvvkUkQ74aRdWiNsXB0SdzZIGcqqbEXvdpO2Psfn4Yf59EQ3qmlqYR6XfE3hoAB8HZ1NeccHYdY5OtSi3xCZBYPgkESPONzZF0LIuOh/II28TK3j0EtPwTMzW7IADz2aKDWK5Leco0MqI7E+DQeY3CC/RJAeJ7gMtYyFeohfKe8HK3VBS0JB541Dm8KURkXYrPN8gbfAVvDii8eTjDmzlAiOXSLO0VqRD6sH4XZ/9AoCS0NFzoHzT2lt+ZrYJLu/ZYSRXUuvYdPHMMXb7nI73Cg7B53PDPZqGHqqRouwxnv5kNYXy7Sgi2yYFCRSM+mrStiE9djhPSWcFC5jnVBAR1pVqM7GA2LcESRVDgfZWnL8AktF9104ezUx622aiFH3u1iDtx+Z2EmAOdij/9+FVzywVnEsEuTb62kM0vqJHJ40jfI3WjwwDKvAHQaTn94VEQgIKFc/RIV1Z06b9l7ttrcV4RFJ1/TJtJwfVkMwVmhx30I7xCyFYU+RI7LIEAnEhJxgzMgxcXNQrOAo7Rfoxp0TRv+EV46qsVYAfMzZuujtxqKPqmT5rYMnmLc2nNSgGNjWxOGyas0nrHcCQ8wg/3Gn/sNQbQkV74oW7+IKO8DE+hrWLlR7LH6WSx09UhzctcAhMVmTDbvXKpENUbvxdYBB0DH/4nhL7VgcaeYylQ5Ww2U5GgaRbWqAkwdFDRNBXEYYPO2yHm2EVykI31cAkA9/cErwGWgFTqwZowpjc/9bb8m8mKLJDqBRUFNmut/OFPAaG9DCKXx4JJiLFwKptj4igh6RmhOJPyKBrc+NUeFRtyyG8u9n+S2OoyaxSHSRV3MgFkiQ3wiQjCOfCi1fUiCK7UDXGej9AiPmqDv30BJyZNNKVnoLaaTfziTqBmB4sCz75/gus49tlA4yQzx6nvVIBgEvFYxWglm9FMa+ubo+aU2Iv2WcQxWGH0MmNInd7oNw4Bd5ukuJNcPDxIMAxYwAY5zwq9UBl3+nDH4rkkgcN2m/Ad13CuApeKOaN/urdZHWbOQDVwO03zRdB669DfJKlWKvTSidewUsc5JLvQaQOBWkJHSR2L58BGDpw7jWjUtt6qME8H86b94Ff2UQ2hbvcLI8W8s5NV4MExJ5TMTLXt2qNxrN0pzpyOyYkpFQ2Ub3uRkwhcMqkijjy6tyVT1AovV+fOXrC0+4Au2u2UtA14cGQ9KaKAhx64GvqRBOYDr/j1FWHKVQ7rX+wKfoyqzul4gi9Jpn4ZAd7Zfx2SYHH6dlSiRhP8edgXXPxy7O96aFdj9OigiUbJ2AyQLHKGGhrRH5zUOmPSIfPi4il+t2DecCGzdrs93KDLxb368sdovbWg67qORvoKG/4C2EJV0ubD1W68Qwu68n1IkkydD87Xak7FH3vW3HJDHVLkE/UZywh/B8SY8LWI6+3MLyeXEzeJ1FhsUauf3oJDEW9VJkW5LzorU4a2kNcOyRszH9WaKELaLKthZD2iFHSDA3xd6UEkWtcwe+8O3CAUIcMo5Y99LWWpB/UbyQy9qFOT/96ZzqBi1YmmlIuku+kW4WSi7Lzbu6x4kTmlgsHLXG3OqMMu31O7NCLcxLPOzHUVjw6B2Zpkq7fmcCSbp1+qMy78lWoBSoqfph0wDH3Uik5ko+2AXupeAf3Z0GeqyDaxPhnUs2s9TRnwxW5QFyvpIKEkMZydj5NNHiQ4r0+j1iybsT3YANsEr/vN+O5N2wf1b6v6KeoEX8SvGA9Y3o90YajqFKslgdwlMij8kQruxjeOJ9Ca2kQ7u9ImRQff/u0U5oG9/P/ABsB1ENXqsLWu3hr+pfLEi0ViwdgSWm6tXlLVcLZ/FtiTWIAH348DBP0dI4qfGyPMEK2BCy/0NDuLg4N1Gf+RxY4NL2CVUKrlQTklq4TXdfn9s4u2g4WuViwoPw09DpxQ2DXpa0V5d3leroC6B0NZtWu2rRqTE5dBe/XiXayaRDNlAlvOtOZSo+szYlhH+oXu9ejhiF4TTXIBX5PegwTvmpiAixGl/0cjggcVg+ZhY+yLDAwBsuCzhKMGS5XhhOIB3qXwKuSp+mt6bWkYA4ACK/ooYckjyMZDQRdUaBuoiaOynvRq+dRVd1vEuA2Wljvz8u0i89nQ8ijK+Y/24j1TCM2N6F2ZTsxYsZ0yDC6eFEa9FecmoKcoruOtD25OMWAId1Hg+UUkeNPgBsSNiMGgWpEzQvHDEsmuzOgngBVUyxQpVI+njqmk/23YG3P1dBqhr/7sL/3jrvoE0h+qlc3uKpDWASvQUhqfiWmDUOias6f7GzmQo3U6ApMxO+MmNEg+I8ndTsRtbZHQYvtLf92nh+d7yraZ5SAgVOa5TZDqwrTZxooUrSow0wU+BgrzQj7UyamR/Nyz1cZSe78jM87iMEJEvqzUbpW3HBoK3xbFINMfeNR1yS4f5jMtJ63iT5rwZTDXDg3272kppxxC0/GBUYP90BC9GdYQBV1FE8hoVku8qU8YTLF80d6TD2JY2snfWgjzlfyqnyrum7wAV+XcPzis43EGMdj811sbgpqUQwtognLJfRoHnD5FV9iqrCYgQ2x7Gn4WzoN9ypKiRkQA4RlrafU+ygbe9yJnfa6spjuIUQo4L0Wc6w791qRTe24lntwnuClvCUJrFh7o8drFXp31qblJBa79LwrvdJUU5B5f82un+njy8wsykBZmw1Wo7FLh79YOMqGnSpPcAchU68FwDuHdYrzsDBCDx67eNtzau8G61cy6hi0iZ1PmZ5x3396vS1ID1ANIfrYSPTl0gFVajVqXi3kjdrW2bsljf9Ll2DJTMUwfIbP2VPPglKi9RLbZynJyED0Gk6bxpAif73TojE11TunuP4WeC2ewmh04IBaudbLeikR2dkdkpF0fPFITRbo1eRNUoTRtMzSWtlvvfK5nrsqlpFcMRrjlE5YYE5amLPPmAB6q7zKLnzuLkKr/FZY1BajAKvkEMXQCHOaUtWLyWdZ0D8vekxY3bLIQxTMDTluTXIwkW+ZwNIIT+Q5Ow7FbIRORhCYTNHyQx4FkqqPN1KFr4hnjkm8f0QwKIAJJvLsN1oaBSZaqwXkFC56uWFRVxreNNgHnYMFpGQqq13Z47B++DxZIc/fV14oWOB+mmSxduLDONkuHg18wOicibEZJbaAI1Xz9R7qovJJsYC4zE+oEwowdIWhw3G4FVQoCyp9EPKSNRUgeUTNtZqEamrXy35c4xmRjWwc5Tub0LcmQknIz9/OP7OPxFD2S/hEAUnuHyo1bIZSKtoU6PRfN15R3JaY34/cUWNnfWTZm2pKzoSDsZwxuH3+0h3OCdQM9tV3VzvKLpa0yRuig1aIzUOs1NzY0sglvX5Tpzf5u/fKtutf8v0lX33n02a+fSThZWOC+S7T/7Jn1A+/bBxk4GSMIzyspdnFj3fFU5KZhlcU/MVP4IYpNeFh9ylJH7+FvHnduywJ2XirCzHOLc+U8lcwhH9pBYZobr2LLAQWXntKdwe5JUxIvdaIidKDRnFztAcB4dUiEjQ8X07Ju5Qk2PT40cXjuGbPMNONUMtVET1LJ+1uFXfTm3hxwNYWTvYSy+UM142M1NlGl3VrTkRZ8vhIHpV3nYT0Qca6U3iBLZ4+z5fDLiU3Opa/91cCRCeLghkH+40EhoMu9XaW/kZx9vhzuChKCvaEP/JgAf0IBKEjpwYIoSYFEbWBHPw1zuXv3aLdBPLBHqBxI8khNtC1eXAgrKrMnidMAgYYSg57/zK1IAKsfu2wwLFf44G1XPbKCZ19G9zJ8atR8hwAGX6vjp7cu9oOJIirxQZt0D8BuPWMSwRiYxVD/4i7vIpvicJ8JmZvSujzWyU4z07qHZ54TaIihO3Tinb9G5h32BHB6pApABFVN42vjWt90DZJ30rhv1l4mIQJz6mfrVi8iv1jU/gnArdmCobwTaCdIZU3kkNkjY5dhRhAcca4U4YlJcNnIO2CJynqtZnlOsGIWBJq3C3WW6IIZq+mtvWVGy7yWaPnjfAp8X2A9WNAC48OH3vxmcQc9t4D//u9vTFmZXfP3qKh56dYmB/skb8DZJ+rNWVk0LY43HqrMpfOE77IZSrP8gQytQg3+9w70TzOqAS+5XjD0r7aKfkTJuVT/RdGAjizJuDXIgEEPtxPbloEW7Pwhpf/ZNoMsRC3SQnO3VJqlb+lbLmYT7QhFIjIo/pP5H0usB27lV0sPUBoWDyT7eq7Snjr/7GcJP1Yp5aq7kBJj3v+dwJ8NkANld4uMzyQucHJm/cWgFJDPMi+RDHOu9Z6ePJIiyqtaP5wd1ZPtrn1brGhZlrnbtkYdkrRGa3yBlXEpV+Y5M8CHYZv5pHllxC+Is2PLLl2Xe9S6y4cB3Cak57jQlsNOBo0s6jS3Wrg9GSYnjOR8Zrbpg+chsA+4aQzfTjKJIo9hH8fq6p4N9+X0fbgwCbFuviN+wm9iGNcVec+BfZAN+QHTs6E6scdOw5LCL1D4adaFnhrsw7O7HWPqDrHQRQwcELVRFDzg0vm1SopNpREVneeEe1y7uAqpj6wN6eiWD3dWnmBBRqj00pH7L4WVc4il/nd6TiEtnnYO/AOtKNjz32/LpT7HYyA8uHcDIDycIfeVseqp1Q9P6zsySoxY1sfJksJQsadLjhY7JORUxpsWsXm68qhjzkh0Ku75Eycf6bJU22NC2weMp/P2WFXi9A0U3CH1nMnNT7nRIZpHZfr92CRELS+uFo5WkqdnCRQJSppyAB7dpGrWc/JAw4AG6HZFuFKRwXj49OnpTUYaBAYdX8EiDn3zP+8axmigwzqE0/07i+EWrlk6evDeBx5YAwMJ7N6Pc8kL1WOEjZ4ujc5WMKa44aAQL3TSc+TrpKKoEQLL1GjVMH+eeOdBnM9ALcrIqeh5r7IsO/qFgUIXT5CSpvR6uV+Pp2KwbCEDp5t5A/7gTUVMqFBRmlRJO5w6MZCF2KhRhbdODSE4YuMagcMjySf2i0Myj6NQvGTTh04iRqIxrbzd76/r+NDtVHgbEln0uZDVSp3fvpIakHQgDnTEeRyeJOLQy25ETgrv0zYdlEBppaTvU3ycutseKCr/ulewM7QhbUxsRlFmm8cXIJm3UdmhR0EiksQY5tzs+qUF9Td2zz73vmQOvp1d7UR3Gd8r6d8dUjb4ZVxZQHF1RPAA3NTxZpY1vhurVmJP+UaxT2nXrJUET7IBN6goY7eY4Y0FUQSbE2GnyahUGEnJVfh5R8HzUOffSiV5m+AQKW9b++XdkNsWfle5Uveq60iCPri6/w3cAVVtAKaSiYM9W/NvUfnuYMOSeIS5OrRtxEyqWsbvzyqduVkf7JEszSFKKeZq/6yvxwYIW18NA/FSTpZE5bu2fCooSvnX2z1UL6vHgYtKxonYzEKcamGxkZF26y2kyZ4DgbKaWi+ntCLNOPaFZXpD7EExS3A4mEVE/9Jm/hbF1dXZcpCoQZ5h80bmOf7BEgiCfSQTiPQEk06Q2OcaxsTJxd9NSEvHsyHXNiR1WpW40eNv4QIds0WLcNaB21T0m+K57ggmJZTG2/OWbIOakmr7I0WJR0f3u1yeS0ndJaRP7TKl89z5T5FHtze3HuFmgLI4051454k1GgzSCCQilf0tZo6no1jP0raDB1b6Knh881+nk1snZFextFR2sf7Sw2yp88x8USgYhqVpmYHy02MnipgRqsPeAS6BrlqmSBHs7jJXgF03ydTvdg7KLbNAKCwD6/JDv8i3jZQByTUIFxIBSAegMBCgQO38WJouA3kVJ/OTeOMBhCqBRkGFs3//XWuiYsb1XYe9hynsnaN+c7lVXm7NUu9kB5TR5fOTIfGnxYdO7P1KE8QpiDqPqFDFAFHtwtPmf+eeWv3l/kklfoIWRusStZK3dmRs/DIjSI03LsLF6SNcHKaUJPBUfaLDScHY5ORzei5X/P/vZMDHRLlEI+qhIqJvYdl1AEK/48Y5zZuPfPCbvHAHQ7p8+TArYxlvWtYpHqWL7n9lA1UNT4t8XEkaMWxvnlAroqCYDedtm9MkdxvLIEe+AtppiIF8U3LmyCWrGKljM4oBTka3Fx5KbEOINnPv20Vmh3ncmSUAU1PrHisdMuLLcOIbIGYmtXdaIl//n6R7VWWUqN5El8NFuGUaoH7+wYQYgQScijr4f6cCSb8STjNc70rUmXV1JnOLxTpC7tssnT+k4suRV3ss48JiKsQmF7djGalXRubatplhPzDzlccxFhDGNhYFkEHBkpHTdKGMOv6x5fCF1x7NwWHKy4JiFzYvbSpIFSEYyGEp90RKehXpTk6X+JQyct1cPcOm2GhnxjT6zyETiLLAE7rh3pGYtSnTNI6UMwvIbn1jD1JfxpNrBnnd9yGkdMxFn3B0rTeSRgP3JTBO1GaGQHhTzbZbXI3OhB6yzAWRsBGeSJcjcyTiaBQJTWkOkBOAArosf9URzFhI8ysS04g4pQHgMRgvS5cFu6exbzZF8fMo0mT1ULErV0CWYNe5l0dlUkSC9crajuClAh/AvfM6RopqbNDuVXOC9PNlcMurHDj/4s2LfIkn511DUSh4exIhi7EL6EvqMPe4QOlUDhJxmu+fZNG5DPx3G+7QFeLJ30EJjjdpNIgPrWNLgIBzaZmxIIKsToXlfkVH80fRHFN8g6PEAfbg9msbPB4nlrbSneDjjuSvu4dNgfPKriwhQmj8cXPpelId3zU7gaQKtnAX5GNyp50wQCX//q0V80231B7QDA+u+ecOFcMOQReSRlJ4DFpIdJpn4Hx+sapiyfivFFfpd4y9uhj/QH5/6g8KCM3Ao3WhqApeiwnafjXA+S9eeYiC1IxnoBTkY3NsycIk3RrmjigOqN3hGtMPFEBn0b2HU4WFV/EPcUt+vFzNLWwOaO1kqX1nhIBxSMyGrwV1wzUvSY1aA5opBwUr/ceQpjq4XbR3ZFXH0YelqSvz+fC5YrO72jSo/D6stxv07oxxYzV9SdYPnoW5GVaOZrUDF4xMcVfKWBgorrH4HphdgSQb8mCrHWhz/hn9C0yAHeoGJUqb5SECRgdqkQD6vY8JMcaS46uay9Aj1qrHzLaSYCMCnQnWJp1Of/0ivqj6bgPBkOVlWdk9KZ+Adlrk31iLUWp0silJzMGMrLkdeVp3Tp4HOwje+JitvlhumxhT0gErRsoeM7FV+W8ePsTI6YWYhdl83U+6CQ8rmCl8JR5YU8JkNnCicAG+Okhsj6IetTxa+ySR5VGDQSdpZ0Gryn0CUmpWtg+5Scgy4dLw1weFvb/JPl3CGTM6+iO/IhminSm6k1GwElmWaf8wYh1LBL/+1o/xYhfyX9qT5QmdwLyXsJMCRTsXnfv5NC89qQNcspNtc4+g0oFfxN7ZtESQLea+Yq02G5CqRF1uZoyIBralzTJ2phx+oIEZWPoXqHghdLNZeyS4fOWL7+4IkWJI2YKNM0jRx5I0lSWYXYvQERiFcYrwlUP+mHRhgG8ZAwMYDhbpz+660yndKU4Iz67zhEny0PamAI4hw66BTa7iajThaVt7OCkYj5uNADjFWY8ii1+l+MIJTO7CG+H3p3UetFDRzmqJ40H0P752b1tzDvKl6BvUV8zTrRmfqcZIiKLgnc8ULlB1bjeozcLe8IkrC7TFe/TnzEHM4odwrQNCTTbSOiQEYAPX+sYpi7p/HXlIo198zv2Yv+jg7Uy4IfZFpbhufqnjqzGkQavclCzaAr5sPHFD6tfJ3SB0O2sRm4u3I1g/jP25+MkuuJ1lcAHcb3OIbF7JJcig5YxH2naUXOWhfkB4Bydg5UQy6czTDxykWglhV5E3S4WWlxIE3vsVIP657+MEYKi/ybCOpAmgWQ984AV4kiHgOfC/VSTzS4NEz7ZrutC+tpn5O6HxhbNsNOnD7ktPN1ZcOZq1c1or1VFL66HM9zKEc8S9loR8SIPTxOj0O3tmreM9OeRzmQ4lma3jMqP3J3hmEdWzGPcU83mzbCtAJ9+cvsDv5m5YRnKkhR6lJdFiV8Ap3g/Dkae/AR0KThzquW48GSTY2Va0ap+MYHtc/v7iUH2s7Rw5F/jyfytK9QXibZpQshFRIK7ujOIWmdhpiZC8Xe59oDoZcL6C67XQ5nsfFfDVY+BU9TziAqOI6mEwEfIX6S0JZJABObcSlxTZ0+yddjw33UkwBdAJ/aKD9ApakgK3OnVZhPHw5GaErISN+zQhPEjUtBZVMAp8ZISMnX+nOEaHrF32owne2OZrgJ07aNvkxlm6NMI9ir+VYeSESgpGWHDAimK9Qbwn1pNOVQV/IVXKdbg0+dfDOQ4yWhopfFgjC1ZPwIAYVfbAySbfYrQ4I0WUIng2vF27mXnxEFe1wqiDEImnNUN1ai+a1oJg5nQcMv6y7zf2aL3DQM3rwjqS4NqfTJnWc1IRq2+mK79v/64X2/F4RqMwLvDEWK+MzTiBecY1pAjJ+WMKWMm6iymxu5o+KVHrbzcUTLjEVI4pINoxG8sHULOCnS/TjcDsFA1Mc6On23kesHpQUeLq16WsVCqgXyVhUd7raNNH3ICAnq3svz/WHAN/2Y5Glh0ljpsXv8xVfLX/wWcEjyHNrrQlgiToNE1hgn6BVFeSds4HCs2lZpq8wvqQLQQXbbAKuR2HCxbomBzW5LqZ7qeehJxPXkWqxwYwXGt4ncb96+tb8GdD+JiaVdq07sC7R1y6BytXVDKBIY3Tl6SUvLoIKBkrUM4RE/Jztlf1n3Osz0P9ifAl3qNWyZ5NLo6QSuqyeol2MpDEdXXb5sqcFev8UQyZqVKat4xiixA3yNc3yUXQWmtm1HfmjB1NO7LmA/vSkIAqYUTF7g+GMD4nsJ2F45KkZFmPmQasanwTls9GxiGuUp4dt6u/8LB3r25T6DtAZp64NFY0BSoOvq27NJWAekdOsQvmKgcndOHeuyPKee6njY7llDtNy2JKWXmpa/0SeoCXZK1R7U/oKPUTLZuVpkKdKy5GKLMm2tFAO0C0Vg1lOJKtZ2UbHuV+hh3oa9k59B+BsXNiMmREOxcirhyKQN+/y4RzZAU23YH0WUU+UJ9tO785XMmQj/dfY8F3YrYBZqhlHqsHwX3tqFtIlwIOCbvkgs1H+okdyHYTuivzXk89Ik+bCqFfLa7APF0p+DYRppNmkbTGmt5CeJk9PMQMOrUGDR9zX/JD3SGCBF4O0IKjEsVEAFWKOarJtpyE3u6I2UEFDfzJrke916yXHUJQpyeunbaKZKpfKhElNI+seEPrexpmBlxVPrvphBHSsmFIzg6/SB0v0I7B2tjXJZO0CQj/Xj+b7xwFRjllIOPGpeRN1nLOLKo1xeacjUVlwXqW+z3H1vtoUCjskeMnOXFrES1MXZvQcN3AiuDeCMJ4tUQuy2rEKrH13kqWG9WsJWSpl5L39CW+jC8X1MLUX1POCJoxeMgZJch4GfxVbLv/UpsK3EK5UBY5Z5f2p6GGr6aISe+KKNmjRhtfVGyb+sSjT86mbteyVKjr7ja7IxH6RKqfUQV2G+FNv0mbAe6P+Q4eTEFjW+St32QIz7IWuGeT/7iXQ2ts7fFBS+KNDfzElTylghSOXmJ5ujtcl6mPTc/ImhYiMdejF7wP2polWue4UF0p0hT2JCjMhMo2x8Q3GqK3ZBUqr+nSr7rdM1TLnwrXXIEZTj5eYoWCuDFf6Lrzx4QMe8MzkTvIYjgeYMln2YXfnWgeFAvw25tCbPnjWTmacAKXowRAZZBrijjPGeEH+STjUF6oFKR6MF/5TbT6DokNE6m3yFKAw4W4LzpR1fyDhPBuu4t/QaYI4gFCkK5ETPpaajtWT/ft3q1kAHbzqT1Bgk2bohQ6+4FLIngoDHLqOL+UBAzch6dVSX0+b4fXj51L+gsLWVj1y4+G3h0axwXXYkwYeR6JLVJ8NAnA9TxrzUI7QNL86tqdoj+pNLr8g/fcQwLmIDCHMR8MN5s5DtmddkDeybif9Z/SikeCZTiWr5ak0UeFLVyOMm4udOTUngUaO9ogClLIv2Jbu3sN84CCsuslDd8A8hE1A+gIM6JY04JBifaTlHEAo5UU39EYjvVL76iYALVBfyP7rIAeIKqvx+wErH4SdFZmOuezHL/cAfQhEEqA1Xfa/fobmN18XrCfnbUyKZPEFEO5mkCRsUtuhRH8YbTR2CaGznG+hjr1Y2CdCZNrtAVo2VhgnqbCly/lYLn2Z2uVCwi2vs7V7zJN9D68RZBn5U6NB3n8jWF9GDPQ6uhmpZ1oO3jdX3kEoY9IFIrEXb3vFAwEaL0NHBU/YvZ3VZ2MLKUAHB8EINJ7PLPMDRCmo9WxSmSUEavwV2qbxahomI5Woxul4Hl4TEvp5+fI8rpCzSempj864YFCxj3twlVe//VZrQsIb/Nj1v1QbSWEhYZtyzFaZCdPCAdKs/rZ8Hg4geS9BCY+Y0vWThEogu+pIE27O5tTxYNO6SpDbVVRTqTFKrtvz7+luErK7RoA4qRE6OOO48MzBXBllGac1cC3XKvNURaZsGHlafefV4yp8SwkMk/fX4f3eUF6ozT+yBwJu6oXgSaOmHbSa0a8HbdfL2Itq/p4AZSRL1qdsZ3C5h1xnC28peQ0FunLWos1fm6QquZP2AlFy1zKceTM8ayXtnn9X9qyeeUx85E+DKMl0J08hWvhMvn3gc/mmrw/R3TwfTiydwFN/dI+cbtIyVBgxixSpQUEvMon5euDjRqUPPgNyHa3BAqsca/Tw3LIzY2khpN8IX+rFTS8WObT1dbCdvcEXBIffuUm+T6q9Hvtz0JPFlCugacwu8yntsrTXNhkBLbKuYhHqdgzS9IcvV33imVnNUL4am9mq5LDMBW7XyASyuVRr0tXtc4CPO0OjQHVPbTBM9PESKewTZMj5mdZ1GvXcu8W21vCndQLPkckLdegmF5hyCNx2V6HVnZ04DewjSIdZr+P2s8wvTM1narknYQQGip+bQ2q3dUhuhkO6uN75aqSKg/hl/ObHXalXm6LCdr3oTYlUvAshYarp09s/3NWGKBII+wT2DVEiAzOMTbrpocobZNxbZrfq/l5zKXiwS3JvR+zYm3DrVAnWPWUvV8ZfWth+9VXuZq7elD0vVppCZsm6emJtanrju3l5OjmJO8HwY93VWHploPci1Hln9He4bZhTA/ujQoOrjJtTdNeQdrK/1pLBrIBeu1CXf0s+WsKUcapl7yU+SdiPXslibbuv0TwlxcuUXwmBV61HKkrBO4vh7w4pLEdDO73g05aVSQFtygj9Y25hFP19vOpHirztLN5fv3lkNhztz2iow0egnUXNFnrmLleJoh2UfocauhaEgj1fsBpQIYIWxabDM9D3i2k9JoQl/2P23uFJRvqhHwEKPn8+fRcGuC4mlNeuo5lie2lqBrHSOwI/yF61f8PgmlW4zSqa9dVx8ceqCrpEu6wtwgDE5VsXyuA2vmSi6hl4YXPI4m68dsY0NsNgfCe3lMBjT1MjkkRbWTy7JwlheSSCVkTSjuLmyH8F9mqc/IxepOIwQp4ouyeQXmoco2ATXDqMC2KVzXPog8a4v0TDn0bxLs42VQawXqOmOltW+++5GrptEJJn4xega1NXD4cgl5MRF+ADIZ0eF22me/aecajdTOQTfMY7cz8uUrapDV9pcogdtxV4OesBcpMmaOUpPasL92SuEMCwnxIu59U23ch2h9RIMNh0WctiHZLsyL7okSPpw6RCwwVbuf8/HGo7ztMKcieJF8mhZr7XAb2HtEdk+IdCM13YuTLFb6rpP+U7s5AomAhWNrF2247m5zhgmWhLl3NRc0ZXLXoRWt2AlWFHaoaAV3ThsJqYNXliWKBBKgd+gsnkbli85OV7uNTFVidvNLqGL+ZJRIXP7RejKwnZgDqjp/JmJiux0c0iyCoKlxFGa5h/SjFhZQIU9ObaBcmuzktjVJZ0yzdd0bupdR32u2jrTGi+sNkv23Ap+tMt2uqfIr6LdfQafzM2eCe9L9ivgu3K1GDr50RsEf1iD9g0X6ofZgALJsnYy17Gx05ZX/kQtHa1imfelrxsmCXTaaS0rMCmLLqDsZr+DtorISFVHJLhtMx+WADgW1PMRjos4HlPrZU/unpoWszuEWEaJSiRdd0DBrQJWUYhykQlIRFxPdjTbkHVyPpWQn2kstmuPP7rngoXgDx+qLxQOsMXA59nbhXbyqvQ+ckCklm71puTQvcIxb2MkN80YIoYws2Ml1bobOZbEkKs7t/XMnEhBCSdaYao928yjWmPCMGvY29gyCKJ1AMxwRv8QAoUwexo+jjPXqVpy6Zv+pFxvYeSo0Kf6SmJHwrFcUhEY2QVO5Tt+FNoP9xbyTwxWPAfd9JmTxfaA3YQxxrOzbReb8VNkXJcf82JI6NARUxKpzpoxwbZsYn+O5aS6K1cvEZ0r7fIcvHpJXSDKLvmdSnnwlXyD2IHA7mep0YWMZeKjb9QkwFxovyZl+tCxB3gkTrbpge6mW/I7J4phwRI/YRhwTAXkPNWGbsFyzHcsZI4CHMq2Tmj0VKlBcAFxCIbPS0Qbz1hIjdwwDXO1r8v72mOxPSZPlPXqBNBJ+GQMuYPrOq4V/ldEGraUuUvpGlzz9/QNr6XOivBiQquX1w2wS+2srtBdsAS0l9T0zJmo1FC0U5RuS1ALrNDBnMb5Duy/+VJnovq/QnrJp75JfreP+5AFQKxZL75ACNJfU0tOPxP/k4HKHELAEAnExk0mwWv3MqFaAq+nWXM/9O3G4SZJTcdxrEpV/JzhP2Q5PEiRWfYyamyK+XxQcbN62pjUiZAb/MtUoJyqa2CJVSYpKnsvN+wyLzhOvEWr5Pd8LD8DBQ66yIVyI0P+ts5kS34WCgbLf47YfvgOnDmuC79ghRyhxnlHIgLF+cHeOTu0RRY8iFH2u4dqVQCPka9j+MZh3DjlgIXglPMG6MrFLaRwNeFXzcMJMWC6dFlSSw1RSSWcnFDAlf83eg256lrN2D09me5Ie70sqmK+jsKyYQpc/CJy7A4838zSqd5JikTU6VswOachwPNIZDm2BUqrJrqD70cpteBrv/OQWsjjgTOHWaxx/EqgKIVfK05IMRJ1851td+31cR5n39ND6NILxPEQtSBYbUamQbNfN16vn8DK1simZ5PQzpe8axlAGoLdrQAg9/6CBF+XNeI56g8y/jRApp6lla/s0xnb7OJXfjNNSAH/bYmqiY9oqSgtLD7KA+AJ0LS2eNCZ1BFi4F1gX+O7t0h3rWy0x86FmoV18inaYXT6x/Z/Iq4aNbeZ0mOyywRTS/PjWZzz1gomgfdwd4CF8yt6xRkxW9rcBlJRgRoIB61bbIsrgikCFCT3mEG96FEixx4SiIUuyK+vF2IVuYXtUJS+CWrIYABX+Jhov579Dy2ESqBb2MAdMHDDbsZGubPxurZZ2fSMvVjQQJa5974eLf6nwCSf9a4nU4iwqItreiyIhGyHq97twrZymJvX2ZoVOn4a06HSJ8kYg3/mkAqPJMkcM3/IgSNY3lbdsYC9FJniX+zCC3+DSec0/DbGvb9cB9GlndDC5Z1Ek8uMVLeHLQ6o4OA75RCwG7bgIE54oZw/w2dBalG93PMWRgMboGLSVtP9+P7EifpGNVwmGZ8RdnMhz5kUJzcugDDkYTRHFHpST9sqQMa4pI4tA21o4rlVOxh57iujgi7E5cYLA+fXdtd1WFLUoct07Vv3kBo3IWWyVsLhIlHBcHAkRYJQv7pRoAevTWZU4xHjA7/tG1ivIxmEDLpLr8pyhpcigApYQNGUsiF5dT3NDUn4lXRixFo7t822CbHt366D6528neu7ovoSti+FjC7fIsaJeOar7QJrBstVhsFmzO7ZRKT9ScRDuc2ps4Ly4B7ahRl1pyssiiwJJFrvcQGefOha7n6zYCFTN6UX1HLpnn5WSyXSBjA1JlWvu1e9AXWfp5xRGoQQvfnvCqoFtJB91HfuPwVHEUEGVpru0WyQsDhnR/M7j/+VnGyTEl17HpsVVM6y4FnaxPbUYWEtE82wk6vsW/rxTQB3jmaFu5IsNAJ267B+F9//K7NIO/+ng9y8FALZ0d9gUOWOu+lfG6e64t8mijCW2KMXVVmheOCi1Saj4zzFU9rauDUT345TFZtPjIXeCgL6HSydsTFdU+sdJgRwLBgCVxfjtblSvMJnTjz8Wb5xak8lMI/58bRZYy2NaZnc866UqQqw0tF9GaYRBx9LxEHCo8gCVCaebUUVxQK9uy0FVDIs6khus5s4G8vESbh+rpzbTLNzYOq0k0WYA9nM0hNzQsLHbtNICHYvN98NbGvPzUPLyLTJvPEmDs24PnwkB7KA6mtR0ciEd+ArzHwGd47+HSLGf2mqni0kX8ZjEUkTwwQOgHUgNikY2mdxyfpitNqsGOhuv755bjC/60mccxLII1wSIDibN13dHkQC+0wzpIJ/uHO+qtG9Zt+M7/rWgqzs2Na0h09lh70FiMTkaG0IBEczDEx9A4VaY5lBLPUOOkb84kIkv7gz1oByZm3k7NXO4lSyFgEYoK78QEvdZ/20ZBaFY5MVNG/Hs0YkVed2iykcpYd++thQm1pOdkVJs4yljam7bFuSbzmEnvY7192cVTdtvWOcih9SVDDmmdrhfhzwgHD6CpOkcCsDf32426Jm9eVkYhn9CuAt66wjfavDhhUXIL4mx8vqs6EaqMtCVmEdZ33R9MgoIO5DGfYsmjwrBMNP/hpZvaSyWsceQsp/bLGoBNQ9+mCQE1+sFK56jIeISDrN3WEMKLICswlXx8XQekv3P8NmmTb6s3Eua4S5Zh4Y8NsA88u5aK0GF8Kl77ko8J+ugbQKVgku73HoESi0QmYWagejArTds98vYLPeohEhHFRqn5JgFOUJlaG8mjvC2NFpAFW0lGTUmwoibpDW6SCcvraI8K0U+rRQ9QMyK4ZZPnTs4gyTlofCuKMiPftZJxDGvj5noYlt1GFsJ0AJfWZeI9KFKxp+0BsJ3/TRH7U9VMBxDCWeYmMl26rWD1oymEI0Tq+/WwaNMknwlbWjiHCZv0sChLUlU1SNM7uyGWwT56XuO15n8y2taLl/T/dbk2ska+ZXLnvwLJ5C71HjP7Kxc3OuOEJIrC68hNpsnqn54PaHW9Fn5M3NLB/HNCXyN659sYc4d+ArxXhE687ksVI0YpbtproiIkJ5hKjOFcHXnQODzSgbA2MpEP7jLNE7au9yZmx4PxaFUeauYaOgsXS4pZEnRl6+PNk9kWicOiP32e7g4n0LX0oLm2q3CVhjjHiBTSUDRRqQJQzJK3yamoEux5KvDn89g3GKVaQPH8q9ArwUTtADWxepfFKMW63Vblk5eVA1fMpOMBijxGWYtp8VXz1ekTciM11HQINkIYQ4eI579LBCyM01jynrhPS6D36/wzHJmKyldCiBZ9nZwDJCDJ75jsSLgueG7XvKKPrZVPwHwf+nhkyGmAeY4V1+sJfoGcaDJjg6RlNYlLagRRO8FKAjFJUFgD50Ex04uIBUIp4loNJGF8aFgrT0cRsqA+elHcsrJmNwRPuHpZZDEVhtVLlyDENb9h7eiL63vJyBbUWcfD9OOnL+u/tgjw5CdusAQdypFiDbMe2lPb/vBo7rHsC0YtTxfG9xj2x1WAGxmQmFhuWjBnMSNv+ksp95KZfL4iBbWTDRlf8f2YYYbXBzQEXZIS6jG/zPBUG3bvky/aSL84ImMr+XW1tWPtmssvJKBGp52Kz0o6TOQjdYrtpzBQcuXJ4RqQuXVuoDHAYcc/nlwVecKdTNe5GGg3DvSdFWd1AQsahsO3y7dQ0dTM4Omsxyhn1Hd+CGRM6syHlE/1WJtTBVuFT+ViMpQIl+rnyEdJUwvQUMpSOoaSd49vMb3pV6ODPs/jUjtKGXhSonitfQJs7TfrKJ/PyERMUXntqD3aETFvNBMjujSi2i8pRjYToZhiZJyc4mXQZ/QBy1gMuQDFwpMaIEruxtK12/+RekOkKixVB/hdtFAKgY7dv8lZHiJGy6JxDLfeHWAYGEP8ueJ/g4mgzAbIMIchVVUK4xDsqFyzADCiI4QJGy9rAntG38U4Bi0/nAxX++SFe9/8GV2pyCBdiG/704UuiRbb1pmGr8mRdTkJ/EAYT2mq4Xfx5MliWqlvKGaV+4Q/u654ZAsVB3oB4NGPPSd2SyXqkYtUOcYn6XyMMZNnRTaSs5p8AlWxfpJthZBGsXQbddAY1dgHzQlXDvNRPnDM89o1HMHp9WtX+NhU22eiQYD7kOfbk/9sRgyBL7gKjJdxUr76Uc8Y42oqLzUU+ToKMKQXlrSB125ezx7EHJh3FzyHYkJdUqrJRC8low5HL/vOXjZ+4Q4s+LRg/I6UflvSZ3awCjshtUWzXQT993pDxBy4QCkSuJAHxI8XfqpwOY3cIfaLt2q54J60K/d+vt1eo+E7Hq29gmIPGfp1KehJIZKBEAsBIg05nzcx0aaJKbPJJmPi+ovmRKTBVkLNt4nW8p7J6KjSsbr924NOCJTNDOftIx45rKh18FWMa3J8c7hOSZydUlSwNwgog5s1UCEGJI8T+HBjXG7qhr8BLZ+Xrwv3GUXm5m36sHm6vnmK9CQmXt4fIMEtWGHp7dt7yG+5QXbU3rQmAvsSEeNZ6K4FTuUEDW3upPI9RNTphGu0MzOSd8IBDBrTfVZfczYS7wkOk7lMFO050xJ4UWzzYifl28YGrXrUPjkPOBPXJfl7rqI851aRi6khIiupWiAc5QBSR99qe8EkIFoEPyvd94zWCSjdOzrgXixtCgz4UraOi7XRqVS6d4rj6VyDcPV+6Lf0CFH9FJgPxtsmV3SZuMMV7aFtBNpMS74ThWHOblyqjqwQ+WMaeNDxeIq5CwXVOtR5JzRi3GP2Lo9nRKf7ES+XqQsUNwz1D4YQeWE7xmoAfvI/bOJtkx0rL8bu+deiq6zUsI9wSxMuV5FeWON+iQpsEPPJXTqg6UCSkw72LaOCFoWPHYES3vfvtuYkU25+n+WRdgGClS2r6V3/eczaRrC1OHKwbo/RPI09+aSwdpDZ8AB0o+6xIZpgOcI81svGvV73REekPcWK6YnjkKhYU24lVU+kDQepPqlWevXFat0ZBLDA8odgw1FF2ZAeVAxUCzD1QB+G5BfYClhR5n9U0LLxWvQ02dD5s3995/EJ+DKe5s9d98SKjLkfohHn3uVuOTdNxQT1Amf7USMPjlHS57NJZcJ+P8QX6BtVdO21Nh/d6r7STa2OSspSviPXgIa3ZmntLMTF6Dvi6h4Sp3dDe6IqPaXtpnICRSu0fv1aVKrR+n2cxVEc0FpWirnB9EJfZrsaiErfQkISOhEMLOdnyAlvSzktPXlUB0AQpAYPrrR4kY15I0Uwn3aMaL0jANl6hpCrnYqbkZqDpIXnaKIQ6sj4LdUTGYQt9mzSl5Mm7JgzrUNboWP07ZHOlBmKzJxHi9BzCtXo+wMIzleoZ4HjApYl65Su58pHDl0727cFFSYWhIq6Ak0+pMO6WqoRUc2ElGcOEpWvntA95cjwLfzHOeUeKssQIOMCJ6/p0BLjfDeW9qSoWzl/0rNoPhZgXgb4pjlbv8JBtkbpjgL4jmUKyra7RGC05nXRMbRu8qSas6U+fAw/mPNPxJy/cEXwSpwHNMO/L5CmUOKnEEPN65x+x1U1C947STaxziXzyAGVLaQBMaMdvJkbJNFVpmoEtsfNM/g60uBYA5FcP5wD5XqBQTIIKKFkOKFe8wxcKcKGS32D+O6KYcQPFsoXq0CCru39eX1WDVW+JMNkmcv9SkSHzVqgE232Im3kZy3dKms5AFnlGVNmkjr+Prv/oVx7on6vi+0HuO+BBJJrKmmDjULIKYnxNQesh6g9ppX2AGW7CsqOlAnZZKt2hH/+uSFzyCgzHsufoBSQnkQG/9jC88gzMjwKmjL1gkfDQru7Q7hMLsxKiceJRFjszG5txwuC7qYAv39R6G1wzMvyFV4kH5EYPQ/rK8lRVy6PPpPF3mpLL1iH6ioij+S3kodtY60zehehjsb6pSEF5g0H6jswd2bWtqiZ/cetC8zEw3yBQxSxZrsNzSY6EzyErqW8OLI+co9usSECBOCgcdKAHm4Q+g1WOIKZscHCT7TXgu4bl7OspI+PKyuX6uZN1+ecyR6ECHnlbbgkkUwdC84qO6tR1/Ehxv2gVSrYi61DAgy7hTOQHUWrqnRX6auIeuwDa800OkZsb537JQGJRxacIeEObWM82u4UaihHddrf+KH/cHV8oM0YbF3AUp0YBXYf2Fpg63q9wWj7sc990I0UXEIYEuVMB0I649ucO80LFrFXQqvLYnLEPAr6R8k0SCofmvh6Y23/andlylYSqaRA+K+FfUg6qPbjuYgyqmst3aO5z8pMfJ7hkPIO62hnWRDTD6KxopIRhs2Cf71JsZ5Vo+9qtAFEFr4lxOsK9fCXY3yJu5WkpJCJZwVA3Ag1RAUGDmEvphJjC57OETKMp8X59ZZ+U4+8WnxtJzvo/b6Naw1sf/kcSFtGRirDjgnLUov/pAna49jWnAIKpU0K1dk7zRAg+qT8ZlPq4nud2iVE4k4mAqdgtLhFJTlPrTczoQVkB6GURYA1+SXC7BdplioBqmbCxvueMRUkLtseettfHzQ3HMe/q75LEX7Ps+XsIICsyhS5gtu9cl6vyTyOPHF0yoa3YUB4FP5XfJ6DhkxsLdUZhVLxC6sg7+TA3GWzAjkVJ0KeVv4N4b55gB6605lfgP45c+CE2TB1UUoKzuLCqM75YFm3hydad7bt+CSrB4gudgwdtceDKQ2mQFSbkF7GmZW+u6C8rurlP9pvaaqBWbOAlFsR+x9rskCDejZe5QWa9d9jpjUPH+DFlI8HEYloMnqJ+oyjCg7O6kutSOGDE5jyMrzAFP7wJ2/4p3gblM/7SubyzzXoV+Lde1TLjx/q1oazOmyCp53Jl4bDr5pzGLDHKgKCblbIwrej2VuND6xnG0U/bZsVwA1WHjfBcbfIYjL8xqkLzmZGGJobwAnfZNSvhpj9YyKKBUA5ukud/QzTmObkc1UM/XlKAh13v0PODItmEfVl2V+rMhPf5MS36lwzjExer0+zJLYRL4zWMPLuglG2D5zcR83s/Lqxjy2d5ZQjp+czOUdRIXWdI6JU7icbDBDO0nD3KKkEcxQrsYoSN35jhSUpF3R8YOF+u5bP1o766cT/Le82pObGmHhYlFESy0V1CMA1fqyPCgtpMXkC/RLtlSr2M2+EoFy1u5kJxJDfm7Csqp5pY5QzL+G9U5OyNrNUDUOLmqcgGKQjW9dUblfwigKgQlV/PJtmfk6nbiqsxFmOvS21lGMpv5eLzx65VGVZsl+Ck8v9N2Ojck5e6rMp09YE8j34bhCaVlHl9Tjko4TsdUhwPdm4g2V4p/MrCC58qrw10Iue3ERoWy0q7ZD6O+9lfKjJs8F5kueGUPGys9DM0AxVR9+Mc4QggYzS8P0pc/Q0M7S+oUKO/2iwUyjh9T2WZjMZgStdAYWd0YydhBAlupd9y0nSQ0Z0Vy311QV3WFAJjdbQxVSSBpwVR6gzA56QTwoyE6YrfogQ5gqmjfD+8ABYP24WkblgoeENyFcqSu7LXU99NCjc9vGB3BhyjUHMoxfaowiP4hORhA3Bpo/1nrPqQ91VYXnNIqO0en55XrmOn3QWkHvFXWGzJiwOvVH0MTLEs5jxfVyHt4MMK+Ld5c//r7WCNeTVgc0AOIArKJhI63IUPjQsdrL6v/Gc81VHUxV1g0uhbzimy4OLpv++dlLzNykbyZiidsu08845QDocl+517hgWH5Um+yuwBZK+PuLFIdC0GErGrZE1jG1DFj03PezsR/09QvwyGJL2XGZGVdiDriZZ4zDkra+KomuejBFwaaVTt+FsbjZ4HftNaNakFDtplBJqkD9TBz1MxiDglILxkOsZr2uR+oy6pH1dFsv+ilDxAj02B4GI3dB6DaGjMYpJY2bPpowPPnEASnzrWogxrElLH32gmLB2gK5bEbDspKyHNnh337IUkF6Nn2evFvbH5kFF3tnTwDoQciY70baVxiEp9Z9LULi7bHQY6tP/yRfa1836JkNPOrrWSZ7kF5KFyCY+V20qmJ/Al5HoFT0SM4s2fzHg81Lulz8RgPNy5uSE2ieLidRU6roYwoox3wKfv7qjFe2cqyL5sCToVqAU7CGHa0tk6HIidLo1D2YvhrnR7QuzvOTZ8ZDUaom5RRnHPc4nW2UbtAUPWlWN5bDyNI3r+dRUZ42gD7aADt0m/6BfIoZxpGigcjS5W0IcU+r0MjYdHQxCn2TWop3CEp7sfMjf3xE96e93QOwkrWeNoAHp4aNr66pGqiG4ihF8l6JaNuBmLQwAQd/AnhPsEYYbJFKOkh+xy1fNXgX1TSaOF39sFB8khBVqZ2y1G2sUF6LYe8bv7FVcjQzFzue++FLTsoQ2108yrGGiK2J4Qqb6O9gwVcE5JR6QTQQ1f/+CFLYlwbBGk6QINmEN1oYO876/62kZiaawC4+ZQIbhAaqDCPhYCRvukLHbm4vG5dz7Gh6XhyrDXqPOGlYmHGnU8Z5jXaBuo56xXw+EGcK5L9NvICYKmrT9M0u5L0Zjv0ksEr6wJiHlyGudu2DFmOUN0fGgsuc7M+P3GDdrIR+PD0pbfE4ymy4uFxctx6a56LTg1qhSocxirR0wLIjLF2h00tQFJuJGPE7xCsnndGm1+HT+YyEuFhO83gT6U+KXaTj4ADmwPUVXbB69nptLmOx113bJa+i+aOJET+4OQvyJjZnJGJgdgLraHT8SIsf32Cds0m8LQyRSWtdAFXd0OtPt+OBTzPX2cqADhm9RarxOj5GlbRMR2PCYVrO4utE4nfgAwk0ZGwq8qE6PeH/yrvkfAdPcGi6Jb4mHOPSX99RIX9UAsg8Z+pzuMqRxAKoa0w/hhiq/Z+nsEhht4Skowcv4RVyIdqLwWL3xgKpd0om/rVIHPlkpwnINfCeEAufr45BEbSWZShjiGVshJgNohgLf332hnuoe3AdpGtM6mYr1u7GuSdoD9gUip2NURgOSrzDJ1j5uzrteXYJTGwcDjZlDgYa9y4HCf5c9NKhc7AfkA02L+0ZAhSYJPm7VA0ftByOhVOl4EXrcN0GV6onuibJGTFkW9kfEKdt90yQAztonk2BC1R9YNCFPh4DkdLyCkog9Zb+FDjB0dm1DxzRSEDeTVl3KNrKflsXLa5xW4h2tgoJ/BGjm6xD6wvY9kDdAVSbNpp5IkgnCy0QIZjV4U9oTeha3c2neJ4zKB8cOHjA5437PLBnLB06zVT1mJBkGtv7ytPvdVsoU4bxm+2J2RAfGWAHu7RAEla2vluZTsrrIAOMa1+11J1T+gMmJOAtSXxWovSy+635iijkkG5WdeUFlxUNDA5VA6Ies6KGRZ/oQ6BSXhnkojRBGCHxEyTc8we77ip3JRuy0rrdNaaDgO4HQ/sZvDc7sBdoIv8TgRF3JziczVcjVUoebaBVFr+mmbuQ3oiq1uzqeQA4T8R+VoLVIM1v4u9HdjTqIEvi6W/y/DQlrS17beqSVL0QKOTrH11IsgwOWLptJqI43ituiFiQNmG6jPdp9ardIWXrENekBHrIpxBK1F4RQK++OLJxlhlUMES08AWKhs4F5GOCP7rkvLFqX4iXGYLpO22EV0vvVf8NhhNtPGE+HlNcvUpXecVWM0gJGXTx+dluvdawvddj+RbhPmv67W6S3tZiEeoKA/cCijsldzaaRWZ5glcV63dbrznuuTg6AGVN38gCAkmNX4k4DoWaKMhoA05SDoZ960R8+SmERZu2nRt9MuPoRjUBPmXaRBZdtO5STx17Q6gJxV0lCf9U6E4ibwRs49W75c5ePWz10QVxoX4dY+v3Kb5EZ6HAbrmEBkucd7u+uIbJlyjZjPWUbhMVvLn+QvmDuAqYlow98TQJaJu5OCDNYU5g2XCFneESdDoSmHLPghAcO1p4fRT/splTssuvjuh4QSz/pRKIpNqpL0rhj31tnucXM7Njn/nBLUNfa2ccoGI4ifj/rfR149oI6VbA9ALu0z2Z+1IoWkBGKxKVu/Cc0S0xm/d/1A74ghnBHRLCd2CXFUX+LhlaT1Zb14Qe+7j70dPYeTKKHsXkP0Cy2BpB/r/gQDST1RMVbC/iEkHxmXxn3Pi+vDERgzLKpeQLi891BTzZt9/2SjCaCAn1krWmcqMlcU/DcYf1hPSDl/8R7vhHApRVPkayKwKxvPf+jWyy4OYz2qKXfBTXpOkx4U/31rCykRLPIA69QsgIGH9vIMZOX7GMC+zIvPJu/cT6jnJEzKdS6DCZPHp7U5Ok4IZ7KYw/9xdRjKVPdVBE+CZkMJEeVEE3gnQytwrEBOdAgHmW3/2Anj6AN9L5QXoeFYRb/3efPAoKLftH0Ff4fGQ7gqfycCpSRbO7b3cXd2KHbhBHqHDbjlPbyZpCws9MN59XmxDd/gunODUB7BnY9gTiIJ2Ouu/qqGdDmxymSPNpU2139qDThDmAsQKo96zXXGgfHGY5GUXJjasXSDsXeefGf63ZO/dBhbhc5ZIzDIAkDpi8b1wMpiFE+S12Rwt0GH6N9k/qRkyuOnMDYTYGfrSwO5liapK7CqfkpUa0ikJalgls5aO7m0lHK4SZrI+P5uEHZeX2LE21BP27WjS23PsixLA89KwPZA7hhnzCsXh4fJhzdhBKXV/xOmC2GBEgUFDtBvyaGeFoUFIQ/TjO7Ju6RpJO66VIVaHAEu6VbJgrwqe9YPuMw52+7W6AwY1UHAnpADmZsUdsQUdYt4QLZZEg/DEn9YtPA4mY/uWgyiHDzqIJeASM1mmqfja+ahSudgMtPXKp9hTT3cjGGCbAqywCqWhE92tx244tW88RTXHMg9KeV/qAKPp5ECzEgp/CafWMXxO/R4Yf8OLBP+xOL5hTSr/T7sVoM6MOQDMGRkQlsFidSNSgwu9mTdBOsOnu0ej6ikz0FqPOFQpy+xCwTuV82Gk9qgJbPDdM3eOObVGGBmyhUF5A/R4wHGFWPIJyGijR2KIVRXDhv4RtIq4F0Iph33ohHyQq7WBu4D96LVZ6KG8GIvVAtV9q+VpPt2kWSaMXUKWfB4Q+ZMTQXhFCmxR7Btvpd62JPDxO5Rtq9gjFAunzFzchUZcpN6a3hhxT9OpzRIcmvFtj8OUEDWcaP/msh5oPMzqHSC7crYal6QsYHsv5pTGtnpXsxxqqCAoeZMp4YtISiZzxrvB5xoW39w6aLlkzFv9J/9BdSEKH0t7KpSVcHY4mXzifgjmwhzMRGCBuoBSR+vGqGrF7miwS4L/GE+zTy9z7ytBkr5yGZaXWeWSypCQ3Wci2KxAB6qP+NcJKoaemm4U0ctUbrFFbrINf7CZfJS1qh+sd6TvObpRV73i8o6MS5/BCE2lAphHuIF0/GjofmKcS3YOc5s2B6pYh9ddWM0VBXdXGLIpqnxyrwvIl5OL5W69CCm8ZXbp+RKCHZ2O6oQOCFl9vuspx/sjYYZL6ehR3CGtFKGgExPll9M2PPjdYaT00yHxmPaIkTdXHgy3yEYs4/azM6GLDaZfpmbixde9iDLDhFmwdp1dLO+kyL/S5gaIvIjHwVcqvEKzw5l9FdnKynbGNG7fZ18tgpsv9i0ZTsq/9/QOhSbYYpkzlxfj/MAbC4wRpdU4iFdcAHAWELCukSk3IojKyrfgPeqR0SmuVvhDKDhWjsFVDmy5toa5nCMY4KuG9kkWfnPTwLtYu1MA1bavy37/HA0Smfd2LajtkzRE6y56NRrgetRGrSdbUeOj09Q/EyAthCSe7k5XE4u+ZORdh5oLaLwEscs75oHKjPWqqYCiq2riqqTxnhj1Pwkg9ouXRg5eDYht1XzxBPvZ2q+dnJdc7fHUW2jtnWZPg7oy43++4+tl2ZtZHleHsvvs6veYJNMRFfhAI47soNj46fe4AtnaMmy+CzLi8NPardIcG0t3NON96RJ+A4vNVxIT72mAbFYuvwblUNieq9/XHaHptJLpiP0jMgJxUWzD3Qo7IHzOnJgCCVwAC5WTJJhWD0PDKMYBjxaqZIxIWNjClUzWO3UwNm6S2GBCjMzYI4OTtFkyTQ1w8KXs0HfynFoKmehF1wOyHYiov6zF3TjU/zghAu0lRBAEgBRCokJXpoc2PbIwZ1ij1HetKigJCHUpXSrmSOtU0XHrI8I4H7ZXCDcJr6svsoYwUppBSlnw12N2B0XWHO1SkSuIcJbP+9XEv8xU6veG3cgiGRONvdyXduHl6+4XUCZJo4k5/M4Havzf366T3n80JeAMPaZ3M9Yk2ocipXZvc+i5pNicCMuWK1FATJbGpaMtM+v0p7uvdSWNcrTqpaN4G2GvXcEhB61hH1ugfJbIIYVYYtdxO8Sp1RYyuEFzDLsgOirnamdORifJurbUAj2XfaxuDYQsa2E0B6xKmhT99AKEhehUTHW7mDNT0BVstufv4V6qpz/EUBvosOwWYiJK7WiLHgBM+hM8BHeKfM73rcyco1KO12HGNSMv2tXeHb/KGN9vl3opv/mAh6WNXcUJkZHQKImKSeX2iBvn5BxQaHYg1Iyr0JV0TC1XcWjAc/uwa7JHdqvnJ6O12ySvpskzBQMDeJCcEaUAhA1TJ2RZFT7g/yTKcXA+Wg9m6Xu9VglGuuflkrPs6bpOR2yhjdS3gwfU3yqhilXntcMDipTv9TYXZopDy6pbQ2vmIRUBhUAN3/HTpAarijOzZl2yVhomMFHd0v7mnyfjw1EwmyiSdV6PzJSNOBWSB4C5L1gssDGdIdwbF5oSJeZ6HgzNQhHkb7YyHy21kyWPtE+6sEx3XCer6fH9x3o7ST8h6GKKeiEhcEY2W57zAFldxgO1yWsBmZbJrhKlFltUAgxd1iQwWNES7cFIbB/GI2OavJU3r7PNwq2KjnqsROjuvLrXEQ3i/lV1/g9K70qiFaAaZoCaHbfteHliGiqKR/grqjNW/ZakeSSrOoLtM3rU/aG601w3ZznL18R6GVETk2aFL7A+Ottu7osLPhMQI29PsXkn3ELERYPT5KAE1rt4lYNYtJUfFfoeWOEawzU4gNFzlP6MNCUcU2woiIwyABcphjYbrWl63wRuev7ZhThGktqI3gAWOxIILZvM0zGxpqsP3L0xFSYvn13WWvh+WgtfQGrXXMZwenz7z1+4+cb5FI/bS3djDXPgA7PZcK/UyjXkCV/P/mXtDlaN02nPtOX9k0d+ka5ERF0OIS1VzBLhkVt6ATrKSauqDZT71oSfyTsVm0P8jznCDbaYfGCGW5AdnI9Y6Ps1aJNzJTwxrDk2uHcr+vlineGsiNwKtYSOjH+fqpiQ4jyQSXVUhwg4QTRlpgBtwLQoxoMe49c2qxUv+M5bVABuLpw54JJabQenwmOfxKRytlnLUznZ+/vCNwY3Qw4f5Lx/XNZAyWElv2XsiGKA30/wXk1P7sPjnYCUq2+EfOEeAuUIjTTY/icS/JtWrNVHJ5LVhvZsujH1n4mtclTQZUzErZt8Iz8g/pZxbTNonJRNTrJdS7sS0HHYuzqZzHZG3gTrGX+pbXMYDcoMRQHv0dyiTtsRRPoxqG89ukE7aoSFLYAtjBBeXIlNRukFZtazrZHh82YDcqpxuVTunosCYvlTRG8h/NBUCQjKwDgsKO+pxj93vleXsun6shMn816uUun+ai82FLvPqTGkZMT81wplC7p5oJbsHO5R70qn7xaUchgw5xKbaEsj0VNV8wnSaazsxel3ig96xB2PUfBpwH2YZc05iOGW4Ba6LL3GOSBUmfrF0lr4hDlRoXBd2SnJn1/EbaEcef1xraeuXo1vwBpmfrrq/UAI1s4fqGVvOJ+rzqYSgE8H1+9kraZRn8tcy/6eVRhfsu6j3XZoSYYxs50q5c5HbCe5MZ4OG0Nb3Tj7QxKjA+PYQt+lzEv4gfOQVmkkxzew57EPYqqXEcEPy3K6Gmy5hhOOt6gAi5FmzQQuOL5xBLqPq/AlJH4uYd1PTAVtpishdaXXFoNCkt6ZcvpBfA4JKU1ZjUn/WukIknq+gwutP4TuAR+kDZeetKOdYfU+ydGAGtJr9GtpDZTXKwoegshnLCp0BHhnLdpdblB1658hpgXEtPvnrv//K5sDAcCn/GBS9FKmnskx/RQe1rWHFeENksAt1QdOARIMC8OHWz0zz79BX3fQKXelFavhJjeFJaScpAsk1/Hp3P5OBCBMDA6dydJajpeYLVMWVxJYQRkUUjTLetCNTelILxUtvMBS9CTTrryhZjj4EwVATzvC91bVRjXoDQPtoBFlnbeaWHfTrpuagkHZHU9k1C2WnV9tRWPRy14jmKHhM6FMhtPM6qKXCkcq6VX2SSZFJNiEQeaViVoA8n62i4pPr3PQ/H5tQeKIeQEOOwRUxO6AoHYDHPF02uE/rweTxvbT4sSF1pHlPreIsOXAW93wJzV1+P4dpxSy1Ouh3dvrJxVJBXDM9zHnlJXLxjpu8vlaj5MIR/nUUSpvv3hag2LzAz94Z8z6IRRu+fbO0p1MeUocDHuK5ET5h9PMJpFsdc6aNNbx5MNRHO/LoBe2FGohRuT855MGbRhRykV4uHRhRxFSszJjk2XOwXyqnprWpuS6ns2GIK6at2Ymx0tbfT6m+bK+vvPgPyhQHh0WLmM/avuRg5UWWsKykwOycgveBuSFYd0x2/ve8NX50N1sanyjhaRFw7WOz6bCVZDvsmMDasOh6oZ7HRid5Xv6tEuGRz1MWpwYLlkW9A2R6nay+oM9V2O333M8egUOf7K8oigCmmAixlQUhHIl8fp51Wwo3BertE1Afp5tWmnbgRdYL0Zf8Wjp23vo3QFoJVStwmiFZKnG6ke+weC0Y7UA8nz6Vniv/cbf8v2y0z7QtyNxx3qiZeftQBly0QG0vklcI60iekzOH+VvdDnt6dIcc60zRLilUENkdGXGbVJdbfSmxcECQP+hVdVC1Qv18wPMiah4R8QjYZUoj1mT81wadrc69TCg7KN9DxjMScbEprFuuQBJb/IYldzyfHVk5PpYCKZzJnDajD0v2WIr6+DWeQyhIzhSTVFWAuW014+sD/DePMCrtjlzZOxrQ+1UE797nw+Kt5vfqHE6gTxUo2IatuDKbQ08OAlydJE8L5y/yzINCw7s+hDxOfXQYC4YzAtgwXIEbaTHySVvni0yrdNPNq177fJjt8RaZ3edNRVyDm2imJwoXQZdH16w3uldIfBtfpVWWgkpwl8XK52qVz296mDSoUgdPTcK+Y+zQRAvaHCk/kG048hOCjJxGoFh/9Z9JbeTSz+vvaY8F3W2iKLHu2n8HDkhNyH+kU/NMZn4ictUom0qBeMOAxrlfnZolqOQ63phlD3hEbnE+D6AMQkKzVy6eOEw6Bk7pc0L/1mJ5M9fBUuJD8Lpb3cloVmuErD8CKdn0AL1nEx1YRRxRv6spgekbXXZGv7EZUyUUdnRD3SxvzMAzttN+QWFctRMHEuSiq+wraJNkLYJBHh2kSIMH76oiyd4JSMcpQHWMTpsKsm+arB2u7KKpm4p5X4I8B0C1cBL0ajOZMozhzR9UVN+z7/who9lq4+Bam9xoYcf0ivCG2Fuljxj8h/ojL7n9HLvJvTkOsUpHoklu09Tts2owXg6tgSQx5yy3ldBdZ1xkYjXy6QVzYjp+J388i2OmKEc0n9TSr7siEf8dHHjgjNz9i6fryWkYNiK3D9+04EdAcbjjNC+Pg6c0uoX9dL5AtxopGk99D/b3Ch6w135DSiPCv76ZuHB+I9tF9NVU2Z/AhNCO845m6InTUhrkKSJ3Mhgcoomq/jG5jlZs11Yy2OQUsKsIgrwx6yHJlcQz25gpXMtHRFHsezup1awgiwovQnHjvAPYJ0lqo4ViGpmWf6c/8tQ1JoqBviH89GzTNix+vR8fM5afjV1XNMpbP/1l0sxbLAWNF2XwTVcAJXWqQFcS7xB+CmElTs1u3LOixm8Z/yRQhcqLBltTx83EbFmfWeJijuxKBaoklGDiw5UxCw95JhRIWogvcAYFNpzI3bPOYcrDBATe+KcpUwJCZAp0DzFpuipWCFhp4cBKMbIhFxw/gfjvUVgN933kzRyTAfqSCXIBTXw7bx+6O3rv+QOlm3PDWk87JhmQnC/uPI+qv1iD5WqcbhqDY7BDUmYOIEiW0DE/o37zPi/x7EzePe0HYvyMhCJr/QGq1oPTJPeGIHHSBCZvJvsCR6urdWuIAFmg7RNAzJlsNWF6DSdLEhHnjSWTDCkXI/QJlrQHjhQinTp0LTGPuFmB73mf+XYe5j/Q4HTcu+mjvjxLUH6o2HRuJ1JUNrcxZX3zV1W39OuUsH6m1lSlcv1Qn9CH5/rdtxKWI0Z3A2CXwkFWzO+ebDbx4zQ3qvLlln/QAG7UnQAlInoGOClCq9tj435cCKBhhRKnpBz5AYBNj8YE5Qvo49MqqRmTAVO722AxlHFfaLyhHeEPSkYMmlAQoPTtUqHLHUpYfeBrde9zItoXKPkyKu9ZronTtRR+eYsMBcJP2PvylrkANLHLWMoohrF+uKujwKRUbU/4E6KpxKWfd/jZJvnCNzFlGBTxp2bJnN3ggl0jqLqZ8ui4vk0FdO9eZvpfGj4KtVJy9hiXFH1LoLjLOv66z+Y1OJvprbhXB79bb697MfDBiaMSQFmXDYBZPVAboTn7beD8Ree6Q8n9wke8NSeRQlBlh+KUVT/kVrNyuXlvjzjn9Jpqbm4bxrA1RNLj3CQhycJYLkjASNiJdOYR4zyUQitOEUkPJ8fL+SE7hAUp01a4iMmhSu2MJDtzULo7VJB4x6JIslL+FqTDSwMcomILLaLU87NzHyTUvLFWQ1tOAhSJu1SGf+jTRPw+0ErJeUkfSYSY0IWdKIm+9FAiNBwqx7SlZCzRfn7sFKvRp39aPth66CD04xf5Pnp5OR0AXJahPFDItScifa8Sc7px8t5M2rNkzVOWfJb7VxbpE5TffQHdEsgaNDADF5prnT3yK0KaBej5pCHHN7b6ZsZQBiTFxQfal1hlmCqTQvIrEmkZI6Nj2bRwSi8NOupixkuQaC37RgpRpo2051VItrXy0hCr7U0ZQ9Bp8rqfO757XLUucTTv4q6sGR3SKfHzUsgiWUNuf+GfrVaz2x2dFKIR69UrRc178snpCehA38X8exTzJ1ogUqLsEmHqYaCVB+naiXPkSjYmjNlXCmLVB5Wf//OEUCp9ECDfl58ZPPXZ74GnSbXieAANQ800WmrlleCOh1NijYkZGzomOxAzayPTmabRcCn88NgwpknjUba90UUN97BRi2II0CLkLD96HoXURHlEICdPOzz9aWPyfl0lV5Sm5XL7b1Y9ukSm4p7vGuv3W1+UBqWfod4LeFkmGWvOLsqXtLAW+93/tDaFEB5LMbmgZXBSNoH7TtPyygaXaEPlu68Hwqq9TWRQQFbjKtsoOS7rHvYlBELmcs9mmM+7Bj9dFGi7eUUqKVkk1kMUsfsQwbbLCqVVnNieXQIF2QK2tHaL6m3ox+zdENoXzuIMP1yZRQVgmaqOx7Sv/CH+AFXtAI0NO5cMmklPzavjKBZg0NlWj+LO5S1Zba4VCUQpvo2O2SwNVGdvPRSx1r7tHluAAyQsFCI6DXpajajTr/lOz5Ynbelmm6Pk18X4rXWmuPcGiU0hV70/vHvcUZ/GcjdMxniHN7KOwDxzncfcN7fFOvF7k8dBJrim+toiy/LO/bO8DJc9vo3xn9YNTf+8p6zs4iq8bRUlm0MZWR2U3M0MYqMrwWMMAxNsqhWK/E9mPMhOYI6c5i35P0lkvX4yg1mnfSHE0DLfJ3kgrDtzaT6v5Sj0sRQpSJ7YHvJM+E4/Ay6Z28pf5KxM9z4eSd3jvP6J+n9Wj7meGowgv8XuW1wWVaGUbqyq6vdOD6SdivPUV0iVXFsETBQ0swgLpq39nFm/jp9ryc6KzFnc+sKqaIaYgsWvKtRV+pPR/6/zju6fKvCVqyKUMi9v7od1sHSp2ZRZFKVLQaHRcUpljAfhU6sN7st8BiPrwAhXWvO8SKC/eBX9szibpyDInCeWocXNxTKI6eHstONYubKf52MIIzM7K+Q5XzHbP8AwTt/Zy9v9sYSxVzNeHkkvVeL12R4hUVYMrqKbnVBrCgPem57k97PEGAqOBjsRypoQyfJuKl1F2xXZ7J4hl/yf7okuXWZO2JOHaMzVO9yMop++3E+UXI7ERWWnaSpSAUlnhR4p4aqRGsxg6BHduB41gIzyEm8NAikTNmyO9tUZVtJf1GNCWkUwIBnE0HUNpIVj8s1MMNpxANld+9PygAHnwp18BIsDDN6Kh+yvdrCEOIh/4gN7H/1v186pymGpAe5eIo+VVJD9hVt/SDb2Cv6EhyENvMqU4He37Z8L5a6Jb3VxEe04SNuWqEgUqJIfBkvm8k//Joayn3sUYKXb55fg6fhk/s6BCUfjLk+FdNAXf+X/kIKxXvjaYtNwwHhgvq0dbRipH3RAiiYgXH8VdspA/LtHYHJN9COl7mJL7DrS2URrwzqQMjG+phGeC4sOFO3QE/QTh8ONprIiFNm1eV51xeRq3anxywz/D2tZsdK5idEGhdWShD1eKEM8wq3EwMjTjMH95+o3isgE6mDGSZWsq3DmsUh3q01n/8CD5bOhZHVqZZrPFoGUKUSGqGod0SAFZcMe1ZT+hpLNl1R5Qn61R6rkJ26UE8Fy/YBWUC2OGxnk0qjR2IFNdxIyfjDeWZWjD/2D7WskySqlQAygO0tjbRw+HOQ4Iv7deOnWV2fS6dlHBYLYdg5uScqGbSJj6/ugbDi9tP5sd0q/99R0EZPkStKti1RYn8hFtyTqoKFRhiTl4hLTldUzzyUjuiO09P3SYFsOpyFe8SLVWLSmpOdchUzCT4r2pjxGtAPP3LmypF7luH68nr+Ay/tCliI4jQCiP3RGCUCG1o1kgPNJgBSDChemguzaTWz2YRzADdi7lWI/Df/ZZdv146rF+ZUv067nHr0JAnONQEgcjkiW5ZmzMYaYv4aN/5nM7tOkaA6TYCy9pu/dVAYh8UlwuDOyrDwq9qw8467dmG4eqJfZLZy3B/BUCKebGcyGzQQBSarBGMLP81SGx2RGKUyk2c8L3NrZlf5PQDrdsrbd2snwDCTGY2tpwo4dGtP4i2tYLsKgDkrIC2Bri0aidyNqMA66Tb/lUw2VPU2344aBkrIFQ6ArhZUEzWNclJEUs3AtPbsPRUEb7rX+wqEHFh84q7GSVtjR+3WfohLqLkVbwZIYQL4LjqHaUPGVAhf4SjnpHhMHtD/Mcj7Iuk5r59qhef6oRroX0cMw0EMYcjhBKQoWSprelVSYha0GwilQcA2nRj3mZVdc+Iyr+M0L1cPu1YQd5wAdvHNK4VbDRAln2o1AX9DVtuWp95ZFXo6ax2wtbj5I0W0DARqj5CHfDFEBXaH45f5sFqvl2Pwdavl1BY6CfKfRBOKFpzCtrillExsxKNa9ThN5OKXd1OP6PF5p7F1L7e68+h2f0lcZvUASdumK83cDC3KUgTShcrzA+ukukRZ4DfPLxnn24HZzcdwMByzFrjyW8hUIXiVbVKluAYLhz4r1EQwzFEG2He0WlonX+P5/joRKAxCKg8fGr0wNZdvuf/iv/lIzUutISsMvAJAJmVmMg1igducM+SIkUOnqAgJ+/1C9nus9msm0XJY3qA3XeQpiv508pqBEnK4XqkQOlUbilQHmtyP+sR5QJtEDnx4p1jvY1vJ0+wCmx71DWKFOdeBnhIXO8et6azetvG6oXoidseGA1lXmO7tv+B4fkxn38AnX1vMdOPawMZv1nsHYlhniglQKfR9IIptJb9ebxnlRVqNiRp6agikcSnJxZisA6WDjFty8vVlX3Zt8+YduvB87mMb7VPb1+xhBvpNHa4v3NBGi9/vdXsRuvVbeANy63skpA6pJ5+yQ2EkWq+9ABEpqLBS6vq+1yAV+DkVN+G6x+l9XBx1APy198h5MDpjtrknGui4Sh7EEJyPfsAEa9ybeWamPmyljX5CGsIDLR970v6J8xaJah1Zsarw9aT9csD9eUcq1l3PFNDSXugcRmIT6hwWPpjXceKlWMec5l5W77I+jdWMwEjMo2e78aMzOut2cn4/TvRX1hzCWv2VaKyYOGXk+u+wb8sSgWAO4VwyC+STaAWIiwSAz1oRTq9CUb0enjFrjubYlDuBTaN1Sv3JHvLByBochXGa1L8fvav/EAc8sVy9ryrv6HHajFXCuy+Q5rYtB/vJ6imJpoCQxnmC/AeJqTqbOOTyLt5fg9C1LKhBYF+y94xNM+Jduo2YwyAgfTvsiEgPDNeSTtC692lHPo2LeTTJbnkoucAfJQWGYgZjtLKLeBRWte2pNG09w9uAKO1uZnQsOyrjazD6J2+JgM9I/5IEXylWCoSNgCatqXxT1y3XU4B9sF5fikPCvr+WJD5wX1k9fVs4Fw8340sslYiD0G4lflzVJxLnLmBbczhXas8nF7sh6zvApcKTj+PnLDplEq5j1q1rdn1ZUauxpa6/lU71TRgtzb0Q6Mi/RaVAxBhP6AAB0nJYXUueHpzvtwPrb2KuGpS8Vy9ri8II9rDZ19WnvvN8JTYZYVyWehOJrQi6Y2RMt6ojenSb7knX98i6q9Js4fTM66h40txUJek0qImrxOw9Zyj5ELo3IXsfJyGhdCFDue40zt5hAgXXmsgKo6bE8W6lY8fBfVVOA0YSSrb2YdmBF7s93dLZ6FhVCcO5Z0PuhdWhwFefRJWmc+s1gRhZxT2tXFAFtbT4zv7k5qaiqHRU7fQYDaTyMpUAZZeCXTjrf4XX6HCD7BRwp9son4Pm5hVwkRtDvhEOvq5AU1z+alaWJkCmlKLpWTTBaQdFZzMH7x68W1SduL9nQRbEikNIz4W2rxqwG2MUN48c5ETF1FlURaaVZoVAGC0dx2Ek6FFzuOCMtlwLcHI0jR9acZ+hkD80EDHlJuoTHQz803pXkjZr1XjSDAF8r2ba3Ut5PBRdIVXR4RlAZ2NBrxUaGIhzpNDmzFeuQBIJenFwezsZ2/MXBwkikgrRkdbJvOHjnFFnsno8dSGgM6b8L2JT743ogrW5zqCNL1OFAdDV7tz6C1MapeDL4hg82GC/NgMXQoRErdVRQCGIdKnf340gUvh9jgjefcrBtd4i7kk9X+SIjXvD4NXzirDapywBljjt7g8vxMxq0/gs41E4yCgD+acMampdRiZ5fnl2t6BzEu1dkWCHrdwy6pfd7lWbafHPAWtJ/PNCH8K0ySYrSuDyKQWvSWdueZHfHBrQDuv5E/LaMnZX1w/y0/gJPDX7pFwu3vDkMPbrsFsRHPJipbGk6dxSBUbxySahCj5n0hS5tqdlDRadtD5ZJ47Gem0K2n5uZmGOHX8b1qeVrl2oDu9SDOjr74GfVqYAMeUjfP48eVUJUpCNvOI3hgo01rhfQI14n9K4EVXam+z8VUMK98x6k6xB1tOxRShaZ0U6tURbAKawrtD8slBgKKLerPMK/XrlspgigUBRwcTlf63ADaL1Z0jLU69FSDaGX2E3J7L9zLUY+rodT8jZi7clCHH7FJkzys+4Gn2sdcC06pNzAmsX9yFqY6VTpcG/wmz1dTe3BMUCvimwJHV650JvWcyPDbARjgQ40ND35m5FNFCedUjRlEoxy2JMDf1b8Oh7KkP9MTz4EGyti3SxcYjlxDY3f3ONcEdPB6SOJAm5FuZfbh0CVfi7yK/Sot4DpoNWXgrwNl6B/ijvqA0fsA71nXXlgkNy+bslNevx+jZ9neVwDYJYhmpuAVqiVfYnvYrGWY3DmmWLpYVWR4qKJbCy4Y6dnWK74ZWXntwO0A4kFcVNQw3e+UXgwuGyFgqX4T31CxX+YWnYDMvqqsoDOGGNq0yKz+MiJpecoV3JA4DtF2SoIi+w/8RNybdVLers5y2ADduVHKBufSA7CNxVDG8fVKqtX2piiOAQvhO+xEOvPt4+EaeZgBslZczIklMATXOakE4XIWhEt9VrNwxTaxjfrKFs8Dfa1IRXqrPyz2n1UlZ7/hxr9x8glxLiRYH+MWVKEv8LlTyGdsnh9d5rJjSdGVshXN1OzQ5lhMa6OYYK2Pj6mQXrOXKlH++Si5dXEY2ZFwVZPPdm+JkBA6N/IUR+Cja2nr87rQ7H+v/QCm7HjgVczkBwc0U8xkhtQvP0cZ1Nl9mxjAP7dWuIFB8nhzP09nBqYpJcCDxQxcN2hI1J9897Dmm6U/hVce2hVjVCzM37eTTeOoDNDuyC3E78A2WKm1rrW/kEA0WWDpcffVo4wM3JKj6NGgJpdHtUrsrxXbBepXTVppWRz1m+f2s/MHSMxORLF+OoRAV1z8TLVL8YIat2rd+EfDaImLf/Y2bIJtiVKoipGxjpMNbDV7krPtLMkTYwhx/tKw6BWvJgeazS/soGK1O+WxJPouSQJwBA/7Z0xkni1oITOMNcNatw7kJuoZfuu4ETZF5NxlvercPYTb4wjwlCW8/vLTdOFuf4nD34vj9+Hg10zgOfFZsQe5oLI1XsPGqgWZ86fsUd9JLU832zGIl481n1mSmf6l5COHH0KGd7AG2VNX3fHutA1CMIJ1rdzzFQ2tDU/sOR9lgK0jvC+JqzGQ6sRcljt3XshHffTremtbezqjTH4BAN+dmdVJ1QuBM+WW/g4zUAq1JDB7ANEqnNbfBlW3kTPGL0vtBI2/Kvi3yzmThRPYkwNiWMYPB4fUF8gSbIgUlnPeUtQZ80hDNLi994cIGjNKgP7886+dLMvsnHgPXT1svHIGvBnyFYr0pjxd7rkbhLRMMSpLxVbCsZ6jJxySuF3efyhudoCLyFSlPpELqUgiCpM1y5bu4Ovfnr+RK4C4iuJCUOvf81HJdNMmQNiFV9tmNTgM5OPKYK8pQtCtg7K/Z1dX8+lfaZJQWNsWE4iuCxu0kzecrp/vu+yTyjPfvDS6klllgqNcpBw8p2EZvp2Vsu+pWjCAkJT8t+nXGlpqf+nUeSI+hw8LVDXrrhqX8Zp87sfGXcVBRPxKTo+fiIJ1rXGN+J/IgQnSTQkxi4DJGSi2YZ9aZRIISgk7GiO7eqEb6u3cN1iTymSeN88zGryoNbG22lxd/8dzZZP3cwEgvsAAnHBe7Q8YDsdvCz66aEYDxpUzOGepPtV8Myyc2Hle8FaSqJ9YsmMpTlqioPM6dcUIii7j+eQV90LThXygk08szmRUPTXv+KyRhPeJRoN89RPBzuEho8RUIiA5g5wIun9f3hW11QYWxHPbnXcs6HKlcEDAwUnPHFUIi76EIqzCfq7AVZht74HnRBJHdT4o7r3Y5jCDP+cHXC32HJdLIxPKNhs/kjwOJmUccB8qnTKHOlYIItHvnTOl7BdmYeWU56vGUOOZNjV9TM+H+uQ8mi8eJz7UCBtsK/VhF1XGryQO2y++HwgjW/XTnkyJkPu7r7kFNMnRAKuLg/rmqMguyIbdEgtwsJsO5ioGP6guLXsVU3xGC54zrb2aG/I4xXnciynT06x0xY6b/ts0q5220P2NGvRjf7eCX3I8ITIC7UDiR57igMohNU23oTaVUp5Ei3gFjQ5xNry8SG1YdPweQKJhmJCLpvV//EJh8n922M9KzF+JDriekazu5v0ydKtHoi6W6en3AnUHqfmUCcl7tuYOhdaxNE+iOSt96vMcmRzBTfY8nyCRhnBApxxfyJnOXERzJWUF+14h98jUCNURdqigCLFVyxQoNV8ZqH/jJyf+30ulRxjMGr6E88fX9V4NmiBrCIF3XsUBfs96rRF5lSOejZihg2/xuQLfMDFrOQLE26gq+lvq69/qZEyWzhuzmFL/z+p2y5mLGPy+iERtj4g1asWh9dxsTtO7qli98XMrdgggmt/VvzJzPf9iXt1I6l2fRXEGpu9Gtejpnww5y7cJ8L83+VHkBdBR/fkTP22mm9+rnArZ6cLHPBojSCso34tdiC+1JEBQ5juREQoRN4HqEfju2uCj4ScEMAvxfR31QGwWHfWwxQ0hdsQLNww9ZCJCS5j5sffPhoYsYGTDfXMyyAcScdPgeGm6ycGMf9QvAmsljNZEuvCDY43J1zOjfzvv7yQN2F6+y536CqK5Cp5PZZae7AOAXAtuuXYAoxChXQswspTIc09eUj8ejhVTTEQBGmIJy47kq9A5vEasD/1Wlw08YQ+MIjd2cFfhFF5PMQOCznU5qMaZ7oUN7/YEvJnD5TJ33IrlSB7MBcCL4cvApPE/GzvO4RpWRTygTKngzQ4u1DH/mV+Yte3At9Cc6/d1xiEbDH/YbbRHfPSqZeHkYcl9cK6MvykQTvMPQoBdKKUtCNf+125Q+LwLqUZ2RxPZGHvbafIk8Nk8l1dej4jHsxhsp3WqlDj0OqHiIA7Dbi7HIZsAg9tqfqie10cYNXw9qHzl7p9Q36mtsBLBmgW+tk/w1yR9CSThHLMY1Y0M+eRMm5HH1aqRQOcrc9NCX8btc7L/x8IfXUKa8iMQg0iHw4qAr316hav5rKAQxFMMyW3uKxAO4s3AZJUdfZz8QH5M4+xZvW5xcgEWDjtYJeyL1Jy96EwCSsSC24W0N9uKz9Am7QFHShOw2cVUMcIC9roto0x+EI4ZHXcGJLi57TCp0UKR3UomJb0It3NOP7gDno9eH6cQ3Vo254sk10vesL8xsfmw6VTVtjCWkxJYYe7KCy87EnTB5RxazjI7CQZnEimIsFDoxhl9OQji3dq0JcExAF5+m7EA3+qOnL1Ai495zv0qyPcup2zGIr49QLq/sPlIqI9ebTsfZtwhaTFfb8oS9dRiOkjxqVg70E9j0Svs439zzz99aeINC5JMmVGsIRiUkulO/4nX4cJ/+POEvv96ZOtEtLDpbDm6LS0bR9RBinUvJ6GqHq4YFmIBHZhbhmKcDVxOp6gMKRrpJLZ59MbBt4MnkC49vwXC6l3TKPB9wR78dl8qxZmFMNlEkou+1dd1tTv7irtWHmPWjO3aZRVb/UDjnGiWjQiDNQDNu+baH/7v/p6CJma5BbPvWpSN1Sj3FTiUCaKvX7hUUYHq48svHFGC23lUgbxvQ/BJyCYW1xuaXG54q0U0sP+WQiGMaLAcl4MLIxRqKkjaMkIKOpjxpk8S5TWfFMe4t/zn96wuDsaQ0Zs5szAkGPYw0RjXcH8oRDNr/ib/brt9Sz0GdSfmIvBkFg7nQE2n9xXwZizV7tRDIrQJoKy33QccH6nOqrEMUK25LEDQ755H50PNFUNL7zz52m+yp3QL1fcpSfYn8MZQKDg3ooMPuaxk0iKL3dnWUZ3bgJS3UNthcqDiEXKnQ40YGaqeR/RBskt2jAr977htpbycsRIPUHJ30CtJ8bOAn0EjsH/WwBUcX4XCSv69rwK8PW6b4k4IumFKOHNLG3fwZY9akykkyImr8fRM4o/l1CnjXmZXi21cs9xucoaqSUifbdZqpTobraP20UnOr9dabeVp8SAjHYBWBah4jtS8qjV/6R0Ocm/M0xy3aQojx2fpxOQGIIZrk7IWm0O2GEulG+HYX7FrTYLXVyMr0PCxeytp2RhI9br5l0wL/nKLJ0+nIHdwDE+iGr2vF8f5TfooryEhzup2WzPIcNHSE+mQO8otFEWG7Hl4cXgR1+thAERjskDBGvssuLbjmeI7dWCQJ6+ampZyMFbuJm1dcdKnRd+uiNl9GrCvJjn+lmsutBrPdnBRVkeIJQwCc3L4MTgMXIgM3rc2yF/6WYD9qAwa+LVaMYKNn8TbBHka5IjYOagwXjrzf+pQiRrtPhrJ1xEvbzzvUSem34qPmE3aE6f1cojH/NNx1K3Lsp9cgGevg7xEqG49agvTN5xSZjCPp7GJMJ9AngpMHi4AXehJpAumO1pk+yPbVvXyMXL5TfWB9Gd9SJgjnyjZxZe79iakvasXLEc5o8HFOP3DWSMgAoWqy0vWsRATuGUJvJZSfJtkeDa9zG19zFfSKEJOTU8We1+XzVu3NLl3yW7LKjN0dj2VYsN92S6kqetDNhEFCqlyHWk/Yg6rc+/1MsJytMa6wQDHbaWp1lnvfSB1DyRliq1eikAwFH8ZaMfsVp3EaIxZTg6JnRbRCsg2yXMT+AC8YB4S4F01EU8gmY9asby93dlW9428XHpEQFbMEDhUgvgFjONR4xgvr8En6xopFFrglEcTdYX/irYArH9HO/O33idP+XySfWHj9pGmCOA9JUt0YCMsIjSSKf/7DEiNYDrcZFLF8Ofr8u8mNinATgmnA+V579OFv1TYwjNvTG6xWNH+/ot93MnaLWkq1fBp2ooLMPFiMO5MgQBDRBEcSlIAdWLszUQsQgCIHnzKz3vpzZ3i8LlkepBjEnlkzq2wTStjiH4/qMBuB4kW2tLNUy98RWGPoM68PNONFIdVAwB7wRzmGxalcm/mRgFkYE++Qyv1iUarCZIp0yQA4ArsI7SMNR6i95IIqQB5VPNLzt/xuMs5O/ElcW0ixBF1IGlqtonfrd1RacI7mzdh4b/22MLmHGEnivLQFUvLxX7kRoS5KegdOTGmgMpRpjn/d6dafVZI8PKCzte6ScK3DgeRInAnsPsdluhd3B7zokTN4LJPH+1iTZbj2W5U4NQW6fhFRStnvgjAAg0ol26TIHZoS4fAV8INrwkbHpTw73zspAQKy8mxj9ZHAOBtC83z4UP2L2OKxC8W+98rGJrwqCDMBO1TyxjvopCg28o6Z5yMP+zYfcKj4WVC29l/rQhq2iZbMqVH22YrTVijfUf3uJkymOERm3b7sDlDXgJRRqju8n3KI4SpueV29qwLE70tfBdaZ4IFlvk30fA5xGJafyPuSWkYrbhzqJVUC17xmKXb6+qYrIXz+Wu1rvJtCrrODOVprVM2Po1556jbRgsDs5M0cHcBaICpk9Q6UxV3EHeLxl54jPQlLvcyVlRW69oxEKMBR7TazYOe2YatnJdlA67wmKDkRhYPdK/AX8sJAMRXkQdNGg/Ihixvf586BlsqUeFOnQFqIYcQoTNWKdAxpn3U+ZcEWPheG8SCZSEya8Op8hebC+ftGfuwSKFAEiUBeq/GklL49tTs16IK07Oh5xbU7TCsSrcPEDd35Gj6pwTIS4VRYMnb9gGkX+eO0fX6bxbIR7yeTkW5NfN/ZgIpMReJca7ufnL/r0zAhN5Hs3ucZ21qA65tVxYfyE9EhjW+NyQkiBZkV/npwZ7Ncu3ow0/oo7XqrN8oIkBUJuzxkeOSdxo2vh84ADe3KykJUCDPVlQsu3gOjYV2S5P6w8AccIpiEbk0RlziPrsMnGzKzqH+rdssoRG8OLDku5UXnTyDBXyJyH4zSQnxygg3kchExLlekJRgxa1ggYPTYwS8afLaW5drklopS9DEAxh/Cl3FvlPnish4jImgDybp3AMR6LTLjWalWyF3JE0I8TbhHFl/XD2qyO0ox9rUTQL4TbXr4b78efTaT2SLCFIpy1J1P+o1akRKcIQsEUHXVQGOuhyym747s0MyGIpcE8AfxSy+Tm2+3EHnwb3+zHkpeJcQFc4LPv3yu4E5chbMfHJSsvZMW5xVUrvEe6ergPmMxVSw3Gs7TrmiRU0OtTbzs9o7nWu3WZraxEgr7c6ieaMTxuGYchVVJLkk9hibBLF2/OLMjcZ/rOMK9pgREvOXIGs3FPMH/QU6l0czo8UKAN1cGx437oRgwOOdZlgOn9QRp184VfMy/OgbprzwUD10TrjWYASNs7bhIZwO0vvYAjXgtoYnW98J1Gz1MaLYshOTNRR6RYP5A9v/NtxYXtneeHLPYVv460C35zwjDPi5yForDrgR2CuHDpYNwHv8S46xpH+6un7FCQ0Nwf3vJP8U0XJIpkRJMdZJQ1/Fie1WPu1aKMDMn1LfOMbdVvVOcN645qq/O93J6IPnCQa9eYTXocobll6C96g6fCYLjIxR1C6RS+XuHuwMy6ItoOtNOgne3jNosmVRvkVJvXW+vsWjI7tDYVd5B9R8zcf9jIreDqRL9bi5h6SrDJiChjZ44iG6/J0z0m4eLbIHhxSo+2kf2Yt2PWq+nrfZwBOPngzYQIvnRB3bDU3hQ82HJI3rHavkgqdRL17LPgswHZW0Svv61S3gTmdXMIOFPB7Z4DGpQzHEtYhMNiBvP1rzUDR20pZ5+Fldz4Jn0gWxsWKq1JTP+eXvwiiBiyHCHtoHYioo/qf5msfNoRdVUS6CVVbO/+i92b36YQAD2XTylFLauEItCkLhLQrL+pSsbr97da0HEfR/giitRNXYDG2vsYbgJkDfetaX8z0p5egckWZ94VAiwpk+5bCI0d7E5FHh2SyBmgn/EihaQNIW5IEg1CWE5y+FEcv3/GfgrVFFyt4kioYCsbUvYgdsVXTO+DtWlslnDhIra3LXDLweRGIqn3K9Z9+Z46hSkcLf8moZ0PUkwKHsGDoTgTjpTsdYYD75i4wylfymkr/a2XoDSkQspytMst/1xFif0jaf9gi4lSKNwgqyg+qSOpS1JFb5lky9FOtRysw+7YXsKmnRfxVdBrRSRtRA1cO8ZovH5kdEAk5Mtxj+nCoeL4++EgyaEhVA6yoFlXgYVCRLyXW2nmiBaw8LXL7FGybxm2O50RuuZSx4i0D47ahQNaG7QWvZWi9fqBrbPQeLIAJFOmtBAP/TSnjYWVJtJ5XwQfruB0dVVy1CKH33QIbId/fSO1+4tDIundLVr3H+qJTaNQ30eiysBC0+3MI4BjbBP9V38s7qvOPg/gHzyNutzsLN97rx+BCUQsHTaZW+34jZjLX2hBjngXWNEW8TSLtoWuQR1xPTAHLfQUSayL3hQuqzf4z0HSZ/yKIRPsSA0Sx4iz2vTbeO86/F3+JkHXSkDlmn2zYsPZzOpEYZG9Nzw3PYan5JDSZA6HulT+4Mm72uzx5NaZmXN22sY9F9/Y+pVyDT5hYQ6zNxVJNq6FDW+TaIbgGfp9vz3egxBE6vxyK+Yr7u4SqiAz0o87mhEmc1n+9FpJqxaHPTEX9j2sGSQC0VkVlZkZxNcvkVPTIBj1xMnElZXjLGEQEERQB4cIz5BVXfXDMhe9iyC+m8toGlePCLWm4KS0F3F1Ytu/8HmMO6W7brg0RvieQqa3o0VDTU4yW34PDLsEFqyy9L1EoOefvFCmLnFORBwCpKAf3z7NGbLZDGOi3J+6YuVUIBBcEJpGTg9DOuTHHNFOUVXZcZOVYJcX+4rVFYiHHDuKDI11m+JQWg4Z20ANlKZui2OVbMImj5MBloV5b+um2SesSQUSFKzS8tMfUTY0yXVMtM39EbbbxZ1lsW6K/rG20wtNb647aPmq9rksETCnq55Fzn2af76wFkVSb/bGaE1PTOQCO9epwzOvlA1y4QOaFyZLryRWhb5gNkCe0+CCvhuW9QtQ4cIiPxk8Snriad2FhomM0seCTBji4Wb6hIQYw4Xe939SGon+8z0OGMhZoRi/j/B/6EDXEl4kaNkVEUmwQmjp3P0dIOnSuCu5MHUuXNQNkmnngjlyQ6dJWa0WwHmKR7VfZ/0OSE0OqjSqTjb1Us/dEaBkqi0aYcPKrCah+LoYaDphSSW2aky4z6uyMfoi3vDK+sBo5WiSvfrjbm8BUX9Lj/tnpKHbOu6HiRzDIT6+MEFxGk0yoxFsMGv3ZTpHQ1yqZQhtgiIQPQ0Kx9cTcp3Iyb/JH7f1LP+G7S5PtmyHh0OKnwJqoi57dg4HSKGAcm/q1cLU+18NS7wnaAym4smyx5a85Pb/hC7RAB+iNLvcHdvnsC2xTnU98aLBez5XGThV4I8+fbWie+Dylczv8xjDWxgqDasiq99SCs7gSCOWsFM3AtHZdGBNxlSOU6j3GvzdWmnq1ua9P5A2kdgJLCxZhqMzh7Lsvwb/MWwzFwUsDxr+CTFbbUnHsxonRB/CatB4JQoMvp7Z4if6iETB9JJkRr1ujRkewxXKUZDWKAfSmowgkC6fCIOWXYtynYo1ELfYQ4HNOuljB6m2dAbBUyjvHWbozbTojvY4vPi36tiCKr+xCNQtyflx0n8YhCAs+CFPtXqVGd9ubdZM88ALzUKtNQ1P7U/A8dxhAx5KOpYUEyVRMrvQg5LdVZ/ZjJYK98mQrZ7gP8VMGqQS7rsfBYU1pGMuancAOzaBABdEiJkbHM/V6rcdVwOgMoLTF/eIKgOz5Aip8w+qACoreVUCnF1TZfFugEn3EtJ9SSRtVsXT1kYef4ETYqtcWZnyaQMuusr/esugBHWro1N/z7POsh/DE4jR4UhGgWhFOUJ4Os3T3IbkOUUQb30SuJFuzLi8Hnh3nvfXk1HavW72/S0C2E9VBNWJQqMu1gh7rphHxZUddbu5oZvH9NHvVEFucXE3RcLS65Kyfb6lSWMLspPVED+daZZtswpAXQFLrXTDsDMG+lI0yEForx3vlOUgucRh5SirllNrxxFt12afHronTZ9/qrplP2dmq57Vdmy8pSNEd6HOWEppXraOBTQhvKGD8efJcKfgKdrez46CDIN+9JcPC/dy+tGsLqXrB4uGEyRQbjcdifEiCYkpHRHxTKCYrDcYia5dUGaFFU7r68lFoqI7xnAoqTHGDxRdMBcFefFbqgY73IxNqvRWdCWW3Drru+++5tVEMcPB3/DF5hi8nqqpmkRcTxQDYdsNUquAoCX13PPetAo+chsoyw80M54GGF6xwcu0xDguopC8sa2LbDQ/MNbKZ3Uqxto3ZzkRoRFcUZx6VFUcZ5sv7yUt0l2iyirIpJvbUw990EUSttKtiPqH5uveWIXL56TIITcdLyPCI8FwL8JGiBg7/Cc/SG9Pj5H4uMrM2vd4AYdnBD5qp28Aud32yI1LZzZJ1PhbMa1elwO5DXZL8IqaA3e46bJ10lp9+tb/bTGgu2kjTIzDySHaa6MolVUt6LcxUXIViJZQwYNtS8mRE4HCH3FbMktAIS6vyic9MtXGiEs5Zb8IzMAjui88ZD5UAcTvwu6mSODkGWzby16TwLvXKWsesJnSq4HC7EiGX68BA9HpRAoxJbfgw/V/fgqnK7wo/U98j61fi5jUuAoT1X3J3flwLpGubwgyPc3duSAxYQUCyc3kHCIPcQ+qHwMGeIh9wnG5r3TOLnCF26gDFkmGaeJvA69QInSaW2E/vX233lWVdvHGr5XaRht4869ghO4q4z+n79pCFzS3dH2tzoETl1keWOLqY/bk8fwVHWLNF6noGj8fq7YKqLEZ+aztd/OGn3lRB5JSxKDLEHJTKQZS8P3NeAJR8k8DM6VLp1T809diWLh+JZlgDKqomXNmO7ul3i7bMqix7YDlWsgf7h5C8Quv1fflZ4Pw1kmgX0KoLthjiKOdSat+heBNTIU2Gvm8lLdDiDMBmTq4PPyQFJ7gZNHZJF15ZTZylagV0au9gg4M6ecxF7Lo/mxnp8RcaGH7YOndgRWeOqaVDG8nJLw2KIovxxMUDOM3xJQ5IX3q+/LkDaecZ0Bksh1OtzNCupIU4k9jfw4eDvFMUFhbC8s8LX1rL3OwuPygCtmmLteVbhcp86mdquvKeKYUqlvJhBb+WdgLeBSq0BCIdsZrKc8mliBfUgc7g4xL5HneRYl+aaQ46BrWIq5yepH+yCtf1O2bn/P6AMTgutyyvENR2HBwHDIJHhuwmXb2iDdV4eZvlDfy4nzF8aT8itQ/Ug7R8uf2zwvNyiKKSMsnOm1/X5ZDqn6msEtmlt15bJu53z2CHQ01fAJJIvv/RirdUy+BZlSCp8O93fkq9GuvviqL5XakzBv/5Sxu3nPCasCDnrZVAHby8Ef8A0yCw9nquWgw/WgD2Fj0KHQG77EsARw7jcxd2/qRJa0iHYnX1jVxzYCPm8K6HE+4IZrCvdqBrBdDUILSvl7lTAN4i12Z7Bcq3K2GX5ZUAOW9YxcpWcIg54mOZvlC8EbdjqznibUqNI5QYbNYOlQS7K4mWTgx4O2QQzf5HV9qrg+Xslm4mzFvSfavitiacQAB2bhsCqPscbR9LLgXSlhF0Bh7wg/lzTLfoO7xdXEwc8exovG7CvuXm0P6rdm6xX3/ysI4nuFt2H8JHywInNKGFylYrj6mVu26zjk4S7R875w13Ahw2sYL7lsZzUSx6RaWtRqSEt76QdEckKh0+SVnMahr2jc0mjnfdV8zdDGYioXc6u+FKl+qvxlPqRjy3Ggxoz5RPPMYYaMZ4WxuNjkCSa4VZ7wXl6urlBQEGgYQXHflDmI8rQj6Xi+adLW9xWn13OYMIfZdCvEfzUjfJMbtVcCeekO0si//TWVfRu04s9awLMU9wVoiA4aRdQ+A5rrsa8Zf70Haa4TUFFj8D1Wt3OhaiAKNiM3lWYuE7g0AFih1ge48J6J5ssoEubB/pC0sDWa2c2+pXrr/yjd+070f7DxxSeYyaGLvlSfYBAJijYAmL1Yx6OH/YCJuYqAz4mPLa73XExxmqA7TZQxhUa/VDi9UoGA7ISW8wIt7wUnQFUb5Nwx74gDlda/GqTGMzgXikjiZBFd+jamXTROgqovX3NVIFLo9LJ1zFD1KdArxS7p1egP8M6tRecn4aR/o8u1zq7ZLWnvyer2DY2qyIN69bmCzb81D3ku8xyAKQAjVW8Vqa3pvqIEfYMZuL1Cr1vCW9J9/AN6Ihk+nJ18bzPw77k8FPg3a4IRLv31xx2ddPg22lrPrBhRWW1+JzA17vnpoH4Q16WhHqUvdnbKOcEyQXjXtXwpgbkdAD2hBbkF6z232Mh851XZov12hU4MTL6yljDiptEB3p80kjSuEjfK4tIwSFpAuRIBjx6mQz9Keord/W6IQdNIy45KQ8MBefXFXy4c3WjNLna/FsfkVgKdbOVqhnzK8+2/9vWQdmTNq27jxj0NfQ4f/UKgDORzGJZGTDknzonJ/ERqiSqkLBNyrqnUdGsTjvoyc8zH9UREgWGAZKOhD3B7AGE6oYcJaJANjyZnxjnWY/ABtbFq41n7qOFPLzH4/JcNQuSWAbbFEMAkBhFHA/35H+1i8DQf/NfmWvjoYw0SqoACcZMeB0K5OMm6dkvDn3At+tMRH1xQxv/SMMEtM1Drs4Jyh+ueF2Og5JJbTHtt/ToDw3cdUR+KCn/6kpNplB0u6svOeoirt2ICOJvBdJ+yzK2VmNaHcirIZUbcTBxBrm22guMCplgLYuEloV0GaRrxTMiGLIHCJKGIiIPRa5BfPeDBtAVlm3ISoqkRJx45mnw8lrAktLpgM0gC8RcmmbPp00gabWvETQzeglxHKvTXRwqZsws/4rzrpD+JOgAAqlzTG3cMsquJA0mDcdJ66LTQ2Wit2cjLbTkZr0/A0tjNfnAFUS6d2EEk1bmpsG1DQFuxdjiYr/FStGLaNCX4xiEmyHXFOZASq/JntNOPWo3W4nJUsqM7e+vuk8tK0jxHs0eyb62PSKLV1MqX09k+tjyMn9xEzDY1PvXvHSpDXEhWfgB7kLH+u4MnYhiRc5AkeyJkOIihNsjL2z2ZYgjUl6PJXnzWRbI+04hGUsHi4PVvKjTfMoyTDH6EAQzP+O5R/K4XLQhk00xJvLwV8ivIF15BwYsDxmyGCYenw8p8EaA67ciojkhKC5KdK22Q1RqwXVFHypQEuFL8sRbNmRHwuTSeOt7bf7dr09tb041kxUm7obiTrO0aQHxhVeCcvY+2ti7UbzoeP7kkjT9d7YaW934mxMlf2Xm02tTFUbCDX8d8hMsaKyhwdB3FN0KbIn81FURFV9jktVkZDickAN825o+T9tKSH0K6g2qLhkwaTZjen3LMvqwQB3LXAVz1H3b8eLYcCqRplP5ADxCs5jgJSk0KB37B6Ai1hn/iSJ+93fbzERP4TQ/1JTeymt82yuH0/OOQY8J8j36bCQH5QRcYFlkXFV8M4sPvYvCsRA27Vl97heOuFn02vmu7vrAD7d8qSEmCio9T4F8uurSjhkzZxR1FFybmEYWOXzrXGsXnWsSnkOlca/JEhZWsVkE/KQVzBfCh0gVa0p3BjPQGz1YfZE+KSJ/8weZ09iyXY8VFnlieSy4K7Db+U0jXelU9eXAr5qY4HRo8wjwkD69UJFmWpQByWfhZiP/EaleXBMv3jiewjkVktzvFKZt63dvFyx3YmMxavlVIDZnIshbEB7gUT/0ZhW3eAUagNrTEdvKDII/F92qdpq7K4gyr6FrYrwUel92p4O0gfkgz+ADIEbh8yLIiDiFz2x8M5yKHH0M9fCwkWUkpNawIEE3FlUZbK5TFDdpJm4Av03f4BlEKpUiDUc4u++q42vpmd9nCGpveC/yGcude4AUDOyrAIWfl8OTu/SEMHe1648gNEsJZSFkkP5zTjXQ0lLYoxmDIsr3JYaKoKj0WYPrEmJQQ4sv7OR27vjqWQOvV1MqEBNdclpKibXEkGMLbTwUa0UzUkp+xnhhEXTAJQa2Tb7He/yG1aE4UweHjPdy+G/ClyXgVNPQQlGFF+fbucLZbIbWjfmTYWc+Ig5N3rCPUajrZLtisd+zSvJyrdQshBsG7Ues8uejI3nQu6ZiKNADT8zxhsK9+EYgv8XICNu58aLJIvtE851bB5fsU5A/ZflWrFvU+f1Wssz/G7tihV7Gl8uT+QJIjXq+xdeSIWbDzYMgtXVUfhJf2Go9aIZWwYzZnQp2atsn4Kf0RU4UR2qGt5OgdjwcrOvM5j/MMjLXmWOjToWoxrA+/dpCbyAYCz6C+sLWBYL8uZtVEksASUF8+DHUfnoqTpGclOjd8SOgmcutAyrJ0GuhIC7wArleqOCNE20cdcm7nUVowXseKHT8cWujqkXFcjNL7ibKzQtCHfrVnBIR3z7KSis6V2+XlGttxoL3DxUnlAO6rTbZHmuIaR/1kZFDS8+F53LrAJ/BbvIrfRZnWv1OCpv0yeHyR64/MBXr9/BAye4T+o+omKMKsTtPaIaRk5co8Q3Hq02GKrw9DnYpeI1HAbAxmZogGEe2pD8n0kkgLa7y7ZTwVYpIwNtXh2mH7KfsgZgMdbbAcgAWxfT7ERwa0F+RlSlJb7MeHfjcdyAzubQAgk/1lWyj2v73nf3SJfKGUXBH7g3BKMs8nZTiXVXqZhIWaiFVbYg3pWwUA2dHoUWQWZuNh51NNyVemAhHZ6qRJoJsmG3be3VzNEysFvYdzxJH+3pxUyTcD2k2fGS6hQROEmecRECA7DNVDK9P9QZ/BolaLZctHP9iXbVRYn6IbHCZmlx/22ofsWdoJE21bJXe+oUebN66lRzOU+/vqa5s09+wVAfVe5wuFB5YQq3R9WbAZPqDL7cra5gnUFgyAqabvyBp9uQ5zttcgXWFLIbeOM8vy9nHEeNgm4SBSK8BY9WPojsk5pjQORdUtJe6zvvT0c/9ZKH+NrOGhAvR714XkRfRq8qigNzfCwW0rHKtiTA+/kybcvgQyoWmGVYpdYVL5ML8/u2NXzmkOaifLLN2QV+dM+Dvg50tzFX9e/b2+HB0Q7VpDi6o78lkcvOLSRMEh45/FcrDvpLw/+r4yNu3fSLweFNb7q6v/NQIuny1xz1RUUpm9wURgN/1J8HO3AFmCXElS7h65pVe1zGHT9XkZAXNG/U/8TWeA46qoUx6PoDCox20qR88fSaSTA3Wa12tCr9MmYMuhPOvRcHJrNWRBEuPETKhXKYOD5xJJorH/WIacYnjDkH5ZY1spQLEQLMXDcW+D4PSEnJwxI2jzyOIS4JRuAHwmblfVwvRYz48TctKEcJmPBd9Y1XvwAtBHGF3gBquOQOos/1Xz9HB8C/58BwN5eiFDg7c+rb37rM+Jb+X6kcG6LTozVq0UaOaYozcmJqPvWVt47le9vqulpS4L2t7F3HG+2buT4IIFybpKWmzzj+u2uA2NTRDW4bRjXHk0A7blJEQGrUna1GM9qjJ3ngh4mKfyvcdylhDSVLd/CNQ62t2hL5wxdiGIArPgGNEdQ6Rxm0ayfNeYalAc7sxvRB03fI9xwxUGJE0WC/EP3he7sSyHLvRaBNR41SwGuXFJYvE6wEUxjjM5WB4bUlI6FVbnrXes6PpK0I+/Mg3kSpHw6j9bmyN49AJUmMWBJR86jh3S0KJzqX1kx1gnl55G7gFzMsQvsCbN4uWJhczArRA1uCqk6+zwEs7NMnZE5bSeMTxV45FTh+gYFDscvX8gSrgwzBygjjM3VD30vLmUyy9PRMkaTj/z4EURxvFWLV2mtN6tUFWCoJ85D1Scf75WUoVHkrwJVDR0ZjyXbAg2Nd1CwPjlypqpIEOD96xrUNHAYV0cpjg56t5tDFRsKy9RtHAYIjBzKc3/mxOzGrPjLclk9MuR5merK8tz1SZzql+esJRe8jZ0vPmofUE/BGCm4Roxltlw9lTeQUm/Q2BYlchUtkIojnFwcvMyqCaegnAbyppMmQAe2zlkudtOWzb3V4QXwY0DNF6odPfp7g9cjPQaV9OKa2f9+oSsqjBZBU2Cc6E24JNvlAnIpADVLc0cUB0WmuN+6LxDKapp6eFiNNvdO0KwsTWHWtc1MVGCgwFAW1qMZPkUmkm1gsYZ2iiLGrlsgTpYZE0K6ax6rTxuTjWgjUI4Sb6N1YD8BG0AC8jGDvqcWFO89GuquI2Pjs7ot9g2efO5zdlokZ0T87IkXIGST1xZ7n2MvaowL2OWiT9OLdZiOzonTAcuDgtK4YMZzm5INijrDUBKebvSJHpsBvpSELV0p78i9WLkPuACDROmjm+X5sRzFGdeQFO8afp+JY1I90mcvZhMPUlYfiEo8vZDG+vQQEn6jzUrH5oNQ6RTuCmtfFvlZ4mK249lrqPIBbLdJfjsXEcg/qSVLg4ojmwv9c3FnmyNjTMaOcXvtd8wV6Tu19pxm2eIwUdA0Y8ne+hlCAcvTP6sbFDVzLyio/fvXZIZW1kSk4uRIEG6aoXxkbSJlP/Q4Kzrh2W2KnboSyz6lp4ib0GyIHzk+p0uU8OBe5PfLPI5GX6xUI3KOJ37c+UhMBLnaKE9J1aMY82c4RNW74E4BVjSQ5r4MPq+iITbjsB+ncmHbRwIvmf8moKL33Zhn5zDp0x/7EshN61aQUx8p3xqDzvVhyjklUzMtFGbQEffbu4IAa4HfwdvkBT27JB8j4cneOMSDW4m5QuYL8FqZQmXs1/8SWBD6/j0CQAlZBBujU9Ry01A0erhMAhLmqAaLSloXkT2cnVz3CHrKX191il8Qm5rLpLam8Kr7mzztT8W1fkuwn9mSoletntCqbOhPM1i4z1EOT6xD3zFWazePSqugbYE9ZL/EtcsRD7AhaZUofR5cc4yO0F2iQ5pWSsKwrLJTybxFQ+VeQs1NSHzCd3+ptzYRPMg+h2KCGvoUW1f5xjFWm1ZZYh+2xYE5uWxLvfRylNJxYvVhq4q67Jj9cixL3bJ15sJTzeLaPLJZHhmyP2Oj7mD7kjADjPQKEgzYC5ulb88xJJm/wRIrqVwmkrhsmrx8zZq9M2YPHTM32POG8WH8c3+Q+3qzasdF+3MKBQh+4gRv68/1Sw6EdVpHb4UXA6TfxtXDC1LifNszcoW6RxITHaF103Kh0g4kAvG7YuSSKxzN5+FOo7TCPlxhN7UNk8Hat+pc5ocxeuZE/qQtmFRJsbftPEvQPJhaUN3OZr8FJJcbt9PT69GQzRVrIPvG+Re8hpe/xSLlBvaUGbr9dC1aGprr8f7AAD+NYpOUj6R0inpfiDtAQGvHIg3FHQ6pOkpwh6GdAXqX974ua24XM5/sWhsg6jDuAzlStBmltkttrK6bJkOD51rELoRfiOCIhCoUakxlGGE5f/QnPhhhMRVvS9xDPdsAomfH5Gqw+7yqgHPaAqmfYdCws47IZFczAk4mo0dBnIXEr2xth+MYbgwMwd7uIRVBeN359qEnMUGeSOlQ8rTDjRv39MwyxCrFwgXQvOwG3FYplHP4n1hM4mgMoTvMqjhGTlr23kp/yQhh2rW6BqWZkDb3zDHShHB7LtC75auPBr/a2u3hKhcBB5nkaA/pAZUuUcIUL2nTPrE84ameGxTGCMDQshiH4aFy8GAqxHe2S5bUChrWGYdlUl04artsREGpT5guUYo0Szth1dCZhvrIg3BCXhSCkUtGgKrgLxW5iy4fzNPWdfyIGimxUwIuopi5PMhh1CAdb3G98/H9xqeHftgNFzvY0RUX6KrwmQDmfyME8uL3KshyKWKCEKRql7Jleknl9rt2Ji68scJSDo07o7yZ1rSQKCkV5UJqcmFs8stvOP4D0TYMCfun4v1WMQGL/9IN/Nfpd4Q8qN0e1LEYNpYZOjma9CUloi0sFFJc4JS36I2OuW56j4lIiKHiu1pjvBMf++Lqv5Uhx+dzYRnhR9wqSTaBd8zvEByQyhpM8AqBAS3XA1/85+fFTLTV4l6WDxG6cFq+vFW4hJmmCWQB/a4ZuW5RBidYqJ6GQSk3MhEzKd0WpHi7hrcZSRA25xFbzY80vS9lAAlhia/C/65D7Q3arCyITFMOL1/tc7UWxy8l/O8a+AfRDVzUgyZZiN9qLEdaynSEeDM783MgWwvGi69LJtx9x/X6WAZn1FR6M3AXdMK/ZcEXjJ45szWHo+ME8km5ONuSqf4aGoWm8Akcog8PPzF4C5m9jPbzmA6VSjWLUCKMr0+TrLDgph27fKIFu/ZwgjKPYtmTu0LiToSAL8Nsg/TEdT6ndPQ3AXy6OOv1DlOcM7CFlNuVMZZ00wyD5Nn6c/P7TyIvauZB4CSRfk6eHhabCwT0e3D5egCt2ihbGuYYe+60r7hmf6NX1r3MNNbCunEhk3j+I+oaSy+3o1x4lqDy+KAfY7TWsz41FyPis8BYdLs8pb+fK0z8qFw3y9MYiUbus7CNxl2KCa+aN+MUeYtb+Eo/nR/OS0Rz/9xVuIoKUh+zABohfkv8ca2kBrm7D3ivKNo0EvFtNPdaRAqEqOVPGvg1rQn8qtxMvx/cw+JxQg2P8tielQchdEvpIvNB0RePU+47OwpKCldEPfU/umF2vxNcq49Ogm+ljzvRT3RuV3fQzniIuAuM4WYjnzFmbhTbXfpHsACvWsxWY9WvVr2pWYvLGnVZmnN2rjZm7SWmo7C1ZmW38NFshoLsjUdUtG0h9Cto1ag2bOg6iz6a7Qj+aJli/nhbQiMEQiSDNq63oJ+YsCQOFlb3AO1tOreaUMN6Uzp8AmJb/nM2M8bPe9dEUc/Q1GyZZApnjqZMJyMGNQHgD+VldQzAVd6fWQYStgAAu1Z741mAYcN2bffyp7ZvQX+KJU4trbldvGUYqKo4utEfF9uLbW3ymaiZhy94m9eXfwF4863k6MCqkBeozyIndGkCfjK4kP0phZyNW0RHHXlMoN5ILtgN1PNmLxcvCq+YVpXG2hvQ031T2jKvoqnEOy/b0d2Vm3sOka+38LQMnfc997l2WBHwtp7dv0sP5dDUEq7VNJqwccmyWvsSVwTHMYkRdvDmU+AhkxULUQFurIrT/LBPvcIBzMTFDmWYkWYFxhLBVpcpwRfDivjYWNaBXV98zKefO5TMCJplob1Z/RaXea5K3J/VNu20bT5bCKi6aJMM04r5RlAtVuiditdP7a2Ci7v4uTeR+bT9KGnkvus+E01cPDBRVeOd+JoJYRYLpI/mELcJvbeZ8PNiPmpK/qMmNJ/e6fSR8aIj/GlF2Mh0dLwiOi5PuXoonE/SNmRbj+LYrP0FjTikQOv7bX76650xv7cpiwki/kdmJK0Az+u0ckpN/hv/oj+go6lHH3S4ypLq9WZFuxBOmsU6Zu5l+pN/ledD/rC+7o7DNptOjAEuWN4ACLapepSZOyHbxAJ5fL4P6FN/WuTq2SgBi6KC4FXCzrD65wNqc49NxN3RxS6Ai3e/xyzXuNe0JtrPXAcpNq/Wc/rKzDeJCWuquUBzngNclyNCXvoo2Mu5ahkaCbP7vfXYXaJnDXEIEZZtpfQPFE6WkH67OrfaSz/+pnuUG714AjDYUszs3FTbt9QvjyW+HoSVXi7d/P+CZ/Hu/mtdE0M2TXiUM56TSaBtmlirdteIwjJEaxjRt1Mp/t5K0uS8cmunCHjcmZWPC3CgzcZzUYKY1qLebny71b/4BmrwG6Rtsb7am8bH3TJUkCPKImS3QbxJ9d1U3dsGMpApiNOvTHsWWEeSwW9qI4vsjuZ2Wdw+UcJr0IU7Mwn0kPwx3wx4nDNKLib5qM9CbrVlRpQs0KUpUe0exGliXGkeoRO7cDAk2ZzqLmGp3rny32NJ2kLdZe1F8NZQ8l1Ya+mhur4wSFRmopgfdZQKm89B+50k5Xo6+yqJfRZ56DHLn30wDz38sY2qsn/z72d7PYWgV1z/j0dFMbUfwhV0GnSgEiBGTDndsM/bwiCtiFM7gW0qhWO8Q2aQZ1hDtg8FO4dKxatQTgxfLYYSU90aY5NSccU5OQ5WCzN0+uS/jxjXZqtLw/3S5lsMJbzUhIdsIdlsjz42009syrRipihdxgIkmZSYKLo8YkWXl7x9F0wwpu5HB2pANRx5zSUScSdjhtDWjslchOHCgKrZl1eamo10C4iD+nDy1mKtJMUVcULleDMYOuPl3iaj/d6oPfZks90GeSwaa5dbkatTXJIqfatnX34GBGhhf+qUjCHDtTNOlT3xlw8rujK0s3JfMKgfMMDNd2OXoop6yeIyAtKKnMAzukV5O1P2IdDQXuXCF9dnuRM+b/F5lJRt2TSrPFL1yhBGJ8RKK7V1ayQh/ILjzEF4AGxEJyK444uWB4Pmq4h/IggZilO2qa5ORzfl8HTL4Ch3OIDDIETQjfJapt1Fd2rXqKsUrLDwjJDEVDzvCktYg2mwNahswQ3BH8enK0FWQvZ/zQFbVCMWkXOtQ441V+Uje4YZ0t/L2YeFCNiC9+g0frIcikw85QXVxv5pLfZHa1r1ZRuk++Nw22ewXXmgdZve1E6v1Ugg7xM1vM8YyuqUB72CTR0VWDXVQFqp8hnfKkC8qVq/0oOTzIj3nrRs6sXExqszNprzFDtrWlBYAGf7VEHA15dKGNchGAoU7sVYH0cPHwKAKu73ecOfBLiShdKZ3wAyEy6l7C7YGDUq1wGc4A5qkp+R73KqmF6WzGVRKnLp9w6Kyxfe/LNlFXc1v4gqK6FQpZJVTJnSko6GnW5bim+nqam6wnb6IU6Gy3fkdMt8hXKxheZoi7dVOmIyZ4bm47LeqJitdmf5JqXzZPTQfdnEQnkoAy1uJtgR4ZEDzN2RspFQr1Hf/9g+GQBGVVSvxQ1xR0TR71RE2y5YdUQxYLdBzkFZt5D7ggJqjD+yTtDLlFkVXagidtLJAuYXLIg916a9rBkgKByEQg9pt3CS7Uh0jnCp6oIi1yn6Rqxx7penat4OLhDPNTTLgmkYIzSNh0Ttp+3e1bda4seIcMUaXCutRuFQqMjWyWmUJoXeSm/eC392EPqDJYR3gOhnLdPlywPjbO9n7cJkdDYqmZZ9FkOm4dzI1wMUFHlx9+3HZJSW3fZhEr1w1RnaIc2/NDKiUiLvwurhNBxTbRdqV/mxM55FWfke+4/uH6wfTMkAngXSrs+Ad9TALRbxIlFzShwtUFouVk1v3cjCNg3sq9yr8pIFfT6ipOOBKD6xDC0tsMZtSMK98wDzgilhPE9KLbSk5mNGGA8xH7tXVyV1THO2LRg7BriraxDz8cnqbetniTwo2JOiN3TgXwhoZ1x0HMImgkSK/3r4H4o2bH0crIGlfKiefWxQwhDIuW+YJEUHHJm6xiX88a10iVIQIdigetph/J7Lsk0bLhuJq5IhJQtLZmTzbrxhPi/3cB5XtgabfQxabQe+pt0Eq9b8oo7HUPkQTXponSyDoP0lJpf6ABZDY8RMF4FJ91jsmesTrnHq7vUNdfmW9p/tNgAjIttsEzVjJ6ugMwXmKrg5/0ra5gAelMGVU77WOqr7K2VbHwmcNtlDD5FzRnIL91lN3PfbcnzQjDJvCyzPIcG8VFstlg3BkNfFdxNSgv+Ws+JUe+McN/fPtlNbaEesnJTW2OA72HMa1HsAIHaORLYXwaxY+Q0c/sWwcfnO/AWWhSliRlYi9Mr7OGzdn3+tN1q2NnLL4lxHt151j0XtgH8qQutO1Assa5DNY1e9o6fPnGltyt4Ysg4Z0VKrdpfbPDJpEhwDBXZn32iFrG0uiyqG5fl/l9BPOxXcVqvRJSH+fwxcPiJr8lmhvkiTII7/yzbk5CXSspf4b3C6QIGd/0aWK7n/S2h39knpThNM1mvWgFkvox5gDfcFmf0VTIkCrug498HLjR0rZViv0K2vzmQXx2w1Yx6L/9PNthTfQ1GXBNXhVmcI0SV5g88atLYsvmONc8R406dWVfbz8TRs5W+tCEkp0tmIocVTnh7r8tty3W4F23kF/4HIaCGzfYkp+hHickThNmAf18yFWgndybRnIYbRgT17S7/hnfra8QaLIp8z5Pkp3P0HfkpBC4Pk9KP/E/xVDWoHj4jJko3SsBaEV6xYwCm19dQVovV+eABODmq5LA0Mw7is7WSoJXK4+DCpNM7hvi5iMM7IUllAnP79uCGDpF4rH2q6rLDdTXVFrdv/loZyxGSIvN1KkOFFowQYBNQYKXvcfZc/+fLsJAlKs3EzlShVl+Yot8joPJqv3oG6ZqQ3kcMVDW56HdcIQFQYXX4Gk0skv9szszge/o8XQZNqtQfdKqfj1A4rJd06Xce1BaqmmXHCm7dN+Ud7D7wpUakz2O57NlAeMG+JyH0iU9ha6+9JyEcICT37vajK6CQtwsONrzTlZJLhJr+0vlRBcC4ZcDVOOP3VEtQfICB64hTgGBKbP2amph+L1+1CIxjbtlBC/CTZE/7PDB0Yz6osRIvOzhBGxUp90AN8MAPY9jJTptjrWs5hrSXHeeZDOezul2G3XCd9ZKWao1+p+8bueuO7gA7ItYhnFxQtaVpaVEGIZWgDnV1k45rc0vxyjmmf9CJJl09iggZa3CWLOtx1Wgf4V7o64ReRqEtheLfdLAcMkb28LxR63bdVhtRAkqS4f4B33aFI4wwIvJZqCxo6rTl0dQDdNhkh2ZHXuppiIG9l8vndJPusR4t6HNK4e6oQDLVSY3i3haMi7+V+j07WQgJwAvRtYq1VkzZzyk2IbrjbKPHIw0LHJ4hihuNm+uXq9gYJNQyEIZMMEDNrTj7idCKs2O918VrihInPlC5Xm8lCbEhm1etO1E7wRlxicHmKDCmszqwtETyeM0nybGJHuqAwBmqlXVTFlh6m/ow2dpGIP2Gie1Y9kQwlWCCFElfcSP2a/ATWHFLXzeL8IQ0ImEcEzNIYcxxzdbeXkQQSa+lsKg3i3dFAYDC/Zh+Yc3ewcwHAXVXXEWTf7PTUj6LEgwlUfj2QEtu/CR1QuN+KJM4/4mXanavjnPGO9+/TJgmMTHjrJUkkWq6IODrn43a3rV2FrBO5J8MHAdp4PklJvUQpygQYIrE7Bcc2PmfmPGksTXYkkbZywUzfe2sVHlpQt7tHg0bPmXR41wRQRhkw/jH3NBYSMhQiE3Y5ygVywFhSDzn29JsRJzqRWX3wuyim5Tt7jxwrXTNUhLoQ1VgUCqaV4AAl4jR42D4evjmM3BiRGTfB/VE6k2hpvKReJVBuriEeN5f4HFzZoIYZYKGrs9TP67mPVrzIPdXhkuSaoU7qbi99duuHh2+GEd9yWHyVSVUqaY3StVKVnJ5OsgL76hhPbUZyYnXT4zgR4koHmsoUk7q04Uha3PE9+dytWKkbGTJ6upEf0yAqP7yK0WvX7Tj7m5Ffbw+iG/NXdDi4dgTHdslcs8kA2hKOtVF+mhkZ9qyI/askRLxz/M3ELoVZjes66kWm1KvrViArMB8ak/CvNK3TckBVDn4zFsd9lVi3LKdMqlcNE3RPnY0DBuMy8ssDkR14ybt9RS9iVgCXxNjSu1tXWruVdMRtI2NxuDTpsxB7ul0bN0hvhNPPUHFFmcCGVJ4IdyyM4HbhXHxToww/4KSH+PcL9UfAhW1ak75Td2MSIZh+PVFIxYL3wkLRaN0FP0Os/Eawoch1cHCcJaQRPV93SZns5QPiXbSixi6jPnvUTPgKfWGBTUoiAMIDabnhxhW/82XyjD04GG6KHZ/4akUGjjzL20Fd+WQ9/AS35OcezL5b/OgKz4JQmHTeSBdjXFc/eZIBF2ZAOgjtXwuap/PJlkFsKcZJCY0sxHToe1PoDC/EXcWC5FNv1OajuxEWcqHZsGDxW7OLzF6M7OJaawCN3t6ykWLqh5sh8cZTmFe96H3pbiKlfCyMkJkn6gH2SC34Y6fQ9B65Y3N0GXAdFaWZaQFbEOwBNc4jhAKwFnjc4Soj/Vf27ANvHNEtWhF6WAG7RIS2fq3YKTqnxDSR4nbBpVhWtnxBGMG8M6u7HWO5fVCqawm62zPTrCaUbbGXScXF6oyOVRlIu7mocdOVZFT76whIzzzcb2LqMtH2Vl+BdQRcl86useX1FaejjOYJNgct7UwpXz34auH9mOP8zrpe82UrjdDgxIOcqVjwG+61v+vfHHUPVlNzjI+pLWGLGwxQ0Hvi1/qEYBcgRawhEGVBNzBVgBwQDdyFMDv7hGpHcGk6KuOzsGCZdDRRN0cZ4l3RiHNtiIp9vPK0J9aL1hICpNTn6c0B7/SZajhU86MGFBBfMuMJMRQ14JCjietlefNVWfJyPOn9ExnfcRpEH0f8ncrsNAVpBM0sdIeE//bCw+0zCoN+ujjAZ+tu8mKBO8bDbjf0bjPcYn4S8pKEtLfNNAYLMI1wivJh4OzHreb1EpKB1D7WNwS0Zus2UXYHyn4YBSQQtMahbpQhYsdYHP6JZxDXL+JWF5APcp99PY2eJ+DTkUWWxP6h/zPzUWwCYVUnaql9rsk1jE2eSJJRyoxAQm5gZa+iskwy5p8JEsMkXRHnHVkqjFV9TBYedCCP2DvbaxjE3KRfTwhOXLAiJefdWJNqEW3nY+t/c+ZlpEua0iQp4/MU1ckhAe9B0PKowOaYJpxlF2nwykXy8R581HRijJ9JRYFrldErxFSzhOhhsobIS07KaWD8TD6Vff2RDwNc5wak07OQjV66tNBWRQi2NmDB1G+HUIk+owPtxM15dy4ypRHckrmaQURQ0JLjCDPcAaQpViuvKndyrRLWGIF5MsZ3u8WeFLZrEJPwIZ56yZAOH6sHeko4YEIkSpYyx68zhoQmQ2V2bkEd0OnnFHhd41/4EI8MojQfT29pEZdRqrd0ew+I5QEfCA2sE5rmc4DyLtCCfBjcThl5b54D1T/i2shs0SZ61iDadzxuQKCcg+5R7j8XOh3pdY+xvr4cAArBhmv2UaOc41An+Xe8ehdQ97QUJpqhJ94lpIvicjnIeSSXml83lNQIkfkCBzEmG0qoNusV/6gHZ4q4RpSoGiq9d2YmXF4ue5dhLaJ7GRPxrigP0LoOiyqAtIH+zHniQKIVn94LpEUCydTvPobHXb98ssmhCqB1DdSYFMQmbKyg5FuW6hcepvuvBZ8pi7wWzpBdGr3qTedAYKgrI7oAxDdZzXJrRI24S0VYIOInTsr/NOGdVbKNBahJkhW5H1sC4/KfUg8hAaGVUAGgtgSGmuPcgSlJzZiMaTnN18jqV9wk+TSA7pS1BqPfLxrtHY8ARvDaqyKfw3XdxR8p0brNZE3JRA8JvVSTFWdul+C/WeaxwSWKFPap3a2swA6nOg8JZphKoKIl8D6H/Arx/LhYBbkyZsyKvVjTchlEAdcnnKMF5Pji4fsbhWt4VB/Kfiz9J91aspOOOsAfEWKg9XOOk7t6DLKwpRQj8TIRaVrSMo7qSAZTQmXLrJuv5R+jDfDwafjbD94KHBikg1QGH0q6QKNDhUGVf1sBaqQlDx2JgKCMpaVW5AF252HOI3NjZohciIUSlc05hU75suYVv5LMgmxLeUrzKMysgqb5XtzjRxBsFEybvo36ZQsscsVtGj9t7CBYn8TFZtx1jOicFY7aJcmMDxEWibpadtVDQLEIWetFyXKzmx20GFNBm0dHBD/75key0PLCVH4XcwoSb6qnRhDNZ3JmkPOF90iDOYiFWQfdhk0Rne4gB8I36PUDMj5WtQe+1MmeDpygCywGspoAyMhbHJzWk4hkxRUcPEVbN1L/KQFkreUnDX49iR1QTb8s32DcoPbWfaLQHZ28W/5y8SbmSV/4Ea+81ev9oAGimqfjxXihI6M6AJ3KyWTYrRoLWTVsSSyZTPfOWdLd6x//dDLNP0G1hn7XBIyJgn2VhgmK1wyTU06xk7EQ1IgyiU195XdtSaJvvudkhx3L8xx/+RMetrApuu/d/1l/fzK4qo7PyczAeKI3SNjNmfoGmOXZe1/eEHKfnjdHLjgkTjcZLXgoF5YpeMDygjBj8U7FH3BTEnhq9/VriMlRUoBaZYtHvm0vrArjZG0jWWdCD0+AsXiW0hBHQKitcel+KDbZsYG5km6ntaaraJSEyB3uiVsHuyfQTl/c9hDjYwrYa7alZb8+VMYivh7jlFP921Ein7t7ltTlvB0yrTwf0IgW71NJwSDk5vcdIeg5FOPnkBs3Ki1OmkivFOGmHRybq1z5FqGN7oSaTlVyQBU5CBS0pX0I/eJ4h9V5TvSmxTp9+pYWP60CILRzD/UkUago9RBEhALrDMrmJniMLC+Y9e7PZOAoA6R9LaNLK9PtJFyFkKKRjhFYTUB2b2lN/28z3XZdoGGcpEi8JzDdjboeF4RpIsxNkI2xpXQbSfovuFI9zDYWi9ode9vFmkGNfNABloP0CqudUvX4fDVJU3nfH3SZlhEYPypqD6GfTZbIRoPFi2k9YaadXH5EOCCOTSbMSle63ow8nCF2A6QwKbWvLmKmmNB1pBY3y0zBBNgMCI7Al6w4tCVKo6cf4yt3LSwKHESccfQtijv+QigmqyVqswg9a8FbQ4p3x9389feFh66px/mtI7YyrzKsFBjnLWI2+H4kuSN2Msd1DDp1rJ11HhyuN4dk/XCa4J95Yz5C6zwA3lsC7ccMeGPsEPZ9bP0awT9ZHuI3XOfPeuGEhHfYiQN9NDLhq4GBAvrIkPhpOlQe8iunbyHypy8ZwZl4Hmo7Vga9+/02kSBglEb3acSt2jBg6D36QibGWMz9wEWPzNh85whrE7MKtBrsRx4aov4pqE2WpLVk5eqtdyGbMZRXy5llVPg4J8Nt2Do0qNYwMv+QHld3RpE752MvwaJ+MWpNU+zAuEtb6uJput878daabuL1ZkucOeQN1AX5HbRIxLEB3BmiGrAymWxUQlcQpG7RkX2QjUNbUMuzpUClin8G18DXpTtZAyMZWWw6Qb7KZj/QU1sBz861CXhTVK4eAfl31SQds5Xpqiak5CjV2fk1W4vYWKZ54KBY8MYZNh7OfNS17tCMU/bxVcoLyd/WS/naWuRYVhwg+6vh4Q0r5r0IP1OtNBFwNuF4CJtX2a1kZyk8zBNDPskZ6tMcC5N73AC0ISCZ6NzTOYNZjlY3DZGgyiASTmDoxFDtrpFTD3p4vL4yKXizTx1EZ48zqxVVeC51PlvWUXR2h/0UgvNj/2CDaZtien8w7XU3wMoJxFoczxM3/Q7oNnBP3ptGFtJsPEdRfWZiGiT1VVoJbmEgJszXsPe15+x1s7YsZxBZn/pp5EkqfHA6HB00fMI1MxH7yUn//WqXb4T4OMWZkEBN7ccpMhqZqMuPLplUZRJuWx9grZJbVBVdWDMkpa1QI2kK9+RnSAtle5oDB2kKG/iGeFW8J2hyQzCHr7kDTjRkF1fBOlZ9AgaoQyubR4H5Rvf8QC9CUkiaLeJrgNG/xzmxo8s3He1xJT+TifgcsBOtl7LTv5r18UDERS4YOeqsyKxBnACdkTQO2q0LC94U+NeFUQgEA1SXcGupqsQIVH22s8y4gXULMeWDjzbV4s7n+nphHPRdCgmxeQoe6GqxruEVz8KkuerzyIYx9+vs8N1jH8JTGAcg9vGHC3U97TWwV4VfuUXepeQ/VDjtzAYJw6cHQsmZeG7q0LfzTrS2nQ0Sd4XDHxFbBSRGn5DP/z1UK/wG3UbGpf3SO8UUmXHXIT8mNwjjBzH6Pt316vjsIWA1rckyThQPDIfEVmJTVyhqQaXtZtwFsOJB8OzAhzp81HLfR/kYuXsXzSjKWroT1E56nKlheZ/kwG5zJhXfhFWZAJszdrr/KZqAZFevRlD7Hhg2UZM1wv0clYc/saT+oJcjCVzVCNZHIJtKEKqXYfMeYXzYFyjpW3so8/ZaKbp3zW642lUzHUI/2vpnnS0VpHcdxQZQIO6kAUvZvl0koQtCt9w2kzAKMcTjZpxbEZM4tlDYVzH18IlRPl5LdG55HSmwMNPuXZanyLb9omA7xduNZG0Ru30hcz3RoOb8saUsNrWxJSTwHfl92Q3Zf5bDvzD8nXnNY2rn3p3uCm6/VWTQ5ZLHMu2ObxDsG1Qs/3VE5++foc6zm7Gy0z54mnsTksFbsxw5LIt+ONK3gz+mBz6/wMDNYN0i2tv4+a0AFuA1KTkrUTDiRvaA2WbophiYMZUo0IN0zCWsn9j5xB1zHegpLjFdtEJxDVfuLoNvLAIySlep04xqBMX95umdX6rQ0FDwEAttnWvJNl/ZGEDzdLX2VXlhUd6votFJarJfiB2WBadUWzfFTXRPrB+K0mAxmemFbccIU4Cy3hWGMsVA7e2be+JmWDim8Z3FS/+qhXK/IEUS3aWUf6KFLQPwMT3UOXodJSjFdGlTyn4RgMxW9ZL7tJGqWA+rG6Ig4c0N0XAyP6vWIz2cuomdTW1A28C36d3r6fhd1NxpGYbtNWdStBXZnaLFEDyVvJUX7f/e0hure6nzYWAD5kGVygBKdmrtzh14YeyQ8ooEXLuCowoEUy2TgcvMUork+Oyewd5co35RNJ6y4v0RjimhCBSbMSaO5V0iLuFtE/Wbf4tLMU6YQCz433LWXQyYhkikRG3V+gqSlrZejGFKh96PyuSx3SXdw/kJ/qqn714op+SlsdPNhxDVKtFmIID7CY8nInT3pnu6vAD18Wc+pXUqsbaXvVme0tNfkn7R/GlKaz+S9XTo+Cj6taeVAGAapkK6PrbgKrMU3xjgZ/DCBNbkGVcNSJsx/qkwos61EDZyk/mfMW1PEbNNtIu1FsyP82LLz+rjkUnO44zWsrMA4ExpqxNIq04ZzjMVi96kLj3uJsGl6rCDYgvGqE75/sqQHTLV5ZQPq0DIxNjmE7Lde0CiWrYZGuhzBm11m5M20NAxYMKmwqGWrxTmRUUdm2Ak7PH54Z1mm2ql1UMiLjhYmfsIYQgog6EZEf+c4M9KKH/g55UMwwZIjRcXNt0eJvxJ4FRt2Isj1WxkBFqKU+Ea+lfCEnwIaz1VNna/YWx//vLPG/0EkqT8Mrut4Gtzh47Ge3ErOycrP36X8Vdbs68R1P89KH+aiFiIaBGceGVEyUEMx6QKW5ZzG6+QUXQNB2UF5dAs2TD6iNWvtcTWh3ZbvFoe74tCAsitHLK1Zk1rFekYZBs1dXGA+fB8n7QDjwTsmvlDaxBsvART0JvLSxy5cV1ixv7nMIDFJi3EtjyKxfAYAUMwNPfeFfAmCQzAZ5pCcsdClyYvUFDrEP3mJPdh4SUpaVC1KUMmOr5T1qZuyq/YtxYwrM4h06VDElUYaSQ/73uVss0WjJWSBX7fv7CWX7aPIjwQVpzDq/7zGnRSYKxDgp648aIcN7secOn7KbYs14uDs1VKccv+Wvtumk48RZGrKOzv4N3Hqj6PnTFC4fGBywRbe9jpEzhFYiyr9aN062zwcJDqeTCgTyhIz+OjSTt/Fjl1mnLMAfHMTkFgf0luXZB0gQ3tqF52pHGLyCJuserNlursbGl7YdXNaeLK1fXUw7D3vaZvpCQ7/Ddj/HzC6JTpuHGmUgEcGIs3vhm2T+OxehtVr0SWHjbp46PBXwtDAbGGUX+Ml3GRJdrV32rEJvqtAbs8x/DAog4XIwzFwhYZgmiS7CRnL57NdGiDSjmd/42H0WrkUrLLvCrGhWjSPXMh9dYKIPLDuruJuU+hsZQ7S9w/++bAYX/3wBzkdnnNSD85WIn56MGaOsUttStZUFQFbR68A92QNefrFmZjtd0jSMs5/cuqykZH78wvDKZGLEtxWWrLw4/XZJP7yiFIh0V4abcWgXNP5eIADlVAlMVLnXB+DG9YhjuEQzLeKvnVXCtGUIj7qeIu70DVsVgSpepMNZ62L56lqjMn1f1rClh8GToEGBGO1LhvmTcj/sVSkIm5g/i0aN4p9wdSWS/MHBqiXNk7m50pOEFt1+njRMBc2kcU1pCgvTeg10rOKlwEU+Qlh6/ZCj0OPUbcng0movXmGiMVKjOrrBwX6vCD9fQRKZNJRmtWD8Rak+TvZKTqcICbOnwlmbw2dZiBkmDCqJhVy7I+0ijeLf+eS+cFHWxxwFWenRLo0bcZ742HQJExw+JSvhnvYFMQUmab6l0V9BajknOHR5/Qoygve94RiyGEY7SeRUQjS2R6t45dBNTlMWnUxBwyCNBZKyHwLx3/TrnZPejbtDIonYSvn4Z/Xkc0RbtRhaNLJ1il6lwpzY+wPPiWszgsaVo+GbsM2QEvIdc1TyhuWmMGw7mLqV2P6mtSvNOv1THVPcy2NbqdfZ7yUb9RSbE/1LGWqvYwnHumUTui7rf/4uzRlYGcyfhkQZKaOuhXFA1dRQkdDpYtny9O5UMn7mTWdTZ/tgix7J9K2s4rKDetIWAdlYfjsKUPgXTfldUcL/fJQhG6TQPLRk+bewg3rZjNHUKDdDoLyrUGIOSj34EiFGfujT0fUD3wGtbmTDHwJonUpPq0JJUr/MAqCdc+YEoD9+0fTGE/UQKzeeG2hFQGdnmtt2W9DX60PW9udNO08S3xi3NOuAEjcPspdTXBw+gRN9l09ri/KEaglYEOEBXXYTwVEp5f88QCoEsFrg3O2Yn7fXj+NSMA4GahA9QbLJijFKg1OXHk9C9wWq8KW9NJzaiJV40uxWNC3hocKZSjtkTkigKaiYQ26hU0i88zIAMmJlmlvUYBL6OpUe/3FDQf5H6oQNQLnE4NqmA7E/nG5y5aBnMG1IZ73H/2E7EchnjoydCrSeCqiASbfsXNsK2N5OlHvIcVxl26E87CLnV+xGka9bCJMiw18y1+b/Ey9JQFLm57N5s0uzApwDpcIax4DBkVEiki+19k4GLyAraXG0IacnGSh7OZPHzvKqDWCoLh87haNkghJupyerxmHx/rSRS1sWLUEE7uSaPAjUczW9AlSMW0UIzCE7v5xaURO2N5Fz6YQU5d5bjEdSYZhaaWOVyleDL6w9wZZlS/y//E3UixuQHTDB30R4NfZ+Vzm8idit2gXgeknqfE5DRUw0ZEorFO9ApEOJOM70Eir9qGKrouAX1fCVUb+OoO1p2695dzjD3Z72j/6EKgZ1AtF7I5gqK+JE7uT1v3Q1MiKncpR2DB0q4rT3/2MBP5fPiF8ci3QEH+m4GktrCG6DKuUOTzIutGiM+LlkeHW/n22SDZT4AKN/k6nOkmaOTmhtaZFJzgdsEP1T7o4xm6N3+9OG7B0zRyHQNLbna3rUbMNFjSCSYS9VbkBtyQx1H9s51TwRVbnlN3gZXoFcw+5R8b5vfHdgbiV8MIyiT5s/QHqSMQ8NaFPuY/5HDQ9THXg7tRRN7DPA/hYyBTUVLIIIBp6Q+TuOp/Y8snVtQ3v0TqgzM2jR5cce0lTOs8TOug/HaP5xR6/8M6Knq45wvQSqcnSqraZ0BnPSdJRfSKwvWHV2CV927DkV1KsEBa37JqAODskDXuzz6MSqnYLl7ljESfUttXxkiXjhxHl6hdMAzXBGrD/JKrn4vslR3Y+94rtqQ7mKLTSF0yJh82Kya55fR7LmRke7Br3UwgABseI0jFXVaP2ixNVZy0Nf098wsbuPV19tdRoRj0t4sjBha4zykdWTiP717NgCZ06acgiD3ZmUoSSvSvYn334xC+qncBx0s6Vm85x1vc+gWu4aurII9GbLx56l3b+XX6rAQkoVE+0jL5F/XKiJho6+ml49Pp3UGGNQl6TnNArjLu0xDEn5n1VpOXklXAqL1Z2pBXpj9bihmpB0/c+qWCAm0IzixldUrB0MlLsA6exWfCeFbT4NIihFFvk21dP9vXX1rEQS7ogjQzqZU1koXzaXh15Wtdf8zmxzFCS4oiG0QaQGr1ng8EQrf/f3ehn7zL06IUr1ydmqkZ5JL0w2rg8LZ2O1e6v/Zxpp8lJOvvpZWshimsuWFf9qGwhXuY/sZJQAB2hglIAwKTqojoP/eE1q29ut0B3KnHRZ64maVfD/kOfch/KPEhGYy/7T/h+LkNEVM0fF/Vps1qUXbDW5La20H75K0Y8m6/sKmaJWIOb4laxYcElwOMtrkW8X1TcGAhhQXuHHdyt4Ih5BGbqEnP1HXQv/3hJ0HvZZq53YgmtQwBrxxaq7MCtrzW0PY9i0j/ClK39AfUvc4TFWfEBEOjFKQ4xKXHhxLG7oHXPoPAKz1OKhQKMBVnFgqGZKuHnNU61RrvtXxJqUa6Z5rYnCGLB/jmeqSwRv8tCbS89zvwJHnJQzv/cDUqDatyAAWzvUGzxB4ZKKhnn65/vHjRAb1eXzoqifwmo10+AnQC9BmVMWLOZdOsWan+MHbkI0Pd8GKw8VkQ+0IPsOBH/NR3yGHYARq5tW+oSu/YlH+YnL0poPjYIMkhDPpMATQciEpV9sFRxGNeUX631+peVFs3gHYBewQuAI3rlzCCSVn2nuVdrL5oxWxcYfXjSY555tOaiZubwIpO5HjkA3uOq0IvYvx6e0+jvpR8cXfkG46Xl16Y70NRWv8lOOc9ahH1BtT1HRZDNADKntrASpGJZet+m5W2BrDXjCbJRolCZHHSyc/KLTiKA5oU6CmnfFbH8WriD2qVgybtITYKQNT9jBeKc7fgKxR32w5zgCdd1uFsncYFAdxyac+aeucLs3VK4iBHwLUid9UaKEFqjPsl2QKfWM6Oo0bvAbXYjWxUCkbEI4AKokHGOd0RKDtyA6ITEa7nNTeVAy6iO7p+l//MumCNRpbhH82TXhEWcsX2COJDl3nERGe0XJGrS3eQhM9NFIa62y+TPl+9aMRbifouGQxqyiJkUIZumgyfod0YNSpQbOp5qq+LF1ar8j9W/E6IkS6OCfGvqegFdH66eQKGsVSBXom9IppRLrTzIwPX1ukoWOlEqwLBtERi5m7TN8jtrBjAgLPv1nK67FynfgceyO/McgftOhRvP3h9+Pe4tXkb4LKx+LpYONoKo1VBUDpLfUNmTplnSlGlge+PEk9M+2mMYr2ZkT3qxDrccr7C2Fk3iyJBaJOs6gN/WyCZxdYJ6uG0v0mckRrocNJ+68F3OL5AC6gI199XW2x9ifhTbU6t475jS5nUqFcWSB9SI6cCpaPgKbHYmJSAndVS6begr7evpo8kqdTcv/AZxbtdNvhyxQAUwSqgF4WmFfFLINhC2uvebXReb2f76a+r7irWnArgvjAC8074pMcWEPWYdvPWndLb1ublsyMhGF+JiMDTZcNnh1WxPSbQg5s8XlqJWruIg3psn+zLe4xli25PchWN8d0e9NCKsKuSe+HiMaQ6SWGdwtvTWeN0gP3lPN+Er0/Y+/OyLzZc8ft0SY2vVNeaM58S12Q6cSLFF3mgxm54GT0OeUU7ig2T6KLuyBHOQHqh6rbC70kkdQwYmpE/XZzGCjxkvVUmZVXbXk5+W7gEPZ4bRE7Jyg4N6Duk6sNDlyDMEGk/3NXQ+R1GUK9Pgz9+w+kcB8STsRFaJPBB4VEVb9b77YQI9Smi1FOO7gXuV5d9RLRTizCtX287T/x9eTSTE0aS5v3zYYfw0QocjH3pYNKZAps+oDYdQMfSpuYy4UryyaqZY8Pv6VD1X8UP2yp9e/x+DFyemljo8HmdxAIImcBUF1kF6sT2Q8DV3LNjV4G6ce7fMje+bH+hArIyjRFCU1WvN69GnHka7x3I86ZHD1CIqgoCMN7MgVJx8Th4l1vXycelbbAGMAGDWz6aA8YJcpBaQrGRwwPaKnJ1z0Y1s08ktxDoWV8C7bQfCmIIDql604JlyxK3pVF98IwA+WzEE6rHFhwb5kmyl/nGhv2+htf9oUu1iKq1lO012vNu4aVoQroAp5rKMYjnNGS1vOOhM7udtGrgO4kWxwfzT9k2BifTh6uO7d7gZMordG1dXORr1vAG71aRgETjW/Smt2f5NlCkoKXRV2LXHQPMvh5jyztQvbqdWq/JIIVXaXOkTZ1/KwHl+PuPPoarBrF1LqyrEU+T014hY3zAVS32GolRvfjot8iFmxuLjdsAkeFjfxgMjQxXdnWdvntcZzl4pYEv5lKaFCXrQfjPbk3XBAv0L9hdlsYcRi9SyVuWqWZTpsn0wbo/vkZQlLd2iCjXxc1CFFlbf7aafWzciWjrm92MtlRVAzE3+bfZ5ffbt7T+xp36zDSpD6rqAxbtwh2tRz9AF96THLlh4frjo84mYlQUarauL/NaA9GeISOeA4yxpQdhS8bFJSKbhqjcf8Ocaf8CCywpP+iOZ4uThKuftLfuWk5wwAiCXH7yjgpuh3Ysb+nC7f2ecY2laGE4/aTN64ImdJL1MdBwRJviECIbMQNbFqUSPmx0iOHYjpa+DVCgnqrOfjw56T8cc0zrCuwW5HCcAlJkTB7lZ+w9uHuvPWypcZL33HsHVkCkDwLVZNL/VNCXSl2J6n2J6u/HbkkoI9zAK51/ccWaPVNGY/tlCFZtFLwHli0P/AAZVLAN8xq/aNVHAG50WXU7UWIUj2YMRCnK2uQpLgZLvSzMEAHjpRy6E8UjinY8GpBKpcWHqkf8lM9gvSSnJevj4dMcI6za6F0h7EWVU9k9BYb1M46ybE2/B2bh4yzcF6MixINQmlobVbkUwtxXBON6z/MbuC2bqzUKfslMNIP/5kER8xyzw0VeqJPiU4uCLyYr/CU55RC7MZwNKndIUyBjl+NjhfFnW3KGZiBMeWXtPhZTccfTrKxcSlDVC+5l6+SCPQ2ZFiMeoQVj+VkZszcTiHB3nuL3Lkl5FPs0jDR8TvEcgu3meRqrEYmJdaMN5N9HCdzXA3b8r6l/8p9Mrv+6qmt2CPzzWfiS2L+YK19uhbcTHrWeA16Y02nKPhXNqXPoS0w2YYpbCdjjyiasUu8aamlcse96+RKobQlGQmGzR7C8AIk8v0j+XGCJBsBkFYATLRfxWtLLRJmomct/4Llpbni0PRGiOE2tCQg6/QBNAMOCiTgj/+DJ87ToCAV7wz4IqTFktVONd7Vth6qVEqGXqK/YPO4MN4XrAKGckBV5RD5MEB1HuIBtUtG7jQlr6fghnSgXu+OypFZBBKCQa3H45P1wUtZuaUPjvWeXVi8X40aaj5DLPgNySuaHgyfcU5YJ8WhTAa02pR3ASi3WyGEZl/MvUyfoxJWd7OXr4oEmITAKQkgU/360DZxb7ssiwpKwdQOBbhWzsdRsThRQHqyMcThL3gTIlgYD3GK7HqVLHBkfqlNpXFp4J9N+8xhib5qSSne1ojPtY3jKy2y054rhy9SymNSgMW8/vdPDXkJzQyBCeqX5gSyvUJP3yjRbi7mfC2sZ5WCvCL+K4SFaRT9AxLshX9GFEoKQznoYi/++q4UGIrsC8RbOAsKqMXd/UKTs1j+yu2+LEjul7T4Rbze6hVkRnvK4ibStvMQPTbY+dkfYodUNfvVGy/qXu/NoyYF0K8zAXSj+2BzM9184O45qEz83KYhiJ71+FRSFFWBxK+c7lavZSE5dq+6eaXP+vJGa0pgac7PSJhMFdX5RPH8zJpaSfV/Hj4nkwMilaBz68kP/sMS6OoJtJFwDnYChKVVoEGqFqXtQGEjB22Uf1mfezCboLgUjxwOq4Kj/BJt84fgsKZsvrcxM9/cJLMUWOAX8gumbI9rt0MKuTzYs0j/vD8FXVIGDO7IPtK8LIfffSs8ZHim+cZQpsXcl7LfhrdpewcnJllycFyvmLE3zk/pAUVqMaNTYE6pBuaFrj+PHcXuAOMZZXlKM69Pmm3aIc0Cpu/Qj9UYTu0mKN8BJsG019lttjoYQ1RPRUncg1kKZSM2MlIL2Lnwf4jH1vsy/6aRYCP3OW/ET6VbHuBqKXguslCDKsWKQSPUm2kmwxnm2shMqYQF6rEyI+leUVnFDt8WAF+AHOaP29Sz8dhG8v9aQt20CHJO2jM25eZxrcNfJwqpo4Qqlh73P47cAJ6Krs6TANu/xZr5Kk0AsGFgilIMPHyU+JLc4oulFtbZ9IjD/Df4RwGc43oVe7xWBFY2GFOTro7FJ3TkKbG0idoxexMEuuVMhfPUeJvTFuw/XldL4ufaECxYN2uIkWtMi1BlZjf+585xrEKHauL+gEu83tyCA+sIyibFNaSCGCUFesIyS7JbNd+d+ssuy1Uw/Q2Bs+2EOU6HLboIqf3whsSaxS0/56sUJnwhfsi20zmMDIQkCzY9oMXyqb1xhQqPKIcEXnxPaeT913DunYFOkWXBgUGdKddKvIeVLWOxXYI+8FXPiAjU0WXhEvetPHgxn4dGUqE2HggUqISYD68Xl4VdAgyrXwRgEVY+wKA4eHmfaUM9VU6VY1jwGhwZVzIeptQgB5ILzV8eDvsC6gXNszHtFXM6IgJCPjPrkLe74P2E5kPe/0nBx1GA+zlU/2Fe1pLW/Uu8/IvokL8gvh7bnJ9flOMXTPVuGMC2rvA30ntbIQ1OvgQpeMwMibNBtA5XIKnLd7GNH7TuU2J91a/45nEcz4NNam9veOj8PcYNyhomnth9Klo4aHGU2uBXjvLOB3s/ktBQUPokUX4jpFPW2M0JBCrgOrx9YQGOOh1fpEJZvbu3B31Wu+tMI9caVcTrDaFpSaW7fr57lbpwWlEAgAQx4sBdzfjECN9n/bsty1VJzUh86d4gsWetSKT4OH8gbfUSa6Tqqc8SP/pcA4Kid2lx7nTBZbh/atqDzjdTT7svntej93mmtNK9CQsY5BsqgJQ0QEAcpX2VVi2Qtjg7kZoZAvmhZCmCz8RAuL3JUmkvKRZWKDLRkKOm/EOco7u4rZLtG6r60C0WTM2le5CYhnpO0srM3l9SFtZ+FdDzoA22uQRwCB2OP5oMPbVlUGTRZyJj11MSYTm4KJq7aMqWDBr7SGy4jO/ZC+ZSQ4HgUDw6Phv5VplbsPVO1GDm/TFntmwKz67mZbER+rzSk6kTfkoPFyho2KOsHjh2cEGpO9K4F6HZvAr7a3rOA020orUqvPFOG8HmCpm9t5kZ+PUXoX2S57BVHtI93nYyaYYmwcPUqM7kyd1GijnaSiPXUmPV38qRTdFl9+q7bIj0TvIy3F3wnqBr9li0hyOXa6NPvQOU+WGCqq4WyM3Dxz9PacUpPU39W6aMEDh0ytKYEGDa9uZj/CnjrqBIJvL/YNml572k1PeKjvGzUZKhpYelqBcFsF9VX5qQ2VMogG2jLsb5mhrqM2kKigLJ7dbW/2PLLtHVzDeETfvPBZXI/CjiYYNLjiG7GfChJbJPT79BA37mqGPo3nht2tLT9vnNy4TUI3WI9reyfd2JZ82+JO9pQwhXGVQWJoUYI31zyuYzYf9HJ/CBj0+nuYzV6ID8K2eKMRzlp9Vb11d2o+/hfAUiFW9TgnPNp9lF2ty5YJPd/ipp21qz8kC48Z5Mh5u3VB+653Qa/5wxAwbZUALlqa8HWZYDPFssk/RrB8T+Ul7+HuxpBQzHPpGLzfvZHH/ZMJcZQweQLFTWdrjvBarUNCFdttQ7NVmqoGN9Ga642ctpaY/2xW8DAJLWzzEOGTXi/0vlgTqfVdWbrgVO6rtwFreN9owaVQQnc6er4y53AvASepnsbQ8qDxUiWMQBIiHYid0CZZR1GA7Q4DQtyPmGjx7HZzBE5YLAf2ec+tQZDk6gkkiijuApa6ZCYn0Sxoojq/fswoBbqvr7O0hSWF+rWlcD/ja+heLmCDtnNcq23ShmMa/fOK8T7fpgbbpHykyl51akUdkbNqsGQk9+JmOHz3j3CqnlUBiNcPQ5EgpdpY1qhbRduoVa8FOVX41Owoirpt9ZwGiwctY5ou+zWlIL/67UY0hxnLeYxe2nTaChcLBR5wRuB2uHreor4KlAKFHKGgjw2GhFfLhVF0tAloqS7GadGG3Vg1rd5/UXMnqLZJMu1uJm/eddWY2dPm8uInbfxhHMeMCTFk8vg2QHZIjVJ9HjORzK9r8SlI/JjSQNDFo/V47Ix3sK99T+uQ/r50w8uDh/uKJwXjj810fO7kZtsbVoDkz3PWFHn1eE2eHmjjFb3xSul36xsSGlouKpG4FiPA2N5DKvH7a4SmCReQkNvMpzhZPvJGPKmuXD3BWv4lPmyoC8AoBfI1s8j5DBuYnJ/7AIlMCGJUyMpwNvMh1p5FOY/SkeVG4yTx1fb0wgTIgtiSAfw/69HkKN0ngli3k78d1z3O/WQjhnb/g89ExTwvJxnFXAnus48Y1zvQLcMuZ5gO4976rnqQjjQu9LVoku2nuDga2ovnLp4vapvI3FSYWn2NYQ0iThLmdynyzNaiR7r2erZ0F+vtCwmT/hkudQrl6neDwM5dvU6GH3/KUWPwjzEqj1RPDs1IYWwD9xI4fdEY0WS+zCyEAZUMjEK60RZ93ZB771+sjZS6KIe2is6fRwyTiX9VOI8OTALSINSPpbBRVVFvQGpgT/hND8+mwiPBtTlCQSn+udMxQU13uXMd2jHIglKEFJyXeyQzMZjIDvqwFybWIoUNxivj7R+nlsP8mteOl2pPdXLbXepXUonV9x2eai3jfjTD/Uh28NDcuXxLFWzldTOL/Ik/2XA5pr3Kl0BAHT3AMy0+A/dcCuZxfCYSJULWp7SX+RK4+h4UBMRn7dRn87TDAwZ17DZehIdOXLfXvt0piIPM6+8JJas81EXz5yF5R9Frl/Z1pWAxYwRLyHsVaIBJI3hspqxGQzUNrxsq0hmpCUtMPdp8TYIJ05IyEb2d+oOTxHvKfLy7eL6ZBEIeUP4MofKB0B75CNFd+WyEpOLaDbnkiBApBamb/fTW13OCIEWSFkv6MOPFgYrqNcD5qzmWnQgQqRFHwVS1ilO+jPg0Bornpzdxc3EM3Ux1pICHuIjDTgYjAQK9XFXu6fTkWzkB+9mILVxfnZ8sepF2ow0oXrLd7BKfdJrS8MoYhXa3foOLXRcSo7LshqrjzuOPUj/LzB9O+VIY1jqypDvOI8SLRNh5h5qhlhFfN1UfOZmdB0zYJoGGHVygCYr974Rx4kvA8KhGcce3LnKz5+9CdVu1OMdn+tMVmF0+hRbOR4sas1IW/48troHTTmiv4Nln8sZMhw9IN5k1YxRqECgdDPYYX5zbsDrohIFdAFvZd5wVjknWiPZhZlw2yd9WkMZ0qZX0CzPrRbhFru5DicFUi4KIOjVVBSr+Xnddqor/wjntrrq5+VaEQ0EUpVUf++nBEXGa4BBAgeWBQnsiHHtIpVIPtOzKDoioluE3bT80V5poSE3K7PcLN6yKXIRIpTYaZjlhfps5a8i4kETzDIkkmSTDj1QC1NbezDr1NDVRNVFfiY7SwSaewDtP8QHcxlVASptz7RohpUTe3oZdC63XlAO4RErUVM0Zgvgw4lEaCtxGEodRJNo1MHfvQbEGwyIIZ+4y8+9aTkWYLf5QBcLrQw+N0ptu9ssS2vUG9YwhWkxC5cV+uBGdHtf5ACnqItdJ3c4QH4LpC2htDO0UoQJIOcLreFpreS97xzCOO56ptMdLSNfYMSv5csbC/4oh/hWWhQpyUnqvn/meRONrajefsspYCb01LY22TOahuTjm4/JUY0+a1RE4Gsstge3aIAm+xDZfR7XUr1TJ7Iss8LUGsJQlTBietk5ARMEF77uVzDG4DEjQRJJL5VD6gkOJIc5Cjx1Y46ajXN5LSdsjafQNHyREubKauWWz3Ske5N+GucwAYCCX4SLwo3a8hAK4DpHyHJPI8Dfbh860ZF+mTOyx91Qv29WxhsiGVUf4EsW6On7oYVGtunPnORVWvPhVbHBKH37YY0AeUqBFn86T9J+nVuX0m2KHofJhkyksdC1T+rDZUns83HVSHkuBalwHKsWtNs+J148oNNgycCJToW+HIM634sVQ4gokajaUc57ppafW8jj9NU28honOjwhRIPbKruOzoMcKGvmKfTSK/jLzYfF/fBMxNvipBrgLkTB8vwVs4HcXULLS2BpZlGYtNG7DT5ZW4sUU+DZpF2caoJZb5G6TV6SWrcMxBkBXrKgmgbJJEAd1OOY7L0LmOw0OyaaamWMxee7MDRaR6rwj8xss6J/cAY/XRrj3IOYdrYLIUp6TMB77GWrTo2Su+/XRRVtgIWeM8FGdoB6a21qiiqtOiWP2Ew3krLa4NdXgNsPmj/nfufM8PAzxpdG1qB5dDJBEHQXeARLDzwfhniV/h3EehP70bvIxQZvdA6thOe4FZ+DeCJY7TRLmyuocG3e2k1xMjL+M1eEnrmPoADCcPZf+HWZnVvrpoWoH02LvsPwyM1O1vUDzMieZacW6NMfAMh0gSZNiCTXpfm/7ZqoVUQYwNPZ66nZUfsPZAb6tXXNXiu4V+aa7y4xvndIwDjJ0XR82OO3dvCygf8ADSdR4jyovnCZDGf/z761b0Dlr5pD/+AecRrFNHjRZLV4nsiDcoUSjjUCIxMlb2awnirfYkGZse3GHoBOxVELHYIUZDCnEMSZCj5nB/8cNmzKg5uaMGcXTquE4MssXpSW9hvVGhjlOpXFIe5dcMa3hyeuzSHYqALvEdV4jso8CXjDb7tRpvbKb16Rs1WWthKhFK192YqmPGhHtEh5KPpmryXYc5XzzCkxSDGaCrkVhTqNEbVyyxk6hbXDrn18AsL+Zuq83QUjy1eHMHmq5rmFsKzIyKlXAe+XkzYo3tTnFCLZiZAPxu/9WOXod75PCpa4zTP0RvBoEQtLT3P8U93XSsREuZgR6ihiPuHzw9ieCVoI2Gs/Qa49GBFYh6Sw8zAjrxWhFxb9emYfv79mXp18dtvr+hlXQAyv1g1cDbvxXZ6K716AOg+lGjawu1DiXIz179V4mR4s10XD+xozoq0k/HiHjZN3nuHIirmkceBLu8gtzLyMtyhTTgGqv3DvbjDzyDpGPyW1Hv8/b6dgSBhliNlYj5M3ELNKjywwRcAqIN0daePRbzikPWF3ahyvIyZL71Un64fsIeo8tjz7RU9IVe+rp76r3v8OF8HscaWFofy2OJEtzStWaD6tIDI6FrXB9n2JxZKV8gXUtLFYFuP8t7anYvEC0sY6uVYKXUy8WgSlmJaF6Btw5pfpuCv0C7Zx5ZuWyZ16vPY9DRZ/AFf7gVfddSY0HR3VlwEt2UeCr+Il4VjMWABOFximBaA06saORPPUeQoAu9gFo9umijTzvicaqqLA5fjjr3gALbhlt6wGL5nCFSSjjnO6Fja2DXMdYXNVmelX9cvf35nLzXOMr+uP8JnnYauXeFccdSdNEa14oU55j/w/nSyqC0xmO4AMAWeZ1PPaQS5zIhGFBPAXImf/6rk6fCb2L8hOOCeJIAnTPumhEyIngRXE7FZHpSDLwdWpOKRviZ27f9GLukrvt3fke+qmVDRdA199PVaArnyZccQ4yZrTSw4+GdxwnC56NRWkhjEUlAxqhme/WlDvEzOFFiu4lXT2pGBR7iIAtyntzGjUTzbxi1+WIGX31pmE9jWxpy1gaDCDVvGotC88Y1kD6rk8PJMMjqVXgPMC++A1YtrUm6RUvk9X8ZBTZZm0F3IUYFlKmifAyz1cHBPteGuJgll4T1QNzercKL1OSMeXbQ6VxB2V0OM3vXxM4ThgQRHMQEMBLT/GTrCOrFHb/BAw85yfRDgF1yAFrZd/txlCp++iX0zqNOJ6mVKa79oSLKjjvVAU8l1c0o0GTaiZoSUaaWWIl9wQMSKyAJ0mEz6s2Ye+qMbbTIXmSEhbv6BliQJzWFLf6ZBzy2pASJyFY7Q8yqC1iOJpZxOqKkl7K2Mbm/xr+t52mkLFnWpB047rGXIeJ8qSOyBLhTu1G5mvmx1lGQ/0BsuAjHZjbAWqHd1RR8ghwXYX+zG32D8np7o0xOnB5pdgaQ/R3ez5qoSGG4spW5D9Quhe20zYMzgfwXS8/aL4rxpmwl71I9yc1OCLlOIUY3cT1p5aQ1igrSkSmJzM/wOPIYWWlhMNmA40fC8rw1QF1Migm8kAFyOpBzw4UNCKep4baogYkihczVeJMe3yUbG7mvKDulbdhsM1S8XlBmdoiVv7Cty/8e3R52YnArUgfoxqoPucF9kIDuacGy8d4b4XzVbhrLuiHG6En5hDlZrNtxuozizCctMVL56PgbZtaOSQ7rqK2KhcvsNJm1XxoDdB2ACN9sanH7sUeSx0JVqc78l7jhUudznqIYvvTQnyiKnJpCAR4i5hpkTPL9dGT7+v5+FdS5w7bUyIxSUiAm/HJwdU3Oe4xwwLniQG3juoj7l0nny6qZG4p5SDpsBPUbnMshfOMjjVy5klcEoRV8uRKPSZ0YVCuXX7dFARrpeMzgmmkLEG6ouKv9AI81TN9/3S/Wtl+GibbLjzz0RtGdywIiJ9WqEdcZcB+FHpvkK/GlpcatqkH/KQEGfGW/R97vNv87WvGmUtTtiJ9wlCZabUEVPdbOhGsTCUz/v3GqZcsaFTAlUXVHCwPtmR8rM9SxriV2Qp5Px1Pl64j1TXp5o9EIEjInh08Hq6UDAIqoIcf7MdyaCiGUhVsoatJpwi+etdVBYqmlNfTTHlIWV9V/0KXTRXGXRHPbgrdF9nabms3eyCJ/G1zRStFf70ip8AMHFZ3MRkTldjaIYQ3VAErjrXMeySsPihbdUwjVzoOopNnbsdO39OdS2whYmjw1ee/eFHByMAd3+8F6INS9cBlBwK2K9CilR09L1iT0iQNZMzXieWJ8pQ10UaRIpf7ANP+l2+XJrn/pNUkzmo2t1mjQvh3u2pdII9oX62DPz9Yg/971DEuTwSevHp5HDdyTlSO9ZPd0Jo7qmImkL6Q1IlUNfOXgaFbxpoFqSUae8tLBYhGf8EJgn5cGVzqpoLyHNsuwbOCC8XT3BplgOFk2l/s24SaOcghz3PK+45tLF0nHu/GVQ6vicjsmNh5EJzrJYBddEj9r8tgOIoL2gFnpNRIqyr2CzWuIoA15kEs9FSPkhLIVmSsbZf3ATLdRuLmjyRo+8zi7FRSq7xhdBvKOqeDlAXDL8Zfl2drA27+6kz3vcCNzSmIbUSMpPikMP2nuH/VT1vQl0KirtGd8VmIQlw5aq1PhF2ZaAFWY6KhBTRRHDPdYQQknGIGQFJrUfIJU2pXIvyaIsIa9LAU8gqyTVxap62y7JzBi9hv8VNFqxMxfP1rkKglp6/Qo/FUgfDhMukidITv1mh255tCjFU17KLrXt5s+AjkLE6v5V/7OfRLGTbnTkQu6Bi796/fEqQdh02yCJpPSqW3RC1XtR4f5kBvONCWi7pQwjpUBvA/52Ks2qKCqZEO5Nd/ZNKXlhIO4Yhr8IaI36FOFtiHgZNMSwTFuOIbv0lph+4Q9jRZjKdVCel+xUyFT+dOm4nJtfQ6TSQwp9fX7RwdiqElCSLUS+4t0kIvXGwbkZOxEVXj9355IoO83FMGMQSmQK9Wsd635a6Gtt3sfQ+FZjz02K2pl53wM5AbIQSCWl0y7lMn/w8Z/7uRH+dZg/f7Iu0jm9P1Ugk+yG1rJGkt9aW4CWG+nGTc4EXw1xxNtjoZ9KW9py/DT819LJCUh8cPZtpDuHALhJq+Q7swQkeMJPTDgR3zBlv/2qYYe4dXvdkOpqXGVQ9Q6rZUf3Jbu1SGXwvI4U9dceWBGRj0TogsV030wciHstmxLmc99t7GIUTkQ6S9Fuj36IJE1bkBksJXfALzgFjMc3f2O7MqndBi2SHY0L22v01oEsQSuXWK0TlpRWXCQOVcDXB+B8ZN/XgxU8lz/rpdln8olQuHiuHGW8TYsV3V0G40R2hS8Jy3sKQTX6I74UFcE8rnduSmjAc8oRyQIpDVNiJcVLwKEdACHftvxlzh9LZ3W/o3TqPGTqEzZc+xPMg6/SD/uOKb06owVpkLLmdkco68Xdh1pjZSCjpuqfopFCDfNZ1yRl+92wsbKFrWBhQDRpELkMASkcxtXzqpdpxSFo+i1qAX81MPOiEHVaTeyR0eLCAzJ3lSzyBayHZpC5LHIV7Oq9Pa2x7ZvgPblmnQsZfGC3O14AkdpxD7epsdDS2ajYm9WPpauipAZppDvuSMoizN+NtLAHuJQXaJnABUla+9kPhyw9jCPEOMb86jgdaHBCaEHjfrHklFvkQUqW29C5e2N+HMV8a6/ND8pzwB2lpsjJ/mltN5ld5ElQOcCNQlGR/CkQeqabIbwqd6BM12MQHA3nCUG4fYjmIl472ngLH6xulKr2BGLCaqHlPzfPLGJMEmnrrKuO3tBnr8YALeM/NMBkJltIHmmyor7cg3/baAeQXUaZAkqV0ySe0t+UyDmEe712IgGW1q4j+Wk1DgOZZSvFFG0kd+cUycvUSVadO1mgiWN0+rtnue/IeoJq/cUFvMXCfjMFvBhVkqpD2m4/XZfPeHP7YNnEtTBmTScmiN87GKcE3KTeXgEkOkjdTRm8E07CMg2jvNOnqIY09Pg9seum08zqeMeKbU1hdmJX2t1vCIXXu2GTLNRbPdWXj50wx9BhkyXpG29EWo7mEzAW9FYXKj41SuL0Mq5C4cIRgAJw329njiUAPtckL7KZJrpXuWAlYbbOgEHoMbojNQGIuSMpZBVwJ45nKxN5Q6DBnxph4KQnVDqdBiv2TGuLaVAn2O0gnqjaKDmRyVrKoCZjOA37/WfZk8BiKWfVHsjRzOgjUp4wioUSIscflxG+0WqwYGzVOKj4y3wQjN8K1hkShau0QpKOQc1kCEPSVT/RqYGdlzmB4hnSlD1VNlsqvhC2+TSYHIMmErFMDH01Y7UMdJzltm1G0UyX0bNX9WK9WyE+MPkBeZRRFRCVi4g7/sD5r8SyoAW8uxezyrLFTWdUN/+X0HVPQqaUVFNFMyXejRzyC6mqiiayVFC6MkLmBt47ZEyeRpNmYegWUcb76TYArRlsSOBezf3jLncdwTTRJrP2kH60OuJOuXiMJr3+3gR77DtBh+OVuICn3r4F+acj+yN7M4F/O6MamC1bsgi5CbKgtl1dBx78nKrPJuE+vaCK9HHIEDrl8mbP+eOvXSnmWrrZOYnhLTu2vLDvaux3wJYyIdoAN+OK7qEAo2hzj1qsbWj//gzYSBPIWpRlq+BClcIZenkSdX4dHsxsHWjxqxruGLZ0/Ai0TQZ10KYJU1QY6h3Ou1/jFBpi/XbD70uyJDpfrLwwNy/fWGKCOaG8aCGZihdXJGowln50mIL3pfClnDWtuTLcZ1XmD6JfTdx7bp8wJBY5hoqqCMmYn+1xXsKYEajmp2RlLmNkwuwvlfEZ55WQVM05qQLfYZRXibLv6M5XekyIRaKUww/b3dJ11rSTu4QCzsQJVt8CeFG5KAFUUyOfScFyUAdNFPiYY9w3GLPFBDBwZnfVoaFFNOPVrW7X8KDPHwEyA2EF5Kzv/XrZkSEOSaAsYvIoMxrgJ/S4jFPokkJgJ8jJzh3myk1cN79UjeuTx4NQh+bGLrV71oO3DwsC/599g0O9uTer+lqaXJrfb6WtPuPuBQbFT/3yS6OqB8CW7VnyiNKZal4C2Uf1l0afU8Nhjw3MmHUCU+oqp5jWW8QJR9S0WUr+6ORp9coiaHcmJR8Kjj7GKNyFHaUhmPCf7j/RJEmhzHaMbvuAgQ7YiNDqpMveNPXhpfI9YXc7TPQwD3Mad3ZLj2xuOHzx7ZiA+Dvteal8XGMSo2KRJOPJfCv/BljRCctb/S18GmWoyAzOPIfAzMcNxTZzFFuC/yjphkBZZC5BLC4wKQ/J36aRmfWBKK6QsZeiPmlunMGnwNuxD7PlhANJgJOfkRmrXIx0AP1k1zbSeLMa9bOeTpa23k9p+pWNsQ2IC3765/7rIsnXAU8uQj4i/ufmt3u0S9YqYcGsrgvnhuQsAnO9kR+fL4/yJFWv6TfvUCUb68qK2vpKW97sqk/mD0TVvSmex6jlsPPUMKQxA9Zr4ckW+gT9RkvnMrHqjDSfgS1ijyYH6+6JSMgMpCAYGTxek6ft/C441A4N7zoRqidKFVerBETFgXcj69C/S//eAEos58/LRWfwDWmetin6hshcDEgUjGiZdnAGJUlN9Hi4gbPABywy6bYOVZLDGWcPWQhF4OGXj19f12MmVtrJxc4J8ZKRVIsMQrDfUQ62g8ZxAP6LBgGktrGviAqdHP0lF9h+tx6bg7ade59mXug+YCJePaI03NTpPvIcm5fa7bTB6Uj5nyO+iiHOi0fVDoAkQt4LmG+uU57STCt4v6Jdh2wD+pngFxsR4mCOFL2gR+OZw/StgMRiPgnANNnfrCSVwzDoMn/PfWGQd37A1O/y2RMX36A/WxgW8MyzDJ7Go38NgDL/89rHHyrBpEUFxkTxkl5cVqbiWK0+h76FIaLBm2lk3YUwNmdAlfCMzDMmUkbdeBY0es8b2rM3StHfRIWYqDXlWcbbQhE4XVPHaBgAjMTc3Jp/tBXx/cAA8y75SPKTZXUfTNcG4UkTpL1Rxtiyl0wkVWdSyss/jmZs4OSMeyD9OwaJAKvDioMx4CdaztKXKpjg4XKOU/vMO0k8txuwKeJZQ3MB/XLC3jJsbcfyQwQK+0JkRikS+7JtydJPiP5PSRx6UOqmSCQOzbJMRq/qBL9jh8/A5TDqwL3k/7a+tM5MMaGguQpOGzOlNPtnqOJqZg0RVUKnlfI55mGXG78ER6nkpu2vgdK6To+B6o681Sz4ckjAd7/M/oZCftJqBxX9Im28Hn6GzPd+AUnwuL8Ndts38ZhdJhcasao9CkVTHVPxku4Mftibq6OF9TZUbEsPxt0qw8tBWzUoLK6OYFpl/nuDzHP4HBiuL6jK26mHkQQK4vkNW6LrHGqlvlb8ERtOON3jamgugJetLZ/lQHor92W1XnBx3o20vqHfp4uausEmH40rrDJ3kpPlBhob3clIFjZoWz43+q65OnR2l+YPJmfE/CuxpgCMZROsokqPqavNlxV19Didj68J2Yu1akjnbM2wUSl3Hmuxoud6AA/KPsvCRgrzTG/zixIfYbMqA7Y7XQQ7BU0EFrAXYp9texLP1pa5d6ONcSCt5rO98pnUJW++FwJztvreIj+Qa53pbaB+Ok7kZexIIzDoJl9m8ozltwxDP1iPSpdlJZiH7tPtRxziCiZHglVVOdAko2bXjyF+YlgBdmYXLbkRnPkbLD+L5GFvW0JZzDeTfflrHWdMA5lo8WAqARx2+nuvZRgSfVG0UC2TqyyFMZCNbd0MGOJSOg4/Ka5GRzCOxaKAklG7pVSeQChjrVz3wBp34h8WVw76sErdifevvFuGXWhieDIjC+PBg0VkeS6zdl87Nx1Md6BqdjmXnRbs23GrBCm5n35qcgwKGxGVaOaJSbZ4vB7nR++ItwLF+AIgpzHPg2pmav5teUetrqYXI5yoHPUfMTqJZ4On2cJ8w6etj9NbtqMVpUApmAj/5Vb9OGeu1FRbteLAZRR+Hdb9cOTJJ6ym+0QI3CtrHZDLa2Kht+jXoXqWJJHsXFMha3MDUPercYS7yW++3IbyBBLr/j0SYSmZZGwT+FbU4nlHe0ZX39269lVJofwjSz/+AbkzBhNNxu9FSEqpfoukijGnNraf6NdriyuSNQaFzUzFxbPma1caf9IyQ2k7j0LxhdUKcHyzzoo5c/Ldq9VuuRwtYOW5Vt9xNHs3Ukfr6mydAWHsl5lxKIc93gd/Qqqvu56dU4p4cEqjShGLyafVJ3RpgoCwKbuxc0UZ7X0TxpTt3NpYZr3nLErCZ411mUjaK3YUGsF2i1C5IuhlRgMrbC2Jmmq67KiNX1okXyj3wOzI3CjnUCYQA1+5pDfzk3cJ9jP3yjut3FvoBdxBuXq7JQV+0DPuR9hh2Rlkeut24aM8vgcsESHpUKORFY9HVPb71qnNHHFph7DIq6TuRP6nrWWYHmO3slTP/Y30pOMnKBiPiqSl47sZItDc0HxTJXZ5SnDNypam9CXKNSmjU3ZHw2pgtaT2d8btuHBRsd//HMEkuqnYviCT9gjeABlFtMWeTDU3OHMHTIGq1+5DgH0YHXDRBIVeBDvYyjVLYqqq7gbpb4OxNHMbqS11zlhMc63QUEFqDN1KT2UVcQnZRagV0n/4qtKMAUuXDyumHnCMYHuaEBlUKEniTfdS8WZwCAYXeAozC07EurzeBNe6bVIfQjkqLVM6VZGZWCopqWWajOTSa5dRK0FlkNMCVbWEYPb2tbdeS85qAUJUE+f5G3PJLOOcs07M6u6IIRY6XDrwZupWmSBkCl1SgSRNtRvEGBvWxpbNBJNSNoel/S3EcaTtIfoEI2EADdkKwCvcPPQE2gA9IXYg7cFNEEUnaJOYDKz/qW+pwNhDsef5kXN/9X6YK6cEXZlDhaqOpYLGIb1KETknBmekdgf6dL6dvSr5Ckz2eNNmjds/95mbl20bDzlXipFA1V1sEKLOYUivIntTe94o3c59o70uxDMBlsPX5YfjTnDGAo05Q0oERXALRq2eE/NM7NbWjz6gTxit0IWYeq/D+88XHeOTbR4QhGkDm9PAH+Watx+d/qGhcB8nkRB9P5LOEib3T4Z5ABkoAbcItoBJi3DZhdYPgeOawYEQCdxK4rwinNK5WB+nlPEtbLekR2odRYCZ82HKEbNchgIpRoOWIREu9z2ZjQKfJzfm4FYYa8i/LsGZxZqKqHqp1mKNCTHk6bL3Xpkyzp1udPc7IyFMrCVBzUkpA5qq7B3O0IURtfJIDif+Yr2KyRRmFCazVAVsJtF8BelzZZ45RTiZ4B1WMLz5vgwcmMDfK/sQDqB6oCMtNaXcLStcTzzyZ8qy4Npah2pHQj5o+EpHwcNU0risVlxCpU8w7K+xyJnALP51mUg6WDap2qUvaRIhJY5TjHB7K5qjyjY8lFg3gqnDs4jyDfZIQJpNGPkSt7Gfz+sXmhqCzN71cpErhPMuMDpknoqsRTltbnqua055qpiar/Bm9i0V5chkndS9LOES7hsTq2gH0HxvABtN+gA+36LhKi9MsSbIY4Dx340t2DQUbZoBfvlSFU9YwXwI9dh08GmX9U7pkNxC5AOGBtSNdTL+SjSsRjjB2GC41rcDAXtXh1cc3MKMTTbtKuy+CUZKkO4jKvNDszFvRWr+Bu8KAQuUw0O9ohAQVEVl0NpC/8gEagsHql6UapLybdpL7rVJug0kJTsQweV0IAbLO12EQWyKh/+dWcUU7oK6Hf7X4htgf+SJj6tcXM169fvOmqS013bZLKUmlJ5aEMSwJenTKdyiNhtJtEr9qcr1kWCt4DLcGGGq8dzTh7zMMiHmA0+kN9vTWkGzu4sOPsLueqmxN7p9/JIq1kL0w6I6VYY5NOACHGIOuW7fwcdfMNj7n7owEzwDMcFStZu6G+Izt47tY4plNEW3kr1K70a509NCYcjpmb6/krne+FC2PdZkz6x3Hn1ntKk/90pjtRfQnnZG2T31hukpSMyrHADb1YnctuI1WbM3phV1o9dP5SV3C2CA8C13jIgKwAAwN9f9dR8kFoDLwX32pkyVUH5qvVtpEWxgpA9gc6OA93QhJfehJAf+IVsqaoYsJ5dBfoyFRFdT4S5k4mJFL1gjDQMY8An1OFpo6asdgSB9wSdulQ1Vc8U2B0x03sDXe3sv+b8s2z5/qlSdJ8FB5BD93J+SYfs2l737HfdzMD8OA/DqqcLSclbbrSkHC+I73aoi3ntowX5dyBKdYQSdBJcyejKi36N3aWXuIHpPNof2ZgAq/Z1v6N2//eOUpp/bo1z071e3Xnvj6sxihA2CC3YDyh+Ev4ihAc9txjxuazyltyNat7aEC+CjR1WOQN3PM6ZKLnikLDjMAOxKqxRwjff8j/fsqqLS4kIO1bmWmb5NtU4eQo2/mGb2JoNBUaPaYAcXK5MxcoVagOG63FN9NZtMIM8NU3F8pG88/l8iVlaKvW6o0OZ06YJ684K5yfUokTImLzPyVL5r68bxhWimWd+I9CRtrSzjRfyb9v+tCYed2acaDMgtGXMUjJFO6JBJ/ineKIIuPL+6EClesb9nbkqWt7NdqxuiZGipZ1BZggpe8oy2x4+aatURb03FVDWLmyTb7S+QEp3A01fvExfjs8LFanJVZmw2G+hae6h3qo9G+sid0aZs1CtytWyd7rPRXVGgCuiO9unpsh8/lGXGRWfYg+fkFKPpJRg1p0yav7uXLj//BLSLGodrSqB04Q1GvggBBiHJklPyx7I3VD8v5dEAdtjgdIzdS51k2cFySDLn0ayz0ZbZI63XDvJBPVzZ45TCxOQVME0cL8oQEuhuGGrLChY2jVti694AXmmvJ0N9ibC5i1Za+UWrZ0WD33BgL684Ewix2ywQS3X/5t4qqHPQO/xM2FKOfBiTCGp2TS5cPqSN7IQxknn1zH3Lr8fc8h7EF5xsvnX7uGKaPi1Zu4U2Qo0Yy+Z8jF6mwvd1/XvCxyZtP8A6kWjpYzH/8l+utzxu/bNMpiNAr2StvzoFKBtS24XjjVrFkXNiBnLLpyMiyD3LqzAkvMX21RUhxN/zTEwexVup2sOWGx+tG/xYDGzBpBjauqexIC3kQYTqaocF1NFMDRL0R6p77r7vht8Lo/mUUcHBn/3W3ZYCb/+TdOhmm3uuKiOq/wtQ4LXAaSrTWQeH4TLVdqQNCWoJiwbFQauun8M1cpxSiHZJuvRL8x1vwhkqdrIcy+9u/KZxwKVPxSBgY/AXp4OsVJdlEX0x78Vj7BnBb7DIlhf0SyQart6229EMLYDaZKO/3k7uoqPTB3ZIZqW5Fd6AbF3t7rc9ViaU3QarLe376ggPWv05lN60xR82ajEtcz37cTbkhf9EDwM0deCPALYI6HRtF779INapPQy7JQK1m5/SCp2B+StDenuQaDvWkX+wzaX35x9vx6mfLrqGerXFIxXF+AmyfEdJkWwJNSqp2TxesYjLkCqD69T3GDkySNTc/1GWS56A/t+w5l3z1yyruBLvuTx/sKsbXGRRLZJgxC2g5hRrhnkDdgvJ/XmekcR1h0kWwQLvijm4aAN7Qzszm49C7owQp4g4bV7Zmjo/CMHOiY/EyRxm/WU9P3d6GPv1T6/QSXK+uT8WlhqAS1jMtSPY9zA0EIJ1OyHpZemYZSu1Px35IDqLQGKMTMd4ydC0DB3h9FB05Dnsl0nafaewizJcBZbFC0LrJq3vwMWdEXZFf/KyUkHwfiZNXGWG+xn8wn+5sDxy32U2RtLn5d8Jk2UpCi1wNBAcf8PyTFJJ8VDmE22CMm6NDAoG9t2jHyEko348lZQZBVUd2QkeutsyJe857jmA3snK9c1rbCpPd7lM5GOX4x4hrYCdsllYyF8Z6Xlovz7E0GRa+XTL5tSr1qbRvKAfqUTIBljsS7gEqyrQWZjH7fVwMu9d5mA4osNjcuyb+xKXqxVpIwWCC5FT/I2y6Aam6BxmX3cTddzpOQeJXQPZgUdcG6G5n+v9ZAXXqNPrudxX5vMGDAJ9Q/1PL2IdVn7/91odPYH74t0h7lGzYJWgcPinQ8hQdSgCLAGY6xtvwG9S9bzG3b3NHzEeSXqbFyNqHzE82XrZRfxBz+YHy/MHgu3/g7R6R6mJtz5gQUKWBKJN67zAyzjDAElCGoxRwUZUlAtWq4fg4v2U2LbXGd1l2zfn63lb/HpG/df5WKolw2o2f0FVwY/xxfcYiZuDwv91/y3+F775cyhlgTtGPFuuKQjErHKOx56e4PsdtBs9p74nGN5Wh23vExPdSvznWCJkFnzoRrQXNr5O4kFe40b3zIlOUKcPjsCnO/I7jkxGuXMu4ABG1mPgAKuPZj0QaxSIHQAWwX1TzI5aeFE490ZWNgdWrtrxCs1IvN1Ktsy9S0ji1qyKGq+J72xN+E8IwUuGhli4R0q+oV9CH0U5760k86AmA7K5oWqmnKMxAzavAS9tUs001BoIOAafIRsOpJ/lRJQEDY4RlUASah06AYoviEEeYMHPO/MosnWodm1nCjpAA4t1W5qfNNj/BbgPH/RXwZXpmo9oHTtPx28G+tw1ZVpl99d9zHB0LPDwHsHv6lph3kdzbEuoxZFxMQMlaTd8OgRrLyE8UA5uocYMPvvbzUMTqXQZKKQOY/Y+32ZEqcMd0L4wVA9ovkAryA0SUq2y6GlFhKU+oXOOSSV7aSuMwzayVUe9LX5yUhHRIts3+wxstyW3rQ02FkeaH260zignJHtujYWz3bIRbUCG+/VtxluzIye9Zt2GARW0s5B1LRh3g4QcK3oeasAnrxmSW7hWd5bXRbcm/g/pgNslEcrjMulySrxQw3jJ0mrDvvuOU0022tG8lENOBQqYAiWD7buVSBfCi6duwiaUFFUVVPp+VXx9B9PxXhWWBqQQN0A8uZOQO6+yQa1uQOuRPzQYVmNeiOvuKY2pC8rULUxOiDcOo3BLIZ+Ufbj+mXflJiGIm5cba5QFrV/Mr2OvOLcUWfe0+LngLnj0C9j4mwB7sepuwRTvlROmxhFeIX4iDK6a8CY+dIrXDHAW5zBdloq+Xl/0aXcai3odKqn9bFudc+lt5jGANqfS3hR3ZCFGDKlzU1p0/2FbtdgCiD4IbN89xntdzukGzxZJMpiINQeraH21dQV69xb9CgaDDCz/IkNHFIStokbjtUOX6SE8YhYRiV1RlOaBzMtVXI5HH9oo4Jbzlm2bPxfHEjbcuC+O+3igjeCdlHH4VISxTJN/yZJ7XJE5r3es3fTlNOyjYmkgpmkacn4h8ofq+4aJQjm7R8g4aiABOPuqmzfNtVQYiiLuOVUQgZNc638Db1/NwyGzaAFqlqQVU88hVr8mYkvWndO19wk6GLS907vxObt84LaGH1GDHjSficSIMNqP5xqDIA+vDiJ7VcIQC6F2lgtgyKclXbt6qnJ5gZ9piziF+MnG8/EP7BmPbJSPUiv0Y9e8i3UympvOm2N6h9We0ZnsP1WCmj5AfeJA6VEbtw59NX240m2fCj+8Jn8a6TNJ7w1R1xK7Eha3FdUHdeJas6cOcL4ZtGdbC7PZz0IBNqhqMnLF0gIsffATpYvB7Bt1lldLxcgpVdNV/rSz8GxttaDDzPCltRQpn5Oyiy+uc64qkHGWGkESwx33DFfZ2ae1i3ZiafoL2p95sdXZBfmjzic0soAnqBQYWT3pOTWUAM6i00+A6MODv/BJyCkhtc9DS984p674X48B14ANEHyCYy0U360MdQLZf2uX8mDVYWz3Xrf/J/m/CnIK/Pb/0Z2QqNa2Xbv7ifB1i3XCoB//m52LSzF2YbNbABzOLtjmzdd6TRJzZxw4psDFZAdD5A8186lw5W6LIUkzZf2neQ1Lk2xe9lN3L8tHTpVnDsapHehWoshDoxw9E2ZT5N3kYlHiytnZjJkN5OtfWec7rF+wNq8HO13lWAq208kjORa/VkPzexgu/Xj7MYqApnp6ORaPjLUwme9GRnM8gDGTwL5Qb8VS7Z+z+BlUfARh/NaujGxXrha2U+r2x5zO9anAWF++G7HhUnjp2bNL6/AKWaeW/8LmyInUoMY3Q62yLtfeA/FGWWFIS062LbvlA+C7MSOzTUOzFgQd8d2QyYWUyQ7e+TzyKJ0OaX5Usto5ii/NkXBqRBmJcy1oInZaKiCT2u5RKCiUAqXFSrLqNTgNtQrJ9VA8IUZyAQZE1J0waRRHM6NAtOrhjfT1xcGJ45Oe6odjUVhSxL1VADp6TpPgua188LOFKJPeP2uRrIsXcSasFN3+MeS8aKI5B7YxLVwEkxDGO87bjAj+FYUfdKXUCOoCnaURjAeP0MAadJdHEagXG1mlpwAiQLB0ihyutgMILkdSGfY0JB6mP+Z2+Kgs+k/KUvSsFodSSaIvUgzua+clmPIEztPF9CmNmUxfh1BZOJOgeSwBn5x5TBTG+kBPT800/3FRC73pCqglphGp1aIkm/9KpycVRI4rGHDpLmTq5Hh4GV0VMQkeYjOTZobRcwPo/DV6cBVhfO+uCusjVE+29Mk6mHxh4LPmJgRvqcoVt87YIuohNYxb5/b+fVX7vZCB2J7YqCa1ZP98HnEojKbL+PBMBg75XPikqo6UrspjebcgpKnZqsSDQErh1TbtYo1LHsWrh6zxzj2hpJg8wjJDvtz92zalr7KD0Mp/5lq8Wr/nDdPQGR9BfkfR+QXt4S5Rb6pjX/MEVY9UG0I8V22I/Oy7h6WOSclZXoDYIlN/3Ww8/5/nxksLO+1a+d+EKZc+s+6QOSFs/pfGRH9zltlDgDGz3BkUII0hxrIpFwr0MeiO19TNgDKq4Xh3UD2wpJoDMHUVxivQmRDbRAP7HefziNW/SdMVsMacEcYw1RaaaGnixh9gk0zvLtsS2n+zscIOPgcXEGR/KLlIZFhnrbUf4U97PEWtrusygkdLmQc45c83IeMb+D/XbFQgVP0G6Kgs5RnIP3wq/QgXwRUWMBFdxK1CVxw6LI1y9UBo03buKT3brtWVc3PpRQMos/9o/F5E+Ek8WOg8UnHtBo46QLNbyKzuB3Y2Ft118zNJ/qMoLrmgZB0cq4GMwmDnrrPkwuBJGxfz59+vUH/CrosTyJpfcbsaVpFg6pqLAPCqQKDqXInDpvZX+wM2nFPNtTiWIKBgCHlb66Rb+at1pF+XbQ5yoMgPyotF2fsGt9+1s2OO2yjFbqY7eNZb0emQ7injHdsYflXLytrQZBDtyjqG0Es4KijAjk4LroyMbOIbu+tT+SMgo3hYINjFbfTs5r+D+3YcDTdNIpR+zvcYbRdlnbr1gIbo4x/sq8+ayua8mF3rEyyX7BFO095szfCbgQX6s7SDhNQD3SicSSEnsHmyMIfsCPg1+C8S4AgMFbEapzovh2Vt7q9zMzNk5fhjQdTtzm7igfYN+dsAbIMNenKFBGmTE0iJRyKWYwfLOpevQwMs3qFKhaeYSIXnSS/Zrvo/JMXwCP9qaTCVgT8hA3ah8vgfwSygavdJd/S/509XLzkhFIbsVORliEtqqgJmj1Mu9u6ZIRpi0jNa25XV+JHvWYzFJNkp85duk5UvbwfGxxXCSlZTvpJOcYm7524yhe7tce2X4ULZJ66E8tkjXL09TwHWRKatFNaYUmwSCt9F+evHVjV3ztR2n70YYyN2fJaOPZWkPrhRdApRVeQHoHqIRuUs08r8VFjCZtJldcgPQIr//+73Th+oIgQ2btEY9Iqjpse+fCxN8Fix0h+bBQYHPj14Iof6uMYxnv3ChOFt4NbbXnSsONWkjPh27lZFiPlcmYvx375/54qCvNaZZORM8RtBOycRzAuPup7dhogvMHOkntsyGbj82W66PJVvZO0lfijjTKiUZpYEVr4TUQp3AOsNKULdfYC1UuE8yHkGZAMJjmCdhfww47S8Oj651rgRlzaEZGSAkc83THx3v5BvtHZawUr+lXPTfFkIYyXx996xWR2S8KUZwI3lTnRAeaWmS28DBqUuHARffk+o3gm32A2Niktp6VYZOC9GSCewBT7ANNpRvHEjFbLuP4xIgcNzbT+M9ntnneKc7oxgnbjNCwyPUVnRSJ3OjIbFTiyvsegdhLANLBmX+QG8ERWVmDZM7fDrz7tRNsoz8JgS7DJ50BN3/dTALXF50NHbeCxFgbREanDHCdLvs5LdT9k3n24itkQELQhmqkSqm7RAA5WedVrLLZ5JrUBG1jbc7idH3N/K1zna1603mCY+RZNR9/VIDB7MJDLHlZhsdpyo2VQX2GIc0J5RaGuO9hD34aNZTJc42H5WqJfmkcwW7r5yBCrx8TWczVNRceX2P3QiFKETBD/z/v+gC0UtD3GJvCui8Myk5fcXbrrlX3PbNr3B4R6GxHNKyvw4a6QyBFukq7NfLwKPuP+0KZyR5VNMexmYYvhnsQb3yss7vBfGOcoqP0uxxVXP7Q7wPGI7u9SvsUfk65NZIFeL5bOdJwOhXR9DQ+MIW670H/EgOfDWB0X7bGe2+dJfhxICIIGlAIByKKYJ2eLeZ3NM6Nvz/ot5HfEHY+TsAAqplbesr/sgDtBx/5DBqtDoRCTKO/eOQBp/Urywx/R8v/b3KqkUYjUbQVR7uZeAxUlgsdBXmtV5J3WMlzcYid3U1omBLvfU9E8Kv334bbxGkCGu0WIDKD4N0iGO6rIhi9IcHzNiUvkB+xIq3f6ffd23YPThOBXgaSBnelppNL+7XAduUOHx8ApRlIfd8GA7WBg7gc6/DXv4GO2qPOUWV0CtbbC293hsz6OM2qu8KSLe14R8Ia5QbIvzJygQDG3m4gCMKqa3zh8mV3Uo7zS5UyCRrO6Auax5xHSRwlR+A0j9YDVqtGl9oBM3ZfKmjMQ3WxafUtUhlQoIwUmB8eIGfBUEmlhyg28xrRYr6dmdbZdHZrjMtMWoOyYxtJuDz7Kf+edfSgppWqAT8BKG9RjJLnpvdwEvJ3/Y8lEqesn2GWqzroK6VoGKAuSl5c7CVWpTaEOJ+wmc5jvxC0ZFdc8EtzTjtco8gcdKcMGQUKKF0xYSlfLz1cQrMAw9IaKWxxXSVdt5davELaHwZi85SFL1YqXlDEXMM/zMDMgTLYy4SKq9GrfIgSzSjcdjgi0HNMNvkA3A7b2vIP9hMroRyeW/CN2t0IeqgNz9IqquSrN/lGBMcTX6snMqa3SquGZTOflQKv90zM9/NOQw9Jx0cWKh54MCXyUCoZ7pq+krJY0+SeWMZcxYfuAe3MHgTc1EO0a2J5FkAdQUhmAIw2l3GXQC+OmPDovARIigzBek8yAOJsTP7wMqajd+XKTugu6+lYHdUPYVPUQWNi8x9Kq5fq2LK1gT7vdTOZrojsHFeRWKpJEgKQ/apjeCrMOetoEmX6zB0H87KJY+ZVCfr+GzBGn1ujGec99UKF+qBGgc5oOhO4LzPxXl0kgL7fwWGU73HCDCNmHM5spiiokcLUIq0UXwjWzavk9YIeHtRlL3ZBNiK0R8UvXrr2okXgv6PcaDT1uY9ht6rss0LGqRMA3bI9mNo52O/EigjK+neLJFV5tQ/TPWFNI4NVWl0Oxro1gE9r66GW6d9YxtggSiXVL9GfALWZVgl0YrZ+HG4myuAgwxnyfECIwRf3BQHqYKTGQO5yU6J5v1SKV5XQIBvz5WO6Mrh/vjJpAHSe3ZOKbehjtEQRXKlL8lmVyQ/0jCs+L2MfRc7H92FvxVdNi6wMqnpsAaM7s6rjbQ0dXsBcDohq9TV3E19qdsU74tIBltS2Ipgq0moAoZ1gA8X1pcdF6TKNTwD4bNI0SlwiuttKvJH5mmPEmsThD06RPMp98KazxN3MxVxCboZx3Si0eu+WLuY8nkEwd5Y+kjuXatIOnnVeNUQgo86pX364uNcpp2/8OF2scAlTKaSlHf83jxQ1C88DjXldl55dsqnlSPGpTl/Necm/puea5K2KD3n4QMa3bGjv0rRLJxCgSMFtAQRNk/g4unqIZbb8Pp7ASLfLDAWBWq43CTcwYzri8LtlbsgUrrVGtpq/Eu9y0SuPcR+elAODZnYfFX7nrqj/SFu+p444h1ZIS+UMc80EEC0h/HPLB6rsZdB9TFoZnYmOp0ubMVBw+kFmpjcprcRzjk1BTrjDpmPK3ah6uyUu39183XGuY6T8dw+Qb4vWUS5UyU5EkfGX2qTKHLTtx/4Wl2awYgOo3lXVQrSQaPqzj9RS3g5mahkqtF1wD3MgdbKguQx4Pro/D/ex2iHOOfYDL01fB2sMFdc+wo6qYrq8XzgKxBy26fG3sLlBdMU9lzALRJ4LpbL3E89o+aeaP95KZ/CRkOUlPUE4jMxkFzEEHqA9HHakmms3iF6dpEdCt2HDFJwFLIYRQtpuJRP70H/aFB50UfFxEzA1+WKXewL6+DAcQB5McRi7kOfsc/2cLXrsQlfmd0kg5YdAxhOyLApxrLZBhcIojD2rDn21/M4uJ9sN+tatL3w0k6ib9cQfVKu35QwRH/UdFuNQGfaA99ZOWHd6Iv7LKqYdR/bSyaKbj9bQrS7BfKbMoHS8FAbErPWh17GpykqKtU6a7jWRtakgxpji2Otuhm6xlEhMf3xdtIADplqmXPGIiScoJUgBIH6EgPNJ2ImJEqyBroNe0id4p8XSAdsEXIEogBW0YrYP4/iwKgGWK8ZnPpTWv4UWL+fSNH0wlzjBiGTL9A5MsrEtUHKHz8o2JFxfd4EAt9L5HrrPtwyHSxG1c80TRke5HnEGasy3h6M8RXgLhJjusiOwuNEE8Hj9LFIErgY3TLc04p22ceYivduHGgghZfZYLHh0N5dWt4i/uCXr+X/5H1DeExJy3F0gtsG2rfFIicGAAvXjrTnjPkAAHjsgNY0432lTpPdvwsT7dreTjHrhTUqX5FDocqdOFFI3ZKXe2D0RuWgbjqVtnn2gUVy7rlCQR41gcBOB0Gmsayp2Kq8j7MC+2XiqOiadVVAuVvm6kydCoprHmWVQqevuzkpkX/PpB3FrxvrzqHRyWksVfu+RIT6JP6NdvA8iLTOG3hGMQFWB7UCZYgs8bTtYbrfItNUYm2I7D4FTwJPGx+MUbmnO2X8dD7u7WMW0SOl+ZN0Ss+GBcWTtjCjgft0QfuSVVWKscIvJEjnLdSbvPegYeuvcLAO0D1jkmGyMQD15KD+tF1MUqS94ZrrQLshkPQN89zw/Ud/9ZSeMhJk1ik894MlJwW0Rg/hMrLGSTncRT3quXm3iMCeByiqbDp1ojJ+Lt7jJ6Fx31o9J50Z/dyrm99c2nJyNE2YjyOtNtxFgnxC89GhltKUFXnFXtI4GUBJ2BQ1gBjORmjV1fuhLOpqFgva2AGGNNCH6AiZBA9dU3W4wtkjzflcA75bhQDnVNiJWdHHgOdLG2Sy0fjXogI/R9Tky7xabUV0qoLfZwukqghdtiNr1En4VHB47CjMHIGL7XqOjaYCT+mJUdfKxmRs7b33oiRNFSAKn6PEEv6JSgYhgGyGq+b4DYWiH8/HVXQt5GNe1BxoZKfH0lRg+xq8ZB4Ajd/iXT8PxCRrYZuJq0d6fjNkGjmQwIFSSLu8Z5NNS4gMEvmAF39KaJjMldHGGXKFvoXxxlKmvNC0ZeH8mkgIKQ3lJ6URK7PJt+5e4G2HZqN+6qw6qdNSLW/OK+A6dWqc6oPM6d0CT4uuhBtYGPn6apiDKPSAdyesgX0whcPQgT9VhkZY14De/tJJ+9FkvhmNcLFObpYDeMwu2yJ8ShRcVJpzDXLuuIO5/LoxjCz5LAysB5EgiRmqXhYgcqJKgd/bFWk7BgFqHmgnU2/ksr2K6GZRvgZz5rAOD7N+ZOedPfnAEFex9Slw4zkhbH1qtIOXVk5PyfOQJl0r49Tj1FaXcLJm5rW1R5cwSBzd0cYmaH67H+/+/VqRP2Z8YDB6QH1faZigWr2pxPPiq65+cN6a1wA0dA2sVteyhJ2Z6dTwtP2t2qnHk4Do4Xn8Mdo1qwLxVmsVVXqAyWWUx6kcKAzocniCG/cWoilOCWu03Dp7jTow6IIfvIb6xJq3HoCVTuaV7CdlOkqWmKclwvd8b62zOXGfRVXHWNpeXI73YVJGgnNF3YCJuW0WBES6G+uKqkFf7rLMDr46i9A7HYMw2jC8rbqC6aExXY/055wxGMM9VBtktGsLA8kR9LrymzC+ejsWgiTvXns8ESr+UNwJxZCFWtdGlbi5//VdVrD0FMbPqbhvvvkugpmzH61jiW6EQS35ld49tUSo0upG8y2D2cNdCkq9ns8hlYYi+vsZSiH3z+zowdXa1Bdtz09dGnmuY2DEdv2k3haZmnFSHMbGUH1wi842d6O+GYXjV7mfAQkPPZlJADGIlW97Hw7vEwDkZsOMocsyVQeuivn8MCiOruVgB/CV+bHfHUxLO8tcboI5Jnu05XGy4Pl4TH6RrnyDZkMMO8VZO4AYmrtetvaZGt86HhAvaX6ct7ePfxDb9q14b1NnZ4GBivVejwU4Fi07Rv4+1ydHj1bMmMvE0DuSfNooMbB4lZ93InYwO9L+3Rxuz7uBOq+J7EP9VCUz35S6sP5/5w+b4LpKqtfFtbLCNNyTSkeLxe73G1G0p5zYS4DtYtvxL2sG8BeKgMUACUTUTNmf7LLl7WjWph1AEtdqx0zsgEHvkGJsUCHYWr83qXGv0OC/8j1IZzLgm3+w4OY9UcztedUbpZj6dBtbeuEbuBpXXkyYRIjX9al/Ir2KSvnMqdWLtylUZUprLzY8tIYwxCGuZ0jcN5kw6EFfDANt6MQMZNK46hIcNLdSMdMse7yaHXyN952epQ2VKSa2yc/0AJbMx3o1ZPsYKc6+tDPSHSGjzd/z+VARKz616yy+V+oR9gUH7tY+cCY01zacJ6ypdMT7o4xyP6bagUqF3wKFs6VCAFQrr7oIo42+Y34mY20Y3r24dWAxh0r3FN6TXp0oI6IHyagpinEDkUs7u3d/2huoB2U9RIhg/EVw00iFb8J2RoUC9JZZ3buXCeb1IVFOdRjtjaDmI5OLlDiJtRdQGqKxiNuAje/yyKkJ0629heJeZLNjfWyF0Q6mkCe1FPUNYnTWiVtVStZ7gIlrgeNqcSWhCD7puPiTD1Jvlpt7JxH+LxLKGGF05/ZON0sCRUH8YXqwjp7yJQSfohZaQqeKIZbTEWN5ez05K7d5/rGDAz4UvCoMQKRLWigjSXovbb34XPM2WxNnPZh2lqm6g2r5afH1c8l0JQ1Ot1huo+HjlE7V4DCTnu8LnKSugV77T+H8UhNLtRQOuWiR3Fdy40Pn5Xf33KfuIzRC3TtI46Dz1D45QElQ2T0vY/a/Zcnk7T8MhAO2xa/RAwbxeUNX2Jp8ErPpsm2KC+d2iDGggCgMv55tqj+qP9/N3Ajryf1wioRB830xIHlpk/uQRs8mZm7CibQ/mHzK+VIE9Osudq/5N8HM/qNc2dB94hYKKE9kPaCJzEHLBEDLwZqslFXtpFT7UmFsIFcRdk5eq3orLnttEouUwHZbkEXakUDsopwKDnXpo1cuU2P03hhkvxdAn75oDlGhF8XOhFIK96GPvaHtAZNJhOnmyIFhU02Eai4HfbuR5t2OD9nP5VohVTXwbIdJBXajcFbihp+FA6huffGYQytWcQtkU+BZ2e4ykImtpr02xNDI0YVWm8HG3ujTkzzQJBjKS5HHi80VSB5xhRWwigHeI1mu5Djkipt3WkmO2wzv4fha4ceTpOUtOnJN7BXDM/FOMM1CHgskaNeApd8qqeimxe8Oj38LQ9YPe6TCTw64oX3mppIcbG1KbdQY+zetjyw37CNC60szHtBfa4re5/+XFfUG65CfWuCRzokwYZfdBzsyL9CSqmQp1ioW9vSPnxkIMNyPtalUMGYkApf5SLCttmcJD8lWkSYi1zR9EO0/SqaLCxMtzfeNdXWkgJVul1YVzt+A+znVOZ44MyVl5ff9QRu6fSv0Cg8S3VKKmgT7aGNABKl7Qa+1rwAPG0khxAOKj5jyQhutj7T6Ad/bmnL6HH36NIJf+dCGdCcWwl4fzINJIi2DD8MtAb6s03gdLg2z0+kiDdFoX2uLdzJQCOM/xz1zJ9vYVeohgLe8/1ioG7y4DRaloXz7uGUsa+gZEOK+gA4xbKnjaG2UPkF591vNfAJL1e0vEjlDsjDsAk3LD0welXG42tNe9D+XVHkWSLFOXlFn5lMa6Lej3uqzn8EnJrE26h3w91ARnbGCXI9/I2iUjUwX1a5vApYxwAHoDYRZOrX9aawS6onNmKO5hMYEgVKZbTXaZv+VMLtO7e0pekBGObF9774NWDBSXuNQ6tn9aiKy3a3VyYNqqbZ07bg+tuB5yy8s8hAmqalCCWvQCMEfZRCpJKwEhssHqAiHzkCCdXD6a7c7T4EuB3wETCnMNHekJCpJAMYOaFr+kb3Ov5f/ZtwILLQVZ/brzyLKg8kbWoko1XeUAacQ+dva+DjwsewaVhJiXjOv8YCLRwB3leMKrZJwgkRrlkRx3mJYTGJdFA21bkoCKeQQ78NW5vQMEc0cs8HEJ1K02pObmd1/+7N8eKo2emJ1sxCziV7MBGnVSZvY+dNj7EEYb6gJ1d2UgCGWCGODD+ooYs3sNHqZaIPQ5yJ01lE1Ic4aTeZKwYGH8eS/q/o5ZPvONPzX5+89QyTt/v2lNrCflR01FAlwLYJoTbDovrSC7330rShpABCfrrFDM0lVqtROH4W1DJwF3dxY+ceBb1YXh8+xqBeQQlU+2cQJFXrtyEk8DcsCaPrQTxCVTgnwHHuUretyuFv5nnNHAxcHD+x4sg90H4ETwws2BbvhviqbLZhV8HUl7nECkMbiC/wcTOm5+jjan4gRpiD4NWNInTdgVh0Iysr3XP093Pa8Jh58boAd1m9nRxodOpe7AoU5Cr4bmj9tfPF9Z6ZeuGGhPNmb05y2W3JdDlJwf6LJUb3StW32eBuwUiXU+REsPV352zBmYo4zEbMYHTdJ98hgKtFOt8P7beg6HKGnpnIu1KDEUJlCcCr447+Sni+bXRCVTr7+Scw8XJU0sh7NIz8fhRbBGc3N8TXMepOnunSJc6SC99u7VrwnFzCP2buC2bYwubdkbTj7vlLSM4fqHL6ek3jO/BU/Diq917ng0NtjBIx/kuNArNbjCKuI/tKYpRuCZ6re8oFPG24ba2fD3rQZ9Irc8Y328iQTIofDbNn6zNKFzCVJtQ4H8nuSmd3MtitNdDXRfkNHLpQHFRnRrjGJfK1a7dvin8pk28+/HQWIrrXMFt7Z0UXyOKCha76rCjxWTlKzNgRO85EKzrTcfBV9ON0UJJdjTcmJNWrMCt2+xkAa1/saEYZHVbrOF96PycFmESeOsiCdCXabGsHIBaJ11M8+k5ECN6GxcY6HBXo5QMATkzsFk29abQ2tQ/bYMqWr/iStPVvHb1jGz+NTsLeYif37z0D58WaWIP8uR2vHXmPF/PYbbq5JjfmD9wRQvKi+OQCrF7SX9apSFsHcgQ0xDES1vZhMjsSOyozwSUpmt6UhEaSrjoZA0eGJ0487a/xJkOc5PIjU21dFUYEfa+rGX3LeScLkzfFNNUASD+5W0y3OdapRcWd5nuoZgUG52+q49Cnp1Rtfzs/N7uZE1w32n3oRGtPgT7FnYiKpg3QXd7X2rOK5w9kDlhEFoxVZo8PiKr2hxao2jysWK2hdfUqIu0e9f5v/fMuXT2Blxwa0lLtXjz3/WmoH08PCK9W0mXI7yNiTifHoWY8kV2a4/fttpAxofFlarRDyRst6bfn+eLzoc18YEZ7LEp3FAF606oRxMuUyYYj6ls23rKYI/nLb2u+uj8zmKISRajwN9XztkntoQjZyjdpMr3+KkoCO5W7Tup2bneYMBcfywPIe2osaQZxEZCul310qUCWQhrA112kKKMmwCU+/4ba9t37DFmVaTs3yPQmQ0Kfl/zp8IAS6G/BQpWn5IIIpvq7F0UoRu2tutY3TvyjwzRdcAKhaT+N9226EjmloH/b+lqTmstYfa5VeuA4aaOigZAZVeIkuueRIA04C2r5hgZgnwJ2rGC19R8VlkZpRODzSQgc53zUrg/vpoGdKalwlLYd2hhiiXbmeJtil+CKNLQ+fTDWXd54IVcIwuJZEnvXeU/aaf/hHS+gOhYT5k+gGfVkuFsNrooaqtfcd8PGHJuojo1B5JyFCcv8FIaDMN4fVUIb06nwyjRcUeJsOuO313jNybbz7CkrWCGVWza84kGspJqgNFzrU+JIRehwF/lCtgYkmSxGe7VAG20rl5Exo/jP0IQ3sI0vKdfsHIvNG9klRv0Ky9uKXd90CuyfSFzXYH2E1sIOlRBqmI38Q6GpRMP5Ly3wXMil8qdBCWZrCZdwdwT0kyriQbjRcJv29rIy9tO5uVSttEFM6eU8Tc1CGvqVaUDFPz8hlMZ2l53R2LvuV8ZFTip/YJakwQFr+ZF1wunbwoKJ/Kztqwqy/82FHOMqrbPY6ImhQYCh+DPvLa35rsu3aujcaMqNG+hXMVgy3gYn5wSrk7f5MOy+VU3266zLVQItP1H3G9g2sw+7XrmaC9XGukIfWki1REZJgx0xXEGAQfycfIG4xtWQIlpkUuRnkVtFdvmLW7l4pVl19XkFG+xdM7+zm5IEeyii4aoTOtAz2Q2wePR+Q8dlU/Q6GOKl282I2POGWRoGl2ArZEq4dBpuZYa2ONIunIx7qRIS+h8IFCFgD4FJVnUCrqf8f//upWqpykg62ohp8QzdwV+sRCvD+CeApV+TUhRWtg43jmx8WwYjAminPVsB7+rlYdwGkTfD/OFpxTRRNpjQoNdPNsWFYeDZiVCV5CtMLnJE9oNdXV2O/4jSAo7r3hCpB6XDafga73kw/Nbj6iWAELLNaEPKXIJy5ClTUma575W7dX0vUgJArlK2iGOrMS2dB3xn6qeAj3eqonOvrdK3rZ06lBoog+bPYttbAvhoMU2MR3XDxDDKivzCbZxPKW1R7gwa3y49K6kzXRrGQxr2zvNAGxAbHyQb77RR1mY0KKaPGTLN4pgBH8t34fc18NEg5sNdI0zHD46frsqDwlPWsE91PtRGoZ5Sj0MWaQvEEwoo7ZG348fJ+MlPaOT3jIkdrwl/jALH0f7hXVmRX7ZzuYFb1R6ehxwA2A15ODVFl62nZWsnUMmIGJL7eBwDIffnVkAw+4nLSdUdKmvhYhv4rmVqIJm3bweGTcp2lIpBMbyUnm1leOwNAIWj4muI5I6GhNSRD5tjFUw4RqJ7cPDEPhMORcZj71apdbmkiZ5zABTGdIZKPkdSFhIaZS3vAA7RBBLt4ozkwy++8jyAPY/tmqiT/4PuJ54t31NRRr2hB8clHvpguQ6ctpjNKaBmN3gNOtZtOCSPQLKB3e4eRf4bE5i87iowG5mls4kWDdN6DtIhnpaTQILxu7aZRFLSdG9S5YWwNfRgoGW9QcgGToCz1hf0PZ9X92T3arrBJTvERqVjgdeAYafDHFyA1YBfdUhRmG8Phdjs4kK+tAseX/m0R87TxdRUBGgxfbyAhNVTHgrFysdYvLM9hgTbqNO/2Hxlyci7YOlzi6DpkwOsZwAbySK6PZVhJLS4ZLOanJxkDdQji6JBVTDILlQ+E2SNo1K+VZ+pzwGIhINVv+OyE2YCTfhaQPr+wOckdNuoTeYyxpVKAn2FxH4sicRpYxmUwgx2lg5Qi6GQJgc4Zrs52jrPDbyu+fAwEbYZcKGPLuQoTWM+0+7rKtLMvFa/jeUm4GF7hYw+iTM/0p+1Wyx21+B+7t8p2/aM50lGJVcGbf7M6DZr0nvjyYchwsNkX3JuA3aQzmZwFdcCfVXAGkGSIUnTG9oTz6zBOUStWhTG529DfLn11oMsAPhQUJFUpVmMubWlntNBpeKL3Qm0hWM/KntcwJnGXFQEeJNoDEYRitknes9Wb3x3+WzmayupPFzwzprJnDJdCrKtwlFom05W6mBhJWV7f2al3xYN4RsInBdvtQzrhNWNri27wFCGw3Gp7yuBRGWG5GCRbEzbNRHQCEuBZ9NlNJawETDIjW+qg1KA3qJbzvCRDZdVMigjnh5QnLIvy9IoOzDHuYF57wLpmj0moodmGEpIooH5Gu3q6XlHTElDhtL1nZa8lniVHIxfBcIYkQ93aMsukT+IpskR5Dquxf2oM5m2TQbd7wsrf6vkaXCRhdDiF4F+aU3TzcS2sypleI3/00nMMTOp1So3sRTdrP8wtfGzQEI7VQovf/59Zs5PycPX5dmu1OgJy7Egn/R+QHcFK42FgUSSq2Y7/uu/DoTRle5dJwM77ODFtBaytoo8LGJj80TcX/CG2D/htdsfqmjLiNNi9Yf7xuJRC3E4k0ZHG1cYIFngWZuVCU1g8WCn9VqIK9Y9b81IcpF7qvG4DNYAiIKb+DsADSFwKVWN9/VeArQROQ3/9vAxcIRVjxC2chg6T65jzWm6tTuxTU277nfIpbAxNyuwzGrcKSg6t8NKupP2O+N69YCJov4bFGxX8SP+21i7eNnQAmxXA0EnYil8AU5o+41LWQxUG3Gb+60k9W76lgxuGaYBnhJQvPmUIa94bYinkrdyot+EYohF8Ik3wgptm9DYzx7Z2Fu4tESE8vNov54qRZgHA5FTW+qr3YtgpZnPJzI2yoDSHXfOZUQw6cCVyNHE/59bzJu2ARBwieNDTQNF9l/XEoZxnC+r9yFc5fMiBri6wGRkt0DxwBsAK7Hd/Mh4dWwdkzzWYSDgo4P9sNLVi/0kSoVG4zrmjLbQ35xonkC/c/VQUBCDLR4ZrCG8g3XAAHGbl/KZqpT9AvdIUe56JQSfrPKtgtm/P4CPXGYZpZoslFoBRSF2Ucok/kP+ygsp7J8tne5pnDou88lf5bg2NaPWqFNi0GgCVE957LiTv4OxxK4UxyLxRfop5pziaAwceaEWnKTmWfNz6b+uE/ks3f1RPi0bzEm0lPay+clbnYToncmcM5OjZw1GSxbctSqgKcG21EShcX5ICafZZ+vq/dYXIMbQGqdP+3s/hvntGAkeXAxiyhi+V8898uN1xHtlddeIGsJx0nYbqa+2lINCiojLKEvMAPns672jFwEun1OiTiMw/Apm7DJYM4cmza8GbZmlMPe3qGyaY5DeunZ3VoCZ/jOHOiaBVskuLUj/HHQelruUkK/Botrr+ULuQ6tRPi/5cy8s/UcPbgNTgHCfbWKXxFmWVh1BNntP44Kw2zWDP8tLCBFHiK46l+obBllPb0DthCqwNf6zJgr+TVhQnFHs/2xW1Fja+tQmoLytPnfyibBDWfdCGfUdGov25mnCYH6ZQkvasHkwBBKuQ23MFvm4a5EU5GMftpsnmQKenIMT99l5j4zUbeB6VYsGF4EBcgHV1KE25Zkv5LNaR7jUCgYGFaRvo4QtRh0Dd9uKxx+kJrtAHyUsrQQ62QHQ+yX2unshY7pki2fw5mvzO6nJtMda6hyeXd6s6eODdebU2bxl3J9so/5Kq55oaAc4DMM9UH5fjIItps3xJkDxMu34NlAuIjpTYAs6y0u9s7IuHrZ7VfylmANALWUrBJw2L4lfIoPZFVSeYAhztwASB6GrxlqrOFM9NICZufXturO28thjv4kAlsTXCibKy9Yi9THkAIX6O0AvKUgsCjSiw8n7kxNtgC4OUS3GMGej7P+36A73xbN9kuG3gI/YMV+ixoufbOaaSeH+OeHhrG0T3QTC0mpGQcIUxOXznFWJsp0FDUZyMMXQOH71Yv9uEAenivFLUnG9fdNgrMbimUF7MszFs0ur7lDmjIEXKtQzvMjEY3KpUyvqtSFffxmjiN2zznK3M8CVBqHx8BGIpoiHSjDI8lQ8mqigxVbA64xENmgRoM5hpq8nFYGXw9zglyamHuBgOuCFgyXbKb+8w7nQM7ieW/yQmZAcTRkzP0mLb1N7g4VfJCky4FRtUJOxcxrPrP3+CLeIVOhRmAM6eSaGfuFT/tC0EkuiSl5sP6NdJKT6Jo95Q84WDEWoFSb2dZGvBIJvenRM4HKrztEwEp+X7PdRSJyPtOjgPtASGZmYuqWN+FtPm4rOeWyeJjiIoCgHQWXMrCpUXfK31cCyV56kIF8gfn7RhvVZxktVIIrPPbxZF7U6V/onzjtwcU6FTUX+6Lnu1SasFRtTWdtOqtU8dzxtrIyAWu5pO5+Jd8pHdJ4xJDy4kXPOVBGRk5aHT/CpG18BSppfTUO5v5YZfDLz1BbQfXo3fvsPfQddniIY0K4rBK+a8wIHDMgiO02Ov5QhIkOAcC7rMqaKBjW8aaN7u6PBESIn81UJJ/ZaKhqcAgXZ8FBxhCNk7vC5AlAT4LTU23Pkzhv9WrQC0uXNWHEcvW63sHrqyFfWj0UiX8obzUkndBxov0Ey4oszBu0aJ4A+yfMNtVKfsgvs4eDrf31rC4SssT9ETA1hwGGrdkO1m/CT7+26bgiaMY1nog6cN8MIJUoBBQiWk8TC9eLGwzREyGXiySAlJ6PAZabqGZg/TM/2tzOAm4WlH+tNNDMYJIOG31x2jjyZF57b25X3kf9+6Fuw6qefKBYL0nsGOvED2m5L3VmUpg/00IoamQ83xaQ/8FORLgnSuatEIxWnwJfAn89EVvWniyVOvP3KoXvPlDL2noS/HIor37wNC/h+0pDj/ADuGrgmDfDX5f9MvW5GGGrv/5a6cITly2tQabBTVhQ1eKwhwMX2SCNdMDsFRecvJWlybG70iU4ALPONpsqBwjzqyvGW/2Psa0l1zcjJkl6AG5MUARW3lgvxjsV4u6LhevEAE8KjdxDVrkDo9oVygeXzLCwpcl9BhVK6wetpGYTm3EMNu6vI7IcAlxDoK9tm5DBshqk08XAjv9G5AXPKNs4CAo4Qsu4lWbpuot6Tc2ZpCj2bHLc+p7VCbIDF5lTbInwJxC0P8/rBV6sGk9gcHkQcFF1zIvq4vzPSZSvTXRIT7wjL9Z7/Nws+Y7NFJNjdMMcoVDBUFXe6fcJtyqZWh8Wvv2J/E1J+Y2uZvTUjiybCCyu4xQQLC9mzJw7gtCMgPLnqfekMVZVshy1sITbU/Ab0TZ64BwbEUD3BiBAqI8o8mLUZJGFWsOmkjG224KcZWyNT+q6tNxffP8TB/SmmJ8cPit5JTFHNamKgo+Sxu1qDR2pWlmEzm4AjzTAErtkjSlEMRhxfhQ+Jm9ok/hv0KHbpOUW1aPR17N2Njzr8ZMNMAEw+tzrQVw1Rzu20i6ciRnSQayzlJ9f4X65vK1JzjSUXWkBUfZSqn4R4f3ODMio+c9MM6D8psDtsRzKj7SZSmx0ynkrIFu9xi2CCijZDyS7iP7Uy3PdcrpbSG1PVqc+tE5DnFIvoYbFlDfSVKYebJqpCvkujFGNfufQJTAUSHepAthW1xevBBI8vYpU+Gk4gj6RceFRR0Q2PwQQPJeXn81+dStxZq/BJE4nmjIW+7b8y0Awp+xT1NQJMfV1nQ/vNKBqtRZoSoR0TjcxY8d/YwgQMI0FLBMYVv4r/8ktUl4KeXF5kQy3ko9vhl5ZTBFD6yw1e9kpuIzcdVR4z8so84bS9Wo9IfnsU3fS7zGijBCr2I2NuI94mfKxHNc00Nh3BCKqMoThXX/XR8ozRqeFDDOc8VXiwta33GF5m/AfFrHRHdq84cMYgW5eBnzhZMoe6kM972pv2rWhwMgExrMLC7ZY1w9b7gTAA6CnV8hy1UEr9PZgQ0Yxaj3NuzBG79fqGmFTKdeXdNSxKeugPN0WXkSYvLAs6KBNJJFzdYexHTSFylpUopHwooFYQGrZl4T8mSRRJSOzB6JbB+Em4WwrV9+jCt+6MlFF+nlIJY4IieHNGzGIlLxQ14SJ/j84t9MRKgbq4c/Ib9xOT1Q2KR0qEgvbefVPxHSjclhVWBdxOiyGpKjF40M+h7T/t6uAhD2jbKg/WQW+/bxPATF+j90ZGKgwsTAVDLZ0MNvmIA5G+SKPL1brsF+7SlTNEH7wQsuzobuZv5Th8aRE1w1OLgo8EXawSZZWYP6t1kaiTry4U36kTfVzKyoNPBU0tS2fiNlKqcsMj4UWIkiMl6YG6xtGfV7TaqO2bzKeT9lsOIUGV4xMjoUpJZK5b3Z+GlG1TemLEyDFQjYmFfmJ5R6pwHjJgpgKGzSVcl2TzRGPnRfoPf7IGV9wxF7UviLKmfppw1Ucql7h3WNNob4VKwEsX0RPHF51XUJWIjlVBjBv+lKOX9+UKy2eR9gnF1IUA2PHso2vwSlIeCaCjhxF78n8eF09eofGxPc4kCV8X2ynyggEAV9K12EF/Mek2sSlhEQj4q9ERFQqepo7U3qmfSFcbXxpr99GtBiN/lk9ABL8UsUx0TeiXl2wayQvaMAycQJGAXDXiNaYoRNRjQlucf2rVoMc52/xvvnxxcaOtfv+F1ZQ79N0kDCbE8xbSpIOASb56byzNtJZQpj8Hkzu4IcMLTYZ90XfaM3xqgyHNOdgZHfcljO/CEzhV+YiOaaE1+JW4d3kBZmyLTEU/P9RMJQDKmGBXMclamVp+ETHvCMSXvF/wINVR7MYxRSQgOaYZoy3JpNCM1vLPNKcBCZTwNchAK7YPrZuYgcozUV/+/k/BX+yNounB9my1q0fYLAvcSIT2VcX+ldjHG8PuO/0flFKP7P2yJXlgZHcUW1ou5mc5ct4XJ3fpm29NI6CTeK9uUOjnDHvvCKXYTRAw14CoqUVH4zbjDwpex9nx2AUhnzth7HjLlT25bKxlDDRGN4hhExy2+CYSa3WA9tow1HMjX9xwpr9+SMaFuJFtJGLv8nbVAri9QsM+cxY7aMmEHJ8PHCO/lk2Op4xxpYXyHg5QVV8lICUmkw7ipNmxv2lvY83hGfSAsPbkDmFhfJcrn3qBQ7lItf7nNS5t7LcTmQinfXNY7ChwfMEOx6fuU7Lve432BsHpDI2EFtNkTu/hqG/WMTawCw5wzcz1Ug3I1IKjh4CAA8wiHUHYt73zYLUGs2a4DX5WDIl2mN3+zL2gcqWT6SfmTOn4oEmPwoEnsbBNHfkzCEIf561LMQN/JW0YlVH3mFNtuK+DR5O6H4C6YdQW2+X3yPQWaLPdOn1Az/Maz4JoPjQg9DjT1+ZzpJBVjTPwfsKRwJh7NedPOUpeyzUf0D5ZiwPg069tIPxaiU+XlRZFearDpDA5b7WSGtPS5QuZQvZT89aRbjCh9SlJ3I0xatky1uxeEyWASWEVfAW2sR9siImXKdGf86H16YudWUlhf/7ptQZ4wE93Ht1EGzirQ2YPX6+E0PLV6BxHWSOCyQ/36Kq5uXrqWA5KiwHjZFpDu6fpfysiuvdbpXkJQpehX+gOye7xiwiO6KCnt7vdpQtzAuDs8AZhZPR9ccpkjKJ03cTrY2ldbZuPTBjqgddVZu2Dvnsc71l9ZIBQKJ5G/aT0ODyi3RBbs53QKFKS9Hmu1ny9bo6KcmOQusnfu7xSBXhcGD1TigU/58+fze9zJBUVdRCkMWjkkra31FDYKI9YW1m1w9Xid+RIP8Ugo5Pwj+oP1jz9kijMle80MudirpILYHHLm8hfFcLeNO1vrt326m9facMORmcdzUjf+DrMfHdxwQuykMldWTf5+SC9GuWJ4PvSFJBRG9F6qas8wiyHYqQ2aPIAdcxlnICftYIItqlpQZ3Of2zjCa5upJUng1toR5ypkkbDxEZx8IaiIHHZTC4L0Cif9Nxhm0a14w5qD2WsKpyZJu4pstFXHrHyy8rZL5hpCNAqQkswozljoZsfy2Kq59Fv/dZRLggXdLJoKq+IkuNoMWxHIBNLyoiCdj/Y8H3UCDUEArRyo1NCRDOjecdr94PHF4o0xp5Lw1SG6zAzvuZUBI7LsENY6DcWYLZvm4CnYYzwAa02sCwPHg6BrTu9o4mxQTZDeV3kZfjOcnpnKYSyQTvBLIsrewAj06DwFbpM4JCc5aaKSoYNfm9XeAmuT34eciLTg/MbWUCu2usT5B8nCanyjX0j3ZFOUbg39dD+djQkY33DztR5JzQlHzn4I/mUCSW9kilO2NRKeP/0rkrg038y2Zta6KOZhwL7qv2CQr6JafdET7DxZC5YIMEwsbJiVeqA5glao5J4QFfsS16Ul46hjGBfm/pw/ARkK5Ui+D44tPe4QUmFOwcfx2cF2J98d7ZuNP1cb5MEdugFQnayRSkqOJ6qVM5I/a9UT8H4Fer1tSCW3jAPetc6Y4s2vlDUvtR+S/8EPbiEEFh7Sa9z4xKNjePMMj4IbQBBe0LrJKOtyfnrhrzbVIGE7Or68VywWKUs97iI2LHim9w8jWgeCi/C37DZaLOoEw1cCj8VnEzUDBylUcIrfM6pqZhsUC+IImaQdohyfSMQmIGDJ7jbIm0Kfmro1INxSvEL2l7C+0RDnIme71xVc3110Srw0IwCWS20fGivbP5z8owI8upiOvij2YBSrSQ0KwKN6pbnVldvBkqSQ6EclczQgawggdhCvnMLYms8yY1sgLe7FmuFuwLEiO+xhvVJpJaTN3DHtrqlnAVuQi6arElhQ6DN2WDggqTayAhgObc78WH6RtjcpTg77urJEtFuoZm8uJp5PzC+cgMu5MGKOrpkYt8TcgzqVwECqFZtT7iJBSqmhoWOiFs7ixxuofs5TXwNBhtN1CJPBeNGx+ixWnHd6mmFidJhMI7mdiJ4vAEXUqqCFcXQ0Mp0daqGql972G5Dazs/DPNze58UNs2WSoYHMmANvnh4gB1k2F2s0lDsZrgT1q/TxC6fIqLP2rqN4iBmZ2d7MEvRfBRpg3KSFxMBKNcB3MPOJFKQyvfBtt5x83y4cZe4cZqvLC7M16R0HvSN6UsADQSMhQHxLljAlZ2A5uhV19LjyUm8L3eEXlEmiu2Uaud/uSkUG73SDjgNAArMavdoIEbc7zpTbODgXEP200bJYetcq+a1+Ds9pmZb80JOnP6RtslLYUV/EptJXkCWmscQe1uJevYO/Ze4Ak/nE1Qrg4nTxZkgxlJzLO+I3eUpYzdFUv+4ByXj6bn1VZUZeAjtWAVVtKcvn5oqDZRImiYXACCJp6qG6G2Xt21PlEJJ5L4pJ6UHYdkZuHTUt9oXDB89y+8Lzhl6i/sSUWcVXzCBw52C0idzVKJlvB6bVzPUevDSiTUXitTwo2XrPL9V9tgbxdcZPWl45apJhkhLnp3keS4D8k5lBPt2/cyxSX/UFwJwpAxWS6C5nZzjoWMINq2rn9LfabRoWzjDs7VhMqjfnRk+Q+VaEy/L68giSrIFN2dS0j41tOU0OfNAov28s/jZ2Xuq0+a3Pcoi7vOB36ah6Fi3yQmsUQTRQsSN3aG/pn643NktLbdbU/Sl7rtizQnl7k5qsxwD/BKFDbt+kHFH9j0W20lw30Q2BOjGkNG98CVFvU7uSq9tk88KXyaQ1YA4mU0Mgfhhfv1/OEkPUTdPJ81yTMJ0nqIj5AaLU6rBtJdRNOiCQhtBMaKkjMKiWfo0Y5qysni5i+Y33rDjKoQwqmVftycZcqYDITSWW6XA05fe+t79rVjcEZbISYIar+RODcYAJFshMp/uVSqnGq4WQg/frvsvasgme/ecoldqzARpja2v1CRwiedPdM7Kw9IvvuRpjiF6oV34fprvWdqprA2eT0641LJmAP4XTmLbyV6ULQq3FXxgcV/Pc5WVoe0hnnxK9ijkQdBiSau2sXHpI3PKx3tgJCW/61NgWi9jxkAmUwUS88govuRHPEIsVArEzBxh+1qODvb9oL+sepdy1pfw6Y9UYa3GEpBquGsdXLunYJpBGouPtLn+d18278mNV7345FBLzArDgwc/zE2zcnSVte4M5gRY8ddvp9i/DX4994eNb2/NsbZN1zCFO/fzpJNnstPu8wjVpj/ATTK4KwceEnsDgWBuoCeVHeT8IjLTZeJyIfesea9VStMPVyox1c5GH+BsAgf2IbFkQIl3UyV6uA9wwGQiO3Z4BBj1hs0wiJpK9oznzleT7QRcOyO3zWh2yNwvWxgOFXJXyWkTlKGVze5rLqW3mC0XcdLhWoc8Au6KJuvCLYN9KPecuU7f0lGPsns4hbyY7/ZQbNp+N+m+9dnAJ0dLNdJngVwSdtPbD3dIrbz27IqCqB8dlKU6y3Ec2oewy4GDdiU6Hh5GXGdt1QjpTBxrdDt2oioDKWzqPvNPI8Zs8qOuZN0Xr3BPw0aRYH/GC2JZ1rvNYe84ZwTm4JS7weQkTFA7AkTFTdWlA8ZeE4jvPFsUmUlHNfv4XKMAcnZkpvCRtKvebM3jQBYO08e7Ho7bDA8dmvot8+ZM4YHQETtlrkNMnZBh8eit51WwOTb8ZPcjIJk+PNVzr8zE4k6jiYWxa49bLArAWPhWx6ZGxxxjlUi5vXlSL9/r308gYlDTkXG/TLc/6Qb1mrsDFd/JMDCchQxxbyTL/Oj2tTgTY07yeTaP3cGZBa1Hv05BBHm2gWHCq65l5Klit7DSTesCh7NGSkhOO+65+VOI2vu/1V0fIsvsAbN+g0AvDp8VBEgkt+wE/k0H4RwHuufHfw3EkSUdw5aErteVGPdzujSGHTkICwQwgKwTDVoDWPT49MqMh2d95h4FzwVh9dl0j5h84I9ZIW8iXsslxdkzsBPW8wVUTZBrds9wGooXZ2y5qgS/vr24BMxisRGq4We90zrKOHB4h1bKnOV07zDU3yBCgV2VY4gQt2jDs+6/ljd78Ho0VeSau3g5QN9Ix4n0N/2nKZ8eOHo8xi+r3nh7MUAr/aQLtyROlsov6LwoTMtWBpDw8KbDfvHfMosQe+hDfe15RRT13dbie+9a8UmznbEg/ZzYKwKQpqUyiOXBAagv8u5EtnUdrX/aSf3hw0SyAWf2t7hpVAmbixQrZ46rHaLLVvLSTPL5eujIZ9ZVusXZSrIeDoOmdfrDRH3Ao/tTk+FYyOvLiT6w3YYx1C0aTF3vk3ZQ6JJmxjzoKEX8kBUckf7EQJ1BUbN500p9/1zu545KvxiapYKzBUtgmwACgjl0vpBtt9VKYiSKuqaDtgj4mWU2U66kl/G+WY1SamzKcM7fJQiRuCwCZzwyqDyQv/9PdJmN4BOaaZ/v3dXG1Hth+8KG2PEEVFb8mHuKexLyJsCdWw8/4XA48+798QyTq6aSzEQqoGlI92GV2itNjEvkv7Oh8I0KW37ZPp1kCVYtqpLSkgGe1IAcj88FHfHw+0N84Ca3sGoh9S9K+05XcsqtxUVoGwa+Ic6flsvkdpLjc2K8o2ZLYkchvD5WfRFDBh1895ME2UFt4WNSQLYkkwlsXKA9RamuNsS1z/N7/8hzhGWqSfjXHxyQwfELmouDPQ796dCPiMOPK3a5l0MBWz0Q+5M1t5l8Ac+nQkLj3WhuyCBQinNlvfSJ3EztlzafWtkEIQ0c05kOr/f4SW5g9r2dpeXYlk9iweaImUWibvHJ0VU8qMc3kE7P2uh6C133P0C7+YP+zb3KIR+It1C6g7ikz3nisUMChF6G6KzDHb/wIluz4haXhCY+hMznO/CDMbNKMesFYP0R4ED9gqtlYmXsktcYP2+vGKuWR8JSvGgJOzxGEOC0zTjX1at0VJTDgXsOUV42/oSqA+0YvtUtXL9QAxGcqaIG5jTs5pS9zxV29iKeCVfaua0im7YL954tm3jzl7TNV5XUhWA8Dk6WdCJq10v5LNcpvl3+SR2LMMtqo09m4B1JW8Lpsi1+SsQMBTX6NZWv2OVN9xwuTG6mGYdXasQv73h2wvbzGOeDEnp5au66ACG2Xsb5Kxz/5gW2EnGINwrIfNml/RuFdPbcwq09kORQmEqRQuZCA0KwtDs5Ct84qOBYKWXJ/GnsRznJK3U27A+luUrL8g5zkp7w6O5jN6WpbBoKZyV0Jw1exH4z1G9DeigaIzxOuj7chND+wzYLkGsEVt3pw7i9FFI/ok7Rh4JvfgjkR0VUwqFfTbG6tXXBuEvYF4U4FN88OXiA94wg/iLbKu/UAq7OaokTCyKx3u4xoMCMwWz3lEwnKZpPP/hz09bvyNKTsvqWIQnDS6tQ8W5O6EjnJzM9It0YKy09zEwKmQn36RR/FnSkYaopigVkMm63TDv1aJnWHs00VQezBpc+PBFWwG4awfv+y5m4TZ6GMHDSPH1DjGrWfgk+IZoXLwnDLyDaLUXm0A1Zk8+v+uwTNhaPUIvE6h7hbxfKSO36/E/4L/zB32eqzegGN1vzVUL/3Ly4VyZtvuInHt65RaTXaQ+5Wcdl7A9i8rBKBcvW8h6Brkqj1jb2vVvRwBhACyqNiA0H14c+bOvCVYWb37/3mDvAmHu0zIEzR+eCYLukO5BrWCIWm99IntSppUrMWvOApyo9U9m/4b/3VrwUUFxrLD5ixl0LF6Squ/lehC3XS5sCXchN/dVJWbjucJR36stOY5ZbkkOVKXO+oOv7P6mUVWcOeIy2lmSLnLHkCv/7rImHXJFiswTdNqhPNNPWqwg/eZlrOGSv+OI2mcvjDGDcm1NjxVP0IXcEWasHNUCjMl7kMjLd7CD3rX/sEBT7tJn23UHJtEGxKD7tJNzMfHM1ssKcSxI5W6YTNWrvahuQQoGGuvgA8YJtYzH6ARkIwzlZY2fOv16knv2SGC+lAQXEzSn7dK2vQfb4RFQdFk7iF9tC0MvuHCis94PY+5qj7jwy7GVUOl/nGpanRP4hmhXqcBgHcbYKl3KCrAhUVpkXA3yurGQ4HCRz32EAjTjexA1SDAkM+chu6DXvuh3drQ/8RQkGbjXtoOpYHqDpEk2IBc8p7Ev8tYFW8045Hp7uEB1CRy6LC3Ui/U4BvdFnE4LTatKOzKUKm4jWCU+WtfaIfegN8C8Kk/9N5damaCu8eCY7iR6xxCAMeGtKJYLfACrJmWEkbmqvyFMacjaBKpCU0VVTeTL6sAUp5x6KN9K9liAcyXngOs/svj2gu7vFoE2lATguLRXeDA6u3c3cwg4wJJWQgMo1n755n49wSS4y3zuMPO/fWIA5RY9wi6uOn0YJ7+sUX3E9WJhtYCnZJqMkaw9MWTgtIjzrSP0QUXI0JRzypE8luTTMVk7d8u2/kUv3nGTr05d176BRwEDbGUzt2aAHNbeueAGRyS7Jku+LH92ssMxf6eVyenc0YLs99NHAQxJiyeCIUU1aGyxt1DwEsagLbMQfM9DH26hGfy4xMUyZqJEIS4trXuF0RGSdI1+jOJLzJxa2JbQudzk8H5SHm2vXTNv13mmcTljbEGdrMvMFCQ8S9wMeExlhvAHvC482bNZW5ck85sUScFN724vhjBJlcbgMd2BD/uTUR1ACC04E4WyJbqkHMf6H/HdlIn2jbR+oUyPHM4TuzJALlBFwunosot/PmXW9G/DeBvCv162F8Kx/NiPPEfAaakE9962nBmzBGAOmXLIGgZE56OyVeDwhhfGz0FZ83jXv9pTk8tMrfq7LiWZkAerO37pgsoplIzi5fjcfYdUUnnoXEeQH+aMco51y5K42R3mrhgtphVloozrhO43VUuqZhhD7OMrMmaTZUwQ98XuBruF+Z2mKOItjc3Bd4JgC+Vc2IPd1gy1gqiLCog9Ph4ufxyVmT8wN5LjKwHTa2i9O+WtjDOgArOwg82z2wwEAPADOkK7PPXBufLHpoHbx4X29oJlTRdQkaAuV/4CDqLQTmfn5tOtjmvvi6cLEWdifFU7HISDhFXY0qlSLgMCjzY296TY7n+2hYFCCz2yl20L/Bn2TqTPyidiAxC09jLcaq0gm5Ag7fScuPut2zGulWmMFHAICYoA4+jZlPkiHbQ1k8UYna3hpA7kLSBc60bTE0MHmUtDwu5XoZGT6c6LD4ibxiRgIKZpKRVnKKCu1o+pr+7Pesoobw90Ib9QVo+DiAiTZoh+Kehx74WNBdubD4xNtoCrWaK60lPZfZSk/OD1lzvwF8ljgxdlEQghEenpHFlQ1Anget263OYgJYFGJGbFQp3UKtjnUbO2ShQWkFB58cl4bo5oNf7wmaebfB4DV2YD3Nnya+Bt/xl1g9tX7sV8quZ/heWOL0FCCL/1Aa59UXUxlAthwfdaG2/RTpD4gZlGJwyLSl7Gs638SxzH7lksv5pjFTMdUMYFajtsGap2Wa+q5+3YdsHkHMIW7H8KCoeeOuOUjjX1YoLQUVXZ2qTwZY0z7gAkxD4URtEUARbhcwt41RdKCqCZzZY7tWDSfR5iXj1pZ+ClvhkMuoFLch83qDG4bSWCj7xS4nxdmE3YSeZqGBnPkF9vTlxL+lNBoCwy41MjejQVPkUtiAVSuht9NHXc61SCDQWjLL7Oba1wwh0lQ6Zwyri27LkTQ4cDrLpZsmK6BR5Q/u2tQd5vvN44mC4kA5TYbe2MNj/b2VjjoGb46YUE1F88kxGLYboUBFwXajb+WnE448TUFvxGAD2pWIhY+xuKkMj9ho/gm73T8EMAspkzPaynY+FKFJkBSzzGVq6lttlolas9VuPtW4xWrlZorImaDAEgwtFqliwvOlBw35bZ5EmbUeIA31laCokZpuwOqQxPLtAwe8EHS0HzB19kvlWZY56FSC1T3lCZ+SlHeQaFyvMdwM1fOqmbJ8BITrVLlXhTZ0et6vqHXXgGUV2pLpntKb5w2KDYnjwXIbNrcExpRcPEDXg2gZTHAd720jr//VpSwxIWVwzN1hIFnRk7hiCaUCzfNm6xIfpP10a+/DEHQCh+D/OabRr/DSjwWcENly9eSUVed9kX0xO67I5dLUkJYq0SVIKRvuAL6Bq0WiD2CljRYZwfppD2iHbxD5/7fCYORXO9xYAZJgg48+xbXVUoeUJg/Zi30331hhrPEst/LYwDz0Tmp0H3wB9N3P/thCkE4XrSFNHbjf2j9Dr2EmRog+8FL1o3x9x1CDcYTQJWPJD+NKaHtHuz3UOjg8qPYzuGUOJ2ruKqIJ5lG/k1h7d4ZKoSUYtoA6INZwWNu4QMWcXjdqKrbiPn5PtemAnUdnaymMGzWVAExfuqlt1vJqRwOe1KN417IZa2Q2ObC6lAhK/hs9zjEcCWkpPvBkKhtc8ve+qx3NYLbCmYwjslgeEIuIXKbzDVp8s35stv/MEPlqAjkVRpO8Mzttooa4F5aOnBsHSfow9AWOjet8lcJxE+NfyzFAnm3GLBsSMsC/9/UKdWdxqmZvOChIxtBXHUNTLewLgDp7vps2V2PJfhfILR8cQv8JE/o+Fp2R4kfKIWaE6uPGP5f8JgB9v19UnMD2rSvDLfmKuuWNkNyedDYjeCtNSW5m3q5UVwNHv9/g9Gg278GMfkQWAY5NEr3NOIxV0J110MYw/mmjNLfJ5zgjhW4t4YNBOO8MAIOYp+zXVgqTbaql9HPHK3c+SVQ72rwwWDssF6SZdVsByRxZedxs4iAVoCqXUMpNZoMr4XvJAPKMcrDznhx8gHZD7kVYKvkbdWvQxIauqxdb+sEGGt1mG6CedIbsn08Pse0aovGus791dcc+Wy7g7xXET/UBsVovCR67KjTaKEg6Z/WJSdBDi6ACk1a32Ywb5dCeRZR5a4eSVj4DEBp9yij5Qutu1oQNYkIIcu3rWwU6lh+OCUuoSW8H79RWRfq9pwFawDt8Mz5Wuh94P9n2IOpDcItKPZ3F4sA0ft68Q0bzCah1SbtH6lQBLhTQJeXrub/G7L/BB5oJK3V2hCLc7IDwWDmNPWQD+ar5X7HyGQzgxAYmEaLUsp/uYKNCUTPgoUigZm0YBiCC9isl54ZtfbvmwZS6eySmt/u+xXmko5qVo4ArE4Zpq6zNSbCZXHsxRfgj4JVRXbMqY22bsCGTPvCY8AhQDY2Eubmr/PPkg4dopIi2sL7YpuJEmuHhIs5Ya5hHDAwhuHy7lucTLozdENvUqHrBGNI4r8B+WDtGyru5BUoSAduEVAqW6Tn7S9d3Fa82fzIIk6arlOYj13McP3IIXRG1u0qOh0g6qUBQBMjhnF9KETQ69GN1U3A9I7qOhSKGsaRupBqsvxe55J1Hvs/fBJyVp4HW3fA763nl/mmhxULBQr6p18oq+UiXhZZlf0lNS4/8tvOb0udfBx9EWfgV4Cm6t1ViaiZTvv3LVWZknt2JO7mBER1nbNyCu5YCECaMZyI10jh53dqIyp82cyWHMWBrFCnrwVkWZisW5A7Okrej1bYl7Kmw5CaHXwq9ygv6LUqhoGghqINoEB6GAbIaZCHUhqTgHlOlpQEqx5MBEfa13fGw4NeC038KYL/adv2Iu0UlQWKfVzuqlfTWBmRq647Ui+96jYORkwIBbNxbVSUwBWEAo2YWMott4Qlouh3XBz2KqSUnOdYkf7/ghzN7jzv4EHYwTowrzs1QVclFAT0hZ6BWWBOX+et4RcXySK6zl+tSKIXjDZmMUUZnLj7dWREih7yENSfwybO7JOsw4Sxb2pCI3DUdkgpVFz+Fp8Xj42b4iIa/wfBr7GZ2l9OFil0aVJKFS7i9cqetXi0g743jQbuOWWwWxGJtcxm5X6V9YMwMLqsjrlszzRa8GlKuuur6tKJgCTdqmyph7REETEqvzGIov8pGgoC3gDPAFQ2JaF0hoBBboxziiMDCGi7yo3EyJJeDeIsTRA6m+yGm37rnKdLCjpWiCd/LmTrjD0zW0fdhJeM/Q3s10dBMkXLX7ojxY8LCQ4sZFCSU0gSEB7X5a7Wjk464r4tet6+hn55J79kMc0H/f0/8sNxyTmgGAKvu9xJ1VfLF4QUw9gwVMKLgo4S9EjYYv3mBsexS6KfPqiEGU0MumqYUZw6HCOABo0BtYJf0dQhcLn+kfUxfoQ3GXSL+DCDmkU/i55yD1rfoJV5a907YJWmztmVMjPlbkz8jj0v8KHJjGk0yX5+aatYWUegiU5cwGSKssCuXQW5T+A5lk6laYZQZ5d8s8M0h0DR/QPpMZZHX9mjSuRrx719EKzxkqS4zgGIY9Qjxo6Fn0fwRPPxZLFFrb/Nlfrluqq9np+Vf64ex3M4eAH51HhyfeAIbwpGl37vCMyO6EOPweTIF4ul5CA0njJme8oPibHFX9EaNlqts0GEsCgo1w3XSlCHoG8G4PuzyBRIyzaGUitpJznwMQMNarRhUtpztno+1VLFZTVI/fGd+oTjVx7LuhcycmJYlM4VI38QVNmF52bPPUMmpRIr0lEgvqSmU7Vp+jSYFXVkk/h58foLICvoELT4cdHUIqWqYKGIxWHuo3NVL8sMXQMWZtr1eNfQ6Yugid9I3RlcCQZUiElDYSHzt5Vt5Xb3CAl+TNYc4e0UR3UdU5DcU65wX+SJaVzX4NRCcysct0pFTB7sywWtH2v7bzMJ/KPTc0aS+hiPmmRL1kbewvo7h3gJq/JCygndoEyRbuwBhtdahLV2PRWgVDozWrT401ZiCmgGWjoRACkCI1e41Cgp06w1XGmeLcmADArFujAVEuCvfwK0aRYiTUCNvps5IE1M9LjpPIGF3ZIimWLuPo/VyJYCU4NAXwAorbgpso9Lrto1pVFYphrYqzddVS7q89xqDgcl7GZr9qCNAGEA8Ni0zrP5ezr3DPEnW2G4jpW3Rvt93aUMbzoSizeT17ce8f0amVHD0+NrW4faXpAJJdAGhq+kuu4YMZGZfAIvq3pajQfISsK4IPiqfcDcm1DgjZtrI7T/pnu0LkLReIclmpxzwsIvcCnoM8XAov3eRW+K0hIpemPR3xNIirfKCN2Z+JTzRuo6w9YcSoiAg1XKCmXBcswONpBLzCUK6LiYjWEP4FCX/iiakCyLHePDva1yDS4zjbA8yTBMv1sQvc8VsmvXdS7oM0todJNKvsG/jKtpHbNPWBjC4NL6pxVExtiaYLNIfWx31ZG7l7Gii8TypyCT5aQ7QjT9QZJcMhjeS4twNTFJl1a1U8KwOTIvisap7YhlOg3GWRqoqu/gKAmn3ZEvylVJig8PGTy56kzZNAJrx0eDBL0KssC00fy4Z2ip9ooY5mYb4fSTf2QvacrzvPUD9TqAyLY1nkuTaKanuwKszP5ksHOnUaNWRSfTQhv82L0hYNZIjy9jMB5bHxR3+v4cTjXrx6VZAZ56hayf1c7ZmRNR+IL0mupYKx+1HWbY/dAjh/o0RrHrGOSqEGGe59xk+P5qiMcu2EHq0mhzCaJ9nnY6g3Pzqs0thdP7ysQtC5MD0ZDoNeJArvKKNQmONhQ0rHAu1jwGL3oJ4UlXyS09FmPWgjRweYVXve6Wx2BZNedb6mMMcYgvnuZlLDJKtrXd+LxLfaZoaW8M0Pme23iPdjJEttfOIzmOv6MaYhi1WvzytDG9WSEuT65CbLtfeiPAcp8tHn35r6muf2E4J+dx7NI/J5NnKiEtEPANsjVwn+pSx5TcmVTMxQDuROUqZvp1eFCbsPP1nFMH2XiB7NU9lXSaZuPLgrEgMIlG4pjpnzsq9vttiH/TzHJoDoM0xISQzrGLOwdVgeYbbzIoWBfFjMVEMjrpdsEgmSXqmpvpL/UxusleWn47mb4xZkYfD7YYLo7CIrOlkLDUlyXi/Lt/2v7PN42K8KYhb0pfE36LQROIrYq3AjkZ/IzTBO15g61gST3EkeMMhZyXRYwewBOnaiX6yyKgggY4f/r+I4vdGWaS4mI5j1CaRp3OL8rS0eUAFiU84h432C2u4NE9EjQsvuLIRcbZ/D5M6JfqJbkK0A1T8apPdlyIHgv4Y2QdF3AxFEWA/KRx7IO6tUFnyrHvag3VSY8AbwcImVdlf7L1dFV0E5XWsln7sEnMjKeJffNhF9ZovfTR2/YuS/E7j9PsDfkz/JRiD1ObirKh7OXp8GqlSUXapT7udpcgS1ZArou5/Yybs/yd0b68hkndLrHINlYCHYzXXP39xXVqOlKObdMIVFPyzn/fQRbVvTwpAJS4BksdsDzQzjbJfiLWX9gF/ZYAB9QRhhFtY07oFobqXsNN1UE2I5uY3BvJB51zgMbrtmkFZss5RqehrTaowcnhGP6ZYoHIIANpl9F+smrVHvGszme+dFIQw4JFIu0EJ1HSCA27itqDzjR5AQlmIKGL/fGOoVxsdpGYnXWIxwbd/Kwc2CipW4wNgK9hJtkX//gz2EC4Cvpv14gXiVmsvaqo2gn+mwuTpSlqsSWM25/A4A0m4I/vm6SqamskKRhFXs6B+yZLYkJSADjMgLoVEEOCd90q2tHAOt9aBq6ZG/u11uZTeckKsM7JVaGQszN7ER350DlE7HOtPjUhrcakGm/qwmfoYQ3Q7mgcoUV1ir3Uj3tugT02DC9RyE2AGELpjwk5j8iWvbvnL3U0WlJ++nJXpuRkoOm3j7/+BUqOoPjEfUc304aKQ5YstLb8p+O89HIEkVVzsPa+x7KYf0cPzQY7gT8q5CieJ52CyriRwZgJ+vZAQcyjQSOXs6CGwx1CW9e8HAmzTiK6gtyTzYgCGNaJNpBRQkiYEJVdUGzAOAmbZHn8cdhFmE+l2Iy3uY87To3VFcu0/Rlznswji+q8RAvT8mqaJvY7uxE/3tDhslnWXwnmfCZgGX/rXU0V7jImK9XGRJprueiFRgh3BVQg1/8Cue4K4l7d6wywDE552Ukv2UG9yZZ+XD6On+IYgfBxpLVi/xZNGyCwNCdKQRF0YoBmRsytXDx2d0E1wKAinRDxclno4oi2XDtMYy+47Z3TF5/GmdO3+anNhAWew/AGIJR2dNbCI56dpO5zsObbRZUJGqc0R1UkCwjCvS3tjUSZRntJ8pQbiGZ58FB01JY+LBdGzgSj2QwfbYuS0Gu+lVPizG3Z/UJFgWg05hzIYEzuSAYEQG3mx9ULYB1bcqNr/t8Dz+UXraxDUwFQCUH5hnl3ZEoOFNLJaqPz1QiLcMkWPr8fs7D4g/05czA092cILuf6BIpykCBQJAIVOJlh5uatq2fS23cO+PHwnz3rrJpoHGoAon6SSCdNNHuASj+e3wf2DPZ7fq1Ogd4cv7znB3xn0ZW2mQyK4wRT4QLD5Rn+5SrL2QRAx4Q9Rkr5q5TmSMaY+tm/KWleUkbHg//wpz84LXLKGvxJClNjBs6JkSUbYP+DMmJrnlodSr3W3qWIuyip3ntBc8IZdYDcsMd2JG/SXra9hT0G0ri0Wwon20HUVSisyJ26rlYHA5CHXIeVusRrTTwpcgH3N6w2QGL0Mkqd052XqGGbQ4+wKN4w8cm/SJLOk5LtQQel2s0NhjSaxuA5p5tX1CEIOgfbMpRfjLWUEbZDPuUlII6jG+GPzrTk/7IpfH/YtBFB+0uiMiBFP6dlLqBzeMhBcQRwxwmwERJxNoDXtqeZZGAhB9QX10waWFslxFGRZe4/cyr0dGJa5YN3iROuI/fsu+hZlQuw4ATdZeIO7QE5WgS4KyXpdZl24keCBGCoRzlXaQRyBfp8IjEEtU2QTgoG1Vi2haa91flwgooX0fCA5VUlIrhHOHs8bXg8v75mwwZ643lIWKLOYKolT5cnHFKgu4kX9E3LqAoEbRM+Lw9T+g4ex3sODAk0USd2ydoT5AAgcZivSKS/yJYU1C07BEj0tu3Kko5P93FKm4qsNYLgps7YfhVUPf1W4L2y32zAKT0PMdAu81Emyxy5IRaeZzM2XSv/KonPIBVN1IW1t1UzVKOsH0lFoH0wVaZxfKwweAfUwb83njz8ocoYdTu0g0W4xMXA9zL5oz/837k2ZoOU+FjxqGZwRnWxKBg6fjReZUOlEFXrEs8KJ6aKZtPDckE9v64Nh0jGVhl01k0PTOROHMAH+JefJfJGGXoLhBYjUTHe1dzkQA5aiwdeMv84vsccA1f/OSELXZYiUxWeNlu9GtN6Q8sqiwv6mj0ImoQjhd9XqM08F14Eh1h/y8kxoS4pZhYzQIrSoLB5BgyBd/GmoP1dp4JExqY2yk5xaGCXGmFDLt9827r/jdYCAu6O5MUU3w4diYx2WPVjO1a+uvYMguX1X4Ue8wzHI7RzRPhTNVVvjTia1V8XhpPqxd6J/h6kHD5x+fv5eY4Ql5dZImXYI6W8PeCb++hXmCNqu7cZe7iPzPLkKQYpoCuaCVCukRTXWJRorIU0qZlVMRNinetQZVEh6zq1zb55gfM8yck14QApeAHr7sRCOKakzlCcRX5QolHyMbnNd/kIZMw1ipmG2BtPm/tjZFIN2TLdH25AiU17DqYIhJE+FcYeRr+PMh1PjM2XIJ8QP67G+OxqlP4BWIMv8DkqWpDg7zn/bxpOG/rjOCNtZkbwo12kaxde/MT0WwrD2L03FyDchDWE1a5KWn+hHhdkPJ/GxB74X37VKMwTIyqVeKk4NSI+3ioJZfKTWZhx9b2JJZ0eWccaJ5dUJTmx76pCHBEIePDL7eCYd+mzJMK5QVgu0bwhMwwM60D1QvY/XpG8p4pJlKwvM0de9byt5K5fC5uGDoFormp7sD2rJQ3zx7lYKmi3kuNnuwzUvYAXXtnAOV7wXPwd5QWGzixENjmlAUByomc3qQjW4YXH28s59AkztkKr3zSNHt8FthQiFDc8owJwaJGPqKxiX99jF2Pd2WTkg2m6C7D40EUwcb25jgyBDvmx1f0uoaIv2k6NIm/JvorvtHR44pGXCQxhfU31hSX1EO5jXdPFUn08kbeM+5WfCKkcNiRdLLbHiP0gbqZRONCXNGlGOH53iIAASs0YRH8FCA548bcUeCkIFSdQo3KOKs/NBFZzVQCdidwi3mqJ3MU3xjnSsJKPAmJ3qWaSbQs3GsovU6fgihf7MYPxX995qJUJjEZQTD+UsYILKjwOHHq9x4z+3OTzPPVIaXUS/wM5sP+u/lOBxvyz5jph3nNaEqOdJ8jmIIaBqb6Os4OANV44cQye0b92JzUYkP+L8TS/prIu7oJMXDLs1qAlQ19ory1/4eMY0gV/M+gIpQjIHUp7qrqdF4kfQ3c01xCVsXWrLKVj6FCgoBE+fuqv5Rd0o+vN/0ycClA3ZTCf1J4QdmJ6kU9jbuKgcy40CrPh/nh+SOkStn4IhVN6lSW3sgH3PuM9TAI2HcFaHud3IbySMDkTQEu6HWwTU99Jpqv1yjVJXJODtghGqqOPK9I8lEfslAiRoWMq889VqdZHd6t4AHqInYx0pzpUHhosVTXlWJmd77rBlTZSTL7xG2y1HyO4FqM7KZ2mqjauNsyBIwhNbTOJKUQ4W7ypTiiEHimBfahsXz9Im8Ghgx4h94zXp0hsV28GEY+oRNq56B45R31HxwLKb9/DIFv6w/9czzx2rjkaMLM9k2NPz1TzyKjFDThwhenlmG1vqknOS3vCm+tHE/tDffU+Q5IeaXZLVF+xM37kdO4FV4N/MwJFC9Cv2h0bnG6U9rnGnsZYJPynh4RihxOjvfmxUxwQp8DkayC6PW/iWUtx0gcDJPVwXJnempdG1tlFShmq8D4nBFIBRmEE2ReZFo6yCC3WnK50i4xfeWLZI3ApBoiKeyT2R6jq+MehmQTMbxW5iIjS6DMGhLeW4hMPT9UGtWo60zDtC8CFZC7NBu81EgjYciboWgciGbh1lAUuwq529DjWwiH4f41k5nK+Os2RvRP2P3m7kKhDYKgynDe0GpNKvYUjht0pqbccYTDUTfE8LaI3EIWa4V7Qg23JLfbLNPf9A2JAEDog1nNvphyTznulA0VQ1wi1oKoVGH5p9gMoRfBI/Rs7rZqsxjC6OtMy0BfxdD5Vuvi5gwczeXpZluOEQAvIAd/fsGCBZI491cGnxXBk0VVGWagxwYnwKZ8JsC68tOjdFyaakDLTiEdV/9DkAW/oIChF34swc3cp06yUHcTLGgWSadQWaVfa6vh7Lh6IWiQ+tG9fEID84YkiZaRQkjVZ0RZS3N5qXB5MprTyBX0Wlcx9w6wmpifBUk/xqZNX6yPC9HeRoDYo2xGaPog+E+ZBE9LFGBoBAey/WFAh6TnFG+1f9lawyUj2MfUElb2XbPku9WklYQsiAHWPCnkQ7226FbuX9D8Dyk5+pPr0unQBUYd5KkaQaWRbLYJEk36LaMz7ScKce0RveYXykpxu1ww0TSABahyt37BEJ8a4zWJaMeOX0PDVx1CNvstcKrwd75akQoXdoMCvGlMdPBKgm3mURFLArhn179JIhhLZfGwjh3L2qQMKGigCZGpOmb9rdq4jMBMBKyGjyhkHKd2lLMkeUZAIEalZekHn+UT9QjrcRdSIDdj1qOnpEiTJ+Vucl3n3CM8AHPZR/snquL+aPJd3Fc9+QW3mMi0dMCDRRKZKYEeKU0DbVgtXze5FC3cL4bU8xkvV/QdyonnuOTRLABl7VIL7KAHn+bu+XxjNkbIhJYPhvPf/WqComp5ACdGW6rfwJZ83VHPBYNhB0Ornl4ldZt3IW2JYc/ItTCUMmXllw9GFvmx/EV/5xmNNyGb/cANOAtha+IygOIh1mKqSEedJyDhIr/zFeNCvPiPxMaO4s/6kibSZ6oyQU1LEsNXu5a+S7KluOHVbK/H070QCLWsJSQyjCii3g5Z9QRcsFjpaSsnbp9GXHHwLDeNAqe2ir7jvm9ktb7FrtENOP1tBCk6y7GQFSmzaLo7b9OGbr5uA4qiyaetameQhJnfWwBokFs/vASlXpIDouED9/vXuILce2Ah4Yn8BUmRRLVyT01jrr+XiHDQ+Ytt+d+CadDC029F1zpimkDI37f19tgq18KI0ZukIso87Cairzh7AZJfjGMgtlaxeATkPNJHA/8ewPV9soHSwe+rrPA9eVhVLNgGXP3O8sZJP+LDVKV9/heV1mM6uKHaQw1LZ1iUi7rJiBvwbPhktrBorJ18D9vLsagZK6Q24rfUgZnwlzcaaAuguokbvM0YkwpY+sdLGvkztmuImegtArxXlCtb+97OY5RzDy1O5ueWqVu6DstLEId9eXwnWQGrpEwSGaL2Uotrs/w9Pp1bNKmIDwgYT/isfWHAWXQHcOWDIGF3kYd8sAwdSsy4F5prVs10mkcuJarK8Ys4kZl2k9ODE6xtjSTSxp8+aGQd5kBu8eEziEGNC7icQ55Lurkc7Z6LASEL8hwz8AeqSyeDYE6jQ9cfD+DinL/zv0vmBZmmBXytxtCKr+WAk8efuFeIh5/8VeM9zmz7eZsk9qYadYrTLelMfX39+dvL733GsLR89oYzzcq73NW6pr/bj4VqKyP8p6u86OtgyZ1q8PFst2HiiCSMCBVj8ClGnordABRMqpbzeuybaif7+DIj/jAuY3K3Czy6Mw1rY4PI3Q6d30laDZbZz/o2Jp4A1Es0crtruDcSrHhS8ORAujtTgHPnOWWkK3kaNI2af3ZwiSWuyTjh29ucxh6Z/1YgH+LO4o+9jPZp1QtV8exVsU7WaneXVUQsK13PZjb6b5jBpmlIk7STtZihrMTwc7VfnE66UrutHrYByFZVbC3dQT+NL322SjfW831OSGtH8JBu1UIFpdeLrjCVNp2GeTR1qFam4oyJQT2ggISL/jhX6lJVmu8YCyTKF6OEQ9Ohy7P20W25uFltVMlkI3JGF2g+GLY4Jk0WtvuVKqne8gvIeq3pTvnLSR0qQekkflYCxE1R9dC44ZoJSFzXcvr/7D/mXdbndmN6uGwDSAv6JQvRDnxhPi8GoGI4miHrhZuyR6oz+7fEFNrzOuqdDwNt9c6OCUxop0XIu3f4urmf5wnqDLsTrQR7x8HbwYTb3gWtite26T5OzISQTyHZjrx4a8XacPYY+sR0BH8Z+slM1SkSOPKXg1hqNNByh3OI872zN19kHh1rPmefNKYlQT244q8zipQY1X8Aa9vWjdXOUSN7ebMxPhYcpLTu2aKHIobPN3gskntSr5nq3GTg5m1sk4aHFM0f2QBYsSX4wWKis82ivztoTHGFFVeuZDUyxE9ulOQg07jyta0QLtXH2B990HSGzyXhOXshuj9XeOPief2tMELKpXqzSPMKumkZDOb1ULR4e6GGUg1wRoj3loOtG67pFxkbvqe7wJpkkvaOWrLJdTn34llQBhvSyh829W/TOVK66Dm+bKEtkw0tL38WJHadO3474lN3jW2H3297r3xAsC+9G7ws7sFJGeMc4VWajUFlParnlz7wc5Goq1ue9IYdafgrNPY0X/KH4Sjo22vIu4lpjxjuhXyTAtKjInE7BirbLlZ7JGHPEPMLkExza+23GjEG1rEhwphOTKWXMv0hoXpPfTyXWXo7BOwnAPu+w4FIRI3vEwNlbfTag7ftxjQyWrIioDl64b13wu1HGxejHBUZAYr1nYJEBVW7NhwRBj4NTPFzXyxwvesaBbcXM0N95qtdhbFYdLxU2OBT7obY5cO3pckkH2Il3HOa5Dj4Dtld+wC/TT2L3F0lePXVU1kbOYpR2stsRmE1b98Vz8jPL3762dPb3Kn971ILIShCC+Q/kXctFE1A53vdUMWPNk012v5a1if4Bccv5OxSWC/B/8jeyJCvzKs6UxwigkEZ/ByO9R1vPTSMAyyY64SFkNO6YsRdxrRQ9sz9lHW7/W5jH9OYsBu0+JnAxNRJWO6Fa0WfHxb4Vrz6yCX4aBgrIeST+jaQgzJH7DsqML90gTb/hYes1JGtH6k5WhiWGh5zTmMKj23KZV2SNPEI7aJKGYjc9hK4o6CnCXcvGRvrVdspDtrbl+HIGaHlhB+z5C41Pk0MFUee+w8vFm+F+AFFWeF6VZQwm9/cgVH/sOLx+tu2byUpWv98WeK2MCO4an5Zf73CfAgQ2PcHq6d6AYPWpXkAGM3a+y45J275I59aTo+Om5kt+0R77dAkeCiHN/bpZGLe9QEadg2xyKx56UpZu9f5Vnvr4YWZtk6wLxrBBZ3rgHQtQrjzL9ek/bGiawJTylheo5EA8qE94hKQR0tNrwtMYp1DU80NKb5KGPLThCwpKkD2jofWCf75EUkGAOWl+RzTjdYsfe3cUeW7+wGrn0DXlFygUKea5vH/LkqDPnZbhDsx6R0FRkASO53uOjc3WuBs7ny1u0e4TyR0omfPKIalxy216+y9FGKOk7FL0TaLfsq+5CGoTRvFGTkmGQwc5vtOp11V17B9A/uuAOtjPVAbfV3YIgSWzphRNDaso9M8wkS/EQHXDQLp7l6UVXL2Z9JvwOrQH4tye0MhfhASOeZo7woje0Qd3Y2VtwnZQiGBzcxLs+YL03gW6xWu56BfwBMp4jc3iTxf0z53cgTbuivvrHjWzyjXsDANaGIVxesmkU+s4z3VlyVD+iGdn1UTQnIyR6GVsaxMTw4Ivs49IoX8/Ft7CDGQos4NAO8zh+H9qQxAOpT/WXpfMeMzCormrb3bVlt5/HmLPbV7RBGEZ8NDT9aur3LnFOv54X+QOtmE9oiR6wv9EkSChwUKpScVYr6hnrxAs8H46Zj5naPQotRL0rZrqyls+VqCSW3T5MErZA8AokVJJqYhjkzB/GP4+u/YQXxHZU4ECSufN77HQJEfgEH+OLjb5SC513FzV9Ozi6KCqAMlj0lXolLVwsgkwYg5vhxQor3I5LtAc1+3SfNbFtSQPYPGCHiM3B7Qj3XTPWg154N3RoTKeFXQRj/K1EkbgHAMamOP+Mm9g/F66BP5nCa57S8GoakWnNb08NNa9hrevU3VaSgn/vuxl5B1ZJoxoI3AYgxl+ALWxklkDILCzy/DOuuQ5wZAuKNEUjewDRC3dU3TUKpjvfgX4i5wPBA9uL/BFzMgTvkLLOzWoInPR4VM0NJp0xrCs0ZutuNTcr0wHdkpJtVgihFEnBeMV4CqTBAs+9G/hDWCWBwFGmiL02rWyQDYmiJczfvVNJcjZSUPsIwURTM/7ZpSeucg8NJQSNSthSsChCloFwHyBeFO5o7I8ZXbKt4RCStD+roxRgkXJM4X36c/xITbV/+MsScn4UkVgPglwhyRVEoz9/pPskO2B6gM7D9h1ZfydbY4z+5alwUVMHDjO8DQH0lmUtdLulzs7Qk7ouaFZdSnPNYSDANxHKoXg9M5b0BghahI8SQp7qh6WsUzs1IIH77dQRtmEv19LCqFAz83d4PtzDYLyZ5BQADL4CoJ7ypbXuJHVAikzx28ZFw9KZb+CgWpFtHKAkOPMUilOyJe7Af0zvqTasNM7GKEYWdw8lRHtNH3hVVmQ4JxKnAzkuSxrtJjPXXc3+ii0YHKh6pqgycYzY2r4MqTUMLbuYvlcPWnuZh40+0dpTULBQjgE7nVg0tsZcZudiUijdPuywKKMOnbI9IIlvlvfg1bMB/2mXo1r4dDpoLTcr/d/ngO2Xp/a9Zbe/UGGhKT4vbu52zs+JymVwBExlLj9xhhAePVPWLckDdV6gM65ye1X1KtWc+9boHZob0AaAbrG3PvzyxWDCCt0O3g7v5HNHxl2eCUJruIx2iDVxCBcW6OceVnybVdkkEiwDOn7aRyW+k9q30Sg/mpyAB+ooQTvxXR2QXLvl7xuLLMXJNyzvhEG7FCzjcgWsrST0iYoMXe+5jhu+HUALTZOjDmWeu2EjeJMSuAdZy+i797u97QnlxVGIRPkeNRswlwD3/P6J1cdqMc813xtHNIXmKMCJw8B2j7Nqk+MpFuR5RD1lzT1l8N9zqsDauLNJDF5ENlZonBbpQ39Q2Pn94gfqzyKmJzm5hOjsvS3KO6y8elAqNbnWxdJh9ggvaZFOG1DWoHskJ93zpof2u4JUPbAPFqdt5KMrgSyOQPhWF49tl7V/z4eoE0uQMsmXykrp651SoQJWYnsBfOHKq99CnO8xKfV19bvBHnWKXX6f1jcf6cMPKsp80aJ2UeHohjuQny8BCEGNM/VeO1ct5+c58lte15eOhNEoOSUhKPwXgRtBnDR0lnMyJ5h3xVMlEVjUCAkzoYATbN8p6hYK8fdnpx3d+l9zfGjZ84tZwdoYPOg1JhpQ4en8nQ6hB01Zrp9EJ8WF33nbJay7pzJEhN3CWeXIStkGucJ2mTqWEbnyPGzKvcVm0DAqy0v55sUBHScAtQ3vVQD0HUq1dHAEj60XMjdSoDPGmdNOL0A3IZik5LpMXaESnt92VLxCDS4YdaCYiv3UQWN4Gsm4sgTaCya4T5wKmg90FV/IQGqtTLi4mk0CBNMSgrgt82sg4JZoSPZUgTTU3rG0kjDGcAkSHdO2Eay6psLh7nl5yA6vCD7Hnc58OJcR54vhBpI2OZzj5OKuNQ99+qNK/flo9O+F49gX46w0OknyD+VuaYq7b044L404YP6PYuybasSOf7OD2Odxp6XxHkrcbG8Jtde7ulN0879BXYlJs13hi33jKS/SODaTbOXl3jhvsEV8gQcJLrcsuZRT69/En3NJPz8L28pmXg8BRExrGfLv/gGlAUnVTz0XpLn6HF6kCi2PaXNyHM/AJ/0WCjuSvRVI0wcY0cO+KN3eerLawx8o80x05/6XT1H7+rxIbCK7k1jUv1BpXvYxVW6uK69QeZV5kR5pF+MLUGgm21znbZPC6fY4s9uOa840eDqRr8KcwKylUV37n2fRSDwNzmgvae8xInDvHpLTusMnnbf+Z9yGQnT0e4Zk5ICD4d2zEmEE9c4lcYcZ+jiYSkHJkASAp5IRdXHKpkLGDHPPU2aupyAcGgkD2ymd2Ps3yQiBkPzRbmW0XoejUOQd4VNwVAJe/qksROle7PBXaQd+77vFzO1AzK2e0HyTQXN5HHfYUs1UxLEm0sQaKIu4v2o+YHOvAUxsZ8JoBvdn9J6Pg/0ZzVMauh8kPqA5fN7O4AR/yNND77sIIULNum6Ynh5+UhBdW3e8jZZhYXP/noiFHUWMp79CVeuXcvx+KxwxaQVvXvn710M4qsHCowx+avi2CoIMYuTXF2T5JW+W3q8sgapzzLg7OjokR3EguDcHxlPCxvWZmjb+sR9IgfL77yQQ1TfKQy8E0vOWK1/1WXql+PZKeDYKu2Y6YMZxsloKmciiay32fh24zj/4zzk+P3Lvgteakdz677GiPq9xb2yBeYj46UEt1SHmWW9uEeR7Veb13k3a3x6byOffq1bKHSm+eP9XkzrPmcJGuQgcMD7tveRoA1n/a4Zh7dsTB56bDyB99bFrULWwU4ovI8JxLha8KfNMReMFHF9qPBCdnn/fR0EGA/vnX4riEoArGidk26Dc+nObHYyXscu26d0FUp+c7CPX9c7ZPjVuuAj7DF3lJFqitu7LnQzRTgr//x8hjt5C0B63C0eO4tfYfFMgcURHehQ7bYEENzJHle02q/g5Ivl4747NR7YcZWtEu/5JZQHmSObCZZTCjLZRr9SPEZPs4KxmHEw/q63I7x6eZxpigc+tcIk7vGXPjbkd9FpD4GRuBEm8tBCqaapAbRabx2QuqlHsOGdwWoNYibU+oFsnFP3d7Yfzp3vLtXeCRVcb/+n2E1Eyi8Kg0AL08A1M5uJhZgCU+VdLfnB5pKnbRPoqlz14ZIeYUkh8M2NxRXg/O1CjwAet367+JWOW+e8klc1g/3cWnvo94heo/jiaFK6l+eLNPMTrJlYhIvIrfpGVGg7NOkLUGg8tqVuw+/5d+Vv4lxLeKPTjxMlojSAkdbSLNUM4r+izQ3gQv5KDUY8JW3oaU90S5fZcIxj5vGRnAHgGcW0CrG+16McnQYwoGMndJkCBuQ+AYE9qKFh1gI/lZUUYnV8/6CxMF+uuTeX0tA78OiL/2I2YLxja653D984Wz9GQPN9TJ/UcGT7NLD2TkQ33tNC+ae0DWjb8V/M4865nyrfOzdnkZYQqxVeMFlx7VkxnltnACxIU8sGhgHILtT7Gv0g0ITKgiVXygLDlewoFCmteqCcujb98XRCzPAue3yeaBC5ZESYucASXB+TvuIOGQfyGuZcQDmAuqFJ3j8GnXABicG9dk4m4FMhC2pnEmyXTCbqSluhfOdGWul7H9rM4qkd9MVtNGc8hxSOH6V1JAjIjV+jMzbrMVGqaqvA4AHbK3KJUXog/40kv5uGsncAmK/wlsTzOSYPRcN6z2WB3du+XvL44bEDByO63h3EZL6Xo6o2AK/It2eX7yPy/VET6y+WxRUPYLdZW4L3OGlkKnsoo8bmctic9+P4Gd3L03+wD6ZsFZfhBon+TnaA4XLUQm/asj/9oTS8YWiLe/VxrfHdkbOLAsj3sjSZARy3oRaXfZ4knz0atZK73zbTs80sfkpc98mR0yWbVUTYgG2Yat+pgoK3dO0mvu2jnjmhxCxZlYanNcRuWVs7opM6C7dY1ujpT4j2LQ7WuDDlCSTHroDy9W89JWlsKeJ4nMWxR3+9ZS8VsclSShiTm6HG6ahRtKarpcI+1M3LzhGztiUHuVYg2jTplaoEbCBEBQ0Q0yO6iMUZC56poo+SOfP5+SlyKiigfaOAy31VBHmJp3jf6xrpAfu1vlKFz0sh0J1ArI6eOPw3gbz0jTBQubbKCPIHfi2sRA7gSF0ZQ9czpDbrlaDhzF30FZKrjQE9b7CDjTbijlqJ2pWQRF85IvWYKWCk7l5Qvwhzc66KCglKb7VDoXo/XJ/gR/m/Gygpcg3f1ma2XnTU9d4bj9XaTeuPFUm4ooBa9BUrreDI5eyDgdjYuvqMCTFKS2dLMsJlLsGQV9ZXvZfydBluAvm52fwU5t5PN5Nk1rBS1qIknPF4mQ6WfKHyDZvyRn2+h1ThUqMVh5s3z5TinOXeJ/TQ6TMI0YAldmkjL5rxULPEyWJDfFIx91JSca9iPig2eBZBL/Xva29ZjOHus9dmAA8Q57JTtiVE1b3rwYwT+AgUhaQRvjxtoSexKoZjFz0qlkHH62gc3FcT8D/a11tRPNzDgaD9u4DY4bvFuXjFhx4X0zezAT+F+nGMWpQAq0buAHOI9fyAM36bba2nawx5uA+Vk8w9VuoE16+cYmHNBLFpzy+gVKDMx7fuRMLyU4/z1t6ermCwXtBpxP/lq1mpBpFMlPBW1ZZ9raCh1jTU1nN3O9nNx686Ko+IOFxgJl+3TSgs3+G8czh9tX2U8YZOyOK9bhOTD2DOBcIDNn1go2rHUd9878cuwvCUQxuVPN8R0D6wOQENBK+qlykHi/Qjkj/khOr8acLZAALa3DcUj46QlWo3RUP6zDmVZSpiMahv6c08y4TeRS7KsX3YPOlm79hr5J/z0jLBEJVldYOXWUlPlwwwu/bpm6sZUe/Y6Ah0eKiw2N1HmVrEzzO3IV9LoT45ip5EDaXuIMmaCGLK2C99BAEvzKhT9hMD73XYGUB4i04MYanAigyVpMI/9VD0pNcvbjCIfqgV2yAESeKXR++ll1VnF4WNVVpJcM41igJVvyeCrP6WX8neIW1cMB4S7gIdN39sy6l69DXtrWMCcARnyEzMkN7de7YJiYYxKAbkPXxlza90nrvocsHjYmhkZi2L7hwP2+sPcdexozC5ZWjsYCJgeTF30IdX2TjVkrJH2VWNTKQvfFHQiKQpcdEhr7E9zvWrIMKbP+IAJmjcI3LgrOx7Z6hO6lufbzPbxgqn9pFl8+GzacPyEbPbeHxoqfoh5tMB/91+1BXw1ZS8heDirj5wHmrUSNvSbTpoEnpDMta/Oa5KGbkwYJ192bSTw6AzROXyajtWF9nu8UbWw8wWjCr4Cn/oiBklFyl7N1rwZr/DKfk4mgpd6YUv9W1Rr8XORnG155j3vcOVsjgYncVqLa6cyIDPJrsLlCc2Y5+X7lj7Mvpv6ClJM2hF4Ddi4f1N8Ks8XygzlNILpiBAw8lK9DWD8L7F1lIJeQb4uJCTQ1RrFEv1cit8jo13C64Dkgv+7UPi/YDhJGpolFHyftYLJAC5KFlVk40psWa9iGd+LbUcTps9xvF1J1vdxLb+tWNl1XvsOyv1oQH+6CfFfKliMBBSxunDxbhmKyWk5HALryT169TUi95wv2WcEqOnrMvN33Du5sVbY8SeT8MecovY8a2tB55EitRUs0YPy0fBFZr9Hv6w7+H2T+JmhRwVxOaGMjntHVFetCffMkEqQGQXsRaoLDrTS4Avw0c9ctfGmdMImgI/N6RdGcTKWrE+m30Vsrl2e+6uhIAgANJhx/+lvkvOyPmZAFa0jHZyjShmdk8DrNkw91jnDWPsK/srPo4zEf03JaGpNg7LeHni7dzQSl5vzIH+aF1dzHmBySN3W/KMa+FpfH1vDhI4BWrLKxOJXerG8ho3A6DhatL+nLM88ecQEqmGx6n7l5xM3KYeN4znWbQOJqzqq2Skhx7N6PEE9xmaCLKeUdhOYp7PXxmTXK3H0cLU9WiIYQphZl8yVYIG4N0N10zsFzvDtl03CBbfkerYi2PMyYDEDZh1wg11fYEGbbYUE4rLZy9nROL08UBpC24MND5iPn60Q49To74ZIxhh4Jm8Z1aoUI3F/AAqLKVjc92KhKjQyRSB6z1o+tmDTPH0vNyg/D5fqt2fv7XehCpNoxaFXGLcQG+wxNlyFZfcGV7j4ETZn2KH7+H1td6ieEMfeJ45TC1RbRYjZQOcqpROH9JGR0k+epf/XU6Dc++ERpchK8hAm/c3BOhfRtNFAM9PfnMKqazvsNZBOtU3aziwmk8WbTVctfVBtav2U8yV04W4gdST+pCKRxLbl7vW8kwxkuZVCDJl1WDjvemKK7VMnUoMfqsifS5stVCGHamJPuzCS0owa9ypunDcXv3U1O44spiUd5F55j+N0kneehQTCA5ggqqvjMi+qHV/4tJvsnaNQG3Y6mbkNq5YryO7RLakkPet4QUeH7dDb2/c6fAHx9iqdFezcZK+ZGDddVM7ILngs+UbfucOCKxL5+SPUs2rZExD45mZHRzl63+pCw5eVGOGOi/m3pudSDOTg1vTqTZpKyGVoqaHvepXF+XBv7dX/k+Yzlu8BcWk5WfxaiQB8KNvSpmXP9/BA/xfUuPv6wIgyZl4zPLKVCSkfIdAKlfqrotUIbc8aPxF6YdbnGvvYl1nnfmHW+dIkwtQHdBLI/k+/yjrczhrDz3nJhhXtIP9bNIOhwt2EDpuNG6BleDagSW0gbkS0xGc3V7sDPdP/jPkjIy3+1fbytoJUvwQ8V4nTmpa1pTVLPNbr9HgJ2UuWOXpWrOwt3LQ5WZ2PyQJkidY+4q/ArjkM8WCAmOhL0ZgJ6SNMJWtIR3cB9F4Z5lWWB2QUaXf4YUh8pAKCo/YWHiOBmPHDhnJELcC1lmWRqxP2sJsDzy6qvFkUC0AgfxpeLQg8bmBQrmKlHds3hjUAtDKzEYhWjxJV27d90tIPXHTvTTiNnWZfw902VzHv+TT1AhxEFxjRFebiShlskDzD33FHYq0ZgvKn04gAcR6hqzkl/CJ2zR2Tttf5IfiTzrzQMK1z8EnO1IChKVoKlfs9AuzRA74eybINQSBmuEVPoTH9TcuywPlLOsHSfxL4FYKRWgBMi6JlG1EGkG1QqTdQxd2zLNzPDR+3sjreFZGmCJpAC3TTPAOPHXmI13B8vu2NNe8KUkWk6GON9nITZKJ/vcsItKfJBKLNAVDFanHtT32g6oO71CjczIoWfL15fnt9GM4CWy0lL7by2lSi6/QKRP3WT7GQVR21OoR5QG96JAksCPfb1VgF7v/xxo7ie5rdMHQ9aaD7Vr/4q4Vu6FyL5PePuy6JqxlpMzrTVGEF6dpdaCCZzWpaYHJy60qfQaWqn6iZnapNQGnHzqMR4KdhhQ6HB0cMFg8BelgiP4J/Nll0lkEhNVtG47CQeig+lVY/foEobiFiqj5BqVB+Edml4mIqqDJc+hAvq/ubvM0N0yeDUBf1Zh2yyhpE4oyeCNGCJekRr2+vBCfeXKnjuPYV0/pq3l3AlmOevDiTxOaEdsnvggtMe6iQkwk5z6b1xZoMVv+ck2/K+r37y64WMLAIwePZt+W3Bs12bKTxQjK72ccA6HC/hSdLMq9Wuw8C5hb870l0mYM+nTZuWO1oxB29qcAXPIvqn+bkDB5u0FORyu5E3LjjHJteqtFrRLWTGYg4zKbYZSnJ3wLBVnh0i3Wk72+CiFAUpmiEJZYGiLBt5UzRx/bl9RtmNZSgv5T5ThoVaDm9jCobsJWXEeHVFEkNJxJzlzf42dtdUDLPAnqxsOTKsH+e+Kngp+9oLjBnFMhfiJUYTdt69vDEscvtU/rLFl/RfIgfepwDSmpWjpfRji3Cra1lZxFyN6DAaQw6ntq/vIXIwDhLBIZ6QJ3A0Wnd99IgndBSugNkO9/66TTkfgIOXA8cpY3F0Ixz0lR1FBk6LlJjp+tQv1DckHp9uFFR1QA2vohdnAxTVyNaKdf/soYRGidI1wbFlHNPi2x5BB46fDMvkBkQC+gesDWxe8MYqWCok9KSah2BPuAXs+WxDMdYRAjqtqvBo0rZadguQEbWcBhgc12sTkWertomsQJtX6AlSrEQJUGhC4EnLfNnVOyIb0+je3F/iWS89R0QI1wEMVRyFGt9X3maIXwgzctVrBzdtniTsypJdkvdrZ6gFnzN7Lo2x0VUpCKTYvotugSKnneFy0qXuT718k8yL4dLyfDgHeBs3puT9R3LG48YJQq3QKT2qQsMjnSXHnhz8FF2z0BPRu/eBTU080kBS5atbsaBosNIdd7ySR4LltZ/JOrB4qP+wkl9Fk2ry/CbZmkTcnYii+oUdtza5SltQTeTRaCuhWaoM+872AwNPp6Ln9PyA8G4TE/0Rp536tbu/shYv/N2JO16NRJgwatXNLITzxcnmS/JjEMvjTlOlUVhJy1KofP+FqaBGIP01zTDZxqWxvX8hQaHN9edbzTAKE2i2Lj9hWlhyJQ2z3TFt7/KjhkD0RA3Z6oLPKE9gAD9PgPLUfXDHCHBT7eyeDR0xLWPC+lgI2mBY5L9Llga3w+DSbdgI5Ic715YwJyCjd9EjQecCMDA4KfeHFc+84wwi+F4EIjpChybjTIT0VxHLU0FQI1HRYhoHR5WIX6kKCLtCAy3JKokdwXN0L+AlfMB83eHsP2ISQ0m0jQNjz9Oeiio5dC3bwWrVnyl1lqKuFh5viEwhOcQgSVftGgffD9f7GS6eTaFQ1q7uSxMYR2uLRg39o+BOVF6IDzX6q2Lqf/pdijwCLaeWbCvVaskk+aVWkFbHUpMmBvsObkcZOVDx+IyIzmCw01vcIUMFYePZhRLWJeU7GwYHWf5dZJ/caA0czh6fU3q8k/w9qR3gXmT6+tyIGbc4Bymoz8EGPEMkxkjt+PmtR6dSrYJL2YgJ4plQpakT8QAK7GrNYImJyo8lf8JkOkD6ftwxkZqniIhtiSKN+BfSSff1UtoXYl4BjbxWbYFL6O0rltSvCfjOayBN5e9lgvBLeSxnhypZFvoQHqFIiubW2HGICiDx5XmHPpq5EHc0APSmVzBJeA4PMmbDlive6J4eHEu+GqDJUS9xUNOryI7CAgK/Dw4MiIm+2LE6sFmlz0NMvDTrg3ytRqaNHIfec9ItOvdhsHWSXqNQE5e4eoS+IFu/fda9pXV9ypO1MS7gYR0UGsDf8qsLob9Fy8gKNEZRzHYc1EolSY+MbuqCRw1zEZDh/+BOEb0VYzBk7OyHL5JyVziO4FVUYfO8AZMhq1IOKOzSSXlyUHMNQQ09LwVDdWW7w4D+OAgPVJ0eGlduLP+ULcyuf2C8wVz0lfQxw3BMzn9Xl3bBXHziyoIblEE8nFg3HvWX5g6pcvoXb0suTfDMmXtACMY5l2TKu95eeNb3F3zfCvVfqItDztMJFVuglvRfl09y65KpWj2pzis33JqroEcWa4U3ElGZc8KPmQmPg9J5jeGFhYUbV/lAa4rk4raodGLGmjlE0Sby1QPaBnydXxE4KncA2e2DI5yFbr+Iyoi2FuVAeu/RKGQLYARYKy5zfWHpk1xKJtUJFVCMHMN4HaNvdUWhqXZ6si5GqYn6SAfEX7MFl87NKwLAXrWP3ATFmihf+0bGaebMOefh064ejdN76XIL2++QZQwvfaJEENnQvFk7ART57TdDCm0QE+xisRFBL92ouL36gX+3WqTI0QzrkZUa4ntUUuRDQpntuoHHWnWUpLebkSSnEINVoVbkOEBgIOh679jTETFFenv09UKPi1c1qyX/vtg5/RNtJnMFs84ikxegBmz39wXpsN3hOpYShmkLgh0FrIZKf9VQKdNMrOzYcXRswG7ldlLsRQ3BOG5qm1g13uPa0QIbK+4FNznZuz+EEsfsM7FcuaeF2PoaB6p7q3WhyAI9x84mhNcQEn9wPrrObPBG5oyZ/lG90H70d6MpFrNuNjM6ND8xgYeQ8i8vHRLP87MDqmguBRQQ6k7811o+BjJledmuvXOsqy/69xqDY9q9/hpp3mgrD1XgO9VBMi8ysOA2w0PzY5Q4vbYxunsDlWkOQkUr0zy1J0oqzsSWlj2UuedEJUIYctyPYGdxU9GZqmn6iVntk7q6Sf2eg1K1GIPbyYgYv1aX1uoov7UJKr1o1X+k+h0kXQgMp1SzirpN6J4+Lds8+YZONtok0Zhs3WNad/nVEwH6A9mbCzjd1KUpoaiLuEtO6Kmq+5e+yyqA40zCGLsIvIXpjiEsfRahepCghBFJWHOsylvVIu4tfVtvPtMy9uBqmQBGA3J3NYKcD73oVFQmvTZUx74RWz0V6bvZpMVcRqVu+PFZcZi3d04F/eQvXJsRGCrDcuGcqM4cQuoCRKz8bsfoRPAmEL5TeLJzJCBmZrfL/k1frun0zxiddcTx24Qvd9fR2m0TJUqzarE1LkVWKOxfMsOWxwl5madkT5eQgsqZdXagsqUG8URRHHWZu+aUVGnq27YH4vq87fv2oBM40UOROpI7aAt3GI/WsAEOfcFhRCDD5tILXuGtee6aYMWNj8ALG7OCAX44cmAchNj3iD9KiWgSttbyaj9xyYq4XaplrZ9iNVr7qMIazE1+pO+Uu1sJzWvm11tcEkABNRIvUibvh6K9UzqTtHCEbKWzCUDS3D+r04gJF6EVadlsmfrqeB49jdQ+PpteoxlGN4dBiWcerXA3KLCsUi2HdTC21mRf5fuMW3uOflUjFPC0R8x+llasn7UQec6TXp35eNYSwVmRLE4qLl5T+nK5fRK5dZl9HDIsVJtWX5XamkrKs2p2BBfUTA0XW70A50ZVAGsktSiO3b8xdOiQ4uRpIUL+GpRHWv6SDR8HpeID1/Rq5a18nW8ck2Rk7hLJj36xsKyfc+e+yWn6KYmdA5RPGo2QIZXJXFq4beNhQWgti3RC/UKIt3RyxKZiggXvgaYS6h9ykQhDHtfBHf891tNds8NKZrQWIoo99NrrciTc0g53yEV0oMc+abr9VMcFY1sCWnN9WAzTlQwR3HxaJWYQlJmOsxlzRmFCDUFa1U4kR+tnzkTYtvO4GzRCRe9MQH9CrzLKeBJ/MfHrDi/2Nv1pCvauVnlI8hce+BmzdwRe86P5KXoe5R6+g0jQItfnhw9xMlucMVTj0nn4MOh4i2nbS5BPslS1+7lLi5Z34Lu8oEktAZm4yCJEnLR0vJFVMduK6MtSnBIWM6bXgbT5WYJu4jlzZ+TWqVnZ6sD+y4UAAso3xISWjUwjOdBWzvTha7YRqDNuhtxamCp/5raGCPNo4SKYw+fuo+DDLn+pVd7+GMXVsQD8Zj4weT4/InFgBR+7lrs46QbjeVx7/KYDnTtSX+FTX6Sac9Fo9gR32hZUi4IzVy4zi342KSjM2ER9XOHNHtYej6MkVdEw63Q5kMNIao1R4pacvVK8y36wWMTrnyFWCmcR1BnKmDp/G4GZEn6rW8OJe1mo3rBCU4X2lL4M+SD4+/Xit4FEuHuBah76sykRYbOx/o6eKB6gIQn4gl/2uINNX3lj93zy1vKoG5IWgMvDY5p/d5G7yIP8k+qGgXCUSeltTauAkajJlTlRQEgWce2Pg20c92FstiF0exdYFTNX0sewi2hNe95vZD07f/SMOnrBg/KA4mhIotdr66NY1Mfe07B8i57Kf98mqf+TsdTIjF+BqZ0BqRrNV1IPe1Vbu9NNEl/zTdHXObUQoVVUwcLeH5Mhygb4FzFltUOk6AtfCo+jDYy+dXfyv+pR/f7bbcinfQmAPtzlIS3xaA4Bvjz/uY8jSmQpGF0aRJK782VjwuImtnAla2qWS9QN/X8xi0Cb6YSIb7A55ibmAxDmL5N7PLAMsg7uxFHE6bP34JtJD68BoTBFJVmrxGtvdma5i3Fg8p6xKoi+bSyvHEqwxK1X6L1T5CnW8aIUqdpFHlPRmAb3wa0qHy2UbTZLIpWkfJztKAgXLga+7GZlMrboCBlPUq7k8HmfeWtPrpOVSvoZ3/BOlhDoGE0BixhbUyk0xkVYu7UvyslRthPifgCcy0Ksa+8eLeC8on+GuS5nqGsBoQE/FUZVO/I9rjZU//byU3td01fCVxRG0J+HHPIJ/fzrEQJOXzzM9Lafy5jy3ZMpwojXATcJ5FNQYhWlHtbRJDiezNVFUPmDtGl807wlngUu679FTYrMHxAp5lcnJqvmHY+y3kCfhEqhYmif4ZuNRcEoS+ZhBYxPNjlS0kj8sVtA3EYgGr8vOqmuxD47szLl5KWiTm3MMfzR4IG1MGjfl0CN/IWBZMiOSmqVYva7yLhVBhKLfQdul9n4Gil2W8LTdo2m+qopf6dfPPzfI5wvQRcmWl2AUM5jQoaMZ2lFwLDHv56ixZJoqy1xeJyXyVOcUt6sVtKgWzIPKsQ6PkbP6MhIdwGxthD49+iQa8AVIVcyS8UdV1TAY1mIxC65ntuGCnL2SxiksWLAxgQpsh5l0/4k8qCeSRSLwcpJB+zwCd62E/pbYE8V+u3VJ/DCM5XGkwjS7i7LEQT63gneYXwJvC39yv5WwdCZNUj+aq2FJENkhTvAd20mnmSggi+pFlHInWXyg7OnkGQbBNmoLhWYSRN3toFehqAv8OM5uALBak91RlPPWWHcYIia6CfkURxOM4UeSuPb3eyYKnLKfKq6mPnUPe9y3Lk1mb+Nejw9rDsWSyKKX63VShydK3fpyStfilv47sivQ13zqFTahbYYwNTlfIFiqIXPwWKG8nvcpz0T6ABcCacbNosHc3rhui/7B/KILsFYiOdpuEW8sewoBc3OR5FoW5knzfOpCCTEuIV8d7UqdqY58xPy+OBb3yIm1W0G3V0Skjw0vlqmVDdS/uXjFnDAioUOwtvanlHePjHhTdfogZzBH/IlykpPxAiuf2MH4GR7XIshvbiNWw6snNFOqTmc24fFptY2eoQh9sWXAIWt0gCBixCX1tsgn38gQTBtm+7fnhzK4aNYpK477kP7huuWXvo5lrB7gVqotZUeY0UtQUQBxd3IH3zhS+1S39aW9oCQNFcFWn+lajJ9Jg2FajMV9fvAxfaieOKdbv2j3cENkxg6W4gykXKkMw3sOCH8EvVKX3rnMZ/ykSORGIf/ZpHe/F8lUquaKBiGoqjJz8PwdrBRD9RL3vMnpKI4cCuoeL38gR+4YA3uoONFub3PNdlmH93JN4KcSrg0M0dVv6BhTjPuWcggdLcxa6f9Hk6Y/DdQlt02qQNtZgNU4iYMjvMjYxwbzm8ZOtcGW7xdSqWC59mRVaK/lkNAnozDrXf867ROY1PUC0a9SWH0ILXHtM3HFYZr6Je9nIc7oxBamWBiMAITeBaDAyIdZiM2IrCETozJ+divfb9WtVF4BCVwXxqwelLgTvCqEgerXNO5Q1rFPoT4OBphuOS12N2diDYQZ2y2PWYVdZQbrpXcMiET8H6PhbZZ+ds48f7gx7pQefBV5fBQxR4bLLNV0sTCgIDW2PAU4TfuXpBzAZD6x+YSxipc0eVKX/9yHFOyfZNXHAok/O1yiuL1FYg5Q8klhiimCjcOMLJSEBDTsfUZjQKJT+VLU4Fq22QYVFz+97O1hL1RVEOP6B/QIkant3XKrqhOqVtwYPJ+rdP/zpcMSyhuVC69hX1mp8lM9W4i7/J2DGgmTZU6vT1I35tU5/1Yn4qV5o3vkvAWPukHrMfXQdbs02MKVkX5L6uqZvRVNzFZJGzEK5t0edtj6RUj1oqU7UQL00AkXsDB9h79DdqvmWWKvuMORXnCZ9dFd3e3YlLtZ7tfdXmtq0snHAKiPQv/GLni/h+I/f0HxNLTQE+mH97508VFes4+5dnfkpNZfWthUm7ISpjQdjGwrXl71hUjq0bbNX0R82Q44GDFqgBNFJ+ZV/bwGV+VWiY5o5xD/0iZ7vZZwo8VLcalNT7XsL4YxvDhKRLxTb6iKSR3Rb7pA/AIzpj5ocDD+Rac4jXoCMmcY+AszMh2f5SpItVRXctGMtIP6yD9LgdPwKWotH36sR8M3A45KM2jXheC2XAOWK1HLxOmjEVyaYb90UbjSD4zXJ9u/5CUM/9wgAVSrhG+vQtXVvARF9CvRuMiMtYGtVbP/w5Lrd6CRAmEyeSMrvRLRHVSYsOziOR6vDKGhM5CtQSP1PWcepXmeFaKf0JoxrcAicgvH2veHqmAOfwOkKUZZBRZjdWeitLfNk3B7BCNP+x3uoEsxJAheSt4/4Xzw00qXORRj2YskGngIyqSF+d3Y00BHWqSsJvY7GKsZUInZhRT0MZ9AoCsHLmOip1D3CHBVDaBAfTglQYq7z98RgskfHF6uGz5cEuhVE2WQCM2A8/y/kgH1+AzZPbCOMHPdxy1FoDz2Hfj4wWIy44FmWrxiFbfd+VZtXYbDZy/Ycb8i2fmeR9VXAuE8KXvuENM2CFYEC2nrr7hiPzI8dHsSjtABQAlZyHGupXOp1LhEtnvcHs2vsH1SK+JKD0QTPo1owZqwlNNEE7993ca3yYg/XVvEpC8LYDwXJzqgNYs+ytG5u3y+9iNZpJNlM0OKnOHSrYzNBqHYPA6aR2l3oQT8BvmXLiXES7ZmahxS+/Qa2aRs7JXNcjB9zErSw/XNiwdjj4zNV+BOPaYEc9dFShvzT2euEoU9tmNgyROvmCvq988kOUe9T0JB42OzxdmMKXhPfu5iJJ3y1Rd7E07uIv8fidi9c+srmHs7sHSmZz+E5HxoQtJxEAjULiLYQsvL20CnuKwMtx3fgF+rYW4uzOpaECYgbiiz0N6FbLe/z2CApLHZnEvcRoSyM9WXS9oxfr70CERmHp0M57WrDSkIN9byhs519E0/aNT8w4xk2lKpS/flk1JQWoU2edxTVCgT/5+7ngbkQ2hRfmj5LDbF+8LUwFaRUTBl4oqB4MMfUkux5U5V6e7CsJVczgacY6vgT2FkjkO9tFBGWi6qUl0Pv2CrJCscWd7o8vXDbL6jSCmgN2ho2DVdolOgUlS9WkeWpkZx9RMN/YUgIFBkiCV6/VI7RSS0SOHCwFer+ZjHFaSWG1ehLQkAinGnIGf7cVSs932sEQuYcjkZAAqhcBMDwgAEcysnWUy/0ut9qYbnMyYBJ/hc34EPdthK1qXluSgme85vZPFHo+f63Zd36JuF4PpQqYyaG4zWuSCia9yYETxb86ggLttZfHBwVfxPp5gvBIbQsx3QALB1vqMtPlEcNUi+1zK5GmWKLcVbJwsTNkgRe4csWYd+93jTZOL4fBRdZtV2fXQF1QEznvU39WEIF5R2XKMEMqEe1+hBRDlC0hbqcyZ6lu5TanaZ04tknGh5/vIeZw9CKnORvtovbBA0lbaX/UxgDwJx9fqTmJqqDa8E+CL8OR9yuu6SO5U+4Nna0ElSjwpEWu8/0qtXNk5PahJ+PK2NBMMPQBb5bxvATVN0EZ5LOwqcwjhT1nPD0OIfpB/3c/jyTiwLLYAwv9xw2slxpbF48CHF/vXjfRhwANo9qFhHQIUbH0XTPZkjnlQISiD2hNOJjnD9mal1DDHwpeHu+9BxASyHvES/0e3W526e2m2yBo1/kaC1TEamv0rybSbtcEcZisBRNlT/9rTecdb9gh4C0eF4rMU5ZiTohO2Z1edFzqGJHLwAz2PyOOG2CuDlg8IOCNPJSTjXo8bpwgv+wXq66BdwJsGW0KO//AeR0/p+MD3xj2Qvlv4IpSE0mpX/Pk4xQ8k6+MalEwJdAxQa6aXLOFFYI0Ivze85+1kTrI/FqhssQJeq2GQg9UVrtro4vmGkI+udyCkyoytlYBs3aTu929WTIg/73h9hpm/B/+ce08NP94Av43hOcG0qCrFR8kuLYSTbsEl3JwlOJ+z+fN1fd7EB6IgEEZmW3XVaZeZXhZWCaRW9FcW+00dRXFfIKA1ABx2E28tW2JZBIamOEbuemds3DVH9IdOrJrby/sN2Ns7s1KrQAFBkwsnvnlm7msqhQZAopBV5d48vhHsDXymRkhJ0YpjLUzzu+WF1IiGs1Lf8RObkCC8uOhUb1Z91CiN83+f861+6D2KN8ZaeHX1dd0j3xaV3slrhLOxNGBK90iaosgGWXDQmlw5YiO9vLkKKxJ4UfHM2t/+SisCw9GmaWhHoujNHCR7WQ/C59PttDG0vL0Dm7g/XoqXQoRq20JSoHyGofOcANXOzn9zDbhklSwdnKSnvlJFIS7C7987EWGmpUKgLShPZw3qA0iaLP6nyDL9iJEtVR0f9R+kBa3IibIY956hnm2gH9d8hlkmPyCjzXgAKRw518a5AhKyFxCDk1fcm0d6S5ttXBbB4MdQYMWp+rFn6F07Hbc0i07R6ajuItOX0hpVykY3w27GFTqnrVfloBSVNLi6JT77ctccvHdX5iJFR0EW7FrtP0SjDVclu2gKhghbPSj5FAX4gjNH564anpMQf3R/zJaM4IsFGeBRYoep2QqMgpWyJiD5H9voRTq+lKkqtEh3Sm4e++iqcLq6qZ4g8aPjvec5AhQvhJYV/IUrzbV+sfuFqEkoFzF/DM+0ZVIk8Emmta6qU/sYV81oE8nLRQZbOCEavXlI6kLpGVQr6ruxE3FDT6cLMneQZ0lYvibmMMNb4DzGt/6aYr0ZpIu3kkZhP52j1O+2sfiztUhXQKIrdrvxL1beJrJki88Scf9cCpm/7iyUa3thZT/iyHjl3Z4a4jkXVJSnEqTo1Etsb4K2/S9cRnOCUPL/vob25tWhva1wEkiuQokRRjZNlCEpKJsqyg5Cg4ByZTRXx0rqMPHz+XBql6a4tfLWkHrVct7LwXwTxP/3wjnLPLyXI8m1aAPj+z+KmuqG76nQZRC76Qnli+KQhvAgK6f54g6lOuAL7iJ44IA0GaIQ/W+4LgiMugbC18InP/pWr53/ozvMAZsGs7LhnvJYkwWemesG4NxZw0UpQvJAvFyP5K6t2YI+d+KukUodgHNUa0cvHOY+yJSO4iAJuIvzpFWKNExSnRpoCKu3hqJCxYo7mHj2b4BT6rOmuNRiv5oUF8RPu9pC0uYbS2p6sYJC1QVuSJAAStVFKEFIbL2xyBLgYUxaO0WIO9/ASJYVGT4AX+4h4KpE7djH5OeEd8t7JW4T0ndcfDLMCJbEqbpOpDPnBpvxbQ3utTYSw6vHoTa2u3M6QF7IkVnXZIKtAHffX+gR+ubYreV9i4yQCWgLvIHeYyx9KG6hdXjtlY1qkB7L0TTlWILO76k+bDoE487ByDjHp4HpOaV+rE/W36h5DzJnyF7g9aW0+VKVxKH61xDyCbsddbzNce+OlqpZLf8uc3ABubyC6PVkZL6I9EQQdCmpgZOR/DXm6wU31iPAjb0BiNuzmLxVEGtm3FfU5yPK2n7hFc6xkep8Na4oN1CSrgrCExXUOG8CeMX5HIYrPtHinSTmKc6IEIApyn2HEjX3zMTqSBUvV4EnJsl1yHt4EM1A9R8Zzu2QxOMLnHv8xYAHsEQGucI72JwjYH8XdMssoWgIBHbKdUOVFy6EiVTi5SqnsaVp1ZNgMcRO+9r8MY5gAuNhzjTZQEXxLX83muAMJXqXsl19ydkswR3QiVeJ60NvCFL6+QfDnpNdik1C+sZJWs3FxxVGEzPOTCPtgb8NiMo35g6Yj68HrFqpzlOZHvVDHtAvFB9+W83ncRC6bDvDVv/ttyoeNkFMKNLIHR8Ycf97GuSj91Mg7flGkD/hszeSK2Kf4eGb2uspsMfc+mgYgTq3eP9mB9s9rtt5A/Wtl9o6c9Y03uCj/cLKE4JlrRJlaXczlyVC/yuID1nd4ekqle2ygatnr2EaPNqKdQbtJhbuQ+3U7MXZMobnc8xtvQK4IjHRYMM7fpy2ZQmFHU9GhVMA7u8p4awEaqgU0+iGeoMwQqrj7nTcaWqS5/FGgLTbQ7LNh2Bo9gsL52uXKMLOE22M7R8SUT3+AuAXPn/VumBof5wabva4lqM/DY3USvy88yu/OOnQ3o9k9fqwtAc1u0WC9e+vJRxmxddzdAfoQA8OmfPtqJEUaZkZyRUoNYfATEUEtAVBQL2I3uP48sqTIybAbRmZSxTqvpdAE0LPBJHBJRuegQXsiFt9RHpos2tFddpS1tcvey2fiPno04cE6CnESWWLEOMozkL7FMeW/Lk0Qvrgifme4UPjroW99y9Ll/c2nRlUWW6zIpfUAhcmitz0z74PdXZhQ60SrxH7W/4g8L7tEl9ln4RcWW/AHC/y7AIll1gBbzaMuVXUcqMoSHf8tc5spyp0AZP6UEKVLevnP4JSIgfl4+nsQpvSMkRypexDhNrGyHfwFWP2OtylEeNkoXaeV1ATfKmhEnFC4RAlWlGjWZdx7EFlAuGkYNHnhWR2HKU2s3ZK9JiQe1j1JgcllHJUIDdNiwf3JWTBUv5toYEhfbOegpSY1VKYzKmlNQigKXtuybzdOhx3jLRZFRiS7zXPTXABSCEaQ9HdmH+v/IFg12H7FG5QgIlGgeqs691y5d5ihHwBwdJtIyrRgQbOtjgvGafqONE0pNu48g4utnCMoZJyVLg6oTCaXOZL/VYaIgIvysw/UiPXuM9Xbz6p4mOU+2k/ZrpfPxONRnwGhWFmjbE81qDSHyV6HaJ6UQJFMcKnsg8ZCSKYfPu8DC+CXrSzZ1JUYHjeQZUdbxTIicXi+i+wLZWWYpF0sQ3OOroS6chNX8tUnz6rRbWo2f5VHfxv7v1MkksnDooelpViHXmwUKOi7ShWew8xABxHCBuAOA3W/kxmRrxKpbSfKfZBy2DpuR+cZYOcEWVPwD8L/Qe4lRy+QvC8qKIjEKNSgDjNIXsA8dPe05mYbAgHKkF1IKrHkBJ6oQISs4VWj9cLq4r2hTMbWggkJ2KW/0WZObaZV4yF7amNS8x10Ar6OL2b9HJytBIhJzvWqKvGamKEkrmU86A2hZgKKSd4Hlzo6NR2n3k+YBJXKnOq3F4sfg77akcFuoqLzrI0YZiy1gpUJhKSdRj2fRpX6QVuwjAFiNnMGorF81sx4Rd7D8/7zh319FcIiWyuoT+HDn1OAikMNqO9ztPgHFS890fyF3wz5XRqZjwMCDg6L3PaVfa9OenY/O1T57w+uS32RDNv5e8hqmgEQq8CGesLnAb8WKXnLJBxEboNWThmLm3sjIuICFixWvNBbBqNMP2Et1VaRVipzmGiQ9t255VH026Y8C3TYPtcbSuOX/pHDyTwx3OF49a+0tujQGkGm/R4iV88rRKr999raDJwlKQyhJ4XdIEgDZbFHnb/fv8PjHysFUavFpv4SKUf+UGHnNYi+VQDxyC/HdkIleUz3GEnFZS2Ygu68ssW5/dvSBYjRsr1sKjyeOKjgjhzfFRU5B7PV5WJBhxzwcsowGtC1XDQS0V4sDpCzoxjAnt410H2/HH3UvbaOBGwKeVA0I+uRJgY1A5Z7KcqVGnNLan8j9SI2jQYwO25DgoiNAT9DYhW3vF0ATg6pUsXA7SL8sd6rHxFpPNNpClOw65Ttv9pkwnXUJfq2bofhEFq9V+g2rp7iXQCtkWRiYPlyGOHZcAiC/1JHA4ofU+uVwkHiTusp9fD/X7DF+ps/F9XkPHOq38qXQMs2FWlPesTFZL45+DXO+0G69ss3D5gZ4z8jQSqk6RzazyFG9g2FUPCrIkjuyGYRF+y4MYFWmAq4evjKniZzFgJXxJH+913LDmDOK0M5+3AqurPbJUISbA6DCOv/FyeOvgKnepgveFn6k3smfxsbWRf5MM7pB/kHZAmm+yTwCx4UMtepV8cx88rhPvhvgFlXRvyBM9ioaBS7YAezGNJwXIFmY6xfzlUEw55VW9Xj/CXqEVmLwbsLdeyIIAeDgJLlbzf6bQxBBKv/Yds+WXH4Tuh0Y2Z/w7qM02WB54P2+e3pIEiHuzX5up7gwjTF/tiY5YrIKL5t1pc86AmIwZXSY+/20rhjkTMGrJ5s2CZzg27EBwtaAQZzv3iDZFGbCcUQc+PZJWDm4huKJvtogvpspYeaC5gGPAFkLIyJr15Mvn6wBFJEUhsB2bH7x8crIPhJQb7BvPqYpGtK1xYxbk6nyUuV6wbVYLFFDMBn1YWXjcVnsW7m6L4m0c6Jzvfd7g0MZpug2VEcmYVRRlbGJQONuwKvqOZ6nOjpUFXjYDyzoxPlo4J7KkbVRD93n0iLZ0570IvWbSuvEqiTaeflwYDXydU/DvY8POXiu/BgVHNFI2G5tKztWI5itKdkCwtoyz8VIJYnGQ/xYicRj7yVs29FAoqPIPdBmbr/T6YGkSoqkjkQ7LlvH595lAvmYq8s9RdTFytYhpU/FYObylKnACw3fuH8IaCBTg8hjhS9DXsoPkAiFphUbhmGtglQgQ5eImCj7/VoBh3OirMLsk+UsMKeUrR+pYgMjmQfHOP5/DFhQgphCMS/YYhycSq/Ra0nUIPoKeRI9ZBAF5kDXxKOh6OR18p0uruiQB3B9Ww2U0MGhJDjGPR3lEIWGqixVAYohRQXlIiVm5TRK/zKpflWPKCn2khgVDm7pBZmwpRY21VKTpmkotDJLveqfcRJ4b1LqHdDtJ4jeuSCXUBfzpFycWbCDgZ2HEp1qNo5u5+BOe7cQlF+gd7QLohB+HWnHU346dDO3Y75p2WhMCBIfkwvKXH9LIDIO807CgHpo8vGNDjBUO/F3TYV0U9lmA8IajsuKQGhE4BgfOwf7+uvsReIVG1y4uy6ChkYrLwCiVAjDTyc86JcRDWVnMWVlSIvhlnztx1GoALzAuJ6SljwosklIiX4iDakKiEPVmkllJuZtGbVlxR3GfuR9JIx0W2yMhj3IBR+izaOKT1wAoikNZDuRAK8WYEmDigy8mOa89YroHICwt2ZOVxNv5Pzuo12oGdb4+N6l1dbf7Ns+U9nnbNk9sXkzIq8pbRlAiBVOF/lIkKTskf4HJ41dAkoO2VxDOtQeajBwzKJQQafBSYsoIlu7+RV/ZIBCot7q4FfsUEgW0hzpiozSyaIQ8KLvxpA/9+pLp3lq2jPVIlpT3S5QEEKKHEF9ynl8fl3pPqT/OemgdmnOYLbu6KsWBOK3qxsP7LE1K4kSw3BOBkNuAsoXcT/Obb3Mj1HqEtTSDqi9QtFCueM1J9ftUMc52Gd/JVNzTqzzGuDVFcOJJ4nMEda1s/IWREgL8PePRm5gjx1GaIlvh4rfBwZzeqfA2CoSmszZEO/iLEDHBq0ciLxKb6Yh87O7LTQzFW6jNnR9Qe93eJ+G+FUYELo43fGUaDYRHE1mhK5lu+1ddo7xHLSyMpf7yUzAtwcJu23CsnEIQtdKvll75UHRApv2MR1aSz6HuXeJ78vKUf2TeY0Hn06Yq5LrlT+Wm5+Bvwps8+eq+y1E47i+Dwomo9oc7liCGdQqvVGJyZU0OI2ySmtATE2ibDce5eHe3PnX5kqVjGd3Wm0ySyvxhvS/MrJ/mPahED9f5Azg/daVRJi/IUw+CFEi2OXrL5U6bQYTp5b9dE8ArJQpOxWwJVdaevxYO4cYqFb5MogneSJi/ufjuanRBPoBxdwuSyf5fqiVsTzFHf89ni8JFXXhCFdUGPOzvCiX64wnB0Gj9FN262mgN6t3uNeLztuyzVY4sC1zmft0HjvZYqsYfKJP03s+nCcNgApDR0tGX76+G0Bvhl7TEKufMsxo+Un87jtNoxmluAZgPfke1d2SyVVwrYJgytpwDk1r+PeWbe5dzecDT0kO6R08/3OU4+X5BJ36LOjL5Tv60bULYsZ1qYzqGLV+fNuWmLM3FBVJVXFA8VaCPff52v0y45UKPxB8EUSMILdliIK2unexA/X2CjX5t1axesoTO1H6JYS5TSkLGfwJQ691qeeWZLeS/LRbB/qYkmtANadiW3VaoBu6Xof9ECI8a+ncLvmCvHOm25uIYlDHudElofo3GZ8sX+epmDn8MOVe6Rqp3bWPfVvcXExlZSW/LuiMFXINsuP1cOKket+yySDRvtrnzYAvSRqkdB7hQ77KEFPvETPAcpKaidumJj+hqSWBeB4CnV6XUE7FgR/0+FgDC35WJliHRrXuvBBtDCcvoKqDSe+STH7fLPZSgaMqVPeHTGYGuk2jIdrdTBh1FJYncmMCZkfDQCHp8vjFjsrUDya0w81F4j4NCquRXBBUNldZj1iuGbVGWcRbqMjwWRzK3RisPG49zgltyL1ILDZt9nVYaNoxrwAdGhzFgEbyn6/q5Dx+UayWt67Oiz35EQamCI5D8HNFqzSXF+copZymOrq/VQ2P/XV0kndYCu5nSlhcR4K3p3Ubrt4UFvSWE/kDHkAHc/3cmcz+2RM2nqL1ThMbG+JTp6pWCwiitGu8HNZNlCt8+SK1G3vhzvnJfQMyCtgEn5Ii7W+oNFtQxmUwNKHWDIjeQ47cHAuJCn7kvCOzgyqwcQJNUeHZZcS/b1YNtG6KkYuIPsjFlLn9tHX6WAKhUoKCfpP/d7cn8BTsLIB185BAS4wClvVTql/Cw5pxERv1q3cYVkqcR672Ul4Ao+AtcmTstnlzLVt+I+D+rRnvxPx6O+V1vD/AQnduSTi6YdykrAbAFZUwVQ5AzJ++bEJCjytQ/3GWI2+DG+ZOZ1nfy9KpUjfcWELWTFCVmtrOASH5n833KTuuu4MzhL/Yymgvf2f2OVymPEAwQRQ8bh8H8Q0T97nYYGm/OkN7Ab1003L+dbzvRO9oOaooTeBIgfDy5tp6bn/r4QsB7Z++8inuaAqKRkOe4YtNs+IOfCuJpHlm9Lp4xdxwn7JP9RxuvHsUZztzgsjOrdI6ZUewgTIRXv4IZZExyVFODui0knK/0nB0FQiZXl+JG04uZRbfZHgy+Ez8NL7cGFTIwCwrb5WUUMe7YQNhO+5DyMxwkZVh6F7oJCKm962BkLfiLdnkXELXMCkQX/N+pWar1lXrPwRgg7aORmSlfRmYimAfHv1V6nCb6+kXmLsB4MNtapUQvxYqXrrcg/9yiIpTpj3+Bq6pTJMXNkFdbL/ZVGMJukV2mI6O8CXgzZ9eUkLp6EJf48g/9O4fQRxUyWhPMDF0LNiO/mOJrUzWqPNPEPpS3bqhXYoexvFNZe2ms0ybAJEA+USLxQ95zmPbscD0es+VWGEF6S6ghoWOeHTSxCh0DJsQ4GROfZ1RNG9rYFD425XwZ+yPv5sIw/EfC17IQIT6pD1DFLFpBMW3QBwYX69nH37iEEHRp3ej8izmipXpR4qkUxsDOHGbksMuEqxtvl2s8muMRz7inB6L2rzrUwsNWjdF4tJQYlGziTcGQ8pbPbwQvjqNtwN53OZcwmIFeKmvXLqEBieOeb7M9X2nINobHAjk5QPNue8dg429vcfI1b6yJUKIqTP00+fjvpuLpwnuyPhRrtC1/IsWyYyEuaEGdXiFQEDC7yZ5NDPBL2bVc1n1RJ6OYHr79z9AlaPYEFIjub4CZIy5Vg7nBEotPy+e0+e4zn/9ZYa1Qth7eqlsA9aXnATnqq1s/1NRra/gI+47G4EXHFRiCheX2GbjW2kGhET5L8gCUSguzxEN8BYiixoW6bihk41gzPYWwrwYWFZ8ExLXwngaCrpLgE5n9pparYTowmmWg6fKKYghaIX9yFwHPYIZsj2xIndAIL25o03s242haB1f/PdQTMe3+z/rmvyqAOKPVNrSiDIj0m2CsoO3eeoB8b7oLrL9/vjUB1z09PNhltKO3XXxzi6GULkfOxw02yD5Bs8MEjlKKTjp3YiBYLHRUM90XgBv/C193VOfiQVSM5TQlIpcKoqLHXQQ+LJQuQMVeGBDpql+/AciIhFBqFehPOgZ+zkw0m5bqDnyI/8RcR9t69DiMyN8FywBX9Y4OW4XcsO2ZYGJqbfsAoCzskiZX9cNtZRa+rxxthzQQQHkAGxK+A3MkOaUfsk/Hb9R50GGTUXwqB39yu43pcsQnVTtlcOaFXZSN6SQZreO6Uh9QhhHkbFdfGS15H+oZaJok2NlBn4m0Mc+BJ0eY8tRQXL0DH7UhzXMFr3Ftaayy/sj/pxsz7rnO1/6vLclZ4xa5Bg8uxCu/NnaehdNltWP5CrTKN0rJeAZl4FMQrKhUx0ewBdESoRDsXpdzXCrwRDr0iP5LKaOMftbM1c9zkU7H3bMeQddVi1w4nQpUCCPrDHYxwzO9Ujfu21z8dX5Tg0ZYB3yrjEvNYVQJDa6uX8Q2kHgfZkvXrK7T8Qs5IRe4w0p/BbxJy9ixyAMm+/0e83LwV++B68Aj12fKWRoDobfpHAq7az08QePfDVa6rf2lKcM8yRGR15bs0cbTV2SH2tyAdTjFn6N4l+Z4nXv9Np6dXyQdf2ZWjFyww0bvIoNCy2XSgRbcpY3zBeFd0Qmp/EmhsQZarwAd8c+o+JPBSsXtS2Z4nnvFYTqN5RewJcRv9jKT71Xon3GxE0Hzb1BkRVgovygvw911jpeKQHTmMHeGKw1J6ZJbf2feoLf/N5Fb4A0HPk1/4uYwh9n5l4aktzup7Vvgucr8nYVSN4LD5aLXofPlVvc7JcfPbshstI+X5BH9V1xOgR+WekdoTuyt61fLLSSU9d+4qMc+gowKdMZZ5djo3gYWH+CSJ+U4i5fVVzjoCj0s1Rg2EMk+zsoTX3GHQoS932+CdGpcyZUgCkM00tsHL7R1GRK6lAXOyBgBTo2nOHNcBAacTt4wU3AFcfIn96BwA7rElTG+EBgL84bi/j23J5c9MYOznuDNiWYHb9B6RDwu5/QIgKnRAr2xhp4CvgFSfptS20ws0yaUTpSR4QluY9TGId7hK15rtasrLhhAZ6tsUYcuFmPH13mJOZFG5OhFenOcriQK6rwyxTwcQu5LkBNeq8IiOf88Oin5rufD/MXMkLShcYgQqSnGi8qu4GswLYnSdT5o/fSnbvM8Q3dHVk3KhnU3afyw7z3KtD3MraaMsBCctydB+aE2Sy2z2QDNE2RhvB1nagjCOyTGY1QcrTK+dco3bfrjjPLJhrorrh5w9T8wFJXGGsz+ifznGnIvBxnpUbnGnNkl3ELjKWZLwSeZl6CkoWYr6qU+BzFvdo6lWerRDblyYe4bCAAqmZE9XikNXPZSIQpsINvBaKJ+o0qucip5o8Gbu/G7jy+L/3jTtEMo+IJvM2LqIVov+36gbczNSStfxizYq6EJR8s/dXW6m2Yo9uYQP54e1zqMWTcW3Pwrh39UCuZ7Ik7cxC/h2TcJyDePZISe8AzbNCdfrz6J2lM+Xs7uy6nYqW8ed48oKnl3YlDcubGohMj4ZJ7K7narF7WbejrGeDlpfWgqz2ueyCYQgxhhmZmuZ3TIvtXeMFX8X8iEaLxe5SgeLu7WhHQgSPLT6lSLg1yo0X8JfPfDGKm7ih4CNrFg7Fib3rd4QbaSG21nCBhx+p62dvKouBUqUXHGkVbgBJMcqw7nK6xSy6T34RPQ/qlG3wtp+SoPfjjy3j8qbpsN5GC5xbTQGEpzOzktOHgZdsT2qDk3jiptBveJ8vRw6pFX6LylsdA6fpGoXHCEEwNJJjJ2z0g/l//cIaCnkz6KQZ/iFENPzYoucFb/slqIAfnaiqSQQex+RysTv2FeAMG/mHIlcoxVp+WwvsMmGdZ/d5Jp4PqY6xqIa8SMDxRbhV13CqQFSWY1mjbHnp9NMpSBRi8CjkP/OCWSSYo1iDAWg0Lrx/O6PDpDgzXkR+WN0C1J1OhlDZ/fxWDB7QDnQXyFEj2Pm7RVSl9tNUo7CtYsvtJuTaXBY3IlaSNSGid8PCCBYO4PMgdCuZOObEnvvdXsf2MoJhXN9J2OlQPynpSDiiu0m0q/wIJxCUWwhTGzHqqoHFki6H1EXCffHlT5mFENlEDgotSlJ2rYUt0rzN8x6N/vmMaalzncfw3aiQEIjKL8/LQ7qJt32T5x7ajxFZQmNbbQiWQF/s6Eg6q27b9YRqfEkLI5aehh/wuPC2l+lWKnqpzIn26wBxllMNU+gQEmSrkvBYiP2L0mglnN79VOivllC5F4D1Drzz28ZnQUHh4vhJCs8uw6llHQUwv+dJdu1igpVjmEPiRF4vPj7eluiDxdifewqPUxO77l/Hdad4FFs4PXtUxP2sDvr1nRpMI3KkIBbv3hiJolnv4VaWBLAiXkGeL/8/TLv0psAy1XvTdZUa2kW4atZDFs/ib6985s66EarNlwlOo2QCVMDILuS/jG7HFAqgSZPn3pubeLpnFyEafiJ1WUT1t3AyYH2FHaMWFPBrXWTkTQoHOS1cwPlCZCnV9p6/QZGx3ZPkrs85zzzlOkAC+QCUj6Hw7u4FrhvuhXfpQGGAhpts9ZP5MrhC4Hj6AjDxoWgChDpJg2pwjHAq2jTKbo/drPmoAP60CtuVdrVExxzCiC5i6F99LaosGW2XBRi59vLPYm2kBZw1LeVFY08F6G3ucZs2AEOk2dKgA1hoX7qgVp0oBZ8eYC0JuP6Kc7UTf0aBxJgFpJ8MQ455M8HsH7dCOc5hH5tj7xYj7efKFZYmP9dEy+NeczmEWa9QCzpWpSP0ug1o8e97jN/9wTA4HG/wPEyuz8DZKbJCxXQslAu8UI1y+iFin/26deEcwEYh2y9JDqWccBVYyXy8/J+Rx1MnRfIX/LpyikIFH15gc8+HxlLwnr/JZEq10lAxcjemfBtM4M9uHM/kSkNF4ei+w1Zi5Zzm0RY6KUo92xqzGkhlBL26oGF9ytQh83TmCLy29OzetQ0ZyEjAdXeptc7POh0LOzY+GfApbNbfRKaDnt08VJcB5/8kFLCivNIrANIYIWpMyLX1LAyDpPgNYCRLM/XW1XBc8dJhMkXf1gCz6ysc2QvFKB96zF+HRVe755Vn6XkflGIYMJOKbJiL6WGXIpQLK47pGO/NoecYD8Tw19nqSGShRmE8H7ZZMssLiHifM/rNcNrWdTDVjQ3gZPvfVMWOwx2DYAF+cHnteGS+ReYc798FaM9ZowL32YtLxK32kVCukdbYcASBKZ3UqjNlifvZ28MmkLQx54MjIwg9JmKMFzBG0UfvFDEfgqtNEscQ67EJyRadarI7p01FdBuafAD8vmrisP2fNcPdHwxaYTo/DNfnvakwfHHKfRwK6rk9hQHZtsdwzxusA8fC/L4m6jZ/GPPvL6r6dP58kTaLXdS+48XkcthOrMxEctBSbYy/0WgAAbWr9qDJXkRb/TD/6xTQXpudPLwRE6/v06Hlnj1lA9VmG6OMgQOCShMYOqGE5jLuxzynsRWlHGownd6YonYhRaRocoC5UiLxRH3vWq+PyaKODc7jkvGojHgPEvlJ7QNUqin2O4zdyrXsnTAC4CdJZ0LAvcfq3fgHHbWUAQG0y/CPvFX3dST7pumKn5RzPbK+pO5aGimNs6E2PfeyWm5EqkOLqSLh8PwCiGu3qT+7ZvXJbOxtus8HlClqSTIjINMLmGzeSKSSm+EVVeZbT8qToAqvIlbNE8Rq+4W7KEyDlQA2xAwmuQmSyAgd5AE4xKCWwPFMl77cygvkUAZQ2LRn+Ido5urAvDJ5Q5AdcZuOduHIvHhho06KMN+bcR64CUvwHH/FB8W8PadUuvHKJ4yyhI8G+16GIECg6CnVUoDQc5JgjYctQ20yICGPmw2gtijin4lWElofhqarMyjXwKRxI4m/Snt5rf9jR/NVdx6zxaQZjhDxatVntS4/0DOp8e4M3gwHxsSYrVHPH+R/GnprRY472JW0P8W0rdMGjKtAGh+vZIMCggMrqqD424Xmp7l4yBkNbA7qfxWC1mF9NgGbQXBQsawnO/HyyqYodI6lPtuV625+9t+DKwbF/RZPP1BRfQcaDrkU/2WpRm54MRLmDrRcHJH+DADJuqjRr/njqJsOaBxPQxmulBKv3yi2z49HzjU+tbM/p1eRvD0hfP9w8w1gb/vNHimycesjJSKUMZtgBBvywaztzwfahTXhS7HN/wjeftosnOpx3CtIOGQYFhxe+VKJuLynukQBxgbTpyXRLCdCnHjZ8/7GxWIhDCRp384VaR8e2pUXEvlAiBzkyFwxueSeT0BpsOKbQg/X+zkK4/4/poQIo0mCdq2ZKIQoTHj1aZ1bJxTce39Hx3Ax06HbwIv3WkU6x82EzQXNo42sOoAmssGkbe6om9VjKiYsjwi5Tl7neSdugSz+sF6BgXvBEXJIJ9Q0prRshItCdQ4SSnHj6VuaGaq9oVeZWLB84RiVKtdSvYEDKVUJb8JkDAq0ZBfPe/icgaOvmDrlIq5x000n7zS2Hjzr4/79xrs7mQAiLN6drR0hBR7P2JeeeepZ2YKdS1QHKijfizFNQG8DwpPQgI70xNBg9PlJQ6AUjAnbhDkD8+yFPruscQOz2z6SBNIK1Urq18moQ9kvRyBwWJnqmWZJRhIenkLigQAUt/aolktdUdpHOFaBNWGZUyy92QXbBCN/C0I7hYfEQCPtxKdysgjw/HFVFX3RCes6SrcAta2TCbqm3w77KER3QTBjsQemJtk8oF5r0ph05opv3rHgIAxuKW+r0YNtp/cczWCDCcimi5PY6ZI4HUVYB2SM4kH1eTAhFoIy459adfG8jh/RN1jP9IA6jiMiCPMpxDRhsmQAr49TqSP2Y7Bqar/g1VZNjA6Hkg/g4U/E+RLMYmztMXwtW/cjhq0q9uNCVp8YYRq996TMUNyZ6q+e5OSNnSKiVEJQGf8AQCx3X4/HdcG6LlSGaQlrIQn08gtzjoAY0mU1CfgAd6zMfAfNMT20AIwALhsdmUDz1atx76rmSaaRDgGPyNvpyMuCpnGgfVc6Ji6JcNAs5+e4sMcB6R0hEsVYhe/t5UqMzHpFhR5MhNpraQJNKXsQG5077cNteIttENCoVIH4CF31q1CI1YaBLVb0jlBqMzWW9RYQWMsZoN+aOskE1neFghgTdu7tPaqBjR7NH+jnX8s+uSjvvitXteeJqdhWbrHwCPm+xWZoXFkKH8cJUPTdvvWaenHcG+rLV1pKNHRQ0Gmma4KPtBSyMqIy60oaZtvG1ksrDGnAEnRl1pUOaXpccGBqhfdu/j3uI6mTPrbmRw2XtIgDU5VoRykoPMgqdJi/Q59tbkL0lOVBbe3jeF0zn/QnE6+WkESWLIAFbZsTw4HLgRQO4VbnOxH3NgxhwGMcIzY0IC638hg7wEdr7t9TuDBzMbj7Gn5XAq2SOa03Z8xA2ReS8TsFexc43jLhxWjxdc+ykVjBqV544Js9el/Y2V57gtwSVZnZ7nh+1ziqL5yCOE/SybL5sDxR6vjvb9g4pPU9eTbyYN/WVBRXShHwYhzXLRLX885Lxw1bOtIsh6T8UApfPI7vFAQAjbOgLWj2vE5ueyxFAKOtaIQo89E75X7Cg7Xa0xg3cxWfoYa1V08esLgx7G43onwPQ0nASvEIcBqjgIEUjc+wR5mh+ep2l4Su7WtN4LACfDygWezm5mmI1Or320HNXFRkgQFtxs+K7sl+W8BQIMBUMg1S+UQ3vcjPeGEVMXfHe/FZD66+JvjNHR/b0h5E2pxLXyg1YlAwDUiV2x6Xr7uDVTlIkFq7UdOZnOsMJfE0iToapYzBKM60CpJsgbkMwlnThn/3V5cHboA/AuXy7CoWHPqOg0nGB+2JUcWXkm38x3jEAzR0l+9MXvwErSYuKwZXVVpaz25zfRtzDOr/08tXg+TSI1mqCfKScqxiFWeHa9qehjTkwoCiMckCYfkcfG7rBlkKf1jREmuGX/JxrI++8I7bF/h4KSb2dcUi665DxUd7F+/iB/5oNZANpnkdeZRlqeHPgOPfI7W7S7cu7Im2UfDSnuS8SFgb+wioWKJgeck68lvo6ih66I9Q4ZQChJr2JGQGzmguovnBBZ6yC7OT/5qLyiU4e0bLTfvtCpBNvCILXlv2VV/ZWBulYjWBx2jVu2wJZ4RISIemA8GjmTVMgQf6BiN8JauJbelpDqB4FRCHXWDD/GZVwwQbkZ/ulnw6mo228R8o3NY0QUzLkkJkeWS3Safj+xOJ3DOcq+LxKIvpHXhbeZyvtRBME48tKCGdqL88nT+XP2cEYUh11XIQxIObHSLM1t7Mu4BxBFGrRpmt1TVgbvDSnXUv/6sIuEwXkmP1G7VF/ggpEn+No67A3spQJKn0ZNNZEGegOiMXA56idT0ZXGKDB/ToU/+LD1iweiVICNU/PuuQPTEEObqT2UiCvm9u/21ukbr8XTXHU2JakZ2Xrx8WdyMd/1xQ8TRDzI9sEpiv6pjh2eN2MsT6tQdwVT9T3y1LLXhdLGHDZTLJSfHUPD4b045rZ7RL2S/v0J68UjgVzI4ZwQ3G0jhCdqazPLvLXqLM4ZgSgLnsM0oEUneBaMK5WeIy6cq64/FyI5a6dKS59EqsvHlC38z0SN8RTVLM9q6o3MPI+KJp72v6ZBUgmO+kgfXFJH1IC3WkRLzqG7Aq612/INK8BWW2c93Pgb+g179NEcbtm59qizwEEnRYQOMXzMLC/Kpj8w22EOrJp/MCDwSEEaYeSb53x5UQglAdtfmBKfQTVo8eubJHZPVH9/dhcpZGqq6p7g06g1RZ/4hWm76nzrqUY4qU2RqvjbWSSzAwv8fAHytFGJ1eitLITY+VF4GINo8bDx5Kv2+83mbcnAEsiid2QWT3DEpERAY7gs9muIZ08QlAoqUg/lDL8+AVkInfPMOvBHWoFJrIfP2h5dmYByGAQc65vy9+km2NShiS9siOLxn+zE9HA3zzx2dD2+oN3/NBhLyZjSHTBNi6tJWul2fzwotd0myVpUjFRwecvZCBpRdaBbVY+PWNEDw4OOIdQygV0UZaMsd54vGfsjRrhU57dhhMJUDlr+E3Hm3jVGdwtZmf746bUhpPXkSCoF3qwsRhWq60wCeoMmcGuk5BhpEqvuzYn6P+HvRnIQsv1+dtkuxJVIczRp+te4u8jIsvTwlKsrSffho66vNo+TozILUPFxO4p7Kph+e5gbOfQX1pjn421d2ton2ZyV4tcAt5yOXYYMJTJa01b3LIdhaV94xxhw++X1QHOiKFpAYqli9xTMY+UvpMI2kZa8t4idkLqi75z8S83K53lbuE1LUEo13a2GYMC7/CnfDroeAOtSlFT5pMNGy5tNN8Us6i+O0JAPrTbFG+1k6yt5UTACxj9cATCTOR+7ey87L9bOaK9dyPrMIprzYII4dkpKxDOjzqgRAlbDCw3tlRohE5v4APzZch67bFUcbGG4ajHtz9SBQXPQpkRWysasJDGh2ka8rOw1LQ/gLVtUvfANUsuLFLUubwy6/9AIY6L8j4mk6R2uZ8xMEK10qeFcwcjkcAvz46l9AEi2IajzjMvv2FZSfUo0vk7Iz5IMP0qlUmVkWUPxjhSXEvu3GxvJhagrJfJhaYn8OEdmKdhlnReMCoSbaerQvMYV4s4OOGvr9U4njft4RUYjMsainwEOlIBvElFvkO7dz8oXVnruhE6SjMpEdUfCbJkwbrI9WfxQck8xiM9YS9NOzXmD0vkaU4qkx+Q9DRbF+G6dJ+DreVkejaOInQpEezwRvqRMBDeTp5AoCUA0xi/ZQ/1GWz4qRsi348Wmgh9GGpPrnGHolI8QuWaic/cSJL7DgSILD08i83dOGZdHZhfMPayVB5YiHW4Z0t/8ffoHdOWpHTHcVrM3UdRuauQx3slsjl3QiqjxorAPDBeJdPu3kN6GVcTWuCrJSR9Gv2aqOhn1WSciwNXM0INZ8mOYs25Me7RbD29XsdqZ4xvPVIfs1urk4P98vxOdJEjkRk74IlMgb1QRe2je8OgqZFhegYBUTdctqZMT+ZdIo6aFZtFaTYvqx+jUBrH+5W1KYmdlyv9fm1tzRcT6e6ylVhK99apLFApLpFmwO0LJ4u4XZlrgj0QORJAwXqKaiJTIP4+XYhV3z5kUlQaiRDTClr9yOHjwVqwi3Gw6frK5vaTTTMXgo2oojZQiWX1By1c/y2bTVYJzJXOfT4vYNJL6bDqOO1ifkidFOS3hoa1ok33qjJkLY1pMh94Q2Sk70BWE+L0Lr+8zbqSbbFqbeMXfISz9wsoJW7yw6wzUL0XFPMSt1GCGrti1A9B/9mG8u6KroZIZF4ATP9sXkZg4qfBCnN2i4YFVpPCgfqEkTiX+vcjMKQqfT+hGRoLlt60mM/xaWpCn25/8d80ioMqDeuzbmXUsWBuP2UmTJEMCPgsYDzy8Wo251QBr2x5axLksEeCNESJKIYR8/drT32KDyVQsne6oLJm28NPE8fRCRSp9M9IWgyyOVXfVLP6nQXHueGhRXP6cyV1LUBzlp0xU/NuiaWZxaBT9C/sOeIpYZcDbPTI6ZwIMBkXiX3lJIDJYtK2ZnQ+zphtaJjN6cS6s+Au+t4l73IFMwvgpSWY7wVYQNKJ5uMuW2HQli2L8Vc+wEFK4m/YSOll6xLm859tD6H897MrHgRWDGggbf2t6SPZlBhA2A3nlfsBiVz/wsZqaH88zpOYsFGrFxO9a3+XaNl54yUO6nTqHHxdLCZ8M93jppqASwnHbs8/mhfQcPz26FLcHiVQeKnOyFq4V+7I23ivDyrkr/liS/fFrTEGQEn6MZn5jGzNudHBqPVaix8qlnE6RDLWIVg/rA7md4voOW1co9EU1pPYEcCPwHXhLDydc6esTdtBE+WzPLfzGL1FV6wO09W4OKDxZZWnPTxoXfFJTfZNC5ccc44PIznAsBOYTVMYiso8s3f8QZEsJZ9eh9d6kIe8kOJQVkgdy/7sHfXGss1ZQmtqZQ3V1+tLQ7q5zjKBBo8OAM9SNMYrUTfHD3TRGOqS1aEPNMe387hRWvn4/vNXgpZAdQzxpjBxcFMzy7Bphyw39DLIp6Il7SvPbGuzXZ5/P03shcAJxJQjpQEPGDESiUnE9g4W7hJBe9mhAlPtlmvK+bPgyO308naAVLrS+l/1RH6IO/OMjNiS1cFobqDlZ2d+tJxrw1gybK0lXRVNjEOzyuQO+kI0Ni88bLt6AP4ifJfC1SY677siAP2OWIY4NbHxMEBjB2h15sd4kyeOJ6nPYdCPHb6aHDsMNHNwV4DNYVBeAZhUM4kF9xL2qGuVvRQ5Os6sGi3hfm/0dgw5gkW24CE/juakMwZpAvbq3qeiEiqKnrdL7SLxjCYf5NkRhi2SEosMDEtc6Alwk+G6PMs5/4cAKJpJ0W1jUn/UNS7WmwvxbElpy8qmCtcG/SN38aeodvzGoHjc9RM7/7Sx1JJP2Jm95kimIDVfm9YSORxjfLv12DpVPstyQ3bo3b1Ap4gE2BoF2OTx5+zsXvPtxT7sng49w5GxPwQeWPQ7Wy7dEQE8RRPNJUtcIBSn2YkUba5MmRwYgiCBme6ynzKbhl2JXaDjdljNGcZC/eB3hKH7Mrpnyl1yZmUDh6Gm8I4Bj3JQg4IVRf2RFeEldnJZXTjykSVWIPrDKfBWolumqSnKudHl25x6O7al3L7b6bLXi4nsA1X8TbM4Xagmgsv5PiJIsyGih8434u1hqNp9wae9eDqKKcy/Is1WdR/6mhBKzqym69Nq2GpdlGpZOrBW/2e9tpxdGriahBnBnrhO3/gypJXp+y2goH/7NY3CQoEyz5BYD3ECFA8yvoCuwN08l89D53aPrdH885CX5ecWh2ixv5451PZ9YZtaldh7Qg9nh7glqjRLNTIPU06OG/gO6/NuOUbGOhFfaRgcpN5pFjI9l17GUrq4HDVLdJCpdCQvC9uD0Orb0kL9loATmbmCFaKAeUK1/63B47hD14TFfQvIgDTIfROAfTqRCGVHdmgiuKnqq0AuoosSXxQ9RATcEdb1rXqKKPpv+sbxvPKy+qgbCD2Z4Xw2Nkc7LQ1ZltthIXZ0cCWyI3YyIGEY5Bm2BdJal27sW86+FUSFM3iYGfVLGzb/Zopq8YbD0UZDIPa3k8y+hEAK0b/VAlYA8ZQS/1D7FZri4yATT+6wVXjp8UX9DkSyoyLfuiPvhgilOcv7jcjTweQUTra20aLv+5fcLf09SNbcpe6TPbFMAF3eCWzexGLkFhm4bigD0WqbmQK6tHkgFgHvoXDnCSn/W1kV14kKndWj0m0yTliItgAytfNNKWcIJ9fs5Udpuj0u/+x+1QB7z224FVokhVvhPs9bqDzxo67NtLyy8BgrgJqWVelQxy7hcT6pgEalvjfp4/4KPOfIcJ932T1Df6XtulSY6rcc/sizsz8LWNocx6zPw13WaQ6Gg+sgavW15lQGjYr8C1p2on0uxnZeSU+MSHNMKiuwokXKc1tgeP+hK/m3QxHx76Osmj0MAXAOh+mnDX7x2zLzngnEGUYzu3x27nRExuNlaBvy4jdbyfkUgS6fbFxxwoaHvmePzLlfCCAjvhRWEC3iFxtKb4x3poDD7pi/tfRC8NYsXdHhjiHzi0qxHnk/jHxlLUfDgy+cSeXwhJnTaXXEj8EuD7onRdpGMBT2F+J2FOoWdXAH23yIO/oWNNVABj6MH4fJqhonlNCyz/vkQ8aQxVUqloO3ReA4uH5JHwxw/M57wguRg3uWayJXobrb8X/N68zIwajIcTKPCY8jJQZLYAttHtgxvUXJLIzxfhljC8uGORjUdkVKyLeQZ0AYQu3lRfGtc9jUgml08rgDxQuz5HunxyMsZ3icxPch8HIk7TvqDcwRRj4XGaQqFm3b8fdT3xYNwPS7Om8yGja+N6rPrk0TSn6hc+1R/xqiR/5SMIfoJyLMJol0OoFKOGc52hQXKEP5g4XzQFqOv3CzNjgxwlm5XVknY2AAIAXj1fpLlnbiqGQ0GoA+/S9dWcr1UjlWA4aLj3cEE+dL/oSeTT+BYpA2JSqsF6bu2Z03E6xjCBkELbWVVxCe45s1rpBMmQNR9+hGUKjx2dYk7xY7fPbPP/b5k7wL4zgCXJaZVopcGZNwd3hZPDpdi619rOZGoCKRnhugnKjByTHEtYu5q1x4gwHfPgjhPXr/yaudGxJjH6w3yDcd9tGBkoCAT9HggdrYps5wIobqkRgSejjHV+WG6LXmA9atP32RrXIIpWN5ulbof+dH9WSfeujiWzF1RNhPdqPc1hpS72fCLwWL1ZB7KpCIsCUnclBxORdxB04C66OWb+hP4jMQnJchy+ZOWakNuBduTsyKCPykQaXcsUHHmvKsV8rL7u3P3FSCyWAMPqpdpNj00ShdoTwvRscDQv7NJe3fDOtBiTUWHlJV3RDZiqFP3eer7dqAmEUsl1MnXXxiJZbz/QkjQdlMr/vjb30LwuNMjxj/HNWhiVn1CYRiCzUD0qYK0ggfcnlJWPY4P7FNXGTgBS5UZVWooQy+F5Tj7vS/HDbIzg9D5qJT3FSrt83s6QiGSVl+BVgppbfMZu094Jbha+VzblhzEYJ3UeHCqe3KyNOjVdia6DV+Ekzl/dzIa6O+Qn8GRS2rEoKxELds8UXZnaLwDLo98MNvYJGufIJoORw8LTDLy5237v+HMPGTnc6LuE20EvHQcINwJNNImmc+chTrFonbW+HJwRmuAu/xY/rR4oHOy2BPe/DXRdmSNK8MdaflJ8kp+cVg38ve0MY+2lwhqViCikvngn0BDyeIU4yLHDSgLfb82FTskdJJsaHNmP6j7lnkJgendgCauZ9XpB377ZkqYgwLnvDi4BOZSZy92zIuDmKhcLykpCpgPY2PXQeALrr3pbkYdE68p9n6YNDBLHJ55yjxORvFklk7mctwrFVHAMHBRaDBw8Zc3PXqBd+M6lXM+b7aJV9OlK81nzof6lxNPto8A5dRcgLRy1hARfbXpFpudUxKTFnd5L0PcjdwrkoFvwveSnTLMHdrhYDFJGWPPk4yyBMlpKksKKgDbm44nQoghP75coi904IjIKOZyteR90e4CcEyUb7q/Ze1gSa93xXNlMMJ1g97fUJMxt4CpXDRWqw6NcubRPOoNeTLPO9PSMw53AhAx8eGOo0k2qCHW3BuXOVf/Jc7GDE9G6faSjphUhx8vC0Dt7LX9f71sKIM6wHoU9q6nJ96hKwzKeW6IICdpdYvEUVv+UYcJ2R6kXYQtaP7V4XxBscisZhz8jS0KlxXad1H2w6N953Z6Q9dRiMTSo8a/YpK/SmSqN/LFrzcWb3cJ4MLiM56b4iuD/rfX1kabiG05cqGrdCdcGWEbW8cQSZP7ERdBBg2ezNbtTsNElFcqGzmLGYVNz6yABYxy+D+qaJFW7O3fqJP7kFrWJN4pjIybb4n8w4NXXCuHYy0zGuZGM7wK+hEkfgA75EK8nbZmr4J4QzRm6XzKzmNnwW4vnpxnNsG85dc6zZOvZ608I4R/WHzSNqcsZnxf1oNHUppAwwQzCEeY1BKqS1jdfWFGGz9ke0B2bGLnd2JgAOnZXB7QOT1eQVtjaJHvLeWxrmD98nmOCliMAlDKuN16QrZ4zDzJ+AAaJ98NCd8Ww1igPm5PqyfAFfjxQcyiG6hMbMrKF3KXKUzTvPKfBR0Gbcegh36zCiaIKpHqWCkNfSehTau9h51lJSA1GehWzdw+KBKRyFhkaHN9hQ3KNvfhtzklZ4WH1VpW87IGzk6NXBrN/F9K5rGNmLET4/wc6MUGO48ap/X5XCvXjSuoHjsnyJkvAXv6xnPC0Ay7Xil3evTmdNVuHojNX8nWCx9wWIVEER4zMrSA4GHL6jS1WHeIHFwDH05I6Rn/fDeJQIgrxcWUmc0vCw1foNwVFnVtEoAh83MekkTy4kPDD4LMwDtxTCwtNREyAohjBH6COR5KmAFztffQrzK1e/aXJBZNLelvbpRbqRPkQrdLGbAPyZ74R7y5Ce8HaYEs9zDXw8WbglDRDO4ohke9A0VRgHGvL9l47nb+d2SEabIpoFFyR09bK1AtevuEytv29dA+ewKSOZqwTjd7kVSd+LK4VB6Izx0Y5OhhzeTcWH3UQ+Lwzyaq+AZ5ar5pKIg99EVQ5p4dOi18WOgaIQsfgqY1jHaF5Miunsob5dTfaqr40kkztOF0HeQZLmPgk7yqWJ5uCaCHgjUZ76XgB+6vh9qFoKNelHznaYPUz8voRTJJOGsi2hEzix8buA2bI9555xjfhewU0ka93paYXKtQOJdhX8TVMTrWU9+4bbDr495Ax9+l0x3zokYKo7/y1oughmiTHP0KstVh1R8p5TgRtVXn60xsEsIuvkz+5niAsavBkzMp9LsOqT/iJQBH6TDDRlmzW2EKEBCmDBhA7+T9DvLrRSYFvce/4TL+ZnkAJMCOxKQc0/sT2brb73+NkKi/gcqeAKv40PANJCf5Hq3zm93uWme7z+3Vxs0pOOiPpFsstVjof9mMKLtLwQ7jYK6A5wxARjdfY5WvXlMGggvX0bVD2nIRjUzz3hlQnoT4u9ZbZw/NgxWv+4ih7EIQQ1euBhtOD3c6hkPxXLrX1Rt93DG5LO/nfbTcyulGPCfMq7Q2t3DXZ8IS05FfM6VbO0FOgXBJb1mTb+60wI3ELXmFAPmBfzeJiy8Sp2SMmglMx6Y3AyXTqfuZiulHqTkmIDbe2Ad2O6uAG0GTj2QO90QxhSLMqccMOHEUMJSr2JpnyHDyGmPk5MIwgUsxWImn/jFygZ8xVSB8K4IwdFTXlKY6wr1vJbgOD2SjC3MWj/Aw31Zbqgq342KbfKnKTggvw7TLmF4Z/NCnPVlmmENu8b3zSN4uUJ8aisBi2yWSMeBuGo7PhSd+dF1pDwF3E92D7EwDpIxxtX5KQgGxwNIvP+IARA6byrG3Po791Iu5gXqYhTtDKHDaq7ewMVvxQ0MEmyP/zInJ0KQRmjrOcygOUeVHhTCFwKY5b3CBgClcGoZVlhz6VoAsb1Hye1ioip9SDKuQcBf4u0x75uWcfYHuboM+eyssJBJ4knXDETBtzf5Dn7EaOPjbIZehtKJQUQzFpAagOnK3OFN/cp+F2XKCC0Jn9EqEPeIOcdTZID5oMqDAS/LQF+XtomrYwTjXmdl1DYSjguRQgKI4pecjFTSa9gP7q+Nqv1BH15FkB6JbhHJkz3fodX0BMSeoy4mPqFJLvnKTZB6HLJDOaSCVFX+thfXnRe5TfagS1UR8Kt99Qmq6PVogtPYxMyvVWQ6/pfyaBddbAP/kYpDdse8yFG3R2rZLAn4m5j1DAG+WWlNPlRLZbxNteEzMw5aGZuScOL2kilw3O8d2uyiAhhtofkfn1ZGON1YcnjukUmuR9YRHgiy5LHYTp8HiFMEdE3k4rQU8MVUxoBFGmGWNE6GzjBOBKdv8ZFnilA5TzRPgAScLWZJxWErVkjVtd6wiyhPMZHo1URP3BCg42WuZzgSEOsseg+hZaCMSvGsjsiQTZTv6gUn5aubWqSkKpaOZ0sKgWz1R0F09dCidG6Htrz77u3OjLOfMFJqRqysvzL3N+VRjjWNfbtTxWj99zPEct8tAQoPSqQOCfbyrej1JLIjUh/Z6lgud4hUwcJERXhUNcXGHa8hic7GfaTTIfiYRvEAdr9DEe7PNrvDXNQzbRa+4tigKoMuFuLuHjjAMpHQFT1FJvw2BEoUp3tnI9qwYbVInjAwtMjwzM16A4VdJ+Vjfo7XWRv63vwBG1YvwpcmbGom9yS/WKTH4IyP5E0x/Oe10VJCnLHWR9HU39bSdaCh0oUrBOKEC2s4Fv13G5j8Xr1wnDW/iJl/WLyOePpTwSo/IO6NeBpAeDp7zRg6xcPF+a8Mpap4SttaGNzXkXCBlEYYHzxBhz+qvDjn4srumkh3Djy8flcgtascJNVmaK1Ah03qMg7vyxafKIjzIp/z3l5guX6MC2lcqNfARA6cA9Sa6ufUacNhirYNt/S6mtspKMuUcEu6iiy97lYoHAa2iowMUIZxZQwMBEQAl50hB0SihuD/9w4j9lxZE0MlGlWNT5Xbye1yMV8we4PZNUIFJtSb8d6DA7d2JfHZwPZg+9QxNMXqVZgmCvT0VM3rC0/wxlszU73DJV6RNbUS+5g5yhiQNmeB+5fUTTkQsJ3zAzYCSOFyvUTFl6AVS2mchBmdi8J0kpfRTTvp1lJAQ8EZ4wH21ZLcY2IrsBGy4lmPmue8i+eDUKH+w2Evo5lGDS/UEQFiNjfhYFY+QhXs+MJZT/CtA/FEp3m0oal0+YX8/VtWOWDP8RSL4iuuTWq1hHBe6rtaBOggKT/SrbhaieaMY2FZHOVLI4RtdBvXpTc7RTm1qiSGFJlCLuFHKmdkpvMYasCi+gTm3WzBDix7biSqcAnuwQE+Tjc2KYuPVxC/Y1dHtFBLF8jNUSdbMeLiSH8ASDCJJ9F/C7/AbX5L/2bmBeKq5FGmBp2ryudTqFU72anyKbzeSbh4eRacHQabEzwIGtN/NUIFMxS08nlRjDe508dJkQwGLVt3eaYhbYFDCihP2qh38wMyU06TT2raO26FGN2de4lmxi08cP69e3YdzWYQO7LShvyo5hWG8eQtYxT+mhbjrltOYNZkaR0qGxrSNB2MJPVNeJHD4cC21GhEHcDWiiEVFIUpsz+PzF7VaEyl7VddvT4RjZZflALC2EMGG3qMC6wd+pjIqiYJsz9/24McAibQE97ufEwBdMIUirtMA6ZEDfnwH10E4hs+zll0OCb9PCyitrsVeFmeMuQiYQ48OgW4/URR/2htCzU7KphiR+aJRo2TlzT5CTmC0adFUg3y5ba63S5y/ld6lmxokfPJbof7hw+M69voVzpWrPI3YnjFmzvLXGyTfXTNJeJLNLJnUcqUKHoTKFNaNt94ChDz0+VwGf1IXXOn3Cc6ShNP59u3unLSl3Y6RVny8m09hm5T6D76jRqwax/fxWjijRkmRNk2RQZEHo2spr1AITAlJCw7dW4iSfk9S676aPG1EYYiijaDINle1N5lqIKgh3tvTCA17VDuFAC/P3AP0cgvzCNQnrNcVRPVrY51SxjLNM9gsfLupmc7hA0M4JyXe+llKB6MGNsO4culIGyM1HDsFznp2t//a0zyrZOIBkUvvks7SWtiC8vDO3hLNR5em/CnB2WNtbRJijTXKNbM3L9r/jq6J2xUsUUZhETwNcVsF/Qb9G0e2ZkQETAPYNEoPdGK0KoYZoKI8Pn8r9MLxlWrtZfLJrZyDKMO0eJ3GBMRkyUXZFgM8QLZ+6K0jxzY8tk6O0tb+Q6sZ6UEXNCpOiVqOPmZVMa4VA3GeYsafq4qLSLnmjGiEdFhj0eBqGkWvclSNcKMIxJMlDtmxxC85ejn8hJDReOJ8h5AdPktcbgY1pzxkag3t9XnFbXhmcQvW1u55c+ztE62SrHUI2p+++98o0eEmZQouXnDKba3qon5KgNl1jI3RtKJUrI1XM64HXpnNVuiXGNB/3eRcG3CYqey+HTH2uD5hfVsqUgeqwyrRrM06DZKiY7h2udxVwd9jOcjcwZbQe3574dOm85DLh+rKIuqSu7BB6TWEcAb7OZchgFrkvV3EDO1xSi8TtBDfx92iWabipz2qoTHAobfw1kfx2tEY68ByegS9gwCFmHa3l4HaDuIXzCsuaR6ZNhydI0ayQMaa+YJAGb6H6urfYVbPL6rlEr57rz0dN7rayr6fe8gllFbEmzqPVpgiEjlE5k/xQeP9lXe/UlKcBww1IJsBk2QgQXqn6iKqTpe5LdEf+/cst9uESb1a2C/Adnhhposp7kJuo4UJr4Q1AaG/NQFe91R7hqkass+1FWrSidxgkMbuSkENF+ISYsfbiSoc1+1x27KiFi/R9nwzpYkTuLd86FysSTKCrlLvmC7Yaoj0ggDhu8Vbgv/0OqfKZuPUr/9Grz9sjd2IdiNHODH+0giFxR6x3Cg40cktou8Jbkkq5AlhgjFhnhdA7HAYz8B3vvDjS2rMPh8KpXHt0HyHZQJiT4ix64REATiLgtOp9DMwj+CHRVZfAE2xLspH7HUH8u9xgdAgzsixyqxsVCLAAnNnlvEqpFcrXNZVF+xLEbDNb04khnrviELJ9drYgBVecOr/TzRFedARbe8IqcKr8sG5bFpGRcWCyYCNXbvjSsAGO/7ul4nqq6zB8ZzNfL7IurqaOhrg/lp8OJXLmlK8DJzMX7NjN3FIJm4+7la6U0qmopiqGVx3bIW2tGwZvUIDg/0qBX92kfLB97zzyQmwA7YMETVmGoo0ltEJQa1SKinHD7n4JCrCABBf2hS82q57n6ALy2CxsptPU/NF/wD0hQ/BzDYK5lLRCCyoF18WxV3DpM2QNXe0ubG1ayUUyh9oKbRkB3s2rF5X9pY5aB/AZgca8QY2nbYvDfXe3M+j/XFkrKB7jk/jlqMLyWq3PhbHB7IClEgArhbUsjq9oLoOWUJKkpv54iKEEHSNOPNp/SQ7Uasv7f0wyOJDswVNhqLd4E0zJt6arLm9SeRK80byhBDWCNFR9ClPfALNnff7hSBAmhNHViE8btzSI1MnAZqdFdxI9OxaNEcXk3tJ0RkF8OnLrNtrhy0fUWgRQDAVhL5h05xGDnRDZTlHfobwIX9Mcbcs3SnesqKbMgDNsjmXZk8nw7xS31Yxwj2dMV5o1YyLJfd0jqJy4BqQCC6j8R+SWEuFw2215CpJsdvnvyeE6G+LjIYW63XTecwIOXT2czLNWdj0vmMJresR1+WexPuRLvyvd4tO1UkSMQ/fBV6atigaSQAKL0SFv9cFmXoMJX6CZroewTHJP4YrMkwChcBMSQ73vfffeDIAjcj/Bwrf+X0lQOIqTSF04tPeikkiP1lmChecwWNUBs4JCEjFEuLWuz/sxQjRnO71eKjRRpiu4conWIt3jgNglGVWpvKqXoZz+4lDHqgjNEOayjjnOcjljZyRN6Lq76F0nqOPWNTGBlO6pkCpMkxyyzgarteFeJdlIi5mKa8hZfh1JhSc9Y8+xzcRiL75gy8xPmgiCLcl7//O/2tUW7FPuvIPreEMSXdarWbc/psjG7pQIJkHm9Thf0vVuvZguUmYyKStpEMoGtNeUlFng9CLIq8UQKdOBfeGMHv2AeP2WyODfCFM6fNzLuPGbZQ1l8cHkHYAuCqhoxncvpof6ExKLmtQGksl3lzoshR65wN0ZhW+sERhnVetX5sFf7ytZjDdT3eQjI9LP0Ux2UyZM+7yjzv7Dqe4wj9Ta6tzg2i9SUWKkwDymwSS6CQxYVlB3RN01G9S9w9XTTu45S4FcMk6vZ3wHq5UCuJHfMaQnqTrMjLKAlwqnYMjKWx0fzuHeoddvbo4XKtbuZZp34ac6l/N6hab+gYyFjH4nqBfPuY/5Xf2/WsfmElY8EGYXgAvGJ+riSstIiB7F0r99V7LXlmDysDNnJwBilL/o5MHTCJ2WuYcxofMTny517jMakZCaJaGQjR5IEfRE+0S4nqbrdbs2bQIKcMXklXmIeLQCFaUpOOXPq9Df93tn3cMVwRboml0oRPlKP8Jo2Ld/c31uhxn2Vys9R288tQ13BQHTLXil5GJNca56mpRL8rMaGf+Q9Gi10+JId1mVjWMZ+1oamyloA2rt+WpMWQiCP9ARxRh7D179cMbACy+Gfpmt8QvcStddoEHAJgj1kP6AjD9ikctXPwtcuVDgLRfjp+Z8RKnULu/6rUNm4yt3P3lUy0UAzs2SL74C6oEODbBcMgVKPJRZhy7wq4yoiD/N15AvQTZcwaCFJTs7LLqdBEa9B1F9b6XyMtL1H4sNe+TInhJWqkLTreQjAq5qvsJPM1U36kQR67Eo+tzFQDK9mgbkGudFPHDnoo2swRJHfG/Wb8bwhgQ8dO/2hibM8hSEqCF+SUNg31u83sm0S20cCfXWzcJT28XKEWXaLpWcDe5b1lciSrhOSStIokeyx5rlcUkUYklAmA3/ihQ0B4UDU2IX8upLFKMAYbrCuAK6K27ky/fnSeBdz/HTrssddWcUJbxS7cSjawld0+XdhBRt2Y9WwC5wsH6lzp4krGCgoAlKngWxp5faStHpHNPfjj+KQd2iVN1Td6xtdRQguNENaEGHzJWVqAfgRwmePYLcCTZHS8hapwlK/RPsNZQ85uWn7xMX0CaP9wdqUUzdJ/eAzrZENdyKtFFj7RcQHvC6xsHFTAcYJFISDHtXcIIlIk3/MkFq/dOZH6Eo6tuP65DzYumJk//sD17nlLqNOndqlTaNx+cy7HQi/DC8R50GzLV0zxenBFgwcuVtn1f15iy86H+WmmmDvPFk/scWsmG/ApRbP+Co0wrvy1S+tZ0byirvXf2/CHM7zC6PUiY3oVspzokkGEoKTXccaePGP5A6hcLjvNyJNdoXySxwEodw+zyvEwCji3wpnCxrHE/zkVkf86uDKNgOcSyoaeaD1RLJSdFawuifTb0TMHBz6RLqixPzV5dTT27gV7ff5d2JEdeG+T6eEW1F9PWvAcCAjTCx0AayiQNYi69wddrZCwyVgoCfbTg/7pw8JvZWB0xa6g/kJmsqRnfqPLBgrj3zuDDDPCg1jfp/BcZhfcxU9B2JgcNHzIGVvlcUS94BZGc+XnOx6DWb534ZksFc3xHP46WtmabfDVkYJ1FYOF+CRydxxrnjxEpN01FAU/JUsR50f1EZkLOZnUWaM74EMnWrRCpDY2cECpYxIbsyn4sEzoCHzEy5hUc8ruDzYmXzKA2b727P1nkjrAb0cjINqOJzdlXPXdGsT7gl2rLdTbHw+2RCFk5WYcVqjUXYVbymTSRkd2sOU2d9bRWeXlmav4AsPqfbO/Rx3gx+FqnqcFlfVPHO7ss8auxEFAUtSoFO5VlBJQMNDMy2Z7Lfhpiu1Fy7Jv/TQ0ynl1CGBpaxBui7CN3oo0vqwiqCwbKUxvRC4IMElnyfxqMeBkjdW9kHiBNsMo0E76P7Q0INfXhjNTGRF1JPUcM95hRwq974qdkiNaPhGR+nZ+3SIGgalYyrsCZeZoIUdahTJjw9ltpJBBPC6po1IjLarcl1S1V12UNC3+EVtnFJ4QsqSYaM+EcHaANK2rFZn7PxGKFgNKV34SNqfRzy0FQG7FrrtZ1+C8PNdEOmpJC/3AOZPv6wRX3KdtX/LMn1J4ptQMlKtn+6V6Dp4JuPBFIKypVs0S317GkQuX1xYiESe9U/6chXwkdkuHYeQg1mAdXMTMbxnXC/BMRKbhLkX1XSY1eb9AMDI0wY30SPaOq+JT47SKTK+YNipo2h3wtmSgD8wPzVK7pVajSsK0VbhNswBCpR80TgfhnFa4ZqKAsWDyRYlyxdwmXlbAWWA43rjGgfJ6TBN2Z76W3fRGfAd39NzrpX1cBskTqIpnwVCfAyA9LbfI9xwRKQe2QAcZ5vUAERqYHPUKMdGhr/7mrTR0xNxTp+Bpga2lv2inPF51VWkc9SYT12xLZsjPxKjkNa0EPYQFaFgVp4+IeMTLPIlie8NjnDCcSiBH9mZhN57Gj22GQB2xmWZ+9G78Clm2Qv8ZLjwr1GkEb9PE3FVXd7Xs6C/m2loalmTTRvSKid1sEJFD8pzGsMhFlOjW+FMFNL0no9h5FEC4Cr1udhZ3uyGtWKg9OPFw7G56W/QMzW1dkAx/0T7/SM1qU5ms8EJUb+HXZCR5exD17iQtMKxwL7CoprFrG8bBJmFWVdxzxf63saEglxFArT2ssiOrJZAxQirSQdJ3/QCso0JJ6b0ZX5U+gDksJ7pJ7DR/29LZx4Mkw7UqxjMaVfEYCLuNGVXdp6OBUu95op9/QSz7OiOjQnYtPk55rZq4B3NtrR3W5ix9oeLoB4RuH66EDeUEXhSVbwDMZM0UxIV3Gqr23s7MGGfqU7B0uWL3q5rGSivv/0jLEfIaP/CAPNbxo9MWXs8k5g9gM6CDoOC5hhHD7bdXwuhPq76VX9DUIrXErSyvor1wafUZkR7CiNqqG7fsjQR4Ui5VKSi53h+fJPFqPeZ9NY894qj1DXcuDiNYyz6c7MW0YZQSYl+1zsCwhPbK34YI/uxw4WbrceVoRgtnUT0rejj+fKT28KfrBt8AKbSxggDGgBRfh4+7wn/82egD1uHgpam1iAxO+MWoK+JQ/9xiQZGJHemFaA7qQUwWiN6CC4UyEWC25G0nlmr7bzXQr6zYTZ7PPq5CfzmOGd/h/g7V6xjL1HAAZAWBdXTuQ9LC7yGzK7vfNJfw8z2Ty4rIgeSZlL5lU3R9vUq4GAgy1ix46r33y6Z/F+XpKAasBgAU12IWWIjp9DyoF/GNkZ9aMx6MCj6l+fXTp8EljOeUtBWqbgAXz1CKiSMTW2zAzPW2cblWZ/DG5symzW8pA20wyVNFebuGHOTvN+nfjn3mSxDD7DoFJ/jH7Jbq4fmAzh1nSamGgs8BYmsXHAy54hq9WsK0ZqaCyeTYS9EArENaU+dUW8dKnPDa9/fT1d+LwBVllGX1R734GKktxIBpgyUhSD+xsPLk1v9VCKwI2cydAxjEFkotuczvoFj33sbW9fNtbrAIDeiC6op+8jpLXE4glUrSGOad7InlYuxneg/zkXTObpiFlbVOetr0eFqzv0FPQCs0ulD9i/jCYj+yahHAWqwdfGl2Jc/naOWNvaFn0pTnA4qL89PsodZOKSWx575gRqEIVa/kVxtitiXosGP1W0wR9RBOHQzrQxjnt7ZfAFpBhNH/r4ClvW/7hGUZOvZs3Lv05JHo5GVNpbRn6r1TD5/i5DH4morjMpRRw2JXlIRdSJ2+8y7FuaP2n2wDOx4HvJTi+NmXGA0H83lCEbFZt15Sav2NcXrW+PtXARXt8t3jn/J73L2YG2fcLOTEZ994i4nb5XwgCO3/65MK+Wt1ExUa8PpoY+i5OJF18ZLT6fH2dHVh0PKUiXfc97rbON7y7JUmN3PGa9p6UykHPzRaliYYJJSJ03CFcIXzWIG5vdUHGhqrgrFMH5romkyZyHh5r+AiXExzmSgPadGaozGHxrhiZNlQ4fR1NZQAxzG5u0tOU/HcuPBifafGIsBlAQzAw6lQw1s04aM9Hjlnqhg5OK610pXVyGqYgEpsDIVDcHKCnqDM41OTQxL5Ta/pGdLmkSqXKkjMIMTaBxZz+WjP68ERQKDu+/ul8nu9gmb4lHHHkrPd2cYdTS8g3tQyrVOgQMPtyVyqdZ5FS/fZQ8Nvnd+yKIDQE+BZ1WBc02+TGLn9sqYNSUvYnfWN+i37XhiSakjLEzs8KZ9ISNuPkNdjn7DxnJK5vPaLzRqPV+BXupiW3doKDdY+K3mn4NHWI4xb2M0ckMMJK4Eig8AzpBcVI1BxrOxnZx3N9XX+Wpxul1dvDhhVzOzeeQ5f6UUHhguyOc86UPHRDBFCN/CHM+x+BE4F7K5RI9suGg10RcsNXNCk4lbeEdPmcMIvyLloWZa0GUhrNTzmBau+RfMPiG5jhEZKjrV2c2/UB/S9F+NowBr6WXldOFy+fkEQlleuX/iEhivrVL/TciSQN96vHDQz2iFpuonm4gCouVW1bM0l+1ZUPdGiqvLOkdCVDuLYSqGNDBtb3/aqAmK95Xxve744wREbRApbevL9Iqz5c7/uDTAR8Elovowk7Oueq8OHz13BDg1eH8Q18ZG9fC3QFCckBSPjCnEsL9LIogjGpaq+fxkQAoy0tUPN+bqFOwJi+bJzKrEghxyRDKUyXR2QYjjv+DpNerSvr0cJHp/l9n6abGDRNtJJDZ3cky1ZvGdt6G71EBxkqc9jgUI0+imM929RSFIm4KOicexbxPIu3MvgWunMonl2R7QhUFTg8xqRtFDbhy6Thl5Zn6Ld0B4nZ6a0FU8beoanc9tlxEk3z9CcMwT8FO3XhnA2esiTsrnMuYxXLeqvFIWINbJiPOVdu8HXnVewx3cQKRkCsBv+JiCKDmyKY0JkpAZxwlM0Y1RjeI8umiuVZXKbRaodmTQqMMjf4oI5pTlwdlT8YbeY0b0jzcIjzcIlaQDwCXfQgDl5ioOdMem/WfLi5gnpNdZyElkFxMeTsEjmGrV++8I1mBkfiHfgsy7YG8/Dw9smc8BVo6yOHD+uOBzCvxM4KIQAKL9Mmg0PJbNrqErVQabpymD6mZ4gyMGzP6IjjOk0qEUqzndbVS5S9m9zZiadWCeLEgGdF6l8xzIQCxjmo0Gn9h0iAX54uIhQkxlZ4B4XNfHaEDKaI0yiDE4KlxLsTJ/jyOcmTWQyRwTfK85LaeEpNJ6xVr1bolwWNNADZSCx5mJodc7OyQMFt28aCbq0yxmdyWa58/fHdsnPJVHuNedWL3RoQ1IlVsOamZ/OI/9kWx+jwANEgm7E3bcK/FIVQ6V5pvNLHJTpTxCDivXooL9cl2RH1lJej6WlsEuGLkEsUwCjOz9c38BNTEsvmwj7DpdhSyz4w4qjOCxm8FgGWoy7gXN177wHz8LxO2bTqnpwsw9nqdPs/IkyfZP4OnthSJTUPuXBM6tpVc75gBFOKPPAm8R3eAU2oLNpD1O7r5V6WTAjo9nOa/ONDEf0aag1ybLNKOJP3d/zdlKi7waXmQXkKMqp7F/YKfI9yBISOzm9gUcoeQD9T6TYkQuz5E9NJCT3WPRVnST+G/MVMqV2Ja60ULoGKdhgCUpzcCKsE9/qIGt+Y+JQbCItsuA9nmUaGpW817FXcETHz1XHD4c6Qpp79QQWoha8xadv8BfAeCRuTC+m06vlCeEpVNzx8/G+gAvxlHES524iR28YzfZxpPM4fY7Ui3mz1NIoCFop5A24VOArgN0HOS5Xf/bqmVi3ErSwRDc237RtQUWFb+pJbhVVGg3WGKEHch0bNw+f/H1WZIvc6RzRCkqJr5VU2spzr9HxF0Q9m1iZd2m54ZMk8ZMXLkdB1hHWZ46SeelX5wq7rLmxDqmD/flTS4oTzlerNNSOz7cZetq2AMuqw6GdJfuzNrQFE6kdDt1yY0b88VPaYBdvht+TPwc+sTzUBe0Eb57wK5WuxKr30XWLVWhH3f81EDUMcWuqSVyFTBoD1vlYkySohO0JK/4A4htUvlsNTvUXy70J8SEvFBTjKxfyVkLIV1xNEYLckKuqK2LDLScqQdlUo+RukmENeljTB0J417kOLkVDivakSSjB12279UOLwdziHWEisDkq8ckC7bMPdcz3EF5N/t8K6JJ6KetbuuTZ0paJWbyX32KmV5I1GL3tuX+hPY/e0LgqePBY6wrr+grIUSzSxTvrrT/qk3PObpVdNleFjn7LKdZxuFIunPNjC4l1gxxF6MgZRVyJlxZkcGCDdtEfoFrl9pOt8VEsNU2MV5JaPW6zgn+Qy9i+kFeexCu53ZcG4+fmc89k28KyLRMFNhPvFpTrMCn97EXOSuYkPUGm/X4+gmvCGtnvgHtfTa9RQFesLlZ/tr1/23C+MY9XXUIsg2Y+4vcRmAw8yTvl3yYmEwuHiCBClKCJcdAJUVFFXsGlz6nJD0ZzYkrt3rT675wRxclyHwMaqpzWwXMe52jPCi31w52hReFrf4miUnQgC9eLWxhEB80CcHchuJopekq1m5NwdZVMimfpaLstxrQucQZ0ylteu51WaP2oCy4GyP7IBkgz/K3XEk4f/mVvoFXqvk2JweA4F8H8o2cs/jrTEgwRyvi0LJNSeiAhqHW6/Qit22baS1teHpk3eYEBoa9HvBN0TJllS8LPkWGk4HgyiCxw9VNCBTgOiizl0Z5nJG/c83SFR5XYpO5e6wA7hjLPVYxNuWQWKWTp5s1RZQVdXZCFvMZ3h55KXtk+vZ3tx6YJAJINiavoulcgn94LA7Gd1FyZT670bKh9eWjjAF8os7IrQeoSC3wdl8Fo0wgRvRJ/P5vPM68ZAN0ewzWpwuwYpLW/wI6lWpUpLhK357yStp63vsUsSn+myyRU0VkvjihpuGBtxBP8STxLybicSrGvIoZnnStqCCwpdgjFUiQnloQN7PJKjRvyc/1sJJSkSOSe061gdplTwDkK5s12VOwq0J5HeDMcwBbG/YhPMcrPCuhv2vU1MMIejYURITnxEjoFmTC2+hEdrRH+IXM5os10p9groWrHq3RxVVG11cxRlhmcqp9ovl5r6C++7Cm/B4QiEhBj0iNnG0B5v7qiBNyF4q2Rst0FsemV+bi1FpTrBjUsrCmgLGJisib+y8wePUwd6ZT0eDvZKQpLOLctwlLDGThi32e0FA0UYkJUNO5S9eRvdHPOoeSxIav4s/pA2EBPs+FjljAGACFQykjgNdKzYH0nCaURQ05dr1i7DNSPo7hCNdT6Ri5LEwrJxgRcGwaKnf26gHUQiKSzc0NoLOQvm6XJROuF4OI10mqEbBZCCZ1XfsAjUeYMjp52jrGJAcSFPnpyM3hVXAM12IyLVANE9Z06xkbbdx961ZBKLDuqVcIogi1CPF6WMtym4HMbxijxhkb0UXt0tB/jRMlitPY2TLxwFBXVesHmA+Mn5RkDVtiVQyuH5Gd9D/010ZQU2QujmSQanNOYsw+do65GfT040FE8dkJ0aCIapz8x6ztRb4ZU93UC0UF33xcxD4WlHnOJiNYqYHW63Zx5JvV9Xw13+vUJcN3/NvlxxuiEN4+D+5ArcyNWj98W7a/AV8cenHvbUMPxhmpD2cUg9LBq4Q8R7H/MnDyJFC4HTPZSz4KEK5TsRtQqfENLJcP54CoKg+r3tjBPZhggFOp56Z8YoSWcXVdV83avsW2kp3Bm9mdg7/5vLKWtHBqYYdXNSzWAXkGNtM9M65Y1KpyJD40liGblc8ECyCHB9z6dnjQuyOs+J4gsp02ZTF5FkQPvHztipgY+wT1aNomORoAv3uYPPaCAkq+MMP6HBBBWnCLEWS9IE6aEkzpketAZYrcbUR1vBjF2VoLqHquumf+TpXwASBlTELbOB7IEld3WdX0bvT2sVcfn4vartqE42m2EhRzNTf9IvBUMfhLjW8ey0YDI3MKYLOmdw0eSrPQ/9a0n9LROOVtILhKAdVXJLgngHJyQFrakB8RGrycAtTeURRRoDEj+ZlalLEvyVO6sg3wncImYEr6SAnWihNbF7uQSK49TI3CfJ4+QVTdn0JYGv/T8OTHMtk23GmIz3f9cMy6dLWeBzQeP32ydZ/fA+l3Rn92ihpobG8akkL2CiOlx2X02aAkhz91vNlpnWYnNvWIypgxnRgSys1j13he684ZgawU+SR2Mh5ysBp5D8pdM9+44lga+hnD6Sp1N260RJYF5InUrvn7qOpWlre3UYwbuW561qBIeGQ5XGaeIWyb1dEbgR3HlvFdQJ2x6PLHGvmP4YyrE33Lam/TC3HlS6W5OsIjfzcAr0nSCjfSea7WKYVuSlZcVvGRbQ2HMc9/WA93eOL435GLcvY7BI8MrvDvAFulodNgflJO/l9+csSQ2SgWNYWTYGexzmh/2jEB9RtwD461J1Nlw9W9nwoTxhPOr573Gz7BgZXwOAY6XgR234Yhsz1i1nuqeZGiqzQznOWKS1UJSdVDVdHaTtwCvTA2zBrgzUc5khUDxviL0nh/7FuqlqipUkb6FERtepWMvb7nfKHqHbGBg+7+4kZ5btFMRVEgSH3cEplajfPdUkPTVNqB1nEn11dd3qvWU7GPA5ozlR+Tqh+M/Y59Y4Z7+j+uK9d/BdJTPMhPd9VlWku/VN148aacP+5sJy9iiooAlsYmrMI/LCaSA2FNIxmSfvBYw8wftBTeSeAlzUygiGELStuJdMw8LxAKivs2iUBAXC49En6WPxpZlBL+E3dIThwtsMiSilGOtOWfj+rO2IDdsQsDmKVTFDMjsOFbVGmDK0XlhVm/Iyxd5Kyljg20u4oFuFgtCth+Fgw83bVofWuTRoMdueZ86iwJJdl5qLmW5bYrxWAgH5OM/azhK8RgSUPAJ/9CFTPLD5HfIyFu0gJ08s34jFLMrp8nnTj+Vd0VHU6jBJ0qJE+qdatXzU9nZs/frOKuO6lvy3/qLpNez21xLS8nDU8Rz3FylAjpWUo3MnEmJczKwLx/JI8bEsqXXK1XIu+XV6FlE256LoQXqqQgCHqGBRd7/gRssB0t/g1ZESi8dkTkbw59wHgl5kFZVx+lobcOOY5Tv/MY5BBkJL8hIc0GfuP+onujcP1cH1y5BJ/YGQjIeWmSg5jULrRfYNDG/7AZe5saZOpfj+TnLU2c8mY6riVzNO7TgNrzYoYanBEdCJ3FNwiRHZ477RFycsMEozxehrdMdkkRK9mSzwRcquJF+LClbkl89Bfu8QIy4yICHEVBBQ+S7j9b6P8q7JhxcooHlDsmoMVYHJZf+iEvCW3Gb6HNSx9Z7FwcSZig72dHi5pBXZloCO4bApC9ikbHOw0HBm52g825JLA9yKkKYuweQz8mYwFVlFAip73meIdE1Y/vqr5I/cUZPTmj84YFq06owHsHYtVpUDsX44CrGZdxxmgMX1BqRQDHjgOWDPgFixdC1MVzC414Qs691RRVX1vPcDFbSgytl/guCxkFwdB8i7ynT+j6k1z7Xg9/yaCMlJEJHpBfYOCIzeQtWuGecjEvh0eQu4ZSJSABNXew9VvhI3/rZO83RJV+nq6aK+kxE+SWW0J9iODQY8LOL8YISjDVbKb/YNq8bdlUEs5r/SERSAXYjKJ3SkD9ullsSZlDNHzGJAAJmgdhkFTxFveAY47XFJg4yPnHZEJwH6bObuxIEf1ewB8IMvSAEm6zg+z0tWeTBc0/hupIc2jZv1TOTomaDs40LpEEK24YyjDpDKHcmw/VFRVGymliqfeaiUYasghSFnzvpp4Ju/LwU+R83FDxPVaXWTagy0OQoeuKFX79mmfPlsU4yQ1GPgXpeQSOfdF0KlYdfViT9jk7CKCl3Egam8+hGz4R5UJesH5xK6Q0ST68BnCTF8ZCekEz/edZUcTXmEmpE5A/mjiVr4TzTYJrVGPWvBnpTR9YvSaewL3CDnVnGttSZsH86sthLgOUVuOZXOWnd2BICTDWGzl4METs7SphyXds4ZmVWDQy/S2NbXUwFvGxyuE3jqkMkSkOLYgDD+0apJnbv/57yVpVsYh2v82RarsE8Gpl01i1l9t4O+Uv1LCDI0nH2iYbDABGRtuhypcbaOoC+RDWO6kXS3EynRMoMKa1sPE7a3tEUPVHWhm1W99yCu/i3aRIAdlYbRLm1xcxZ9XiTlzhbd1Z6TcQSWIvR493QZC0oGRaDCBl6uMj68yts95++PMLxe7zSj0fMRoayA2h3ughLiQbImIL3DUH+A9TqERzurOddgc5BB4Gp9579PdoearOQILAUrRKFkpze3zqI0qicEFLCGA1LRvjGHsBct0XRLG/kdi9GoACLHqnqqrqlJJ+gHuxC7paMx6lf6CyDWuUn/FMOxcGkbD12YjTr+v+vWDwtci0eHjfN2ijyuMhe97OPmfsarX0Qo8dHP3/l/j/p9fafnXy82K6UjVh8m/8+Yvzyh0bSwyXJ/8yAtwQI9qX6XGBtz/9qzR/OEWD0uAqGATXWl11CSA+G1+WmvA0nTSKYV3yVvkZLmEpouBvQmb57/oOV7AQdp+oS7a8lwVnEuW4xSOwh/qyb1WqQfr6g0RtahkvuBQ0kJoQL+Go/io8W7sSyRH8/uIn2ecGGh2glfaIwrFD1LG8qNukMduYRdAuillSnpGrUZCEBmlOn8yVym52T/n9UvBuwy7Fbc4niWKy0faSCJzxQfh56jtOvMoq/mBi4HlPpV33DldceO+ibpnyFfcP5bs2Ul3tNH7G69V8iH8HSlGJTVtUtwWAlGD6ps8w+P2JBgW7SAvCnjNkmvqibqsc/EVMb6XKDZpqTFemhXA2mimoDP6TYbZaadysaGGpwsGgh484woP7TVHYtIRJhBVb2D5L+CAJRfqR83jPp/tGKupiDAv8vsRTpTc9fu5rh1MoCdwZI0Dw8vhjp9cM7GbQIY+v2vxncDTZsKv79b6DfRmzbX68mCxBCSuWP/8Kyed+rABX/Er23YPHHXEkXZM49XhL8b/fX2yxc1pIymdSi3fqajK6K6ZEUGmIFLTcd7D9tzLdxQePRCUCEpohAKDJOn7lx78btY55M3X2W4zbjQ0Griv4qkJqIgyxhHVtaIM2DhxS34nAdE4HhjZW/UgHSyAZ/RdyOiDMUaS+MO58L+f/9diykxD3N9grx5FZzM7ZLDaLZSwOQI1rblLkqXWpRWaW1vlFiVIFaR8B9fJ5FQkM3AkjGwtJdMnok2jPHMQzkr4WhP/WtJXOHN+wM8U7xf9ZpWkI1jXxK2kRCictpcx7mcWTG4j4MnORnbSSSAhvnzMRmYSCcllojCiIIGHBgdDtzI0Q6uEJ0i67UwR0hMnCo33b1sCY0bc96vXRGcoPjIHlCbtOojkn9ThaGVXlvsTgUVc6taPKQX0yQySdlpGpVOzgQPMS0s17MappqqW1xeSjpCn8w7Zu8jR4BAriCBEu/cAM/xQ8EftIUKs6LxTwtMj/Nk5tGrYkp8KJrrqVOkEXBSDPeCnx+kGNxcpwiIabDzTJRcmTnMWSRdRX394HL5jocmYmslMx7QNXvXMMOlje/k7atJscIzLjPHGbdwUq/pToRTnuWNWqBHQH4lc6KG0XGtFtrj70FSQDo27mAGWLGJiO844ZRLPBR+bOIEFRe8FFHU3rwu1CueDkJqY3mqLVZe/OJRuLCnQMZfD270vuAG9lWvi4ccDUphndYk0C+Q2G3rtaYLmsuI+4oBCuSYkDk7huNNbw9UkDESquRasbdt81OAWQaU3/GReuc2ZMkLhXKcYojAyl41QGf8i8Rzh1Xi/60TnZTqAc+zZiIrg/IVXnrjz9BcHlZmyG1Cx7Wc1+3KHiXf1XV0b68yx4Is3SUDUvyuF5TVwGMXw4ORgPV217zTastIlTDbMLLTmCx6qK613WW86Cr/fywQVf9iUxu0pWbnSATkOKcckLFGIgsmcrI5ERHA51gTQKRvjl20bjTMhvFTy+l/B4r0X70ZIYkomAklUlrbraD2Az7HkTvuKi5CjB+TXGBbd2XKwH/k/4e9sHVXp0SyCC5fDxopCeINuHBHt7CBpxdK68CTWeQX0dfM8WC8VLdR2T6i101+eflyhgmN/SDBeLF1gUweis/37CcLf9h8rkn4hbB2hGkHpoBy9y75+S2NesGuikFub6uTOsAApRu9zkkgxCF+kCmfnY8s7ldz6ibFiOk6CS+qeoNmwPyWsnbwT1e9GI43CyVbDvswOBtZ6evWEZL2haiizw0MPUXRwBUDCfa2mEJLzxiVBEIpGxVp2eNBmfoVfUomOgBiKoD7/OtpeBygh95B6nS38PjkaTRE9My5er8yIyggr8y4qcW4fmHtxRG3FAM8C18l1SpD5BaqHGwmIOH/cgGl2056DMJzY8mxeEM/gVCyNoY+vGYsM4gZAgkYnmq40x3Dpvhrrem697N95exEwH41gM1ktMQSZy6nMrhnNbqwH5c+9BeT9jbZ2TSw0qSd3ZsBp0KwlIlX3SGSXjmtxboOFTW+rl1b0uXQrtCobjpje6PsoJtKqESreN3Zdc+YWoLdzs1lVZsOkMY8sooJXkCHtAgUkr08U0iEPi4t/Fp5joVtm3/yVzYp/d1b28x5M1srRWPqpgL4+x1GORWy+tqWnNJZKvLnBv8k1u+0iSrviAK9sHUqF0RbRsFdXozrjyOTqtkzEUo1cJBz8v0r7JIB1Wz7jRDCelSHFTrXLUHsE7k63pg4uJAkEQ89Hbw729MoJAA5hS5O2w7owezN8KiHgncVnpikUV9A1N5DenTiLyAxmn1Aex6V4WH0OGDHCx3LFKyR7Eq2GOdZ9jHB2aJq4pg/2IJAR8lgHnZ03mywwue1ylL+BnuIu/+4xHNINYbO+XFu7tacP4fcUJ44v3APPDmvPOVxVWTMlRx0rOyAU+p53gC9opSaozB8g/h26ikqK7g4AnewyFnkmsQtyppJGRKIYOTNuZMdn62R/NWwmWDXEUpOxEQRMaUeUKo6zwDzQEZKutl+yBFXEzEHgDqgUsUVmBgd98n0jYI0c4vExNVFPS5vpbh9JdI/4byQL8HbWnnxBgXqx+c0jfPG5gjCOKe+UGH+q6H5DPu3SotDt0trz4SiRG98pyjG9VC0ill3qMHh8/nhgcZjRM2nHWNgsFeYA8WB59fq/k3jcyOSNORF3KJoS90cefuZoROzFzR+AoR1ntTRZLeB7DtRl39yYh5gjjadiXX8h+tzQhdyF619XIpA9lnftDuD4tADqWPZdTXdVjt9ZKTLS7kerftS582j6Q18BedAWHuXHBFcDnwjr8Ztoz2aLirno38CHUldMFYbND9ffq9uFTJFU3lnq8QtIule9gK81oN7rrcWzSdjm0P63pIclasWMPC6v5UYETIq+mPFe5FTQWt1WvYq3LARReCfiMUVeKYjtmDLy0eGzMt103sYgpXVl0X5LWq7+18H5r5GNgoprS4apTxqhvmlCvlrl3JRqZzgpd1oseTKMYtJ+aNU7FK5FFh1reSUbZ4mapaq2KNXrg6a9/arra9iyY1karvvvUQE9Ep3PdHxfX3ku7B3ygO5EbxY+8dQcpHzDa6qCmm5yofHaNRTyZHUkJhndMktpdWi++xu/jysKtmOtf2++HLOV5R//Pbqgh3nGRRjEKkcTFbygfm17ZW74XK7lt+J0O3FpyY3tJmMnH/U5XwxK56FIdUGY2OG5uWmeI1iPYUapQNmSE4GAaXzJ2L5WDQYFG/0bi6gYNMj+FMbRd+ProVL8lLOSP/vVEgWq3a9Faf13JBgHth9BPVUQ/qJSFVonbL0HSgRH8LJOQFrricyBU4wP9/lIrIsAD1Ln+r7Y8amToYj5J3D0wUOsf9xy55rt8kjGa228xscg0MmqJ9zdygPqrZAeA5nSH4lypW7XnM+G2fs5lqQtNZlstSwv8gAvCCdTGyBBF+mBoWKUDYEQMiXxq1Lt8UlZQ/BMH3s8mxQLfoodI7sgaeONo7a3TlsBVi85aqc5qpsCGLFinLh+1gWE1iDEh7dzokbIHbcaXedaGipbU198YSaDSkxIaEBD8Na0o13Mb2F0n41bOu3IRAi4O/9S2Biv6Hf/LseXI5Tc5RgcMEZzkA04r51WMjqJG5evVg0XLpzWLGOIWo6i7SSFQo/PP9sBLnU/UKaAJYyuH9gf5cRJdyZ0cd0lBWub0VK2b3XWkvqfedHVwE3VADdcCesMahLgKK3tTIeFsxSwOClZZTOrog97zrCNF7cc9dF1YQTVOmCd2WbJjegZATsTTXeeHPWM8fvqvS5rM5Kg19TYyZeu+D4wdPwAaVxTcCKgj21lxtZNY3UAehmlYIh3VFFgFMjYNj+8qoF+I0e5Xu/iZStwaPfqlWS65HdtrPzONiRdIfDIFQ3ZnxYHdquaEJzPM89dZERx+Lef7SE8DoooSX8+TZowbq/HZuaos9WEj4t8PB9OLu5BYZtNRUUucEshbT1zKa+CfP608/Ov3fpYOVadhuK0pRZVfWZ3g5lfcbEegz7I25wdVeyyrsYj58HMhD1P4gsgUiPHRudssY9gl6X41vFtL8VoXMqIioErd1tHlgB0dy6nigIStnjywnPEsq9but3LABQsjJD/L80QRfqFRiAnGSbFpvsKOdfUWkryMlAVurzkB7aL5l9BQLs0gbSJUBYAO2H/ioNM2YYxPtmhnTsuP/6QEOJoC+3L1I7cNA4An686y+q8JMe274lLh9w72g1QOAramgV6fC7nxWax7RxRAc2+UfStQ6dl1gh91gpmeGPSoSUOz1S80V07K8Z19/74SfRqEHh+TPQYrGom8jcVNUcJN70iboj8Tjo3bMTKwbrv7YJz1kFyFu8oXwDYTqcqg4zadsV8FMRO9OyXkfHlCBpaKat66PzgxrWqjeneoF3XkccehTuwbxwUDMR1Ejqga6Z1z+p3rmz+6Z8xCE6B+hJsZ6vS8ibpZIBjgSY/87clQ2nifLfKmu6NGnbv/B7EDdLbIPxF9G4uAH51/D6NZ4jMQa5Q7HB71kPllqidycTgu7zt/m9hKCn3kDWbOD7i9ZJK+MA7/UXxpe/QU9D4yiYZ6/urvhkCWmZT9U1DzgCAI5QAJlRQ1CWUPWURQqn1/VzyG8jtpp25NtNcGK1/3EQ+1QBjEj01zI2P+EEwx/xYN66l69B/EHtoT11tBETUPTifUDfh4lPEK1ShYzv4Mhsbl2OVrVwiti1r30a/xRcgYgJvY+8YlZWjd6LUomfsFHcDkEKtcv+LiSgQQLU9J7SIE6zBXsz5J2stQRbF+9qxhJkTlWo+upGFtgoCilkZAar4PaqsvpaBOLITOKroAHuenNnx0VczTZ8quKnptovX1vtkEvCutSbq9kyFhEWi38+iOris/EUY1in9cacpOGNd8lur9JoLx7PHy08ZCOnVrosjWSdLDgbrE/3hyWfvjrQWeegCwu2j3xEoqwSNX1ztGyJFF956AQyMU1vfmsfBIhMPCHWQqu9r72aWDLt96/ZkyfpfTwJzs6x66uEFn06fnxxPUUr4viTJIoU2dxC01Ri/DT1IOyfnnfwk2PA5NAgw7RTc97itI3hbK/AhyMEaMb8MCV+t4gLAkQLvyItpgBF/Rj3IjduaxE1el0RmrzmXxvfrSn7L2RAlkUOGi9Zku+B+SzO/3Bx1sZf96ml8hxn7tukQZOqoWv5zUHzWIjqOp0BfyfmVBOtcL0sW+XaLUEVlQHeNDA4cOEy19AWnAmg7k6adwhVQJioGNATo+zcfgA5ooYHqtJj/nl6ehbCK5dtKNZ4c7Yv4+C2ZdmasRzBVdkrEEAfpf/OJlyfGYdwnDW134zVJc9artlaubV2kSKVCS6KHj8xN0Sz2ViYLX1b1GzQoSrPQCvYF62mphVJFdqQblaYZW3BNLu8VkB80JDCrGdOM1zMqXu3X/SQsm3SORF0WtFACxG1HceudFFG19N9aj2VMVJphG3isZMFksNB4uf63oHxbpUqppmkmwHSdjrH/hzTWYlMAe6wCiyI9kjeDVDRpb0pc0+dxgAHRgtP4bEwa5b1cmvTuGcMXLVtnRU765QFG32mhDz7s/lvFV0f0p3HIRjR+iYbhO4XTABkYnLV4SZ7uTuJVxyJZYKv/kCHA4dNS4wsOeBQGi+Xmt7N9qzCU6LDGYRMVPiHVuO60IUJjp8rrFhBFqQDYCrn7oDstpP4os9YoUNcm2RXpZ9+bdKGLBMkeq3Eip4MwwQh53B76zQjBlhomS35xnNdvAI0497kDBFVDqWOSDWtka60ajEt5IdV+J3WM2XcYJHXkACQ/XldJipfKva7hJbUC8UhvqOlZhJRRmUQAYFxzU5NUSN1RCaNuiWlE+kaz0jG1YwuzBs3cPDfsjMkxAhO4Z3qXh57JK3Eqy9PmT5KFugUvDCilkjPTjJMaQSCF3TsHk+liCocJ02csSaPV1ura2C9H+Ss1qrUGsZAdqwpX6d1sz/AsH0LQKS20eg4ZPVdE43w2FrLwOEy9WpALtgao5wQjFm/Bv0DHM7pFpuHqaphXa7Co9kmk45Z4+fDxj9nOB6QnGWs49a23fqghDt5hNuh4tPfksG1MHUuRgHfhrLDUOKhAglnIdt2FrzK1ExeFAocJPyeOt6h3kXjrMilUDg8f+Su6vAYlbHgqizJg6Bf863YHJ2cDUKpa0U/m/kWO7fevCMlS2CFpT34XnL+jqmPhsv3qV+pW+9Imx9xBlZxLnZEc53tkK3BhGMT0dKK4+HozdozaL9O0hz/ixFiGge/WLLrqUW0dQq3cGw5ySGsyG0QAMPj9Oeukpy+3xlMj1fGjxkZuIIKEJ1HUPuZgZmLJNmRXDGZ+g3DosGT0mAIi0+N/9fVjKvlqul5nKBoGSD8FUm+CABvogmOOIwACevv2Z/jxo5urVKFkX2HArovILSDjgnVoYlVGlUy11Q10VtPzCitVkGUNngoAytbWXLQm7PNPIRZ7A9C078GlqzzTiJVkJx5CyP9Qmyj4iRo/+iEZIrQbtyl+98apAHaTBO5mPKalI7jWXEb9FCKgjgmz94i2zNI/5CyYkpJ8Nxf2kwSmBiKqvdD99i19oAO6hY8fisiBgST8W8aGeikPTOk7EHORHniULI7xzWUEb3QWEENsfpp8KXPyaFlTufmJwyoV3osTLMezA8gs0i3U88dRo9v5O3kypv8+6UoC6trttrhw1tFEWODle1tqYG+KbJa5iq88BGfY6i8JLnRWspeNK5lW5GTJ4FWHLrJzLhl4SCPTJ2HChiRXL1N3RLb6zngTzyHOJ7peQYt79FoQF7qYcYgxrd8GNXVH17gicHYTCv4TJyoqraPLUn4DEmbbnWoebxVQaO3iahyIH3kLBFSh8uG4o/YqTt+r24WJhhVuCm4yJ5uGCjSnXvT9C62iUcpzMVDH1AVRVK3OpZfQA4jfl8hj8gMh5BtBBfCtAGhPEYCDOve9mQSBRRzmWJM+yF65rT+/KJoaCLfPJDlay3ySVVe9KyFljFAUIIhYCinVILt5duiX3V7vkIdHsrm+ARb0QlBfS86VQPoSJRRZENS1cMYImdkIVgw6EKgy0TT82agdRQthbNS9TcWwX0CED7dwkok4JfLkoOrDauHMaRWEBkx4UkR4EB2XlP+b28Fr7nynzUQlKJYn3g6BRsKGjDkVBe4+hfOu/K19QqppNKCJdtgkIpA/epkxNRsq4iw3Y4sS1INEQQsTaVt9SBwT/xdGl8AORs6OC1DUT4K9v/QOMrA5G+xpONiwdMV3eTkzrgGWiRoiorat4aVPbQ5EzWu7yneSucD2CSj5OwtmweFUGYMrBj3uW3KZG2MO3XBckS8dHsVt/YaumNjcGzSoKIBtNGoheduXcY4NIuD5/zLvAUho9PI6XJNVsFkUPzPnuSoOpI4u1+eBilsfj5PdPR1uH8Xu7KPJFEEEOt8GH7/Cs1TWlEramJFlVbSX3Gq3KJmMyZEz+PxxnuBd7cMrAWZP90NR8mp7D1wcuaSCI6xEQCfSAoIU5hxSvA+h6L3rm9hlr8CeOEOmPFLQ5BPCF8cBJzRqsFDXVLmM50Szd9o6v8XzleN0iSNPZpi6zeLNEi0aAuVq6hZX340eCpU3cBDPkRqfRb4g39P+Kb+wlri2iizSSWd8erEnKFJ9V2W289HLba7JbUEsz6Jcv+Mj/qij7NdwTRnfJYP0kK5aJtosb8gNT0JNKEMG6jxv4P1+29K1nbVwzCFByz5WfcLEceR7BsR9QWSOnilI5tk7ijmEr5ipEcMFymTaWuoj6jC6fw/Ir1VXF9Y8IqtRAJZeEGhJxOhA88fXHK1gvSvLZiMjbRmoJ8N0GqH26Xg8oChMiZhIQH4zsBOljcDDL796gHihzHln6KEA8X3tBH3nf2Rp/1R8VUqxYa/7HLzNEyLS+NzyzGx9IEPvFccLIlpdPcN0v3oHfqGVRyiNXyEY7bZXdC6d4XGBXgWSsQ5nyDd9nImzFVYlKZRaZSlwZqhCUteN3JESr4Tt4AL07BzwZkOHePtZh0qV3jT01QmYCwsuk6Domw2o9xZzpr75/v4e9wlXUmkje4ADluRQUbF7i1h8nt9TkWUGLjmlcxWC3CTeeegotsidmCuU9+HyQIX45N+KlmSPqKI4RyLMHqQ7xETI/3xhrZEQhKMvbQ5pdP8j2CfAWebCkwIB4GYteAyYvlPx3Z++xHRkC/KCbLtLmVsrco9eyoOh8zJvWuXJz5lMZ/TN+3Or3P05CzTKOf1xfQcPjbsj/VCMeg8fuq9XivqOyB0dOWkPEEFgvwis7OaIPvC6A0tgf53SvvlO0ADIjdh29byBkMLATC+xxDvXcFwS6xXz17rycuZs1/9YZzmovvyEIen1baEAO58EfzzNxm6K0gnjkRJshBB94eS3qmIky9eHCLQqqp2FQKEBzwge+hWhz0sUO78p7Yk2P3e9oRnsmtsvyeW1smBycarXd7xt1HzSDOrJ7u1C1uSTv+a1tCUuryN8bnmgZBuGhjcPYxD2pTIFIIRvdboKxA6EdfWx7UzJ0lA1V+NJDU613Tcy87xY75qIRYnfj9XSvX84kFAxmUHoHsqqzzaYistOPb6zCgIGFcUD7/aJBTp6jge43bY3Vdef1YL2d+YLb6MEq2uKPdYNlL6RUYvfzmetfUC8XK8XIVWPjKIXCIE/8zaZVFYpm3eYzw9tQkctImTKK87Vu44qQgx3BC3r/1o8Eb13hIMfmRw2Cc7GNbQcmMfRgLAJAA8tLEDvXOM8WbllkEWp8pueAvs3NH3onSy8rFLOPw8ymudYUAJyX1mi12cNgDmUtXBGqMXVKL0UCTGM24QSQYNc12jFkDZsrH6vshcW+L3EcTBrw1v2egvN88X0EMSLiTpGlR1VoaHS5RrgUREXfaecQ4ohwDl0bSmFOWxLsbA4kz0xLZ3xhBAQU57X4TAaXmU/fqjUBMqWrSl5h3FfWiBhgoi1a04s5b0oroFfNhjd8gsSKa0uJ4hteVE49rlOXn0Bit2pHNIV6o/Fd6HclzX5GDwBiCqO+d0NEOy5dq8zkpzkXyk4LOAMK5MSni5wpoP7q08E+n1cDD19ZFZAZzDbuRsfAewX++mw7SeaIBOqtaFSwErKTGjuqxdGDSftV+J90x5cBXqU86lzNuIvqRi2byrp3XGhG3fvvbDqzlLrIW+fBJYXVsMP6OaKcrx2dFXO0Ox8yOMn5q1CE9f76s4ukVXJI+tjmxPFzuq5HY6/BeMFtEssLHwfeA6gz57rJzpsCkmNV9opar1EXvYQhnJI1Rpmx3ahewsQbwYtOcHePcBXvC2/Aw1t5kcSn1V/5eb+/4fZksSpXmnXBUhRqW5go8Wu1KC+EbgIq8/QV/yMB/VCljaTmDf4FB5/B6P8tws0RIaMJJmtdfP3mnRVF2nOf6IJCbUZkatSfafwuMCkOXSHiiYC2LfGWh6ObLLRwPN3N7ZNThVlEGgwkmNeVjgMopH/XvvPOOnDc3k9vC19J2VrzRCHz34pEp64YCEmnsGlnBAvYOUt6RLkaJJifYFiDT854K1n5Z4Ii0QxBOUUcYbPLY0zBuDRa9E7UqxMXI58yYII7NPo1RspbKNi+FNQwUCsfm6UMK5ODUBOZpxnOQ4VaWtf7wPJXWub89Vh+U4AciI2YlzFuIlWsvqIi67gZNF5QpE13Bsq+aOkYOGXYhYeiyShvhpVkTOaBFBmWZHLh8i6RLqVjFxJLDTepJ3gtZb09WvDoFvYp1bCGoRCycDd+AnHzVLaUtHL1E+OQjPRcEJm+rk5IFYW7/ptpY9jBnZ3NWj/RXhaQ5BaZITjougxrTyPY0D/tJZQ+b1OzvQnsoI8tdqAbfSmTQDObl53WRCrpbFj2WsDdPoaCbgWBjPe+ee8bagJ81AW2iMNLrLG6ZshUntIeWrznGYxHwW34S5hWEohka9Onn5c5nDmWKJ8TJuUR3pZtfalV+aLqs3UWrrpjNxyvRu/D6f5hOwKjfNgjCTVUg6M8ryV93P7Nh82SRk40454+IR0WpsDsf07zxMn3W50oaHGmjHJSkN/t3VXTf0yNRO2zURZKL7ottnd3AlZy2cidWYNrGFnWWKQlJiqAlOcxfDkYJMM3KFaodP6ltKcypmsUToKqMSFV2G8qQqJLoLlg7sDOTt5kaKJdGsuzCBg96YWsLvmgjyM81TlqI0oDCNKTucfjZ8LC90y+kQsi2esYfvJknXWmhiPN2yfwOa9azp8uvIjLSxdS9e36H57JLae/H8wjH3AaSJYwMEE0Gwp5J5gX1S8FAacbEByICFdyTnaPNxOAxreJS7O4SrWbwnmCXqMvc9kMomEX1gIc2FxTCpgdwS3Zj8wAQRKYuuTi6Gw93oAB6a3DLlTcbgi9cKhOknH7XZSIlfVFBBMN2Md92gvmpu7qdt5PkCP/95dQikeHYe3AljWJXQUl0HCLa3dvGFERn1XPHkOHRuxyN/5M967UtAVIXazY6qTOgas7X7kzytqFKLVekgEgj1qFTLJ9s0T+96Sq+hBr5yEGkbKmXyhmHX0xEDeetwxunhEV9zfXPqejVH1Hk56/+x3RnZC5ssFIRkcJDPkX3Y2qzv4puYXaupnsbn+0TgL6bjNOAThMVgJHkn9XMgtJ1izajG++1LQzZvnMxwypFohkI0/oR3dvY1WRIBaX/VOyOJn3lUE1jQx4z2oVkNboPK6NGC0VfyRb83PNxHvbnS8sL+w76wS3R/x118fYVHMZb8vLhAhLYeDxNZEVJIjAGEwmetRPD/V1rTG/hUGaSiDg1tWOlKL7W3bJHGSti1lJub4FV0LEjnBgOfg4+yFAps+iyYHqtZwGla0lTZ92UAvd1BL0erX0Bm0v0Yvr1+k5Il2ttIV5K2JAlsr+yeN2jIbIecYnqmLKplw9PXnw0L149MmxlfYeYHIY+WDib+Ssb/ZL828MJ+TGPkDHv6qBJU+67xBW4uQpTgFyzaK5DDO4YvzNaAYelIddalVJnjpc9qYh/rqAi7VzsbnhfvWnNuSoNslSzqq1HX3lW8CS1YuKRUhvq0NW2BekpzE+2eX2/soowIIa6B9J/MfLF5G2H7JlqOME+rtug9valXNNma9x0aE1gYOmVxraeFbFMiU5l8AW8sH12IOe/bud+q44vUfXf5N2kOV8knocSCnZeKnetM/xFPiWD89PKJD4zK6W6d/sB9k4VyBOZ6Md1J8Ex4cSDFyd5xJFtxOFitBgl76vnOs5RB2d5ESOUaS9AIxLeN0hen1HVHoRd4++ZooPg/hIHwK/AHgOrGidTjsI0jQOKyzWn1saMx2fuM/zcDUxbdj9yDwQmvjBkLODKYs8Y7tj7Cn3h/Lwj3UY3gSwe8vR5ilh9/SMTZRqH2XzQ6TxGcJkJo4usOr+80eVIYwjzyRHiuKIWGShJR3CVmn/3bfbNFoLxJXGUAc8OlUkNZBZHmEQL+BlWsUsSqWWpnjf20XXUxfuwHzSTf0MRzMS7DjiwXrAx3oB8aSuOyxF9xoM5I9p5B8Lpevk9vCn3fNLLPhDSuzzx0JNuoNBUj2f2C26YQaw11IQbRgJ0WUOhqZncoaP1+LoU/8nY6oVDMeTe5TMdM82CI9b9C+16xIu4lXeKJaRUtjzdYpQQHagv2FYSdx33XdexqCe/0jp5INJDIGIgldcWhQacZHJThEN2G88h0hAlo+ctuqAnr2GzDTUj7THUkqFrcRbS9AP4H7H6Z284m6am0qrLzMWjsNNS89E7ftCOx1/lkJWx0rDbimrKDv8qmp92hFbosHv7azZpk7IdNO83z5WqrpF4Y98+qyEEgrtmpQxL2iZrEVpraahvbAJ1CUrMfbUkpH9eUg423QPWILN9nXSeNNwt5eORJaVHqaIXmfGVXd22/bccZldWBuXdMMGaiJTvuDvLeSWPIFMN/RewQciAayusyxPWGYGpSBSK57RnWJuQoLdoDCNNsXXF2tXIewFyipublGchHziPzPdfNcN2PXV7Ucz+j980e7yFx8/tzIOvxZ1HTAUUCX6RL2sbD2HkVaeLWEoiTY06C+1fYuMtgZ57t02KAnryjDOwGTliggBsSrFVTccU9hyLoN2kPVC2P6DRSpEikFvgo/V1sAWVIursUcwhoTAwdIJDpUODFRgYKoJmzzTUBGPXSlpc+o4Rv1U1YDyyvDZEdDex26ltREP/FTbwPTUv+LC6yMbc/PXd7c7CmXhzMgo5ymF0sb6DJLnf0mlzrC6UmhEyM2mTM9aXX78UiB14mMUN9i5piq7dtK/G5egpSuoFoV4h1deBueh4TN20M8X6Z1U1YjRQlhzivcr+ficpaOIvu5umjGqwpUm9JWGsBkC6PnpiNL7V+IrPfuoFeOf76YzH4KlF/vcczWdLbcERQbcSXgwsqFrnjZy4xLqZ/ZJmqqM+z37C52jqGFsFYTgbXN3vkHZ13DRG740HXhVw+cGIHr5QDtq01W5yZWEt4Vrr3cX1TPbgcOTdunQrOCYjEKZcH+EsmvSXxeX5fCxFEeaKsH2MH9QJ3/pNjvZuuLcSrBq24msYlzQIlSAwFbXfhuhJqa6cYQMHOLHkqaU7MzvB/qTc4aBeniaYwWV1yJs2zhblQXIbq5b0whfPIJoX1D8b59dcGJS7pS/o6IamLJK3LQCqHxkNXro0Uc6J9krKx8A4kxA9XmVmYfvJ4yxEwCiGUc7p5qu3kBOPqI8vh7wA4ZS2gAZJu/YfYR/iDRm8ct2+Vmt7t9hL6vXs2yd3NJ+W5bVo8ibtd+fKJjN678W8bFes7P9PDvEc9dZTGYWyhmIvm4yt70xIhwrecPt0pbGn4awQad+MWNhllEA24UlJw+ZHBVyyy6o4gorOO4mtFe2R73ybXCLauwrjJQGJd4wYXMWuZZWf9lu/enFkPIhtePNLO/axz9iVYm1elC0B+APQDZ98+XPDz2+8xO8Mr9N+3U6gXG9Mhm1EGIFRMrLhPW6FPOkx6ACDsJLqSLjnDiFoGAUoP+6zPQ9aCaWg8cczGpAHSi0vhhmMUomBuALjbafbZCUfe4R8DQ4kbCKMzcldauKaHKwm8ozWIfYf7uoGhBltVQLdOSpDYIWObabm7kCPV5vXbuVxkum5MR4KCUvUkG2B2piWiQxzCWPJDfyhCMpWoepK1UuuxQr/nKKj7vsarPEu9aCPhhFbAu0B5V06u/A1oiRC7Nfr+gPtTgzCLm4909SdAL1MgbEUlyHubVYCMnSx84DfBFwRPhaHZTy2u2sHeZhTAz8XlTC7mCBk3vO8mglG3dk+5k2rsj7xz7zEnpPdO0DQLVZNJg7iw9SYzCw5BlhLUtv64AWGR2sVw9mJa5oPMG9LHSDMyhlvjhcxmYBW718zAjqx4SmnqkS0jYXYh0Fj9g66UykZNozJkBgakLKEQ5gwwDH/2KkdvqxJYwpAYNatjD9W0/K/HAqat7m5zIpOI9QPAGVVzpR4Hxqj3xkWyBAdYAXMMkNPRXq8ek879RC9Ugzctb5cACzzFSQSVch8ub89ieSk1+YsvFoAu9M5i/097mTJyud/nxDjP5SC4olrxHXWc7LznwoeJb0c/sUXKJqQ+PRDlNHyk+KGVpCmuMeSpNLHJ6prSYNNaZcaCSB7qZnqUuMLuIbvCHYrqJQHgwraLpIWBaTPer9+ZTORXRS4+NXgGbI5xrpd2YQuz8FjouBhr7zEBqNrFKmJmFy7+HP4kXFH5zohpudqDcB3BUXlRkS/5r+dK6sSgoY8G1rgN3nOLMJxc6at9nkx5btzpG8ZztJBsKsKK7G8UZrsxbV935qykahnN41GDGPzU9FL59t5dg+5kEMZ24OWZmbVLpO98QfwwgS5xQaWx+vPBG5brRlRXi81seUUxUdtNTO5zOj83Js0K8Vc/qp8SS0D3hXUIy95pf+orE6UTAUVkG7vS2v3K3F80G8fGzaDAdiVtRnRP5bz9BpL0U/+0eXqxri5gkriJO9QnSqmPTbcXw5n7CC5ejPqFyjkuaEnJPoM8mrnIkUyH+QUYQe7LhIWjWgPytcm9QCArT4O6Wge6/WyT5dOl6NSSPWrYBKUCX5lyNQXSsaTxxXNYTCBuo2FjI9MN8t4w4ifSc+htdQs+8pMcFuNksAG6vnhl18xftPRRIChCO14AakVCQaCg/Ni5lMalOPim3YukXkUaXXWZsJ52Ve0A7GBabzuBwDp1L+f3l/dFXZuW49D2qxC8BuFMsPFQCDx0WusgaFTEz9c0qzKHqxvOB22E5EXWXgVozkVZxztDu22Dp3QJ19YNF7aB1lgeZhNWwiHnfXArPTRrEKPNQQT31kRvr8hb/N0jeq/37v8wt8cNZKjaeWyRDIyUXr+P9UfZCKzEDrDKmEHt4m429B7ofW/EYyL7yrATaFowl5KHmkEu8KsAFjTfsCyLmo8iAdKI3IFlIR5X3QA4W0Hiul/yH4URRMXpxd+emRr6vvvjYp6pF83lVXB0zcRZj3djfYmBp9KWB4Q+ol+/peBur/IKBe+J8QqJjFzSp/idwJRPovrRq6qGfoRxnguqgPRSc0psYxyEm/g2ZlI5keXhftiquKHcR+WVN7jSAgBzov2aQg/81gRlxeaqNRrgzlA/WgwKBko7jOubDZaOccXSndOEFb7c83BB5fkann/qLXwypmBtjSNfM+5DWR/p8rMCOl0kpKRP5FOfR5Qn1PcFTlbeD68FiEYkHrFdfLd6Q1UO3b2f/lQ2xALDx5Ddwv5JauhW7zghqarlMX70g1a+fSz3f0+dk7CW3T/6YclDIe5h1hNssxqBnF8oIqoO+PeVkpf2Tuq6PUhSJM/VUiXVMKUi30GVmJgaz+L26VzY4g1Wc+2uJmquwaF0cW6Z2ndorr7xLeLhVhVt7hoV1NybBofejc9R8kvv3u9dzdEpOioK8lTJNJuHQdniRotz9vfG1gbrVo0ogFbn9UsnQKM+3epznnP+CAHCUca3cbgsPQLWBXYooTlh1zyZrfy7PCOH2b8T1FUrgCm3mH7wqskiyCyPulXXet692V1HSYWe4aJoZwxxwW+VKuPe8h5uWTnruS9iGVj5TXlJNpFx2lJchM54JuPw6V1jLoVT7iWEITRa0knx0dGVIaA7yRcuKXqpXtfwlbYd3Je4Tod1TDf3RSKg65yhx8IszU7gO+Q9EFKv7vCDRpfALraj9rx1qWms8IhS89VEti4rwVkQbMwpJbwEvQJCiRy7iSTyta3AYJfCElIO53+GkkgFxTtdUendHcug8Xd6SaXZjkeJSAtieBFUhDk8YhIEeIacRUQqc5U3c6oGgufWSpnP70yHIO+5asRvtphnPRZYeGa7jU5hZKsfCwn29ZTDCfDuYBHKYfGm+zDgIH9J8uy0F9nQw6cH+lYGKQXCVNRkzhHAwUJo++MBfmLYLLBpS2ywdCDcwZnyWSb9wWDYfTgLg9fNaLu8fNGKjIETf6pIGVqUgv3TbKJ3Ey1Gno4sQLXE7FUVzD5l44YKXSQ/DQ4QT1PIrHBTDaBeNuNfkswMiXRBbW3dMFwXY5oypmTL5itwLrgB948vyCw6Fs6374xFpWQYD3oCKU0X6tXTgab/sgTXwqmrQADymKTdxJ9p9pmtV9qkLHDOYwkGewL2NfToqV+lfuyg5AQ8FnY3FkyQ6zKIQ/LUmzuH17n9YeVuumkahAth+ghczyViT0ccOlWPJgVVbTiqGqjpyivo4ONYHMhXXHgRQpbngdiOs1B/je1L1rrcPUhwP6e6bO3eo/BhT83l2fEXAzLxQzMHCEsAZ+s//eh/tIoKf9lJPXNjgpg2lSbYfHdNn5jjEqYeMNsdjLT0BPJkK/XuWRBcNJxlR+MFf60h+LdPP/0mXzhw66ZWMsH2hAlgYWwG2Ba1VwF8i30/+dG2DVxej0VQVgNzWtkXXHzlDx8XEOr6Xh6Q/lFycUEs8OHbAFpiRsexGMkQmZ3UUbZi7clJhBrGPWJBUnY2tbcGTysxfjsdRr0PnUyYNd8gWUZTUfCSBPeXPuZLYUnz+Er4uQpO6ZK/h5ES1wWEklD4Hk32FP7gsNb80li8fVAZO9eqnmTnEba2P4fiePNJuaiHD30buADhgzNchY/r+s5dZYflGmbePSjh7ZASqO+2/wXG8xor6VLc63DW1w9R6vKaHXXyot+G9ealvgYjckctJpszvnppRJyytY+3QQWszHfgwbRH4eQu31DeYT9FV5mE8YtC0Ya+g05TCmYS1fQw2PR0/04BAMpq7bhkIFRbP15jd9l5BF/HelwAvRrNLW34AQ3kyPEkMRfHuODst+9hNBhLb4OYNRVaz2BUBt7TBR3Kfr31gMVABY/0dwOLUcr8EZ3X1hzOqiSM25mGtTCN3Mt2ZDkA2AXbe4UVwyVDupXgjleE7pD7E1eBBmGz2o4EKQPyKSyKg5duS6GntMzqba6Ty/yIz+t2SFH40+aTB4VQhu7teTisMfYDxGld88ST7/p0306G1m09tkweSLWH6AerebQbfyv5mXKm4ENK9N1OZmsf5FC/lKDtBLadTLEsrv5Y1rbpXFAB506odfLAOK3uYIt9+RqR9Av3TBGATBj0VOJSIXiiXei2SFQ8q324BDiopoX3xEUYRe71thznIyH49jq3yNfSHrEBllQc8uafQ9q7H+jwlSzLIjrED9ogLGMX2otdeACevaUHFFy967Z54QTCGi1HYgvInll3dNeOV++PckrwxtSzCO9I4/cOMq22ARt2LtXebrMv3nwOt9ZXp99m1HX38ZtfUQwNSegATBcXpYEE1pL7VhNwkZr8pkJJm9O+GKMwSnAGXn7eSnpx7ruQkZBvqk+AIr+Xnr8FlEmFRqtj6vb8t0REvk0obfsvlNxVSLMPGJrICkPuVG6su5frf9GLQ7hp3Nv0BVfATl/HZMOn7P8Oa1MGtwlWwDSZob04Awcqv+KHUGgLmzntzUNqbowOcfM9DGFgtVenIiJZkJAVkySNzyaTmqCJ61vfTVOeufSe6VjNwLz1l/AWJQfrVvzH6RRCd1LDINm4MNMuIrYwJNm4B3TxIV5U/dMFl1fbtDVYhGknbXCw/yRxTVVoHhYqmuO71w2ondiND68v+ofVsr8EM27CzYhuxQxGe+UjvZ5PWEc7ZwNJ2+itEv6qh2iO7FGLeZgRcesx46I61Ok0NvZFfK4pNKIgKYKRL3IoSki0yKGBfYRi6ieMrf2RPAV5sZOfNfz2Da95IhI6SUkLl/8k79KIaXC7k1SGk1xsPL4OV2csHJq8xLoH17VUJ4M9wxItITL9ZJMHk9Kj6L78n+LWhdJ9OdvLPO07VgeTUFSet/zIHTKyw1dXunGcwW2oxwgdWBnZu3fbJi4w5JuD68elcRMyhFncaIvm91z7TJ5QqDgIc0XqRT+7MLf9+h/XgmFakoBg7gmi4sgZ/cVt33fKYupHIM52rGHxkLYr+/pYBtvPkVLZRm0okVMr/qQ75jjqsrbX/HOwPrMzXU3AoSP1FcQeuk4/NsyUD3Zir/Q2e43ca8AZr6A/2UOY9XSADq34832qoD1TU3VTQ0BdH0jklASxoz22eana42gJYAefOumWnse6jGc0L8EX9zP3TxiNGxETSYE0aV+oMDd6pjigvqqfCtsI6yvrnGf0V4GIMY/93yfhA4HD727kVylz+mEgwpc4Iolp3jifwUPSUU6X8wu7LEzDLT7ENy8DKpByJaSRv4tqy8vOl2IEnkRia7iHwzifWG3zGxjUaX68Un3fdWBcASaSdTL/9x08YMdAKAdtpGsEAch45rEnV+neOq8uzJXO1N/XkhkmfmcbgBlaDDc0Rh/i29jhyVAcLp/CW8MHhm3kryS5GJoeXjXsqcClMxqJvd+Wsa5XN/djyqwszGVw9n5New1Qb46XSmHTTCIKES7/k9pi7SgLmIiJMe750a0MLqakN2wKxCqt0P6z+vtO6EdcReDQvFe9YBIR7ZH5xqOCl9RX2TA275rUIbbIi2qVlLjuADYFFNhITGFVvuVy0iI6JmAjkW9PT9zrOUsWsiQyGBJFGlpQA65F//pAIPzxAq98AUTw1J45D0FbEWQ5VFkssX0YQDoaB+KJJobbCO4oJMd6SQrIkmXIlGgLSaK2dCh/nUo4G38moQmdt3SFnHQfihRNjyg96mdhU4hdFa1auJL8kvjMLjOB4LtTichhRx+RQDhVhFfeCHnZZlmn/IAtjfS5/5OIBlS/djHBY52dyiHyo3tq8CTwsqBv4jq8PWGUz3u4WeQGqEAYidYxnp1GO1UJzLuNL3U3bih+rhahgZMNKieMyU/EW7VvY+JELgFR5hrlSInjtH0Z8Duh+lEealkXV6dJ5oGZkFuiRxfNYi54qnyyNgPMqM7mUFBwimqGRfvxTTDlNfPUT31xL2k95AD6i5GshwYLUvpH3QM53uURghJskkalX9vkDCBELDZF0oaDsf5h5JrzIT2Ya3P39bcQmTIHudEnlf8Fd8Lqf+KYflKadEMpO/UFYzHm1rG4So986duHFqY50KuTkvZYxeyVKy7DxC5wuR8q2y1gSSR3bzuq0uKfmNl/S/wBoQegMK9LaYgLinZhu2JK9M1ItgGM7w+6NmiC8USYiyr3qb061JuJ8XBWy1G/iPe9WQhmvh9UoJzslVsm0A0vc/uu94txay+vFsVh9EAOYOWp06kyJao2VzfZIHQSPxPQNX55y7E8kEQ7OgNOKgRVauzEBz+JEWYQhnJqqgYAKeLQtNZvPcO+piiKWJIDDinkLVY6CMZscn/UxtJRkzt3tSwgJgsIpzFCpXwD3yY5LnbQnIqFGTwnpEVMb4zRPcOafMmN8wqZJRv9L1djiqVbhQ8xXmMBDT/rdXdvxVJGxbsi1pigpHgW0S7gZdb02DkcCyqJwrrHI/9mpfrFYwj1cVWK/Bchgw7g5/725cUm7qhDWIL6FpBbrm6TVz25qVlPAbm+nh3S7gkp3q4+hpUUICTrnu0zeecRDu5+ikZGqgW+pfl/LoMo/Bo9Dz7+gnwNur9iFH0XCEgKsJ2oSN1Lfjj3/ocSB6FASJorur1rlZR5oZyKNHfMM0YO6TG8oZBbpRBE8S13qVhgsflDk6Jszam6Ss6I2zRWK7HBetXf5GpWOndH0LlYJvdWV5ZD/QaTwHUssAusPz81GzxlsVbs2+j2+wifxeRmI12h1X/aVp1kV57MmaozurY7hqhl5BuFvXpw9Ds10AJSX8FjbNg55zyrG5Hcgv4KzgTGHNfLNCFy9ur6ryoqH9C0cncSy7wuuaP1gymjnfl7N0W778dTrPz3YjU6COoLt0ENoXE9wQxd+5MYkay+vtF20KX3KAub7k4grXoTZ6wh4E2wrYV7FILetxvvlh/GFH/0LOZh/lYxSYipv9T//OXhHa74f9x2CNuO8sp32RU8h8CLAeilZgdy8GGJf/L9KMZ7bZ395R1QJOP4q4z5NijScxuyCDuGaxEyNtxft96z/zFGQScUvr9ledMdwrtYlQ7MO54d7BSDAbMXmZ0JUeqWtxf8yy/2lfIh2ilMVFTVdqb5SXv9fFtKFsy3scp6HtSN0chORanyX3k8n1vPaVk+IamjK0idbrRvTTWbTw6HLae0k74ZX0/RXC9Q/50zCDCDjZSyAgZEHpWj1wOMTgjGWYqWpIaBccn9vxiIdId7WgTOZJtTihwxcFZU3aoEFEWQgRHi6jz1yMHmh3O7oWnYd35yNfIOyHxw29QR/Q0YHt0TOlDR7gkYKEP99MRU/hCboJwaOEaLKwLAGDBQ0QXPmDcXcDN9efB4NZcLxLg4klERN+vO85q7W0R4SDyMVM0KSrR/XmMl51lqdLqxFx2d+cz8cQs0yr7raRoGDPHPE9g2jJ/LGq8R80Drex3y0/fRudPdJhisdmuB+KljTTHkrGNQU3OwttItd7aJikzInwCtEqokW3EGFztqk+8GQawtDJLYhzIMsc2P+G1BxFAyJE743Xz/1Z4Zg7r8VULGdaL8dgKh0ean4Pvt7Kh10P27eNBHlhdJvP2k5wEYNyjTNwqcB0DUA1YRO8GmZG65KANheK4mUxlvud+HPJIw8ajr9YX/GAtwLjUjelbzIJpNkHHAq1XCyOZ2gWJ9BHA/UKGciIdj1V4VBKit6batqwQcrV1r+SmIu735mgM3bGdBB+OUBUFBhhvZzP1mmrpdD+WNQuVUh8niErHtx9KWHqVDAZVxzSpMyXZHOtp1vzrm99BXP7cSiieZIqXHFGbmcDAn73WxfumN1CnPxNvKYJaJRNPxYscZGfg53cbGraEw+OHRxPqJe67rgbIK5rNqDUoIXUBXmEHCapwCujVfZ1tesFqHvGwiE6T2oYPeO04F5EqN61OPVXn447W605B8tDG1Klbr22ZkrvbN08lL5uJ1qj84P8pa9kO8Sm6K7yXXuAixYf4U3GYDt1VokW456rj5+gUwzLVKETEut74blzhk6YIBc7OTQWo+7IQVyNXfbOzSGExxy+EDTLgUGcgARyJeCEcPeQyyp6imeWTnqXav9PbKusPsnV9k0QA5ejsAQvU4Wiz1FJx8AuCenoMvf3wfrQrgVD2c4lL5txjRnjQSlAq1e+jQnwGrVsFP/xvORXyKLfGdbYJ0aP0I4nCEeFKxc2aegq7qUhgW09fjYXbN2PbzOvIumJNEu5bQC41mbFJRdhdr36tmR/KBDRRv/MxKAcKYcwBo8J3RkEDZuK8LloVLlRAdwhfris0t07Db0puGsXFLiq/8op+e3D01gwwG7LSYJ8Fdudwis82k7qsNPJKBLpMqG1iEqvmExlRbpMF392m/g22brQ88Ue0s/YbGq4oVJ4M+pk1piQ5cjWamwAyNFtNDL2H4H3DsmM88UEk8qwqfOreEoH/o7roQIDP+nRN3cJkwwVhWc84u0Cs7as2EgC4b8LVGifgifTjM0T7NbAOvGBm0pbMU+jXp3YWRietSMeGlJGkeIEt/4LdBBQoT9ZTP98clxgt9NrN7msHOAAgcaWA3c5OLPSPcdQFsK+2oxVms18MLI5Sj/rySrGaFY1+ug9+UDPJ2TycN4Nstjz1wvR8+Ep6rjjHP0Lf8tq2MGElLauKgEURf4sv4eZfDRptX5p+GLMOjQHrWSTF74OR5+56O0nKn56eaIPMy3TnWSiSxDBTkL28CxJYmbB1Nz5xtYtIj3IqbUNtLoputMPtPt8gTOQ/ufZzUGX/ZZLr8G1k2BKJztX95+M+P3+qTyjKHw5KHlgJeOpBsSqWt5VOpS2nabvXmVq/Uc0FO6L+2ZApf7H+xIpVRbwoGZ9jmZbemIe+9JYxBE7XIiIj4c2CSGmUi7XPD8ObHmMklBJAYnEF3NGyDY4A+51dpx52pOR/ZHNmjlFhAfey98C6RHIFphlgbKAYBPz0ksTnMsOTq8zqCV++i+528lcuKzV8vuozVrJORzBH13rbnzSflN9a73LLCY3TZED1sssGZWUap5OICaq6mGvAAFSom6sNZww6gNZwlH32FgGdeDmlvuwmFGwWiWzQFr1r9L6SSSEg40FHMT7DvHEyuaLIx3ZA6/vllhtv+CVLieoHDRlkaYa6r89EtfhVqjEavShZQd78A1mvjpW0okRPwrUlJt4wI/gfcxKJeuPgqcWmVZLUQJmArTz8tA0++gsCm+h7qO7EF+lsSIQel0FFQCaMc2wOGr8s6pt6gP8HRPnPMYdXqFUeHT0ckSD71QsHi77tiSiUSETTYjQP+zg2IQM0uw0nIty7p2nmWker7QoY+CSf3rbLzOEcaDPE+KWsrTMIR4ZrtJRrzyAdPFY6Uz3ZJHl+9rNt9f5I0480771lE2gdPsQObL/JYG4fpowPtUjcveStVUEXPJGZsWnPSurx6Ye8C9DiTHmTkWwxGpMTsXsY6Ohw7/mRlwXHBDaYxehkDyqajAmREVwkOr7+Da+D+eVUuy4fm23Ql6EES0k0lWZZRR5WTwzhFJ+NIzCBxbKYiP2WwHqNBpI6G2YNDQDJfAw96n2JStfZtwRRdz6HMK8lyJ9J2RUnkQOffZvP2j5JcjkhrSyLcxIhUAx9c4nfzq+O4dHJpS3q9Y9s1mlRiyFLKOPwnOTDEzE7Mn0XKqK5Xs+sOvspt9RbEDUH9B4Qo4RApfpyG4Nc6OH8+zs/vKqhDyYiHJKzZy83ajBypOFvzqWjK7BWqeX8VjTq+/34uTGMCSMRlCcFUW9n4W4CXpHpaChBCKxcBJDCP7FvS7Wdr22R69yP/82hvYaWwJEd8cl5bNWtfhVRzzctvLI5UzeNXFy3G8dSN9Ghl9nTGYyK5f/J6AlzyNEPLR2SiWRHAHhuyBETu3XZb4iFxN76PsSB4nEwQdAlAuHkCRCMGYa1sxSHCy0XVgjtGJvRo9HA9MiGTW46jLmLP6nxbRAYU7Q4UVQPXf45zGoJy18xTTMfnolOwjO/04EBnMTDbIaTsf6gQIY9NV6N3tf9310AoRnKuFSobva1btRFZZ2jsjEhhFIKCRFef3IElJ4Ukgl4ljW7obF/k1TMjO1gmOwUnb5qBvh+9P5fbl1UjQELLkYc4kEbV70rDXmyylVxz/mHiT0J3RvaJG/6LUsMdFI9vKqHRy07CneU2tPLY9wS1Zq1qBmHMNZGtHh3pY1pmQQ/oMLs55A4p6k0wWMA9Eq/vwjyesyzqcFNtDhI5h/rU02GITSi/bICNBBxEBdoCMAOtcZK7wZokFlRCj45yKqgWSfgaMIzGxUh0y0fd7uzW72PNaSqeCazdWWpTGsW3+1FT/wR/2OqPBThIdb5rZGY/HAfM73LWA4Lzdl7xbyXmb0QysqGLgSmq0y3hdJstlcXvWqX0QG9ZbouriFOvXuaW+nE4EL+BF8ahv8jKMTpBd7EJCdc1JRhbzRYXLHUq4R5+aoL3qyLxMBc41Uy0fylgdaoTLicoDPxT/ddn070iEmzlkWXoefSugbmeymRPUX23vxsxTWljDqHfhaDLdYKsgVcWTA0RbwPb0hFZphf842e5wOX5dhDv72fVL8yecbFoZOvenHgbeLBat4mi/o7h0skRlOofZ1aMxN0dhvn1sEToKZbZmDHU9bF1H2hjDlNHPbytJIMwlblgn9npZstDqdxTJ4pDByDuSdtFl/NHHsAlF3gfRqkwZdMJScjWguNGl0rLTDGa0KwDrYowanqvtZthPqNDGVwZKnWNk47fYCmh4Jw+s+fioLOfNApcelQ+ZElb6cZalgkW7hXngjHxdUpkooWMt1k1if3bzyd2WX4ddHIHpc4mLhsbIDn6zkf3zFj/kWnmNBBgLAcXAc+hadzK7yM4SVuoPH0wSrRSHqCPl98tiBZjsmahye0mY2PWaZcmQBr1xBUD/rU0kWx4cSyqtSLpciEgKesLVi9PkJiLn67rdtndTlmXDzpW9Mh6cua1f3fWQQ9RN31r6txsR1XXFlbGpaMeGbO0jzufk5hKTJZcTL5IfXCY+D7lDTVcAVzxSTiHefzZvcD5hN6AUApWzGTB2jtgSdqGQTvuEyTnkWLvUGaNTka0kVCXJAQXcP3vPTtidGgL9UDBi8BL9UQ9m0RADB47L4Hza0Vju80A6oulNjkvoODzT3TmMlEEetDVLXnCTzh5cUXVPIDNJMlP+gQZ7LVt+vk+soiRBZtI2NUPLiCg6Sunt4iCPDX4mb6sg/d4CmkDJ0IrLb/R5dB6QtAB6+kUtQdkgPeT2i4kcorUNt6CBVejqRCqf1Xex1h3aW/LBdDghjauueCnrQ2PzXj/EhwvW7ilx4W3iztXpiih5+tp5srzcQ2nMRcMJqY2PgYSALy9Hu719egFz/qsD8mnMNe1MA6OX+xsQ4R8tYxDg8W/SiNJotq9UeV1gb3I4Obs+t5fCAId8fGYOFxWBc4I3DpGuC4U+8hgeFYrZWoHLDB78WnYYd3bsKG3c909gCyONeLygi0VluiK/0xZJ3oTtIbWQwkEWqiTLFETK2W4lLm2A/fqFblmk/SWGBH/B3nHQMlg/Igv7j/jCxwEkhVJgZu2+fbv0+w3TYKAaJqRs3u/1kxLr44fofly3nQFMquMdc+2rtk8Jix4BbTcZKECuhDAhp8+LvUNBYIdWVs71P3XQ/Fi3bCTQGiRHLpKM5hoaeP2oK4z70LRuVwS04z/4wRBSkHaDMRa6QWuNBGrm1nhHVzQXaMsLZ9mlvZVTYhWLRi9XcRxiyEvjbvYZuTbw8F1uR+n5Rk4PMSip/CmSehU1auo79QwT2fVWURBgakvj7RDFAHq2xuHBVa9o3epDVp76428AdqUWez/b8i2ii4UeY7zIM/78RqDf0XjSnHKD3jMwg+0JfplVIgYEVL1S2t2X1QOKsdXKC/S6JnwFTt1zyC0lrh0fL1jTr3mHVx0TwRpkgx6Bf5O8Rl7W9dfMOTd7SPsL+vlrBV16iEvN1B8z4hiJERzEGyOPUvGVaUrFwePJPPQm1t6y4Sdoe5YDFJFBCl5ZgQY0DFt8+iHsNBmy48h7Tqo7Suk0BcnO5tpNdt/OgVd/4cspglj/J0y8P/FfUIuACSAZq/kTxb4PSMz5ekk9GNZeeIpCPoyxLtSWCb/th3JJcNvwyHffGtd0qQTWBbeOYgcsbRujSrzbkyhTRTrbSy3IjUKRqZzrJEFmxRTH309noM5gSPFiCEfPjkIlmcd1LRZ5cVi9LyGQRCKtEJQi5FTQ3aYJY9E/9KH4XmSipenUmyLSgVRl6Aj0aBj9TzWfo2ILJccuywbA0Y6wnsKrKgwl6hYpcRPXsdm/F1pT7UlVZYzQoEy5gVXzrLuVEWLRXYBHdiz/X5HdjDk/r5j7txLMNNCpcPFeSHvtv4ILqB3OOGR2kAATYZzvSIRoTIrkgac8lRgfOq5ON1JP85g+RDmYmT8gJyaAHg53gWMuTH0QMpPEZU1NoEC8kEZygLBDwru0GdBp6wZjlpmnHwR8cHBujG8BkzThrxPaUOsA/o1BvmNYopZOEHJNWvHAbmgW66ytvwGFv0qJkmaVtVjPo9zpJ0pLaF/qqlUWVyZflUbQzeHfDF3ECuaQOysikTquKamP3hUzVTTdZhZsA7I4h/y6xqMb4ChKOfHW1xzAJ/9Tj+k04adgyfKhBk165Cb1tHVxa+PEVoxkIEHCZzCym1lCiibGo0DEpW7+U2FPYiozPcYMVLWaupFe+QKoHiem+EIkbaVWTyeYLBNzTs6AwrBV196Dy+W23g51WpDHKRMi2X28ihG2v8l4EYRcqKdQM9GW/1lS7qqv+Kp97/rvkXIS8mKBHi65+m0dBYlXsyB7vx1skiWFGStpG2duG+On6wX83CFHnqeES3Qj/KmwnZC1PwEOdv+Bc8Z0/aJsqyUl82+m5nEk0onfo5k6/2hb3LUCcr0AIoPGl0MBFaD8+kAp24vlUBgCYNj9UMd6UsyTmVILw/k6Rr0ffl1ES3X08KRXiLvS8iqCUc0jztM2L4DVcefVvbWGXEsypyPc3ucT7qHZVmI8VjlH0ATbak0mkWYphFqSU2jr4HQwl1csQrnFagnee5PkTY/XOvx7hyDC1LN9eKLrB9lXmbkkYmFkHY254TUGy9+yfGsqjAguJQ4Sqre+ITg5ODwYqwTQmeoYjsvANkF6bwGd1LI/BHz5uPFM4Z+Zn+nbVqNWeObrDsnxR3drBRsEQAp5eV6amRJcS14MUk8YhxwsJV7fsMcxkB87nuZZYSvzQPHzmAlx6qBgKTlabvC4kHNlgdTShAXjMZby1Nv1B6BCbqtzrrU0ZOsOyph5L3vFNrbqlu9GoeO76yq6cOm9GK8cmT+Lg7k0INSUdLUgZbTjBe0EuwCVDTb5SPWCPHbAM59X76sewUQA4qrz1nkMQr+GMl/cyJCwJxf8PwQ3wLIQESQipH1BMO0eJiqviLHrvV13Wfb+jZ5fZ46jdjfl+s0nP0LWguTUy7SF4F6W2TDlzJW6F/DxpCuFwTqTAMtMlgN1nOT33RkjcbewZVGudyhWAW96ZShML9HDNBf/jZMc8O679Rh+hySU7r1IZEIuiYV595C4PsQH1tU26vHOc2G8SgIs1T4Z2IvfVnnn620fsAqeIt8lgb9rUx2V7xF2dFWGZx0GY5/TLkffD/5bemUpynoLqdIGOYXC06+GvQeFU+iQWIIq32OcWOheofLfDkWLzmeKLFLtwIRwY3dNS/7f/72HJ+Vi6V3KI1Ab+LJUYFftOQ8s52aYEJTsbxkAk0BF2no1t9MMVvWCVTKpndvj4ubQylzRIwVBuixw6dc5kHNgR9x7UFhsPxLkTRNyFzJsj2E6bzcq9dxKRiXDhA3WhPjlNTqp8JyP0S07Sfgc6tyaH8vCX7OqC26XzYVi1eXdbRd3bKEyt3fFVhMfvB0JhGSFC+I5Ybza5oX6MqhQJ3jL2RIEfi2XGTisJfmvo6EPrqJjuBglPttLTLmCmK3iD6nyxikaIWxflq8T2tzxAMBO+4zJ5JCyu+0H/0QDECiJweQ2DcsrlpNvXz+OCABpL7kQeAF7tQkijNs3lF0o8560lQ4NjgLWxh8W7U0g8VOcnRMgwjiE87Iz0asQi8OGXx5PLTQpTuZWylgS/cMroxPE+j1z/33pRcKm1H8Nt8LPolz3eYexzNGWIUF164KDovyu0+9TllFbl/nlS6l16bPlhapYOIspsgjl1Cr6EjcyVGO0nKuHZ2GpouGxzEUZqihGewpE4fHIgyUJSlqh7uMhCnPv/R8WY1OwVec4SIS8VuFar3fj2yFO+dvuE2GDa/UJjRouXJguefUKMlLHJBoM2UqzgzpXJLKVa9bJYNn1t7gJW7c5yu07bpwwrC5oqDTM4LormYrnolgploOvY9YEHJJAvgTnXC/MtbTk3eL7XFRGMcC0Z79ToVBX6r9SHx0U63HObVCdOA/NO49jnmAsYIRnIWRJWv9GjtYGieiHApxWr0GAYITaJG9JzlAHwB32qssG7bs/WabChaJYM8VdPEGwy7rN5iqN6mTPirBnXH/tqeqBegalocARn/zGsO6b436odV1m+UiyrDPw2zJbL7/wtQ4VxrRybE5/Ujhzf88/OnsTn4we0omMn6aG8dBEax9Gr/E5sobb2tglVAo3PZGr6cpJFQfrHISz1lBKpxcjoe/X37yx7z+QKq6Z8Ac+K+YwhVxMyxQnJUkqca1v41yA+vh7WCIR6y5lVykp7mlf/G9llKsdviEyQ96sZ08gh6mrhgeWWXG2NblEV4L5BbLz8cPGc1AXxC6DZESvu5m8VCtHr20cjQjjzQ1htnN23y2FAFhRDkhUEdzG77hoAxFF3r8HrxMJAAmd0CiABMKQIXv55APiULAZPhNfAmPro3Yz4S++bdNtABmaiFDYIcqjMI9HittfNu1mXzvxgqFSb5MSDo9DpFVP2akgb/Qd4OA/8rntJwCXwnUXUq8cSjcnXaN93JZuQC6cxROuKaOJEnwqpezY8AAbF23xj2KI6GXRKSJnzopkbSmUSVSqR0HBqeKOD0oRB6vjp0QpKUTxRJWbfgdUWAQR8RFQNlUOOyScu8LLOOsMVpnPRI5PSTV47AOhWhIiVJOmYOxuXOef2fLAJKh+AUGyN5l+NK7EPRpEE/k3DOid7OLEyDlxNgd20d2+/D2j5ngzfQGTReVC9K5SnQiVSXiaB770lgpwS6fKG9628lC8kqkc962/CpSkwiWGkCMJK5eJ/oJ165od9KaK3Vbx6b5LFGTkwvOUGblME7MmSd6+vhQ/vUVeAPuqqix2gbC16H937bSlQaSIq55GoIaYbJQuBO2vHiieY+1PuymmGg/t+NQG+ucDyv/Et6CBiLcRK/tOYZGg3paPQorAaau8iVXb4AXf/TzzOOeT+Bwoc7jl1i0V57MZM0RnwByfFKvZHw+FPjtGaIW/I37lNofGMwixytp6XjtykKFKGmDc7CAn/faFpAmCrLoHP65lg054gRtzEKuiuQk37hSU77RhT0Oe+J8/VAyvYillPRQze0rrveqK5WLEXGUKlt00PvOyZVSUaZAGzPXimLqnk29nJ57oueGYmcZFDF4Wd7Y7CeBFwQwbPbhDN7IP1IkWsFgay+hqM848sAKy1vNNWjnWSpFXMsY6sJkdvQIAAh40oo5x/Oj/jqmOav+0yyJZfRj4Su/8ZaErQmhVobW+fAi86FM1dBBozDuos+/VPPI++a24TMIzDg+4E7h5b/yHWV+bUYhavwT6f9unynjKrTOXf/dy3j4u9VFikLJ35vLWL9cfq7cynH1tORoBaU2xgxL4ZyufcLc5HvfVdtRzTAM9HgHd2Y00vnIfD5M2hw+dmrB5bxMEebkekc3MyH4D23OzxAYe57DfS3xlHY3ZpucqCyti29pTr8QNzsbCM/EuGSMwGyQsBTCWKryHMzCiZQdseP6+zrw+qyN8R98dS6NrIwvYnAztXkkzjU/Lkgb0ganesYtNPjuWoL4H8MZU0s3y5iQ/rjdlXWzRtEMuR7AJm7XBAOsY92CZe7GWkiBTg3nl1LGV420N21Gzx6YAY5QnC8ySfWF7zjD8qFMpOfBFMLBvhnfc8LBi/G/orRI8W3pQxeTQSzj/Y9sH+nXZs/h30SzNOgSqLNe9BH5n2i5IcR0IkybttA4PRnndWB8kX0qw+msUXHjAqOiSbjk7WnDt1jULL80qlangpnj2U8bJteg7L2MwGjtcgPNuObsQA1OwRxFAyetTMeMAyoh06iVmb8vrP0ME61jn9MsES54QlMAkAdNwRyMpl0YWl9yWsnT75VpWa8kUCPHcE/+msIoewtt/jyzQ+VvlV5SpW2z6DrjRkzIOT9TTHDER25dgye1PpjZL40+BJ+8HjUP7iMDJ0GMTq80PVqA2EYhaDYVmTB/zNMJWMTNQRRrHk3AeSVbOmXK/HUsrD4hCg2eNnJyh7Y3jJoRlo01qiXzxVge/9M7Ao9onlxu129C4MMOK6LMJC/z2sF4cw/w1On7b/BIy4EiEiGuQ3hdxasav5sCu8Tx5w9MKeca4ADyufk69QTTxdtHRCC3oD1tvzGEOrK8I/nN3eSSNQ39jmI0b/fLp63JbCwtfOGxjmYCcTBy+yae5PgBpkSYkT3nt6gXk7pSUik/8VaFWfkgKxtQPXWRcoy0xMH2TSg5gfGU635XZPIl7YKD/7e+DQg+fo7CygcpJqz77I5SO+ET6rVQq/Sj0kLsFhNeNobX2l6e/NFlyVGKh/d/lBOPdpy4a4ROfOi+UtgmN52FxZIP4JSvQI9stH/FFr5qFZNsEDY2OgqLEHOLwhhKIyQIabJ9VZq7h0G/c6LZJ1m8zh7wFaTyRUQ4ezBhPk3qxoAPAb+OyP7ZwJ2cF2pYNQfXImLBgStzUvcWABFpWqBqSe3QuMSaCqHZ2VG53jNjXKueapjNRHCHZ+IJsI/GUIkn/A3OMEbDfIgC3oPgurFRzG1Y2P3mt0dZExlJg5FPTRBR+p9Rx5QAfsOw/NCkoegKbzfBBLN85DCwa0J4wFLCZlkesrLnWF1zDLNkZ/5k7Bp6Md48D1u+BXK9XZgywyJS6qcuzExlfXw5L21neTXNoe8E8ynLIm+SFS/oai9rFym5JWq2MH7FYCr/sQvCqO6/266UyNXzPJv1AEVFH2ch665MU36vqxVkXPpLSsEhkja8DLHUidvwnewuJT9I8N347FInY9pbJJNua6pyfZZNg2rUBklYi+aRuf7mPU8JgXYNfcGBpLw4H7rWpY6ss9xW60yRr6ye0A5gH1LhA2+Va16XuJR1i8wQkRCY8Nq39UAYDUxvtXR+N+NXaTt1WPKL7zfaPBIm7+QjCmjTW0Au6YT/rAlmZRcyQFD33Ny896wNL9gJtWFdpNdvWdiZHfrkRGAU/893vabfEzQQyobxXP8EY1IGrgo+zP88BlatDwjSXlYDEVPEz1VJy3b8tVERaChpS/JRT7tp56s5jx6DQWc06raZH6tKV0ne1+tujvWa2F4FLg41pory3iFpMjnCwVv+CmXqUd9wwnlOauag0+3G7hdWzz2OFhTvtagOVSaKScQnfpf70tgHA5FkHlDVX86fJpTHIYhiCOz1eg1WX6C3KbJ6pDPRSzTViSuhgnG9UVpmmMz5lr4NoMoHAK1Q3Xs1xotiDuyZTZ0oPPqxBC/rkipPKm+RJxPpS8egkxAk3oQWKtMZTyn7UgZNG1vOKz0sukrVLHugTUc1ik/TekggT46O+nDDdyEBLol9G8wO7dZTWFmZLvLWWH4qviJNPS0dL7nCGugN2qOVRcisx96dCbAzSOMkEAogkAa4UhNKnNOn6ce+YGYxONU7qcuAJ0JlvnR0dD+3Yzq6cPUMG+dKdhC81fNZm1Td112X5wSjBRFO/UXDN9FXBXZ4FKa6TU3K1ZCtDKgZwCzdrNm6eENP39X0EAUpjMoRO8XvB1WgFRiK1eJvNDa7yxDMrOwT5TnuwtpGvOHEBRSc1qaKJHrog41uou0Ci28NFs4bKwfHSBdSG5JiTWTuh3srrVuNL1hxJ4dr6jhqSfpAddA2HUbFDOxIA3tHSKgzTT4316wgZz2fC4EsqmNjfq0HcDoy1VTGealAYcbNDTvZhtMpY5iCUKFOJKDSH/FXNVFN7nyaabODP30WLonByqApJJo/3THQndF/Pe/ioO5nAdHcu03pmBXR+fEItDfZAhTOsCu65CpfUcKsFeqylEjPS9pF9j2tIKehRiPpFmkbUg+YRghEotp7pVZdCHQ7uCO0GQ/HSJ9RMJ8FhKrPlPdUYSUC4PbI+j2A9wAKrBF8tgfTRRcNrnY9M75c0B1jXSziCdoi7J19rLNqqUgSuN8SWMzP7zeTnlhEQT9sGfgFQocN5oIiJtYWyhs1fmausw5KWdeLj2GnaqZfP+tI8tTGT5VFI7gk+Br0Y9Tdlp4tg0jEGQRdnDLrny7S8cyX0U6N7GS5XHXzduPSCPdIkjq2stCNIBgXAUKVyGfHhsf0PkXjvZ2/u/kbp8WCArDFW5h9XOck78Pe7+gtio8F5FdsC0nsT1RQNKRkM+RCDq+pljGTNdK9WcW2Jku0/Xby+s80bcxtVQyeUyFtpqSLs73RVL473+8KxCtJq49EiHZqJ5+G7oCgp1uKSQ4V0PXLAeNDPyqpKK6p4RLTO6m57Q0o+2w/NRd93nzZopjOeEr6MdXkoTKef6WFwZmnFJYO3kfrq3jdrt5JF7O195MU+uqhKVqIlTriwK4rxETduLicLKArRTAgiqJIe9CAmih5CZZ4q3Cy3wbg4/vZ1N6Z4lMbq5M/krp97Bp64XdVyRo2pgqIpIpBEmYv0DfHf2c1DIhO62hLeRSjxys5/yGXjljNNJ++LS7yUUNTfOtb+v/sIpdS1Oc2TUSedEZWubnxPDmqSy5N4H0GSOsCHi+SVEnklMkIKRRtg1yB/9nHTn48DGBq44k/dPdNNbyY9ZWnajb1wKwlofseqHINS7KRAFjn6W10f4wYU0tklXT5iy0QDFktTx5mumsIZAFETzLjy2G8CnM8gZpnrcL2XKjNhkHxwFrC5CByaYNICAH64nDfYCtWRIXeqqWppXL3g4TQMhlTtCF/6YabhqP9gcC3Mww1C/UfVJgzpVflJcEXi71VznCsmS+zZomyiGOKGYuU05u0VYY6C6VofoPtDANNG+aaqrUU+GPkc544iKwi0TMsjVCH8EmwPpyzyjdZUybciISQv/j+lKUCMWNarOFrxG/n+cZHTmZRcJF50H6GAbdRCfDGed8eKKc7rnQstrHZMghlBVuevgh+HtaWrOa+QPCTaXW0nsWRSfoIF24HPmCWdc5Oa5hmJMjRTcpXNQJ41QC/x1850y5d+5cIV77lRADFGBZka6fbIbrtU/2mWLDmixXjts2Lum6pG7T+BwcM+CspY1JdPdCmiJc11uCm0XCLaMi8kwbL4xMKlHCrKhARRh79AevajfFiA+pJ3/aiKHwu9PK2XuZOyqhXizURWsm0fqQZ/efGNNZtpe7/UPLGq/zyB8ZViBR7nliBl7IpraShrAY5/hjrHgnBlZGwfU5H5dtvofq+VkHmsx9kFCRzTqH4N2GeCj4c0EMyn0ikimD1vEFdI5vqV2vKxKmzdIeUKDk/OSUX26EuL1euGFFMf8NTkHEdj7CnIFprfGFDKwDmP1wnG4pn9vNniCZqTPAyWuW+RMPKQp4+hK/El3l6DETqaPge0CFeVMnazMykSxVxVDUuROpGGP8QMdFcUW3IBrQ7HGdlSbmKwi2YqDqGLmsQLuvAdPwQs80fuv2YuKDTHgH0+30iuis3zxMNN6nY/kr8qtLVZ4acAMR7EcRUw1ozKI+x//vi7mY87EpSWssxkfjkqsAIbOtAEobriPdyiuKyUIqjHwPzAV+gkEI1XPaP8QkKfu45WqZ58wrbmP7JWhng4V+KdkZ8d1J8cecA2LjL5KE0a8YRHCDz+p873ZFQ3MYdAWnVAhwiHlT3cd75UuTW0Y9NXJqWok+aKA554AtldcoR7zMKniM9GeUGSxC7TXviXTsnPJVbwM/UQleMWFc/QMEjxxXwHVi1Z5a0Khym1f9L8AZT5od922qYXOr3WRU+cLP060bpfE6088IgHlI6hKsUfzxzsIgtOiFnR8zrMQ157pxr7XXxc5/pprsXcgxRls5Hw+PH5NX155p+gJr5kbh0o+fWwsDPpUDq6wwzyPySbMO++JGuobrTZe/k7qXwlKL8mfkZpU1BoeBm0K8kFMCxTHbWxIxvGg9a2vSeI/jDx0TUKJwbJ0AFWDsIyLS4E/6v2CRurWMUk3+oCPQRrjpJFteJ7OO5O07o379+wW1uzgDoqyZUuGu8bwY/euNllUvT+XuvznzLHAw0xDoN0K09dkt6vpZf721H9YytlC2UWW7BsmVEkS6MK2FyFuQpcS0cac8L4eq+D2ASbKzf3212v8hjxxnLEPnRD8tYwnsF8QbwwWJOGasM9d0sUes2qTzelsvNcc7PqPOOzYx0eQShCKYkt+KGMCft4exvQbc8+LzLHeaJegMp1aewZxC3ynIiPIx+yUY6CVHuUKqnz6Kc+G+J1M3rg7RjI/nLcG+tgoVW3S+yyx7gnop1Q83/qKCvoP+QgzKqaKSy3Y9NH4fu2TVsiRITiUYe9stBNNyibF0dzxa0QkuSH2EkAI/q8cGD0NFOPMSGl2faUdYANLSEYt1tNPFq4rmPZ8sT3ysOxO+tz8gpD0uurPXf9m4VBf3KOTV/M5R2vgUS+f4LZ+uECFtfpzW53sWQ1psAfgNI8pQSi97iqiHMfKfsjkUVd2YfEbUnlkOOzL4/a240JR++YFw7Ao/XKVuz9eNnDs7lnofp+hi0cKqOuwqrM4rpC4BRDiQxxnJDyAgd9J03P02uoH8LxDpSaCm7Jq7ZHAuSRQgvoHW2Pb+wSPUx5LVPXs+6fyPcpz3XbbIGDvQ2U91EaVX/+UOdmrEEKvVb3YnZUkUFZkd7b5/Uf33CyZ4kEuoBH+OTyv1aHGgQK+5MzcI+wV4PeE+Wrr0Sx7MBI0G9DBQDkTK472hgXw/yvso+vAMfNGIq5IIa6JeoG+UDfnsCALGervA3QF4xci8j5P36q7acN9sOP6cOTWVkqACzNSY33C+YeDmN0J3OWjhWDPFS84qfOQyS+JMliH3U9jGDzDnQZ1syfKN9h0uhkmqsdr7FYIQYVGGV6zpfQ1YJu792lj+hAgc9CUDL3r26SVjxoSb+iGCwCJ7UPu3FlB4opY6ojR1sO1Ru01aS6uWlBzxZIb/CJ1949+WqnW3ihmSaiFGcvnmd/Ry0Rqvn8WXqUfpegX0EPN3Sfqe/BgO08MjSRwSAh1WxxNkaw9bmsKWDBS7TQIIpjR94Skw46sGk+GXBkq0WMtfZUNwlOOwpHHdqBtb2G+M4lGc4cYO1wQQMfjIRmkqmZiBpX/DT0H2RUZCUsyi0GLSO6LpvbuiJAPzJWjl67YqYuMUfqlK0KX9Q0rnNCELL/igXHBWQC0R795tdBY7rf3Z0Xc4/c88FkRsZZbfMMCgEmOhcWBOJG5NM+rEEI2k+oiV9ESj090kr7Z+k11UTQmDjqQY7izs+dqw24Um8edR/AiUkAvUk8CCgOH06tZCBdx2R45+3U4zlV2o2JZTqyvGNSzr3yV6CtPs6YdiOurg0OUYR4uXY8yETJKHbFKqx8YeccVxAWJgIJMZ7CpAXuTyF7jMtM/8xbNVChDioMJYg3sIhkRGi04MWkkc+TwxuyMdEUEjVe8GXBUVBC7R443JAY8GK2ikizr+OhD7VTeBgGPNbFIfJbSojWem52eFY2NRh6AX+dn0K+lPYsFiEMQT9MPskVd1InkfX21yeCL9invQKHRlaT/mEG9cXhWT4Ds3Knqq/vUBZsxJ8kPyiHgNhf0TgnUCDK74PkoYNh8sIbXsyacA7b1nuiGqYi+oYFk3PVeEcFy1eQ+zUMCeCnC8CsymmbRmZUCCaYMwzLFi0H7AtKqY9KKfWI6oKd+2xcuL2FbNm9sC0DJ8nRx3q3aXVZLj996xejKj2YXv2GC1PUvrMziU6Owij7sCn5fDxaq6QrCezyV0nnJF1iQ89iy/hDWI6HNO14sPZaKm/fr4DrGZwm5j8eLxKZRZ2az3l93qat4Lw68MoxqV7zG4osSPd3DrMTTSQRojrxjgII/Q7t2T8bpfNqXlORcJSQ6Tt8bucThG+RXvjgaY5CQmkQSjIQTaE1SKYuhdS7uMKN8V1lJEPG7SqOQYGi8zrYnd1R9l/yQ7gt7vZMS3TWnjoN6sXlj7K/k/VMD/hQfTqIvVyi3CiD9O2Csm8/D8fxxEPAvOB0gZ1ze65XgrAN18xjipolv2yVgDd17Xp78cmNUavrIBIzElYDPnr2uFZ8z/Bb0SK21UFQCVlePT4hG3/LPKbglmguWmEmoPlgJgZBVDE1UfP1EVKPzAxppmOOIjxxVr2gzxQivZM7x496760mvGfIRqvQnnjhM/wCXJPUjI7dIS9W5MDxVNj5xt9URbf34IOMR0ENfq3gVtNIZox9NL3oEHg43oNzNyc6wtlqpOYcHyzHam2GNr4UbncAksiFqiBtWA58mn5R7DxQtsKq3moQWfhBgod/5lbyXbEavadTvSaGlc+52YPmbzohGuRN31NfX29/x2J4aecbfw+HRqVM5bSKQGCIK7zhN9ipBMLRrEN00EWsJrRqvnu12hpufHnp4kPsVADGEsaVHOqLK0wG0YOmnfKQL+wzaP1Vdr5uCl5b+veuPKQXBG5+qsFa8MAphREf/s7A7UckSdrHhDdFbsBbbsn++UzFcg+IOphp+89UpX48Zu3iDG0aSfE062LEHeCbMB8kKkEZpR8LJm/UBFt7WITC9kXNJ3DkFC3muI/6f6h79quN1fkkpP9sU+9j1CupSn/ZqYnlADWChpQPmh6BrAopH//24TwHtzz75pgWV7ygdtTmBEmRwFWwEvCT4lgDIvBaZgti9LPKsMfuAJaVhO+nSoLWe7WkOxAQ6GYUguIdGhG2pet8hYfCqDnbSjccbRE5q2W4sptJj9dNF7geha9jZay7CMX0GK3sxSDpSQMziDo0uc6ZOyipe6LayvRwqIBZulJCZn7weHnInfPD4Ij8D/KWQtj1HhF0x+Cu/rsrs9mfmXzlDm8i+Z0sU+336HdVxqMs3IhdsrbyGZz5/fEHmkJ7XJKijm4P6qrWI9hkrfxIBniTfK27G/lTouXEH77vC0vD7WwJ9mUODsSlIIlnizMYwSqzOktgUWMzi/WdSxjxAH9f7y0lTLvZwyhZLeZ2YSsCsQTzO/LxhSCcNM6LrnuaywmESClMFka6F2VKoprrGxySlRb0x1KKfhcXZZwp7rX6xuXjbPdNfSBJ/z+qmdBzgD7PcfTieE4FX+h0+DUdHG5MMWY8UyJo8jpwY1YOWOhUEwfrcq7ueSZOTMAKT2iNjDFhE2YcRV9fRKTdBB3GnkP5rYNHdueJ/afvGpuuotMAnf+qFR2UYRjLrmGro8eWaRM86L7GEzDsYDm4KIl3E3AunYyTa2kITamLG0mlnaQBZ5jk5IapRhzLfjWAv/m169lii+fBPqAHV2kTRvlxeglAHWr0LDB2638KN/Hswv/R5AXRsDL6TxBW7dmeDsLiVLmhfI4E5UApDbSCSxkq3nUVOYq7KXVMiXqeuYtUHXX5sKu9IpZbV9yg/TjP4034nD2RBBBDCYD+Dym3gZvkc5j8IY4XcKQTZr1LOCch4QGwlJLQXNSTBq3+TqNB3y5A2Mrb9RP3g7v2NJsq/WLAvEWICXJ6IrmCRlrqT3owfplYF4Pr4U6s+OeUGfU9ui2ez+e4hVvOqkSzk/mHSDBG4Z3iEcoiWdJ+gc1ETNCivKTREQeTk6daiy95zF9uKv/UwPXdwsoLm8zhN+X84EqaKHiwqsECIw8xFueLMG3hb/eDvSSK1jiYPUwY3Ye381hgOyUf6C9rCXTr7+sWDfQTArD1J4wjNwZlcN2HYMM5g4hnVs/MpSONjDrPTY9red8BZOZRQMPeUKzBibBOdzxxSot2zwLLoMoGwqx+x/Vhyc41Fpm/AD8BJFdefFgowTQiIPnhv5Kx8uW2Rsa4FTuyoBP1YSA688XwGax/Z4oMLT+j158+iGOL7VnFFXpQAFvsgbaNVWpo7wOLjGu1RFj7WVdtFQkzl0uGbIcYrn4jP0IdD41wDSzYYG/GJ7ZWP6S6sBNjYOnlkBilfqH4BcuAf4SNhKTlI6Yi9oyzuLilWhPbIP1h7A+my8Z0pHx73eX4R6DnABNjNCS4GUwtx2GMysDtBcFtZ1iVBmMkgz1F70p9TdRAa5/W+85XmW/HB9VCX4jliCN8eNXD+YgmI4U6j7oJmc03KRaTEFgScjXzqzAQ+gYUjl/Q9RRf/rpEeM3X5GJdyiZJplwxEORqJkKPcKV3Je7OLeHl953IN9JuXZyQHKLj3NBJEEMbgbA0/x1G2BD6gKACSk0zrMPFB+YkTqiCSRNJbtFlLSrFM0Ttok3oMkgORM4Q8USx8FEHszPm0SR6M6D7ISyYIOGMxULMcC8fQ1hwm4biadWxjby5d9wbIzauO3H61JX3oUqvLTP+U0YQBT01DpWrp2UDt1dgM8I21huU3TkygUrKEwHw/zqJXgpfLDf0r21g7JNt53f4mlqHQ0Pr66/v4vL/EDmi6i1TwuOwZM6hSLbDB4BpjX/d1oIsu2+0By/aa8h8XpiXiQ5/ADqCi88xuGGC3GD85KEZKHjeub1fx3y4LRsKLA3zUcdYnacnEhyNTfOItTdGVCmz7pr/6aWlZu5vJ397W1DC2CgxRvZZoC7UzZNx2em9CDRQ6KnpCoxhCjeCSRDOr/8cW5+AY5kJ8RdqMpABNxqTgQTC804f8jwIRhG49g8H1vw5LW6vWcebRGXP3d3olAq+4ICnwrFEBRuDM30XOc6hD1SaJGuN4hBx9cwKlEBrsLF6uTMTH/mFQwV0Nl5ipkKxce4Dh1YSdQM0uEwL9FHkE0qdTssUwCDR4LooMgTPSU2jNtIm8lZAb4Ubm028Gre2hJNh1Y+TvKF1eVQ9DQO/BDJMO1z+Il7ihufnffm0dAjDkgiaO9N8Uq1pP8hHL1aUVoraTJ5B8OK8dUmxosGYLvXoNhtzwbVd0sPZzIilIrLfvTji71wSgZpS9VQInIbVj9RIvTc99hDgjxkWCd1hlHvVbH+scBL9wo2bWEVVSAxGtFwrvC0P5QkGYZWPe+gRqU0H7RxOfofGcUTpU0Tv8CXg2nS8JQWX1MYHVjIde+Q3f7wyC6WjvBNGELXjI231Yvqt6qTo4t7ylAjSvXwZ+LaPrIwvOegkZ8+qKld0tvEeTH9tm4P+Va8mA9bFOSf6vdl0S+zy0jjNIulYmkMWBtVy1uFRzinWUWyNaeUgocpo9I6w8B7QZrta7MwophbRczusvqeGT1GPW4NQM/0FtWg0+Ih2nJu1+OGTIiTR4NzLV+vve9ri96xX1wMtjE7K59yVpemE7lPN8+bIX7OeOiY+WIqTil3St+b4m+Upk7qkQOR0q+rQY/IYFUv4O3m0jgrY4wb2mEe53tYOrFkX/Qrg3oSmzFUu+uTemw2E5a6WqtKuYowFga5lR8j371aVoHy608vYbfKfrEAe8oRfRS5VSWgBEZ9WmT4plJCEGiS37IeJDeLFRIOLhb6aRItaLBnrNz9ccBE44jK3CjJ3J5kSkGGVwGyAA91gDFPbHTa7qkx8Dzi4DRXgDgXnW8ZK+9Y0D8v/6KNYh8ch8BtOFfNMQfLCaU+PNfQq4mg5ZZ4dgASnBWeiLmYVrt5Pwe4oxsTOlV6iB2ozzJpC6smozl99yYdrtztVWWfNBc8GVkAE8DZhUwh+hvlYF2uD6TVHPKvfbVEDXPubWAg9en3vGsKNMBTSvXZsSsybne9aukTxeC+MNcSxRON7dE/p/pTgEngeCtJDXPXin+c3WGaEvYSmySNeodBtConNPbPxMY6rhmZ8ezpqmQ/UoxetTKLQ4e3lVFCWeUdwXpyjfdRvsn0V4TWBDTMXslcZjdsXGLSecau66hEHs7StdHSWVX9rIlJBGwsB6nGxu8S1iUnWayCmsT2rkKzKRh8AiRbXMQixC7f0T9v6iXZNq+POVttzE/+VlzlT7D79+nKD4Uh8stoeO6r/8GejzcHNNy1oB9gb/ik9ImWv2o8q4U1OFGL3mi/8WNxzQFtWuDHNpedoZc7zAGrmISW5g5BVO6AtS56Hl36XPQHnY3Y+GHv9/Y6mtF9ZHVpAvsJrQgKDZp2eZslMOVZ6afMiWDsnHDVWfwX/8VWufeE1vsqWLKkuPltFaqihg9vqWesLFIsVu9AghHNESLO1RxkH8S8QZZswDT883GusW0wEpG+rNJd/NfRKHtIi5JXU2a36+5Leluwkki9HgeplfderuNaF/NMhLlaIWvzD8dZ6rBI53/MYe+eJQjyx0j0zdK/fOulX9GAOBWP0JmyBJ6RjX6YqPQ4u0QBo9ReXsrqJBvo1zFJxN7ZzUSS0SIcKdK5FdkzeCN/fAPNmUlMuINsfDCRKi/js5E+jLz/B6Q6bh4geWXavpQ6slXkciHIltHKoURxHNGbFA/fpvbTBHhTP0MTuPBI5hUQgGp2nYbB74VyKf/0g3Sg0G4uifpwcHqVurs77yPH1ezo91L/a5D4UjP+kHwyLvZJMa0CLRRiUOYQuawZ/4uUDVK0/4Q/eCil6xPVBcsL2U1dR6N5Zr3AbWCuKxB7zm6gTXHJZsogsRsFhyZMr/jp4wm6D9yCqKrdF/rFHj97k2sSJ6/AqVisrVfEY7UATdX6yAHiJFn0Meq7GX0YbkJjrH/2tECQwlKiQhiVpDtmoKFwtuFN6b1j7fa73is1Y3lBJKIgqJ/5z9Zxc6DzrVRjk/nCkSBSvcaLMG94s1CDnY8tzal71qINguo/pwCEEJ4IC5QNvI/vsu5g8ndDIHlFG3LCTBybwLltAuTE+m4/vV5AUG2zapXne844o2LjHO4dx4nfgCyxnVMHD8U00BIOLIp/vpRZNtkzybpq11pQcSY3rqpn3JllUfVqRXjJYrmkdOIuN6XIAcGh3KDFpS1qhANKq9ZS7xEkDIs718N2MjIhXNdy6t3t2vf46bStOAGEilMhmUGaVWT40t9zEiC5a0CS/BBuG3PK4IJlkMjYtxM4MEp6dIzSjgPpTsNoejIKzvFDJlRSG6x1bowqDiiDr++KmTJhT0hlJL1vP4yLvKsXyLMbzGJ+W9oz2Rzm2cp4B7vucTXNZi5hQrx7sRhIlja+9I7FXPXJ1A+K+KbsOakW8r72lgECtG2V9b36FvVY8Rq+G1/klrMJSbetML+jlD6wh8MHoJOV/80WoseJFEsqvnJJ+TEUDJj6xfvma/Kd4HHZaaFxa8wHI2Y01YDIHpW9iZzoHgGDhuwf4+p0a1bDWzu6BDfo0MmV/rpUJ7J7aUEhhX7bPS119YiRo6PBoT7t7Sn793OKhmrNNuoKEdSNG8R85jD9I+FRpCXVAbpVIjvfDOyOf8C/nvc+x5jZlYMaQ/wkYqT/hSClOp9zrskjhlQ6Fbj1n7tu2hmLugyJ9Sl2LpCSSkzTuPIACPKTRht5h2nuKXtkeDULou+nZ3aUVewbRhuDyFhkKaOPLsPoOOH11Q5Tp0HOg2cs89KMSUCPtU491O4CLvmnTNh0ccQXvjcE6+3dGsJCk8VVfwQ0pjAFiRynhkWAHJ08cfVv+ITsJ0XNcVsVLCyolE+b3mQqUTWaApbCG7iqGLq0C78MnDE8o8+ngFRn0IRwZKVFbJkfkvitlJISt8NWXcFh7LOF3muD/EWT9IdOjv3PVDVCCVqH7MifAlQtxYkp6632zZfQLk8QUJXtmzJV1srFkQgYywVtBa1gGRKq7c4Y2AllgcNK9ynxrDJ7gGWSy+l3aXaQK9vNiP2DapRGkhTiywcfM3t2T1Y45/i/knQx3POH+eyErvfjwzLFNrOg8Z8qTwKorMcT010wqLB0MmMnwFB6EMdnzrEtoPdUukf8R7Pxzlv8vLgPVeMpNDKZG3tzm5Y3qlPgMsaZ0dF2VnKLh4dP403kjjND81Xp+VVQjuamHjkurvw+63IM4ydCjSSDqjgd8ZgBYJyVlU87wCvBtQjThRV+qy8TeK4cpJZ2uxFMhUOWUT8Wrd3g+oZMfIOEkE+6p8JmIt6WY3bzG5MnrSiZfSs3uO2mJFGANvjqmoyo6pGd/sipHZZrp8jjwYBP1uc+kfdY7S5cq4Qc/b5D3Bs8i80IzVtd8cKfx0/3d0ApfoTsPaYde80/yC2H0BVXp/NRxPis95Tp05rOUIOV69a38o4bndo4OMDYnDZtoK+1F7ZJ4L44sXNTJg/kMzY4/PtETXtJqR3RfFEF+UmLdBPranOB35Ak4BBmHpGNUdWxCV4YtG6JPgy4DiQXu2RSYtCi6M+QokoPVYquv3GurAReqygYEsxnyz4QRnR0dx8KsMs/LDlUzaX+zIEy44wbuErB9LqwoR+kOv71YJrRRqbebfKciEA4Y5Q6fCVWVl0tHK8mShrP58sXpciUAjuS5p6Zncy5isV8/lWtkV1gMJvsaIPANZR69uq75wEOXYhFLFNpdMZxjUuAPwE1yxnhn1Wu4+DpgtIHp+3NA/YLl8yc4ZbnDikHbPLJNxdBC+QaJ0MVGC4jv92r1lPtBh152kezDEvG6sgLgpuvqP5owQZz+Tj5nMm4WNXAVtyTvSBLmmv6U/4tw4OX22l9Qksxb9gd+ax037WuViL/vREC1nbOxb8qdZv7bsRjHwsKl44kt3rXuhOt6NMqrKkmdNkNNX0UuSwy1XO9NSyrSrFfOWjO6m3zAIfA9t6Db6xsBZQtXMczjubMBvljhOW1ZPJC6m2XVIJnJ/Sw+vMfK1qGl8rRKclEYXbxXXodtQj+41NTJqlflcCnXwtAzpFjjjfyAWhRKJ6KHMEejXqGHsoc/IZ0G2dEUqIBkoQtJn5eZECYF9vO6Q3FAq8ulsOZ8PWwB3vdvs8zC0oJnoSFzHBBBUJxV9eE2odiJyq+CVA9Izmxbtb/mf2yboNXa+1OWqluPhd2UUV7NoCDm/1APQ93znzM14XTy56aGNOp2dddBBxnbNAlf7SRHZbNYQ4DS5HhTl4MkRyreDoAjXnAVk/T5cuj70z6R8/m0cvf8XvWIl1CIvAGo404GTOLfOcvkH1/B5WmcHUJUpwRGqTD4GI4EGHaq+Zxdf77LcXxT9id3SPsBXMu41/afr+MCm9H9d+Iv0Fc6Nd1sTg1nLl2ufr3om78Oms6Q66H1V+Y74Zp7GFrgs4CaHup9Xz073GULvPB9eMrGjBcrbGYZUXF+JMoe5Gts9nYXmYwgzYhDR1UqMaoaNQWySRARofTYjSRyrCl4/2AKifGi7fyu58Dg8OipoDCWHhF863THfHbvidOuXqAm8facBA0lzbb1xrVEjY6U6Rj81z9Cw7JtUfB89TtotA0/i/7jh15QkD1A/KI3SR8gCPbCyb0wB/eLILStXhRNFcimICT5WQFVK8WfbbLIHsCo92pF3wGt5WuLgJtDlNqX+f1skwcscREO4O0H/YfuOs+spZMYS97RM/Kpkva8AC6SLuKyD/EuXozUYU2fVt30I66c2L1dAM2neAg+0yIsM69tcIWMCu37CrXKTPH3YPgrSNQJlv+kZBZ9utUz5rA+LUCDk/hbUecsa7IWaOyWZ2XJjUr1yXWMwlVwYIJqKCz4YAdT4xaT64Z6Mm9y9igX49gWSi1/p5kOgzNPa5PaPTm1nZfjRp8aEyM5GNoV21JdHEO3ZGGLerYlDwGcmsMB7NML8tzz+hAiv6kYmmNFoY2rn9tD9ORCHwr5FrMLgxpxfOTpeJxCgbIkw0pOrLQkPy5EPDsb4Lv5eZQ37Lt/xPhSzu+pbjPcm8B+WB5bv5IIyVCs8t1X7sty1kC/EaOLSCg0fpjaMzjwocrDGTja0ujm8yJCcQ8mgI/V34ueCHdrn8hDkxq5LtpYKNKyFkNwOLCtP2gxeshRxXGo6i/ax6Rgiad5ZtzBTleTqJsgDBro0NP4K/NNxdK6LqujLVTV3nj7n1AZJhMOrpuFyS0y8drvjoBcQDA1mcv4nJLEnHnSyca095lbbHr+c6Rxp3tpJu5m8FIorObo2x1l0xL0HnjQfKTDRCbkGShbuH67c24mPZqi94H2hwNphriPDMDXWH51gseND+/B/kwfV6triiHKHQ/bmEucnsDJzb62TUIFZEX4BMr8v95Jh6pv2xWqY3TsEWMcxtVArRiN0SjrUpJTckUj+qAiLuzeUpDdaDw+s3vqhuVPCzQCBbxv5tRv9krzgev/XfX5aKz5iQSiUdMbldjIbsHGeqz7Bg4vy85ACsa9Ig128VxqNVKbf8KyOFfxz6Znq3naZVH0j/FSC5zig7l8NpPD3DmKolzH5zHN5UHzKFrpABnKep5rX5UKbB+VePINgVyAoBD9wdR3GxkGGZztlxjU+2WD4GPqXACEopL3wKKNaPewkD1e6EwJ975ie95GqiLBkYKsSEOpgP8tYXZwVneZdR7rTgZpSAJUdqbwf61PmWPIqGGWupeKPJeDH2765VUHJPF/jmBr+M9OeSG2doDvNi2oGAHsd+dmQeYafK/lp8f3k55tkxdhSLhyvz7UJD8AdfNuvLACg1GUJfJUaWk24pSz7QLBj8QzHMnLrDjemFicgUwMC0iCtmpSlLhzBxsFnFhvM2z1GDiTPnVUbn6hSWl1pF6g1DMd+9qYnoYnCPN+ijNerNwkAxaJzqpltd3yUIEcqnQdB40Dd00qjEkiHArfUCyuCJeg0FiUEc86/hv2qrCCY+fBfUo3WtIrBsKC+1/++DM3MlIwFeJQYNK4w+u/OqGg7Dujx2r+LZoKHNQaWYPHF/nI3dRwZWk3WeG7b4ALrkPWFZZB/80AecsFZEaOAM9zbFblK+W6P14Fpa1p1xhav2TTwsbmtO8OZti3XbhxBvLebxaaCj0Ya/6otQEhgIV69PxWqFbkRyAwvetRkGV5GeVjiS1q7RuB3otfR2Rs96Zc77s4Uypk/M4PHYsa2xmezoFCDQvpK3QP5o8lUviRD+ayhOM9mihlhjw9oTX6wD9wdT1v3u+PTJVjpdJGgt45taAb/62QhXxhBdaIm9vkmBANWLCaUdVLZjFuLC6iw5zVwg/yZZSykzLtjmMhlEc3jaGxK3ZkiEE1W1VUR0Bm9Dvsrs9KGR3a+hjDPBENYJOqWCu1F+SVvVA9u9MUzD0pVPjxHcC9bhnBFeeu+l8D0umbdeSo1iZc/SVvrKYW7pA3Q4CyiJF86Jx2RDZJgVMh8oTFHecKcuQYrntq2Par3TmwWB3eSeuXOt623J5tBYYu8yTsb5xXFfkZWkFmCKZm26fVh1GH1EFPVzvoiAyBw75KpbJXLt9sy5+uay0ho9TFFBMwWaLdUj22KVS5MYZeAaoPyxUMAnbfqJ7A3CvXO8/lyv3Ygtnv1E41O+QsJYVCHAy9do8gHk944cEWxYDqHpcNEUdft5oBlBz8VQbiUmBXdQ4xRrQjUTDkpR4komda5+lKyWUOWDdixU+4lUlDlxZUidCIbVS/X/Bql5VDIDNeatCZhF7kICz0CC7K5gDuQs7XAc8wZOekaszCMm7/9HJ6MBPBBfr810E9IrF3TRGQ/uqrLy2NwIUz6q+FulJortbhU6YzDPCXulU3qZZ0bYwWezLXeDyJuXpGgi994EvTH2FhQiWchtVoScYzjfl1cZa83DuXc2Xh1xJX1hP8kwuWNdvrBGcGesjvP2+2SmIMT90VnAFQMRmfP4gI1iAbn82idwwgfGN8VsiZU4ZSt+Macv2nZ4K+eAqDFos2+Hec7OYCyZKUdjKnvgchs3y/hE0/Td+H8lP3LsLosoY6d/XUGB1my9spLkaCi5Ia2+VZRg2ABSH9KvArxIUIHAOUexo8OvnqPIHbl2Lj1NFPCoei3f+9orxsu+hCilKXUP/3334e/JyqJGXtQXcdFM7YQq8Om0nK/N9iV4UlenUN1oAM/N3YO5jFKXgk3w2TAZUlTc2NpsDv088vyGGXHiT7ofV12geo4WFvcKrrQM/R89+lDlHFahu4Vk750t0ncMlRxS8djo6EhQ0N1Wv3gTh8Q2mkNB5ubcsXvxL4X5qmL1nXq8FxdUmFL16UfF7jnA7rMhG1bFnBibcQqdDXo4pl0aKTHDcSM441m5R+mynP7vmpmkHELlWXc5i7biwsuhoGrb78iGvi3tfVVyh/AaxvJKOxmAvGPPLI/AABE+96m9VgRwXMUME2LhGTY0mL6RuvGWeSdZpwhoasL90IyJc2AFLL/ZMKQbzGnz9D/65EsC8knOGEoKqO5+jH2H7hQsPddjFILGqeRcXvSVH4k6bCldoBTnUcnyk53ml8Ln1So+ZXcIG7IgTl9R2z2O8Bbr4VfDslR0BKnRHj3UwDw6mAZBzHRxNO4zfP9ehpD5gBjfOOyZPQCgmvUoQorGIKsczRWy3QI2nPbQ2zt++NkHolDifDuKE/sPgQfvN2jhx7F37vjSo/6E0/HEGrY3c0jplrpBeIc7y+uLsX7mMnh2LjQtcgSKiJywpcyUOHurAB3KkwG5+6PIghv//wpQ1yuM+TlCHyNJatlXGYa5vf3bjVGMHpZz8LKJv19Ke0R9LtUvJc9bp5cpVBvdLMsWKaevi7K90iADj1B5wiPKtltkTF3LCgEncVjf/tsMueziBJFFI8avte+Q7/ALnC7nyKfcJ5mKLxD0HDjpldpK6zrK78h8EMxOrNQTBbu8FLJe9KvcCwfY3YFRWVELdwEjnmx6s5MijdJLRIDzAnEShCguXNRUJmZ8/RgEFNLaXBrGoQ3JTtE/q5HbqGTJp4MCCD4llP/i4HvS1a6e9FxVXhq/xBN5gGtciPXttQ8GA4RJwIyMmxQ7WMWG9ITXeQPndHH9UX2q8ol0q6j9IAdjZg0/1TaGllMwTI5nG2NLzLI5k2JNoWptd9AMPnaB/bs/0gbgOHxckH/EsKitgey9kVZPDaEa4qZEJ9U0lJnOY9Bw4SLoOsO6Xn4UPOIDEjOXAUDegaUsjfrfb6Pq4DweQL2qyNtCOrwUazNLhUAJlsHLOaY14C6bsRoW5pMghEq9Rftjfxp4kD7Uuk0nrIRVcSsm7gtyT4nQlJm9cNdPtFmyOjtVIFUvuD6csuWtdewySE6L0PwJdZDx4hpMOCXU98ZUAFFhen5nvU4ngIuSZOxfQXGkwvWBV8FpzS+S9Ycr3aZSGwMyPNv+rMfuw7GZltF5yXQHGoH00f7fRU2DHV6ObDjhMwYEsjObDX0kpziP17wYVHAjPYO75AiucwmhiG5RPGNoVxeWTR+X6nlXUPiYHG4mQrcFCaZzIANanfm2K/oeJrcIlmmTDZNMEx55sRJr/4j8SbemH4lqzcOqz8JmSg6b5LfPI95BoSx2qJ0Te+GPadAiBxGSiaNvk8ouKTJaFqg418n5KS3qPYDSE8A1KK+pwHdNwY0BIFHfZQAXxR65eBNWPUqwwLko8PX01zKR2EWxklnNqE8+Nd4I/6AJuuAHDa0bTSTQlWyhcFbF0HP3NapLReQHR697zLVHTO2T9oOSKQLFcBhrZAH1D6fo61zoitt9SZthnb26/suqYByuSXPkzKl/TXPxoRp+4xzp2W3ykwpPWOjQKM1z0vTRLY22TCdGMnJkO/xqATmbmmQoT2p5vTZGFuvwH/opIdVDrWfkxg1TqjozaGjsj/QsrnctUOZKFIsejJGl77h2X52Cy/UhKx7tp2F92Y5nlMXY8WPx+3Y4a6ykUUCgTSwt1my9cx8XugycAH6zjmcrqFnPwUL03WWhp3VMOTXxtB9eEfc+FaMrGUXs4R1UaVmv/Mq95Z/gO4f0KxlgCy17K6wsBMi2y0AnYwAWKe9HOi79T8LNdqInSFfopblymMDaxpzHIa0Q9uNtdCntyxuK9LXAxPaTnga/iA4LSsexZr0y6L1dLzekMGT7JLPQONFEa2kWKDn1LzLFEWzdc8sXxZSdMDiSQXtXcWiZ+suIRaIAc3XMoMlBXJA7mGdATNAsSbaOIJUfdEkfVyGX+InLVL0pzNwhSkEk5eqGbrhcF7CdeMdYTcvkdzEQ3Y6jDgQvV6gganSkU9EqQoBa4t/jb9Lob4cAfgoXn5S7qGyqwrP3JCDVm4AirPFlVQt8ML5TGoszsNzkj8tfalEdSDbQutPRaqaFjaeHnNP6/cxJzp5aLK4LLHvvSjLvWUECruri8dvzNdeE+ZjvzvMB8llBHRMeSt3qHPi2fdk5n0I4flPpnpDmW8r1Pb8vuYg8Z27134eA5faN4RbnfZhSpQfaXkhObr0IVyR2wJK8auv8TPqxGKZ9ZhC1wFrAprAHVJQJLGo0R+yfcDbn6YzHx8LsGYRD7sTfl5VfutFXaen+xt/8u1HwV0ZlvOzErvyy6XyzFFb/6mZHfDtTv4tDa5ffC3FjvyaqzNF+uKH9Q59VAyMegZoVUWn14fwY9I1aZiL2/xbg45/RfNB3MJphPso8hjZX6p1ycOKNnhVM7KFqIJkICDPTjLcy95gcyvffy+TIXKegewe/zjMx81CtaOgWeE45o6jpK7hla4dajA/IlNu9GXMBuQk4bxv6ssKLSz7iIcR+0UJLNKlmUb4rWEPNjrB0HupX5hPmDtCXayxGrKUY3aNrvz0v8n1bXf6dXOaWMpLjc9fj6EDPkRR1Ek0cPyLBv+prerFzcoz9T/cUVYel9xyovpgvIjB0kGaGmNdIaDKsCEbsZE4fSaXFVPM/u6HkIydjXa8rFZEMAkN+fTdAXZbQsDjeyuYUdNG+d/4q8Upy/fOUY91h3ONkZieJjGS/CmJQGPE0l0dEY9zAYb+kek2fErge9qiwa0mWvOtQpVnJFiastXkA39H8wia9vvWvXGpSAgCIvyLOb2Rgs2vNwMNfGy1tH2yFU4qH6twSu3PyCiaaDAtpL2anW6Fd9giucBmhAPNVOwJKIQNkcTYkCnz9saNqVGP42/MYh5tVgXbdUjUZuXyXF/ospH0pbE+W7g48mk+rHFLDZxX3fJmI0ZqcgA5UcBLzSfBbVdRqhNHyQnwR/r06tUM2mVHwp9sKUuIMsBAIHFU6Gi58sV32GjHzb6PUF/08aH5MfmTfbFh+DBMSwwgXBrj+wJ7AgIV6pLgB1eAEN/D/fRvdcLlb/t8O6KLJ23YP9AWLuuzw47gTeAt2zMRqu2UDoL1HFfPkK86eNd2OFeImpmEOdnJaKsR1a4X6K/n2gppDH83cvB1k8YC/AJKchEjWpDF2Lw13k/HXaSbrE1YXcNr0tQtLHXOm+3SzPlHFzgOUUDR28cfkJGZcXuYe4XMke1Ag0Xr9xrYQ8nc2Vdwxm4QOkiWOL0w5nYUmUlhLp1V0nqvg+YV2G+7pIlTuKGep4DJfcc4xUUIwUofqPRQ+BQYkA2fmB3n6ez206LauKjwTSRgMwiHhoT+1pyjHQDjwkE35HNVAzfUknX7ELtWROcxiJ1sr3uCtACj5Oou7eVpAkO7XAaF03d+MUTgbyH2YlH2IoJUv5KPGOj8iNVeD/yl1NOkkLdW9115QfjRp0yhyHLb03ULPmDxZMRTCjEMWjdy4Zc7fuuz/MO/bwJClTjIo/UQNwijua9NxonKv/AqaTgslEhwU3fV1Igz2JnNrWzHoWYnV9/yTOLAFXyvi92jT882VTYmogpK5r37lD49RloxDy+qb2yBY+ZLh7MpK96F1olbMw/IYAB/Yeir2i7EoZGre96NMouuqOoKykVqT3B97GeN/wp9Q1YobSMswtVTWUcHQIzZD9jB+VWcy35AXmTy6AvXIh1XcgSCgsEoFLh+0I86afqO+nk9I6sWqMAIydDtrXSR+TXIEgwkOx0cQIoMKj2ZLfEYLrnIJS/kEuXQJOSEtzDmWdv8RkDIphizkzLnx+KJ4RHpSkQZi+cpfBgDzjQA28SpQReaHDTX5ZvzV35qPAPzvjgH0H+bXjZFH/5Sj1rvIdkYEQVB1TZJOgVSbH7XMFqoK7EFZ/db67qD91N/RTEoxP1oIw+yd58ijIZwhJe0zgCWbXRr81JxMZsdubZiWU87EsZ8Ko4z5kb3zwIplRk+We2+v0pTWD/SSd+Iq4sy+N5lV1gMVxAO+GKINnFBDmXmuOKO7q2CGjeXiBLvT+qXwfGdmYHv+33c7mTzTKbEsohs6i4jRvOgwDTfHLiRFUhv3esdyDi302KAQ6e8EizxjdCTFseQTapT1h5RVZD9qAtufNnAZka9bNPSlQ/97Um1KDN8B0+sP2KfZ2v8BfpIOdiLpmH9sXRXzXGIZCz+tFtXuPfHWMMtNKV7qyhDNUngHiJ6McxNdYcGxwKPhNbWzfsD/SsVwFkl1d83F21OH+nAWy6OgIOCHaVbsuoJ+NEslxUaNMpBSUVdxNHCPzqbUK55Npeos+Q8Q5fSfKlqxs6q5mnBLJSPL2tygjQ6GbosZ+1Ljv9R4QNk6KE/nm7FAMiowQ7RzZ6RBt0Z/CRblJZwMdVJp9lA+Z3dG4gNCsYC43rxWjMrCwki2cQhXInDyJx58dBqzwjfVGINBRgByUPfeg8nS6HL3+7LEAPyPFDCOknhNPdwOXAOCqY0WoX9x7ySDhxcl/xryt2O13pgctiC4CvY/JQ7kaGL5ieTQUAzyT19NPjTiPbOlB5AEpRcTaSaZK+1uu1X9uQGTJmdqVEJRHEw1bEMgv5hudaa2OArPfUU6PkbYytlekzu4xYJQh+D1f9mjscFCQSAfVzrGhqSVEBjnqlda0HFCksoGGI7fvQCuGrQVeFlL6lumPTe5cyKTCbD7zVQCxnMCgQVJx9hh/gaS2g8y2q2a951lvEO+lslSFvLR3jlGZ3IrbkLEcwsGh6Y66qwxoKFs32TUpYRJd9RvYSprnMNpo3ZBbhQ7JhISzzGZuBjB1bIx9bE/beR2OWV9eDJPv+u6t6HWUJ2zWV3OlIIMW6bYsDmejcNk6iFIpnvyWObCFKXe2YZFw7PXSIcqjYxTZ6zSXU9Qmp0vDN2QKKOGFNM1nVd9SqOZ5QKO8Da5atw76RR1wfQl1tp53xiR6qNRtIoolD6tOlgWe4JRkCDcN7THaKTDGRzAEPdumfxPihLlE+zB2K2qx9mWBRo1/Zi/P7oFlVSmWLmwMX6xOIRmD8PneZNs4e+IVzuiL2Ug9WQlI5t4oF0RmBZimoUQYc2QMk4WwnypJZyYyKvFZG3tK+YMEscA71CrLT3pmw5zDFlXrtBLtnfGL6LQQpkoFB8lQ/pVED4bg5YzSIr3yzR0GwBxBA+804XFgU/jLRlFqNeN3BgQ/VkB6sqTGCF987MjHaNmPzTbSJwtmESjsPVy7KSH1XEdtZJilrHyr1u16jaiIlASbUhDazdHor9YkM8zp2x/GKJqtJ8Nn8gnPb9wwSRoIlmvX85ZeE4K7PzjQraiJmpoUvjDgJSiSfS4k50iICoqbgSRvZf/7M8+sDGpUtlhK6APQe/GrdBp/IxqqiWISavUE/DNgFTIzrrnksnt0Nq6PBHkgvrEwy2vBSflu1s6h5bd6pKrdHDmmOQB/pj1KsS9zAiBcTNKg3Mc4omcZITBUzFK9F/7wOcNie6bB80Nshce0urJ54CQ54tKMwFw/cSs77P4jpUSZg6tW1A/boA3bF8PbwVzZPTVtDjQ/7fQR/+0/cYjyQPoa8nVrLn8XtKe7DejE1ZwnJlH+Ni6ndatdfSN4kXogO3kZ0/nCubrtJXiPu4DLYDtZ/CL28diemzA4Zd8MnMdEy4zsr3l/dqjwdoujwPXHRmROTXvLANkNf7MEe6y8NdZecOFMhzGGXgTojknF9JUp6Yj/UB2LNG3NFkXt8NZ03pTD89ff5C4Q8QI1Wfvw5cY09N0avelX3pylCdcHcWb4uHOy3MyCCOkaY+/kgDZl/QH+4Ae9BDzC6+MsJi4OsCLCEFhUPS3/DMCJCJT/kb0zD1Ugw9g8uBxRAJ74yyVQLVcYLP8huz1O7tCBii06bCMzLsgBPE6CrDOHkN0Ouy4iT6Gvd/7iFRY6PeyQHX2EbGM8/s7YaqD6yZBQ89lE9F4PLk/5+p3PoML1Ny7bbRc/4fmqeg7wVPubISGz41vhfNBx9Du9MSTIUhvwKmUYBZ4XGKgPUJbHbXE2Xg1zWNxm/2OCzOnLyVkFkQQ+e8P6p/oCQgt+G6h3dKwYqgkUG9XsSLXVwZFAY5Uw88q4HLiyirKSFGoorTU3Sfd/k+ZEL1fEm0QsZ1hFtyVyv1VbPTjb7PggxB1b5iIVpTQ9ty6xGTwh2tH1YgP5EY174MYGt58tL5DpGM8WdnofNlY9rDBnH5Dpnx2rsnqJJMsVPwlmmRfQf1WZaHNp0l86fGSxJmPE6iM3YH1gJG21hl8dfvjXhvJtbffh88iEPPWqaB8MlSxjZTjIL23ZHGH5Yb8tenuLjSQHMOf4r7uAtc6XypCgwmgU92/2R5iAoBA7Fm11oS6aUygBIvZ7f4WGWnihx9AXJ5sYUMWUWb4VCM8Raz6/J5CVVcBlrEyQAMSc/zdkya66WD3UA7h4eWsAzpFxrVJd81a6iG/lZhva6HOCYE0s/vDSdlMhfEF2ZUsA/5XYA9DOqOz32b/ClM1VKv6Bt7Z00qUpGOWELPVTY4kqHmmcRYfS8fQQxk0SQ4g+ftsybeM3sFDHHfSxKQnnq0MxHL3Djmtv4nsMnXFc/qEqUJNA0JwHiHxV87evhGMKrkSzoHXhyeQVGixkwVulkGkrm66kfZm2HxOBYucmrIceiwsF42deiczByZM/Iw0zxJct0EWEYJ0lBJVgIicYAdi8xzua56qoItSHm5q5UNKIhWJx9L2x4LDZRFw0bt1C+eeg6jiu3mt7Ab+8CX5J5DM/BOTOvEvk3k8RPdjfxF4qseCWJKbAajLQ1NdoLPhx/RY/72/lyYaDYgoHJptNG1j9uXoD9+kKzRGTk0CGKaJ+qmp4VwqQf0/GJdHoGUFqKyqqLI/pWSM8kVThvaV5l3+dgBbwJRwHQdk97MJUuqmkPR/TAUAYaXna1mSEQxRK5rUJEOHQyxHGf5yf8AveLS2tjSp3kN/amSiYrqGSZ0cnMo2NP/trjmFRBRmHR2QKP+lPzWU0Dk4FBVTetPQ7ElG7Kb0j1W2v0G8irkFw4qZwBQY2xOesnvW97KIUZWVRXGG0oT5765y85120GMfwioTKRQ+FOveKCUwedoj7ThzsKzvJAUyLqQSpGLN/ikqKdHxO++dEZ5sxtxRUjN2Zf+FL3TBQsji2juz8d1PodIzhK4R7z41U44fFWh5eAoGpjyrXYcXQPMSahkm5PuCL7mEmNAoq5KGo0z4j5wtVs3z/0rwvizmSnyka/tpAhDO6fr/MDdGvuT2bd1EcqcU3m49XJkt8Q7HOccORO5G30r8t+gDZyk1SJUCCyUYlhUDLxmQffjylZ1gQIlH9xF3ZHpp1cJKT1C+Yujvij5KG77G5PPOYuidfyEnqzSAWqL2QJW/m2/NUZLEMBgQjI3XvV6mIGPrS92jOI3Vs4trHqszBViAgpun7fgEeJMibfnpvd5giDRK2m/LPjoRjhPfLRl16GAkHiEZeS6vqhREMRRr/V5XuFpse4uiUz3r9MqINj4gpQCOQLQ313B2QdLa1Gx+xQLOjs+TwK0fM/6s5xy+2ylc6UNvMmNw5FgFwJTrVxhQ+VLv+8RNvUhZ+7LuXFIopiJJcdjcnDyaV3aqwdQIM+7pq9bxwGYEvljltg8l7lrTiDc4C9jmyQrW1o3YNPWGD4vFV5CCqQs0mkwJI3DSNZEm3yfLLTTY262UFF4OolfAXBPIFhKQe4+MWedmWbQrJc1sU8Pt99Be1QV5neRNsDGQZJQhgOCGECjmWIAxs9XqJHUgYFkvvVrplUiAOqNG346jcv4UWlsdVf93RK5jD8LDMxDhR39pDHFN+bGD926YXFYAyiMkpqEXjzIMFzs4DlyMOOOWxqrP2f3M3OswIfp4DoAG65LTzYytfvubc4aczjmbmtu3shpZjIiJipj4g7ETkmTpO/jApXqFdw1Mc166Vrm3qvKLvJx8VecSVu8+SSDTRgVcOG3ZB+wkoLQTVB3QyE9R0fmE1P0ywQTIZdnUp3whRz5/whZVXaQXPqz+l5OcwUlL8FwtP17KCMh9cmG6B9qg4Y4UVNnPi8VNE4WLnjep3NLNR7G4cqqHiMwo5cn6+NoS3S4ylQRPT5bXkfmRgWeS5qx7ApuwjHYIhvS52PAzP55bsTpXB/4ST2wvIISP0xukZVZcSMSvDbBIGYS4E6jmbmDRJI3u8/bc6fbeObJ3tCJj0RYkUMMhCq1y/O+V2xJJjFODwtdJ1NN+2Ut9oGjSkm6eRLg5J0GUqT4co89qQKjmCGwk1x23OgChy64kHoKWzu+ZdNBV6SfHtfOyNI9oCHEdOY5zKUK51kdIZmWx2sR3K7/XgcNBlC6x1ZwAizDQMHY5bR3p705C9Wjt+xPoXhGi7MlDx7mmVWtDYqt8F+nMjhMLmo1WPt+Y1xQPrHEPLBerwb/z/mKxbbmu7+mM1Grma1Tphw9zWB2xFnv0J/JJSEsslkEoU0DMPmpDvvP1w40vzY6Xa4XwtzA/CNOSJmqc+F1CyX8fFLXzQfuwenzWb4+7+vbZURVxgSQ86vAMJiHJ2eHDGuzimKSY/uqDvwq2roaCUgJpsuDHAi7j5TJEf8FE/UyAlRiKxwHqrrhpRNptWkqk2MgvPaFsfKOGOeaJVrzfJPHnua6ChtBE7luOzz5yke2xUQGh4yvP6/uS5TI6KCz4cdq7fiDczt9nIYYmnl4DhiNuK9G6vAtQ1xPbyNFHUDzHI7QEYf5hGMbjHsiFKw7Avsf9BD8do8S6V1TcIeZ5D2hbzeCumBwWi2Pp7XF6ZnYjpsSZ9/bbblzcfPASMGHMlz1wGvYViXXcFAyLCSUXICDuCTN7HFJSnLA05Jtb3FT+K/9hsrmcGvZseTUrxDCtcFDhTFDFtoGGP1UMFzIaUbIUDdVeqTl6ceHT9VOeWSRCNzArbOEYOrkTN/13RzJFTAUX7iP/hRQlfZzobTdm+VJP7UYLC08/VFRiW8tBbTGltl4SqWeYjdVC2K3mynb8xl2CpQwGvBdsrx4cZpRY2Psn1bt8/vfr3L9IVg9jn42VC9HFtpZ6/kkJATNjEzVaUzL9fPQvLryeR/DVisXN31/MJSOKKcbEjdeo0OU3tv8XeA/ZkcWcqW27DGhfQBAuobzol4zrdihob/fCYd7QntJeEnIQXW+rUHf2KvV+9ZhShBZIKaMQo7GofYhVbyHI/KN9IsHNDB37di46AAEjVcINkHtvhQYpFBcJXo2UdqdVETpzk5MUz/nkNzh1mYPptAbzUkFuyzaZBpIRbJ9/UrJlJC+YOc4/fPMmsUh4VShBLSR9Gv9qurQ2dN9sM07d9F2n3AbTF8RRqUQbj37s9teDYgk39foJp/ugDbRMU3e1MDzNovnpRaEssFjChzww1pkifkDxbb4KfPxwP1nE1GycsDuL0QW9E1STyaUQnkgEzSCsQe2+OT3f9FNZNL0ADoLgcS0RjbzZIX39tiP31frBRZKe3sGiSyHYIjKYIC2/yN37/begofx2NDcZ0i27Z/NMymFlZG5UOXAAExJoFLUEdEW+IUjFqJ4RgvHhFRcg3ibhH8JWaAB6aApEUiUV+2Bp7v1l8Rj952aozcqkDdMVlyhUjBfEY0bL+LD0Nehz5l7cw587sUDJcoPdgbpX628qmd8owQf9VUyBW3GBbx2qESapmms9Z7D4U9X6860zTnaf5lilQlDU2eRA50rqYeUNlbv8mixJhB+Pm7s2OaUgSZLDQHXfLdKJywbMKWW1xFRGl3mNjGn77fIBNakNvySUQFIThzzC32+Q/7kjisU9V3YEh4k9KYN/evryFu4uVup67e/xw+ytGlDSAxmg4Jj/NraOHjyJoEpQ3mqTST13gbOrTGudUM/0vgEdCSUoYmYwzSzaTJiMMFLk8uG3Ln5fhuJ29CBlYEHiXLRpPUl6iFBvGLFCSyTHV+GhHP6o0vFA3RJVMSyy6r0hOK0+8qEItYE4c6XDmFqFjV/14AAXLVRaJgNN3dxRKoz6+pMizVu2nKIs0sXbSxYLiZBjkWBfy1xWxXJQGuXrcN8YgEJFeERDx5zljxzGWbzWEWQujqJzAG/tTwOXfEi5NxdP10dmeF2/6KVbfD29d+QfeE84l/08guYLuDAH6TI/VkCAm81f1ADaRVjCV7LsOauVIE0GpOJj2y2h6SkleEY/2aNOm6O7iTgJQs2jqTdvq5q4od47KYwhdTA5gJvYxB+jOQLgUJrp3qOIIXRQTgigGw+q5cd5l7HeTDpXGlUPMtHiTzyQT9KId3sWkgZ2bst3Xp1NRr+/9ffo0cPFx9MyQkIk2QyWMQG6mL66Kicl46m8lr3GEFNzQi/g+VhDpKeqTz6M4N6Pc5Qjzmw4Y8w7mnFqLgFtEYpBJjB3NtlvzeUDujylTU1kqHO5hdIp/BhuC3vCXVcOWMIYzM3WYOLyAgogWaGYyCzfTFgvleO+LtPqmZL10s/8991x1iTeAMTFkUm3muO6T38MQnlVXe6NO+wgI865EPyI5XnTqH0WgIehkO3omxeSMMdFna9RKW1S/AcINUmA/02LGtRUdlPPAJNn3p7KKL+Kx4hm+WN07xf29z0SiZXDEgV9589IHQ+yeOyJs8iT/slnSFtT66vcFtEVPKCvf+/xb6XyclVbojsmd5uJPjOCZnq93wwFOA/hNGuPK9shLPkzqW+DCkLbClLU7fE1xk9pAeUdS23eR3ASgYZf60o39zK7UL22qCUr5dFSiGBV236U2+P9lJWAVDQGD16QPTeL8bLfQaL6tgYGZftBYuSHoiUKGGMJL446vwlVuvi0SGZTm/K73ER7ZY1truROXUIFWwN3c9damPE2EFPeX7lrTLG6LItlWhwcBpLC/aesR3AlzfFqioC3lNEBmU/40zECtZgymrpqAtmyl+xE/AkiZuULfWuA9exGbdVEvFwQUBiPFmCFG7ybvRkGsSoQG2Po+jTXBw8JzMmMn8hzLdkapOji7n/cQdKaXyUoHZouGHTMOFn7CyNpZhREFST/cq4AEKMO6eONnszfQd76RhNTmbjz2YeQ70MipvvJjEvjArj854lXQOoGPZCu6GAB+BUudZ0yL25arombyakggX8E30zxiEUxN8+AMqt2lZ4h1bWtglFqMq7PPi2QZ1M6Ym5IS2A1IK1z1k0OblGb6E/bBWQaef2hUQkqxup6DQQvsm7u3I6aawrrpCslJEMUXRP7IzRS9KP29e58kxrxOenTXjdgoQin5cXyRV5eyLGRcb2zZ12BMkCVx36ftE0L+nZHr0zOyMUNrA8Pn3VxZvgoJBDD7qkQcdywnpY3pknYAQmfuU89u5ch9s9z5QTowsU8xuL/Yd6fHR/ILmWN8bRorXiibnEpTxsVXF8U3e6cqsetZ3CRLz5uHjMTCNXevZ6cuVwETfBiRD07Tv/fgu8ih5ioiWyBuhSqocAt6GIIy7AXPYSNtZKP2lYhyhZU14aJCdBnJc+d+NZyppQYUDnWr8G/ZWdGv9qZHQHHu9sjel7bOWz9e43gyzPDR9sjfCqRFFxLq2NgFhLiaBf52DWPJTUuhJ5E0RPwA7KYkSD0kXSMk9mg1SOuvfof7mpGMCE+B8tktKPKlnzkqODohBtaCv04jEXlb0T8KhQQ70T0ToFRfC96PwgW1SMtAmjZOXUhJwtA6DDbrPokvyecF8FmNGmYC+olHX8IuU58rePTJsbCzKEL9xZ1ieBTQjqbmGuEY9RAzb23XMzwpBVFcu6AMoKrBBk/VWPOL/7ShrPUnk1meEgIsNNPyk/xV0fFFs3XRoC/zIXB1piOPBFWulGafMkjm0C+ur3sTfe6ZVDBSTwtPDYulqNsGiDxqx6BqfnEzT3dfTb/req8nu7lI9nP0kdnOyXAfCE4AEViifJ/r7m4WFuz+vadxiGDEKL5uxdtxJflusLNCD1YPiuY9HdvpNZ2PZ56cCQTXfeE1PoMd0un+ieIqSrC+9rmUf8VOr9JoXGebQgXM6UrvR8HGcQ9/rc2QU9NYkaJ1mT4KdpLN+ctEEIl+hHk2eUOZI4amwsDMEYaVkJx1/AERCjjpSQWwEnAnJOOLTw/1GGyw5vaGRKdi6grrcVtEgL1IPXljZuyWbg6X72u5eRQFUwtIP/2DqWkfiqAqyorWJK2ZYmxiqHySVobhNaa8Eg1VNZLpk0EEGE7SBODLf1c4AFC/YUQLUCdHPoyjJgmuOlinfC7kCz2IBzYkXSyE2QnXgsqrA7sZ4qBFvLb8eBl6rUaW8zcOz5eeDf/CYBA3huVH69WMF4RY2UhpjxRDuHw1JlDdGxc/N5gkD++e7QP7bmZoKR7F2E16TeinyDkfbKO/WDKKY5JWYuZM/I1OzuyvVdeBeajnYn25EZ+wA4uGfzWJU2/3nyyDSQJ9Re36QrziZFOBXSFn8HueFg1PvsexTLVffbKeQuFqFossdkmeR+n0hJ18l0XZbj/27Rhsrt9RparWeCZp6bPD6qxo7bPzg04D7eUwiqOjHG7FNq4xM5FPUslU0i6ALZfjltENf9nfji9A8YYx/L3kh7zC5TEmhplpDYmHd0qApY32bVS4owfxOq/F2cwmxGyNWCa3xJUL48pMr+0L4QBhhL9p74xpgMtFt3lOtnZM2HXzmdd4sCqeq1glGChXodbZ2jNoJPCHnGQoUmzvCR6gIUxtzi447gJOTJHvQR+3gLN4equ8tVrwY2kbK7FqQ7kzJK6DPlTD5OqenmAU7T65ug9a7c5LVEasT18yxyE87uZ+NFFd3YwN06FDOKp07qX8UxmsP1hpTirTVzFBholQLf/nfSPgjsO1FmlDINkavH+CcJTn/Nf9loQHI6tVTI0/Lw54xjDyjPhqAF/7Z10dhyV9uHSk7doU5JyxNE96mN+T5eQoVp2cOLMMjo2OiwaUAtfYHTRFfxphSNyXY2VGxBqmcNB5qWDklv8hb4j5+Zm9b0miM1bwHx0XNpiaGjPGEjFC+AkAAckia8SrMyzIXth+oEx4sD3+IwuNAe3NeHAUf0HdaygcmTLgFKYjljBOfbzCKTnwL/1ZlrLoTO0ppArxYAceeSVacjksls5SAilKUqCCk6XFxLWfpvZpSPV9K4ijiuocC87JmIlTJqIPvcgN0hX1yyw+ewQJLPV0QRivcDkUu03KIvH+ntLjqY+X3jQFVgdtZZe55REgBHJ83vfGLnMjrobapRmpavgQdT2LwuJdPcG6B+560zJFN5EouN7dsKr8xWvPyPP3dkPm20x/d6q9HKs8usETMNrZnr+TlPi1YyAN28hhyvkrs3+aMAfz1OfAj9hBX8hvuW02Y4yYwX8o30xPGRktIjsT3xtPzGhBlRQirCsvwlPVbqTeWBSVhnzZ+ArKj8pTJUgCuMHfHJIT4CIaplA+6Y+HQtiuTQcHqfa77+4jGebCycJD/MpKMpQ3UqKoqotgE73VwRl+Y2Im2YE6Jb8wfuaWgjx7fQJpKqzr3jULqXe+CSXL+q53lOr3JPPInKpk0RM16w1HO47X/f/KiabtepmKP3XjIMOe9RhfxVvY/+u7o4v5hi9xmnQbvK0MNRSa6e/AV8UWZ5CTLqBz1OKSPBPBGMzGk9+4kazIRbgr5vrJGBbsmSWWRzpBqxSfcHsZ7SECgCy+VeMksKFjcrOfE60JJth6IA4pfG2W+0SQ3VjwquNmiB1LkNncHuXg7CzTkqcP957uZVjyDGD/XBxIDXnWa6uHA46L/CMpRm6FJfJrD6T3lG886R+80xsnofw7Rp4f8Y+rsVCmTIdvup8e0aWqd0zMTwNhK505Z+5JmsXtW2dc3ZOFwyK0qfFoREWSm/2yqbNP2DTNmqxyb0Sr6D+oir4ma+cJKHKu1qJxR3RRueIZD2C4PwgTfs2vNEsT02gX+pcbAmMgU7chckncrJu0P0fYTrGCZszeybfOLCXb31HVSh/eR5k7g9G1GrHRhcoDFrPOn74TpqQBZ5vKHEIQOYps13+8Hdmoy4/dCl8GoGP0+zpLNK+KQ7G7UksRBpE2pC93GRAHdiA4yKScuM3f8OSONUeDfSIiUigSmWv0l9LZnaf8tCwlZ48DW4cXkRQ+rLsVocAK/LpIPRgTTKAm0Ywz5ub8Gt8YSwjURggoNW5aq1S7wathnsWfX55H7MNKsLd4nvylm/H+3Ror7vQ64kQHKwh9rFOiSdEXRvk7cF1YbV80n6z6jH4Kxd2QtWRNHmSgwlblUeywD8wHgEV+4uhzUswGDyOVIFyNHHDfbKbcz6ZfmJkaLIm19VIrNjn9yBwk7/hgaE3H0ZD3+XEEm4+13q3CWCvqzjnltWSlsttj167Fwv2z/l1oYWmN2o9YjuyWLJFuIYbNuzAsojE06XpfeM8mPOoHzmOyFaAo9bVBGFkPvLpl8zX/qdCbkH3llBBU7RbnL3yBjvXZR96rtByB2I2M0aEJ7z6jam4cFzmeVwSOToNLGR3KMdUTMFOdW6UROpmWJVeIlA7kq0TIMinsA8fePchS7mx2+Te3J20w/c18Wh6RrKRcP5RjRZtQBM8h2OMvJvLdQKOXf+oC5yF8oLrOBeblgkd0bn0FJMpG/X+Dn0SVqpDTAzttYn+kzNM8lwpPpApLAUfpS13Ax+e3LJ/2oEi8urHDwnN83Ws45/HwT6/7htlJclWDHYOWf+6F2i/IMzTUCG0sF8MS8oYZXOiZE7oJCcepB8PGs6pwOmBQbrMeuesibj7vtP/zyjkO3lFipYpav3OctO9m7vXNYHBTyf6jBMRGKIbkUr7mmoctZ0dS5cNgxdugwml+jgO6dgjaDwdPWPNwOlsRjoqWlwt5ZX3IZiCdqVF6uSPRRH5n9QnydN48ybwbz2/lXPG279Yqql6LgkDuaHz3rNHu+0xWWs/vrykDQ752COwBIiWH7KYUwlyO/177BZnEIOVLr6pt1hOfo6bCTl6UuP7YMN+wan4aA7hVzBRDCAeCGkIioaJGK+ZFYIWQ7c6l0AYkb7ydMNoFgEXTMv4NX9bp5sBIeYmDxWG3wM2XgwbTEs88aFlUtmX1ejTfGyMd53Z8FRTnC6sqpFuIiwcFLyh7cT2GJ+Jyso/LeobNpxYz13vdQTFNH2mIhb7LoLPqmovyhwbS0GBtmSJfx+MxbScMh3VAuVcgG2u7lprCOVJtUbZVj39wKbEvfMCoRh29qPPZIMCwdU1RZVT1IJIR2TRIZKdoKghBNHYTPpXwzSh6XaRNblHhrIMHrG0R5+RXY02rRTaV0OUdPE0joYuPbRfDiUINz8flnqNd2YDHi6vETyv6Np14WNO9ZUrRa6BWh1i/fukJ2uJbFyl9drbkOWcf2fZwe4k8p9vwpAkTI8g/GnNLF/SHiN5qmgMDk0a+l8SzenSRcVC6lcuzEROzEKPPytMr0j73UUG1gO6yc05Mo2EngYKsYEAt5FkV1zn+ykdnDRNUDlVz6y7CmFvynaBsSUC6Rxel4LjUdS/gveLcTXwmXe2hg30FnBuH8atFfGWPZt1uc0RdYmvVT+s7U9GIXJBVYhHSCn4JB6k9DH1CkGmvUkrHhkALpmOQaXKgr5IEZSfk00YQAyK4eggd4e1ZQbMzvERvopJqQlsUXRYdTAuyDnXJDf99/OuAnmMra8FNKsVqDUV1ij/W2oysFieIKm4KMGd8n5IAX43sQnMVacl7AEmSMBeTdpcQzfRFujs/GDrQtUajvV9ZCec7w4CxnlLxaizzFJFNZ5N8a59xaNGlYbMBizf9wSxpzRe1wgGi6exYoTiF2qoRq0WSOVqzjbroO4V1gEUaeGtRr+KFWQG9tY1AL/gJR4vNVFlLNil8QOd3K2ltqWYOWeFbm6fzkgZEfoaJRxUBFiWtIpqFEH0bWxD6vqGCbcaBwuz0JZglnrxx1yAQVoQtWdBJrgSGqgXKrMCuuaEjIYYlk6vtgTmg5FVzoew8kxmqcFiKP9DYRzaBC1ea6MpzjeL4gRMh8jls9Fv+31zwfCgROfn2jT69ejeoplsugoBLIR8x3ET1pHBbvr9NRD3Ye2A737ddc1BU64QwUiSP6J6i6LHaf+Z1yAJXB/QttvWfI3ZHl+ybPqjJGtWRAh/HyA/Om0mB7BqlruZI7Lny2THQFwEs11Taf75Q5BKBi4n3fPpubgK70wMjN+j1Sa9O63AETsE3NfJ1hkjdn+HBq5MO/T4oGXZSS4YlAkiPaTGSd/9rYFLl79LsV3eCLOjH4OZCbBKsIXwndOCo5M/CoY8jPNa3ZjjCCS3aCYH7fvYIjwUbZRgNxXLLzCCx5uUmymVXTld+RXOld0Hh8MuJF29Qp4Bz4/9U0ICbASARIZMxpJQGLFbX8aYoZMmFDGsWvzHCuCyXYP+prn9e4MvzLS1BtmvV8BtP2xizeMC0CkedjdXhT88TJsT6ZBO4rBedILwqTEIPHblHgZ66oyNeprypdQewbM7G6VOUtYkie3DcqHMbq8rq5bl5MWLb7Lm/avffVDSdpjWKN4IPEmWqvHnF9d4qsm9FSlH8qN44tCA69z2Q/TPlE3wujug7C2w83MMiEPZ/WoinliAi/fcFeYMChuTtwOankEX2nSDT0Qgs1tzHmKGG6CU4P6rK8FdQcCeJomy1v+z2NIJZta6i3AL5qlxx4fmX4NRgFa/2Lkrzs4X5R5gFDdp9a8N2hSQTDKH7F44Z0CYArU8qmrqQpJvfsejlSuEOA8lLBpHKlJqZPXiKSfndRjqv5iw4QjeB4StoWAXlMkYKobAF1AAh2X/nGNIEdnMEJW3MkRgutDYsvRi8V7g8EYEYPl5EcUVnicw49k9voNOIth2dHZBt3WFIPkpvj7c0oQMS8rfr4OE1CDqsmVaDoKxNNKPmGFe3G5ahyDoD9b/TCO4QDPxhG8Wfh0gbb/FslBfeT7i4GcyP98bnvyIKr3pNVT51CT9+VsVm9SOGNS6ENWaQTeMvGP39IuKb45h3h8ZZBbH3UI2Oym5dzMnV7Q7w4J0bN6/Jy1B1Xt10maPLqvM1lEFXb122zPuwHakNAHBmMVtlb2+dSpGbPBwPI1zz+OP3QY6Gr6JgTgCWfD3cMB/nBu5LLha8kUUfQRkoZSjcy6WQxm8LiQKB5MEIGU477lFWeRXkUZt64QOQG/RC4xKf0kbbu5X/1D62Q+SWUayTIfiJ/c5y6i0IDkKhYhiE2+4zJ+L7l7d5/bg80sM74UKlM8RRjWh9e6oEdaWx81INuQx4dAblR+lC3alm2vxE83CzuO6N1uDn+0DgoK9NbVXOPHynxHJW5a3hZFIvHwzl7L+j5WWWgYvL16GNKAlaQyohk4ySWfUtZDgq9cfVydFSqayp7r7llw0w6m4xQ1o2tnIRy/g53qW5yMvVJczZRyTky98IcKelR36NkonyPX42ejOf++uCE+KUOxseP0oUcIrUa3qwFdhtPpZFNO6dfkpVDt0dWezRmVphmpD0JOmJviAbbmsk4W2hFBV5C/RWGoLl9cDCYARmHL7As8U/3BUUNzNjzJqXF+afwIbx5U7F8218GcwKRaQK1fhBmqfUHObNcMtQDKvA496aehdL2NCPYtjH6h7Giwl7NMb/41on5FPlb6wobftX1CCm43EDn2P6/wFNtYj37OwMwoKsc94sEnwtLk5AzQmiWdnEhcasYgLi/QAoxcQoZ1xHgt+4rJdA3XFUPRwrTiIlxqoWEpi9wvNCjt8oTZP1bVWq9d4D9Sc/+2yxo+R0l76IpUvR8LiRDMIbo7KLpmzaQe6FqVcGQUDBQlMoFu2/FaaVv19TgJqf2SvUpZPAtWpb8DmxlmPUoObTFaeu5A1B7Y53KHMhsfKAzv4cTWtQDrDW3G0jwbKcH5xjriz22i+hu16+PP4/BE/385qE1QdvhPmjPnb19JDWXqDFCoFErN72uV8Gzj+wZOsveH75wnLvgsyueqjNIk7FqduosJ0hYixQsqjS3GbgVs/A1enTOv+sRUQH23MFHPb9KigbktNEJsrykgwGftOILQamJmpSzSKxkTaqAvinK3N+2F3W2cP+VQkTFsnr7EttiJ9D/nAqhweBBln7RVLv0N3Rc0TafrTXhQy2vT6PWj9VYECBZiPxc/0blPiy1dzPiwGv3yrUo9B4KAlVea3drea8SKqXrv4T+wCeE/O+Q6dTro3iXbI4j84b1qgPFsmc4G5iObRZg8pUr3hwvVJ9NNHytyUXfv4tad97QUSFaiXmY96vIAl3pE3I3mCU69gs6lIoEhpvz+ZjdLAlndOkMoCT+UbaD5o4+RkoY1A7HWsHK1CHqfpH44OVO9kvsl/HPPUFnabR53D01TV/mju8sUCIpbZmbHL+bnbL1k6oIYbBXAC9Ny8Y/Y9fXoMevcD9ObzIv3GjWggORLIQqDK4aMbOthdTw3RremT5i/ORl4YGIJ/KmwyHbD3BT6qkJUkMLgbqzZMck/v28yml+nEISlTKakAkHTwN4XYkk+pSq1PKGs36U3WWEDWpDb8M0utufW2RIH0pK6+pawtfkJhQNpvw4mrzHW7BFfoYP1MXxRiM6Ylf4ScFKNhHBjSS7YEOvBiKVI6b4PKTwcYMRsKO1rHFrGGqVajPFcBkOa7Z3pa713rY4yIdj8OBW+nSqdwUU0504HG9K6ftbX5BH9bNGp+oaaiSDdmDKCExgaDZfET77Do9zrnTXlzClK6rsNkcH9mELHw0xz9zQbYzX7fYv5CX0qiPJdIfVueI8lAjItYgyLeyxxg6bhUJKE1pTFltw+FJsBy3yPMsLG80H3yh9IO17svF0EnhUqxG6QTAjt+YByPDeo4sN899vk+jtfDBxcV6IXMSqxaAs4kOiLYNuqw16tVsl5ocKTLL/t1R9wWavLuMRhyeaqFX3HVPzlpc8+RhaUyC4+M3vYGZ8gAeT37hk7DK7F/oWKYxG8X0Nv9hLT23T2wQp7dIZe+z2Mxbt/r24btJoh7TrFjMdQK1AK55NlJCjbk/2HjgtHuUmxVXjpueZyXyXJ/IsPkzI4PIhh08GD31luQXSm0jQOw8+osXZK0jqkwI/eaXu1VFH/9ke5eXL6tQS5c2RyPV5yukDe6fRGfst/nmGOIBQMBBzqhROyeDPYH9uKvolcMpN6LWG3hvTf7SMQ+Cum9nWAQ8D1wBBTQN8lUlc9yVr3nR6kJ/oVWeZnlbYVr3mFf2SrwE69mdOVN/5gBvyjtw/lTXnHG6uQGEaM83zuqrjZqz8EXcxrXdGEDNz6W7FkbKjcWG5rd+5FWorM2mSHtwbYkATzuIwqcv47ZbNxTICwh6N3Fgv4nFhEdHJYGBMpqAWTSaQBek/97VaMMMDOVRw/Tj9/yAwgcvFNgcEzH0M784vqPFiBwS2DkqMA8/oFVknM6EXbBoxMZVrYcRU20avlViJE7e8MU8cDDuABzxiBQdj1qFPyhqsKeBVZqO1i1bFkNYzZ/rqn9t/PI+K3/j7CpFBaXArl69uNfJJMN9c2zikrY6JcSBZKFQt0MacRRXQ7ikBwxmS3tLwTf2dGklUvXWUiLhTATRbQZxgtEv8+DvPn0rbcJeTut4XJTm0kva1dXwc1zyz4SgA3WI8ayPZbYaX+M+7xLcLNNg3ui4B1DiOkSqUBkBqcrroeIAClHskA08FqqRW2WzW23/GWj9Sn6RW1xQWppKyA3EsmbbeawMuylK3e0KBzi35x0WtOexUNEBBLwGBpvP4WG1UcHTZttMvS/91m5m+S1i2Z5cbNR7XarQz0mhNGXRPyHnA6TaAgF+yHdzpuEmWzd50bHKJGqTqC6zmKXmMtTm6QQUCacNXDzoAPUVtJ26aSdihZBRfmF7vtf0xLw/gxVn+PAcUUdJqTMOXyrWRYSvQoO1IreMKDXQhcW4nOo5JCR2b5gucu9RGdhEoWcwd3DiHWzeahPRhQtqvGcLq+GgYoJzI3KoLPm47pS+RXCsmM4dfezW6tnyeCvPtEewEwCy8+qGUz7HojriJcuWGAFjMqftS5ny3Lyof9sEM1OpTQVHe6JjBjUZoKodvJYlnhWKT0JvCFvvOGsOqitAz7iaDAbBfcj2nYemhDS06a0Ayn6+k22/YKHypS9JB03Br5Fx7nVbqkvHEahBLJPAW3QuLFCSVtNonnKd2U46YosB1//bllMaks/K5MiQa3IcEiHmubTVZl2oA/JNboV5K0z5AHjr2pdeKAOhG2ddNllg0EvMUREtP1bgfJtj7U+JV/PgBCE4GoUjL4/LYzsw3Mrksv6lJ1w4UgtdYvl5b+TYvbaVhsXIwtlSDJkB9aywKQ2tALiaHTLw983hkVXIhNQLz3XhZ0hMLM0UtpO3ccdsSHAU7Z6gDljYCdoN1A02Zm2aML81+IxftueIW7R3KtV+UURROWFGWKLin0RI7Jj0DXNdl9EOJEuX2XLNQNjxSkUbVRvVo+GhXsGv1j8xo2oKOnWJPIkuVPuQEKpmlORAsmJqL5oxTdgXp8yC2hOQ/6NzafcBg7rTldAAPpt3V8V1J1UAQuehg367OBIsu3YIZ02ZndwUc6davFSL3DCk8EL2uwXVvRg9GPUctjCC5Pax2XqMKcdyVXTDOzrr93nJS+54DNjinaPRrTAtVA6O3DosNm/hrsx97PzsZyBJYlfRVCkkfKPWaJEwjN+pQ6SNrOTTzzUR41XSM9C6+avecOCU9Mb5HV5Db6rkJILD4xSCAAz+vjov/XC1eeExBSiVCqJ/fZlrUKsuk7QDfa8sN9L6etLCp7RjhObojH4tgIDbXzoy4BTq3fNP/9R2YeoYvvL4EtvMZjw3nUDgyapc4+kPFerQOHaEgIVW3shkZaIJLoWpxgO+5U7J62QW7dxGQh/64pePGtfzG0JBO+R4LygOrOkf4GCfTrddzHHBLJXsXIzTpP38OZTAtKokWzwWvMOx3j8YajjRoD8waD9DsNjfkNCO/g4r62A8oqHactFhvXw+RxI9BmXOfxnwOgUcJlzdjog92y08th1UuaxzfC/cM62RAXx9KPFGwO8ndaQgUO7YakK230aBtknqqePCodCpHM7V7y6rYLdrH0zZnKppMusNdpgwA421Y5LGppUy85wlvODoaiI0t8jofYJ3T0ZGLdxtDinLdxc1xdTBZZ7F34ev/ItNe7OWeowzmQD/58sFwTEiZbLZLqnXLcDFZYG4MT66w4nSAPeYwngca2hNKq+A/8a7RjGvGHuukR8r0GKhypidRsh1N1iQyfp9vK+9vYtLczsIZ0OLqgMjP+obLW2B9AlMJXnDxibHisXu/n5OoQSZceYQ4x6dHun0JzY9TTLYvufuRg1dNYKysHdOlK09mD87F/xEHAQeKlnNdXO3mgq5PO7uCrxNeI7Yhrce73qTLWezijD9bvIjWTLaJNqUP8hxinAhGCaC/yBA2Eeb4/4Gej3pfG79zAbuSAoVITrvSRo1s/4CKkbLSgHNVzvoP+1BQ9kzK/CvYWU6AThIQUgvsjvP2+mnfbKf3ceYbwPYQqC3AJUyMocE+TxbsmArZFA/yxLUttC2caLlsD6IpD+RgYZEymSBlrYsLzjd2Ofo1KrVEd0f0FbS1Vzm+PWHTIZ5NRI4vzNJ7m5jWgQzTlJs6Q84qww0dNNtGsuweyhuZzDq7YloL45csTvgrYqd2cg0VyJQW6ZVfHArmBa5pWTukLOagIlBxSyP3RWwP3QlDrPaG0O6XaJNj9RBqZefUB9LELzIfSk6oUNMtnz2weag8z7cLYePjxujRRaebuobgdeec1OlOvBQlnMIRk3x4S1blutyR/zk1KdYJjVkZ3+/E1cqeX25UZEKLutensn33PXKF9xqgxh0EhicyXFXTsjDD8+gly+QmgyI3IvSe34ZgQDOZCIqpCRugdeoFBiTgwejCIDgHa4CtqFJdIg5UuciO9qw5NgQHOTs9prRbxp3lEZddvaeFeqYRthtfRpaGxFB9BoZ4zGThhQwHHuopxPCqY56aij1tn80JHKZ1D4JDjuSOyDHJbF9DXHl10Wp9Rj6zRgbEc6U7+iuY3pI4zRbzuifgJ333WKyiQcoh3F5hTZToThmrNR9m/+LN0uDfkk2yn0Vd46izf+m7fIzyffzwefEdgL6xFSj4t1AjS4O2YvtlZxL1FIKEGHNa6aRTiBRSJwRW08rQyq5lLwXoAzM6vXo7rEbOy4XQ5THP1QqIPargJ75kEIf5nUliqZprzMoJSAlv7Ws6KWVOW3V2c0nWKQI2H7u5TSH/QwKuxqUeG4VL27BstghUcMNQIcTD43FFZezHs+gz4czeKXoD4j0xxESr7Z2YjD3TQSCrCZzdPKGi0CljHWdwiQqsmBAaO17IR8rM38gwlyNfNYAmSIq90UiwLsUre5CnW1NLOdxedFSTjqbzP78yOLjsqv6OAqxcnBXxRJfwYqJJN3QDvilEE1uTjUKAABG1bLniJVB1dBtbsjlwjzUULgMnRVspMx2IeZ6QMUV0c83PNqBieAjftRqZ3vN8OLLnR5+DhiPxoAO+GNMVXIXkM59y6k1fg+Ws8dzo4FRqlaOOw5lJ+ouI5bgxmFmRE+tS8+zC/66Gep6rt3rBgxnPxK679C1aWbsQV4vWzXY4R5gOQiawgB86V2Kofo9SYLH1tP+5ixUK0aS/mqCyZeWztJT+ml2I+unW8mpu6nrlkloyK/LMJBRNJBrXNQrotAexvNNt8XzWEy6hSH1g2zhFrbrSBqb+frM2971UOKeNP7eLJFXQj362yD3lk492bW3ul6VOj1P6Z2pUKpp49drnAetBn/FDKiBa404ehXZC7UT0bwZNfAshDzwp3m4aSyNCWo+2zkm14nkBifJVbqgteeoc/XbxfRu5xKvzM7Uup2sGSn0hLAR9SvHd4g7uhEOCLswAhIgGaSoADKQoWAYXTymUvi5be/t2mH8zbp0PQckYskadl0zMRNcme6dU9vuduErbMgQiYfE8mQyMsVHdiUUScgt4D6+kpU235Z4GtoEL05kW+Zvazxhga0pMhPJaq1Sj1OlDGDJTgG5t56tCXtaVAxQyNrIFFUcY6GTRp9DVgreVzKA6SOHdY/3j2gEcx3IGkYcWoVTh6WbRFb1y3Eo51DnKkwCqhO6a5LmdnBRNn+kiGbEqKlA1tgEjMYYtZM7ok2gLWzRY3jYoroJ5NqRaSDJJKrK+jaPr9UO5yx0xnAN0QXRXTzzhED0b7MZJTTqIqSoVmB/7vYrsmhT5ImBgouEQ39MTQ+PboRBEJ88Uh24m3Xz7WQkwryE5nY74SmhzlfNhxMYsAbJA+Q/7WwigYcsZicNQrl0kBTXgtRHpR0SeGUEGDENJoLD6x0y5lUiok8dXD4k4jRJIzRofMg6hxdrtMAGFZU/2RRMsJSLQI9TfbleIkH9Xu/7h8mE+mwLiUs2U5LaEeEZggBFkWjzSMsdQNFmAEP2sPxWWHhpFzwlZvMAflIuNDo/yyiHojtbuPqxiw/ZiH3P0qWJhqhjBz/Z1IFLqaX2S3s/e1AMkITGtSJ2Bl1e6w9kLZ+tFevYKQddHF1QZSM53YR4F8nQ55oE4vekHXqRhyiI8tnU+vo+mWw+/96wbgQghoYFkeUlAiBrthMR6nyJ+kw+u5ZGLY7ICobA3cbU6Cv+RhSZrmjOpV7fGRsSWt9CxbVIXYOp56EvAMeaXKj19hbJcQx56lB7qMlKqNCsd+OfKhRbal6t0Yn98yxP8asDL/V0FaHpe+Vim3p1G1wbyBJtO72CxgpZ1E27sXYkH4r6O0VmMnXiGIF67DMDlX0xHuV1JUBxj52fh/Z6DMBWly8aoG7uRe7MiRqg1+mM/cju5aSnvhJ8jDeJBKtsnLQKrWTkC8xIbT4m0IYL+S7h3L83nII1jJffwvHuoznb08yMRcXuPmaJEbrzCJ8dUZCyDDPxq5xQiOyB5Uy/+LQSJNLlX7tibK6R+nVIqxf5X1hLZBrPEkKSk//pjiX6wDuJ9Da0CHjdtsoCw0Dt+g0JKsWfIjVtRFzXT5e/kTTFN7TVZ8C7o1qOBaVE4t85+WjQv91IxGlnVJHviTCARrxHMekTahbGsGwep/2ly0BVpnvOuGkjuCx3ye6sV69Ee6+VN9KV9YTrkAnO8BP/f7jGcW+GvEjl/gbrOlXeCYJ6T5eKHJx5aFMFihdB28lBIm4eNf98fslEWtp1JwY6tLaL3DqqSJsPrVnp0o4vYFO/+kHPThmA647Ro+COx8eNV/mw6Eik9StBGqj516E6IfaMYDBEPvid4CC5Yrvq+r/dmxuDTBIhGtV6FpOgVoUhPKAXpp9tUu77CdTWQ/WIfEZFTX22k7DOU6ysZEUV2SX41Ru+1aeftWa/OdFduwJGyOyCZ/Ttj9RKqdo+kHkkc7qLUAJ2/TlxSm0CvqYUputUb6BLJFdhEWJl1im5dmaVTPAX7f9s8vNKsiHxv4i+qnYQnhOhZ/Qb7rQTaus60YBw2jWWgOkCTsd7OJiYBP8kpApA2SCJ4pXAEfvjhWlPz1pftBoeAbezSp7eXUmKCbQ3By24Rq7C3QKXi4tPEpREZpRWs9A4SW1tCf4aOckd6FlQWEnzt86HDjmUHDEMRhNzD3wQGUw25YzHe5OaGlThab+yFV5gbQK5oa7mw+/SBfCnRhz3dQ44jsb1VjMTQ9xfyFQKE6gHFEMy1AMhONP9sMy6Ne04OAv0Ed4k8u+8XRskAKJM6c0sH2ZflNvBp/WHCQ1zLHvwTaHxfk13wuT6Vx+Jbyc/v1FTzbowcV8jBqGx33jYUEVoci7gfoxn6JtaTEhl1U9dOXhrWnQKqAcWF8SLQEKrEXc8kQr3WBPoRu0PZLe43unDZuyFdw0UIW/B6WIvjmZTieeILGEx5rIy4tPRbRUKtuDwMBfxF4usUa9RzkRLqeHffYT1dkIUv6Npu8nR04Mqbp6fFHjG3kK1bVN0Z24tv68By9i3AZ0uyrzk39ymDOfymiBkPIEFo7iGb4cvOD1D0rpt5//TIkYbqsee61pvP3dbb9Nou9zX2RGlUVzaXx+iSEVqkOJTssRFmcCYVwkRxXk2mJ39+Tv7wwi+fc9a/n5808H9NfWei5FYDaRdtDza18JQ3ucGVk3m0PlY331j+kkc9tNFIZb1DZ3A/MZz0Uublav8RAyEhPqY0jWd/veojvIhdHdT6t14RdA1ioX4siAn9xxBAGoPjXWQ83KzGXaEhur09fX8pXipCczk0Zx7FRtVAhyyB6T+hjZuBUYMs8nwEuoocqgf29aGNDQ7KZXMFBLJpRDKmMzkW81Fv6kqbRMObuZq2TAM2unAY/3vAGxS4c+lRLjOT2w0FOL6LU2yWyqU0IbaHFhI7OHeG4gtIWPiMKMZYZIUlfuGkC2dhdcmw2PsvH1mEIxPgfUwktV/r5q2Jv3YLWeY6R/ah1DoSzCdP3cQ5fp2eKKnMJGQfiC3zag/dhSgK+BkfqMFEc6zmN6bX/2cmD1LCWYMJ6u00hvSTiXbgmYU+EXD6VCyBqZiBkDGldchPiIiDwq5TeahcTV5eu6wIZHa5apEqzSE856XETTDCnCf/Y/WaO7i8cnodtq/Aavc31vQoGS+HUikw+ZqcDUEtGhiQHJEYrFyNRMwXJfCiVtX7E9KhZahWE3QOQmBQyStHnx/P3jmmuj2lljcpYJUuwJBbqvKfgnXfymQ0eKk8POnc9YcvS3nEZ9x7ESIMyq9FHkY7ksewi8/f699WWrInK5N4YsY9JOzmoW1WyK8/dQB9PDndDLuB3RcbaSfDb6ftBUG2hrcpHjpbX2haQO/TLUI/JMPkb0/rvELuh0MTfI8bMebGBKCvYaehWZYAuKtULIg6GbM808EO68ha+iy22TWXkNFKBTzQRUIQHMixLbLYImmdCkhxVcuASpBcuzk8G7oQ6HR0AgMJ1FIeQZR/ecsamO+QgqJ/qxK3fg7wd5e4p5GCRIMt5ZtoxVF1nyC/1jFF10FjONYZzqlHDv2mYfSnFj9SbnbxpECy1Td/YSdxOlq4qRWpxXtPnBVsKhcv2qfvcEgdK8qJa0hRV5O8qCnpTv+5aFNUM5y9UYsNZtyjpYjQhmofBAQkgIePTRf5bB3Ef8prhWJnGp78qnv5IgXZVDUd9MuU7FEzcs8UBiPM/HglAmkQc/8b5b7VlZEFC7pTx1vvLJ4n78T5OnApT6ZMkAqH8HCT8KdQ3W4wRl2UOGLgsyNtUWFS0jZwm88Fyxm83+g887NMQrqId/Cses+wh+V2Q3AO5jBsNBuRW5QjKKSRlfiBBQlvvzmYSRyQoo8wLR6x0K6pSKQYHNp9UURGR6frWqEmL+SlaJjYNb1VcFvAnKHuCmwy93gIV6XI0tYjhI0N4SrzYratipHwOnPIePFCG/WdQcxP7LHj/L2hwPJsX4TxKlCSMvgb7DG4IEyXlr+cw3Fsc+Ixru03Hog2f9atM1GnOcOQk5Fhx9KxM1Wxgvzh+2W+7xJq8TgE9oswpKj7omVQJLljiSbvFZ8PkOz0j0X5nB4SrrSutnlJPAVypjLTU3su/2OaajWfsaBbifyPFa32Lom9dhJYZ/xJ6jEXtY1KKz64GWcRvefHFJmy5mEa7OTj1aZYzjW905RiBjdg+N+0Pi0FBW/6BqnB8Ij/6QCpXmKtDFbZCHBGL5vL47FGWEdnwXT6ACiYoHmqNLsYzNoFvAOtmf7fO3gK+5I+3PJiozkcmRRvNgX4tzIwzm0ecfGxifLLX9qG9efeQysv8al+fGnuR7ezXgwBv4ZbdFe9LJkt9BvpLu3U6eQazvoUTsMb//W50yJTKqWDPI4pT4Eeuz1AI/JGi/vf83LQY+6FG3TUXob5QpniBEKG8IgcZph4+Zqsr7wzwzpjyu30hWWIQNuGPHtES2lFOloB6b//npPboskKwUBBsA3wdLvLXL6gNwcQKS+VnlbyT+t9XpjLYj11y9ZgMIUqq9xXLvpEjDxTSWVOG9VRBSPO2cwgfwPoWWE9wrMkTvu4RAd8NefhrLhfKlN7+5H0uuAUBl2E1ru3jiTIp0/S7La2cK/3+McWVnxdgH1SOlWhkF1ZB2tiTc6cTYX0lKQ/4ao5xeL+PkBieuBPQFZK9gYVz+nU8r8wgBolt8JdYvA+ijltSx+3Ta9Ufo78ncbI+pSv2AyigohsXHkxlMyy5X1GFdBeblxOPyubtdR6oamxiKASk/c1ZUQElLXThBGffDn7ZoTWEJ6Mw9PoD6RZFhKLJCwzwprCAEl4nDR1c/Ma3oVw4YHngH/8ZF1LygBP8IljjpI1My5FemCzqRw3kxKDlqO3Zli+YXRNUMsV3IR81ZFhXCVO1T30agE6cnVqhU5Aklf4H0VDHM8Zmu/OKti4zoVjtNr6CXOtTNYGNwzDJjthD/VNKsJbWrhVtvk6H3kSL32IrH3P9sMcos0fhPC+/Rp4UiEKxMqcEpdin/gJfvjM0KwUEYjIGEcIg4if2QY/EUCUZj+cr1x+oH4k7UYHPXIij7YsbPQb52looktcRau0HXPAo9P3aZv9/LzcEr4Pps+Ipq98k0irjUjcXHQFUr94XhYFkFZaZrC5bqoPyJovZz4+g/CcckHuPU3kxW9jf9NzZvPprbwwMWyjoR9kW4MLelqJdeBEpn2aRqPv1w2f1+wk1teohH9DQ6Q7f+i+G9828m1merAnCGPKYn903BfHXy7Oh2rKDbyEdiMV4avzYrsHJqvZqCaYU+khN77/IxzZ6MVZ/u04y55q3lC7lH7wBuSvCyrCJQVo/IUr2PZiTR0Z98p58YC/YBug3Yr7tV2I+VrRzjKLAly9p12fxBOOFWz2ndbadbMSBc+SGKl5AQJoHqpUyH/bhxJnIpPxSRMmYd/pKUXcU9HZS7pBduwVYlRmQuyLuLKyrNcKTup0LDdPzSi6M5tTz/ndyo1de6XUQ4ycD+/ou+tO/GKDMTaiMghPqMMZfqGZNo56FvV6neFvrEtN5BxEI/q1O38LTz7SyuFlaLwBkmGn20wWOE1/KyELyrLrjOrZEqHl8LzWOiT6kXE+PKjzTpgWimaPMN0raYOBOjiHNeobNVY2yU6DLfvF+jzspxCW9iMkvue0l3LXbZs8bieafN6EbQ8/lWFtz4A4JT8VDNtiwpIM4EtnMYCUPSyBzxzp9igOnmg8pPgAgnTFd+hhr8rNJ+UPIt1pWox9+noHuu/St5UWInZ9QWSBQE9SFVx2/1Cfb0gN/ZRlwQHhpPQpbZp+Me0U6o0xg95o3M+Zdst5qmhLnQH0tyYUamEtVVsKgV6HKDRmpP7pEaFAUOBAwgugYMYo4pEE+yOdzQCKIqFHw0A6yjtDz49ASrUZXC0MrGIrz+/mFsoy2Lpql3OAVgykxw7WTWb9qXqQhP7g85dPJLMO04tOzAcJaJiJPhuriur6NkdVsoOguw6JVk4mjhqkNWecP2ZzhxzaCJGbdIIAS4gBDaZSsAUzzJerwl1QoEFgvIIxqBy2Jy005o70EhzBNfCd8YR3g0VcZ9SWhzftOxoupIEhmuxtO5rkp90oQfApEjsj5v71bsbkyulserHovhKFGokeMvyA7BghpHG8JuXyv1rrH2xK7NLO3LO/nbI3B7B6XzAmGVboD4rEK3ugjij0gaWKUX4HP2M3ZuM9z+Svqsl9DeRLCpZWce6MiNsELbtROyuLW9XvjrGiGEZhf53BuC/xy16BGaW0X+vCgx0vYMl7u+xJdsIw8IfZ7pxmmtivwohSroloiX20tLpeIR5yOqPE0DEayZ0azZNPFBOPsDu558kdJ+Fs/ZjW8knpDbb3qTdLo515aP1X10BQrnx64XaM+/Cb17mmwZbwktXcwFN0MlwctkHwA6vEmonk8UyprQpPGV1oZZhq9NAfSPXr8nr9B4oXWHRAD/VFMQLsO6rUWt/O/1NaGXsat9zvSTxLo1syGsiYgMJtFMWKrRMsjhgD9O+7UR3oMX7erDGt+8hc+KbEK8DjIyvd/D+CTVGb11DfWte+A/pVmi6MbaR1LX241RWlPNiDx6BBINIIeLrWJw31D0yRen6w6QPJab6+wd0rEPhrEKVhI8De6sTQWDS59jtc54syQg9OeKlNhKHBZQeculNTlLuKzB1W9QftuXuP2PzFbGFkL6zmn5sS8VTsN3JxtKRD8gfcPR5sAzYrs1nQJdqPUviVbnCLTICDKitLZ6l+uwcuvQ9/Bhx8MCsWP8E8zJaiasZwJysQUVH7cMXVoUkhIO1od/FudHXHMk08evboUyZhrbfW7PJhMzOMAbxU0kYbgecB0C1wdf5Tw8/slO++EzcH74i8YUgOaDHMr+k4tgixAEdjD4UtZyEcY/vr4z497fiyFUdMV8ZJmLfUbalAyM/VzMkXzIpLamxuCrEeUlWx41Fv0D+2SGGpC3UHTpn7x01gfv44zpqoL0HSQwG0icOgVm/mkaDwh/xjhlsySpvoVs6BtqkIkDpX9zkHy2LG/G7YTjP3Q3stsQBTVtUzSktEi8bHdauWvGfLNfz22HX/Klev3bCBEOc0f9OvjsFgOE5V1URmVOvyCiTK2vmFGdDD8YjkFe0EEHP4HRKoCXYdggAtZMqYCKdQs0TwFovK1XW602WjXM5iBWIRT77EVKmExFbH2zKrR9bRYyY1oAAJgvNxQ5ISAZZKSvNRrh67x3CQhmtIiUoKHQSG8LjsX7+kKzHThKnY279dx0/8bed1d5Z3Qa5JsVzPuHeABzTV5byLX6KlhJ1TDiP0OoYPXlnR0/9hLVaRwTaSm5Bylr2O7zl7xGpiRT231Ww8ssFPOFHWa7E4glSZMl1bIaLZPwuXTaZOB+vSHznoJ/n2aqFFjUOF2Wu70gAxstiFRKbDoTj50j4HEPQxrf4efcmyXMjCcmUClJ366NfgnNEXIk2SDH0emhS4kPLlK7B81Iim6ihJFzXRX6uAI7Xve8oi8lkyTrguvUw3FkOTio6bmLoJnEIoBY3GX+DI023ZfxKtz+4Bx4rxLVxH6mtr9MLbSO0tb/FC6E841lkP8Y0P8QPPmumMftb3DC7Z+PAZBeVZ7wUj3msYKFxn/py+YBObX8WvpUOr/AKxw0bQASfFOLef+FBDQ03m8fYVgMQG02dPTf3P4wBK7p4yW1grGCpqPxtz2oaPeSIb+7650YDmj0/qyZO13da4fSzlO3x5WXwJM9MmOPDnyKzddzXYAW9+Dp9MMAPcGZnW72e8yxDETRIE32vHfgFY2QIYTlgF2IL5pbAvwUuyq2d42x6Zld9tEWPSb8R4/tO4KAfThiP1MFUC+66su0HWnhF/rCxDU5tK0XWAdu8l1fSbAoAI/T1L8Q5TnmUrG9lA2ZWsR4X8Buz9Ui4ARYjhOjAkwKObch5IMC5MTOQ0q6GM9R6pqscEoPv2ZnnoW9iGh6IWZ38STN3CmYa0QhoNtIHDnw5B8moxO2Pp3oFCyO1lfuxF/gOkuTCOOkEBFg/8mtKvHMbYnUy70u3Y8VwgmTcJQCeZh235sdC0VzkCguSZ9jKnim+lvu/ZxhXUAW5u/uV2i1vWS30WyGUUnvNzcFqOpVxF5LKiDqIRTVZODQZiVi93T9UwT0rMf27BhXe++ssJv6TuCq5Hz4TQH86s9Z1Jr25bEfkBukdHyfFQGmU0JZQYf+AaPamLlDnykd3dhu89Z4OJbBlfvXNLORAtgzqg6BiE2vkBfQ87yxJ0AOT5SaFpnl1TxOzcKAdvijJTlhghEqf/7o522V96FhEWbceqRJlXf1TZWl77pyaayoJv8Fn5/tvlHH4IN+w4lS7sLLyKTf8C7erpERElEqrB9WEKkS9xBsOfhJNF7MaS4OE/3HRPrt57MSTw1xxaj9uMM/74brvzz7iufwxQ3HjiDAE1dgchN3nuV6EZTkDoq6et65RLMdkn2K7dLTq4sOZWs5kcnzPivk7Dii+ZS4wTUjduJURnGyFJA47WdfaZJj6x1eowxXRDQN1n/RMW9A39zkCqtx+acaUZn4HIwawtlWpfJGsswCN+15xNWepDqEE7n57qlv7kQDCWHHjBBM4/4dNvuzKYOzRJ70SyCZQEZ1VYrLtPoL9VBVwa904Sf6yPiJ1caj5TpPN49dEErfjq3ARou5LY864VmLEe9LUBX9y0U6lOYliBJxRn4hOS4rmVwZd0+9Br6FoiPeFtBlH5ssad/3XGU1AvFy9vmPS5KNLZvVNNAlLrCXnXP7REqMSECK4aFnW7F6BBlisJWO2tG7BZMd/eREdqcURIhQccMf/9ogT0KbLtywpL9I+ThD0LVllA0GbXgC5aVJvEnorCK2PTedtltQ7vTCKlxidSdN3TaQV5QJ2x1MSxTfQjR1ucyI+JW+ZgImfQHkuzRmcKtdeTzYRz3nP3/Ysreo/+y+5dHQYpjNJ7+wYdyLXrx29/6v5Ym+VetufSgPiw+bPHN1w5+p4vt0wl9oBuorA8641Y6iRCjdmbZC3+p2qrtKTzGa//i1DNKje7Vg5zdL1zecXX0Eix289pvLva4aWqQl47vZjt3Wof/YpLTTcSY+jsrax9JQqYzC2e3hIWO0n55r7vnHxiJVimEt346ZFo5LvuHDD9zpqjQoKIMGRoZcnOsEUxKRbYCH4jcOGo7DBI5hOX8c+jsFIICP84Y/gP5KxvwbdXXvaSSi8u4c5E4o/CWUa8VYRc26yul+0dRRVk3HhopydfdWWC9xTONZjjyRvxc/vHXPi9cvKSunZBBpbLAAwalvUGChO6tq50RK4HS1C0CLQBRjKlAt7mH7IK4HKz7pQLN1iskXdjjQFChSKHFJEiskq+MWF2q5h4UfzPal8TfmK+5/AGK+nH9uhnav43GMrIjZSmjJ6XX17/Sjl+03EK4BG0G2iWnp7CGfkF8cAP5qri/5pY6/UM9Eb0BoOjtKFDnGQbeP/5OGI8wic04gGgzjy7xDMWYFjt5Uuyavipzjk5HFd18gwjazhZxCP5DOI6wN4qDSNJh8fRk46V0CQUR351Qtuy+VjkGt6vmHPdYFskIPzSF0MtApDerCPF28Q5neEoJ7Fbk+4MGuSdCXNy67rw/R0snkjhyejYH+Pe2+emxoZSlIqFnIzR5SBOsIzQgXEGJ/zdIGS9gZk6l4a0ptgoYKZG03rlaWpWN+d1QC3zYzgwpBbsEB3HMp3wnyvKF4lFJleF809mohiPeM8QUdzj3sduUxDfAOSTH+KrMq6mnTAOqQ+lzVWBS52qK5ZRznK+oNSIvnubVSFMH3LoKYPL7Sb7t6+1Ij2UlpsyrhD6r7A1Jj3Y7EIrsP+oddSUopK0qzFLtenC9U79lpObsFIveQPIzWVbd5hspMB7KuJtJ9eam2RmJXTHPYx4TJPZTdmyQnTNJLVPQG9lyiXZobgWaruk3TW1/Ew0TY4LtTtTJlqt3Zr9r19PvyW4RYEXNjpaS66AfXmpp630Zj/L4SRyae2NiJBDgl1Pq0XygAllHlmJnmOikwwBnTLMi5p0tFC5JeDsKMOKqlsNTYXL/fxbphfyhkE/Aueb9sQ5HXw26vnIpX1TtVRWY0oliRF8vwvTBEoQNRYQZbhIml9PF3Sg1Tmn3IjLGKI8K9TRFwmhDSY+if3whPxI8HYsUZtNZkrUlRsdTEx8D9KHbSlwZqaHNg+rI0rmmmIfaNsIEpIVOPdQMu7zL11MdnCvLGMS4vs/csFlzceIBY2hDfWpXP9GRTH840d3VemPx4A900z+6mnQpdnxKACO38BRcnlOfLtCsf5BfWBtu3sx6XNWwLTkdGig0g5urOOvMMWT25L7jDHmA/dSOyEztimes+VDOshqw8JGoOtwYD3TJfH8svDhq7tHZxna4cFvNf5WgVas9EYxprv5eooMe9o5g2Z+xGzdFy92yS5EgSFCMOUM4iHmN4Wrm1eS7iONscQPsaXWzaBBTxI6jSiAdXqIxSsjs+BcRgKWkibQKSII7KuenCkae8APOS+MA6t9iD+5DY/Qwrp1WjImrh3tZ6F34nPwQOjGZjvB5T2Dk2SasrjFoP03ykiUpBPhwiHGfybPOE/xcLjY6ygdXLzDOiomnKRfhcLMzI4ffuXWIPBpTu0c2edwP9RZm/n7Xk1d24XM4KMYyOU7w3BG1Sr8L+ax9iVqI9v1GYDAtjGOaZUUbDANa4pHLQrshqs0kopKpfc6UuwastNaYyzQSb9ojverOeMoPEV8ayJHDqtiA15DWU/LlHGTsNJ1CCSgUEqNNSiWJ10FaH0SUH3wj9Hukrnu1ug9+WY++loIR4Up2cQ3YHFkbe89/t5gaozfgflhlx7CAW7EkfIAxEVYZ5CSVfznpkLC+x/ePYr5odtvLtnSnJKbxWHwctplEq5O0Nle4GhCNjFskmZGGIi2i0UZgUWs4he0NMD21m69Cs0H2vsZmuUN53SwCPCB9jWko8LRx7D4d9v8Oztg/Fl5jOBAIXb0/B1Ld+ULu5Gxji+z170Uhhss+uyMPwmfYlikhilwVrR/qYnpn6/1cwGdB0r6HjoNrDXZgg2MRNrJT6fX0Qqdi1x2+tOaAcO/95Nsm+GR/iG5BlSv/Cxs7DU1/ZUsKFKoMb4P70Y8P77lYwXwMkQeCMvp6kDHhnBlTPvPz5ZZG+kjOJmAZE2KXPIniEqz+P/sub4FFmEKRCTXyEuohm8qOAm4XQvDIrnaTwoqANyodGTiCg506ykV3q6CyV1NTV14zYFThiPYl5kWJPxsV1SaUXlTzi60jFq4ZMvKQRUR0RZHq7pIyJJ6XBzjq0+H3RdarQM1RwI6P/oHi2f7wbnx/S3es/bB3DAugA8XDHH+lVpXr8cmp/HwgHb28UZKdmvR0Xzzu6e8Amr5oPis/mCeNcJn2Ty1gFhQS44Md+MSCM4tgp8fnzyi7tMayvoF9kr0SaKD9R2uLKSrlTGxx+PsHTlvRnmgsnPQfAYJ6sNqASkJPJ8Lu1mhzHLGm9DHJdL9MwB3pgSF732i5tV+haCxZSOy/xkYO/u5qjgZVT0X15HR+myqAgTZ6fHi4/j5baaf/kNN06r+eSUMUihL3w9N9Jk1JSPGYz2S304dmLs3cViCHrBqO41zzqLcsb0I9q+RffEL6QnqTcQdZpy2qN762ScKkrGXxzb55zPfOGCHOqSjm6eYTQQghnTobPmNgUrfIm//A7Tjy7N5QB8sfqOWnWPVHSYP2C/3zkyMPKhCPzv4E4eEoJZ+X4cBfY9dhITZF4AzCdeLD0CYl8GgSkmEknjLb99CqVfqg4MlHJgG4ey+vsJAW+e5BZww+EtcjLmhtOMo6+5kwGa1XkwSIoFC3UmN0U6ZWqRnTFQpBYybYe30E0woLJCTRp7KeiAdQann2b57bGgvWlIRWne2w3ADGvKxje4YXhgeOa/uCS4eG8gbfNoXb6fnyp49v5pGfsXRfzb4+GVAAvgmcCS8ykydEmpXhzDV+c1tQ4q+aEpVgjSIv/PPM790ua8TatMmGMYbrDSp84jOYfBfehoD15JqGa9NPvGacQMQH43CpXWH70LYHVHAa3ax0LdQOYPzn3iRMJYq11/dB1k1wHusiZqz3cEjyTPRIn1knb9iVQdvqSz2spy9UVCQJOf7wHDYVrGoK7RmNr9LnKxCJXnw6XWJEq5HL/15ETw3vQbdTK/8vnxOBaiY5G61OaZQ40Z5ditbL4OHe4l7xsFCRzIT7wXDhwvM3Q1jiP4LtL7R76oa53BRH4REaclETIiDlkYCERqNstZ5aOWKzSIwoXigyYB8WVUazQccVgn29QJqJx5lR7StMMEXJugki+/GSffzVvxjKGamMo7s9ugLse0HE7QikWkRfaHNdYqWitb2fxzc7qzg6oevsGZZMNC65+hT41J1rE1bcSmEfLJZVu2Hogrcj4g70Ew4Si2qnWeG7w4RUbvkkBunHI8HwLurB56kA1h2vR/f7wkcZRVFWz6D5FMJeK9sEStJSst2I96sGtnR+BdMN7WB4nJslwVczYzmoH/ma4qw1N/OKMJRynciwWXTGBj/F9lDBV1/TkM6a8uSxMdZZbHimPFflSJ4RyG8k0NYU1cTdQY9AKnBd0KCpIn5pWzMtSF5aL07qJDijs+KdEkxnWA2p+Nd4TCiOcB3Tpo4IgABA05hfcskhaw7SY2vnS24/dfUMfmaKfBAihwFkBOQqG4LNKqpxOFgNiAyZlNEREpt4ZJ8vatu7nx6I/cVAD+FCET8iOH1xfK7Dm0IAcSiWMHqLpY3DA8dp+Qt/sv6midGaG2igBMyZF7Jy0EutO8iDV15XX9D+Q4CpxAEgm+9xzFAVjFZ39J7z8s5Yy5MQZLgWvWuYhXZfiOeu6BQ4gsgfdUnr2lCkfMqEvWQD9pHJXDO9H5ZwOKVpQNGZ3CLzxP1BSUvJ9/KJkA8876zbhjfp5Lkbk+DTNdSW2FzZjXpaIBGFfNQWY/xx3YPFcSKVa67MDZneeM9erd9jnAV+IoPgRvazhYJIKEFcjDTWyHWWzyuQS6TiXrfnyMLi6XRXqihL7bOVAmBBR6J1BIvFC93hhGboVFs4otmG7MmQ97WxlKqitOfs8s+v2mdW8bpwhMtv+04VAyz727fbJW94/g3B8W3ME1UKngn25a1qT3Gy4QLKy8TrX/4qmON6R5Tt8cPpTdU7wioBTqww5T+xMLJjX9a2IFEkqPk37qmgjkrq5mytRugsAxOWxYS728y70kx7zEte4vMNKEEu//rp8PxomYUOB+EIroa3D404nP1q/2iM8WsYcxyLwlpWj3nrJt7gFElQOtzeu56CcZlNfQ64TanzBN4g2lOVl1XOooWYj7Qp66pFhr5pJWlFTPloGDxechC+t0FXheI3/VdSPVwnvkM8IdNtJrQ3CHPTUfQIBcaemFD1B2j/jQV7310F3J6QBrgmf8oG8OPS3cLQ8dYIBMMRaxo3m1Xlp9TGN0Culg6Von/Vir1CnKbpcFfhf5ZbxuwYKlcEKpGOlexfRl0ksEKr/pKaRgSymxgq1U2zWaUtI8MLSegdzGn5lBvlnuwGdkOCZFSYmTcDCU4Ni+XWnTpYK1XK/r42NHjjV2q6jYnXnn22sCL5O+rvjcd7bUNkq8o8VOu8jlbyG3g0AWqGtbE2rr9i/O04vYn24EYGfRGFKclMzJcHZh8f3C0lus6aqz/sctLIhms8erKdS6f12EyVPI5bgu1GvCITcdQ7EMKA5LPnzQP2xorSCuFPLsbPZ+d+OcnOn11U4hF/GH4uuXo48FkvOEPugNeMGmiuJF0GBZrFCHY8HRCQS1q1FbE5DYE6HrgIzB8lGWWCDkKPjkE0pMgDOL6nV9dyzjBHsf0JyN5g2g+CreFvcOux5PepFF2pAaplpZYLT5ushaFB732HgdgAa6lAPk6aHBy8mk2eMhvtwN32AG3cQX4kBb5zl1yP/nyXThGH+ykKTzT+PVvD5LiICLlRhAlyjah+h0tDktUIsme6gj+XLGDU1VBjLnYwJq+7VLa1v2/+tydJNkAV4InrJx791bqA6FbmqRqOIvoKko8KpOgzM7BXFcpPEAzrmocBMJZHI6oPnOfyTBXDQ29A1pukUFLauFbBIqKRLPNRImfRJ4JTJ//azkUlB+u3u2zjVk8ac6AE7iLlTlP3bmxhTRtgs9oGoXNZnTteF15rrU8YiW1kRum9/G2mBg8e0mN+YbPw55NX9tBP33K9cK8J4kAKDqYp7NDtl8R0/OPZ1bE1NE5Bg5/2bdGDMJfGYKcWWNWIyt5dPAyQm8HVOBmOXpbaMLdFYZxky1OiFbitzjWEBnjsuhlXODeGD4+JvuTDwOKgIpGQsn+zjF5gS51VgCvHq0+wDuvIONGAd41xb5QzZlVRBNhDwhPi3hafYtdP+EPaXQvgAnJcRRKnln8QRQETFKDRptyut8ml6vUBZ6YiCkafnCxnTunWkk/qSnQTzxAR8BkuY5m5mnBMzhiJ82+ECvZYfPw2lxzpdNBQdHr04nEr41ZWqUDAwQ0PJXMmAWle4vjplPuKNr1kfKT6XaYe989GoxdPatVQE3RUQL/nHnDtPxMt8AW+xh4dEqScDFwelYotFKcplLpFiEDydPqt5Cziyrr49b6OnVBRNtXOvreEUFFp9eptaKEPx+2ah3fsLiJRaZ+3OlkzEbbcLsM8jgOIK8WnBBNCkbh/TVNJQ1NIaiVJvJEFHmJNhRuokmvWpEs8nJ0sDPZK2cd7doIZ773JUvKZAvUx3UDrI7mbfG3P77oVtbEbglhQQcBraMaO06Xrue0VBi1CQO9PPemuumHNIcivGMee4u/+4l5FEkiFvNSV2aqSMF/NgxzSS+FSFvUISOtFchvlq61qx+vyX9e05rjoXBM/N+9RpmndnvpIDU8SaBv/I2OAowFsV+Ft2UqygzjP+hgZDfe61AO7LPYs8XdqDmAL6FTFUXD5BhIBF8Kk/ml7uXZoHLMDMZ2tIiSrVBXR7BP09DH0p4m8kaYfOKqA6yfgswLt9tuQzk4c/LACFbk9ztakbWteVJ7T1qit+e+qQ2r/2OPGCZSRS9f5i/NOw7BIzWF9/OjO5P1XEe0jpgqz8zJOapgXjqypWV8pnwi3MgiAgxYibv2Aasd3NQRHo9NhU4shSATX6Qj/r4U1/OP0QxEMlDV8U6e24IpCfA/vidv7WC7/Rwn4yAex6bpvk62lMCXBHeWVf+xTlaw3GMHO8xGcAmgoOHhpmETwl7y31agoF7PR2Z/k7X8rryFfmqequM0mikzZZ5gKf2uiZPDjqZO7w7rpaNe3LdOGysq+R1rJwKtTiSvgsO34w8SY73IyNq4vOo/J5/en3EzN0XcymJrhPCXu2W+n41BrSiRHBqZJT8FIamd/8d3R1W7xvZ5XEvUGeROSeepAVYPRrapkAVMEVmU6zSR4hyqSesX3n/utUEh1PFoJsvKn3VFYyuq7+tWQwybOejcgbcwTE6gEXloKh0668HOkCt8Y4BW58/NSE8TzcvIG0QrcZ7p3NtgD9QHSn5/t39+Gn3oXnrZdwmRe7tYEY/62BsXAvzTRW53RvwHT830Dp6SiWm1J43a1u0fT5NFOTU8Q6DQDnZLaoD0VEuhDtOJmQzaSfwMC8OV0V/7wdumJIGNGaVoTc1uFDipPmvlPsi/2snVI6/7RBWlVMGWdYEigRzgApUedOxrZk6IQPhoetAjUZIcoYTrzBlnuFoZdq48pLlL8x4lXWXVg+TbbdUfHgw06qZsWBe1Ud8nzgVtcigyuS07jMtYov1aKA08dggJvhOaUekOhAqmPELVe6TEmmMpikt6nJ4FbH85TBe3vIDDazvELqyB9reYm6XjO/qqCeSaGJGIXwv7XGsJTrW0p2b8Zf7DhxEKxW0JoZLRvzMYAvSBvAgyjcbDSEs+kJX54eak5rNJa8wFy8k7wZLtjyJs5RvxaVpSEvMVkWfEPW5iKccCpNIWnWeNSqyeU6ymYZGOkcO0SIi99YBeKGlDuxJUdc1VWoL9txZyspOjsoujvCkNtUd7WTRuDjkbj4ow9IRIjHdsNkLZvHUXQ0o2JCB7+ZWyO6Crh0+l1qEDeMaTInSOgbVaNt+5Q0EhPE2JlrZ2/hxo3bz+hEmhD/piYcCQ3ykxkjbOUXJLWfPfrq10qca3gbsZpvVMHfGtRGULWRLFbReS8QW5VT7GiXli3nN3Nrh8PsCSr7aNeGEmHOAjkMwz3+FjTpGSgOLVMC9Mf/Mxe1fi6GeUYpfrrRN7Mh395J2nZZMABusG+XhjSkFzDKuutiSLAzf53JRhqrMeGx9aCEBOw2MuLlp4KQSO01RbYkgBUCb+DkADzYBuHiXalo1yfuazQS+3Lr11ubA1yQZl3xiGrQwY6hAMrZkuD2AjKjOUmUBkG+dFyDV06H1V6UNGcnG504X6juXBh9+ndQuZUUConqDcEmXQaC8O1pf6h5HGv4tJ/ToxU4YA+YeLxuDjquxiWeLTWRg0p8I850iX6gwOBbpZd32qVX6uDyY6gUPdkPc7BaiRJlddw4/qXdU5aCt0HsnIe/QNWt2gYOLJAew2RPO/iitjrPArVK66/sj+ym2tmYGC+tzqzG/i6lXYbiv4naOADgKFT2FreZDBVjUFty2hfpkWH9uJPlB+J4bC6xuxK9yVGyS9tjuUUoG7ZPyX7aefl2sFI1Vnak7VNMPTekffvnz3bkAyluDTfYlq/ZsKsB/iEf49TSk6pq8ouTkYy/dxhbJ6kklWt7p/r7KIELXfnwEsysVfiu+E28WyciDmUGIWsC2ia4SaUkRr19rarVKs7y/VoSsjOvXnlRVPcqOdKoJwDcPa2kyX7v9+wIFdjZ+TvBFjjf8jHbG+8GI6cU0Uo7ix5dy3bkH8j1VQN9ruJm6cE7Stk1z+w0L0AVNpa0sVaIrMoxjponZuRUlc2WpQHAyAUAI9sp0bhi+UIuNbzdl39PCXDb0Pkvwm9jT1dHCdBK4zyiep6ePbaPb5M5kWe1z08HRGCLObrGMXDW2TsOhARd+qzaGufWkGTa/9uCT0oDpfo2RoVDJlTjCd2YYGIBJuonbAEaNR9y8YffcKMHMME89LKxEz09Epdj4hyQz2L8fwpqeM8yK5RmDqe6MK4Pmt4VoKZ7ZMcHROq1d+kzLufFsYvHkTKWjg89kozN3MilXfar54uzfk455XeiDiysSO0mU6Kpm55m7yqfLPw6Ujk5NZIBtmdIvVisdveBJstOENMDBCXj/a52kH4UxJ2B+iYw0yzu5BRvrvMcZBOaGhzxGNvsZdp4159tvTR4sHscDK1F6VivimgbnqyKYkksFQPHgXkjmv9Dk+7Lfmp/SifEsU1Kqw/RqsttqwX0yM+H/6dp6BFm7WhTXVqxMW2pkF/rkUcTi7yGPM8ZFO/5ggty2Vny7BkC0ZFfwAx/qcK//o1/Jlzdx2hYYXK16sHcBVoYF1xkbIuFEuPqAP/ylXCeUXRTUJc7sTqMhWVWDzpDZv2Goa0/iK80MSZzHz3AU/tBv29qcNu7np8X5ENgOm3kEq76B8ULVTgnWlcu7TWvHzZvfsXwmPHIG2gUTqkpedpTMWqMfroXQV58uNFk7xWdv5SqLCUA88HW61CiMIbOpe3mSUgX6sXRSVjGlFQaXVA8GK7RSLi70DgXOBfUecG9+rjzqNQrG4IzccdIHaoiOGtViv9yXIgh3g2UrvIccPwQZKSDvMayyMRb0UnEndfHoiTL+ToGlid2QnlbmkVsXbrR1M47SS3JpNj41/qWfbbHBKGxjwyghlkXAPwucJCe7YSxwJGQA7XiOk4Bl/6OepTfgfsYi9mjOfTxUIY2tylw7aM46ZYP4yuW/O+53fZAjeJk2etq8VDKXTV0sTAURtS72giOX9DK0aqa3u0dMFWEdN0PQuWdO/G4qmauD6lP6Ce/U+aJD5snU5Z2BN3nwu4Zcuivmb5qaua+jrRyok7DP/VZBQrLQ0r4eV0cD+tWIUyWOs9UsLon1B6hFf0b67QdsJuwJF0ZFqWh4f+yfh3bALAspRz6OgcTDLe2+Ty0Gb3MWqxgdbNdK5nOxzUruF/01T+4y2ci2WY6/gtf92f5tZZ/kxwULWK/Y2fCIudZTCG+VAJxb8+/d3BfaYqagwyDt3zNnJERn0N1WGDxYKV9yeJXJeVWbfbQoVOdS7j1Zu8n/Solfj0nksY+bxlR/3cfXIq2SUOfuhm83R8fTg9UORqaEyfr+7NtnGUyaAYDEEPw4+zYD7Wkh7bNYqB1rLNtYN/xHjWCR7CVRn5qOIAvVR9LS4TndLgK3C2AmzzbfDU0ti6iBh68sF28PNbxcFu/M4BuGUTpgraRvX8vrqQVRCNR2aelsvaYJ7vaNVB2XCI5wLx0qI2Zc8qWZz4Zdq1MypimHmemEe7lffoAiY3bsjJIOP/1TDfvWTpW1GwBSAuy97q9Jw1n0Wa5sC9ONHexNvpJ/ZlBc6aAUjmJwClNYxAEtuCSBk/dfEBTsSTfJKocykeOtclP/sZwknmZ/+43/Ojf4fm75BFRVVwZYob1MhBtqJB9uiWW15qDChgtXBUdLayRTmXfEjKj1tREEtQYNey+QwqJ1+Kb+YfhgudDsc8iirMN85mcZFgyOZ6HZAvcOWdegmphnWt/hPx9zgoGoVWN/nC4UJGsSyV3Hk/vWPVI+4Hq/L3aHogV1Z54GuO9OyFMXfw+uiVXrGQ40FXfaHj5lk4Lb6RLYdpIxgQ9eqLYllSPVFd3FI9CTGl3OgoBUc8NRwxIDt5etbs5bNgpKr+kBZOrKs4i7j8dE7GpEvFYSCG+9LyqbqVKjDJNy8Dlfh2M6L5D6L6qR9aEDSqOKL994luq6Nn852a/m3cbG3Zi8AcAHIeQLovOFZk1hZuPwiCCRfNpLDOKi9fFT2fjzg3NAz53fZAw3lJTr1Sh6/t1D/fRMfpQWcLPlD9OFfQh1rVrmpGubItS19sHxSEmcVFyoEdZ7rw+RuMHxcgFVr+r3le1c8q90qWL1lq2k74LGj7Ot2lypIu+o6T/xa9Sm1OiPf0lsOrIclpKsr/K0TX7Jeyp9dSDlzozO6okkMgdPiT9gK5IpdCOyOQm+AdnQGk9LrufXqvhwoTVpb2cbVgZOsQXh3C+fj4Wh/0v/ohHf7ujoxGcu58kQ60rGZRyOlObX7aACr/ca6eXCN2++5O0lbiWdeDc9gw4WGLY2IKgbUaB7zjtPTucx3kByX5RIbAGtcpVjSAd6ZpxdF2VwVIo1CBxwi9Fj/WQuA1GolfOCiWi4M61s+IoQUY8zERxLPxWDy7SsCX0fzw55yJZxfzUsMfAYo1ovkAxmHhfCYgo1AHtWCvvRQUycK18e2JkaxeI8ke13/wkHI5g9pQsp9iIZIchcSQR1UXEHdH6+cxC3aFijLIjaAZEWt4Gk+TC7Mk8vaWq3LOaCoBl4gAizdz89Le3GUgeCNaGd8SspQYYrCmQJOInpOkSIolxHlg7rZEJIukROI1Uy2OnpaT3s/p19f1VHu48WWbjTt9V85Cxk1f9HgAIME/pE8QJKgbTov10xrgbu5Y0Nm1+qg9nso4PQArEAbCn/Qu0qqkLK5nHyf6QJBR8IVJjO7Ye7gOF5NumH3Z1eNZhoHECjc6EqAisOPSmfsVMKR18i3kY2XPJgROoB9PQ5Tj0nkoOnipWbkcXjWjRqcHKIAUYM8rze7aKweqCd/1fS0ttKRRt68/Xt3oCtGAWb4l6dVOZNr0JVlONqKyz4JPSYxK7KkFTxpo1YcItv7B0xpRTmCx7WOfxpGYqSVAKxl8cdJ6lRVmIZbNoMjrC3GoG17Hd8M/CUC8eUliXwKHVg7pfgXtFU+TpSvgzFrmg4d5SJ16Zpoisrps5NUZ3xvFG4cFbRA+2qvS8zO8OQUReAER73Gz+3lNd1jXVlTe9IhhcyizCNctxmdrqFOgI/5hv1w14o1WEdoNosJ69yH6dHyN+kG0QigE3M+FLLcPESnxCulzfggg1adSdO0TNjqT8d1ymGVPTdKmYPa38sq6tuw9Fgx5YFVeOEtnle/Q4/Qb1nsAtHtarHexSAiK1i0pP6Dwf6IC9gq2Drum8riw8tv1Gyk54Mr54jkaL0dgVcd/jy6lbF7MJpOTJnxGGEPRotuovk4xlICPoVNXgKf7gsKfMV4ECmYtCVHeFa7RdzFKvTdEfVn75/7X8EqIfTMYHEthbgCORdUk9ibRg4QY2FO4PpqyfDVTlJFCUv6/dnEKu0AfwZ7Ts0TXy21ttbqWObE36qBChrj5HIxrG1Ae3So/kweTHDfsTdtGtyjrPtRZpa4638YPT8vZc+nWDsRKTvmcsBuKULR1FSmzaBu7fA+MGDB4ToCYhVy3PbQkEeg74cR7Hn6j+FF6E+aU2+EIMJGyL5Kfp6Chde6uJjUlcBTr0rI3lCL/kDOQVZC8O22qyrdI9oj6ydX38lT0p0vi7y30IhFyYJza43io/wa1H9lnJe5ckiEbzxUB34wUoseN/5qCe+y1+CYIAdoZ1++0UmyjdpWqL1AzKyL/iTFsd/vIqtMAk/YlcmASl025K/YLhnxSYs1HRofQIrBHoZSgY9RnFWzZzn9GODNiWJsND2C8ROhINdjz1yRkL4dFsc2EPKcFwj75m5Isu09xs69PuhjGLtH2aMaHnEI/EDunHnov37Ddeb55LLsE7MsHQefBxmJWK+V9ZitTxIhgsKLisuUbWZloA9lm6vcU+0BeKhbewp9bkxzR+f93NDo/hOVq5aMCUU0oQUJeYpE+J8Si1082kRd3ZCgAuUGXXcTIOSwiA5qvVOFrx4QQ9TNXnIugCq68pHsR7Cet2IyvOyzg9s15My8OPxgPStBIVuiQKVnsf0Qxi10c+vUCKmw7Z4tQZYYyzkTNliAnH8v1swj6cVaZrQv5dn1LmKCa3o0J5B7f5kpxPXpmd/dKlzDdqJi9/aLcTYX2B2gTmmtAATH5Ti/efF8jaTn/eb8Ogx4qo8cbHmDTaHT74Ygp9KYJ6BE9etbQQDemZORSiZwVIO5AEK3mZvtegEHC2krQoJ2Toqtb2WGuLnLJHmc4xpXQMdd3O1rC7W6hg24TOoGBHEa/mvY2fjjQCwhj4m0ZXs3Tv/foQPAjrmp63Hrvk1kKmy4wsi6Ro+3d8TpW1r4KtGEz8UL5K3JY09VbCGDUutKIaKU8qKl+BcPp42e87D/dWwQ/XGxBmgHynRDqOOpccE8aIfRNtpZgt+7Ga4wiPtYaP90A2ptWNH+4HeEnFKx8ab5DgRrIvUXMcKsJrhXGhCh5b9H0+DUe+5ydFOjDnLPUgtbs4doV6ka6FLJ017Ypte1KBDIiCax/DuSjjvJs4JTANu+ThQ1wId7V9W2knKI9UN71YUJrclYu9Cgd+6STKlNMdKsIdYqaAVU3rfGFSpkbmV92Ybu/TW58IK8JleMM8CqyZOeM+9jG0bK0Bj/o91m2WsdF6FABJhFkCJVkb/04jVuJWnu3ylK6B4VNACS+OGhw5bdrPeLSOb+x4GwLm6uA8cJdiKQLyIvWMiuzlyQe1cl6UZgHgisTFtRrmBCU9pIn3TTpQh+Vwvr+shy1BDEPZwUuKLz9a1XLkeDPZoTR1Gk/k0ZGeF2/1jm2c2uuJ8G8i2kc14CWT+pKTDzp6jqhhNl9IMhtMFO0+fMmene06AKXn5FPL/8/ti8BQ+fAgtEV/DDN9vnShy51dqHgfz3JgOqmgrCD+5FhwStBjBoofDUyK3rWNqZFg1akzbYWWTjbmVx/4SnHf1aHcAG6kc3G5NI1YDi97YuTYKGei8YwgXZRoYy/MPhhtsyl13YGm6WZ9ZCifeO3QijTraJNp2wLQqMbv+aYTukRPEFAgDCvFctHakH6SHpZvKw6gIpK4vQCgdPyT7VUpw4Lrk5TjhsooW4DpeIxbuOcFUN3eQbU4KhAKbmUMB1lE3QTW0LnN5bdtG4kfXuiIRIP+BU3B+x+8Mn7JZZ/ng90i31ZY1aXphflvSufk6zkEK/jzMeSK4/t7xbWp8KcyERni8xFrCa7M/LyagvYO62EGDTm3R9FSTn3JVJlLAbtyMCzPLbJksdA3fhNoCaLqvgedzoTU7uiwvz5XH+AC+Z/QIXabxms2UUhljEjm3TW69OpW8W7H2fd3xYk4S5ZRgungHRInr7Htb88ZQ7gB9ydNKz0RBrJlBLnWQiuYOt15yP0fkhlGPs2/wPI24duUeGjpbF1ttzlaqxyTL/LmZsfzmufTbiF50BtFDXHHYOV5G3ZSGaQMDqMQV/4+TdpWBI53teuc01BE0ElQ4B1OZdzp4YLcMROhAckZfjrAuNx64YyxXHYiCIar3+hypfXnzr64gcRVAigXbLl5nZ/25Jo3nayTjodO0km236j9ykhdTqGB3CAPZdrQySUf9tosfP+1UtQ/dgs0Dq2e8ygLfkDlanU4UJp1p4wrVoOemUBjLUC9GROH7nTDkTx4K02H3ZSCE71/W4RCz9Bi2NNTTb1xvcTwRs3G+OuV5KJqF/1XOoj8Dv4+QY38U0+zt6kpOjk0Ti7pUIfeJqERdz0THnbNhJS4SBHufhpTAdeqxtmJcHg06ezaiazmkPGwGFDRXzzh4u9gpUaV3MJ4K6zwnnaMfa3WqukpFLGc0HniD2T+8ZI2pS7GMZHaNFLl8NEQYX528m7iz2lQ2ZXu5UFsr26Lp/RXj9nKCuc7Y5B9aGb6DrEBfxQHJHcrGWR+GhSsppw/BfcgYKF8XCcGCcxBsWlA3U1D5QxwOVY1BCeHmhexy66z+c5DiNS7O8V+Fs4WZ7YKqSHMz5r5+tUa8Z6h/zu2x86toJs5OibIz7zs31REc6PVFWDBk0zvb/Ls9amu0QiXAs7a+eHgRLpAQPUpp1Dq7UOWxR5kiIFablxi9frJouznSH7w5UKDf/CJ7AOkPp5S3lUyOiGBv6JLjDBwUcjtgq60kUccCOQcrbNMND7XMd0ElofrsX4PYvjmAvLdFYw77NcbBTQXoohMs3N5aZCoK4hFavjDu3vV64wWrAJhLaCDqdIHuUQsHQJvi5J1Gn0rh3wfWxtnqwY6MqkVXMJ7PYYnBpvSHgUigWYiYRdKEB35zHiW37++Oc1hhOIBxjLJu+yPefgysykbZajOEySvekPDJ51Wj+/I7VSbESciNNoMOk9uSv31ZpTMk6to8iCGjnXFbGf/45D8KOGtFw7GgFT6AqplyasrCw3sx/gl3088JnQRKN1q685ZiwINBTOyrUuNaspBsLmlgFJZMfhC93J8Da6fo7LPpd1Ib4MDQZxyNTTa8bE4bFotdQOikXkXKB59/LNRbozwYF1a1rmM9sZiUoeXgGXd6Yg2bgk8phumDd0QSFnkEqXqxWX2jphiOFQk3eP47BI8/DTXgRy94MyDVCXfNW8EVHkQ1vBKzURM+k/lDKMBEE4l0GUZueOZZlA+4JqRScGRt0ef6/P/BaZkXX+ws3jFwOGqmEsJIqmv8T846087OW8EePpXfJx7Rm2Rv9eVcHtWY6r0wgoR+zRe+2KRFFXuanZPT1YsswyrhPbWBs6k8+KTqETjEQuZMlpDG8L3gmz6EhuX0KnNi4/AuZfrfJaGrcTmu4Fub/cwvIrt0/a+DCgv1rFDWJn14+/F0Qq5z06rrJlGaljEfysrDVyQKEEx+dp6a7H65WeMVRe7ADWj0iS94B2tWS7HnO8h/CYMUNMfcfX0T3Yq0puYEL//2cYAyySZRoHaBRoBv2Y13FYW3H7R8h/XWhebSQtgfegB6qal3c+U/lvlbqxluyYXslKcce7Tb6LkuMH0HmHeY8Gq41aZih3GboyA/A2C2nCDheO931Zaj2r17LPff/Hx5QTNo9uKjdD0ReqZBMIEp/lsq9SXPNZuOvIDL8dmlXO7WHJBl/3ioXgk/20s3XSGsO+C8kVZcE+bXwtU2jUMUGkvdoe4p/WbnzzqosZ1HaQnllf0Nq8ZBug2EquHwZ4h1PrVA78WP3QNEnKiw09db3erGqV+mfkRrOqJa+S6y43d1F4vPBCcrvWe25wkmfR1mU5KbKMtc1yypOMhVkPLJ7qhsph2irbsgoJ8tLJrcRXmzfpk8H613yPENqqhli4+zC9uS1XJ4A3mXzgBLTETNM4ObF1FdJaqh06NTTVn2M8vByHcTgfkJf+2s39AfFYHJA4x/t90MWI25OJiQ0iiVxoBp86l8ZYIwqRC6dfK/v6RdbxX0l8a0yZJmOXAJaNlUgnN36/NdOUabDPnbv8EvV/Xet+QjA90nPjOQJ6u5mYz5pMDpEYw8hNBHr2qbEXbFFK2A52cpKTJoi9lhBguSpSobfbqY4A7bB/k3inX7wM5Qw4dbSQSyfy0w/P2rmJWj5KLedNbwR4Sgbopxub1hUxmFTDRNxqNI3UfktYykEg+iAugjspg4XQdp0hrjW05hK1zf/fZr69P0cKKQYbELfEwQQwgd7ygXk8mnc459EEYJDG5Ke2PIFb+ejQ+qcGV5dloXk2TYdjyN6+hDxjTvH7fLlNy+aQPxVmZenJ0JfAurHclvqClpvtMtYaxE0VkQw/ens9vC5k7CvCDWuVJ7qvoF8VUOetX8qs+itNZPX9F7pbx47RKNnEEhdvIM/CoLb1EnfMTMhae1kfqw4jmHhY3Y1ILEWNidL+hda7Wp1j5wqp0b2epilXt7JDtloWZLSk94cRvE1UJ5ZBfcQQyi86i7vk6MlcLfgqn55RfTQojiexRU7kbvarPWFnOSHiO6pXiEzskyoFHjuZ7kQJZTnuiL09UHeIW1WdiaVFj1i7sCbkYB+u0d4b8ilQjuS5pOJWhklLu6spEH6wUtcmbklnkSfQPBKF/5y0vSo7GYBqlcVgT/4oT2WO/5ZhyLeulYcM8ABd/qYVrHEy+U+spATCVzuDmH0VUk3//Nl6QuIvsLNTDzzgJTNkG1h5uzH5vD+r2owoaH0q97WeRQJuwZ04mfZ4eMyfshHGVShXkc6duogSPD7Oy09KwPNXyFowG5KQ7uH5VXQfL2G4zABFsNSq7/xJXrFg1YsGNOqM5xMg4ZYsIQCsmPKiCe1Js86TOwaAUlTyaFNvHwEtt6HdaPsgA2a4Lp9+Tc2lLPlX6/O62fRpgI9/gj3Gd0YDD60o8Xyg1msjMrjpHa8cqs3FRmJJn7FBIUeRNZnO79GnSS+I7EL0d36jhiLy6FY7PDCZUY0Z1BsoPkLTE4tk0dnFB670nj46DCNft2CvWAr0rBbTd20du9n582RXJma0+Twyd+nV6QZucsu5R83+m/lkUTXt3ocWf014TLLcMBEkkgjS0ExOQCpnheO4sxJYxqY/rONn2I0HAXlRLQaHibuATWVwcxZYKjKw8DYpKUOlRaHpkOA8YWu71x23N2+J+hrlMg4sqobM09vXLEBiWl392Dte4xQj7c2AXis24vMph1l8fFIlTUIqir3Vx+8ABTlGYTrQpznD6QKqqPb2yqbaMfZqYtIDJVpviCN+hvoFbCsUr4g2iyCtJvjgRgKoQnSwxlHXHUMbPVTYlO+wwpHX+J67/mPNLrWxRqxN9HLhidxSWTHeDO5XlYXhsrXVX46zpEMaDYhHwaHjSF0k4JHwXLoGE5FwSwXBunaFT70XHGszInlL/oyyzY3ojH3UZqL0XszJbSZuVk8pzpoeuT3Jz8/SCXHAvj22ZRhSSaylgH4bw9J2KoqGkkypNAW+s/C4ORJ4mPqfDcv5/SQABIRcJt+gEZHl0jcd8NPtDscrWMxzFq5a3bM4cISiXlBY3Q0NMYPUkpi7/OxcfB6BU5zBees8bQS4JstU2sfXUt5M55dqmtkKSTHzCYivGWvzntaOxXoG0Yyf5cVrv4GB5W+aqRQXAAM6m2G982aYkTogOMH6J1a2NOfDTs91e8KSLNz9rR50Oy2dK0EEcSWDFV+rwFwlXUUUa/w7IUQbFqnX/11IiOhpAjXMKAVSrSJO3iG+LN15Zp1FaMSBfd/yX2XHTmn0qj7QjkOGOXzGQ4jtlDpXj0a/fT3moQl022buw8e7/6TfVW5MiWY/zUIR7aQoE+OdzkyjInLbuceboTIbJpEozyJOEPL0snJQRlItBwek+o2siLLJYWdYcZ0UhFQrrdXFWMD3J7BJIMUx6jfcX1Aiz1AQS7CxqMR1YeOvi/37K/W7y5Atgitc8+z9ygNF0cHPOWKt/XciPQZjq7FlJHkaoAVdr0jOpuk3ee6WlYKS77InMktjpQI8f8cbMI0EZ7c2PfGebc6yAyWFfaIMHc6KQ5rtnhe93c1gtSCksgFPZyOkXDd5p3MazBywcGvP8cN3Rnkm2FwxGaN9sj0CnzCqonHTUiK7z3d0S8WAb/pwn7j92S3GCelduV9+oM3NKEdstFbzgaMZUlI7CuCkSsZqE+70dWYzkd+SkM8U2ycAXpv6KEY5vEI9xp9t6Z68Rzf0NDHv5mcYySbH1CYokjz453i4BSZLFKNQASJCwxiID3MNFBX40FMKr4ZQ+FNyxvFRh4Ypl+L3u9LUbcMwj/h+1Ig9q+8TRlj5m7bidJfMCg2UWslnfZgMbjzf6pUOOBBEuMeek4jtep5TRVE7BnPXuOkxY4kI1jWrvThgmfJ9+cfmUexmcaSovFQjs8GB96wk8Z2aiBHy3wEGwfqHZZLWMP+dKD8EkBsyiKU/di4gD/q0cISAdz0B2IbeVf2RgCEFjGuEVKEJvi+Y/6+ddI1oRksnvA25yZ47SpmyqP860Mhdana4LGPOGa1x2sXJXP2L84HKph2be8wXum9rk1tTttcYq5ioix9KOmEI8oLL+vCpj8K+sf7elK9Pz2rqWtwuZuZnQdDPe/QFdm+6uakVLNA76iQK5lU0sTNTjjoHcyEoos/nNcPziSW5NkOx9pM1aUe5pVgEhF9BsAoPkrWl7dNd9vJTCpgGBSAea0VuWMPM4s0/O8vRZqI3eV2oyEEHR5Fjq6W6Y2xe0NTt60JXlIohxr67w+DRJUbRLjklL0pr/y3iMlA1CmYUH3ltRQqNtNj6CopjsVcUM5PCytxfhQtcvsJJ0jyJo05L1oQUDzDpgngp7xrwDKKPt/yuq/aujphnuZVRmk3ZCMD29Rm/t3KMQtj6cXH6QGGywf8wwiZa6EjrAYIK1vgus99PHDH8fgxmYyg4vWTguaCQR0u8WlotINH/OXSeLSjSyye33Et2oeP4eGD81v0OHuXtPtBNPCMX6Htn5rQjkt/yF9ooKDMCQO51cRvxT//t2VXxS6tRiZYk+xvcJW5eWJ03g4wOpRF3VCz9ucx4bn5p8Nf7GNJllwTp+oEGL3SYkitL2W1Mbw0FzjYuRXzeFYWr9nH8nksSaPFGFhA4eckNFGFs6/+7vMyEuNGO6sTaM1OfvzmZUIJ5wEHAroxO2ma2qscSXJ8jO4hDqnyhg6Sw5Vq/srnFLj8KU0UfWIqAEJZYpFzYbcCEOCm77HdB89j5uikI8h6y1mTQUV9JlMfRgs31UNAWR1Z+jY4uE++OTeqofKjaEpNFLPpTuugvPxQrGqES1L0dCLxweCtZtWjXcTjAo+qvDLXPzOhTqCu4xx6n9phXwLEXGlKehNJpKZMgLXZu+JIVeW4lraE4N7l77hTZcRR1sCM/En6e9s6lllYgb4xVtVM8mVKFjwc/rVAqwtn7BAyuDJWXwtt/ZQykXa0sifBH2Uzhhv2wuphKu82heTwLMeyQWH3ys8ErPdOZe5q55Hwwz8+12CjQrtDANugrWu2Kox/ESrS88PJAWdYoGk9XhVvbUxTZXTE3ZDbi082+9CMB/uIHje+pYDS4tYVH4vfdMdTn27oJSxXc4DuFOXtXASqC11x5NUab+w6hAVqSjGQMT5rXQET/Lp+YCBchEWE5BdhHql777sbDdbKYlWCzcG0bPCzJ7XCSkSTlGlY5CBDcEj8tAcPhje6i2oP8WUm3AMVhFPTAQSKmSmOKDjFghHdvjIuGiAP18u1yIKa5/e7RxlD15cYNBrVmx4X5EVk+61MaxRVxFrELAxIuu2YISlgLs/4MTe9wL/lMHkYWTm/ZFqBJqR4xjVd4+geOIrm6NWW9CHsLfB7HVKEY2M1Jf43fNF23aqRxmeWdWLTcN6Xy8HNqVg+It1womElQt3AfXziMOedRmAWNnFs6trdrcnzsse1jWanNEA6zMBP8cQWH/fdaFy9Zc6B4BbVW69kvcueN+KMQdoCL57TyGII9pSQCf+xWytcvqJQYpJC6ct0kLG0YVk7HD8uVeKJAfxZiCyQg15rU+90bn0E/5qD+Jj2KnC2hX+LrWWVn/5BxOi3M5URxwm0TNC0NJYUWJcboC8VGoG1t9MgLGqj1+oarQiGdqMVWN70dTRRUXxSZxK6iilYUPc36cy1meZSnOrD6/FX2k/YI9sbI37/s3c0SlF6y4/4vjeCk6kaJhUwRAXaIUbcVDfT0aKKPCSbXHZytr1zTQ/vSu/3FXs3F6GtnWFBB2FpOQmKPzDJQE9HAYnAwSeTaSMb0dgJZksOr3wrVOu74ZMXObkTYGISF2Rq0cOnP1Xgxldt0AkSulsAwZqyG797SgS5LWxh/Ex1joBKlPdkD0eCNc0OWmpFkCLa/EAijzh0O2jk2lLxGwGtTH6GheWRP9bNVfcF/rHLoVc/YrrfrdYNc5NhR7UAOy6Psm5KKnx3gF2rmo7s17PO9NakXdyoUezNaqy0tTwpFvSHdoJqgYVWY5fpiVSCy6EwRrwYIgMC+BkWgPsMCqNbX5bhldDF4w8td3enAHc3p9RJ0s1IZB5r9m95//3rZ0kbnyVXW0s4hfFqwjeiw/5Ab6C4IVY8QEajlByX8oqBvB/20X8BaKrUYuF62at5VlIGgPvB68oyL1TWRKrpExjrHsksZMTfam0kNtOHN184FECNOOqEcs82HQs3u2TbhSIju7IiZvmUV4+CBODTw62GclOGQWEzKrL0uXOnTy10ItubHPT5irRCq6aa4MvWiZLHLcWSQKCcqZDCZk4zMwt9jFZOtZmeEj5cc3yNEjd3U+2A+JNlWRo3X45/dJcBmFHhbY/oSdto0CXuUlq7y+s+pu+lFWFPwtRe9H10Xldg7iJu1C8BQwIO0c8M1bvh6ZRptqNKbq3H0bshF8AR/fiyXcEZsVVVaCUyySUG0wEUsaFnvUI7S6meqkpc0YNY/EVSL8S7N/kpl4TLK+rr5lZbWaqb2qDSjESLWV0w2n7QFbnI+LRNfNRPCKzu7AMoD3e5BtQJ7wJ/lFDWo25862bWP+hOoeo1BXpXbrsKsvUdlJShhbz61UkhV5QOEAyD56Hwvp4gS5zV2Jz+XncabFY1BVts64tz4LErbsT676fbXnrjT0mEPBOsY5ZZaXqL0qKnlxtPordsoPxTwt3Rt46DRHk+Hy9m7ENAMTrC4NVt/ZOLzWIKnPMwA+nk4AyYcoaajXstZeHUvlTVHv7MrTSRH9SI44EE+czOnbInEKkWQS+xFwjOUfB8gQNSp5ArTO+yGBWpp40wgBfvIh84Iw5K1VTGnTXQ/azAofwiqXxqp8zDzsrp3r2LKd+8g8YuaqTxz4hK+w5X1o29rO+bZUahLGK45K8kWWyxmu1XJ2HMxinIGeXFM2LXtwH1B1OZFl8wCYHRTWrjmkzOgG4VZ7WILDOl9PKgyIY1ZWGhIWTYJ3WsrYJXMM+tYQkTJ0FB/e6WqJmaID8AyDyl0sPsO964k+vcYUvrkMm66+8lbiMtWU+C1MWhBn+eq1GDrAH6BH7W62lBWoCWuTN96GpYhb3rxfUuP6FuypNBgG52rgfbI5Tr53ej3XRJody4A6+vDfeThZ16P0ONIBqZu3GerdRxUs1U8ivIUzhfmonsoiKMBgz/9/nQ7zhoixIHgzB2OOiRUXveUkkRjlWGRbJROHYd77b923uCnf3++qO0KFadvmAk0lXsRNCRMBBuw2lL++eJ20Tkm7BW5UuTKzjWh+PypWKbEViVQCm7MU+TuAUCJswRrlcHs3woFbh9uuh4yGuEZfZvvSzZadXlT5h22IjL2oYy/qOm4EQShQFHVApd2Y1YH1KKU4DkZw+7/hQFgjFKzPUscrUepA9TfuVguhpeYd3uR5zK3DEu155x0hbk1gmWGs2bnXpNX68HUoXOVMi0L1gxz6Xq1iSynY+E9rAz7Dvde7nKY9Vr6yTZv3H5y1HVKR7+Me9eQOJJSMVSO4V4K1Oz3K+C44uJ4kFFHY+1613Vc5yvtK6oiy/c9cWfUPxAQFsbPCkIV9rtFcaX0ULmVR7+aM9SUHjxCEE8MLQcvvZ/iN0uAJ1HkZg4fuOeCyfhFu8n5aHtip/d8BhEHkuDJYUyf7dl3fTOpXMnkaZdc5189ivnLFl7Gbb81imI4Sn286cJA/HFlc3x7tPWztszZ/mMJh0JvgRu5hHaj34AwNbdnNmQ34ROOYgj/vfuuzlUD89gXnRxVJ+NeWj6lxcPom86YZA+kJFPBO0gr3U1BCj4x92334yNawThdhvHMUYrYFb16miunojpi6d/KhUHWJU9zq0PZ3Udzvs/EOBi8o/rPtDfCNKwh9wg1Ci4sQZuSKbDa0wubTLcGV4bxdudZQFqnojuER6KVbulBsT7QVL8P7it3ChKJn4PBoeQA3W3tO35wsWx07XbBBaUhfH7sTLy/CdHRfrwAJOwAFsuSwBOmrrnPDHk89l0dOMTjYphPYDHXDyJK7opvx2jQ8tjQL3G6dL2G//cktbIW8liPuuOJoSNQoPRiajJ98ubMUrBPoaQYE1tf5sVgFF+sQ02hP9sMtwH+IGD4yk+Dty9MVyX5PgPnrnmF0WcWior4Pt3vUNX5Wog64NR1+vAPiC+fZrwtOibfVtjZJpxRByIcDt1z3rcDOaOhQLBS7yDbe+qnVVSWodFfo91xhl6/bj2Eg1UreZHO4fYGikHi7NEUCDHkEVcp1CzZWcxTqRy+yF9b1RKjb3kqJFaqyKyyhI19wTFwU/tktWsYHiiU/RXG02RcVex9UARVZDZEIMvKs7W+dQ5v2CnA8618PhVaXm7wzHIfK7VxlN0KsC0G+DIUtjRKbYMzWPm8mExOocFYwChtlcN2PoesIj952nqNrRQc4BeW86++JLLa6vXpk2s/CD/PkWCb7H+HA5tIWEze4WgKQntzHBzup2Br79imNv+Ppthnre4FWk739bSTNZVsDSMA0b0ZNdKjpRAvyYCLJ7gGN79zXfLt+jKEwj3vA8euXvOTFThRo4ZVnPT6CmjqAIgMGAqqvfAdipoYx9ACSBaGqGt5jxu+nlVamJv1em5kQazE2mYY9E5x3xjX4keC/SO2x+us8hgKEdjYWvN89Prj5ru0JW+JMJW8vBnlN+PW/IoUTp+3n7WFAakYnv542fVVa9KtZYjRHZEfa7OyLl984rqFxSE+2sq4fkqmATbxHw47umTzbD8SuwdU6dzhMfIOc3l7145x/p8ux2xg4+31gUHZl4dVPdpo5mC9QehrRN2LdcGlRveWMW8a5gC1NlrGar2xhqGUM0kF6/4TDdO/gnW3csepPa7YRxBLiuXVDUZGQHu+ZJRozBL7gTcLKmyWPSlr43xi4IHtMSsnBMRwC/WKPSoRq6FYeHVjWgx8F0k5EgL7siwtLz8POsXfSLQwW0QE4/GK63KPkMs6UYhMKqkmzbYLE13pK1/h189+IENJcQSq4BysON7KXQDJmg1kTxemI+HdNExMznon7K6addC+/txvhlpyR2FSuBTRaPiPlbtOEsW4XKVkjF7dZ3G9Kl5tbRtjvzugHislimr3c6d2Kcgg31BbbWtBH4VWZ/gPINT9rMZD1hKFfEOw+rR2vI1GjpEKqJDfASpyldg6bHEEHrCf5+jTHww2NK95PCnA2A9lunLfBueOfDDxXIN0zSKshspctJKzfZg9Bc8XFtvg9NMddpTkvd12MstNw4SB2CL1uYU7ZY7t3kZFYJSDzie7Hd0/z9oLXjIFuxoxVrWms7obgU/na4ExEILOVGQuQvknePB9aAfAhF24UA5kP6exyJeRUzbwjNnFIWO6rFdyEL7bXDK7Hbi7qBcA2RH+fPdAo59Df2JMtlhL5E9bwWvqhovTicwMO8oop+591hHdpkxuMdlMguaHBvXNAokmUQh563Q4TNT2aQWqELQ1FTtc/HBKnS7EfPifOn/ub874GJ2S70tM269vvuvvxdDnvwLH/yKzru3ckLBX2q5ydRoG7Q6aQtn38JvUqzjzOQSEJeuJcu5TJGMvBXkktjCnijzTVDiTKoX8+N/ITAQNIxrXWth5OzmBtMiBID2StcP8VFJl+nXxEw1Z5FgwoySIlE9HjpPInx8A1fzfxKuoZvMhSkh7LWcPSVZ1nacSJY0+wHBR9axVC0X/vU8p6hmPinn4PX9wxE5jPYTHwqnSKlFpqbq6LXVFzq/NGCTv+syu/6KYH4l6DXj2+2TcJr5qzO5yE3E3hxdsEhL94G49GCL8ucD/7cY2j+3RraGkWrr1DboxkeQtLgzjyBCHfaz52Lo9Cocp+eeNz1/2aExdp3g4lfSWoWGP1f2ORCl5MjU+6EL1CQhAkkxdMpVGYGJa3q+IfKWRsIJZIEZOyxh8HFp3PnDAO7urSSCSq1Bb9cgi2sI67d925TdPnpxd/7nQyJaZB5+Vb7CkSmKx8njNKn6+UgZSzHP0ol2m+E+Pz2dNmFJJXFGz4GI214nSsjZ5sWUfDIRfd4v/uWSdS/EFs7Ii2UVRc1X4MHlvVpb5u0Fm58CdG21HmaUKNiBluinKt+3yUe3i1sN54xwkOBsz7GdyjXnyM/DEjwTkeu8qQbK0nVz6ewbt8S4jB4IRgcn+r79sR5zGW9/Hdw0IjC7R2AFVts0bVZz9nUPspe2BE+XH5DaQ3qAhC95zSMdYjHjG34LMoBjV64hg4R7XEbppkIcXHT17SHZ19ZBAlbbBdoR/lgBSm3DgOxWtRL5dCkqzEy1Dsr/FYzjcxT3KpEC6b+jSlxFCEIs3haZ4IFFYBVAPl0mW+DI0plzQtFq6BLLGPcWhLerOFEsYH6X6cTaD1xowqQp0ecUFlXWtTL5OIMFJV2G7eOFKrgF7fSnLMKkV326Tlr84dy5zHWm8oMEk+VuUE3+HrDpysxWZdYNgqNlYBNkdovUGbVLPdUUmhZ3iHWXOCVK60OaJumsSDKwwJBvXzySAhVFPkz9Roz2fgxjumYSoYeHwOUlOKhOGwCE7Ev6s3Ph4qkSqhMv63cU1+sJd9gVTBAzGcEo0rXeqAL3xEoXy1XT/v29MMNLQTn/eikAYAezIQ6rlP52RqCqPGmUaUsjwyR4+4JztbskSTBD+PCqjjxS/tq4B+leQaWCp1b4v0nmrQ3EC0SRccJ0SF9gXyy8X1sdkQBb913ofP+ZSR++4d1jDY/shoeKASMldWEysdcr3d52YfOiUdB49LIWVODSUeJhJCoVfk6qX77FSEaKndzqbePZYWE/PoG/YiDSkAR8YbtcIDifmJ1DrvMogBqllg6W1r5ntdNN/KaD1+Vr8GHDt+Rzsjxmy5ecQjtCRkf+ndUXj1Do2oaqdjKPKbzLLlv672kawGKOkjjroC53LAMFnzDa7EYCb8G7gAyEkOyN3g6pkYXhCAZWC+FOqlRJq8YJ/vaxXv/F8SgGnfQYrHKtQkT7QZrg7rlYh/tLESZGb3SXU83EOFzGxQR/zrO1FtCg685WddU5LrWNTOheV+YBA912WYWTe8o8TLowo1r93JraNQhjijc9rQEtl2ChXJS599ywahub6xj7XHHwaoFG3QbLhYjiKqSnLziaztg8x4a930315NXg1Brz6PBCR42pnC6uLK6hC6kXNkw6Es94aABAhcLGTUFS/e41FHokWHFE5tYYfppwXMhY22ViBoF0lJh1dG61bNbpsj14eEelDwKrQf1jGtqAG3ohOa2RQobuBxO+XAdQiVMzjRK8Cv40+sp+SNW2zq+KLhNOmTQZFD5x8QMbm7Sf8R4dtz93d2Azjh1j/Aj8RqDgL9PM6wVjNdhpdzKJhnJsNjBd5kaV/RuJBa7LKXOp0TlR5TzVqB8eLyndpWKENkcxELn8tTi7IA7ul1PeJpVXzADRaqD2VBQR1OnjqM+lVtrqGPOyjAtD5z64kOhv1Veo0W490+v8vbEcgWx9PzntEB1eEXM47qDcfB9KMX3Z0+sgwNeQg2iZwgolCH3ccsGLYRoDh8maAkudtOiQcpau7Zpzxa42dXrY2QaSumKBpescO5OJe4W3ExaoBR/NZTnCA1JxMfLK3cRqRHoBSptTv/lKRFDHkiji9wZfReHMa2ShfBn+sKYyIrQbWyLpYDBGcrcAuRzKrQdNaQp/cXuRTW+f4FjICrRpZ/5C1wfzv86EiTpN6lHUtT49k3yxHgAJxwfETxh13eJBspdnZzUA2TUV0g38H+/Lf4JrgyBPgBQW9QmLrJvlNmakA4UoseFcEK6YYRfEtuRjygRuXuFM8d1a6yOs5iU6HtQ1Ek5NjZk0vxUNFj8rg2xk0WLVefwXaXO0bNWO40JVvmyUQGV564/4aUoVx8MJNbLTiV2ttb78AdMDq9tDvsTEUUFVosNA3noJXWW9agYJytGhvVNYmVTtTBg1gtgj+gBV+A4WEB2Rdc5Uwgp3LP6h3PEQJoahkInJYelG12m4tpyM4N6Tf8DSzAvMErfZgS6CeUc7tvXhaAf64Zq7i1WmkwikqUl7gxa5iso4BVtIzhLB9B073kX0LoXMHLsl6UOD4qY/T54rMRGonjyLbt/sKYrxnzB+mjk7RsZ0urK13jmyFM5QVp/goOBi3GMpvPp1cdxLQDszZEh2ZnfAfG1DC0QViF9Xo2d7lD/48MWzLrSGJJD4zFo4yES/t+ZItD6YmoC6ADyHr4yKZXM2jwm2KvWvJvpAaoXdoSsIhw00sQEa+MH/57dxO3EL3xzVvIvl+52Nth0sr/Hgz/DCUongfDxilmLQmhvY6/WJKKPzQYgu2EJiqhcC6Mrem0dmKy9OZbP9x5QIxp7Beyw1AW8dwEY6/35AkeKhp82dYS0C95HEjvdZq7jqyq8Rw5n5Hlq0ONCdIDpNld1bnkzN42wBDbxmwQ0tZuqX2NmYZ1h4eD5RMhEAfOG5fXAzIbbLDWkIVS6+f61zhqmM9S+eviU+DlrbNFMtZ/qoCBOeCuyYbCCMaiTOTtYy5S8md0Gwa4fmyOmlkL0MdQ+zSS51W/8UabzyRLbnM7r9gRGCBSwvZaO0iTmAtdOtZeY1D0Ly0JEbIpjOg41E0TR0YCV05CS4SIaF4BbTmcEo35tS3Y+z5oHcjmLoScrt5S1R+z7Hn/MAZzYZdsAPIdg8zsb5nZut7UWa2neR9bXZV6xT3argaU8TXPgDptj04RQyoTo7UV2jsUxyBsWnaTgAoQP4Btw1DX7VzuFbc66kKXSP7mMwAMCEYN6eBQl1cgJRzePNS4ecd5ZNfDFalX10gMfNcjQx5ObeEoRaBxmP1PSbAMrzDqAIjg5vE1ZbU2xc8mnabD8ZMoR14diS1HQVDdyvcWpZ4JPEAq+WWOf6iKaunLIFDzGgf14BDrjPH/PSMbc2TkFAKjuQk5eF6Fe/b5PD7xdnXiDAiEtcngO8PR5lPwlNI3ZnofEV/X6Y8o2bJYD5dxlWBc0NKp+FM3viMHNgCk0PJAbDYiCKKiCoGleQhKxjZ0EopKy5evKWElgAhbUi88cMFz9cczIBOmru4pEWGrQn+iqQ78WcXRYmdXnFxVG3B6FsYhivr5pjXruzc8hAEWZEFWxAY3aELEzOp+JvW7tvOauBNLQ7Wgh9XhfTlTHLMjIs/PMyQM6vXmABX9lN9ZOWUnFH7pTpJrjYgULreyOuRb5wQVAu/tzGUlbl60J1YSCPlpPIy7tLPEItI5nrrc65l+SXqimCzfzmq4J8zebDFGTSkIeyu0UD/xQyEgBK8OeEV8rsUNyri8sqELr3KlFylx2Dl2GuF3s9IybpJuSMknF7H5LvXZVVbXP1O21fqmTRnyHWdxu1t83Ug0mYoi+XCmTVrSTueMyhZ1lkTx1MntHlLttyH/UMpczecBEjAXjFsfwPX3NPbcBvvyhhibPwChb48INEc5FbGpoUhq0sVjD/W0Vmb+/JXdkcrlTN2dEKN4uJGoeUOQ3tJ3CLjPvstZmnPfLF40J3RzozoHbRe61WnxHhemXDX7qI9P2WncO6Kj7Trdbg8kyeiQfUFvNwPYb9pJ9DEJfEyc8ZUUUIDU3i0gP0PkUNwgbzEgJcNDrIuFlM7SkoqUykow6uY18G0EVcIqenXoqiftqkS9orhITTlCcJhA1DJPMqRsma7S4vJoh/LjV+uNiBgrMU9Wnh2r0GwjpGjNJigzIdFT4CwRao6TRIB6d9bxEnlaxnq/kvt3lfY+y2QcD++6DHrDGP8kqOkXjtLXVaAqHQxu1tbZV99l1Ekvmglf+hHbnK6TwGjRJDIXcEerw6A+jeZUXgNAK7B6XefECvQGRwxGGPElq30Si42nYuqyAtaoakSMI8NBFUalIGJHaXU4aJ+Lc9VuYlyxyp67Bw+ZAeIfiW3uRejLUnewWbrEHDQDA7Xl5acnTNupOWTRy+5v1Fc5bl9UA3oPLVVjh3beC6yBp799hCScOLez2n50RH5K9glwYoUiGLlvab2SFHDWOtLhMj7i0+PhYrede+TlOzrWAWIF7amNf8D+kA25Ti6UIPefFQ/ixsaehfbec64utagFiueXur5xlZ3EPjNBSzNxORVX4bed5GfIhIa+c7HgnBeZ8CefvsfUOYrF7mSyE0QoYwK46norvkASMo+0EGmhoPjm2MDQtxpp5gSq1a7GySmfIhUrNkBIDI0l7CKQ9StE7/K45tJ6p9ATzD8ZISyJ+TZMFRhaqvV+rVqab1N93zWdRcyV+9i3nV8816bWSkd+ZABnLiE+5i9c7XWjm34Lj5lHrZSHk75Ta6VSKdXWUIkh5juC98m7MWSq0wQiAuaandEKgemDp2Y2ib8tcRjYshSQUtPzBWZh7JCkYYGjfU6TyfJnSxlpb0hYFtTxq2qymkwJ1bhGWIXxSMcEA6QLbpz1h1JvTKhM6Xn++Ren7TxWH64qP68kkWv8GAXUKhv3Amvcm7FXr6tyR1+qc70DO4CR572yXmbOIUoNLiqVv4hMve9r1FnNJsDJbkCNL4Rrel6vRwkk2DC5JBcWVwy+QG0dKE0+H0T5RU0f3zn1pFjqYKnwjfrS5DabMGY6kVcrWA40bLXc6bvmpfvK9xcngbkSws1Cw2c+I0N4P+7FFPkJFfuIyQtlET3sxxrEOBnZfXVZSpiEg9dfcDOAJjE8J9iXVrzSb2cqhIiNdqboOTDn6TGLums+piYKZhiXzgR4/KIAplbkIcTBygpdVWPyve2l5JVs+EgPO3j6/XORqQZwKtNWw1bDYPMd/pPuCui37oz2UaGzCbTRHsBXj/rdJZuYgQubgeEYBt9affFQ93wMSqwE1Dy0JzJ/gg+RuZQrtsfhQTexeBv4/L3tAArrbl0b70bfGwa9hSq+UyCORXmrJpeOJSe565bdB9Vc2CrnhJ0OoORlQ5C1pw/hIJgitk8AuUCDuH3lQ9Lcmw/9y7kC+6t9ppMfKY2nro+DaX09lTsK66DbsQJp96E4SBNuai7dVfUjqo7/qClpTxCbYnn1JIqZMzgrwsOnbJrdWUaY3qiPFBXB/DQM6oFDmM9+WH9+HPZTYUrupi8L91E0LG4wyQP7FqShOxp53DtiNaHeaLNsSIU500+eESib3JrXkUJJa2Ahd51aWoo+tSwHLwpx2h5eJtDSTkw0V0sKaBY77k+u7mwi7zzdLTLhxUXAyxORBq/SEdDt+DxH7cDzJUPNd+nVJoeE9LdxyTMgCczdeDQlcRsc+brvL/TpgyCRUOkY3JfBETGjGeJJQsz7wgjsS67arD4snm8M9qx+bStHD4gSssORD64IMoQoJ+BZL7THBKLSztX3tERYBP2gG7nOI1JGwxXMf5iaGp8pIrmEhOB+3/uLKSAQ3YF7p6/dmTgifH4w/iJa2HUrNNYxz+AUNtR2snkUk20xSSuPrWmkQ64ZpP5pX1qrsr63TmtA2mTRFh6wetANRjxXdWqf7bPCv7rNISt5HFIRbly6l1ARicRvbdpy1IbFlON9DMHk2QWlANlSTOuX+Rz+aWmTy4GRFqKfo29nR+CotDb0Y5FgSYFaVaFonVkMYrv/XiRXn7pMmnM7u+rlw8C0mi/N+8me6hVpU1UIgJpGzTmSar7ITQ1+a1EcytG2wzMOS5DYs6ryWiG7gZDQj0R6YJZvh41WnrYVVJNLj+eCRi+ibC7UDJntffHcEVRbmf8qiXFEAzDW6jkw18xhH93jfVrR6zHjkBla4NFlkmQbhs3H6KFCRuKIeUhAohRPrhIlzFBNkc3+r25eYS/tQ7CoxADSfmrIpZR3mGkgISLA5SHJ7fHuIlsG3vh2dWpWvaYt/MawGDKwvD0kv7j0p9StjMqT4SSGbJwwGoe7bN1DF1JNCx5Oi5wYNBsLWf1hU6BWm+uIFfbbAOM6aVVwVDDnpDJ5geFutDxluSRyrZmU56xsTQ5cqee49dkEmjZcEhLBhJjEbN7OwiSmlf6X5uoXGxf2P+no/jFRiNf2x2zILK5Lbj5CQP7ZlsFjkgoP89ptWMgBioN+TnDu5ofqA96CIrQV0i6xzerfOrkC3ldQp1/dsE6SGR+jXNHtyvTB5HOiJ/OW9kkt04IYIH0dWO9o25vKk3fQrCH3tVW5Ut85LWAtUafhcYEsGJ4j6UEBblNw54QgcdEcxQWVqFY32Cz5OqZfflaGbtOEBBB+nnh8DkrY/BbqnVAyH95IdYNidwxrB+YL7+KFPPULthLNsOVdgEPrUDgeVRXw/vky7ZPiW4OEf40UQZlV/gB3kGiAuFNRcbonhHWWL5zk4IXFT6GWuHnir862Nbj3D8LwtrMnTCkQPte2BZUVEOF8LLroEMTxwmrOyJGpxVXPai9UYpEOIeSki6dcHTQufvjYL4fEleKeY4j7cAKxv/Cq9dY5sNVZ5ce3e/t9T0jmaBNkS3Cp93AeGaERVegxFx9jmtUzvK6r6s3495+W63yoMnHVEc7dzYMLlAC2K2wvTEoAsLnaDXp4GgHABOothnIIsIk6vPc2vmre/zLpg5xuTFkpviEzFiXm/lD1R3M84e3Prp2Bo+/vyNjCe9KMvE2cMVj7DM8zqH4fI01LhDlO/uQxgmdWX7ioDddaf1bZRbyI7r+Q0MXnXai+CHsLHerCfc+KPwWVrezOdWRolNyF5R9GWbc/YAp5vnyJfBeZwdHguZsqisvuMUqxODldj314i1CUOTmPD2BwCPqkV5k/z6oyydJ+Yx+ORVfLUgwh9Z4YJcbgtvhslJX0gqATqnzSlziLsVV3aHaV+LcSptmiHY6dIEZ5noCw3F+kazqG3ee07G0NzVR2pvTPN/RHQ8uhpkTBmmbIAgRsSTgC4v1VRIRcshlRvTSXV0d1Nqz4qA2qGVh2/MwLdMFJ8ODJA2fFPe6kALRI1QRiCpV+bXfeE6RM3ftYMd+4f8VmTXiDJzmFjxFZthBc8/yDmzTuZdmHZR/TTudQJz7TNytA4JiAwtnM9w5iJuKF1DzEjAI81ziUogmqvev+38NVeD6/mc91EvtC7y4v23Nl+wumeXESUSdyMoL1VeOsuFXuBQLkrh4+kUmBzSZuug/G79kwtknCvszGkkr1vEKGt3aH0AuSo18I9d4Xbm/w72ATmrY2wqtZvPdVl0GM7gYI2S1lM6Ex/h91dXiHg/OOfsE6FMdCIKV+sTr2pdVSzyowEnO9b6JjPv+5APCMmElXvHT6KG2s5ETUMO81IdxR6ifPO8kwcOEkSKRqgt2KX+6WWIQNbEiW86oaYw3XJfZlvZfjHUtMLEjlRnkdPNOvdxQaEScJRN6fm5nqqppPBrYEq4b07CNplD0XDffth3rkmOmTubqUvvqk+5rjNPnmnwspyCYBytyp/Sj7iHIWXGWWIAJQpX45ZzndBN9P8X38NEIhDMiVHZ1V83QyrhfuoeTLGCnV26Tn5ZtM+WMRc3kef6DE5D99aqrGf+mK/5xZV3/5WJ5uslMJxA3f0kcbjkZXV5SqBigb4Ae2TmJukhEqmYN2tK4SwCKBXrdvghzXlaupZ5Zf/c3YSzMI4zPF3KLNgUC28mNnTiQF4V36DJdTXCZLLQ2248t36u0ol4bCr3BEQ9Zpu1eubcLIQJHPbGhHs+ZNKeS//KXZLtgXOGOb2GEDpsuMM4KWCdYDpLQQWY5RXsj9U55afJwPBTWM+jGsfa+evWK8gWBhpWrsooMgLzFrHwODz1+ncsx0SJJ9dPo7hOrqcQwpLcY00tM2atnvLJlHspA8tIGCUhnx3ZuqvIpIhKdA7e/i3vf29dn96tHJ+y4bCgcGyRF4JB64PxYRPmQsDizk8s4yxg2duIV8frk6Wuy1BXKoSN9CcFyxRkFrl2TGayP27IIvCmpVIcbZGhZ6uMAmhrW+CEQ3HbVxNJt4kbhPo9LKz8zMQf4iDpaoDQfzjfOVr2RiHcjqP8g1LPUw486Pn6hP20yCkVwFZMZqnlTy6dIvNNtWIKzRUp4cd0jCTIozScqzM4lyGLZWUrNILuEpi9vd0iujfSQL7IF8WmCTfM/pvvLSuuVafBLRMp+PumuhZ09l/ARQS1LDpQW7sUbVkkkcclfJ+pFVYOiVUFEeJUWKzc/IVEPigPhwUk7rXNN+xxYZFezwzGw2RwlFq2hAbeAPtysmWqcVfHQJ4HFRXwwF1C2ghKlH2zgr/BVbErmNyJYnXNgwSe82DdSoxoO6z7gZM/rP9hzpU0sx+rfF2bNrzbbsTuvxpsilWp/szOnfj0qCNzNktS6JDy3Ben9HRXUW7CLP/P5gCRcwTn1DJc4H8O10TTjAZ28kiFtrkuZznaCuF6Bl0MM1RbooP0svZZZoZkuJxTv9QmmM9rSZrsJ67VddOxeDh6qW1zBXktkTJTVUOl8zzRYVAwKTPjnLVGVH9D8TVJZ/K4tlydJJnd3tF0M/lgDV8unZ1GiPFBruh6iObNDUOHse2c3szwBfQdiqD8ycxKaGCREx/TO+dxREPDiS9WRxHcq7lxxxLNDw8MUgRJ+1fYCxHwPx2ct/gwSyjYo6zsFQfcdYPCumLQLl48rHcgs5Fh/lkTdkroeQ76NPAjTs/9R8AtHXzztrEaKBTGc0ufg8u+MVGA/9Rep95QEUP5tJFHU3WoUF29XboK44Z81y44uiulyIgPwek0+TH5uw8+9gobnbOX7v+rgp8z8KwFXxxNSpMFDcd81LCXXSJkSxvcPygXxxhVSeTRxY9v3yn7qlakwKCBkyrXCuOwkoscdM/Ace8qt39ZYd97IlJMuGi39IsZ1N9ySHX4O6ma+BNPMIgMM6wb9sPD/bmG5TdEN3g0vqEaxPuPa0m+L32G0BM4ufEc6fKk2S8FE35jkQOTjajFkEmSKpMYMIkXPdzNMDWk/uCPz7NFHuQgb4SDqajYJVBS2XxBINAV82+Xvs5GjnIqzByfeHg8EiYu+1git7rV7ThIE1PjoNnS4lY/03LPeQ911g3UeD5VQcb7f7ogyiTkf9y6ewjpBW+1bOzD9EMz/S2sm9OdtnXQwqx5q+Jp9v3bjNV3XquAmT8kbTd2yl8MOhxa/atuMy+Og9DBKBZOzIi4cdbfuWFXS1+NGfBhrVXEMbn00wpJajmBfBaQDvdRx6+cfoOl9RBNr7yyrk5oBuKcWD0IQPqIqhWIGZIGOw4eBEQNakYb3zr/6UAmRHL2Akv47qTvV9mV42La/hGX9RoMSp0fvBRmiNL7GaLfnZ61gKeFDvLDAB/8WquhRK9xMVOTzQJQpeld60F6ZQNlXpT4v/ZCOEQufH0ALKFVatXFwDD3Y0pzYeBs127zHXe7j2GdMvYib8Hdl5EAxpI1IMvh4/T+fzY0QsUt4nnPH1GzaqpliCNxMPHrkQnlJkAHMvrWV73N7HsDneZJMHwvpcKsuuTn9b/9nl9fiW7krdOXrSMhnc7Hzqvtsh+oCVpZRoXq9SF7qZt3TOsynYS/2WhU7Oz5AYZQg55+qDr5LoU5bBEJ+27cgcs1CtQ41ILX4+Sxtbhvyka/UyqAr/Zd7pir5wMphvRbVFJb/oqYvjBVdi6tGWGtgWNk4gP6j3la+kDWR9wtV5fFJXorlnyB4u0Ov19nqieoeBPojsvUUmQ09Qllm7wjVm4nLoyP3RB2/dONOWPv7jmGjg1DHHlZmy4gTsjV0J2KI2ed2GOnjyjhEdA5y1Bveqxd4h7XX03Rh5Zro8st7PUu3le2CtkHMqYBKquIizKchMgWI2stuZwob3nRj3ADRmAbKj17u/LJaLvj8Fnq8KXSZTy/08F0VH1kLaF719EKfuca15vKKMNrKX4Lzf5hfumhD+zuchl/ihJ5GnKfVepoOSbiDLnPC8ymPARFJTOwCM2BtR09wZ8LBtuxCSgSrn6xg+KbN4ui16alv3Ht93Zd99lqsTsyiVLx8p5hHSxjONNmTXnWlwY+r874ZDZuERNh2e8JhLw5RgU90YooNhdKleWCFrb+DPtp5Lj3Z0VTAuX7UM0opybo4e/hN7tX+M5bkEz/fSVPGb4OhSMdplAb0/UepTbI3+mWklLysZdy0kGPKLp0w5ZehNZN21a6W5fVsDjNSMNntOii6YuALi5UDJ0uJZVoGhT4JS2xjQa4bhcwQd/zkzDoa1dkPyc84rjgxfixRXMs+0JNdkxhMiqOVj5ZosPLdV6d1h3hUb2HmmnxYUFzVc1xmz3/4qHGZABSq3zWvpJoCOQaKOU7PP2dDEonD9GUzUkgzK6SiBjPQT2ItDFktcYPnpjkN2DMNE1eK0/jM9w7LAUWES8Pn+Yb9BApsisNJD4ZikA314LXp+dXRdgJL3WXZzy2M2qNnKORiglT+LyMgkd3X7ZznxSDCOXd/wgbm8rfnWmP6Vw4xMqUvC5Yh6TtjJx2XMjiXMv89mWYb9ilcscEVfdxhDeHcT9aJNllUDhWLYbRwpapseDUinTLwGm64LUrDBWuEHM0xjUkWIebyyOXVI28pv5JJ4XsIL6OFLBORJvCO2npqCeNqZN514B0FqhtKO8Ymyln+MfJdniwt9os69d3ZxZeq04VCUt1IcPj3iKQX6q8AYgIGHCqnVUid6Lafx476AKtPwqHCfBBakYiBjNT2gkiSnoDytE1gKNDJsnm0YRGjkYnwT300JyZrQYOX5MrkDZZW/+IvSItwzgDNlb+cD3eRQKNK6KJ8MRQUqsSOSUcbQZElMewkiA48ykjK+VvQLBqiZiX9+9b5HqePuUMKfvAcgbKuhj6WI3zhyU8tqCcXtbgivlg1VOleYeLew2Ac+i1GyzYigvmf7X/sf7YouMHVgqscb2sZdVeGUFTj1UojJhtPf+c6MlFW5QOjAaacvbw/dpU699vsujsHf+gzeduGKdmmOBYfGj+QT6ZywGfKgKaJ7o5REFVj4/P3SWgveSOC+YjSf4F9Lx1yoZ85OYvyDkIAcvn8mRx/W6SRqH+Ydq2O7KbpiWhOmmOJIl4Mczb6zEgL/Xhxt7BZQlGRivvT256fixPHCHyI9rRaPRO9NBgz5l7C+0egvGxnY9Cxa+Sf08Vv3WvCTww4mbTjLyRrNpYY8sUPYUTBYElEZZYPbiPOlipDJRNte+9WFrrcs8Ll6DyS14aN+w4XjEYelNcQXMReFcaJIVXYAp9QihPweaxddomZSCnqYeDeOK1ba7ZKIUrWWz1IVOQTlpUlmTSHVQo4sQMfMK+dY1/JyzqTulKOGbLcR7BZzwVLZ3x7fmiy36P2wtBbi2+NCHU1WT5Q2jHZy004E6kv3l1aPMq9GmcUp+LYldl67hjccoggyVWHgOBpeSAkQmjEJYnXHqf4jFw9Sg/0kiZFfKB0pRGbPwSP5+ayL/nKPPxJR1av6xmyPQu4A/q0QFNXbDI0rXUdhCSq0O6zpWwSYEVFJUckSgSIVjY+u5c6sOF4R0PCnoL3ZuzMqp25Du5H8hPyi4MkeiCDDg6uefzIuyZ0aVrQcnP1LUazdHRB/kCsdx1XuKhelzsCKbziHArF0Xry9yPx8bMPI8bh8LGvVSkFzIjC9cI1/Ln8vTqXQ7rhTI6swJL0j2bUPZwetyxGPoT/ELiTFnqOB8C4FbXh28BiYAbDsEFsAiubw0elsiG10PYWebrfa77zhf9ov3Soulq8tg4Gb6HcyiHQlo832U48HpqaeuJoWss997C0VSVi+5U7DHfhKEXjkCzNkuW/bB5dYIy2G7UAi+t4NTNQuqkXbEno44MkHSiiTbgA7OAnwQXhN66CG2CrWZ+e3EmBb9ofPa+PiHylWrXpoDhV6K8/Z8Sg9rKa7W/sbGDr5HQnicWF09unJynrtVy5b8I6h+cFfCc6DD8rF/6um1I7O19RIPVV7bBWve7tnWS7Z2uHOaL2yXmDidy14kCpzS78cHYYAqgWRnUm1gz5ETgwBwB/RNNn2PFyWNCgMuTlptrg8Q/d/7j64zkXz21P8LFLcQ/QEmDxswEcqTIYFS7E12rd4GJcmXEbj96qgTYuWyV/95UVShEn9Kixqu9SFaK01k2qc64Xer8GbsslRd3GRfxVH80f6XXKawjEZMWclNHFX/ioSopBkZeDWo8ntssti9pRNUwOMcsXls+enTb5um/d6ivYq+3e7BZMxfVSHEr5MQ4R4ZdZRDeRk2V4RdDO+l/BzcOiRq3M7xcTGzoK5s7cwlO22JjVJrCMxsFOlJLwL8D67kRMyXS/PfErP3Q3Ni8bKR1cHeC6n7c2RcZotrYLISq+OIHPblumCIcGlvVMohx8nrnlM8cLEp5Gws4tyKaTZDX2V966RIQueBTJwX6+9x0GWr3EarvrqLcTXIKxhY3tmIv8HWcl+ZVeo9v7qFO47nG2dVkb44PR/RP2zWcOv3hQlH9fS21RkfCMs4ZSI0KsBdA+qK1ulkd+G85ZmgS+pV2e2BFmTlM9B3ALYTpuKsxzJpVHkdpozJUwvkkt75ZJN/3UApBgpLXO9QkPzRuz6ouLlOv+NKqaWCQQzSAdpQ9/mNbkSutBZ+67jKuX0Kaq9vhIgSMLIphjg6//gxqx341/9/hn7T4K0vZ9SVwOoLzZe0d5f64V2VGaSQOvhjEBvyJPWJ57ePPgBogZNjhPMlZBFthFmn3ZawILwIxb8877/9Mq0MiO2PdZTw22QtdvrlELAw3SvOx602nhl6wKogrc56ZMszhzB0hJSbIoa96t8jBscP2yHCWl+nOGznZRA2y/7LDC/HDAk/tFTD3g6p6QDUY2aKRKJ10LEmtQnKkkZPs+IzvrfeQdAKPev5P9VngaUb8Wqy36OstbGPlA3USIrQx2PqmnhVn49CHO3gz0JgqjR88MWS7BjsB+oglY64Yyj4udc4ZaHQsmPtsKsisoF5zilZjQfiUBf3Ctc5nrvOaugNvTo7oF7CrQ8doz0zrR9FyGOGF92d4X2j2kyq5Mj8x35YJ09ETAuv3FRw4h/667saYVtVM1prjiprSWoEboBHxrLRVj/IDrJON0zuv00B5lCOuJukk7QfwkMkQIPtIfkf4BV2KTjQi2o1JFGGC9hr2xVsA+oanutJlisHVVU0KUSI4JagdXVhywIoUbC/kNi08P/8AX6F9by2iqm+WehEXTcCVHEzHaMst4AX6kde0NfruxalY8lQwAWdBHddRdmhvu1DLoDedrHae9Mo6XwOuXht1AYfeeBtf/C37/wUKbYakRSstIPnz2isuHBah3n/lwE6YJG+XYS+5TgogG/GokkTX1I3+PIUmnyAcrKV4uN3mFpGO+JmzAnv/mPVoivPANpSfk6vairJaD1d05HF/kx0oZsTKkFzMVQnzq+0emXJ6uADVxK6dRWvQrnKbAluQp51mTbUKfR4Ef+A8KX7b5MR1OZNHJ9poCMoxbYER7DgIuJ7f6iFYoeSQetDk5AQ8PTqn8qRxJSgyG87IPCcyqbeQop3bg0CKEKf4Hx85NWqgCR4Om8jNPrdy3yeDgIwRHIY3EX8KvAS1o/r6OLvr+2wXV9BVwCg2aYVLcpAcfv6rcR/0Hb7IF477GhtOINXhAKDZumMYfCbd30u3ktqFl5PHv7xx0PpFg2j5YME/jaFpmTz8p3+SZFAb2G1wWqVVj7VVu9XY1XXSuK+9Hc6iWsub8BJLQPR86pUEmtuH9ZiA01fTNtqMpGycHA5ajGbz9fIq4sUiOkT6yEFkByI2iJCwXvr7lGgntAy5Wg9iL+o7ICQCxFFVeapME4BrjgIEGwVfUrXhXm6M0GikifCdWPDBh8imNulFy0/JCpmhWYQB4w69d6AxPvLzXRMuTG0f3rCDOX6ujp7gTUwL73r9HdcQJHZjzI5AJ/QqqfZcmeF7Xt8Qv1wEwaLLiIpJ+lqyYCikJaFfkxWo59bGINHcMg9rRm5COHOBTYFvh3A6OJdBE0mU2K0fEIzSfvhMGXf9fx1WBXYnRUnNwSD+tyPGuZR8GaMaYFFwMo7n4ihpjJ5vyAwolq4HkYa2G2IqNQUcV2MQZIWEFbAXp8AEFZmyNCojDdq3rOGIe+ThUi+9Te8OkCD6SQ6ZhhAvLSpLg12llTJHRsFTv47UhMT+kBBJ8JgTm0Xiwmb+0/Rk595KIUhC7QD4Kt6LvP1WSjfnKvf1ZmpPtuK7TiJ1ZEhpXjQqv8oLWrj3Z4D2ZPiuOb2P+Fva4JLGDUaOZ+aaD4MElS/YC92zwMy3wFtMFuJaTScxMzk5BGhfPlnY2cTbgHhiwRJs6X1IPl00A+zYxP1XSntezE56rT0kSHBb1JQBiSGy5OAuKyrKlpPcLzCmycbi7nE5QsRQtKunAcNYgVTDVnYF6DVFaWVu7uJLB7HA0TNIYbY76e0Q/OjnoZzw4A+hrZ1MQYne17Rs0ry83OieE8Cy3C7HUdiY1zzRLxna/ou24G1IhTuTgcKmyJI2rTMeBQKxpzzeVfU7Kvhx8XKKFTb9kVjlBrSqoS0AwYm5TCvHrl0CQAw9fLSll4yQ8/pdvypvgvptQEyqXaAXTKT7lpDQhTmyzFhjgVZ1z0rDVL3EsgSF9+nn4yBQvwKYCEL6wPshK4f79mbxWSreaUUnkdQktrTRMrRDuny6sQTAL4ZDvMgReTnKXc2xqPsJ2fyQLyqQGGKCzyeqc46kIq2TFfHDzH4jFNSUPKoL3+WA1yc38TdQ//2ZbN4Lniv5DIa+eTy2pTW1V2SSEFhIMnDpf68faSQk9JRp7WINrCwsblCYR8gIobvs1L//JQmctcokSdJlFkiIx4eSS/S3E0g5kx5uiLGgI0v7WtuaA4dUi6mhdpegMyLmiSk7l/VwHuYBk9BG+xouxPnKruPUcIzyyDWEOc1dB6HPmRdPAzMJqlnDlnLt4ttNvlOGu7rzWdvt10TihgJCS7ON5t0ShxoduHnhg6pKpURj/P2v/cf228HXdUzdFVRt038Zf6pG3Z81Na9T5RUcPNMNCfRkaxXRUz4yxd+IMtYb2Sqcq9y8lbo4vHEeUlEqY4An5n2xBnLoYQ6ZkVPh3Q3sDC+nyvwmx4bO0rA0DoTSTg74ym3P9SK17lp53KVoYm3p8wBDlfWTDRuHHhx6lJcFTwCNR0d+YjowAkLl5RpNfzwzdZ4vs2WcG1ZqUW2T9lP6xa47LCAFJrjc1Jo4cl5+RChluBSbt6y6jpaReqY+fXrqsSvKE3n1yIeM4CEun03sdz02mkt/LsdYkMeGbp1f+q8tb0wFNrtLJc9KO83GMmWhrlUWOEVFDadLIXofehuMTBYd+TubQKXGNWWhAVD3XtTgTi5UyQ9JJiEc90bGokfDZHF+R3q5zxOsqmzjyTVii3BfnfYn3uB7F4CIor4a4hlPUFy0jbgk9tNKKkpA3+89ay5rT/2KGATCPmrCB/dOQl+yKmfp2txGnN4I0HZ73uChF+4eqXgCCXeJn7ES2ZJNCdL5rSPYcH8zxh4cNuvDB+RuIuvwuqvVhodcrVL0nZtOGv+yVY7gPEDaSLAXMUPrHmsiysm3LSAjvzWNPa9hrB71B+sQG6sP5eZWqvlsOaqgbcewF5r4ZvbswEfhvIYscKabkwDKWJs5PDePr7G5Cp0neJi8cdhS89RBXYGXJ6f2686S56aFHiVFeSaQrOiUh0I2WW+UXqurjoYnAJfgRntMeUF+0fzoSF02R/iPSKK3nkI3IKVJH2+f9o6qhBXcjhs7f5Ma8SgsXEjLuZ/nmVvI2wRdTcfdphBg5QQKOa66Ecrlw2YG/43+J9AAwzQRw7bO1hBn8mNG7qXqYOnrg02kmEgComKXf7WL4FfdfZx3bPVPLgKhxu+wie38fPpWRHVQEh0k+uTjthpP7Ae8crYNBZTHYM91wHSqlLtYJ+McbnYsXK6t9vvlPMoGz4Apw8ZWjaIpulr0rMJ2b2nGfthDp7c8daHMDH+AQ11OL6crK7veGfjPdWrrWHygnLYSmTJAM8NQrJnMSWmfdx/SULqKc/yMQ6QePmeWgudbsafUPiBRxV9KMPS2DsqeQBkyUDCzB/vDLRMVo8wwzcZePWfj40Rnpwn2JJVGS/CtAHB7iQI3jzl/QVNtgMDWaJIQlq2NMF43Ncn/AiffhmvkdavazqZGVbH8s1J+CPL2315z/OxpGpHPkR1a78ai6k9ZrYVb5Qn4jYgEt4rrlYJu6cn3bYVO8TaB6cjYGwgLpuYarCQljYAUvnfdfBAvCBHAH0+CD4ybIjTGsFv+wx+J34DToqrj+ASxyDawmQIJFresDYdMppOLIYr+1Hsw2R0pdybqVhU/vSenrn0sHM61yNIrd4dK4HCsU9BDzUcUN2VRK9yzxgw+No/P8ls0CbJOsk1uvS3U7NI/gl6jGbPA2R1p9IOJTC1M8xOPEXyF5ovqx+Y6fKRlxWITPbscImVSO+gFDrBP0uOH58s0/GQ+75M+6hx/dyS2IPgBwvbRIW84KLkwyPm1eVsflSH70gKs6uUa75ZbXbn15H5BUNHpO3xwS84AqEF2JA1BIY/jJzjEI/X/vquYG0VKcsIdYe0fEzU9QxV3tb3r7dilPr66uYRIxipqyqEkHg7c313b21iPla8T5MI915fu8MvRdJ+J6ocuNEdVI9xNW58U5c26POqZTnfIptxldT40AWdMkcap3PhiXV7Nv7HkrQ69Q3JWtNM2dOrS/HGYfTrvadbGHvu1bAylbvVdXyL8jByu/QUF8D6zOGzuXM6Qm4c+vALnsOVjj74I44fPGxgroAupivvM+eB3ub/Bs8owyKjZixdsSbB3JJUFDMdXwLc5SsK2y1DvRVXjPJ8L41gVlVOCI8H3osUm5nlDVaPV07kV/wZScj+TSHYeXwiYwaf0vs9BPahuMsYa+qfkuJDheHExHlv9A+FFE5gmiklAETJ8qVEOwxi748VSDRtKNy/P1VShZ4p2uqZDFI2ZTAg5p1+dFjzPFbp+9A5xZ98VVHnjKznOffkj2L6VgLMhrFFlYn/XesP9P4N6C58NW7hvwtxzKw/htO0C8IflPrNVuOPuft1VtWeCOwyo0iO1cgcLS6ytaqGQX3y0bJmeqxZnprOWYlBH90Gw5nARRdvXpSkMQiFqM7VB56dsFNTOD88m3aE48Wggn8edd6NL9bbe77zJ97wLeOB/0L9LmTwSiuenrubLJ0IbIzku5JaefZRiu2TPO2CfnmmijtCIWgCMgWnCIbo4yTgHoGOfsBYfjBU9RThshvJ38jE21O8eVCZI8D9PtL6RGXrQNKwPXOVORBvyd6i+Pb5LRcXrFXZt8BRy9jnWaGIfjpu675mQD6Ii0b3GeBZLhzQ0id7kgHwhlyD/11LoaDv/weXFmI1uLoLHRYhHQbRtdJrktVGXxRJaJlyDQvyXAxwgvGTRjxqzmAELVvwv+K4sjszZnHzyiQSKLj+8q/LXrzmBD8zaeczgC9sJNlPuHgP5/eumuSyULgW3cVBpzV7foVJrYms2YU4zQOyctcEuPIsFYLqmvIrpMeolOJI57c43X7q+HzBOsad5rct3/CaIUuEXZKZcNfXS6cNE0Qc7aSBlUP88CzQBnx7r+r9zH///2zNV8cyAlr/LxF3esuVDgxiDZwvC1kq0r1jSCnL17JM1PwWr/VY59Rb80lEj7/wq+1oXt3evknTJ5El+/jPmGug8ajKHc9NpbsF625gFYsw/QZy+moMkwivm1pMcsN4Gl5op9mQhssK1Z5f/Ju5in+SknmaDzSyh0cGaBQbnRMt4btS5YgbztGZWi+5obc6pytB7WmTRD6KW2bwMgosj7UFh+PhO3yfVgLtFu4Tmw8U1ZL+qsAjc8AwsEYuBvO7umDHoe9xGcwLCFn+i4t0qUsLO9PuE/G1oLLyoXngw4oZLIgpAeVVXRakQacR1crwMUoGGf3jcvH0Is+8kvFK6B1qODbbQtBeh6I0yJQKowBzioH3gjfSYAt00sEgE4poy5DaRelVw5rXNVkhGIcm0EsyMs1MWT2a+tbdIJ9FT9ztyykA+WGGfZYUdH43fTVDCGpnIS3UBHBe8e5tJDk5PmIHzRfIwn5O8oRKfhpuCNLosNcrdviLIB35hek4C/JME8l99tipRxfLDeyzNHvm4+qyBinoco+Kbzph6vSJJCslQLR5yAdsDKbPF8rZ4xy+l2Z4yI06+pZPuxTXzx8UFVVhwu49pwENhmq5l6zUx0A1zJ1j3wNVoltmQRm8RPSo85EldMqsPq7G7ydAwNg/0HWZaUfYV7mXnm1vzUHdnyBKRoKCDR0vXFNgQXOjRa6dDax4dALh0RaCPot2WIDwrUvHkyJEdF17zTKU2qd4umc678M75YB2bsP5pzHIZrv5AdXSrePMHH+mpTEtg0lakvLpl5n6cBeD6o+55ydpGqQ2LoMXlPkW8JBYO2NtMHiJ0G+IbL+S9SNsjpq6ZFs9TGGNKsJA+mgIXUfFHD8KyASWhB0yBKpSOBwW6vhHULcaylMwXDh0VfCKZ+rpLuKvkIuEjYt9i2KE3h2UK+K5ip0j/2YYBH9j1ZTi0eOc0LgFwcHITKaZ2+xFLIr++SsjVsZuOqg+FqTY2jY44wQjH+diDfdDQM+F5DXX0UkYtRfXBvx3jBCPrCYnwwZjUW7JIaF7xda6+Rh63V+yzSR48KVeu4A6ulGjLpiooKEUjw5oHNNBfuPXhSG0uaO0ICk/0VPXj+5D2cybXW4t2Jis+Pn9omdIKcSJ/5hzr8Tx6/B54YKmzNVDoaDBddcm2D+oIdJHMmtz75/fKkndYsoj7dE6N3y3Ms7MBYArCSsEVkToDyjucQfq/HuxbVYOgFYGZ/PI1omuZ8NjVPfOqT1KA8CqGYT9M+vQOlGVD/VApvewrlOB1ZY2snLWMmeJxGoHC/EsmPzlNybD/J5/x7CNRyFsdy9a9zGy0B9VYSafBDg/U20Y6C8by6hbFiPt7sI2wsQyzGFAoQqYCXaXMHLlzZMOAInMYGBN5r2hykCIQtaC//KhQSfMRVFRf6qgaZf1zK+6Ho6fK8V/z+n9dh4ggInL1fKbeVVGedo2gIb60lTcxGtYE8UmR9TQ+Bj+XiS8Q2Q13Sxf/S8+e86Jf/tLHXCd7zFe4DiuMNBk7HOBsvLZnyRxKLqsKXkcB7LvhJEWu4LN20ZRmairNn0s8Lz8H7HdChKbLrB5vVjMObUIGnJ3GtlR5qt3F1EhK9WpEyGGTNGy98sYh55sXqE4OkxaP5VPQDFp6G1ELoh3CL24B4QKrVc2rffXkIt98bSUqBkuGT6V/5LJgqDyuitiMmVtj32rxyIH87Hsifp7WtatqVCZWhV7Tym9o+1VVYky76rJbsdDC6Y0gb66ZbuFOybab3+NQglB6/JZjkUlsAJ0InT/vl9VlIKB2PJpmvICdVX3QHQ++7mjUxUCpKJza8Xr+Vnv21rIQCDq4lIYK0UVLte0qFKPnqGQfP5zvgYJydQaIus2WHeJjDLIZwzs+F8URIp3UcsWYndW07a+W1L2q1aQztZnamxZxcT/U59YzN3hNKaBsfflJOJGpy+gf5MOog9gYXBtsFQIQ0wdB4Bk8ZaBCM/2xq6WBg51zlyuU4JVJlxn2sCoXYEXEndBqcm9ltnaHYWd5PITlqMVWGBw2rDXtGaM7YtQClV73KupSonkljRlyaRwBeGncaSg6XF4QpaJuLR2xONaB7zYk8CZNMNQ7AD4geYB1sUTXmDSXDQkxmTbmTQ2CrlyJkxGa3D0qK4B5Igg1HHNu0BQFd+x1G6/jTKweKhnmvsLRIvYJCunWfCDnCRs2ZzLU+M8O27pm+BAfEmiGjNbW1/H9pKrg/HLZWyvG7IJq09TBpsghTguYMTLzDbDxrv/ksVHTHJIVA/fa6aw6lD81ZxpJ0nA2lwbStETqyyqgW6U++miYDpE65L1LANCA6Ojh5Cvc05n0Q/eCWKUDA6EUwt6/zpU30rqhBLHPERas2PGqoEFTptT7uHU88qt49bFMbazbdKdV3fupXuE3/PNlhNHvQBMbm/zp1i4nkyxD5Vttl2+40uevMs0eTotwu9AbPnVFCMmaIY6ZKXGUesS3ifumd7YQYD7T+xFi3zEKRf2as/2YzniM2Vx2C+MCiKIU0Jc32u5H2v2SBskDJn4TeX/Bot+SrYteoRT4Q866K98SQIV4BvfheIBPVAqcwSAs4AI4zFeaFsVCEnNijvFy8g5+/WUxBIxm1mPDZ8cisXmumdp3MpV5LvSaMep+OVZI6cSOa5aQtlTJU/ChZVee+2/Y/kjzbyVY3aDJc4UqOYJanh+yWIMPftgqir5ho2H0TgfxNC8LSSn2gFeHrmyzEdWAsJ8+IkDBknjm//E1AD5DBspDqJD0uYM5n4RHeycnX2z6xizDcsr0csU34tJS2krmSDAE8Ymad0Ort5vtEEsg/ojPr947OpBG9d8f/5hAiXjZYJX/MLUgtZHBNOqB9anmiZ+cnpRjc5RreBfulehWDfF1UUPrlgN9eSiSuXG/ZsDYZ7fqpNPx7jXAPCFqcD8LmNil8JmH/g8kPOLQ1o8JT4roJiejq7IjD8d3/tOwWkNx2XAyw9AAceya6q0S9zhdUB4sZZ6wYq91JcUcugPTjluE3guR+UmoZW6lWU2FonK0f2++eyBHnj4b1ybqLKqok1+38tw7VkblisWp3Q5qhTJtSlsq9bDRnPzxTHiG0g301EnXFqpyws9xvlktYWPQtj+j6Vqp1ET8zRGiRcFfB6RO6kwlOSZ63dbwyH6vOSXhnetL+cQlkiA1UbInbxWsSyJ01w/LF/XHktY5W2Tj48QFA6bMp3tk0lqwLpgVCWb8NKt3smJ2eWXANbcsLHkzqlgRZFbroiHXp02rwF7M3zrnLz4MSusftpGFpLHZofB+HTIFCQKYlHq35hTu6Spju2E7eUpyjmKkyDziLxObcW1FupjT/t6wNeAsVWpM5nnCXp+/BZG8Dd1WEd9nS0iad0C5cg5D0VhDobMSd4+eIvRDT0zWREuNrA5JDUgz53NDOcpJLXWDVnv7zyawe7mR5dXCOLk7kbiFgc3CH2EyWryC3VKSK4X9RuSflROOu8ISXXqtf/8C4JUBxtoIcs8xsEAnAXi6F1NgsRzgX0CHYb6SMtEzwJpJz+jGIiNxXsJ5f9yOGx1VSPVxY8wzp+3jGbjou95kvpONOR7yCILMc53AK7g4Kk3Mvv/nGyTAvNr83eTD2kd63KFmKt3yHqmq+jAlhxL6ZOxibzX+9GHphWVyZ+1Mau2xUOZ/kIDoNDe3JSOAlvRCX6EoPW18c5mQUS0zE/Huoj7WKUG3bpeNUazdj8yF8HLipFjyo2MesGw4rjcoaoENEsM1g/cKaK9KPGq8RPZ9jAW/UXGd6g4Yp4bl7yBGVzjVhmCCx/yp10hzXGpyoZyA+5xBnHdI1qMkqrMKg0w6ZX+dojLaJgW8HgIkjKe7/wz7mT48XUKbYIA40Xj4u8WnukE5uLygkT4fbawJUEvvb3oBiHgMTJQBh2H+R7sB2LfIFwAap1PpY1hRZn2pU98P6BENc96aV5IGnmDpU79DGvfAbB1Vxio+vL9gX9TpADN3MzWfpsibv4T0vnymGFyz08SbFIbsL3OIkiwCIwVeHsNrL6fIwzVbT7dfOW4I7ZN9Vx7g5QPLX/jQhNeRKxAwJUrJ/mKUc6DTexyjlZRhy/EG4XVN89u++JfVlefsiQBLQ5rcAB+hOzOlZVgs8iCx4yGGINb12QSkHNZRZwlhyN9k2I5hxtRPJf1NlSSqagwhXte2MAo5EJ5Bqvsvr0+Y28yPzLAr4SOLXiL1RsROTWS4Su+fHAea8uiPobw/51ClTKKtvLnKyFLiUhNl3ea98pXywES6uVJRYq4cuugtFfX/UPjfE8jbbbhWs2T/q03PoXN62PB7ICC5e4uDVvv6jqvf7kjXxQItbtD3hHyImNSulawNzf2K8u1ULOzTRNs87Oj2FdS5rP7hMW6UR5svWX0/F+B+BtULuqzq7b0m0xQpWt0oa3nCUe1ovJN0qWgnuYiZtJEQ+9vqckJ+IeOMTnth4XPpsyDit0hCYBEfjAaYIrJgIFu12lB72z9v0mecY/Y7uZ2ZegURvdKO0dXgDPmhEWKYhoAk74G3GSUBPyLprTeof20kHBAmTWInd6pNkiUTC73E98IrA+AucBl2jb2iw99PrbEu1MWo+E5VtxffeUDm+bOg860ouRbwNE5aoXXgEqsc0QxFgjbv/vbEnflA+Mqzzc5S+NxTdi/biyvk+x7RmXplBk/I2li9GFHyPo2nbdDVjyTczDQLDXIDnnAxcSE75vfSqGknFLEyJNJPDjx1rEBt11nTBH9bpMIF5f8jCWF3qLjT1eqGv68BRFY4QeWzdUnPOm0DAUv7sXzeMV6idsxJ3Sly6eS5VEcW6HLrUzPCHbo5Oc3HcMdxWfel3SrdKuS0ksarLS/mjdQkDrVO3h6nXfZ3LuNoxp1wQn0fSA6PLFR5uxQlYpaYLbt/5nySbYqQDDO6iMUviN3wSr1mluViXux0/5k3Pslh+DIm1JAU9eDZvlQZI6f5yUGQfZrf1/SjQQ+rvAwgJ2A3nZaEyI6MCpfcCfHKaExyGDtQ3eaRgMCCDdrF8/Ud+DcpzpgaqxwQZeNNwSntm9wkBc4qFi4c2464I3x6d78IX/fSD10fMfMK9tisrRYnXKgicGsKC0j/IP0bFxy+aXVrBdaqKYJ5wWKna1qWssP+OxdABTKg1KsK0cyeeH/Tws5OA9eREU8ka3hnoEtzv/kVb6g18BKkbsx3nyeER8C2XcZ/kNmveqmwTzwrAlYGCaHflikZ5IIQqDP5+u6rIDcqf7HFrUWiOApklJ6Mq/DYej+0JVVpowG7nn3sEw+01BUGwTppDDHDp6mOVEvUw4yKVt3qXif17puGD1xdWvDwwusN3ryg/+KxIls+ZQ8VPir5yJvybn19mgZIsQTZWIDzHwZWBpuurhenYfnWuzh8C3gI+88UbFEAtA0pQ43pgnWbmcSUNBgQGGN54H7PxVYGp840QXV+6Lf+gVcj83n2S1VbDQgE57O7IUbXxiwpde2Huod/8z3cOd3beh9JaDLTh1JrlnNgXuN0L7WBDXGHoO4P2F9uhaoMH8bWFMU6qhCVDx1JtEL6EwEvJP1vqq8Jl1wHMyLxEcKY+cWldcmQ1WuE5ZbY3aXHUJPhOTbGs+cnBjcodUHqkgV+tZKFSY2ToL876tMVmVUX3Uebez5HsyTwWbsnTqzGSDb8mcWg/9xB9J4bTPk3xkdJRnGN+Kf7Xiov9MLxtv/qTjcqFSxNnNLcuKSdqJAGRmEqfLl61UtdAXoH261iguyhFFSUfJ6sYplAOgizn+aYjTU6jgZqBe+WrpCjkrcpGWBw9vTsJ/ZPBHXV6WBVGap/LM3gB75F8a/ZIwYUqfaFS9DsXhc3yc035sQUudz7zFI+4+GyHx+KrYrtvKRg+Ssr9lzgNcWbrxWR426VbUgGX8ybtUKtboCrCF5lq/AGh1EWnN/41OErZ25P7TDp1bjdj3FJoIqCywS0GJvvYsUb6VwahY1KoXEk8Ug5NQqf9Bt+PUwNcnakYMu4vnArvlcSIyAEI14o1WnjiH+8gos8tOs2vmazMRtiEb/pXq/FtCdG1lnoGeK+xebf1VPDxpPBddVAo9ws0nrhS/UfBkiDVTISiwJ9IGMeOdaSHsDjxkIjuhRhvp8Lok/meQbiZH+ZVnlRr0d3Fsg9ymdoxsjexsi/58isbEQ+c8u/90EcUZFPviFXQ4rBPOrUauCzP5CKXgWG7EBbIJHNembJb3385pLlCj7g7ly1XQtUrqTwy23RxIBXadd86ZVneFgYalvMx9kI1NF/nXQ3Vokj/C0y7DGdHMtGrDWy36kBD8+L0tm9UluvTjpKJy0sUu7fmCNbEv7NW+ukbtHovhjTiX31i9GbHEFNAmsfWJcdhbWJ7ekFM9GrPuoyDO+fX5ddFRsDe64E70kA4tZAgWD1EOHp3TrNnhEmspdjMZWK7wJPGK0JmBVuAf5Ul+wTg8JgZ3T2s+OrMj5waiGGOqArmsyUOZ9mDrDqJ+R/RkuEegcYVXuJ/tLkGu3lM68llkyB43AEA5GEvVL+QSYfcgCIkTLY5DURAggalWI1OQNx+agmjnfSGgnK8zx1b5r/hd8tNyhOfFjSv3r2CX6xwWNMdRgsLfCan05BH4xrdx/MOVLJ7ivCmQ4AaZvzG138/Pq+u6GNgbBRt7yA5EDXNmvjYd3vjdj20dyexLlrFHYNxD3hmUL6U4Woep0nNdOhb5mQQnuOn0M3BFowO/5VI5ZNbgAJEPiFG+faM8rxhScH86YMhKBFOadpD1y+xal5Pf89f4eMMQmhA2M8sxHDgINY1JvhkC9f80cEGAQe7Z4JB2ruorcE4ATDu/nWdjjFbyd9OyzoKaYm+R/ruafSF3XhmUnPckIJQv2m2xhOPxyyXzUzqPVt9tH895gu/I0Jm/wW+ZCT/XTLgfgPqCZ1LQGZwuX61AoC703BNWPJ2NRjp3fH7jqzKulycMYtT/dRiMtKeBym5DueMCOoqnyjAO1SeXLuFFpB12OXxQaCfdTmYOXRjiKpDdXMXrmbqqSxNXTF9h2MXiQ+8l/VgHTeAkdJB4jNqedY5rR+sjKnfi3qvl69LsOlrTFqVfPkEgyB+Hv3mpaTijjxLjNxna6MTzxFXszJJMTPvlwa3bHfhnxrV5OQF7G+tkqwr24HdSrAGVtOxhSyArbFdZVPWqvEZNZlqqU+X6KxQr1y2DSKZf81ZaesfLFGNr0f9UM+iKK63UU+7E5g5ZGZXrhUv7ny+wrZp10WbOnCgq+ZcJ0Eh8mWaFxD1CFgOFZORA8e7S/WWXemNra2IWqmPD20LActmiGlurwIvSEBidCFN0VmbjxMFkgh/9O52mDTDmOEYsEHXrI6oyMpXlHZMKTSNiGobTwG3bQlMi+A4fLh4WLpLqVP1xesRspLxzmbMIFQo55s5xvqz59LZiP4givtatl0Id0bqNuiKTmvc/OK+w5rVO4KEKuf3gKUoWkCFEau33Ad6UHA2rTblzRbVUUB7F1JyH+hMu813GVI7tm5rV1+oAdBhR9yEoS90yy+1PzNpCjsJaRNu7PxYxULdX5Gipr0JaelS87f16d3EKhC3Il13K2Hvs11+GLRPwjv86QB7lihPJ8EM8E/tq2uyWMC6KOpqescQ79gTyAIEMJvivawGj1GrThfAYTnWAJ4EoyDlGucgnC6fnnsUJSyrsi8xs6ps8UMmc7/G7ge/p59XmgsAJnnejKPuWDNWLzOFEmdPGBXp/2zxUxQ6JZLWUm/NSf1VfXCaEiAWQpAmTbWElEZd3KoIUOv/VD0W8xcdzG5F8Lx/CCqUv2LcrW2f+3FBOJaA5EfjW5wdsxX6ccJXAZOK0O/335SL1OQWvZJcQWCRTRzUYjLzNHbBBH7SIAc+F7SgT1LtPB9LaqEb49NN//8T0Va1bgfK16B5nPoLHqfTyoLlmcuLmFvURZOt3q6OV0ffYabAq1FJJjR74Q8uSI2DOQl53sAAqiGi1Tdz4bIjeh6kb758Z6Z0obleEvgzXwaJjZcE7+opJmK54agvrpf/IpXnyPp2VcQOvQPfuILzFahY0WpZStShxqlK0Ty6hgH5FaUwov3hNrD//Yln5LoavBZdxRxvmFXEBUxdUNB+NHThDynGnzvjfusM2CUK/JRWkuadmvgdS7k904knsDvCMmvjnuU0Xtpibwelky/3hfdelKZc7LEIUCviRG+Uq1ZgvS/p7tT129jHWkzVOI1itoY5FeujOOxD4sPZp0daDaH6HhaT1TwUt2iPsU9+ab+8eT+V3FyO/qOOJu/8hpUMHBbdD2sGuuRmpoDLZxt0sFf2fr1Ci8P8p8r+Vo7xlZi7yETo8hAYwXaZ2PQ0u4b0NcrAEsHA8Y8x3k6FOeW4dX8SLpYVu6f65e4YPXNzxD7fWxcJyGmrJlNfk//zmZko3lpKzOWRkylaWxmrBvy/mWTq8nnJ6No8DpCxeNHRJjEy6WvftcICYmuUwTYPZl7iM6u6DrL/W1pkHk6WaKruEouZnrZKw2NUWSCuCJ4AxXQucltUR3JeysoUF3v0RlgakqUkw9jPqhIli9hycPK8eeqZ181XswrWyNd/8Zkj4clGweMryh5KLMfravYB+isy1TzFXanlD2GrMOTkCAB8BUBnUM29Iw6Sqpl0tCjRptWW9WSoJb+jIOoJkxq20GYWetqsGN04DK6ZrNhKu7Elv5nCjp/2sbMQlxmj8jHI4k69Sd3jygErYBTpxBm/tRg6CM9rj0f57KYUCNJ0IYexXJVJ8ALnHy6koNZiVLJ7UMh6Mvm3TbGZigQK+ZQUYNtU1kuSgdtp4pVBI3W2x9vEtLyQ7hDAJB9k1KjAZ3mfO/P0yDjO+JBpah2WzpaU6ivooLRVdQ1hqKa988Ov9uvgK7Pw9eQj7wF5vX7IsntoDOiYXBhm9oXoCu+Is6q6PpKuKITESgCLryd21GidWw+teJyH/RyycUCGVdkDG5haIS96G8/rRdMjt9aYUsqgLjkqI5uOe7O5dN0caJW0ZW49iqXMRajrJityZtQRHvO/eb5gPvrU2cdvIThk0JhpUNQaWRyWMmCy7hc1BaNlEwMG1JxYuFkLHR9GuV8Tifn6zksbOv/ZLY5fqHpREi/wlPtLEf+7fD74YBkOkBbmUiL+ez8ucQ+H3q7Vcu4PTPcfFjA9PMwemE0CMQgP1j4yVodHaMpbZ5vKn39+WPdiWPUUTDs2d2OuVVxN1Sv2On5bf47kDY0YdSoh0aJCFOxuAIJBEdatSpAqUdJUO3R/8uudUpARJLCDXR9Us80CgFgJolkIzlYhdtY8sJcjgD50cK6StZLVx0rIaVf+hLu2uVyeS9RjMafPpXbzeHtb3yD7mCzyCFSoOa9aunirM4qta3QpJbWpYU+79mUoHICixAGy8V+jgFWsJd2tLhT19Btn/oMSLMLmMuYHzqHz/Awar+pZcbOzQghtKowjkVjd7PFCc7skHpbBJxPeFTR2VMH13/HH2YAH/pV8Zs09HhXvlWPBCOX0U6cRTy+Eru079RQ+09sAEINX54TLXQPbCc9FtjxWiinTtlSV7tHIQe/RvyFN6wsok7SrfbskRBTyCNWl1s6ntQZFlD7fy2/KjzlVVubjLX/kGluPEcoYYl3tXiUijUbgdcL1dsIsUagatoWBiOLUeeyeQR2lqOzCKNET2n2FBNfAaJNXZ3I66yODlUhZ7KbfdgDMsDnxYYjpwx3PttK6sKdBbZVRGKkWxQO4hAjp6agOVDNw/2w3TYLAEDaIF6oHxxTZUDxkAL/wArocLNjM8TdFB9pejl+CkarHs4ugqZbz4/9hRjgfjarVPwVSrGkpCAWV2onWbGHxJqAozscz0OODIbQttUYjty+GZkakXrze3fi6l0mYGPiiDmDvs6r4rtr5jGldeWw7IiqszCuOeakw0i9Y0tANANRj4VXij4vkkOdIbPGhnaOrqeMYv6dyIIDMQfgc0pFI3Ign9vyWnSV1xYshQwRLPbfws86FDq2YYg+YbSiuIQdo20PY4N+6Gd/tqUQadgiT8lY0D1msnQfi2KLNF/llhd9BA7OqNidK5eCjvzUycwVp584gP7XpkyDbaigbrLrBEVMFfDEBAmCeyNwQnwTdU0BUuT7Ck1ZE6H+88hgwmt0oI7LBQVyrcVFfyQVv/Fo+81pJsyqCD25nqAj0BeHWwCm5vMqdgSV30ybGffNMfIa+qDHFQQ33c+O6R+mzDPnJTqd9vPXZl8z0/CS+0oJBU781AomMMpEwiWiQw1vAnMkyIGmW1CLRgpspSs9Iq9kU3cuY9gzTx4PjWtFDnSesOcfUHIuSKaNeQR4Omi75FlTX76J2ln/VbT4eLpBzVA98JyaNcKYfKjQH/YRri7hWpLBWt6FEI5e7ZD7CZBEiae5McWlvfswt8pFhz7erAEWU/zddWSa4+S2gcTj825nqNEBB8TQ+XoKPnctrljqV6/yqjuVu7RZwP2lWaaaQBYunRxwJa72l2Y7idhmOhl4abQZIxTLuOvWp2+kY5eQHpCUpvDz4LDlbmKxLIz6WZQ/xaDLLfvMi7AI8qBdpqQ8HmGGmZucc8ryFbDrAkC6dmmnhigbw39tTjANeVGpyuoyi4FLOxOlG1GZgFJeXp4SS4iKxYtx5zNDiXV1iPIiHMtBUW8r79I0Tl7MnhJIgQ7co3y1VQAObbnwio//3jABrqLsRGPp7JslGNXM2yrrYuKo7DuTeF8b5dR5XPPlQ3cgULorwxFoNMOvHVCiis+vrYMjOz5clsJGfpvMkhE33gE1sgV7UD2mUlFm+TdZdEDfq1u41P5XxO9PdVfrV58azhyygFXyeWWEp8L1BjE7u3XqxAR325oAGasTYm1J/tacO2stsALBATFWLDtiqimVC8rx/TivbB9W7jKKSlKbgpc6Zmk1SdawwtQVL/hLHue+YD0BnNVCsuEFZ2IR+dVOFVFgAGaargG7X1ZazDhHNHVZJwq7Lf9AZW06toZHsD/X+n+VW01lX0kKIzz2edGdyZucajg/CcpbY/QduQTC42g76DrkCa8LF6g2HlS72N1ctCtHGFvENiQHd2DGlMGTQrVSKSj2M+7HjuPUT96FaK8in8K8YqPtzK/QvoDe1H7D22S5Vx7CAyO/JvuDtzqw55ok0U1jqlZ/eCwn88AOw+mTKRSzSL61+/iqekuyGOu2aF48Ifd5OUUdvpOd4lR77rBex6HOw9OcJ6PmdYVszJY/TVQ3DzklxcLbv8ijYOmhUc0zcZyeBh0x0fU7zn8tiOBwMUOz7D/rwXT7HQsnG3gQEKGYs6b4Cbt6VaCa0p8aPKI407bnbh4mfuvwtpHfkokHQSV7iqPfVjcPNUemxljXXPjQJhdHMPF7fdm6Fu19ymx096K7VEUY/BLqY4XyBqGQOw67vI3yrWqz0i7oKnik68Bnx9/q/TyhuWByVpWbXJUex0OPB+FmnY2zk8eJQAhCykZWB9jqC+ZJoPsW3Ozd8nzgAU0StdAvAD+Fc/zWjmVbFFBaZRFqvvFBbgFFmBh2bEs6186jRxY8mmmlr6RaaujA8AsWI3vvYDVUixv3J4DK06uA5o2FAED3j6om2eAt/BZFq+2Wjku/BHhu5+TPrkkOVYrBMpi2U1GKT3nARO8DAr83Y2JE/iX4o/yvWFgWEoK6/7+MgR5MHiI17QfZSq7XLo28nFkJFfgnxKX3pBZwuOO/WqdF6UE5Uiy1rQEFx6YFcK/uKcVFDE6n9Ab+MEMjQeQEvYid0bZr0PHyzVbagM0m8EixJn07BlmU0+/yawhSQMc2IpE9fAVHj2KYcZSgmjUmesuMQC2l0yo6mR5iU8e8o/u7wnbQYwf2I3d/SiF2Mhe03NReb6C43vdSIiO2xEXfnOcTRR1ldcLhN66Bo2yGvdJwaLigjk/mT7/96dCXdHbw8/fUahw02kC0Pe8cl4eplQ/+P7yJuZ/p9SsPLjiFvGo3Vw4WGL5p7o2U2JaNtHEbKcQtxT1PMlAMe+uRIpC5cIE6mTbpnEJALLMT22LAKaBibVKgYRfhoJB29eueeupe6mnREhFWC65HJeOXCGXZ5twvbLaL04qxGcW9+23uP2y2OH943z6m5w9c4wYsOX/r6cak9moMS27t99JGxUuFvKPb7u3TfY3pkW1uj3CYkLJbjAF2jPtu4QMsTKcvsrvW5oxKSJrRaU68rS+A8DRS/tmOxwwprvDRbTTgHqBXbDcilIKvpwxqD1CtitedjxDERn+Abn5x9WEeBvRrEcQxBHNMI5mKABzuW7Tjsg/HZCSf3J1GAhMapZtx3KIXrt2+i6xJqS7ZX7aFRgGSsQmeOL9NPCU0vYZmDymtNSm5T0aE+fgM5Lg2hU3MkluuHs8RgUJ4g/xKxSwkus4Kbq3KP6ldRrMu/6L7KvHio4DchboeLOehVyqEaPnkbGllfhBCmpPuliqZLhnGpZg01ZW7TkNTdZ7PAKZNQlhfTLYRvtFIrSpcCDyTw5CW+5K7IBhQW03WJ77FnhCua00oixcOE1vRSnrFt1ez7OUVVliDbHLt5QbRBrK2YrSDuBqgvxkfCoet3LqOnm2OS25JTRI97wZvPKuc1zaMOjfncBpHOW6rfJdX5gpLEUcsOELriSIB8uEnA72zP/TSmrEBnpv/p3BS3fvVFJYYTKfgHy6MF0HSUNkbdxGafcBeyJfBefmxMRAuC7blhrvXQKR/mBrWG5wrJ/9ivu6CeutyalV/pKKwqIrqq4zeZHdxcgrm+57s4sIBs/JXaFbtIvM/6gzI4Us3utDr/I4ThEXixyaXPK0rh1syyUTFKACYLsVW4okI/c/41bdr2c5D1nzIRuPHXQphZll1wj8TZnS4L3ZmtUnSa7FscIe02XdJMFCWCegTehe5V+VBBMqQFObbUUXGyi71HDgIhhjjAhzQLr3dOpyDDLCjWuo6VqkHAZrfmtwKEs0eTKs65Nqsrcr8ppC/dC8LhznD/3tg/6qdaDLKlabxu8hImTRI561631P197z8/E/sPDrUdMQECYtv/F0/6ysVJX762Jgx+pJAxoBf8yLDGMCzWf6C6CWCA4ODK1pE7C1XCq9DHS7a1j0N5Dt7tgrqHF75UPY8C5hqHGjdMB5QvDwydNzfONq+Uw/EVb2v29oxovlPmv7o67LeyTUsy4U8s+uV1uu/nqfAvtJrpk7thO+DTfHLzAd7H+NkaYUcFcY2y+FkH1hAZkaG9sfxMQsVdQTymeWlt1I9A3zlLrIGHRqjGxFWDu9XkZ7rsLd9ZuKqE5Avs7FFwNVGzXpvJoD7+HDC8HDdBkUhjeAn0s3n3KsaMOr+remmRbZaCBp6DWrX7wXBr7wBIcLlroh1PNlXs1j7drL0hOkOA1vMWHRO5KVVeastYfnPxpOnzqMrenFSIGmNrZwc42wFj4qscbCVwoPaH7Il7PF56gmnrCuPoMPKY40NaM5fOH52PRAFWYK71QC2pM0sxp26ViDABFMiOnSmCempb3afZ5fOMl3ZwlIQoSgdow22Zp9T36ZTUJC0oWnS5o3XxZSPvl2fZAGsShQ5riy2SeBa8en1PY2zuJo7che0myFJKMKt2nM9r0IdOkEtfLbMJUY3eK7SGuzmrrC9ncJQJlwEuA1lrWlgXBK/uX9jnFHICXi8BBH6nAyX97h8/EEfLDhuk+EH7bVo1cLueH1G2RbJZesXk6rBK+eYZ2HLOWH2ZVgTEFOTM3G8CB3F6crWULV0qaFE9sXY57HsmGz7Dcu4kcx+7RED/uJE8ZoOk/TXWqMxPmB6aiO1jw9tf3/m9IrrXmlC2RIukQXZqmos4kgkauA4AkDdRBwovTcGmFTNjFJNgO3dlr0+QiHZrXFQTM1YfiSUYPXGRAvPd2XG5tNjN0jTzDYe9yUT5T1W05crCl0ExU+M+FNIUsS6W3tpNaauO6/wEqqG5Eebjs0Bv6442/fLXFueEueZh8f3EqNNXIgTMqDskIjMRUlSAGeA6fdoxhbeOXYE6RfVGL7kKGWicjR4WIQ0hoMKHjlcJYd4tCoSC4zmGL5xsWzZgrkLwI9+rbnJ9b1i1UK+2fugAatlzCHNaTqwKEmHxQ+xmfsZERSbgO+Mk53YATdEHJ5zBOTjc9XMENoPO8xz2n0de9XnDe9LbVoRIJ6TWmYamXlbBqBZ2qwvLLib1gzYPGCg3zbkWwUVVJx1MJIh7f8bQtBunwhBy+OP1ewGqoGQbjNp9bvNDEql3OndbSlhk2vRdpxbkoFG/6lR7zgCt2/hkyPkbW33pdVpCVp+m3OgIjXSqHi7R49Bi7KCXlZnePxZ0hVHG2XMdICJ6wIfeQb241rWCUda94z0mfrk7umD9ls1XwaBMqQeLuQX4rVBFlQDa7S+uoswM/aVITjxxAOmmXfbcFQAB6o/F86670XDIdtMiT+s8CsNB7/B0zxt5KdL3Hz7ihO04d/NcAG3ST/tB+aMgHtPEmdr5XK1INujj2wOLTdyGroWdDodX6okm5Xrav9TIMdh5nQGD3nGsaHTLpjYt0uxh4XpdnvMHkOn//BwP63WEBFq9mYJirlhevTy9fG/ncAC4rGJxjIbVMJjC9zSBJ4sSMC375ZNfuGh8K4wFgJ0ZJaF0IvWf0FreioSQesZZ3fkDYYPDFL9Vt9DRIzBVHygzcUIXw2SXn62ptEMrSy5HnWB10qzPJ4ZJsNkESbddAculE778qP49t+ob1m1ZHKahsWnXfvwWA9EV2ZwcLr8EwN/NGG0U6chBXMSINMEbE6Uehqpzvl0x0piPAFOA4jiQRHgIfCVpCcR/r2ykrDwVai18lKkzmIYNvBUq3AXvrjD8cRbJSW60o3xk8Y6x/uQpn3tfKpxSE+5hDWWLX/SEnA07dsgiRfVEJZp/a66XyP3McoPcGg0ky5dVAaKOok94s2PF8RF2RoU9fXm9G3Jj6sGrXyo0XDy2Vk9vmRwMofjR6MlvZXLdC1vttbzaMO4GJoqcwYbxWb9QF8pOjaw1zeyWucA8xG8njbdBlrk5N0FlwOarMKCv35F2Sg1RxSuFx54j8dWUiBNornNiQ9Ssi6hAB0HiN6tOx4dHEkMR5+rBORdavnYFrMSG+TDGLFukYWxyS6lTNbFsViwZUDuSN9ITUImx2d/j6I/rs5OQ4SS4VZIc77CurCrbjUhQ3/unSWizvV7fCggDeO4/saP0G0xsvk8szjkOoTSQJtV5JfrWkGO9H+xb2RI0VW7ktIhGYVWtgFoD6SgvI/pkK13pQYTy7n+EohAjeKIxy4xSwxzuOv8gPLmXCMgZZSASQi9K5Aklr17mW2FlbcO82wtYuYc8wkbRYRH0Sgl4A3/PFlzcZgVjc9rPRAOb1W45eGhO3kHnT1qrf5DwOGperspOEHS4jNQjOfXqBhDC7cEglsbcYWrdrhlSZfTb0Ofn3m51YXET6gtAm61kWTAsRF/++JOf1cW6DNPfF7NpZICjWQer3RFK4NTeIjwkHTliOl3tECq8meuCMTk/JBiJHUlwExRuKuJFPIvNTS5CxPBkBwWQgFxEBrJciTksVaRcgNPHQUeNftgbEYFJ+qT8wb5k9P7evb82pHR5uSKvdiKjXiCKJMobiwyp6ZfbwGbGIu7g15LECCUvPBJ/pYSzREeV6tC6W1PjnDjzehfbcJKFmvp5jnxdGMpNf+yZEW/AEoto3w7iLiFnOeFr4pK1VShmbUakjKtnGueRjUKLEKKD1oYZHnOQpvdU172aWDYwMMGZMmQxam3IcMtwlIH9VxtMc5aW1Pw4SfCO4U5Guyie7L7XXCbqrlbnYuw4Dl1q1PqVw1JbC8XgrGYHzcuHmp+dBLjlV0sLpAZ47tZesos6sfysZtZaXoXkm34Guhsb4h870PjQDDev7NWLZXMC37Df4TaiiBSPd/D1fRr7CA+9zlD980QE+StirkqosS0e5T0lAPTU10giKyJj07djWDBNKjouLY7JjlTCWDAZ/UXKOjx/DrLRoJLFiYSViFMjbjWIKvm0sAtqoskktLRx3o887V9MooGm/8wKNiIJValqZi+PDLPaAXX7tB4XAmJBPQSgMjKZw21OLBIvi00Gww8Bb9bykunPw8YqKsKA838sP6uORm007HDD3GAkhjWCOFXtPp8Iac7a2JEBxv+w01Fya1nFTrh0DGf9BBozZIbQ+sNIGAamKplaUOgvNTZK20hftiMOb/ZIE7sOaZG1THqHdNsbsiFap+MwEMLHWmfkdTrMvdZiSJnqIN3I0iu0jc0dStszqxyjYwaQwfL5Xdtcv/yumgRtkP9SY7G6bGwnq/AFG0WOHk5/utTrUw+sSIt1m0ePhIcpc2AEyrXtBAf/BynhnxAL7U5jDWz3qBL8vrLYCDgLHJHG1Ajyt6Do2o5HhLjL85pQzitNKushUulzkO5uwcYRdqMeB7Q2GoiNjdk6GudnWstVQ9tFx8m7/30Li7eC4ESLuNSAUTbR3s3El99ToLNA7jqogTRhST1lUb9pmgE153Q4aCAMQhaAKCZd5JBPb5D2JrDYvgQD4mm3m/HyLzoeD7CoCCKtD/O2G+tGn4nJdvZqVjXqsz9LsNWiN6Og8v76Vmn3VcPd/gTh2mIAasvq45tGni03pMhFmBm5wN2EXIsffM3mKJdTsojoKV/zGKsA7lb9H1JTC2dPM9V/LnZwQUg9aCphnAldej2+5eqKPYg9JaxuY8qCPca0uJxq9FAh1vlA6cxJwc1H7dQQthxCA5gZ0whqkbN9+U8pep0WKF3rlzpd+VAzqHI+lGdENCIqGqURkWHS2tYAs3tpwRueYyieREfa2sh4QQKlUK78Hnh9+XZZKx8yujxBWgSoELPvFYCXlEGlaPek6dxXr54pyM5en9TDuCy8KQTLLzQYraO34rLbVBN9Nk8uLniZBphL6DJ6MXmzsuvw6hWJv2DrHocREF/FwfxpmjcZCJVbykOO58YXeYIgKR5x4ntO1ynMFd8pIFdv+hyXX/ZislPWKgFViU2ApvNWH73BlZwnSmBiOT5ZTCWVOw3dMX8baZFRA+SZoTxbdArf3NPik6UHoJ11mARRu6TuRQv/haInwgaW59MAZZZFs7Z1gNxsjQDvOQvvbfoD3Mt64JiSngSki497kC1ZMH/OXlwmNn3BnNvZAWa5DqXFZSA5KAHpJHhzt4F+Va/vqQLAKYsbtxB6XfUomxd4I0wCHy5ScLlt/E6kmq3rw2vJ8rOcNk9xYrLv4Yc2L/t6fG0RYN6Zr8bbeU/OndHscZNEu98w8+7+5/EjrzTnDOxgDAASSYFhLC7waRUe3x73Mp1LoH2aP+vEwiHWiuhFv8gxqrPNjPGVMVOSABrnud4NXjt8K3fACQOsTWIArFOTjOjj+4pRhxfn0bB6zCXVggCytMhgX+BWK0MeYjIcg1PRlv5uY6Dvj+SRodU35xvuW9cQolEjDcVpa730siFTHYY39w/hLpVhEPLpXX6ZzHigjTgSC5D9Rz0gWARQG3hiB83/j52i6Eg+1pA3BE5psckh/3UpmKdHUiXgihgO5VONiDp0eiWltfik6cz9ibZsRQl+0tsTaWsSPk+5NEN5AaRAGGlkCuko/z534kyleZJ9cWl9UEKoY2LJykaDsjVx7dOdjgZmsU+bVskU26/SG/ZQrHx0fpxo+rmUGKtuqvQ1xWvngjPbyvYsDzwBZ22wjcJ2smmbpmzE+3S6l1NMd/O8cRfnrj7vNv7VPoQcFOCXhP/os9DpKn6OfoVMqgtZTKwOICOPPgCJ9IoBBeJBnWiHDkQ1cFgsuEty1CYiBRXwEoxBh2Rg6qQdiT+g9izeRnXPdipZlvJ6DlYEA+osClst+FsIeegOQVDttFWJmy6sEcNes7JmHHFxHpTXt9Eo0jtaw0cT13Nw9JA0cYvBoM7Wa0jsrdfdChA+zWjPkEUNpDJLDonUj+Aabcu6FpRYcu4gWSuO10cwOj0BjTnsPEOUD4PnQPcfaQTqvJeOQ9unAknYPQBtkTbQPLFZMEn4DPan3ET21DLEXTYEu6fJYuEMPlbttn3JCOsUJ3o6lGwtkpx0IEfugl5WpMYrA3TpEVF5sxGw9HamX5+X8VXLbgAEPuvGkBtrR/5FPDihVirLay2c9+/TNK9+XOS4gXUlHni7kaLJy1P+zDFSeglYn7b6MAeprIk7Bop8N/eUaa6L5XRkSbIUwjrb7qSDD3mjK0ucbXQ2KFwPNmJFWPO5PdS6bg5hgPg8AzJR5XZO0i9Hl1XNtJqOvvhQuHsFy/AusS2TZkTQjOmo0PiIvps5gbQukaODs6NZr+PQX7Kx+SpUyLB/mpXVusHYNz3yGasyxq6fQfhHXcPSE9AIwgM9pkzlvy1gyNMQS34c/wfGsOkHFZeIJcGFeitpE42LZeSUmeK6yAkgR5Fvfcw8etcGlOTBvJaNeIURZu6Bmrwsho73Z6ZkOY28Z0YfZQxGULIfJ06oIXvUt9pFIzNIA2jTRHxxGzOCO9iKh5gex3hTHRZLddPKsI/8zCrph1NoVn+ezSwzTQbDMcEupIfL8yIGIh7bLxSVsSjfZF4HANjGW+QCbCitQ7Rwp/BEnchIAACGbuDmVMJRRSzOVPgB4SObt6i/YEFHByzikW4hnhar0EX5RBQu7xRASuac2yY5KWycS6TiHuv1r07TrZgRrKYQwLWDvaGGQ7yUZNb2KU8PsfMXcpTWD7dHB+IiSZdm4vrAP4IrfmiaioNvrLVNsO6ZiF6vHm6RXuTm3jsR/Rp/QagXNnxXxJjouAIJN1TUlxTx9+Fa20tNw+WoGMUoWynd7YfQ1gjvYuAth0MD5Z9Md+bdS2Wbu1BtOgwo8pU3K8nBNF2ECRFkXiSizdFeCLricEw2S7fOAbMsdfMndXZjBEhqNM7U433JhmFRA80lXKTqaGb0tFCrEHDKqKp3cnDOE7dTO/yA5/klWnpA7qrwfrtcwYoYBbwmtRiYQRPsgftDPT0oKxi1fB4jybSgrlwfUquzaYTiSyIlFF+N1lDtdeDKHFZWfXVzCHpJti5IjNeHRe+CAF8sbEBIIWHYyHK0jmZKKryGm+n3Y1SG5wj+E1mCD61shj5BSPYTKj8sudMVoRMw05fwCpcBCpMlvC/JRwH1uuRiD0mMNQScAcZZcNUFeOtigcIQu1roRrLXkVmWppTY7VDcCsyIGEHUPTRPeVTMNwjlf2qHUE9tDy1S8o4wuyI+4Zkg3Rpq+UIGjr/9MX1I0dGRP2pfrqoI7WIRzvvG2MUWJTxZrMGU+0FSzm26P66p3j+BxtWgbI3uWx8emRCc+CVt6UR4i0oaa5BPpURyMpRO+NMw8E4qhRmnPt06j19ULqP35D1JqPPMCAnI1B9l0Dc7/ru995pC5aA/TLJ2dhnIg4NWbc8jeSrJUgqoxxcPHk0fqWEtFQfywINWedKHVlWLhbDwiL+bb+YiVLvPlr9t78UETShtANbhHLtmh+J5A+/IcgG531gdJ8rCtqNDF0DiBDTLMgz2/6YIU9lMOhQdOWfd1z1ye5Tec5VV7k1e4nnNonlCieP6CuDVWd9Q79yVVE0XQy8VAfmibikhEBcPK2tNywPlqeThU4wiexjtdL2sqnmrZQlnr0L+1OEI3z4fwwEBCpRkS7H7kasG0td7xfAp8T6lAh0Soe//MhWi/7jH3yjUWOB1poRCTi0F5OcLAt8QzlswssKmXxszpBO5fVPFiPy41GUzqGNV3TscZ/bX+FnZR9ZNojcmNHxtwGVyZ3ITsVBMDggJtSxLfT7ShQaMk+zubaDFdm7Fw64ltMpIRaWS3aI+SxzE+ifraxZDOlU6aGxi25x/1DC2/jWQ2k5N0wixZriQy+11rxpKad6lQLQSLsyXw7j3bwA/BSp5pjC3RcIloNQ+5SgK+NpRzfFU0378yJ02wnbcYNB+tn4F5PcLXv71L5CyUBGisiKKP51NPRj0IcV7OH6JUtXinZj7YhPignRYWHyxrUND9q08USe77awsmpjDTHCqZmCIbynW09DmoMoJ+UV5llPqZhnIt6AxUGnlgtrf7znml8g5q6oucfLTfC68tx2GMdoWKNtxcGvfmHXOeSKcG7SGAQYO1MtpoHSYsk/sI2mxRwesUqCgjBt2SMg5g9xRHZfWrL7szPDJ0OLurcRun7mEtO3vrkcdPzsNjFVfPdFzwBKNPOE5gKwtnlnKyXF2SHN2cIXieTXeF/zJTCBuXNqqwCA/IJbxUjDoJcfQMOvXTVX0hLWi5oyw4V0eZIKX3yLBkEMYJblYi3t2EFhy173gX93P3/V34PoJYKotMlg2s1/O+AUmgUsrDMP9bjDDWYqGs2CTT8EUJl6rWoELYSiCLUv0KqaQL2hXUYJbaPhPS4QxoRnLfrEknrUGRCQGVpI/V8v6sz+jViJZa3/5lvSWiekrbdVU7vkv5kxlNvK3BCQiEjAZjZTKXVV5DG3EROB11bfqldWvIK7ZDEVSpM0ycbilHJZQNXkiFeFAgKhMRBNxyVvVIz0dAvYiJaWI2Wicg7j0qhXftUQv+aoN4RoaDeqAS9Dy5GSURbyTALNJQj4TiH24vMelBNXVaK8N74YF70QzwCrC8OiPtxjhh3cuHzzRvn3bWXAAWINI9eQZ2Qd0Njm+nclKybV9xxajQ2B+0XVHnoItEeOUXxQo4Z462QNneHD00PBcYeK09M8yJNtmIVVbYU0vCKymdXLMhUcL1lb21q0GGOWCQLyXmzaHNvJz/ucH1/qpDsatNrAoAfhjzZENiXmLqpo826Ex5wZXb7NpDdUQsovZ5nWMyfP241AJ2zqfejD+LhkC0Hb2mLloImBOvHpegHZMVsz0c/XvALt90jDf2IBmlgBMbv21e6/H5K3q76moRM/WayNNiACR3wLMtEUBNdlJFYF/6bg26dofp1lAXQLQYLV2XldFLKwRip/38EDOOXrVJGm7J3h2Ee1Nksek7ei2L5e3D1jI+YiL7y1wSRaQJEJ/onp7iTw9Ne7pSVbhxBgJ+/ZUCR9psz3/yFK9w9GZK84ML1XVT3hVzOR+iAYw6WUo1Z0QKUr1xPKEGdkLt8RCkW9+joDMK+mCFPt3fVJm9+K/tgyx082ujekLmDYN6lCIipTstNy+LR3l2gUk3c2PZkymZXFvdP7VrlFIzONzVvbugt7R3t0q6idu2teL8qwasJeCfFtwZ1S5Du4AVvMy5yIw2S/n/Z4tuG6ZYNXXmLheeoI2NKtbWOztC15Peo+MVag5gdBcF/VES1pK5H/xZDIQUYqKq/OCKghVszwesPBCK6g9BZ2ALfmLJSgwQpV/JTR5D4joWErPBo7zZO1hgpwMtsSUQ/Sd8xOSgf/OtpXwlHdKk10dNlSK/SDP7V6bM6h2w830k5Z7Ru5ScQGXl76eFFC0MGwXfDly02tL2m8Jog+5Tk0i19Zo9tlAVmi3GcSOl0wA/kGc6RkzDIlmh7+6pSgcECBnBRzzmda/o4DQZNSFJ2HzLFn1dE1yu42L6qW3QaXVjtIqT/9GLlqosFA8Amu34JSzPZGP8WcY+9fjmFzYAxtEvzkye1hnnoNoWophAtu+dWQKhLUI78NezlwbkMHjDl2XBIwFHErCMWDjgZ/zlQEtRH/gtKIleDBaYl4+XZiJtf/Qz/4jcWP+PFIHMZvUhBV1JGWy0Mh+hc+Z+mmol7txpvkEAqjpE1PPceTTmAQJMSolDjuDxbGTULT1iY0BBBzOAdOuphKPMtkwl0vYc0WOfMWdxuLCLH+dcBVHfB/48FbucovKsAT6IY/WWrw3AB8oXm/dN4ROSgHouaV6SML0z8T94Ed/Xv0zXEYV14KLttOKU0jD0osqfxnplbFo6jHSMVgR9dT6rzoqjEDxSaVJJu0oe8K0hnF7SfCdEfq9DFqFgwaBCRXIb/mImbQNNnp9JkzQn+Xf3BNzZaEva9TkcHlb/HEPRRg0DqXr+WI6bwfGczAjSy92pbGiDT8XBO/4/2+nTlOKuIqcUYFh93wSDkq6NbE5SSU8bm3EWU7XilDfAjqhU21gsquc5k7LZIs85VRUzPAAHbtF5UDV5V8LSycy8hoC/fgO69PcLplGyQS4Tld0SSNEM9UuLLXxYBh2emZymF8Ujl5i+s98ZqhUdteShFSztgHLeQGrAsMAtSR1Bz2t9NlB+6yk+7dbK11y94mzegvGdMQU+4OIPOZhHlzqyovhFnm4ehkRh2g35yrxD5kp2XEN1frut5fD4pbwrecaqp0hR5Rsrf/di7Jdz0lQCljzNfXmZoSo1tY9gBDu5xy4RfACWzq60zYDViY3PFCXWyJphA/6QJv8z/IbsHgrqPxQqJeAItNMOI0B+/IqxLGez4+gGfA8AKUUqvI/7DGZ4uLdk3rEnMK9NAhglXnf9n6z4n75opbkDf0ayjtWmdXpeedVDSzNnH2l6doLmFFmzjakbnXTnk2BJtRlvtSIkkOyYHH281vZCMeJgeqwblxL0aWekLJ3tRnA86Cwx5PcaxFSQ2Jego5mSFDGoCPohK69R71U2DRptJBaQORXvVvIVUe8t7VdOUbpuavEVDHM92SdXL/kyjzYtPwRz4PnUxf+b4gqZWhwGe2FdS2unrcfUX/Qw9Y92RxBQ+HADyf9f/dKB1oLlPYWXugANqMeO+mb/hz6cIYBTghm2f4nILKj6t18Gt1jTBIdWyPNOkV1jaQ97wEdgC+DKxE+FIJsVEwTKJn1Ed6AG4DmIgg+6nAhll8aqTTB8jdxMV6BRJuPohWDlYDqkHWXn3Lu3yE+30p38RvKO+dI3Wzwj8pisQ0owHQpm+ghesxDvfKDvNAxBuRkUm6tsNH+aM0YTb3+a92XaAAFA2aq/63L4rHMZn5ekyLkpA37asnXFUYstgnH0wyl9NA+1J5Vxi9fIVShsVMjW1AQTFYlo1v4E+9B/sqbRbREcdeAhFUTDAl9UQjqWY53uflkSEtSuDrf3+mNsjUTFM9Fn02vgcxA9MBkNXZXhU8dmG6Fnvt7Ju2b5dD59mGNRuRsXQyRbRQ8+G16jxqXEHOpuqySkC/yJ3VyX3bKAmvwsaMYa6P4oG/MU71fq1N9DswaoE5rWltToBg36mrMyCUp6KKogX8UD/U2SIwgg7JtpCa7curnYfd62vgmmr5W3d07Oi++H0csYYsbmd2tsd/qWcAZg454Ozm3vImqOBuVlAab1Wxt6JJPOp5vyrTUTv0vbKAmEpBfbbDhxLGu8NIgWE+lQaJy9QGZG/aH05Dl4u+7ty6qwg3RjeYewNSjVj9HMkCjQK4HYrydt2qNH3j4zjWC4fHWdTjtTFoY8qqo9OSS+JAKZOEtGCyOA+yW78L8mrItMFqe4HJ3mA+j2NAb52O2Xc3DswUej2td363w+9PZi78TmvNWTELLgDXmEUCC0NE9flDG692ukW2gHDnt0crAwyv7n78EHhw8zAoiX6GhbXnoYbRjjwW6gRNIsw+2o6QoHM3Gh4ArfpO3asbUMnwf+GxtGkswEONsrvRqpAeRlySZKHOAXt1gfheO+CTVIsGvEO9RvvpyUU6xpP2Gm0Yt04rXIxx3oW0SB7PB7PIlewVk3SG/uBl+s7NpM5lRU6R0JxpKZBX9BkqS/gB4D09RgIhiOjkBl+azQ7V+Ul1UFCFDwOm/1LiEMFHDUPBeWHXa3i/T54Plu5C1v4MG2SRnUHLvXKx6FlgxlFAF2TEqtcQJjBmcS5YM1mDrn/GJuCEht78jOiLKymH8/AEKSxtkwprSHZSh5VC4XLbdRQYyGr41ajvQpn5k21ppRFEG6GiikmjwqP78ZRDelOsDPCuZXkM9lebISsn7OOwwqPraiXlIkEBr762oO2dWOhafQNHFk/7kv12Clq8VUqb6MmeAlw6AnAyVGJvGmniBT/M/4lAzhPGHLmI1CNunEUnztT05zUkmN4qxvAfTIcWvCLSxJIp6G5azwPzcbcSoy8NLHiaE+ZjkP+keSivLg7DyZfgy7jpqp8sM89x7xHzlpf/XDM2ETLB5lWyD0F4WwQTjVyj0g67ZltPs49ba//HEn6nqcFuvZCtvrldafC7AT7664tJ44beVrFEf66zJHL5KHKLDwAUWWhAQlLCFBKtrvFg9hWm21D/sMcfaNphbMEwaXJ72G3AnaeNnhpllS5Ic6tIusXE9DwSpkdUv5QwDyJ1AziOsOwiyeq+xddHXxkuy7h9qfhUHlENHyFDtQpWbS817MLr+EiNusTUnWRuhVSszVo7/Cd9YmIXiS8T+nu/J+B0scjkSopDIY/RWOsTruEKxlyw/GZ4wKDPZ9qIYZS+u9+OnQLE1Lu+NBjb+ygnsE8C8Wild3rqNHb5OXAIsYUkz2bHXkeRT2rFuwO2nJOqiKn5XrrhGgpAAKx0VSRoS1acjahAckZ9z1G3q9VcGAxnUKYYc7RP0SdyEl6vVclEC5PFAeI2kMQVmzEswGKlsJMRNzuEIOvTKjl54dKBdrhteKlfU7YUQBdHSvUs96/XAE96FwV/rNSiYROorhQzalzeV/Bgpry3g1KCpeQnqnu6vC3BKZuJ/BDF58ChCbwm7QDVPhcpET1UqVsPc1ZNm6YcYzreivy0+r0XIl/g1+XISncBTxJgklkEMfDZuF11mSoKc/RtnB4qjMBPEc8NZ5mDNAyuYQzVb0RuSqe4MRvG0ZS1i9uLSwTxFt+VIYD1TcbKhMWAEce2MJn8dJWD4wU6uK7tvcyYcNl1sSQCixsxx/L2xzW/4nbH5m18zy/4kZztKecrIKnoU1k24/5ICRgK0rjazXE4lxOLtWjtzzNQAwk48NC+ZuISrO05xnVukVhPlKQqsNL9nLaFLz+MHyBU7UZEOqmkfkVvifv5MbSz+U6SMbCYvagXyorPBewb0tWs5SXu06EyiJNHSPF6UTO31yC43hW/aDrVmzMdAok71MQM9crXTjJUF5EauwXjutPlCZyqYQLO2/7zSI8tXnI0+UaL+mrrYU1aLI3F9ZBFxjWVQNX6J+QflhCB0CSQ4SvtMNwON7zhgCgZOIkVdSxmuqXdAW3vCzEP9O40xbhhxNhOmtLJjaplT00KngoqqMC4D28kJ+83CYpg1Oh43wkZCpHFfbOQAt5QEUlVKGrEE2yIqbGtvsdmqJWVhqkJzcqZ6h1hAe/X/u0n+FTazb43/5AsDycaGLrVO9P7qMlpnEQU7YAc2Hz9cGMB/ZlPrG8bwylO/cWccl430s/8SUOQ2I/VKOJjl7pDb0DzD4xpPoYeyLbdt4/YlvOe+QK1tpXYzqBeIJ5MEKhyecosl5lQqX4P3mFWcbMznrP38sJ0RLQpL+VAiH1gEeQp7MRHA+B8tOCHTuzl0DPAriocn61GXbfHvzvIdoJDwITrJJQd0Jh0ovyC+reyn5cxHqXlWINjhB18Pwy1/1DEm8icq7LfXpMj50DkoYhoS1MfnGAvyO/KBAUBerFUjpJYW5eGhRegEOgR0gvanSEp4KDVZ01Dx2MD1Cp42wgN+tHXvXKwVn02TpTUDxPhKbJA3A6EmgN+Z2NjF+djZ7OjBf40e3DlncweBaCSORqikfrMHp0SuRHnSCo12oSCVuorQsBELx9qxCrLvSTG6ukj+f8oDcqEyIdkiQWI2g+Xiom7eH6rAgaRYXC/5HRkz+gpZGsxzlfBAEfSeueGlwRFYnuoe7wSN7m8T3M9eSebOlLYWmaMh5HosnTsSEzBiolG+CYAdf/6Co0yVUeqDDntPr+uXjy7gceDX/PLc9vBElSrW4K/9s+q90vbHfcXDaSvxoB3crrPRw+wBojO2R/R+sN5b08hInUla6/XOuit/G4mK7+GP8euPohaP1jIqZqEJy0UV2c+c2MbCONxNd9e3NngL2JolX1YkgrSTc6lahl8F1xEQTV322rFbeAoi1gLQIb/+q+1fQvzF9pXZ3X9GFhyLv69WiwACB3EHHOS3DXLVvQQ3a39BUCCNVNQ0queHwd61YWwxbigTm/zrr5JiiKrF+5vRddNTxhks6acjO3Yy6UdA6JHmzp9+d/Fs9M2aamux4vS2rjWnYNtvT1dyeSzrP2gP0eOuSheH1i2cLnfFAAF55rC21IPQTlsWOsgeOFPD+FM7umMXLCMCj0tCkx8OB5yxjb1ticSY/6RyAVAS+eJ8cJDhbwjpDZKeFgK1vuUPI2lTtpRAoEF6AGr08CcquTkDlsZFto0SVmRx89TZQyPSvQMjipPPRDG2/qA7brfwnMa7YtRtkls6S6ueN8IbPBUPWrjWYjPJ9tJtXTtLMxBA3yftJvWJqCWzzdpvoEbZKF/JMgmXsTfIbiLWqDIXLl6K4oeadxrh3CKPiW2wGfF8YYPaKjuraY4qC6T65qyL7aK19Cll9qKvDPVO38OLH/K5JJH7teQ4wIXcPtshtHG6Ei29aey50yOYszCf0gx2fXtqqsF8NAG+ukVY1J4OkhKbntZeUEcReSV6pkko4bUzRFFvWJLbRL8r8vx/5EDkuagONwnJC3Nki07f7IuybLGtCmdR/lCTETNm816E0XU55RYeI/HuLL29wyY1gfeEqPCEfyBiwtP99hYtx78B+caURnmWHLxANERV8URpAOqe3gj1tuK9YtIGKfJ9vAV7o4FXMV5MDbeSKPzYr6KE4PBXV9damZv/+5G7dePX+KYFFI8hh8+I5pGRCv49k2eZZqTpT3ahj6S60Ys1lasZmCDlBoSAuc2eWGhvLhCw5/atrHdTQjA5J5JOSXQDOF/Y/+d5tzG1kqLV6H4shog1DTc8WT4u32CZP+WeX1qhpLfMWp5DWEelrFW7hv7cnFZtYTzu1qTg0AOYBaiZFw0Pu3c/8mNuAyW9fkn9WeCxrVgtjlKE8HCbcRBOmPKNikMlHt+hjadlA2USpNLP0Azevghe3kc4pLT3DYIaNX1sU/jy7FyY8SIjrYHhu3OR6UTGmacM6L5Zq+rpk0MtUKdBUWSIu1GHNtvgRUstfO7vFI5HvASmWPV2jVtlKTkC+txikw7mVzeRz77WkCEKFBoabNY5V3raRjjYuHCpxLb0zrl9iM9ow+7hbH9ckYoRQ/l2xLHwAVp1kA+sWMYcTGFlzrIOMjeHO7kXrrjHPVZAzRl1tWdYMZfAyA6ke1MrsTsnOUYi5ymzYIer4Sw3+El3hMAD9wkh0OBF4bbX9+fh4zMaI1Omf7Vg7HlWhajCUgtJleATjFQcJ2hteksKOE/DZkyIJbS62R8c1FfN3E4HZKGp1CCacQcINWy7tp0xgTp8EAbQTpqDGMXKjpsUXualJDKf2cajR2cxPjnH9p3qYCcRipmOqoWSQRco8ax3CWdPRCyI2+Ki7eRPYSeYTLzrNcun65JnqHRTsG9A9B6WFEUnvvODVqqAeohSrWfVBbzGIm+VmH8d1sHuKfowWo/HmmOIrVAPd/R8AS68SHr/u4sxgM+No26Zk/Ub0+FYekbZOUGiJXqtQ38EjaIlXhN1OBH/bi0orMOsytCQLRL41R40oF6Tuc85Dbpx3MtAB+85JTgycjkEDOlJAbfCdPb/vN/yW+XEog3Imk3mJwoW6CoVU4wADHv4coXGWs16U8AiDapxs/YliDYtJzgq0SGr8Lb7xxO0MEy//Ly5B93G8je5FoAF3+BeS3xGGP76WrmfWx3bl2fLanl2irvYjbi3jQH8JOtuqVhlKr4S+jJF94ugBXmcn5BJoauA2DLJmNuB2EMc6G0iuYABUw2fAnyQvGdsV9Go49C50ujwlrFm67Dal2ytyCnZ+ge6jU14Zcc7fNvgpuYSvz/RLd2rKbCZPw301ssttW8g7A2q3t9Jzva47Dww9tIJsOjqh9PoR3jKhPPNKX9QtWEcAPf6O4YiF9VAO3C7H+9zFrTSjbPF27GKrcwtgsx1WABRW3dRx/jTKyYihORAbzqQqkSri/2XdvVFmyw/PrCcOircpDrO4NhSqfd6kozc00oHOlRaRjJbBqiobq7qN4s6Qn+5zkM6+5IqmaEstJjvzeZpiEHgSx9Fw+rbiRG92TkSwVe9rFaNCZuGazZt6Gjpl51LxgOsxM/tOCB2fgIYpb47nvP+lzSlhFzIbFAbw3EkIg/7Gee5icvBkI/x8ndkfkMIV26izooxtyiGDqaqaZyShzs7Fle/nBS0Gq5V8E+Vip/lIaIxaOsivG5NI63ClTF7QmuYVBfvfvn3ATpubRHnRGChxdF+Lds0532j60KPgTDBAx8YSJTDoWIZvRTJ6OCa5+SSrIzRHgRaQU9vHcoqKCOXgTfdGztD6NeiydOsX3KITa4BHuFEtugm3fRuN5C0nV1oQuVvK2bCXkDLMwLcq8m0C8ui03jAfNYLSLNwINd6g1oTtPx/ZKHLjhOYFOK4PylBuo2xRnCZQwoYyDraD1RNFp1gatVWUieXTkT2hfLvWX5TuDIsWTWWJDLpTrQP09qiouwul2HKl37vAy7YiKOjozV1EaUJp36BWVZSFrbi81zsaVt2/tIpoRj3yX8qJ5PshMIqX496HckjD9LaHxYGOVM2yt+KeIpWDI2Q77VCYIVvcEZHEji5oTasNwuVeldxmrzPWJ3/KHFlURlDCiiybfFw6tBqBtfqeV/IlKeDbwg4SA56ZBx0q7uFDDZhfhbIG3Rcf1UCqD1NCwA5uh8GXUj8AoCTdexD+SC302/dK/gkjPE/PzAXSMSxI0DlmsqKuSrjTtle7Fznjezm0OLxKkJ9Vt/PqSqfI1v4N8nko/4wlJlijzw5mfUbjk35zf3FvRmJhAy26+PYGSpNJPHG0fd11vpiDVedgvotFiVa2smzyG96x7uC4nNqkGcIYaDVqRP5kfGD3udW94j+XpJZcttvCURC98qmYckKejSszBVJgaPcAfgJeZEBThvRy45h4kl8t2JmG4T0I7uUEvNQTxuC+hLxEi2yBeg+1sHUdx9IdDAC767o0kNSCQk0dBQVT6yAQIvnzc/grNK/dBzd57v2DtMgj/hZnvkIjzjHBdsFsf7gwX+/H42lPlgzLq+CWNWAByow9X3WKubIYWZ+L0naWikteXr+S9JNZ/mlfvKWhA5nkCZlFyDofhNvVWurA0hjmMEYpBJdc8TmtdWUR/XW6kJXMunYtgStqYkNRoqN0Itbm1LlyG+Pg1QAiSVaxtfuzKtVWp2xma9l6V/gfVa5QswYMzHadZX/t78zcR4rEcE1tP9cuUljRg4pevUzt8QJnsObofNWB22qnQJeDjJnsKUn6imepaZy+CM6t96QyjU6uZXxi1mdCHKwTyXpvWMiWeci2dQupi/j8ZfGDlsKGzxmXmIUuWjJmmtOKKm9AifbxCVdPDmtTtfQzoGrmglE29FtmCe8gJ2wDbKh45V2vqV/eWtkMx4tRz9OEXyQXk2FRwZ2EdFF9YEy1IX+TE/EyB+iIuaD3mE7PVyNbcdzLOKlAGuM5wCFVZvNbHK+cDBD8rwQrojCDk2eT/WG0QxIm+ngqDiz2yLxfDCt11gsW/zukVHMspeDK7N6E92cVx45DZ6KbUFjxFCpQUEmttjPHYm5jmKAQpFhTElQP94FW1+RF6ozo4JekE7qqm/nZrC4g8mrvIaqL9abQRAPTeOiJcS5DuFxNMENrRIScXOYNqfIXwgCUB8Ng5tyS37t6IVJrenZ7pY3kO2NMn9W+sE5hPutHO92psa7GMzlmnlCBhb9h9O8tth6BjG6+qh6nOuMJPXaZ8Nr8wt+HGZzYpvQMCPre3OBeljCdKZU8SbyICFiD+tp6/Aq8+7oL0eyiBR03M2veC+/pt7akDa4TZLv7K56YTjV/5TCpoax9VQS0MSS1kiwyq8WPFTJjMcFMCc++NFEuNtkxievEr1ZhceLsb5M6QHqFg99pBqpUzOW72Q6tGUgSPUQPN0WcNKPbvfs39syod76cXFWVdpIl9+vJOfFV1/E8UWQeMtGgIyj8tKSr+uSPa2hEpABmAiffX4D+cO4DhqFddrlK/hiZMoDRZvaJ0vwvVrakps80IK4qVFAwMlOKezEfnkxzLVbEnQkdqewnNBQD3QqGfRD0GX05G9e+YlbGcWmtbmhxoeHyghr3etAvj5y0DZ4CaHW3trrkQWhxHe/TT1dEhgVhJvADOAVTCw4ucrYTc+mi5xKH1yvyNgFayjWWb2UbPDfovN0ewz0Hnli1ALpgeYZF3ZxkW0LSalGZTE/+ZZoT5g+JANxbABeZa1pFb2Gkq6kqtkO3wn1PZTkThHy0YmjDqr4sk9VeN+vMVe7CRzNQuoupiTLuWh93dlDGm1IbEYay59Lu34S7DE0GgAkzmnUhwNVngJ8oxoTy/A2XPzl4a41VqyQXl4Tuc7/qgwC/xVgCEqGaF0B8cRED5XRrnIG0UBlodzeuW0RUIvtKUyKz2IwWU364CNx73bzkCMTtKPoQwLssA0x0J9XJVVPtbYyPuYhizn1aDsaC2J4sPxhGHT7RDVd3AY+RwQM6iw6OCj/RG4dSBDt9LHWYcyPtAMU0haZaXMchy8PkwgAobQC9Kyda0+To2QV0ywadaRWbh1DM6c/ITuOrPUhEHzHxzht1rxVzwdoQYCpip8Okyznbn3tRp0jstCRiLF6xcpByyiiYmtjxFD4azNlM0b1UIz3VYGRmEaKzwMYrcIIh4Sv6lglTlwuC3mo4OxUVGV1SsbG5sms9UgbLRp4yixG1LWJizxBX7+THwHGAR09k5zEFIbszesMfoyZ34CMhFH6rB43zacjlkcwBJBbB0VwACZmcQK7yh3LR4eq7po0yueE/fP2kpecpa+Tyj/YqKPo8wPWjtGKUWsIRQ/TW43mkgWLePmeZu4AVZluH6mwrrD7bRn1VbvamgdTvpnhCGf6jsvrJikIx1N6BG7V14o+RSLyAt7XOP3vcR6X0OvMpKM0sef1hhNMuh/dusJb5/E9+N/UITpn/hXk5azLFkVz+umPHQQP+H50OsyE2BfTgrzX/ci0j9//SRm0mLr7TnhnWdeYqVFs/QvUXFvBiH+e0VLRJgT0JHe37g9mmgI6vimlPan8jVvIRU/6HOPCXHj1P4ouM1DE/RXgCM+e2v1p7ggrT3Zc0v/tQSgxsSKB4cWXFCjyxiiiwQYurFHs6a2hS/AVsQf1G32blGwdyHiDu1GKjkNpLOJKoPbuviT/FpkvCSnRqwj85u3Zt//gpXDNqaKwCl+DRL3n203GAeH/oxa3G6mhUgXsoQgmJhE4P97Pw671n4fbso3DD6+yyQ2GpCxaaUb8cVYD8kSTl/R59rjp1PVLyUQnnpsv7TQUAPaFQ1zfNVSZQDoHCnx3Va/qHOuz+V8B4Q5tSwNXqoO7d/tAEcwC180PXQW7j5Bd0qCuM5+n4sE0kGgTgA3cPWJKXsQAC83Xbh0st3QvfYnwZ3/vcfdSU9gETL+ghfEhYTFPC+5x5ZtlWmYNtl+E1oa734lNg5q5y4+VVZFBHjhcg5vMYE6D3JHK2WWQsPFlEXE3GPvotVGZmyyN4XPZt7QaWiE3E+n5pee3b+fOeMnAeD8NrSNCXt4NSavPTPdjb9QlrVZAFxbU5KOXEFFa0PbCMTv5RxTbCD2ujze03D200SITlJDVTAaG43St7ro2REWtVEf4DsAjzFdBAMJi9yMNtqrZxv+Ih/Z9zofFBrC6IwC0NEY45ivGgo8+HCJq+jMIKeVI1mO43Of4n9ZzgbjN7co6BNxwX2f5nHk5MrnEDFBIqF9XSBrwTHzwXbCh/pMv2dzMHbidcxJ3NqZAN2HGZIR9eyHpBZyMvxtYIzsYUNwvACNwjZyCJa4kuRzzH7v904s2iaqOfZ1lM4pNG8+1bMeoF5wf3SF6qY75MbC4ULmOJh1T7Y+MgGkqmxxas4kkjKM1Vt7DwtK/yFs6IONtig/1KgUdS73QNusA83E1oZLGVQDKRrBCjny8NHsB4Nc0cQcOq6Et7VykV1tfKindm12cQ2UxZkq5r/vCh3aP6ComDDLe7KKOtr6J9AsMmm2ZB7EwcUvnJqDNC/UBMhE00KrXIOwPZ3khewFj3O0OjCFAl7yjTvrTsfduH4Q9mF4oG7cvrQTrRbFVO98NVMEkcEKAn0EyIJavScrW9qNUyDLt/ds0JANwTmMVTCSZQLu3PYgtPV8ydPSUWznO/rEQyufglBUF+pEBlyLS6mqeGh5nDV2aDvq6JXgVIGKLlBGxiXu5gWK+f3oTtP2rduLGhyrJ8oH37yC0TuswLIxsnanGfqFfQvsLodoYFXixVba0R+Qy3odr2LcTg9XDcPw/XDmzMoE6o16oZH9EyL3eFh0ALWFI3T/KF39fvSpoe8zecdas2Zfrjju+xoMEXbhKawpFI2E4/n7aOjL8jKMVUzONexymSPO9fptnbdR7gPdMNHORRqs0ILXGhMbD0o/qte3PcRYoPIFfvOvihm41VqbiEJgYZStDZwc/TG1UIgqWm+IL4j4tqbrmj04ASz2RBxGpcHw+48zPBjp0c7IxnrxZ7BsnEAdbkZZtG7G7MRuoATYAp+jqZIlobf5P0hwpz9Y3ktmnANHJED7cn4bT6LGWs3c+kz7f1GvMcnKM2B/EbzYoy7wDhJgwbiJocDU1sAhXlI9X/d21A/uPW+r+ZO7FZyOH9kPtymDWrX7ay+01bG9CWadrTSEqykvS2fDamFcDVnuDjdLQ7zIcU4ma8HaUjIO0zxFjrOz7wn4lkX2kbQZgaTtijSfH0YRgzysgklbDbeCR38LhxgqDx+dx3GvDfiTG1/62lOWcM4MWtr0xZkIkKI09Um9jEroJyJK97PCxHHgF+CGTy6oNtF7buCjRS0wIjTAXt6Zl839v2JkjBVOD2BHVpt7N4jqdODZuDVHmRI7E1Yx1cV1nKOsDcjY5Heo61kvBa7WoLcay9DQO2s8drNmLjSPKajPL+sNY8vBuRHvuZgU9WXA/+eVsr0OuwynYl+3M6vBnOY25TUH0nqJBi8w9E+p9shP7vyaQKB9hdhi0kDTvHJmgEawI5BkNqXZqLdh2x6Bv6vX9KUWaQNuVcVobjKQTxZw+WKyXVg/t3ZbB7+a0dLQ/MAkc6wtn9GUStyLFOWxly/ty6Vzflw6Bcd3aKSW3DCwOy859if+B5xCh43GtMcelRsgSEBaVLuL7Cqr39/W2Wxj3E2Wa9zirwasNWXCNXu2rlcjIFzgyXpCoX9B1sB2Y7X5mK7abwbrYxnvuayEaBkyui7KjOBWcQHi+vdkx8MWlNhwfolbfrTtcfmoaS8lTiB9mmkTCYPTCbhxWpeE8Ytly7MGkIN7vODOvz6WoP9hAWGtIfIxAEpPRRX8mMNDkHj33STQrPptqTZd2uXXh3gDORIIyyPpmPqURZlA/ckfG+r2naW6Gr9fd5ua0FPDb+1dCgTcQZcNAsdf35QjeKPDYF1i7kZiGSFi22+i7bTo2BlZMFrRjS/LNmkAkdonRnZGbx0N+tB3+zvL6fiFdEG12O6dnx4BMOFietpJDm0Ro4AfL5pbEqSOorhrKItP9VXHPh5iv+erRiiVi4isdbSuunPTUA2VOgLZRh+njfMfsSQw2SIbOij8ViiriSk6Cr8CDb1OGC6b4TE/mVh3fqy0PL8FtJQDJ0aXcVctTzQTgFgkvzkzOtdXheAj7QF01BCG2HaBP3HN511zv+fF0cfuTpBL7E27PVbSj68c9pPPtBurcxeEsgFW3tPfSCbW0Q8dib6mhYgcAYqGgSGOK1zjVXiDhY+MZud5RNADzedtAEcjYsVLaDPOipxrmEQo0VhQS/VnBSqqilzVDBOC6lmfFmUI4CcvX0ic/cFAhQWs3hM41OoOPuLcIRuUJ22DGWxMzsgNIFbMgYHq5pQCxhbXZDSlgYcN7MUj3X62r/RUMdoL2N1NS2vX3AbJkS5EnLW80aAfjH3+HsPicYphWA75v1Xwh9ppF7eH7UoJKKN3OnzPbric/T7Yeh2XWGKpkjb/4rddy7qwQI7oApAEJZydmzH6koK/Am+NPakbcJaxdkc95mmtEzDc/f8LE3VA4ssTdaGj1Nop14qoqDuQqGcGqbt50tRI6reDuTKLWMyeVLGqI/gB+PaX//MXgNGMspF+5rmWEVv86O3Kc2AU3uf6zm3N9yppMknRd5j/UapQyQVHx4dx+MhNu6WKIXC2cb9xQfD7XKmYJDh66EWeMB9BcbUHbvu2/WlvsUxNKzENnc1GU07m1n5EibPBy8vrTAAS/aH7EDw0XG95vDOj0y099aduMT+EA0F3EbzgGDHB+sitBkgjdBPVdghVoybITf23YOJ3mgEevhdMW0N0gadOiqS1TDOPovbF6XDw3Z9PJLin9umRkkGf1Ij1aVcbv5t9jrrH+WGbrfIoNpDY3/KLz97msDQWE4K/sqvAdRuMIUSydcyrX/kUCASrmzEu9577YGpZxkvGAYOSiE60rGyHtlIJMWZdOsmry7ZVEJcnvwIqN0Xy2f0tM02vNCtqZKI0VRwJvN9nYF66/W8ORi4eTnQ0+HPjsaA1f7gAQ+yt9XMEhP8PXyOvUVYCQkhYT/0y6KLiLbqZs12BuzZuv0by1jy+GlDLm+NACfhEgW9taCPLpnrqDZ8jIwUAtJYfNoFfGqcNro3ZK5yCa8yjGAwx1r9tUAGG0emuwQ0J83T7fnY+P99QMGb/vJC8ogmx/q9akIXlMhhwby3NDcD5YYkeYlzhuYJalIo0NemLK3vGDpGA637rAdqmIqYr1fVy1T+hdWbSGaIXCXKui+NV2fswVvmtwcGV1AIWgbgQXfq8QDoewwpWQUauASgk4tcA8ZqKe3momKYQmGrM7YbXgR6po47auWuw/Z/h2BfEU+L9oU/QZbO+w7Pr70yInluDas40wZ57f3eythbgIQoxAbdkAfz+LjmJICYwIP+v5j5Myj0QmO243Qs045GIkEY9H5VpRLxEEzp4kuPhyPXuQo2hJnRG1DYzZ3BYdE5NX1gvR8eqawZC35NgQAuCGxr+ZisdGjsTYPm1yW/xDlWpO35S3XfFMbjv3bkoRbpfQle6taPTGoFWBiTiLpXVxYRQypbsSneAOBOFojE2APL7+uEz+/2AGsqz2cqVTsWO3tUU44CGIgxxoRSi6+c+bMEDAvKcEaKR88g7erMw2amvmZ5htXHMArmI5S83f0P5lFNWhxuWAPHCIoWs4hQFEko96BbwE4eSI0pSvbz950+hUkFHJ8hjiOW+K0W3E/STAvN7SiVLhOnsne4EUBRn1KVMU3SZv71pll5e9VUDuoqKyXe3a5Xvs29lgb2JuVFLpLbyS2xw9o1/oQmdn8Bmw6nhd2CTFExdH99LLbF57kaq6B6VWNknU7xpnng7U1cXjVDKhmS8V4aAy1sy7UaX9Eqz7G4WiOCLYDBdtp3CUvUw87TU0thEPPsbfYdPqNOR0UeO3NM1dYEY9AmvbVtuaOpCvenIFvkJxyWMTDEUQPX/sxB7Qie8iVm/3KLb1WHAVJKXCe69Z6ScJvCuhDljk8c8CnVCUKlTKPz5PNIpR3T45YNx5GBPwj1hUhfdtElhEqdf1Gvw8b1KNKp4ebaKyUm03g4cehUtLeyUcvEh/mjW9yc4uCFH3fqimcCEa6nTjyFGHNQ3oQ5XXuflRaf+0jGVw/NPKJg/mQ9nE6Gi8r9TQWCCi/kwlHHcO/wdBhJbOEsEZ3StKLEk43dmw4u8BSskhicyo5U8QKJERZFlW5RBPK47QUELdLv29yZOcdx5eYylG67yzLJy7Cxdh2VJxe3bv4gkh+/0ZYb4awmNlSmAwKyio8BL6mQCWdI26SDVp9/5hjKofbZZmhvJNWELSHSsUkEd+OM5W8sjQc73Ydgi1mJO62YQWswm8XmN34BnP4eo0jtxKPfClE+NBuRQg5yPTSyzezRWwVKmY9mz7EEhFg6cyhSRmDfP6F26jiYilzos9vUXrr1Q7z4JDi7fiFalgfxeBBqaBZ0QThGswdfR/HPjC7iGdmPh/1AJxMQUix/H5hVUgfFyQmSnFwxe2fMf8+0GpFzgrQKCuLwp6Afc62pkkc+PjT+0sOAmuxqYvJCryPgQBxQoavJ1SlnZ7MIi+35M9nRH47Bp5bhqxTjhbopN/BJhqNiThy3n5IKMmxci72Bi1qtikib+k7b2wopgaBQTCOk/QFOEQZ8Ta+bkZCFMwlOXjuV0Q4j4F1MN2rvYLMfkTbWQz2qFDxyt41O1oVuoDtSQ61p0OHrTsg4iMJi8boCz7a2OUeRIr438DkvJ5jWZIpafy2p/dpSiRVD7pBw5UnnLsYtPUf9MbCiRGgSEH4hJoNFKU8Y5eag/TKV2tU3YendKKE2dul/IAsquhBZxaU8gQhb8ofm5zCxYWA8sifrM5ZezciIEhaiAIMor++VcFeJ0zZe5soStZ6Vpu0hCqXdsdePaHBe6ZW/BeEckUHYbiwWTYRLv14bNnVrv288W7AdgPtN2GsbFuiJBUkkDGe/aKePUG+E90f0zpRf7zc+RO9N/v/mhWl+nFAy63qKKtiFHqvNjroOkbytz0nkCS2mVxZPX0IZHVL/Y0AmoVv3xSJNLb45lI3MtZvWy7yrpGnQ0DPVNHj5MwcOyu1y/dJlfjpJM4xJJOm+uxuZyPMhv/4gGUKejEsFBErYvumjVc8kswWY/iHglMhNEqz4gxhRqOvKEeR28YpuUpuqBB1/A6mRcH/bevfJJIuoCDJbhWCwWY9o7YlAd3obuvlEPfBOuiYIz8MAxFS73DwTcz8dgmVA4Ypz1p+yAQJWMxvirTwUyUjTj0s1fKKM6Cp44OtOlYhY2U9MC+/KMwVLVTHmheQV64Poy6kkFg7X4lyFJxY+SMFvvVlch/jFBuhISpo5jrq2C7K5TEZqPU6RzAvm0m16beJNR6xjOJiG/4JxI+v52ZSt42TXuI5RArRZaf/OetU/AXerCO0/lv+V0DBxGCo6WmgkHnMoZR5u3dbkvHiAuGrrj3ygQvdiEi9u/otiYFp0RXMYgEGt4gcgWtA1OXoFuZj8FO3HFV38bVUCClQQFcmTjsnxEbTQD3OoCAphliXaCWUEIJyNayZKifFIrdcBEEobbzKnmLYGmdoCc7T//exziB0EInMydsknKYKVWtxI9+AQxdHKcoxx6BkQaPp8kX99vGIhgB76Eua44XlTEx8yM3522GOhObeof68l3Vr3c28L692vhW31HcOF/KoKiMY/TvpYw0Xo3AW5KhUQ7rWaVBde2kaNUEEgGEeAXPntOtJXVqdRdtLG4rf8ZzD1Zmx16o8vRpII3kI47j5JOGQ7eRHFsRe5NZ5oXRQ9iu7FDvAOwTx/0uT2Hv1BGLYzBJvof7SlUrDYldx/3ynGVA5qnFQB/6J6xHW5fLstKVeNcC4XcJ6e1we3Kot1qPMTkV3/M0HGakIClHwBkscOStJSBH90mR7chiiWCSReRGV8HxpqqY7qO80nSjZmKa4U2inCLwutqZEKAuAoASDUFeReLJj02K6Fcs2eq3BAaTlCWnoPLSN7ZhQZAA8YC380IxPnJAFmbByi+Xb981N7iF0z/pGlgXE+l4w7qW4ToWqs311dTWLC1jy82P6D2PQXNAspTV7Z08Kfp1pKA+QDYqaJMFiuSrAQwQP2y7V/Ncr+HLa3xava7hT3uQ1iNzTzmwE4n2P8dRQ58SsCTrVgrY4FogWD/sqK9C9M51yoppSpszXZvE+WcwejBmc/z9+Jy+1tY4FtQX3EG0kGBzWepz+H44bSVJJw/d5ApzX1Uo+CGcMJBxRMmnvMt6NR7eiKW5L4YK6ymA8/2H9Cy2MOI/ci2DPjDpmsrVeOrzfrlyVHjcNmCe4+uyJ3/wZErlXWY5oJuO2WljcvmlpwIHyVH6HXVqxRoMACHfgJMSWuWHHRZ1tkR9y0Vxacj5d72IkVstXr1BKOpvecyrx19epkqN27RKwfLxlHZqTCR/WbUvRdSRY51r+EoyunClZhARRx2dpEy1W16trb9CwENKw0pJDHcO3IfbePgeZzjA/i3+kMqf3YQA68P3x+TwkbltfnZ/CcyU3cs/mlt53sCUVUXnpET6cyn2vw0Z6csQBfIddER5DzKdUuIccWnkdjUniFcqF0bGWdNdDav75+6Z12trWtRPkqmn+SJB6a5nStP+oVXQf5l2zljppJ9/ByWv5r/mbzBA5hdGZbONniJOkkEPlAguQamiA2T8Z8sIxuSb5pjPq1sFixqjI9ZAVdboClWkH+/gjYOs8kh7l4PvoAHFX6LhbfDdDNvLCBxv8s88awyxgBYrSdlY7phHLfLFFA+OtqQeK23kP9Pax36pjCkFpm7kGV336+bi0KLD2WkUAAnN1c1GBIezn+AjdAQBU7Rcik0Ld9i4epBxcq8pmjVeltGOj2zJQkSAkud7blnQHPb6EwXwLgqV/EqTxJRCbKm9bfMX5vuUte7gD5fYLDL9NkkTIk2oM3Mggym2kc3R2zq8m1T90UgUp2eGnXxDkkg+HDDxD+UGPFrNt5xdxav5dJwXXzIcjnxyPOlSyf4+4iaIPqu0RGsGZfQ47UfdPQfH2hF4VNjtR2fvj7ol1SdZsPyOrztkvtytpD2SQJA59wnTosdTfdaBI6wo41yHOl/c7DXdf63bvPRLDXv6mR2O/TFfigSIDoF/YlnvdExWDR9WicuOozvMpd5ARXs4i+BH6PjsUyQ3IAyLEuAX4bh4LKM0bp3SNc4c6z+85+Y7BjxIPK3T5Lq5cuG0ViE3zp+vHlYv74Fdz5f183nWmAjb9JgIfzvq5NF1/hpIfxraThhPt7PdhUgJihyyj4BY/JmMvGAoCL8MgpoTcMNbKdixejwsNAxJ39t08ro4aB5cAFPPi58CEc+NiM+j/R7jZWpTpem8wG3vRHzHEYBEpCv6vWPj3vNRrSLisu47alFFUKHeund6VTH1G8YKhWLk3lnsQ0z4ukAQd+tNZM77HCfL++eJh1JGaQfoad3rAdtQjgprQDFditlNE0LzoRI7NQI5zVSMtUyZRTkI8Zoc3d/m6vtN9Il4hP3o5XOGHRBy9nk8Emga4CLQFhOfLu+xLVPrFMqqbzdzkoxDLCRNq1F/Mfi17y273I/wImjrFr5XEwE9Z+BbTIseUyI/rbezMytPBF1tW3x3QCG60UfgVmvl6djumZc9Zog8HbkHz2Csnhg618mrtJdlVJhXN11Bj05bz2kZK97abDNVcKTNQRwGxQrxhrs+rFsiOVZCFsSc+E5m7D3Xo3DHRZcvofdjr0o9SkIjiuDtg1OR/7NH+H2RH0UEFPhTd59tWFVEEwygjomXxX19YNUN4mp9jNLcCjht/O+8ZfjVQ8LYEn9WV7oZpTF0WkE3HOUX4w+09J0Zgxq9OYgulsqCZhiH8MhYxu4NnQOCrtkWYHTkhf4S6k6jTEjyt2OkbDyBZAm4iuHFNJdd3MS5wPdrK2o9o7CCARLTMXq8bZgphZ1wgBr6TBwTubO9AJOoJBQkZY6VWF54vk4y5p1G/1RcJyETA8HsF+Oi9ynbMng55icu8zpaVnTbQz2xozOpMx+1fv9+1UEx9Pk8kvoBcQDREHv84alkfugmrMukAENursAw51iQ88Guha9S56dpnB01LcpiHC0qwSUOTYWrsm5Yi/rntEmzoSdkkYMa7XlDgnlkP2sezw0qMqxQRrVMh1W/ZNgQkVFFv0h6K93jyOhY5yVda1VUp+mjAt7PXDmY3fuUM982g5tLWrks30KVJzx0gryvuGLZTOdGhUG3SziXdET9T55ju8QrOmV+hAkOh53auTiPGnlNbTS0Dw/wRvSLBpygpilWRYGvJ0Ne7mLgTPj5skwKMTpgj5XaKdRZ9x8DVJNF6+2Ux/oBw42eLPGlJF/Ff/7lj3igcXbsnWAxk2moWhPiS+cILcL9IcCXoqh1Rjkjy9qV/ph/Nrim49Y4FR9BIlwq9sD9tzyU7Kw8J+Om779HCZeiOnY040/vZDB5X1Rw1Gp88fIr/K/tIXnLjdbd8pxswx2CY7zCfhKWbluqDACG8MxA6L3zs8fY/atA0hl8Hhg4KKl+58I97uniE+von75AdQE1HAOZM4b1PjKJMBYYLTwWEy4kaJKZkrxAxvsCCfbZqhqZlQOM3I2J1kVfs5/KUFfec0TXzpcKhY0THxcQz+/Rneph8hNwvyetk5HGfwuAO8zqF3gxnhGLsjY0LzyLGh6XHQn6oMEB6TsrSVYQM7VurZM9u4RdxtXeg/XvMbM3ikciBzOCnAXxrt60EZFteLsN4ERxNf7Twqq0ir17ntHMx1UJycckHUxxBqhyT6HIpahHRA52gnmsjot136/vqsTmbNC/o8DAM/+vZpLEOHjHE6zdKC5c9COg66mFOBixVinMsEUBWy22VF2XqA1b5QwCk4bNIuUC72tRSyI4/U8tfIIP8mnFmXk73+K1BZgFRvooK3FvS8L9bcL8GUaz3+qyfwbDxkl2g3KY4fz7Zv8cuIk49HNiesUzXeJIdCs+6s+zYer8OrL9LYHQKw6bh9yms39d/K9VQ7pgRlH4aRFeufofd60mCvlT+gO7PqUULiZ17uBivr1mI/oUGPniMENi6RIZgssJj+yXsyqZTVQ4uGwawVyv8Ld6t+Bw/3SdtIRGKils2GqadFyZcQSPcnTyw+HeiNGKT6OHXRHeQcS5YmSqGdnBSoVpHN+bN1wPaFRS8JF1XFMfedYCzyZwwX+rIVajUQVJngJuAUB5VpuqJ9s/TyHz2YJq5+i6i1YUqgPziMX3a+e2rpHbAYycneGGPZDORHVzmGXFFT9/rNsDQPskGQroWbdOAYJ9h82i0hp0EkTFr8hApuzwma6W08TGDrafsIYer8eWoAduLRbXhiYz0rxtnkc338s9767STD8F2zbte4gdq046n4obQCVW42rDjm6/cTzlYfHu7r1UTaJ/DTd7ibFiPPUkzgTPlqd1tWmpoeRdJllsVJsvAvlSXhrhcSOph/uwDn/2wABAl85f8MOtqj48Bb3avqhgQMvHj4cG3QpcychUG7nuG37IzoQ9PArheHhF1ztpuq+xsy3fnHJ+hJS8oCZmXOt7SvH9RMi2Bx/7MP8EUWU1tnbUuZbyi0CeCqKy9EkqDlPyNnjH7BwqHMbdrkK2lyiOxPwkWoNmvPZY9lZVx5EyY3UeqOVl5TXXcTrbc15LZXYNflOaaUgVqS9QPmWcFWWQSCq+7Jsz27kWZXQBDKuGfQ/MnM3TChnDiSph99jqS6HmBtn4eHuVzKewI96786tBa9SNe1JqkqExDZlnlRAT1spne5w53al+owMy0Q9XwivPzDRkiFGySyddly8tMj5p9FZFjYYaWS1boScOkAMQVWniuXXkbmNAHMKpDjgw1PXnlMsAYs55f4eoovg31vD3HATyN9L1Po56P/fyM8tUo5tJejCjJzIH5viUVr839QBLRxpioCRBw8m3DMMdlhTteq6LWxDSYQAUTyg7WbEA4Nd+Gp/K6Y16cRoeOxnZvwzpJMZ1zgXUmnPBFId5Gziu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94298" y="1132805"/>
            <a:ext cx="8821102" cy="54889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FY19, $30M target has been operationalized across 25 departments, but 65% concentrated in 2 key are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04800" y="6477000"/>
            <a:ext cx="8382000" cy="33855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: Does not include $400K Financial Service Charge saving; Ops Plan &amp; Scheduling department included in Other Operations</a:t>
            </a:r>
          </a:p>
          <a:p>
            <a:pPr marL="342900" indent="-342900"/>
            <a:r>
              <a:rPr lang="en-US" sz="800" dirty="0">
                <a:latin typeface="+mj-lt"/>
                <a:ea typeface="Verdana"/>
              </a:rPr>
              <a:t>Numbers may not tie due to rounding</a:t>
            </a:r>
          </a:p>
        </p:txBody>
      </p:sp>
      <p:sp>
        <p:nvSpPr>
          <p:cNvPr id="5" name="Right Brace 4"/>
          <p:cNvSpPr/>
          <p:nvPr/>
        </p:nvSpPr>
        <p:spPr>
          <a:xfrm rot="16200000">
            <a:off x="2133602" y="2057401"/>
            <a:ext cx="380998" cy="1905000"/>
          </a:xfrm>
          <a:prstGeom prst="rightBrace">
            <a:avLst>
              <a:gd name="adj1" fmla="val 23628"/>
              <a:gd name="adj2" fmla="val 50000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19200" y="2090174"/>
            <a:ext cx="22098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+mj-lt"/>
              </a:rPr>
              <a:t>~65% ($19M) across Vehicle &amp; System Repair and Maintenance</a:t>
            </a:r>
          </a:p>
        </p:txBody>
      </p:sp>
    </p:spTree>
    <p:extLst>
      <p:ext uri="{BB962C8B-B14F-4D97-AF65-F5344CB8AC3E}">
        <p14:creationId xmlns:p14="http://schemas.microsoft.com/office/powerpoint/2010/main" val="24433952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2685" y="829056"/>
            <a:ext cx="8300315" cy="466344"/>
          </a:xfrm>
        </p:spPr>
        <p:txBody>
          <a:bodyPr/>
          <a:lstStyle/>
          <a:p>
            <a:r>
              <a:rPr lang="en-US" dirty="0"/>
              <a:t>For FY19, top down and bottom-up support for continuous improvement and budget adhere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Rectangle 4"/>
          <p:cNvSpPr/>
          <p:nvPr/>
        </p:nvSpPr>
        <p:spPr>
          <a:xfrm>
            <a:off x="462684" y="1676400"/>
            <a:ext cx="3880716" cy="6858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unctional &amp; Departmental goals, objectives &amp; budget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2684" y="2869905"/>
            <a:ext cx="3880716" cy="6858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Key Performance Indicators </a:t>
            </a:r>
            <a:r>
              <a:rPr lang="en-US" sz="1100" i="1" dirty="0">
                <a:solidFill>
                  <a:schemeClr val="bg1"/>
                </a:solidFill>
              </a:rPr>
              <a:t>(connected to Performance Management KPIs)</a:t>
            </a:r>
          </a:p>
        </p:txBody>
      </p:sp>
      <p:sp>
        <p:nvSpPr>
          <p:cNvPr id="7" name="Rectangle 6"/>
          <p:cNvSpPr/>
          <p:nvPr/>
        </p:nvSpPr>
        <p:spPr>
          <a:xfrm>
            <a:off x="462684" y="4063410"/>
            <a:ext cx="3880716" cy="6858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trategic Initiatives</a:t>
            </a:r>
          </a:p>
        </p:txBody>
      </p:sp>
      <p:sp>
        <p:nvSpPr>
          <p:cNvPr id="8" name="Rectangle 7"/>
          <p:cNvSpPr/>
          <p:nvPr/>
        </p:nvSpPr>
        <p:spPr>
          <a:xfrm>
            <a:off x="462684" y="5334000"/>
            <a:ext cx="3880716" cy="685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Lean Tools &amp; Approach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800" y="1642730"/>
            <a:ext cx="3882171" cy="2927940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2905347"/>
            <a:ext cx="4150318" cy="3127965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Down Arrow 10"/>
          <p:cNvSpPr/>
          <p:nvPr/>
        </p:nvSpPr>
        <p:spPr>
          <a:xfrm>
            <a:off x="2118663" y="2438400"/>
            <a:ext cx="568759" cy="381000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>
            <a:off x="1782893" y="3619057"/>
            <a:ext cx="568759" cy="381000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1827195" y="4875915"/>
            <a:ext cx="568759" cy="381000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Down Arrow 13"/>
          <p:cNvSpPr/>
          <p:nvPr/>
        </p:nvSpPr>
        <p:spPr>
          <a:xfrm rot="10800000">
            <a:off x="2492574" y="4829840"/>
            <a:ext cx="568759" cy="381000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Down Arrow 14"/>
          <p:cNvSpPr/>
          <p:nvPr/>
        </p:nvSpPr>
        <p:spPr>
          <a:xfrm rot="10800000">
            <a:off x="2476625" y="3619057"/>
            <a:ext cx="568759" cy="381000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154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khLv/jm3RUjchxBQYCVy5gDLshWAiTTVbw7rvnE9UH6cjVfes3oVbScbpuukXrMw0FiUlg4Cb2leOxxz3tU6PvXjE2ax9Ufqo3XtgDU9vreD781GM3qHh2OXzHNrg6WVcikO5C1VMJgGTVF0aRdQz96Yi3yZ+BxbppENQhdD/gzkMwogr2do9Huk7cyG6m6tWloIBx4Vvrv0KU4EMH8RWZoj+BThDzM6UZPzU3PLVgyR5XPSyQOYePdePRtcmp43M19g5QoKQtOQFPSK8G6C5BNkUXPKazHDCIlEaE+YfFYrmtjZ0AF5FzEJnQ5oRezBsJ4gfVniTtI3E3o3YaXmiN0xdBb6MwRAE/pkL+PyApNLF+gThC1cKX5SisaEx/SD7w01BKMwGmX6wmcf095aOO0trKpbmPxFU7LDSHJIc+TvUZYafVsXF5eepfw0Ywd2PEd8k+rohZ9pg2Resvi2MRUISF2LMsSQak6RC6OP048ERUN9ZQydbi+yaEv+VYe4ekFzlF71Whqz4nJXkPd6yG3V0OicG44oaDaKB9pzRMiCtwz+EmP6E47UzIc/d1j1K2C/bdY8WbELqwFhNEkN0Y3bL/Eiz9fahF/WTxB9RpdbX6pnt4lHKNwISBthXqNtuMsGWprwsRMkrg3s7a/aFkOR5vY0vzmbRX0Q5r5s5sBo0Kpj+9dwtLmkIfUQ4jSlyLHuCZcbMCyuIUE/qPze6tuWUC39wZbdE/c1oFyF5b/6r2V4DimYzg2m6HR7DZbBRvN0GwxdqB95IquDRMpCPS6lvpfPB7l+adStihDR3sTyW8X6EehNzccxMG6kVjybaZp4+lBkaAfT8bgMPNDGLPwPZZq/tCzxS3H1QM7Wux4AzabdnDbqYGA+51cpJQES60lDduY1hDtdTjUdJX/CrmPWegrLTwDXrXfqjQk/D46WeY6KHQJR+HwHss2MljSvgBM4DTXtw5IyIWkoRhoM3c+42evKUvBj3xEHwkrtxSO3iGhzaMKxh6xY3knup7pVT9VaqWTNzJBoQuJwD3toUPvrqSt2McLMmpLFHM5IStiHwV+DR9pIP+LzCyZoPkJCSnKqbe6rK3tVHB9VZqRKUtTpsobL0EN4Y9UjinhC+bk8aW4DKehx/sRg/99mN/RRuIFUI35s/J5kPO5KsslyQ37Xt5kslHZp7nH1edccnvhmYvukCPhYs3WOLrcHKZheM/Bh8Ym/Mn48p1l6wykyMosHW9sjLVgPOQiEe0dCtcSRYg2QgU3lpNC3zWmRPx2vs5pJcb2Nw7sDdmA5YlB8WMFYTbdGdLpSoOeWsuQ/xfU9Fgw9lIPIXa76b8VlbDJgW7KAE7O1dZsbjOF3XPBRhpw1Hlai3iquuvPLWs3bvk8RyWPuTjXYPwb8CGEbYMdPLat9+2ibo8OCG0LDcpYYwhjVOhWvZWmo5shdNHu7/3YEglBZxTqgXUckrrcUVDkPrsWSe+J0xb41z26nMqL8evBl9CiRNFTtAQN62tJti+RwrwxuJF2RNUv0ADYVuNshivy90rI/ZAz5Scm8Gsn+rbHmh8+9lutsUsfuHXrCb1Jv5c/KZg7hWUEB6JKhgH3lvQAWjo0bgAoH/WpUNtdBxCYhuxd86/rq0uEK4ehndgQvAIiQ/ICQnkx7v2ymHKtqAwDynHYsX6AYTC0lGPJQOXU+Y2CksGjJ/GJ85d1IuqjehcT9tb1OZDf23yXIAP7tGs2a239CYMLQ70Zz7fKhKZ/964uzf9hz/1DqT8MebUXNDQiz1NRIYQlrOqnXLCdDAKU/9Mr1diZtypY81q8yE64RWmnXNJiT4iTufKWEEEz2vMu/qVHO3vfbsPzGO9BBTArVmvyxy1sadwip+uSFlVl9qL+Zw5Ik9qLyyu/59j99a5TSlSLHVm308x80WBYTMZhc5HizvM8PgVBWEhEBWFcpEJzhVG3qP8s7w23qm8O5/kh/A4UDtJoBrVQaWymt2KoHUlN6tlUKCVn/s2u7tP49L48/sBrvEdhUo/Kxj6+ghvmfFcSHgTpxlpvXAX04wbKEQyo5sBSsgR9pEfzdp5mAqkBj9NaV5QiMf/ecPZLK9iWN47id4T4/EidUSNSfRUqkg6H9m7RuPzUtTkIVZk0VTU8Z8g4dluZ3fKyX1QHDc4urYqiC0LPpuzWOANSfxQj5hUNmCGrYPEKUGvFb+AXCqGQgfj7lhQJFCumuaizhl9QQCu3pk4RsVR1S1plAAnPuEDs4zXJIjPu2w1HZ2hQhWGTx1x5h9F2Bp5t/bORX/OzZGvB9V+7nq923apUM4I8T7iI2N7c3IQsld7jKGGHiLCJqXySgssgw+1XCBMCsrsT/RspVqZX1pzOgKAr4u6h97tqi38m33lHBOPL2Yx0p58mCzZSTzfvBniczNilG9ib2BY5PHw46Bo2/OSCJcBK1BlQlIPuMllTVl2dCA9Zaoeaj6fNBCibwIna+5h7gRmi28h/wJRxzHzzr2FRvUvDrxbwFuW+m6RDTFAxOZIgGpa2/4Am5gT+OA2F4NnZNwuAYE+LI8daUbaoaLznm7zCJh6sr1ctThhtTjZhYDr6hpG8BJ42PCqfSoLOqC9D4ll9EIEU9Pmg2Mv7iINjvLsxIONY5386T+RnSjr2sooZ4WFail3N7kIIWVXi42uHuG/8Mokiiv+gsCTaoMdks6qc6MAc9NFSOqmIQNPXxIxWTVKhb1w/Ep+2aDYydfc9Hv1eXfej86k0KTQhGe++4keoqDqOqzEoC3TFJX1szGWGex/KQ5TKGuQqD5yv1yxB3AYrDEr3xdX5VgiLAb5Onogz5oqNjkVApr0oXW+aUy0bjAA4Hs6NbkQP4/hNyKn7mJDWMSCR1gNxhb+wY+3Gx6ffTf3UGyB9nUN7VzpKjs0jSVmV3TpLoHQDQg9u9X95w3LvJ6Jz0lALvWGSlBMMQghp32BFJ5Wter22Vo2RVmOQJmz9WLLpv5Ec31L2Ruim3S4GWyazFCpLTsJmZOB76dCXmOmJiD/3lqNn7B/Soy4P3BQM6UJARRUM3/v/GaUipsLOvnekeak36YRb6TNE03Cqv/3Y1q2ehvSFA5YYQgsW/W6ZeiHg81AH1nkft/GeFA69lkL3paqILqKVsTUm1j+EoZyt67b5zTByJRY9LVY6khblOHH3rCFsiPvIM8eQSbKLfbhMy1qNixLxWJJ9fOqrGQuTsCeYNd18yLPZyjiGxRY2ZXaCflRa+j0X06rxZoSLC1q5g8KQLmu/b8Quuf3ciagtrZOrpwzB/GAaNWyR85F0GOttA/h7FuxJKRNq5tX+0patAbwSdka+7Lo9Q0KU/CAh+o5ZnKZFbLFope3tEMuQRpKxzmEsCa1q6QioYJksvlcUJFzBtpyZoW9WdjLMMm4RS0Tj4aRwocEjUsS9lnWnU7CVGVK9d/ktdEYy4XUHmxnrPBibEuxDUUl9Nkr8g7ijFC/LdjgyD40oMOM/H97vf6yZO1RsPLuh4sy7mzI5GWjpUnpTR0nSF/5U8VjFXJUJDrBANf4cjjLpjutwBAoAt77aAPeqLD46T/8P0Qh1td13qzXpWRklmgs/NkW4TCTjWowmbJRLuCQzHLK2XOod2FNnTJkE25Ns1PazzHMNXUsv+3LI8bG8pQpYC146EiqoOQnKEaj1wnhkWMe1S8wM4TzTf/VHPxeUthog+So4475XTziiQSlD7/yHIaUnyi+wd/O5YIeEkuvLC/GIRI40G96wk0il86f2MT1fSz1cnlgPisDGGnS7M7se3F0vw3NoxMFgzpVQOTffwcNGq+5wsC00Bp2149g9lO0xdFFs3BLP5tJE/tIS0KcKAf/VGNh+mXoFjg8ZwnS54o4aSdOA5FMmO1TqQ768WyL95UohtSL1jbxR7eT3c0TqNBxks6ZVnV6beni36hcZ/rrKFokrmvCtZNmWGubDbhRWghZgP5u62Nttkmh08UVjBFaqqVrBUe/faP6CXqFkEyY83WJwlPG/oj8rBTTr0pvONwbxR3Ne9SfdudR1Ucpk2VmAZRxTJ8emocVZvOTww6Dv6xeHvnvU/YrFR0+mF+Izjahl0sdQAKkgeE1GspqR8ORvx7Bg9io69tvnLtGOizYL5TZ6yyfgpI4ksA1Nb3/GKtLMm2SkN3uBq3aHDbzJTwwDEp3vDspREfkjGsP+94y4PPXduiG+EdO5VGZQZ5PctQkGApXM/Az1Utj1WAkWKk3NpzxZxbunrbti0B6pTCv75PjKF2s0yMZRBsMS/FKwA0r7LRsDlGW/HuQckFEUjQJ83lfXlvbHwL5hXI8Qj6wj7BaDClEKrCYZ1JZ6o7IySTj5cR5qDpqakE9U+lVYftTJJztk69z7TmIQKd1H2T0AFNTWjTF+/f+bm8sdNF51BQrWgQ5WBc7khXjeKov+8WSOEdIDsYMxWy/TUzXboLoc5tjyG8co9soZ9c01/o9JU6M6nsRcE3r+P6zNnpXmwYwkvydKFC4astJzwIijgNz9V7LW+t3pHBzA2KOeaSDhnumdUTWXgjuO2gSAmws60IddHlh44fORS3iZo12ysb5PqMU0FUHPhM+dfS+7VWVeluooUyDSK7trLSOFZs7ZMuqDiELL+HSgQ8WRytAWVdaqcdqJrURHslUWfHkAVfuFT8vz5nDxhQ9TYhCzW4to/PTKlEjPppGxrWkiPgYgydaVeoHuGbGhmqcrpUVlTZ2DNFUgW9taaDWmAF9MmE/e93mZxszWm1L9Zqww4+aLiCI5+jNoWqGhOw5D2VnTM6gh1QNQZmZvLBUClV/9hJmICBMf+gzm50fnC5DqmhJmuCkoMiCAyZDMs1AcAnbIF2IO65wW44YWeoCNLl6iM0JydU8pY1WDmrf1vQ1txTZtJVO4VQkuPbrW65r7OepFv0ucKdTub3yaZmUhBLxlF6L3NAlortZzCR/xPZCkF/RuRPXcxmz2gPeaewnpvgzV36dAWbgMs5QhCdS6amPso9vAFjHjbJqeEHE3Q6CksoWpAYCMJhmoaEDQw7c9ukwcCsxkKZi1LfRwxF7KrG8QbIJV7SBhJbdf5qJhL/JSI3300gekIUitZI0yXuCeY/b0ht6TzHMK6ByC3X7jTCXY0kLfdp5GuRqqhVvfTQbPtjd4JKdigec/Bc8h1bZgWtVrkQ1ack7ENcS9Tc8sjTWbXyP8eKeOKcdq+3aCG7gYmg3mU9Zs08uzto4ggo1PG2J6Z7PG1XyY38H+QT+Sz1Frdjwapnw3cMPWWDeN9lP59O/vso5W8uRm8cBMykcXfkIMysAe4xCUfvOQ82hWSPmgy19QQRpQCZxBGUOoSNH3FeGPl+equr3v4wirtIckrowSpVLwHBNibFRWroxleuyOFx88gWi+hicr0/aLuzvDnhCrT/92/8mwDXtUZSpXw4zntYcHLsOuVv92d0r4H8RMEnVp9QwvxBq9O/D6phXXWsOOd3TfZA/f9FKpoTIUYJVpVt7skO2pCV4cMrwI6d9YhLsr4WDNLgXk5YanQZKjCMaEwCQ9mR8RPFDYAUDk+VvcpsohyAIgKhpn/opySenjFTK846CfgiEAQ++/Teq51oZu/I/aomQy9162iL1NJRObWgTbONJB5qq17aaf8I8s9WkCL96espMxo106bTqJylrseIlffhU/bw6egLS72DsJP+Ao/h3Z8GRkwbnD1n7TKC/6l8LINocF2l+aPVJLVOhoaJLYZpJGMHwmU5w5QW5NGvQMD1qJ6mfS4M/acZ7/DpGByTeLBnDO+krynUo7ZSvd1U2qOMIcFAjXzxpfiQquH7XKoQ3goX5lQAub6qyS267PB9s5i9Du0mO4q0KqfjWgEdfz5mZidOHNXeIVAqGj5c8speg6QHpGi+hfLwCbA+dApQfeQxbuzcumQVITK+7sXczPXzxyJ5YMyrVW1bKMZ+LxNr43YzHPCJ2HT8y2ddj2TXvjkgMAzYrYdcmH8J86GaK7Ffc/Gu7E1yqc70m7gIM6mxjVe7XPSniN2y+M29E8C8kZxuEA5f4atoCPSPXYGeVG4ordULdeov9tpETTSbVefTGQfzT7jMPaQqeoP52al648kVcQWA5+JYTZr09H/0dwvXaWkBnUCwI8x0ty88PNjdELLIk8PHqNVMx+kacuONCJRcadu2L9BFXvPvFpokvxp326iMpc1ez7Qsyqmnv20PkdWQQpRLt4cITJfakkv/J2+se/kj9+rRnkS7LicxL5rex0Y76tKdrg1yymQEKndZELPUFcOKBKG2ub39HRdJAI0d/m/1Kj8MXxVLNYtNC1eOhG36FH6K2P0SmH74lHd8tCe74CIkZ9/JM3TUeq/Nud77MFmLVNLrQQgxLwWYnfxeJCI1sxVCLl/yGkuE2E2lOM2tqwvzHIS+DmMVnN3SNFB2ZO1cwNuUtnDV1BwFYlc70oHuebjEgyCrYMqbB1RxwMoomM9myhaM8ifCpq5SnrIzemKRfr1EbtOPRviMiU/5sPVmwnAutVTJxdWajKrS/CnTAlSanjio3OszYXIc73FMfxm6eK68i9ntQbPA/nLFHA8TKuhkGb+sLOeAoX7mKMTomW/iUM2QYJr6CFW1Og8udVAF98nMYtw3/Aehdipmq275xotk/qldyXNZMkF6qtSrUXCPlNm1qsdFh+h1C0714E0Dv3yPpl1vdJ9H+hF7mbOEGA6xdlKul3+UBTB4i1tKkl+JMCUs8X5H66HnvnxZU6rMfn8I2dJZERSkBhyMZfn6jsxlMvAONyDeh1UODkk5HmQsou9WBjyP7di2Z1Ug+xniR/Unuyc2Ds+fHWs4LK/J9iVjcQ7nPCCONEoUw8gryGBkHEBimfrRgFZS/bjAk4zmopgBST8/YnodI87Lhx0F1Dmo5KR+NCxYcspKljPVcnG53cTHEpYdJUP7eFHrOOq0cMQgPKWCirCTqXTZ0CNOCrdIs/dmdh1Il6iKRa61xtCqBiI6fqK7z6DkoA+LrOk1S4wR4TDfNmFZlL6aGMdOE0GTECGpzBpSthA8BTdxYpoRAvNoPtufviD8dD/6fS/lofbydLaglRRdD4ICSWNZpal2zd4PgkBKUUsVZeh5w84821IER6dm6X1WYIzBYZ5Zc5ylDZvCkIpTCjIXMbDNzkaTs/22EE5h+RV61W/nNFigxXUVdaQuw/jC2tUBQi74yq9OeVvmY6YWJV3wps9FS4xxfd+Xxu/ne+O1QL0xL+rVw/0BvIQsoqX+VW27O+z0Iq5m1TnERuWSMCP7YBv3VUcW1n01zILepKeZZkuJCR/Agk0FLcsQxXjLgUNgLTIg8XKBiee1DtUHY89LJAhMSOyngM6o/nz6BUTKEz7bp3OHMfq5mOc4Y9E0aQaiUHTh+KUdlLqVoKrKVZBkvRj2OOWk8V4eOdFM1+qZeAT5D53vYyn004397Bx4eBxBIkhoz/jlZwTyJnTwGH+qCbaCpSNVUvEPwf76NR4/u9ncA2LY3MJMLSPZz8v7TgXJ/j/ltGnY8xtx2Z3NJlZ+jylQcHjVqGpX23rOnW4P7huBzo4H9A3CASqyUtcaD/d2RH4KRCoRjy77RUE8eZGNlIXKSvoz9d56vhO+HJuavHXkfmxN7QCDIeVmlBfvenOZGtpMHc6FjVzQDtmyRngn29XaWZvE3bLvLCadXrHLdnKgqiGY/lkbGCE0XPiMRP/12nW6wokKke3DZ6QA0nYc3XUiQnk4yMI6zuJkNzZcTCnkSczOj5CZRwdNYGrAVX+m/HuTze1Q2lATgym8kSOxCbaAx6IMuwh/KXhmaYjm2IrgAsHdxRfBskSt1ZCp59f90AGNNf+isiNTcL/B22omDxVhqXB0F/CQzMed2DWLFtJdc6CBJxa8yYi8E4UQDhoQieOQ7Tc6z8zJ8lGLPIzeQHF3PlCD8+s3ov2FzqE0PC0utKjScmjUTGEIc0ukcZ0utfrvyYij4nwm/q/NppAhEKn8yAIqZmXly10WzuQZegg5yrD42Zlttqwcq8c2usZMb1zoonXSz0tjC13kDXhYISXtnJFHNAun2gYxWzX2PvIWLPM0IzzLQZAkM2dZhXqTgcZIBCfP6Pf/JfSRnCLYa/ch1W/M3Q8hjeY1s61EhYR6Rnz8TfvbBqWKpuixSINsbaxDHTXsHeosfICUp0iM/WtO0Xjb8uGuLE3CUgEpXdWG7+0+1YZxSnUhtwVYZ6qFqAZNc2m2DwpcAgqZiWc0fOtYv+M98OQ99/Zmj1/70cSBSr1qQh5BQQJ5Ah81vteGY4M+8Yk3Q3dm76EGEGpmLva/mLfSXAUcAU9YtYbZw7sHctxHiv14YYH7d/+ho7935gnAmx07hiN8yhqcCRSuGGgHNunppM8rEmMPGHUXeFmq/B9noviTs4tb7aZLygjLIeldKT52ECqjqnisofZSolIDsGLDlUAYjDI69GCk5r6QG20e30+rSCx7nfElSqbzUEIt4vDGKUF7ZwaM4cUTZsV3CVAJazLDBugJK27GzGtrlycv9kc8HVe0N+TlBUmKKSLyBMM1rZr5tybIBzQkTVM3e9I/2Em8IcYJssIXOaiREiCr9TYkt4i43UAmOjHW7YVBilFt4iH7YxshwJik11CPSlQ8KfNehZHoPSOQZsYG9FI2pJqV54IMQYRwTI1BELnd+pGBNG5FrDakWmy/aJfXYcoJbBnDtcTL3Q/Dq3LE0X1TUbu1YlM99KX+6CUiYyKRV1dI3yyRIZR1VY7a/VxowYtrOZ2jd+W3RQlOS2+ZuyPW2D7FkiRCUsu/uo/TdRdpBM94UqfO9bxSyeaW/9LgJ6dyMS6Fkxim0NJFL0bHAgrWiqFdaPbh+DzD4GBfS7Yr7wIU3K57UCvf3SWsWVDkyE+/MtEebfYnB233rUz42I+O+hestfebCEgdW04sD+hnCW93km4J6W7SGoCz+w17Awc3z2XGBez9H2HJ8yHPN9+wJm84luvPabAxd48YtlOGc6Og7nltXifhw4PD85/6wFociqoC7iKqatUyot793kR1ynCeGnmTzTnsbjzaHJHz1mUN/KOgIK16Tl7srvTNwOp/LEwDgNY2k0s2BqOearaGTSjT9kRqKhCuiOIW+ClSojQWbL7ELH30WXzz6KnyPK0KT8x7+NvKBKfEdU1ddjsXr2OS2/JeCS4ejLE7Z5Sj43jDSF5LXdoNdumdYA0TLBibKaw20e4ClE79tuVNU+oN2Rhrz51uxNIf5sXs9HF6rS65O8yFe9z7bQSCYsoWOcmO5uBNjUFDh4BKrRuebJh1dVUD4wnEVsokz51vPE56LQSC7CmikaKBEBJ2wKO4MB8S+W9XPXD0K/1igi4uaq2DpaSHZlAJTddfrriZcRMV5pWBYJvL5DbyjFjBRhctAHoQlCeK8U7P2aYPdlURqqwYBo9vxdGHPdP1DM1Qdls7akmYCEPQMlUyqnE+FThiebYi/P5yejho5p/wY19/piP4VLWg+5Yq42Cemi0Wd8BeXJI1y2mk2lAi2DW5ZgOc2qzyBT5dPXfNWLRBppPOsEIWLFteS/GfhOHjPfVR/Hz1faolaGWnEmV/PpMuwE+hyEtm/oE6nWYccXW0XF62Ny9JZuh1T/O9zyEeBJlB/bbnM+3txYJ4zWDGoE8RR2wQxKtGocCMgrE/xq/hVTFqYcA0xguJhIlY+Y19PTwGilEqQtJGA5xljGFBukvJeFC040Y4Nr32s68+IB3kOyiIvWKtt98QSw0TX5vKtfyhUXiZDz3m4LuJ4cLdYqERlmj4scQUZVPdjqPUYTeOckbAOL2+sI1VPW60KMyb+5+bK5ezm/dm2ljiVX35cVXbGwE3rdXRVBO2SbRYM52JFc/SyRTMV8kYgV1t5rWbU8DrkpZPRH5DHfkCXpD0LmlYQJlxMwHxxh9rUMGazkPicvEkZzeeCKPIUAk0/EVVckvxG3FjySlN0qvcrUT1sU0q9hyYdlPoz+bZT6Uggd3OpC9qKLXGVWKPHeDaDTBOpOLWqj2PelG+y+1ZX5APPc0GulTTrAQSLG7xEWESzuWkTf9A0B8CHwe4TuK71UjF1ny21vWxXOS4roApcJqrkSGCUKUNfaqSj5pbAvaVdF6LPW+yMblKJykOmQnfYPmXMQuzFqX+8PjKJyg8jijRaH1OKjJu7UF2SZBUmKrVvZbIychx9FHEPx1nm7sO/mLysdMmN8mEcaCMisT1dJfERZCgM7vWNzr3+ozphYgsbwDzXIfSbXwipIQt8iiPiG10pDGOhqeu4OebNpm5LK6aeXQWT9TVBRa4gM2wZVfvhWk2CAEz9E/U/+y0m5f4NFegSUh2hVS6INWCHSFhsBR6R7G1ROzQw3AlFvFgqHEhximrLGafd02e77XsUQ84DdhRwjETaG+tcUi/8Nhs6kPxb4Ee1xCAcIOkYetN8Apf0zmPSFSjT5P3zvqKmJOVPM0NsusVLy4LdXVxUfgi9/+r32gIzdKTqvihuyAfyWWUe62icG/RXKAyUybSR/6+z5QQRusUVSgMCLfJzTPQB3y/ACxKYC2+WUhbImD0kROcC2fhcQFNiyJb1ZQp0il0mhMxign7Y/fQqvwZFUmLhaHegdg3J2ONYchgxnimmgDD/hGk8wtNp4ST9yzBA35yI4ndrRZF9lHSBhqap+DkJS/t5qauarhpWcjXPnmtxG4vBb8RykywTbuTx1a4mS94eKsckHxWQJ1VDCG86lp7ECy7Eby48/DtNBhlDkQSinDmHdOXBAUx3ruJXxrf+56P96ATXk6RZm3gG6jLiuoOKXeOl9h4F51zjXyheF5gymvQR4pPKnRtI46JQHfRq9g3I3+Np+5R8yQChxnO1bM2zQuEOjaOqaDvWaOB9uJfiAp9y7cX0nQvW9NzCmRzkIEHAdg0PVH6/cTDzhADR+iSyk/fwI/ZRjCGmjcTLMr9yXQewzzO9YRJB9FmOvz2F3P5PgAz0g2NSIb19fXJMVeacUGCdBWVaYJk7SfMu3aYoWI67TvQN+m3zXeOi99Pz+JJwC3CaUli/PCC4VpOUDGU/X78ppyL8z6/koUrz8w0ZT9s95vjmHfGHUlRy9I+pLxfGQukqTq0YedEHlpgsI+9PaDsYyhaT51WCuqmpXa/qEHC7GBJtMaAoonQxURYMvb1ZO9qBDBhfptd2xIZEP1beuf+6i4vuWffoF/hHJcQwL5X2YNMimWxaZ9Vt2WS5JGQ3LY1jTBkZ5Kot/8x5dhOvqCwdKa5C67n7BO6iQX+EgPb41DgJdD6Tw29lixLOFxkvwi8gIZxnpKDlbVw/zh/eLcFN8PHAq5r/70UZoF9an3gHBqD1nrKqI7U8VRf4A/yu0nOuiLmCrkaE1Cb/SA5IyeTqdVhiN1Vx954XCMoFqKMRQK8Gadz97V29B1zfHABHpWG/p2J2Zwodq8EMAo0DF9hpcXQHhtXWmWmSwxpZpjz8yaL12TCX/h/T5S4D9ZXqx/66IxJc3DJhYL5dfXUJyzV3Rx/k/zTk4CG1DtIN74/kBHkatEUozW+WKas/JjDxt2UHkvM3viGex0aNv3yNU5XRxGLYdQ1WahZ/7qC0QIj9QIPmlUTA7tMVu9XNhOEColHsKhEjdy1+I8XP91D0v9BEiX47/jsj+O9wMsTVLf60vav8GRB6zG/nTQqpdsC6eneagdCgoq2UcYF9tb3T0R1V1y1q4DyO9IYOoTbllqo47JDJD/B172/hk9U2+oYfRUIO4txUqx5vrrL0qwF2y2gW7eo9LHhFjo5EtuXz9/A+CfXNo9uEqjkHourK8S9fRJuRHD7FaUkh1+6J2WExSFGKqdRAbwm8dzYnDoOF6lLq8zIDKHH1zWHNbe+oLZTyi3nMzBMTehye8kQY+cJNwXLQgxcR6TxD03hooxOjxzBzWUmz7/eicLuPDV3LG20d9xRclY/sfNp4GgnQMkBhXfZxKTsO+rHwY2mPs9TQLFm8vJ4mfxdydl3Rxj/ru9y5JZ5xSDWWKGU/hIx3WHKvGyYyBgiegwdiyy+kYB51koS3rCmjo/1pBioOmCiXhFIgeAYBEq0BYuoojeZ4fEMEKb2ajo9ugiS1QcPrpccMuI6pX9gLQpRhK59TgpK0wbVU4++VKSMJbEaZIc6s8PRBMVCsA9olTMdT0dbrfEGzzlEpeNZxJQO1kp9BnxUrtyQN17d/lCqoXqsWMsd7gVnVQnFAhzs9OKz3b/ERo85a4/Eu5PxELFzE8Ad+WzZCwhBRen1Hu4FA0hBrPLhMog3X9dOIKjZLJZ8uGKFA0nGzGAEEzsYGE/ys1yo6+lBUKjJvc7mUp8wA/llctLTz7Af1XpInhpHbgDoA0tGtsIZYF62r0OjTNOl/9p/Tw6Q8splCPRXS8+rtGqfaf9XD8aQTuCh0tXAWzoxYptHhGE0InSC6TLK5fB/H02ugSN5z1GyRMA54PGm9nSH7UorkJUaL8Y6raE88YRLPxqzdxoigj9V3kL4DBr0ZxH5c/6A7WTbL0rOe1c9wQ1Nsb94Q664/lBUzAw2LQ5DSB+F1CMRbMwlFQovw3O1USx9w+AS3QeCAcPWhDBqVn1PYUQz33qh6C3hc8tnIRqjDHc5JOKYroc2CAG9XKR2LKYcmufDE5lP2ZLWmoKTQSCO3wVHQtiRisL926EX3UBIGiJ/051Vyouyr+xyw+F0EbFNlLAF456PZoX0Zr/2zUAJS699Td9Yfi7DB4UTtCmS+yHN0B7luiuIsbap/KmX7TlocGFga2TS+lC0exqq1dn113H7Y7JzXeiN5xC168tlwzmx34LH3XvPjHyA2vSm8gVGWY/N18/YIwhoPUJvjlfutlESF4xlj7AlKxptYWQhyHmEduwGz7qODghX3eVE67hCQ0fR6XX9TI2dpqDpfs2BMIfA9TH+QWu/H4fUlVfSNDR+iFMtYYLN7BN0eR+UwJ1hvMv3aXr1n/cHK0676VCIHC5EEQaFPmLC1QKtzhxbE84aW47UmzdQ9l+czUHgt/4eMY2PAxdxwlp2ICIN5LPV5DMlG02gjp9Rsn6kKQAUw51yHjsjAeHYG0bkpQOdyI7gICIkDRWt6eZ6X7ZDA9PAYak0Ebjf3a/6S3h3CrzCzXQcMK4tRzo6Gh3xgc5BuD96elQ6WrCtpIjaSwbi1gXJnupk8KiV6iH9W9kvSZOZIwgao4Hg20N2X5LLBYGO6YQrKyw9PbOGPQgtTTXfDhgM/PDM/6nYhHz9ab3hhUa+2LaS+oEDPQvCJ3WMvrZEJ1oPHkgEUPuGKh6bej6ZgNc5yVhhowwvRHJNrrGWoypIRWBcWgnakjsjjK68QlrPuOPBR2uRoNaeRc0HcSAZdOJwhut3YN4FXDjXhy90zTZCN7xWvDmbcGOI+QFurfHgp+z9hVRZGRwqBh750qezzGRdeN7UGsNMZ9E9aKtqbDc7dNBuYTJd7VvbpM0kKkKl/TBRzQh9/tOdOTAZwJoNfX34iGpQAfDYIx8+sAGulsmJ5sKRgL79I5B4u2cCo7qdW+zi2eLqUZMV3O3TL4yIiSNDRXCGYCdVQoV6phYxrmutQ8aBywcgRpZxZowenard5ebDnMF80Ay6oKQpCpw4kFEW24J90pEPzhvKlFIJcteGCU2ptPwu94S6p87L6uLhePHDvRjYKpvgVrQ56ZPKnrp7Wf7TA9ywMHq7sHqC/bKCdN+k01AcOsXWMFlddVsduw246DkJQfNTmfU07E0HyeXR9HHl7mKBnzk4C8hr7wVuccq+fD7LL8cd9HMTQ6iabUc64JCWTEnRCLzG5c+KM0NSOUdP2XF20U3BJGjpbRd8686G1jJwUWjyMesKK5sNXDSCHg9Rve6UAgAjPEG76EbgJaKfBeDYF0nTXN7C3fnRgtRsxfChLHoD5X3xtN6pdYSkSz62AuU2W/ug2sPnlCR+SqJnqS0YKakdp9VrlsC9X/Ii2gDMyr1/FEKsIUQxO9IazynVJLUq0jGlQw/VlIbaxG/cEaRsp6+uPhzlFTpaNhCctQVYsz355VvBWb7SUZ1cLoNRZUQBWAu+MAscu8+UDlFKXNNOldsd5Z/P/l1Tb56x6I01IPuwFB22Uz2GhLnnlE+967JijXJhnnKZ9++SATOT3txQEbKQmn6+Xipg4PjRwt76iXnPAOw+X1hjOwBqH5cDpLtbbzHv3p1c0pzjWlQTMm7gbvmrhQfiwSTeb5lorLp61EZiZchOWLOj3t12GakAkSseBDVeuvr8eS0arfeMprXBY3JJdDSPt+gt4opgmDbgSJpfvsGRnhj3MUR/clMrS3kccJmevnIPnSDmQHEvjhqI/bLXonJYzNKQHemNrhBDYtL66XyxVA0p06EstzReQvR/nUoFL9aKb33WJ5WGSgXsXkVdgincY3AmkCGukCWhykikkJ9TB7m6kOb3TXN4e1z6aXl82sJhKNajCwONiedUeCEQpmxn6agIMg2ouwU32y6NhSLs5m26f+OVBnzodN2tenlJ3nBhThCyewlF6Idk29/we8UNGs16RLpt612GISuDiqJ6OLDLPHldazM/TgZfOOEz6BtA9bR1GIUTJX5g9BXiG0v/4pDDUp6S9aY0MP9RNPjQl4G2Cu2/yB6Vr3Q1VlmhMXWScNRGGsYhBBPK01YPyLJKbOZ4mei0aGcMh9D1ktBCsiVYXVW1CLoh67RVdV71DfJDjaKCJLxk2gRJBudlDkQuISEF8y3KqTm6OphsL1pTYULTk3Cf4+EqlhUgQxUrwplI6bRSG54oKc5Oz753PHTQOeUubf4xr60DkptuWXe7WkoOkIPlVMHmtEdhffGj+eRyEX/0YkCNp/xyyZLpqJGMPhCuFpIwzy5QCuCLAGfCQiLa0wrM5/E81KK1ek1/nz1UbNty9yzv7bUTpucJ/QKEuLghq0cRAXmcTLogNM0xOAJr6jhd94dfpdijlT340yRI80etO1pCxEiA4WuLRKDdnWGv0W7XSO48BCZLtMhUB55ypxIygEazQUTHApMBZiQgdiA/oqNvqWsa/94VM+stYmNtF0UbNgnuWTMS5rjyWAqPHeID/gmfenv3TN2juLU85y437rinL+RyHUGuzVEejVxQcnSbWZuvQirxSpsrof89rOo2zEqxHG8BKAadybfohuq0NnRGoPpbXlZxz/u5uvbT1Z5uZF2+4Pxg6KLvbHADB5cabR8vXveIygSjXV7jMeX9vib7U3MmOIwWOBoszzpKAGwElHBHQnHtQzdGXLd0BbEpQdZMRYjq3ayAPzlWTLVts3AMOHp/UbXq9swNVZdb7tGxlV2j3MKzUoZXN1zpmWRaPuxsMcGmW9+J+BFz/aAArtOrPsFfcVUr/fN9n1oIJ1IG5zuaGPUMskTzUdhLcjZirJ5IZ8nuP7dSMpibqbB2oOhp+JecYx+t3iZmh0p0XPi9t+kAE2pcM40wZPaYIxkZ1ukBH+Y3j5QKabAB+8cIKS878mOokAc2bQfxwrj6Na0E/JZU2diWYIkRRdppcM/sv8LgWJ8pfRlC7WO5lMCNWnjDAk9OzKc2tnJRomeyNDGMG0W/9DeR0I45A0n4cFkllbiL+/6ThV7SDKyy5ETPuIsVgAEdzbZj3YnWng4lbUtnpWb4luP+/g4WI7zrVELUJKHaXR4UFazEpCKpiL9f7Ddz9YJ4Jhth0H4f4l3X+bEMn1kQA0iILDp+sP2yc8ombj8SIFRdGLfi/ZjlbWVqK6Lk7F1+kJueKY0e/BzWjW6pkOYhlV+DmrpDNhK4TLKe3bfc0fC1TL2oxDyjO8a80oCXZMkjlYV6dOUBK5rphVFNDx1H6OyNRVijeU7xfd5mJlsEUi0souMGsynX/dUcKQcHsp3acCmBhn0GHZP8P9zFrYcckVqH/PX7j4Np3dU+tmIeg21b4DsZfGypOO3brG3cRBXNbJjNziZhs9Z2Q/9ugKHPiWgytWrzRntlBQy7wWI61hoHlEBnez3OwCRTt7LLWIpiHErEWROXWgHEF3ZdcD5kOnJ3kJYDh6tAWTgwxjjBEMTWukcDKxH0V4xL4uZtHfac0A7DhWs5NjuHih1dH6lfAjvq7ZGctUxEn0YjNjNKt8I4Rrj6jvdZHRIkjPZWSTwe1UdhYbPrvatjgWlXJicxs1qwd/USRrb77Ioi6Mec4PPFuhxNY9Ed2984Xf+Tq93sy9/0lAn1+ZuLnptUtZPb29ISAN8HpFvRPAuz6Yb11lTJyQlvbDx408A6oNaUniEMPFpK0yDm6RV6jnKEqD56+FWH2u+BaX31nuEb5cReGxxCuH/xyO3tRAk82Xgp8L5DgMW5SAhKrs6uKTo8WGiKSiLjPJYQ22eig0uVy9vz3DZlMFek8Gqd8Yg/oYI2a++9UTlg4W1hXL9BJTlqqmUX2GvIKv9fhqK2sKTuzH031l7mlyi40Zs6alDK/of00R90RPVAhQ8fcp2q1S8r1oQ6DCPo4WQzfrMJyKFQQGhrB1O1hRfr1GnXmgwHUL3/b8qOmnbYsVxQn2TZ0hCgMpMuzutgMBVokWmXWVHgMRr2CXHR8nm0KRJj5w7GbsxASuM8e1vxFjEastyf9diiV7iRGYnIK6Nj03WGZa7YD0SYWD0znfWWr6q9IchrAG0BB6FFDDD7xpwHlNXzTKxQStJOKZNI+h8k0bPH6Jm/QAtYpX42MX6ulBgrmL/SCLchj815223kLSM8aaZrg4Qi7A3zd+NmugCSy7kDCRr4NdsS+X0yIHWicIqA50clpV9gOGC63ndLKfEeXGK96KZmKkVye6u3nCV2XKkYJswktd1+6RjbwHSPvPqCB04IPNGrASVM8StRKeRL07pLSVevbggxvUM5zn6AXsHMNQzSq5pT9QDF+yewMmfGpfHfs490gnX4ukF2ViqNZ8jnOTqIxId+q9vLYPK4kiY5Mio0LqvrzLWXikAyEHh/Isd7ivLsFVhvmt3rtHebxr1jMPmQurUM0OxPd8PYc0nR2OaPcSJWUX6LgvoW3jG10uwKDP3h9IePaE53F27he+Nj+MtpvZGbRZntLKOYJlPxTZpQhiaLBbkgRVwny4jqubzisQmsoJmtImno1ghMWGiQV0eC7zZWhEg2fRUG6KKKmj08k9nETg12Y3artVDlFA/+1U92g4M7FufW1m4gZsp8qGF1OmjwLH21SrZM/8NLAX2OtKQxacb2LkpeEglZUKkOtrRkegQqVw4ruMb12cSytZS+mOTznECBxhRyviu+/Tch1V24aMmYcBxV/jcqvXTXAdG2tJy6B/S4IuuCktej2vjQJ57lCdev8S45U93XdFl17jqMo8qODRfbLkDDj6BJe92Qxtt176PWugQTxaT0kUPyA6EWoHZNrCyIGLN1cDhU3FqjpB+VGSli0Z5O0nX4UkHtGpFLqLT/herMFezVOkibdK+fpPN2UKVk1LSNeNGMhExBlWBhe01zVK7Jh9guE1XX/W0A5gBGlN+Szi4ZL7VpSMpqX8zSXaif3bmKq5MkWZNWNyqp0/UoLYhv7ceZniSN4+ikLnigc2YlWSGs6RXnPnXz8hNVHQ05MPFdXy+9oNAGAzStQPl6UJv/GpBzV6O3/VEVK20XCuKWjkzTxfAIUKHLbu6YjqXzidX6Drelz944+xtRPhqXCeTJnXVRHyh491GzKU/Ne/lobm+8NN2kNZfKIUUjwj4wi3rss96hf2IlstttAFbrHYze/TDxm1nhfXr05/LC6ElwiZ6Eg1aCt2ToRUbY2uxQX+3d5nAMRZKiAzIPIXhEV+dExM6pW5rsYax7zCELOttKJCkHyiwCZxrLhw9bHzWJwNo0I+X68DmYucBmO5h0Iq+zO6A1tvR1XqFXyMUJgrIaiukoFHC+r9Rii71amgrPHejp0v10rwLTZwd0v7FKAyd2sw04ZxRedTg0HFCNftShlB0dN1/QliZvJvKSPf6Ilcc3wqaW5WkGFQ/Kp35ZjZv55vmsbZcW9wIFZzOuOGaTB0546RA67UzFpVCjNYeOs37/gnPVNiTBjK3LGUBmPzenROEBP6gUdUaBHBaCMu1MErv0mHpCSSKhPF1k5Ib1uTEOTBd9AwNLCk0QMvU0x5m14i7lh82VYFShgdOWpbMOfzQ99HYSoiO3AmN8QPxvfm+FU9q9d+RzO5txM9Bi+ZppA4FSOBLQRuOPI5THypN01RfRP5voxP3ybTtcoegL98t88cmvBg93LEQgyUxQGCOvGaBssQ8bEKKuoluvktG/HhD24Nt3DHtC+T4pEU+mfEX09LWA6QXwtfhpsiCBQdkAtzgpV11QfFlZaQhOCiPSn638MPAhFUvliQJYP3MoBGHG/ZqCGFGBpYfmk6HGOUk4snZ/Ut48wudOSvuea/3v7hyr1+7zd26ZH9zU3iHMchqXBAEAN2BZTqsnBg566NEXJcdPCJz10PKH3d3xX33KosVS2E4zizu0pSBVWWrkQERoyqEQm+zMp5RGtbEK3pyysxCOOH2rblMh3YxqSRWvLZF0BD5nUdO7kKeK23ejSwQX5pxbz0CGzSwNOtQOTOAmm7p+03pdxpshNCTefGEvRl6VUVNjTunwhaKgbF/CLmpgGaUSOOSkxA8CBM4cnmq+05y5Y68Y8KjHr2B+ikGEHBDxgYOvnltYazx1YLo6pCPgUBZyz7sy6zOTDysGilF05iWKAJaqXT2R8muhkUyAvGy90ygORMhnX17QU85EJa3MITCR9gGxqYGT2B4qqH8r1YZnEpprX5uKpo897Tu3F1Bl64yZdi1Gp0Uw+29kkpnwSefry+oC+av0iU9Hf3tMjRrCuM9goUS6MRuR6s8bYEm1Il/tJ5PcpGphUmVN7A0237REtlVv13ccidyMxX85Y7DH9nU+3QKiEfi+lBAXBjj24BKUmpfuzFqPJQ+yD7TY2Qr75CVaE+2Ev3uW0leTyoFCnUhfQQz2vaFjv+FOiHyWiuXjjCXOwVNdOAOQoN5D/YG+YaP2RcXXy2H2Nn++eS6jegHC8qCDbe5OyRUDaO6OLObeuuWjOJUQ2WABVh7WkPYjwNO52CMCH/QF/l/P6dFWtBl9ys5I8frX1KrRCI8auUU2Ap8OYkI49XAtpzt4EajpFpzkmr2GpS0ZTreXsKP1tjn6lv5tOSzOolMAtHDEN6Y/5Gl4iWjDY2tNacFjw42uJcW6VAwWpiLxaoOdHe2DXXYLJIzyFLyd+XnmStHFsOWvHSzDosVn9Hq5KOidgGJLadYzAoomtTilfY5Z9xIQh+8r4aSqOgDuNOFUfE0LDV8Y3EW5CcSFvVZzsR73/d5mRIXSwG287uYxgOX9cnrPeOqpIyfSLhZg/bcB2Ta6nL8EFGasDkJlEO314QzHo6TXtXTsSARljgTDEI7Hq7ZOwcPBqdFkptaOhp9Oi2ocf/U5mc4Zg8PJoFfA4xAGWW0VSgVRt5Kb1lp6u99jKkxFRngE6Yfky1ZHjooXziCdOPeajFcb7PBwTkePyT41UhMBAlYusnHvJ+6+NRYOUZ27UF3KtzSIclv04LOcvUDsXtEG+tU1x14doblLDhWiiPiO34Dqi/6PYmlISS4zvSCT7A7wLiP/Z+ab0cO6Xrh6mj783fE++q+hE6pPNOttvnghm3GN5P9+ByQI/djjGd6r0S1Bl6igpyoJEIOTJezmNC3ry+jjT7qZ4dABdIdThwNqeMvjfu72kTkiuaCf7I0pY1Kya/ZuLfsfot6i/fGZwfoEY1kFkynNEspIcYNPkHiOHEmZzSSkv/51s/XfdSyTwekj6D2C0krmcgOt2PNRzvosJeXYlBQtaqjrvuFz0VVzlwKGv+Fe3l3PTm9h1idyR40WYIW7XbDaYgSCWHPwgLyjP6EhZZy8t8IBey3pmSv9XSV5NrlygHZTLoVLWefT2mdqo9rd1gb2nVHfx+PeEa7zd5mDgGBA5g+kL/4I/i5sUkAsDJeH6Uh4EAWyR8NrJj3YJR5hFLxZdjS19Lpr370LFqP2OG7gLleo1MA7biSBOqPcMWOS07dbgLpupK5FUwiLSwcS+T3z61qiQU5pX/rrpF1FyoLbt13n6vt1NJCqPkmOjycmho/Ym4mIDlfLHG0J4sySwQwxBzlzkSXyEZv0eMnVt9N2vfQpHyY9unlB6VhUAT4RlVCrXdivioJgc54U2Mhk6FbscZcMxizq7aLJz7apD4TYYCI7OUfdNYh63SJdMTfQnz87u64cquAjPemE518XCUQ3OxCQQtGpjJxgFnne/LDt7lV8lKElFPHy596kzP0YXu7Na3wDmMW7V3BOEzYXse9RJgsIF8sa8dKGOhbYpFpNlMPqqM+iBFtkouuyALhlgEBHf1fIlXJhRRhMFPggMMCYnOKywj/s+b7ecKbE3xqCOaYyCc6sunN4DMaQh/VQRBOpQnxf5dfXybQ1o2avd00vzzZCDPtaBgSVJTzkzg0nezj4UTzOVEc4I1yxRDGOUe3/4lvdVG7m+nwWzDe9yQ/e4Csqg+6Lo/CghLtoeetCRbD5OzrI18vKYror9iHLvB9nC68GkCt0Y47hApY8SQTSJGP2lQmCNiLirJMAeoxmu63XBrOA4tDdXPaBvsJQQBdU1/owxZ4CrCmjFAYQYzpZNAdy2ypw/XuHs5iGLyxz8f4C4Blgk0qVIR1jwd/43RNdFRhotyvJ5zLibL0OKDkB8qkFwIlElD8iZAScn7uakILCI6dK1IAgFAI/ZOu9J1cITb8Q7dKEclLBmIlytgd9U32hY99Q1iP9lE03/x/8/sNWoJz2JI07J3IlsqYcReXuRdRpNYQGdxQlsk6yPaDqW7kZVODnn9/CmS3tTL8vmRBhSBKHoZX/3CCSXgkpM+DkBuUw4TqUarYfuqH2LBRVkCCiZNltMTVASekRGTqsdmoLPuUmAHHeiIRUVHIf0hE8zEbuvOnfcGys9YvjX34KNEo40ZfAs5Mc2iSzKR0WADyPNxFxU0SozRWDtZ4LZ3aEVG73ARRfujRMMdfTOhuQvwp9Jm3ansWTtNfLcKflXlBFOgE7GMIJlZB5AcIQnaNM2BtDKcSgBj7XRj4kb2hKk2m4MYd4mvM6rAwAmebq/rrVLPhutnXekuRU2dCHhEOR2x3UKmbvThmSRvVEWtJAo6uT1KwgPHLkTU7gbOhaMGkJ+geh9/5JAF0a+0qonjp+tYGykO6v2Su17Yp5lpGRE4AEf3JKLZEHtCFRYLJXlX343O3XnViAgPFCZuppFik8kTsJrOPO14lfdkYLc2XDFBYy4jF4XluWPIT6pYpFZJA57+GktE0+Hn1zl+b5d+W4p3EojVpjrWciQoiyKuSGiSkFkkoebrhTRYklvg2FNFt+KvcmgdGEtbzr3dI3GWMq5tcml0DmZsAiitpDiQsy2mhM5/EUHUWj6pLMrgo47iQUrtpHvFmjvvpiKzonHuQHaJIcNbe7M+af0guIVbUgdudlq/yQCvyN2jh5P9lhL2XaZ1Aj3PJ9XcLUOJgLSs7mD6XVFnBEKE+UknUTRxPc+/2qpIRgVfK2nnNeBPg2AQsA0YReef7PI3WXTeH+XMa0lMB8jb/KpReiaBXxsTo7BIMWJUwfYRDqopkUxWMN8aQkg+dihRVDEDOc683xx9Di0FRDp67kziwU03EdH+1wgBqfoGkluj4bA/M8UoIRTpambLDsS628B67uIU0aIXTATAgSLlCmZFNr46aZeAHp3wlHcGATlTqEcPN3bCD6cz1ACD6LWKdOBIygVm+6Vt34S+zeXPe0QWROT1bZ6TkENUSXHr8tutA4ViYk4aWK7z1IlddxkiWtm+ubr2IYYLg9Antkul5TTfOmBn092WfPQrhGFC1AFcQbxPol60ZsEz4T8ky1uYgXKDwNO+mnzjKcmyRkCI00NOC5GFhy3a3vHRty0KvIQQ4XDajVHSfO+aqs01Uepa3N44KSPeBG1sz2dTBgGwJUH+KNJAkk9EpZrdAkqRKDXt2nDsnfm7NECYnOpHS/yWm/tLQ3CpmZuUbkJBOSI1AYHh8ZdoF/IN+FuayrwrBZR1LeNGlWorq0imtiiMpYcjh71aTL8l/ZLbooI3muo3iDkBbe096U5hXu7asixWHGy7bb++/QpfrzVe80RiLqe7vw3THX5zzCb9cabdVwCbMsYvED9769X1kcIikoDmiH9bvhI7IlSl23Wf/MUDuP3rivBY21GgAYgzlF69R3OJjHLfTUL5qyVA/b7o6xE3576D+vIY7+z9VV/iDHhiqBQ13H2SRxOFJDIiLlNw/CgvMUmcFAlXaX3DLT1FQhsxVYWlwo65g4mpnuE4O95M6EMZqKDm2kBKOBIWxDcUVlyf7glCOfQ+B37AcwbBBQrmda7fU0g6aiGp4hk+zBU6Hln8pEBsQpjPv6yPa5MnUez6I8iBd+hwMfYo8qE6LkSfwFtfe47rm3zRKKPjQpRmabnHtbfWLhi8Ac5wKu9V1L/nPRgvsH0pgWAQ6ez/wPhXB6EqzBVRgC0m8u7PC4zG5jxM52mi+V7fWnBPIFZcslbUgHtdRsAjHC0zRKiqQLEP6jS8PoPLlf/M9rWTkvd+dDO+qyoka0I4u2/tdT95WAVacIucc4IHGxnY7/dHJRKQNtvAWQOyVnnSeEpa7GJfSPiAJGEhRpCmozGVyoUhr2htLXh8jWNTpL7P3LjOxf0G1FzZGaKd1ZPT7Pabz7tH6PGWO4UV7RKcJOAoqEn0teuyAmwyKg6DpFk1qfe2ccXAbwz3cw3vcPPZrHF0+gwAYRd4sJkwLBsmWdS7cZ2yQwAdbSGZbkEC0jrco7gBmIvJsmMh6pYVzfAzJufolFScJVHuXJut1gD5tn7gIhdRUuyE5FzU9yo9PGSSNjJPXIWKX3QLUrl4xQ7flIllUsf9XElVatD0wiFllHwk+yMmuQX471smZOWClItAAA5ccFEPA7pdAsVQdsrzLhp6JQ9Sf9hXrrn4NsgmKjVUiaHTbQX8q5krog3N4tFjx3DC569fe3L9j2ZUsLbHbxxiPN6jPHBedX4KAsgHSpImrZOy+oonc//fzgLdSsBdc8ak7PcNMgidA9KmIcZ5hUhvyYxXAdkykTc3HvrzTTL4mx6cD/lol3B6cguBKYt72qxMtD1KVIV4BLS80dhaa8R6vBEkL70WO6hIEHmI8A3kzHFGEyFgsbLrM1dMbTScjyspFyzyjpKsdqy53/8uhPyE17+BnPjcDleq+zc3y73s1rWzHwithxCgQ9j+9lD2RWeIsjxdyRRF2XBxMz1DWM1oV8z1dR5gXNRYfk1fVZwkq201E+2PKHMOplmuJGhnDhH9/uf91xGD6PgZlqjKJFzCQouQotJkOCFvNEBzLrMtWslGz2vp7oztsT0Ks9UF5zOlecunEjRou07HplH8T0P+WepEDYex9qpRW1SaGqIcxYGLYoJiHpDMnQx38F2wVuZdTfKnBF4tWhsoLJdbOZOOPBdfpffCy36lyd3QK6UohE3Dyr9xDzFPo91L6hnZ+861PhjCBQM8ij7KGxpIe3hAs18h50czEUE519vZaDe5sVREjBpTdovPyA0IXlFhoHrwMvaIb7qhW5wwPQtFICn+APBwFIXeBleEG97gy2M+brPJJxuos+pjmBpELyyoJDLCbNOhuIJP/gTUSxvU5M3yGePvhsYO/FSmvip9EBK8wl5UQAVrUlpfTVdAhAWquD/cFbEWYbFA1ffyMx53/WyoDjKO4RUjp2KlLGgIax7pL0f10YrmEm7OwwbNGC2QnQS7b6Pr6SVskkWosQsgsC0beBVEb2lqWjgEltQdssRHtzA+uBcXIwnViU0Lr3bD1VM+EbTN+Fnp6n/A6S40+DoxUoBvbZdI7W+ut39rUKnCHIVi0N2yK3hGkRshd24RkcBdAZS3bdc1Duh4KJzGK/wHGeUjSITF8/dWHqlSrBwzDttpCRPsvkHMNVlzYQjfZhwQTdu6m/mQXdYFYy0cwCG8PFk2mumQ/C6tXHEO/ef7wtifSAU8w2+r9BJo1ka7pHU1EsQEWO2T5MF9AMesNHSK/lnRfSTDrXL/z1fqVPQioqiZrCzcfr+cEUSaOFJAbPktB3fCbTkHNeLJL99y4uKuweRuzcRPFh6FhcUZS84ACTWrGY4wK56V7zcLUT8/bKYoXnHdDUB5iRi6fn21UCWU0zsdPZQrFzYW37uD2TF1MQ7ZO8W7bDr7FfZs6VbdAXV0cBk4MH8AgwKIpryg8HiTlEc1Kjkrn2i6C8EynVhYu8cZ8K5LALu8k9P0zcYsHWSa5Y2iEHX8tNiafmdTGWe4daeYQ/E3EuS2sm6C8OkwuL4ZK3vs447qx7A9/GZcHXc4h8yfQnpvBJNW2WA5GJ1gXVE1Yh7Elh5/LcE5CN8omiM/Tgq7H6ltsDWfsy5yHrJgRMTVBBdXX/JfnpT1Qbk57nU6TazggvvQs3ACSPq6rg1h9Ltzkl8th9H56m+CiR/PW78WqPMp8BCW8Y3lQV/goqo/ThiWqe+5DjZQcyQrH6ieWonwM88k1H7PcTWBaGvLpZdnpYGhA3S6/d72SaWH1m8G4p4fBwxKqx1v8Mi6oRHiRa7GdSIkU1aGGu3eL5rWcmV8QLamp2UdLJtbs8Sq65bkOlTYNQZu3zl4PbdH/Ts39L1P+ZYsJ2iU1Pbc5Q1DmCOD6tdnxN4ZQcfRGkAz5Jw7zlwkq3dAnkMXyEeOSj9Ue/9Nfn3umskTOcc4vCxTRJvwj00fdX2G0Lec3lK+HsUbaSXL0poU3jrdNJrX9WgZ0zZL4OmuK4jdEnOcEyg/fHzEHZtw8QhFOEzkXPq90ITjOsn2pnnYZgu8GVpp6tX1VojVrG3FbQCMLdYmfi6fxFpprkYwBxSgak5rdRfuNuemlvpp4P18ghvMPy5SMCpKFiZUmgV1oDwCRXwd8iojaeGrrndB7+lyRm9cH9rqTXMUhn2Sld7wNGLHkjWI/mOmpPIIR1EKa/PyzxSQbcuU6zzZLASoDLFw2lSSkAtSXT2k8ScyngXNeyK5o5ajBFkZMRS+0xENoYTePme12F8X6l8gktfXVLSK1pKih15/8AHaLPhqJZydUBteHSHpE2h9AjrDnAdXxLvfPekV++e/zmPOirgdka4hoq3fOISRmykLsPIaCpb/BURZNXD6H5NVdkU3Q9vDGWssR0Itj5Qp9QbpTqDk9y+X3VxbpKzQCfUO/O85FLXXjpI79pKRijjEE2E8Bmtosi9wTcpJ5YdlInoKY8AJl3h3nRU499w3ya9Cg1eO1ZAcV1WQxw3aK4Mz9ZqIYFseqgvw3w3XKE3QZCubjQCXOMienOckoxTKlkzJEGwkBrJgeG6999Xmtj1FFWpI5wiRXSWuBZXZctYSyOWWZ63qgWJvwEXcuLvUjyRw7HS8E+hSXhrWZG0xUgasQODgLuXqjw8UE2vfRKPiHwi0spbhDhv5YsDLVF9DPR/tJ4wU28/HUaErxGMTjisalmi7XSqF9DZy46AOCg5zE4E3BI+tQlHUUpv8YVq0lOf9Ga9GQlRnRiqOtk690TpfScVnsTXvi0r2gx8wntA2SqvwR6IeWL+zTkzo0TyrXWNfFWMj60MVF9oZ0DBFWR7VvcgsSYLAgd1mgNKbS1Qc69XLFrEirJVjyZq8jpJqA38YJVdhoAIKdcTH4pfI8xHn1B4p9GUsCg1FNNPur02J9XNJHRU2z+2RCvq4E4XaT1IPNSFjYj2mOBvbdT4vOvKQWuMaRqHvzwEoJNcFEVyF1KQkoH3mNXGfergZu5TQY62kAiWS2xy5DWDj+udBTGW8/dMH8BGn+lywf5hGqtBgU6ZKLWee7yr6YPVEDHT5qGn+GrBysQrdqF9dKXn3qOxoevTe6/N8y2E+VsXJRl1u4x2Gi9eh3zpWtGbzhuSwkCRUq246ZFhCEaikdtL0pu4WVO8MJGn8jjgHzjLSMheKUSQPNUUipjQkWT3F/UzYOwoBsJJDs9/SFExSjbGP7Auq1VLKAZDbNq4qa6NOQGpBHsxFaHklnQppyjc83tvAvZLJhdCOuQEuJQ8dWYvXugB4Fa9xLU1bi7lQswlY8KPjIcDJLlDDO4IC6Fxg+EJoiQ6NRSruAVCeA4D1nAIFE5L9BH44S3H26ndbx3JF6dJftiIOIjM6bHIU7CU/7JfMxys/rfoub3P3pjeBfCRzdq4Ap1Yxj6DVMCDoft624gVVqVrOeB3FzHT8hV2FEpWYhtmsNzbK2uz79e8HSdDSBcVK7TM+qd8437xffwYXHz0co+vgr9fZACdYMKDAc6HrU/bHf/j6LqFJH84L00ZULuL29KWNaF4R4H5uoNN1c0+kllAXythb1MhT8Liw6rR9UKEK8DuitP+HfzyCmFR2cTxGPTl20Sib0ZPGbhzVvBKYxsfPOo+p47omQaLfl6CKdRrV2yO7Ntc+wCdSo2TWAaUCOjJpDlopkyNWlGdQ2ATpq5FRevpyBJecTVVX2ai4n+u8ifZLsID3PgPuioLdSyDxQhCbFw73HY8oSImHb/UXdBPVjNC/9Yt53e6ajgvmLxep8ocq596EXLfPwwNtJ/FXIeYJa3KTqtnsHGr4OHK37SBVStV/4ZXs/ElrXSYl1LKQRrclUKCXaXyl/uwMhC9ICbAVdl82ReLuC3Zngu7VjFw9u4e3HU3IVKqcY01ytArVSX6R6zICM7+fPQjRvjM6PVMZLHfu5jMsrgHMLbkJdi/yQndGaHvkaf7ON6xiencNRKFyEX8L7u3LwDwajoj5sb1wuHqGz2x/m0PlaqXYuGwct9kJqSLWPUR8IKnnUIgmVLNXwMIUvov2MNsF5GkSNMP5uOuQTQMcT0ITMih/rnbcEUFKKtcn1X/6p0sfQsg62hoOaYAsd9fu5ppeSCjMPFfAKQNe+auls8GSRgtJ0kV87O1zGyA3gnxy0kPfEoVbnayKVwNf+I1zPY77SX0JVXoIjF24mRrZOyTepTUfY8qB/qCtJOk/IuK2FK8VQVqDTDHJkZwi1v369XhZiePmhILYgIYznRtuw6hbVFjdt/cXRPVW9h+IywLST4TE+KEjo42rw/CH8iK5XM87Ui/TuidRRfHeVX7nqt8LDZPsRYkVPC1HrEWqXhNxNMYYiMBUSArmGCv+rLosmShJuawOMcDSKMA+6EnPk8YOybkRAfZBeZXseGxoDuvWjeaFPFOzvjzzOyeWusoovab8q3QoAWG5F8YkHD10ZZDYNaQy8rpEl2vew+dHJCW5hK6Nc3mGOdVHv2R0JQv7eSYGQxXvcKSWlbmK7VUPX5KanDaAKSu/aPhQWOSObP+Ywswf/fpYXelZXkHIBoNDKO3MxqGnMakA8YbwLECOuLs/R5oZDGPvgKjPiBermeFsJTncQIMGIRhXvZjHfbZuj02XND3GqQdgZoMsZkqOBCWSacxxqvHiVofVAdarR7Dn/IFzgQObno/rpUgsGRE7kK2V5Ju5Y2wxeg6cR71AXPNu6NDWbFSjzAH6SGWvwfRtJaPvsK6HHC3TYdEV3mWKN2JgvutN3TpVKiTisXZa4d3JFNoCrOx+KyCZMb1vKUxXhPe4xC8CTMvKthm19COI7bZdkETX4Syc72Kmasg8Au2C3V2SFtlDUS2ccFp1ia0hN37JC2jbIDpdYNdgx4OP3I1RKtSg9li6Vx8qETpyPONu5fUWsX+3I4956oyaKjUBuvYzl91cClzYPeGpEXYM1U6WDxsTMQDBp5jrsDyUfJEgZiXVyIP8GYuUdcCo9+LnOzyj+RwlAMXpVxoiAxWriDzyw+j+I+zoMahvvZTJ65q7fF7mmdd7YOqqXcEcEJ+3X6Z8w3Ow+ccXOZ2KrjH7CWeHh/q2K0EsoSusRUa8VIGldi8IAwNfKIHzGd7SJ1D+Dw5PAM6TzL22LtQ5SfCUSbMyU+Eg9a657TpfT7tQN35XYXbzc4KQA/joNJinCxPta3z2D0zjWJ4jugettfBNPqBLi9A03brmw4el9FjvWQIA+PcEGe0kdZfF/4FpKn0jNHWGRiOdoFPenk6RfB0iK5BXasOkWOjPPe8+ba2WWo++uzBTuSPGGdOan1307t86V81TiQlYxjlv6U4cKEK6ofvDlW77bEx+KFJCPzPNSj+aKnwR/lcREepZbZFNvU0kwKJkOm4G8jayLisvZfRuo6puMLKfWChKUhlh/YZYSYMmy72zER2DPKpf+K4DtsVaQIx7rhUmeZWhtaRiooGfPSqvUE9GkKlJ6cI2tup0pRZ4baqFdW/FpfblSqpaOOzxkPkl/CyYgS5LjJu6zgbGIrlYWvD74omnqtdVT0yJP0PJTCB6wKIUIdtsc6wYrvL3k+SNrEHYshKFWrWWdtjatLB7Ss1NiUbhedeWzM8iIY8NA/OzCtuR5KI4Mx01Wf5a7YaNZ35qsrLFAkuTQkFhalL/q1YwIAIyiVXwiQihbBCiq0Cvd1B/0gRSRb9GXM+5E5eYHL0zk9MyqIqR3dB7+q8p7zcFJGxYgKq4KUwI27KEUzpgOr7vKJvenYD3wjr3saYrBMtuAYOG5/53PDhAKabH/hvMBZj38/phm/d6qaagqRcglLvRQdrZBo2nQgzqqIzcqecbEllMBK2mGN4MBlYO7OuTkeBpjyI8hpFD3MsW5dFx6NngGpqakzdSDJDzDMER2AvKTyIG1TBc9kjoi6GDw5GyAJjDwrSQDKgXkSBFp6ZlWkYt6SsFaQsbTeMcNpafmBy3OFZvfhq2ipPj92vXPFlPOXySOHlCFAJ/qinUKs79+Ho2a6cu6bn71EQ5rg8MiK+LnB85BalDm+a03sJazstqHxJUMTAQuuGimxUApDW2Dl/FVk7YckkPa3RiL//I3BRhjF4q0PySlK+xWzSR4xLtmd4kxoZWO0oxq97JySp1dJFyuS5PIGynjF53xX23xt5fmLmiosHj4y8cmq5JwnqG2kcVvlr3JeJSVXbJIokiG6j3ep6QsHylFHlK6yYAKG1/+HdoSrNixB/vnU7fQXZXWrSIRS6w4DfpiWl+7dyGNtjxKTfhscqcLMY3caCFx8oFD/sTW5mCBZBwN47a/pq2g29b/03jp9DtaQDO7P/tkIRFMZGouG7CfKPf1YOvLeEZPr7w8kWddWFgcycurJj2Tu3bRSHqOAzsie6sQVyLxUb+IUZnh1FSxsITPMp4dRBZgvQXnRSTUppCbZDLRK2M80CB4f6AdKJJkLNqLc1c/A/O1gUCxhPobWbPwcc+NZIA70JIBcKDa+s1Zj1cHakiZhlpp3CB+/LjKNQmHvuHEH7wKMsuYMQ7uHzhRO26EyFRmimvA3QcvG2CEwLUg2MdWVeGr3forV97DQbSCBXfm/W4910fVsTjXDtnb1LdjBGtx9IRZNO/k8Iw1uTa6mTBTa2UX57NpxMQBu31pgRvFqJvfYVL7aKcrf8FVB5vvdG416H7XAt+qI+251V9kIxKWSSStLmiaV8U+74m51+eIpD+GESAekPDNnMAxqfmbtlHiYm/en9riwmKgEqbUWrP4epj9DqVw94KtDtDDKu/tzxrrGjvWjbAlGU5/pgNVDCYY0ZRJrOA0mFrOZb/wYhmNhW1PT52pi22xoS0EoAhtUJGnpg/0UY8gcFAJBDisuTgfCbwyHiyRgkzjGs2CsBp6xRVykmalXD7enQZfQZ4smiAN6T0CAB6IFW7ZcPl4zHExur+CLOQxp2ccAoO+Dfq70Nzs/GlPqMKIe0ZaRqn8ubp6Xq3Pmp/tvhKVmuW1pqO3bCrDFvQwdIjBN0Uj4Ry0YXMp1jvA/09aiDs+JDvRJbpG5QZOXreoGrrTK8PxOsq8g68tX9fPSIhakgMxSX5fLfHUXMdeozQQvzKSLGj7xelIVIsgz/uS47dGKz38S4V9buKyAnOg5CsDBiI3hBqfEcCz72xGucrT9X7Nr+o1trzzkuP3Tht8LsuDDvqVKCXRNdVsowo+WYQZaQlYtjudneQd1R8RrELc0i8xO96nU71IquSZxdPOwkBJXcFodzo2GMo3Sb7bE0vXJKDTtYSAt65i40toHhDKMzxf1Uvhju4f2TNhVTbuJXQ+9je3O8ePODwzlIbty3jZN9YnKXEXd3PQhLF0OLTFApFlU35SnA74eQYr0WOZZuWF987vkG56RRgeBsbCzk9vbk5f3J3AmL/KdbeVs96L6jEvMwIQOdWvzSM5OIBX2TiFNSbR/Ja/D2AlejryzYudnb0/nLhc7a4sz1CnjJC8EmVtcMz/N21lR49R0+ctj3oG9eVvAVZnLqLEkPhvgSs76aRGHvMjCzH7MEaEfj0L/iyhEDHRlBoZMVt6zBxdeFjpo1YQgyJJxIMIz5TVGUVz5ybpjX4r+uamLMLY0GBVggjOHxGuIhtlJ3YoeNrCqxjjYbGuvh2wTwUVEVG/BuefZFlyUHikT1ThTdakakjWkt4KYjCFNYbN/k3xPMM5PSa0Y37rYTehLeiu/wcPBmL9jym9ud/OCZY8AkuE1DW0QQc68KG1w9OID4pDNvdOCxbOFqepcs7EmHLJlSIR4Q3ca7ArGnQ+iF89NPsC3vqx24bQh8BvJF07EgKTzKCE0FOypHcOMtYpxlodKyOec3EKdL0dn5nmZ7Ut/cF2g4q1hZQwrqXdI++x4rrMoj4MLJ4T0xn2aZTeSEz+HVdxZFMPAvJqcpy65bcod3Tip8wdgb07u6W5i8u3VicIqnbQ2asj2Wj0dvF0pR84RnNIJWBxPn93d0fe6PWuMJcgK/A0YI87Be+UkxHq7ympdWawq0Jw3TXtrwEDmqUo6nuMvMoGr609iRk31ES4nprH7N0T2oYRy6nVMiskjo31jFcY+Js1YXh+i/MNijHghx9WwHSmHUjDtbNuz1CPWM/pKIGu4JKQdLSP+WFHacYzYrvHo3nfED4VvlcquRa2lj+PGFpSQKzrHQIXo33f7hsY4W1woO6WsFt/0crE5zy3LAGwGH3dpusAt4tbQoCf3KjA1iNkIxG1d7paIdlrKVdy7lCeYV45tz+agm+5BZGxSC54GemDvqsJYUwiQ4yod/peklmIVKtcLH6Anen261FOACA7W/yM4nGEJxL13SOYJcmCbDwkCYm9DfTklsUtFy+XyXYa8hQhpVIej9RfB00RmqWQ+aSXYRSspEO1g8nR3esq+Luo4E840t2XS+vtesEFqluFooGCRfmq5xgHrpFxXJ2oyhF/lwnjTXeTFkUPN4hi9RR08MtXl6IeDj2iJOqp4XYF93Upf6UbE0GmF1WePyNipQrVnI9XRJ0iiJPS989W4OuNPRLXain7X6v791A4XTo16Q9PHCndm9QRKwr7Q2jeXPcAoW1e8n9J5dV0P4ShxEt3+wZ4IYj2mL9giAFPBfFjKajL4RL7HJBKVhlNyiXQY5HnSO8EWpNjam8OFpced73n6SksU0osoLoLAL1NIrz+FFdDR7V99IUS44JE1cC70IYyPKcpaFZQh0vHgE/Sxzm1W0LTTqyw5jGXt0VGl9Tq4QR4YehBXtRsdeNUHIPSOajbFuifcYEKAafq7vDnTfOdy33dOtcWP6CEM7nhyq89g/CxryRRg8g8jlIYznN51Bx5c+n3rEXM9OKJMR5Fu/m37Qgk7VTJFKk5tN+oVcUGYxMvYGbp7ulgIYZNiUW+JZq3CBtDKZ1cWpCettlZJS8JIjUoDZUAZGTrL1MKASopQcJRkYtWCrt679RYkgLAmVj/e8QXIJazGvpepivuvgpd6j3mB1ejn1FP7ToLYRUDCqbRFpaocLB5t238blvYwc9DWssq8vCBbmEsA+hK6kFmvWKGjFoyptiTDpofYgJEoRtAZIGtZyZsvpnfQJBQubPMRHzOnVv79yT2JmEy/NWDiXnGLK8byz3qYjRfvrrpDk7doJc6y9KfLcnR5XHff3ijshX3AW0PmHSyI+okNmS38haIZBU00IBYcGJ6rfzsHsqh11fgBVQjQ86yXgPhOMHqsDMR+mvT4pMJVVjOLA/5Doop52306BLaZQPvqlhBdz04F7hdl6Ofs331jBrvybUDbZ57hFIt/bnaemIlb2N0tgFkBBBImGEJQX4A5gLTgUr9tDOxYigxzbFdDt5pKjUoHS5wh+6Ux3UwkHGHwWjIZepzxJk4znypMROgU+KNJwXf7aEEMWnSlpEs1ABoJdZxZuJKU2SMXSu+rwXKOIJW5D4SAs5oOPeVz4r3rdd5yuL0k7e96KOSG9waaMP6CxUHaP3wBFGq35llv3Kh99Um+NNvCfZdW/2gHf6FmVwVevSELSUtUKwB1o2f+oE0qeD7NK3nkc/ztTO8gdQ20eyXijBZh4BFbXoM12Cw2apsvJFv1Ns6VdtTcYHN1sptvBgJpPTjt2iUYY5u4A3zRNpWXARXa232EfGXHAUiBb/IGPsyZLruytp9F97oCFCU9BjMksD2E4m/CgERmKx+Df04XyGwjRPpqQ9o6rS0DRf0Vjd/UNlmGJUuQaRhufKK6kOZvMW9Lwb3OGZVGAKRRtYby8llIVZSkIJwntbwwdZ6QJ3SqZ2fjpeVJkQgP+jQKnCjzuC5gtetz12vOhY3bhkZUoGmnofqFU3smkowg/lXFNv+8hSHyaUhTjrFHk4XEJL/ixm5Qhy+XjGRNPuMPj+EWG9nBMJNErLavDmXA0Jj3BlFxKtuKMpLtzBjlenLuyMQHXSZf33jUD/zKI80VwM4AJ1n5s+OG4p66pGUtWaBxhnIfm3dwkytJgtp1+D04PyZOOWez2rLQtO6ffH3+kIr7+mU3QpKIlj+LpEVNTrUza06183eUYaNXby2CVVPVOo5obDiwk8+Y0HA0WacNLpVRk9Nu+OpnKxi77masWkrUX2RyZJk8M3uqO3mJ+7eU/imQuob0f1uXvR5aqKewYuG/pQY4bpQHlubtleWejwUCUAXvAWGWQugtUZSyw1xJCWGDpK2cJtwuhg9BrSRmTUvqp0rkB5+vRw4TBelZxGp3b5FS3t4jQSgsc+yJSAr7sVbCZyLsyyqWZOZw03YgGcI2TBz1HSVF+FZ8MaA/fgTK8pLKzWbnbuSd+4M/Z4bvojTC53Tg+6KsdSt8D6ayor7AFnywMYH+Orx80XHXDxgv2F0piun3i6C7CbDeAG/BoI0VhnXPHZ2IZdB8IOiZd5i1ry/6j7SKYoiV3cPBpCb4o3dKjF1a1H7ns3V3bf8tX2h1Urswc0wYx+ISiNn7ErH4ZWfbclkIokkZ1pbnjyX/+Hf4XAJzV2zYeQe+SAXtwYX5mds6I9w680f/0XNndK5sDVV8vQWCjz8d3z+4SPvDKPbaBgW10IVF4FpuPXOqgAX2MbGSPMiZTs4LFeEk+0zX1/vqynlYLBBPtL2mQhe6kUB5R9xT3/elzZQQ6m/jaFO0R/RlGUVKufd09x0+viVA2K4L1oMjJEhw5wDpqupqXtFllT9P2zduAQysxeM6IbMBeEdhwofm4p3Q2Uef3y3/Tg9l6b6PJzn3wWKaR5VkWczIJ4+Y2Z3GArpn6lv3z8bawEZ9bOAfrhHZYjame5MYTgsV5Islk+jbX+q98kgb+slxFjkEj/mwdhIv0W8VVUUDEdL17Vw2B6r2xbsd0MHarQEFT6ir6nBjNk15TvG7IQMhd7yZlECyBG/rtKfVrVPZywR1et6gp+qmxy+v5bq/Oy3Sth2UF7mR6fBnuPp72MQmrEswJlN62xDRTy/H0HEgSSso45CQnmT4nNdrunOW7JOA2buJtPF8v9MTfKSlxaQy5+7pjyFd6fu2wUyxCTit1En1+fD4K84GL1oupIpEN/Q6/Jtlm2CYvRacr0I1HHM7lhGRGT+OHJECCHsDdetxDg3dYCWuHazddVpzZVMY/Kv3yumCRPt6Kgol7JT4+QKmBKqVaus7ReFV+GfZz15JW25VTaAE5VBEx+Mzk3/NYBD2eJPq4zTNXdlHR7f9mD3eOh6c+iFR0U14D4ve3k3NJaJvrVv9w4ZyhznmqocQMAR3pSNtphNLVuodDwySEEAnN0cmqwEdXqa2qE/PG6+UE/MJMdFOn10JQIKPxucOf7CoujHaRZAVw29UP4qYU6PyYUWxh50hhX+UBJl2QRikGR6G6Hq9LstDRel016iqktvoIkz64mSlaqyCdJHzZfkiFfOCxMM9dO2DMDfJFGuWyIL6aAnt6LvCxmh4OEv5vAiESCcO5b/zaT1+dLgRhAlC3ElSwAOBpCfKAhxBY4ke/0SHWAGL0CJ1N1Uql1SUPRcgOfHmjlXgUw88B8Mj94PHfGRjkSUk7Ba60LwrMueYXT7iRoNpherxd8yD5J2rVLeNBaRkpB9Z/7tqaN/o10Z/wYzbi1cHuNV0PT/TqQ/rKJgBTE3JkY7/E3+TrVDDT5ux45er0ggtvVxgnFhE++PuqrHOGSo0QScRJJ77E88g6z69SedCWyKi74JiXIrsCmgtfdlRHOIdI8ww90VVqWyWZ7CDwLpGJQNzo1WJj6lwqQPyT7QvcEAR2Vb6iWQismNiFZBZgWWbiMI4AdjdBObPVcFRG28+s960/H205kcpVtTXpemrAcXxD1j5JgwfFe5BmpQA9dZEmV/HjUE52Kr1mjYp94Yw7rJ/s7qCqsev9Lmb3TLodD2N+X1O7fJ8QNw0RlAND+KhlIqsbx0TrqTHN4CtAkV0pXAOHfyhHSrLwr0N+6yeSezrBXT/AIYYUPV9AAtq3UkABW6SMkJDIZS93Nt16k/uAzvxOJBhhxhEb+uoF2nR4NBNIY8z1waV3g0z1nWRfWI6wNhgLwCUKeCAWy3C+yjUbGgEPAsMgoqWq088pnfuIuPObpqhoV7OXshmYQytYgfA9rL7U+9Kelo8QnlfpXzPaQPQrwX5wF4/Mt5phAhb8h3vg2JlvtJlH2ptox8jHS8INdxuWWLpC2z0caguULbW3gaf1gl66LV2iNsTP+IJj4WVAh8F7RfJryyDI8HnKt1GVjl9WmolHxV0vWuq3emFxLd9z3DDAHnwt2Zkp94HV2Armxrd2tTFzSmWr3xpb2zSzJ47YI+fV1KmRDVB+PJZ8bnNPpyUrD0oep5yKIvrpicI34e6wJcICC2SGs2s1D/pngUkCLNMcLZ0qswpvkPyKdv/SXbODXGZxFIpDZodxpWlMQOi29AFleTZIqHSifaE9OM/9+R1AyzfrYNLnanl7w1zSFp+9HvuyQfgCdeLt7TdNZoHEwQAsyaLg6v208oxpsvJaTqOZQuCA1oHgfXK1nLtwnohp5y3bPbPCfCLt17pDrBybVDUrf56czXpQ1FQx9upi7nwbqOiWjLTz1EjOD1sXDCvpaaVcC2hLIg3SkK0MHu/z/V0hjDx8o9I4TheVBA7LBdebNs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khLv/jm3RUjchxBQYCVy5njxzoAobgTVqF1irMkM1vBl6hALZfXPdteHAkalPVqZLLYjEfra6BTlcaPsfbLMYFhSM9SpuhDVgB2Q3cLCcL4bv14bbn+x3aSXe2hfo+iNqfioH7dpEtgVFhVVWrE1pkuZRy1KvaCUehLjbXZtAUKLVTy9XCssMwwb9EMHWgMNIoYMWh2sRWv1S3y5TMkdkdFbwjusrZfLRMZGZwtovCVybHc4388Iy8jkKszlL06oDvnQVshovosIjicgffrRQi8q7mCBbBPJyxN0WIha+IZgm+lKLiZQzzr4KISMSx9wGIvq2xt0EVlSJJAkMzXv+fj1s3YVyTB3+4sBiOTm6A5baGS1ZfC+bFvOrC39hmSA0IoYgFi/P+87jeDYzz3KcsdifmVWgc1egOgh5NLwFi5bzseNGyrKMIEjyiNph8la1NUeZK6xpr9uO1h0Mw8FJ8iTNWIOzD/XlX8pZ4DfRYwCzkVpxBsBXJYs2IERuClZUafy19KQ4fcRiIhwSKYhCw3EOROM+BXybblsWndcbaatCK6PbHqtMYC7ZN3E2XJ4R+GLkJr00FHSBmGp6J93t/cMY5Qkc40q1u7DOgLo5TnmJdcqsvDvNSrrgZXTXO++ynppGCj1Z0bpRRS2XQWXdvG5VgpvtyUAq3G5QIEIbSctWxf9MC4mchrRcjOE5uPAEbXTU5zIwyn2tn3nRIaOdfmtan2Ksjp78qjMt6LVC02n1oc6yZQcYnVm7kTjspUjG5SPxvqRAtot8cstadQlsQ4z6gXENpg86WKI1cnnNoNUmk9iq06l5YNpv6uLwiPtaLCUJa2vC9vMbGakn7IteHtAwPXqZDsKrkt03OmFbwE9NkPzMs5Sk/5HRALHipOr7Kl7dch3wi01IOa1FBQ4wsD7E6fW9Cn+CWcVsieeULLFiZV0Pc+5ASA1WGhujK69gz6sfIXwuHARK+/gDtLKHwJS0+fKvohcDLJ/sqUgTFbHbubURasivKgZOYwdLnL7D3x5YgzUiJDN6JTdDsJrmIZb3/d6LUcCGH9JSV+75F6lSlz/BB4uUrjG2ThMiRfXRLBjgR66Fipumxpv/Hhztja8eeymHvr3GOFF//FQcLiI0SJbhRksPyIIik/RQB21vfQ7hP0JtUt61hi3Ob1KuQKGJ+x1k72Z8/z9BZ+f7Sxode4HHT70SkyT/ATqRB2J1d96UHgTQYJ7j1gYYt1T+52pjDs04JLNcDHzxjw9csi7VnczxzDOYnbnd+URYCx6AIpUDrN5+Pdy+sp0/WIxboZi1b3ZaJtodtF/wpCgh/Xjs+9EBMKQBF9YwyqyTnTpnu1aA9cuJKNzeRbzYzYTUKxDP/O0E6m95xpNlWwBQBqrtEPWCR5z/qudsG+tOyXaO5RAWQIXpowxwTGLaFSCr5YzopcJ6GNzm9RmUpS5UWxzyr+Wl7r9DZJtEMsTxqxx5KiPX6YyNNHxP483QVMPzrNIwFRkrj+a9WpZjW3EWe/MUQRdYG/lQogQBHcbwGvjU7sXPzTjPXdHwTUGqwfSbUOvVVR6OuM88BF1CLT85n9H//JEGuygi6ZrQwsyTIF0lnjiUNNzYligPllT3MatvMVqwRSKdqf+x2SufmRbyK/Zp9Rw7O+ON7lfaAQyqw9QJdUCsEqqJN12MpusgM9oDm1qw6C+PFIQjbefBodIYU+2MHQokeudkJf79SYdxn0vGRTaVZ+AFmiOTlt8aG+y++4FW6ZVXLSpl/FuMcupjuYh/K6rS+qmhiEH6X1TTcWnWBJDEwydDVZ83N7B1KP4Tz9rkwhMHNbSZD7FOMqgN1Vgx8i4LcV5w9DnDXcRnyMA9rAyj8hUXRHOiyfztWhQk6UJNleS2VVvKG4Vt3Lit7W5yWGcTnNcw12+6Lv2Md9iZkZwHrX53UlnH8kJaVwDesFt6C9Tlviar8KwTB7D47yGHM9GKqxMsL5ONToc2qVsfrmBID2B2RnyNWE6JbR9BDgePNuTsKo2b6jfDfA9DoGCtXJOoZwYm1HjDPK+X54FrdEqOpXSobZXkXKMtfYdhvKEyjMxG/GkJLTdQ3CRhUdZLpksj6eOV/IDY78b8Hq5IsvMs8USPcYTtCRCvrmL+0jPnR3DtNEEnvv3jn3ZzuPqVhjSa+fPvEzJgyiUcSXPvpwFIoZ+KQTBM7yc2SRBoVR+v+of2W+tsaVlEuGVpRKM48GPo3RHshi2Wg33gyCg8PekTHKLox+q7FcJngnEY87ly1NKy/T3hjJR4HYDndaTHe9L2XeTI6JNuacWICRANf6r3Jhaq8iLQegqcGGxj61B3WLWGc1kOBZSJ8BEZY+JIWCrszWFinVTNV7q5As8Jqt226oSC3BFDU+m28UhMH66zs/OkoxdYeSf/jjLiiZvXli6r+uSRTrHEqID7J9a84VELRxKQ5Xnh5Y7eDK/oOGn4Lzda5dcfXeRV7a6V+73pb5Gt40Rol+ILwJZYgNYip2b+B3DC7G5MMj/5caMKjYABf+bfdDh/VqHFqSQnVBwLgSyrpzO6wKYBe9CssKHKktGK4I0zgjJdTZDYMH7Th0aw6ajQ/XR9Aj4P4k9VcoxccK0izK7WWL23XW8fKewXePGE61aA5wbfihUnPt9YBZ2dLP4yr5egntA4qm3hiDTlxHlFYXRK5AF6Qjc4LZOYXm6pEsJeJfYH6LoJRLCygXuaPYDoEnaMkyd4OJC+jR/cRCMkpPJEztK+MvCc2gXmiL2CfHSKbrsvHNypUQ9r+1kxyggF80ctmz7jgW7qkUg4XxjNOse1JCCwuWDpT2C64Wp9pLdef/ru0PZCwUYdqwCgnAuwlT5H7eb8njJZmwUwq4KgNcxrhzDXD7z18dZW+N6vmiESaQg2sVXJHn+KW/GW8ddp1xL2xok4a0xROpuZnYtWCCiQ9xGCsqmp0KYTZ9YTGoNlGJFT0ivTa83JSL2dwZKDJ4YBCZKbg3P2VhOQE7FSL/goZiS/WRy+uVi0YE2p2Tx93KoMn3gm0ct09hEy5gCWrIx9zci+7KYcBMii5GqmbjfdsopBEPm9W4WHHCnKIxQDRZz8zwNX9aeJpPj8RVNTn2126hj6lyKBUxcNDQu5Q+3RVtcPd+vSBYMpNCTbqs6i7BBWw78Gto4eBKv+HfwbbDWb4qx9+HLVfFfQi+GTBmFt0WGdz3ARnvZknU4EHNp2bZ/Qqi5KpJ09eaInLFD1UY0WZNfngwpBh0qg74aYZ1OnnT2jgwKFgkJYfSC9rArIjDHIzkJ8KmQhiTelyQILoBE6l8jA99yJT7CwFRtClLPlFPwA4qkIigpAHs0sH/+oYBfp7cNssuNJ/2usdEwl+GJYH18aWHs9daOFrq1CXIT1YdQLmjQuKZrSzh5mUgftSvak9HtgZoy3SR4iaLtsD0HgGQHEjVS3DgK+0+OffKcuCDcIZqnsaMa12wFRxtcoSh9SolahIQ7tsjP3oV2Uj8uxwO9J17eXrqU+t/GQoTmD+dVuOxEtOqxkau/hlFS1tHT9GOaKJJZS4j7a8dk5Ei78PviRNZ1cQEUKHfWc5uXip6ZqgDhp9Zq25VR4GRl+MAWrgVkmhcFDpl2lcl2y4xLFwqJwjZGtYcsBJEu47DqPahuMqdxqLbL2axLIomyzlUuW66a4jvgmZK+cSJaol3apKC/nxeNQ+WLCT2WeYrAPsUlY3MDNAMQrgIZRjHPLrqATEqr6B60ChKBR6jkGok5ctLVlPsT9YxYiQJT2PEPgd6t/sIyr4b41S+JS0RDWI2ibPaIs5yHBuw1fg7n0tOmjepAweFOT5U+iKBI4FNyMGMaiXj/hTTCoggP7A/xEEXWiDPrLLt8YfEL//lhNOY7g6dPUo/9/wYdzxxe8ZumcyYFGSN+isANhV/bWQnNHd2h8eQ9qWK+Yn1wqA+YxF3OJM0kadeSjk0HSS9u92uBSBPHMYD+wfmhkhRh5FO6TE5/DThAuGCpZL9nb6HoETSC0Kq2+9ivgKfdTd4IW6jLwOC2vSDOWtJTDLKy6+fgQdJY0abSwwJXwwkJKZH7HmUYpv2EDf9ru7EDjYER7tXTvWmBfCBZGzoMqKotEV54kIDCULFqLi7/pqXnmXPoo3O/tOjIMZnBKVgaFtOUUXZKAwOOmDMjexOBpwNll5f/jqWKNilY26+M3lCXq1glA5AmyROhZCRHRV+dCQI1R1L+QSprh5YJnlrV2m5dHhFdZea1Po6bwKCbjOTqquZXs9qAXAc0vzRhr+f7IuNPgmb9Imjy7499EarnhVWGm0h3kxEcsbPGIKet2SpFRv+oCcShdqRi7yYjYII8CMorWjPBiDpLBaC7phQxzNwArgzLQt0N6GwbsBi0AgBv2XKfcech5ANWyp/rwDpJFwYT7EXBL0UQou+ex7GlqCxOq0QtgLtUJVn8Lf/xpyGlNvR/gQqKP5CFVic6J/qEQ8kMk4BwrJHU5DnIhPuHkQ6zRtI4p6O49GFduY6BB72rEVxmYCDxDugiK47C2a55q0/pDVCUE61PDg7zIUf4svX5pfvAelO95o5A/TEk+ouyG82NBe2+0f0W0LTbHoqM8nQAYn8Q3Oj0jn299zb6mWVpWP+fjhomg3Lau8uGxydPVXA0OBEA8QQZ9ai6qfRJxcPmJ/v/O1FLSwqaFOmiiidoQ4Sm5duWF3DvHND92hcHfuusfSZK0SGMKvvcjZcOIp3L+jvSxoS5rJKVOA9YSA6OlBCvxFL5sgA4HeLxgl+xuUwYi+TbzVDGF2vHrD7DVK17yqz4p8ym0Yw5c2jo5Fwj9h34Yc/zSRPm0bMZxAOHuMp3Po9xseihFFdVGQRPXJXdAuYmOaYHW1/29w/CfMa86Tezi6jz9h+/TrPGxMrcpZGWNWHhdvY32G9rNyKhkkMrTyntYndpouvs8r+tUMTaW1oqEfpKmcT8NVJyInVTQratAl5WOMUfbYnHiNRgOeVCwag2i2+v/MVgLLLopEzTfRAKgdUVzBxpsGa5zC4wg+F5ogWc6Sm9ha/Qj3OAsmMa3n3kTxOjDEKsizvW/U3/H01CppeeU++rqFgibZntqN2QhI/4k6YexOsIFLovSh9sGSzmVL4LdRvasIEs6pUON1exfQqejoWNvYX6akwnOoXizLP00K8+3VURW0gax2+2faXOF9LIvtV9xhnzKK8sDWnpT3xZSih6licFvno0F7Tqec16Xdpz5UX2oWgMjPaykXgcY2hNnNEot9++8+oNrYf71c/1CAavcNGd5CV/r/kb51nRLN1lfcdiTaZ5AOMuZ+Tw4zIzIiAeQquOOh0aJVXJjCGXYg6opbs7x6Dl+naKIWMMBhz0wR8ShMFE3bgssHnRRC0GWGT5Qe8yY7KkZtrdqnQym1wHdUyVL2gAepJTYMn3XcLObdqUDt2L6jZm+99ZqU2iOcUUr1fnIW3/0lFh8xOXkvu7FDzlTCKilOI2YiDkq2km7xW+p3+Gedtxl3bxS6Z/rQ/7hrEzS0AKI/kC54KbqLPaz5jsXU4MDtqrpKM0CgR6Uju8RTOBRRZDYCvc2SWZ29BeZu3S5gU6Bu1WJi8vt8VjhxSWSWFQrshW8sCpQ2FQcbqwlujeTB/sXtFrV7xRJuaLma2f+VcvxYMLqug8E873jpHvyT9bk841wTGX2b6r/UO4nNsOuT9xsu9ZSZmcvpH6J8/tAAbUmZvV5ooja3gN8d2tTa2xOmnn5Lzb4Rd3AkV7rsnmqtFQcYybu5DL5NAwX2bzRC7KRMtmzJcHVm9eY9xcs3tEY+ovMAkywy1jCe385J81Vcw+9UzWprmc6Xgjjgi0aUboWtCdD5P7jxxk8caw25QX3UM54wEiSt6OEcS7vcm/5KPV6cXlpchiNT4tHZqQdGwqizjB84Z0803kFwhCihc1GG4/JRbkN++2xmfN+qIMJmaLyqBAcCQnBDTSlsOxpn0U5twiAkB8pWbcGDEU09Gaock88wHmbQKjI+S8GOEmy18S+m/i4OR+gDC6i5orJ2chy46qnintfsIg5+so0dTuIVMS5RyqKV59cNjgXB+eoGBOdyi8FWrwgaPIPW4vH75SJrchZHln+0qLobAa98LZK44Z/Jvdiu9WxqABi3cckn9JQ2dEJ4xjvkM4p/3GGMhF8/QSLoCsJtfDAGhhZbfyoclpLsTgJhrX7daF1rKVf9Mo1ksHZcUAMzLw43rUql8FqH6SnjuRQNoUVGkSuI/mUsKleWrUR27x06JMyOExPCobw4NBLV5jdvKLHzo7orAFbG9mgMV5u0H9PP1ODfA3D34hqAERjQPV17T6rSfy7b/LkRqH6jXelq2cGE20L1JidjvYdSYXrL/OqyjMyUus4phWOKzCtx52MV8293MJEMf/jQK4w4RFGPI5o+NCF3W1u5aFogFp444CXrR77402S82uh/loZfrEoV0JXOSz0070YNtD3uhTet1tSJ7dDzMhYGym8Yct2+RP0ZzAwdBkDU7vfr2r/h9Tss3GH+BfZSeWEwKT5g2XimWM27NwN01TLS7sBV4LSYhVu5Gnmf0MvMiocPkPaZWepcXt+l2Vf/EWC+majCdmWTdm/eNTLM10Lx3jLqOG5u/jWqyHLv7/9Vp4id5XQbSzyQRsH7GSXyzjaJNaRjq3DDXvu2J4o35uJMw3vDXeAQL8nPyDu0hZA49ssuQqjVnD7Qfjv8bM+88E8GrKbDYAXycNiCIsskJU4bjWwnFtnI5bkdUl/KCt6OR8v7y+fqNQJ8rWepO47FWrkWepu01F6BBebTXkOaizgoIcmdciG8th1wzYyf6vbC/YxMKfNhr1dFHlAF6h9kWqbsNmXFGAx6aDhYWrMeoMxyaxtBfWOjDYh72EX6/xI70+6xaw1z/RQPPEVuV7B+Hkt7qpSAViS7Bln3ub+C9LhcPR1VcqJhsMBGygz07AECNY1soO2IWsfFFKktrfcXch/tTeFDqgR3Ww+DmjynXLIZSjo6AEf0dZzQUw8csqddfryzW4k+j2Q2NRcR7W+V2uD2rAhhA9rAftJkYqnx0xW12puuxeS8S11/Xxf5mO9cfGkO24jDcqcOdc9zXOt4mOqQs88TIXUBqFFs8Ip7fvRs0vBBzl9mJeR24l0Wmk3QTRMv35MHL7jbOfXLQcmvE+jeonXHMuXDOSbtn6HBMcGqK52m0MQ0HuhJZ+WuLLGW8PzO+v9mzF+Qe3op5MMQ/rqC4nPnndtXdJUk8KxDV8OVung/I2EwDTsldyTQrQEJ8ISzGV0iImNyXcAK9+dyybHGgvQ6qiA7npHoiSqu48g8saqHeCXRxeT4bUTJiVvGCjZty63CqUSu+09Efw1ySUTsGBz/tPHjtFSYACFCOJw9oDeWBna/fYfkSa1qTmhlUHQS21JZU2jqx/pfoP+sWbmkdIdZQ7P9OneuAAmsbFvmgRNM18vbMB7Gtb1d4dicYzomLEjk1SWkla2kSKt4bfhuLV0eohzJ2UlJWh6nx/UP/kyJqNolXtpE7YkUaY+aKyTgpl4NteYUI/TJGqdczn4wqjUhpBIhUsUmjM/EhqQN6fI1t9ZahomMxvsiMl3s5pPT9pkNdYpsKMdL33OHfqWvENxb85fOS2t80raD8JRS+BzP8NBoK/QtjIUPnH80qZs4l4/EkTCm2x6/cfHUxnt9l4vvySgMYyFPT9n1G7En6Qgl/kSsbbHlZUX4MpRH/lXG0pIs+DUyxqdwtvQwrmTqugBzA4rdrhnRdN7nX8UWfXiHLKDbY42zdgfU89YZuqxitPi0pHw5RAG8fbDV4ublyykNF/EKrh5/bLAc/M47aE9RS9pmVBK3iTh9V5AXE1r6Q5IDwwNSfy4OuXL0epwStQAaE9it09aOot071YHiQCyWSXQnfZ1RHxaIb193F+28zAY/J5QHYtdt+SyirgzTwnS0TnYxEr2ArjYoXEcsTF/ry56+kDjS7Yj8Q/A40DA8ixLpf5R2iFCqBahGJimqIhwswITHInjvNXR9x33wHD3ZQNRVlGVv4j340BmOgqTILOcm2eNnOULK3SL6E5K5Pk2ja1FpM99c3hH5MSukKr18SHyDCbV6XIadHYmz8K9q5mEOazkJ6Z6nOPdILhJ/NiAHsOYIC+uCswghyUqpsl+gE6gqAJxxvhzF15yi2u3TXZWBQz6CG0eDJmJIOdC7gZEZgqZ1E0oT5Db25E+LmYMurdKAwbUnWfLYUW9oHhy1Ow1eUbMaeeJVjkUbU6w5514R+HurM0RrY/XWaDJSF+E3Hm1pFigIXbsJ80IZhnO+xdtrokXAlQF+2cAUnfKKZGM1IAr6GrEVwAuyH6CwJdQOyX2GxdygkJw5h6y3C8Gcs9IX0QVNTCwo1BFaZ13QWXsGQTPDlj35ExhSACV02vdrmaWfl3OzRKfwHxhCzhRduKpRG2mGkDXowRFSxeqngEzv3ubAURVIlkgywyLoLQNt/mHojrih/3VcpSvi89Bwgf2HYczD9XjyxAoInadHL5Y6X7FwZk39mYzhEuISqb/GvR0nxRPByLtFqCuWg3+VpDnm7KK6nyLGsyqpq0QGcr5TsfAdi0BG0kwxwi9WKlapUB1AfS8aZyZX+bH8bMCjdRmqGdyeJQ1v5GH/eTnDl3AzD+YmupUWvwt4kCXGL380GiJ+0C6DAWWmbN1/vPlwhuwQiLRKD/n1eJ4GaTR5tLY9H5FEGu6vJP338koCx4LY6yivu427h8GJ8aywZtLT73T18/t8o05WxFk04Vs1TXd3YS3QQykXOiIFAp6KhOmJK/ndGRN7BdRSu6w2TBlC/A81IfN2h2bWTzuxDkD/agaa4ByuZ/j6piOc7HRQA1O7zHn5ESZYKOPq3U60lk735YxP6jINfn2P+8UgJSHdLcCRD3CeWPbthfqw9gnALjyxG6pZDGf5v0JmOHBixY348eh96O585UMeVghMlZhHcS5ONcGt468zPzmtkA4WebD3qNiRyUKdhW5pzVWsFtXDAujwscWNZ2HIrsvW6nA1uENymXGM46GM8i1knnd6xCrd62XzpR10ea/0JJ6cyzJxkiKmosYd0FM7Wyg7xIvnOnaIcqxgmaHLG/rHYq6RTt/jH0PKUxcPJ6YBngb+JbgSVeaCL/c1mD+D2HSHucO6961CpThrHT7YehPLvjSCeYT0CO9vwlnW9CJDwKHTslZjZllo+jL/cC4XfNSqnqk1RO3AiySkYDitaYxbrtIRD+CAWwDwFODRpuioh144P9Gjr5CGXDCNF7/Do2xVfsYHY16+rHoENcbYC4FLc17Rf3/BpGJ7Xgr3Tkznvp2aN4at0theZFeV+q9r1ISwpZbiqJvsZ+mhOCSBV1USs5wkLCxw+P7eHJXFoIf7WAk8SKvCZ400KO/ABamxaG9gxdcZouXZPfNIRQmARhyOOOLldevHYuw7+agWNKzLC+RRfohvAZlO1mrwNjdNi89LJVbvr8Rl5JLNXaQcOitrIs+JRjhpEatnuzPcR1bX5WCUpyLoQEGSSk5tQcbXoSkKZFBUl2n4FYekYliKLfome1rAaYtxBt+grR4kC0m8/IGTCf9YiNL+zvJHtB/e29Hdo30omkSKcoGM4AXGwxSrOux3UEeXXVgSIm91pGD/8ytRNunqz2K5gbBt+GbKh9kwapGcxAlAJ26lVmEbc7s68Ya8IAvofvvuLB0V1NrYUmYsWj0IcA91Z5P978laLTGkvVZn3YqXErCG3jSjfHPXlLJGDp023HRzwXZkD/xZQGrfgJEYM3o/RImkPGMPCY7aFMfr4HQIv4EKsKBiACgTWhQ0tDMWJaxlbu9UcOCyYFvpj7/Mub791h2aqYPYYNjXk6JQL/LGXBX6pjzzkj/XQfW7a0U7E+EcCDSzYkAgpbxmFW+wMYsbKTw5VkMG7wJJ2OnqZeqj5+Ii6qWMWc5MU9SnEPuDB4yEjoiQ83eDBMCvgwoc0q4NFfHyrfT7iGc+XLhCYEUs0iirvCFVIrd0Yh3XT0Ng9jDIxkfcDvM8qnStzQ8/403OZSL2ujlYW4Yf+vty2cJCC6IfLwmX2N+NKt5zCtR6d6c0JaM+zgPQHBdr2L+q7QRr7wQg8lm3Hz2LFJBKWMjiStex6AEhB7Q2evmr7tkXrQF1Rsk82gCkWpDliml08VNl1Zo4X5L/yvge6jOw/1CO0V5k9eDK6gN1C6NWgamAIr+vCJNzyEFajZ8eQkqHlFmtu1EAeDYabbFw+1gOeBVVEdqBfRdenHvh0m9eWfipjhFQx48w7uhUQBP+JMrUIKGIAffJl5U6lGOPfTZud2P4SCoZ3rsP8c0HN3n8BKYThQCB4v8OBhIvU4T5kcx5Rlr5oD3z2QTDO5tw3Ww/yvqCQSITGrQLlKB+mRPAhzOzFNyYiKunar37CUTLY0wNzdaHduDntlpEDYPgzh058+JQmfnW3lv4ZaXXULbL3l+VoH5uqAbQk1sS2Fof64XpYMC8K0BN02kJRSM0NyRdOenip5oLQ9jgbfY3kejZU9H0JNs6U89uA0f7N76pUeusBGlZVvyD3dDG2tYn6hMP8EpyE6mSP4faCHBDqFHl/0yTSHoFhf/ADlalB7w1BBZ+dAKrhi2AeM28z61c9KXtTQHtNSpw3UX5MJqhXtIG5wuZ2oTuoogmv4FrGrq0JJSsnlj1LwDkd8RF7H4typmbyyhalYmzZLDVrmBGSI1XtFZx+7x0eKrw29z/QULCGcCJil5zOsYCQtKNtB4PZrrOL94XZ20Pj/G0J1gQB7xDUN8CJZh3pW5dr0w6krcSoPAhDEN9QBjdG1/iL/0uDTX6Wbcserk0EPLWkzNJlnzKCiaKewZepr8F6YFyvjpYZmpWZRtTpn3b05eWy2YKun5URK/N0CSnTw7Aq8hQGshj7jCZR5C8JS49yqMcNqqh2wPkWRmog9G57txAN41y5Aw54H6n1axUVf2eh0OzS+G0cys1Yt7ckzFLrROVAcP57fYPTxXnmPgFxkdhTbafpIKVmcNRyfNwfAvZsqs0pbevMb84MGgQmS8WqF6lYqMv4b5fq5BaYzHqkKbptNPBuF4JCp8BVcEEj4s63wS4/UKeSSr13CFhbX90JFS37v7ggVIC8TvozDvo2gUn3xKQFKva99RLcz23WYv2BK/LZQBG28Ghj88lSFMtz+kpm5BpQqG64r0AZXG5yteRDQu0gMf2yJIME1WRfHH4C4KwJNCqoCTTgHQB9gMvFDFPwgRqgaJv9gi7N6YGpascvgPJxaojK8Pt8cGkLA+MsnSO9schGnTGLFoy2eT4NBpdVMV7y4gqcyWqCpALHljSKZvdGniaairhdkUELlz84XM0ADbHSsE2Dn116tpTtO+3QgyB03HZA3PJlB0sRWJ8i6UsWXeBlliMR9hMIBm0pIV3yc/TeVCAWh+akWyZFtSPvSjbvEv1nfASQwkOnoodHbx9e6BUefzD9Vg/1XalDSKlcr+Ryl/BRUh5yD8J2NmYj73zIaGKsKlc0rnsrzye3C8HDTqhCzix04oNhR0MZ8yKtaQC7OHJ/dkUxDTwCx8JEcoXCd6CY6WkCrktSE2yHya2vSq01b/Q8KCe7YRRWEllylDXwbQDYUScHMeVtg9sWTZeB0IS5/Mr1hj28BQW49T657LCM/n3QedwuiQVyhzVLeGc9tzoj36V/BuhXCtbRf20oTB24+2DyoS+3yWozdFe4GlNtXN7fGPMZ6sHq3rMb27sRDgBE6nwKKDt1dkNewVkmWjwv9alkddXSAH4hpx5C3aUTVI+2Bg2L/5ESY+Xk+k3yn1q/t2n9za4jx0qMjvIxgUNXNVqA1UDUMox0sojZ9rIICdyprJbsW8i1GTFjTkkbn+SOybKexUl3hanvHCkCoZDOxLE9Q+EtY18GUaeQtocm5EeL4CBFkh153jJi90vNHBhlglKhBB37fmHi64o9k4Cx1J7U335Tc1R2ZUAp+4gq5yJTM3G+nMPZPc6S9IJfdwpv5SlJ9BSoaF+1e4K7WTPVu4xlqTB5yN/iiLswXxq7WkRP3GUTTGTzMuebHc7p++e1LnyXrq9WtyQnYForWC16ubCxXSuO/TOZPDAtsJs5jf/kjE932QMtJDd6Maqa7RsQ5E3AbCXDPohEmRrbeEqSk8U6m6CUyqMyHkK/NH3H3LeClJDOix+4JJs6a/p86zOcZ5BqAdssK1u/nkTQ/xFnDCIUt3Etf5Hxhk5L+9ftym4wLiVWA9rktyri1/NjrK6AGfy3UvT7pGB2pzeIrMy6ul02/3QWwl6htsY5gFoJfLjUVxq4axKeHlEbI5dyXw7zZEaO9SF0TKcXIMuxikyuSQPvpca2eA9Iy1rxv5LaHRh7Kk4QMzrS7kzJNdAm3v0YQZ91CQdiWHQCMnOKl9413vS2ZTs6qs+g0TsAqz5bIdp9yGHpMXFKWj/7EwBo0SJdLPqZHRz5eUz7HC5xeX0HRbsbLHzTiXa3F8SjL4dZBz6JIm4P983VQRpFWyqnYNRykMzawMKi6dc5/MWrbn8pQ7ywcnywE7dn173/X7a7YTaSnLZXHhD8M6oSswdZFgwWmTSR/8gxLxbPfzFh0j6ZSyH28qgBu7jiCxUD2HQojD2aIOcu+lIx0utvX2wSancjMihObTT/FY9LIfRlIEgzMxR8Tb72amMqJOVmk3oIRiSxuWtREm0fHNdBVo3P6D29xs86aGuCgCG6gvgf2tlNm6wXeZsFuYkwCo+oSzZFjv3khlRi+2MwEuj5Gx6JH15VkxEw1kg48jZcmS/LT7xOQ6Fz8WI37fCI+i2sMpaU82ABehXVCHzLulbUBJW/iiL4a8FJ30DRQHrYDuFfmZG5rbEIeIevOyGJ5e9gt+8b1FH4DR/b3AXHpziul9j29W9npEDsNm1Q5YYwYICnXfB/OhUeZgtilgDSx7CfWJzMpUlnovVM/zHXRCONJBDxRV5j2J3K4IJQ9u9V482DgdO/aIGh7N1V/uSBj4PSog73RhCLddziMa3mg0nY83Wh/FA1XtRM61nuunC+1gDyKWP+kzLvqpt/uLfx1ArT0axs4oxbcl5QHEpR3AZ+FsgJzFWwgDMlIBHRYziM6kmNU7vFbL0tJgy1asPGt4WhGrpA1LQWdi6uZAxVB0mgd+qjy6+WLMxaBI5C4tDZwO1XzGw4IdHAF+8fc4EX4QmDnLdbDMTFu+GcvKMdH6o/FtmwgaChSbGhDtdU539cYZPaAZIsB16V8Sp82URx5lba8TGSm8rMtnV/W66NpPohp6INX0gqkmN5oSpM08aF4fUy3bAfVSyWuL1+u40vb2WZ7sSe99YtuPuHivN5vHPeYQ0cQZ4rrSJBRfydkABl2JRGzOAIJYRjpg25MN0sEBDVVFl/vZ5cn2DJUYSE9ZKHT6GZiNHv4mOMVyY+hfVwQtw5VJrABgkhTeTNxpSRuLT34C7wEVwELOZONdVRW+jthx6OsIkQZegO5n0fUHbQkeFBuzSeCe4nweJrzONeezvk+wtLF7gUMDiAMrL98By0objVhyKsJIwuUyyTnSUKbWLZxeSThKqTwbBUzXGs3JfYoOfIblmFjWmiwlo2YxSIuLW13RFDe4uOn+HUIx9k/d2U9IzzE6dL+OHLlF7ggcRCS+CNu1TzVThT1ZltC17MRxH03CsxhhzxPLNmZlW2IYjuw5XJT/42isGsboVVT/FDXR42sQMRPoeeWHfWfeFXyOvtlRoPI1t0qKP5zwMroAaXVQSHyHaunfUrWEeiGkGjNjKKtpXLv/25sNEfUytD0IoawKluVdyl+CXb+54UKu95g1VIX8JOwj6+ObbZ+tJ3geLpFz94v+idKl5rpqNPnesTo9fr6as9TAqXtQwCoH1IWGpz3n1kCiXADHO/X7UIFjYOu/SxD8NmgLqP4V1jvVL+Oh+n3wDlcRMjIaqgP/M+ZpMRHfq1gOUnNEJKJPIWj1aIo1TWjwZ42cFrAJsoQ1ACf6DXz5FX/Oxbi3bVbsFDr+V6KOoSjFF/F45e1Ag2nnyzsBj3Dy226Uc7BcCnxoht8RBxX1mIFFRZ+GHcdPNANJ0xOnRMCC1LBUy8J4N3erf9agsrPnCeT4IaGFZpRxNGphHinNO9ZqamHKaxn8mC0sn0lHRjDMC2IC3joXb/PD64wHC/HHyDcxX7t8QXNiBDGsbsH9IfxL5Q0QHK81Ics/K7/H1XMR0P8yPbOdQ+utqEuDLLJuafI6yp+s3zFrYxzBmV8QLTZq5NygUceiyGXF9pqTmFwyMxxH8VpMAfR+E95IE84Q+f3o/VcA6CGiztF6d8qAdwDKTKPINKdDwgReclRUw7be4OvDpkW4ypcpn5Yrx3fZXKuGMDVTFX+dlnQ9qJLQvE9uAwZxqTXPHOOUuBWdpGc+G8T9aRcxtGJdJCwdciogooXQWQvR1XQPCIsfJxhcal/QRdxaaRqx1T6ZFe6dyMvIJ/nSw8TO++YrAMCI4G8K8LsJFFq2V4HSnnG3ALTkwvUf5x2CSo/xelgOYnhHI9yaJlYWqkyHYX2SLdpDow7lCWwTTEmJn5rWeTW8HFBb7ww8YRA01kTbOD4/f/uyZM8vrEd3UNFTpC5J0hp3JyBurgN4as022fqvGV9bGSyXPzL3puLejm0dNB/9rNXDILS4CchXxogsJt9/ZL2Iyo6mdH4tlVRyg/um56/79xB1f1dx7/rAw1fg7tgwVmgRg7OHVtBboosVs3r7E/iAHcI+j+vlIEElDNwwO8PfSHTMPjOH79MDN3umuE/vjELJmbZyyDNl6s+4hP+GU0B3uBagtOsDP2kjv7vnRqRW880P91JqMvJceE7wctXLOljr0bczvVkP0mS6B3zc3cAgODZEsPLUpZySaxFWWnmE5xL5QD/kSgSMfm3V9ZAsxotD+JcILaAsx0RMl12HdoHQP3RZe09BwHo/RqiDyQoUCzQ37f4Cp1ckaMIZL1EULtcf8wjFZMrfCNs94MDRUCe3yWCNAn2KNh7TQn2M/3cUsmmxXVHo/3+y8I3iEyJftqx8jXIee9PIRRHeJNUEIVGWUJC3ARK6/ZhsInw2OiZjCN0lHV1rw+VhD3CjIGFQAfxBgzJ7LusZASNI8auR9gqHAkTrLt+pRdB5ZaYjR4gVLIitysngffWiE0HaqwX8ayNBdC6mcvToQduM+LJqwuaaC+D47WLDrd/8tUvdzT5Kaj4OPVwIxFa8hlTuaDYzzLNm6uZzt3YxSWiWIqlKEQ9aEPmnAbGAUFgHDXVhqPDG84zu3ddY5jnM0m1yMN2G4jwG4HFN9Xx9yyaJEMlzKMqAJSdxWTZRlMOJuq2HLQpu9MR/Y1c+Bljv4bmxEA3ds1G7sW5xf16kJ32FFIBLll5u6gokunN0D1Fzpg/yB3AMjY4PTThdKvL9ElkzquV+zuvyK9e1Z/Acg8cQ8PX2XVvq56XSr+iGEPGcVtn7dVnrDCl+PQ35/YCQwRtgWxKeB3xFNBT93sZVz+pPsilsEKOdD1bANW+0Lvo0VPuZuwIJU+w6vGnaYe6MG2ofoTIoEGcVl1WrzsuybQswi/9D6D5ca7sRpUMFXvE/iem2VWjySMHxfRNFJLH3Av/vQxXUHlAUTRln++0wqAavIaIcUjEiKOZDOEgKQ/o368PKSqq1TZLUcAbVv8jzSvMTXrkHO08jw9Q3N+5JMisreODJF8XRQtuEjTEqL1SegwQVBiRKlMyPkDDnTMIA3c6OJBDYonXXnVIaAVkVDssSQG7pkIVtopxNPhpMDTrwgD7uu7OHWwuadfTwqV0gE7V0AeWsYcH7Uu75poEXmIKLeaKVPTI15vXex/UEQqlQYSc4c+FGmZyMkklTAlzG6zw/at58PVYzC6dDAwDXa6IsyOTBe3WZqtAuvXyOztlxAW2e9FQVhuUalMDSSQEzN2EpNooYPQqjh12/CaFrB2h78WmGa4KUPviubGhFhgiAcpd3RdRI8sAhp41Blp3GHgiDW7AD9gaL7ykYN0N6iDxAYtEfbRh5+njLGsAktLipLd8TSftsk558eSE+XURAob7GBhpF/VHEjuNjvU9Lpgk1Ra1nC5n+C8FFPNcLL4LJJ/8R/s4NEAnj4eHMKCIlRL++kG2vHZYrne3ZlkjKdxA7oG/t9ZC/sEkMLVx5GQl1efIwO+xk0C88NAl2hJXyJt/uYD88l4uoU7vry/5D07TJx9MsJTpQlgOhRWj8gK7NjwPpmsug7nozYUXxtdPwC7Y6wclX9gApKCR8eyKjh14BjkX+R0uymVoad/gKlMd76XxgYOvYY141LfwQe7gwh0glzQNsnnQ+IqZkhS6OqXHp+tS6rym7f21TzMEz3vQmOeXxNyZT4PEWqH+M9G3PGZdlbggmY5Ut+MIuKffcHK2/AGSoBd6XPX/vYlefqPUDeh/QRInBem+B6V2vnfhzDvKh0X6XaouaM8jmbtAOsGMe6i3qsiBpUiHkkaW34nS0GLPZtuVqzNsA17N80w0OHeKzZ4teLfyO+J5Lp5npsla7Lk3i/1N7oTtcP/+deieSovOg/g+zRvLpWckmpVZH4EdSGjoE+CcSfGHE3kNJ7XIbDRcbgi9Xv4haiQ7Ft5sti55K+hJ+0aH6+n10sJNGq5vklb8hSWfIzjUAOKcShTsB6HpquEEbk2QxKLN+8Pkq+t0eVB3/XYcTUQDMqKTtuGFEt4udf/1lCD034Z5GegG66LocVXbyofxvhktdgWo5+eumCTxnS7J4fdtQY4k9AiwpsyF1OOj7+IN94NoxCiWtDnrU/63U8V/CrUhX4Pw/T5eOUqcmkEx/QvXgJw1UrhOEnLKLitHStojebacEd191YvUqd0OfNX7VptJhij/J2A//FTkMjgSxE830M2VRo73ZTFvNghVtbr+qt6/CvpGUgDfbjrLMM7+L2hxasfWv49ytW3LL7QFjXGMcnToLUBRjNf5Uz6LJqqSgAGVeSlKdb/e1szufovbtSyqk1I0FLBcc5Rw5Z12BxzQn+a927GNduzZLKMaJ8Kytrw/qU96diA+ZwXK/yxEjjaEVilsuAja7OWdimKd6TjneRygTbmvx8k+CnUh6AOxxYaxnkjw1YRspErgozKmwvV4SzMpFuRoYyzqRLVEhnlC1Vtar3usbediYTeSlzmEsaP0wirOe8cRLOnIjfY3CK/taXC+4FFFAisQNtaKomzol9GXoD+pc4ePAp9CWNeVMVpXWfWoNwUxMjTod5uJvxCYDy4e77ZlwJVJ4rgubQPJrNVdz9wZDo1pdCBII9XuJoVhu/YB7smoCHXgUr6T6h5+QF/DTIHhWcedUFIZ++GfWBxdAMV81SJtRMpqIlLQf5HRSwg5bZiHJHAi7QOVtPi74nAte8NMYUhggFQ//5QRyKR8oax6ft86YWdxTIZ/vwBlRoPV+WjbEwIypOWuFJnPVYMKjBkwUvdTpt8nQlKqtMQdilvfQh2heqawBBIm9Hl2qzJDMWQ8ZxqW1j8ieiVX2sb9gLceZyKSx6m5aUWEUiJEmJOb6FvJsVkq1ZiuQ9udLY4BEweWyrzCHOQ9T9dCkKB+hz8Yvv9wLWcOQM8/piZW17TYzigau505cKCVUuu6RMjKGOCOHPI/JCO/T3H3XL1tCcrKL1XmxF1nKmuDqJjEmium+YFW3hRzUygmRjZBnQDA6svI+vxWaGOJs9TCUlhz+pn06gGJHNVO4u+8T+GdIQWvqEsvN7amcXLbQW9NicMY2IbvGyZt3cGgHqm9XsdH/pVcKSM/aZJ6J0LKG0RLFAo7zJFirYpXO6JnRmRQC3KtB1wpBLuTkl+xnIG1xxn1vOKakeYGtqccydcfFQksvu4kjuFdcU1MTQIcRisFm5W5apNdatuL1jt2DHzSx8wd+DcWm71uknGznbZoGS1d2fORY5/rfDNMtzXyyeB8EoLgKcBIar5nnHuk2NG1Lt0Y2zrxdkEmeNs/n8adVe2ZcpM8PZO7i4FH2fX3dKc7rzs1XW8gTw2iDBuCjb2ePtCwPHwHT49xWF9V4hKJxC9MFOe+Ox5ncVCU5Rsx8NFJ45OE4pmIvuzjJVSf3T3F3sdZaNmEeSMEQmRBybm7EY7PfKSv134CUIdkQqNPXhHSAJ9p710X4ZH/aywKjKOPvHQMo90i1xmlXiplyvOss/NYo9ZMyjirclItvzzni7ykt4XR7h64ROiR0zLQifFUWPSky4aFtizosvVY7Rj+XchcsGH0q6YUo0yMnA4CJxSAxNprPbThvwAXLwudFjUokh5zTLYek7m1IuZtQa0RjRPTY5/lGjjWNkWD14yCzMi0rSWMLOlLd7GblUcS9C+j4P9U1bp6qQtQ74nDUo3dKUPV0mLvinUggnxXRoN4h9pxeyqcWETwg7aAOlwfYl28768vtFf92q8IRZKE2TzohVL/WUUH28jTq29EpKPmszT4HlDYTLZEkGYPsgltAR+XrJLIBVmNTAvLkPlNNPXYFAjL8wbxU08XPXYM+/XFP2sj2u41PtA9rA72q0W6ECxpwPBAIge7VqBm1oLZgN21V/BnydKVdn1Cj8OSbdCSuEBlbqPrgefyYplBztLxuDi4XyZR5UcrrTlAPqlzHrZAlGpvsaBZyjUFUg3YJAYVKppRfA0IoFJhqsA99ausr2Rjotqqm+KW8AKTfbC1jDJG5ceovsWAzq0qzo+KHUY9nEBRY5ZWDdaD1cMLHFUf3dRQ5lGzcEtnWrILhoud+/QJ42R9+8PUGgchXn9BzPJApGIOzZ2HaSDXzYYaGVNZOBql+Iv5ib5TpP3fcsaHAIdwykPL21OMp85BqnpVb39qIO1ukE/IfyJAy7hgXNtR4o932O/SxyBWgcnIVlH0JH9ouLY/VcUWCMMbbfPiAxkbsC5WNQ2C0ySUaYbNrLHn69xLWU0sozwuyGJM7x+Fd+rLHHA/PRI4QDejon/c930/hY4OByP50FPiRn3meotLdX1JF3JBoI8P9hh5XJ5YKBrT1SFe6z1EvXZZTwYEBWG0nkttTa31yF7wz/Z4HrB23M+3SZSLcuLhQqstdOrWLkHaf8nvlmV5deuyTzbRhs9HkFC3hll6qBuugDos1BZUlpGFY5P5pUP/ajJVy6BqkIlXTCsiCbfdyEJGAhsd0jUos7E4Ov6mNmBBWDSkJMOgWoSGc8kOhGzm43XF4RQgU20/F8KiRah3utoGT2/BYwJQikI7jU7JKmlm2GP717+hL8ck1Z9WMeglMGmHeYLYRotSX0CB96yB9juv1R1N1tOkXjVkBBkGSqND1dsQXfHHe771hn8o1dejkDSimJe8SanxMgfdvK8mUF9zI73a4/ubjos/tCIezt94j54rZsh3paQFCp0Ex1D5tWgSA7yXrC6XbC0THw2rJNkdOvVEB4izzwG03yry6jApEkpuzwEIZNPa9fL0GolTvFaQHSOY1yZBxudgj9CbWP3h3deu2actaTEdSeCuTXOrfnB43vakiiTXKwHoU6IEb1VXnKstA/j9WRRJyLUqdOM26L9OOBgUXVjCN/NO+l8lMw+bZzAxer5Pyye0jeNRfPCFJYE+UKfRh9UxX5ZNXKbfsuLcoRKhl8zTPK/G4dsH0d6aMQes2BqNNSiIBKwjzg1ig98uLh0CSsJkTlP1c6Rlr+uF0OFt9UkWqNZ1b2/hKOSENTuc+alroyiV/JHYOIT4sgsjwsmiXAjcUQlOC6FTXYEySAiWVD2gXHzI8oC/IZGQ5ognxdIuOD92zxSEqGqwnVqKwQ3g9qd5uuMyVRSR/tunJHTlOmsrr345ph4RqQBv/MUQb9hF4n8Q5nfIS3ThI+N9loAlLQylXU4YkffdHIIHTDMArPDQxbiAxhdFzUVvKYbepvADIMozTVI029a/+TynmQqDqEQOcJ1HhCOg5Mdvu9eJTJRSd9WYKKhGlwbm+q7wgTYE+HmiqdtGAdt++Qr1VBFsuh+ocgrfqaVj+pxDowL/gg3jMf/eL2KjT7E03vE+iPq9ptD9jZycRnyKnZOM5gVmxjgKNE5IZ97fLDDPNcTS9Fv4UrDCAvdHb2G17WO4y8hy9ErLTkz0sxeE1yszmAcwgqCLREkg6uddvcabJIMxIkTjlPZcMjniCW/tKgU1vIw12ScT/ztW7ORddYtNaHxKBtxpFWkv/C44tPtAE7+uuz7X+SqJwx1ZpV5oDK5zoKjaC3BrvW3fvW7flY3wYTgKIVZdzGMM0eQypOzpFEJbbKqyK1wOhXCLYoGX4UrHOf2rWec73SChntnv4uLCcNQcgLSVckPf+h9Fm4QkoX0tW0HmfKiA1DD5RdpAym5T7Oe3W0biRXLsPyqaZIyksE5sNT+RybY/f00lSKUD8F8dugMjhQ6FFjvDCLr3/FyzzHZYcjzsIIgMlydct9YMiyexaSINOQYMlwCCiOnHRsNmNTTF65BvKYYFUX5hGSYe6bAXp5FrVzE5pC6DtmMGDaeh5+IPQrrh60VpOfvBbaScxmN4aLdZ5dFou+/kUJHhY5zoyxGx6rhV72xWEW2cy6OsYD7q5RNTPl5JF6G8ewQ5mLoaQYCBLrKoX1Hlkn7fd/nZDwngBRy5CvpNTdOik9q2ZMMOdQ/nwYqAlcwGiuEFDzazbaffvaDv21KbEMK8Asaq3b50B52kjsVS/z8ObXch98nB/999DzjrqNaummX2dlOSQDkTsUuHJKQKQaqfnbx0QKMN/TmGkbl/Y8zAMqE3mgGMN89AgFyMYtPbHkaGwsNcM9rsnwpGn3gDPOHYvmBKjQKBh+DUA/v/q2xTAWZWxUeGAIHGVnz+QwVDBOv3Ns980iQzvUmu6usRpSdWM6i4+TBucMX8/vuCuV0lQuHsE5uJM+Nlud/8mIsrHVrSXj7KlvSHSIR4Sd3v/DElrTdz+7x+3vAGclFU2T5zhSiFTlro/FPCNBNQASJHTnZ1PoXkRHsathUNx6s8mbpwEWyCnoWfv3E4H70jX8gnbwF/Clt/PgCznXtYwVOz3AhZjn5xKzSJ3UbQpjwyafh0SiF1N44CAlAqQ0rQUhFk2gkiRAcYqbMuuZm5TsZyoh50dtN1Y+gPciOGU7dU0bcO5TUzaHJ03I/jfu87u8us22D9xzkuWTv7FMpGAQFFr1q2gjKEt/ijsIoawuYErh5Quy/krNxUWcNnPMPUCXqFf5Ig0J3WFT05LDLpI27KvlxQsP8OAFuABEaut/+nM9wIHFYZdpmUUnSPXful1puiJQq2BKZ0A48nCOBSLTxnGhSF9GEAIzm0DZOZiM7mytrCzoKe1fksaugyZiNDxiXfJVAkrRV1i65tLCf2PLlwsaO79ZjowdwLDE9nt54eWk0NLnRIA72lbYQeZThKzMm1wAVqFKnyCxclfl+9KP/ZS2BILpsNf1IBujw4Klvryb2qRBMc8AWv2xGnLRjlEkWlpDhZhOh3/aZ4qYCRC5OzZVKrQTWJgy2qplMdh5w7+zP43X2VRZoCKy7/hAhgcWZ8VYwaZ4h9fnuZRI49zJy0zWkkrG0OYqjhxXP0tule6T6vUjTgowvEj0a1kGYPJqKMQyRGvnyki+bVvsS3stjy0vbshGlKM52gEoHHBIMgjaTpvtExF54Jq99vfgLtko+jGI/gh6sHQLTAs7k3Z140f9G2WPok/0eX6/iZ9KqCYN/4sQ58fOHl3PQjOOxvf79Tp6ekhwnic6Tzs5XDViziAFTLNXuC4vkOdz5PDQVz94sW0JVItVpju6bDQLH3vLM+2mGhDSExTUTSGPAiXetqpngbAoVpCW2nGtnXXHghW/dP71X5zpdnW87b91j13cnHV8F4LBfVmP/36+chJEHdkKEISMpH7DzhYVceWh7gzyoBK11DrUSB3sJGjVnKw4oSyQmxlQvhz16oX7iBn7q/6NudPC8+dzc/i/0A0c7l8aWnb4OAYP9QNB/cSVFGlPShACtas9QgkULW/2M6Q+ZSdgGFDdfD2nWBxLWXLi/ZZ3H2EiRgOdiaUUCFFzNu98bUYb5HzZWv6hTD7xotO0ALc5WfBwZKY2P0cGgqd+I3VFzKue4CwF088NVVSz8yHSbxKzzashylrabH8i//adhITAsm8QhestEavzh0up/KENvWCJ/jh2OljznXG70R4jfIWRBXgEQWGtqptWpMeqfoL/S6VoLy89r3QFERPnCP4XIDIdbqr9TxpSlDBEZRvQkVs2zkEZyZo9U9eSZD8vVD+N+3BIWvjXAeshUTXFSzOgvzrnRlJxyFfBTz5A0B3rpuMB1J0ol+e/4Y+ZFr+Ez2tT3zbraYevUXlt/OKnpv/t8x3uL64hLP4isVN26Eiaf5JFYT8YUWMZM2gpOe1SqYb09pw4nCoNyrbFEsg6R4uVa5QyHK9Q/lf07DyVCgLL2CVC/M71qfVhKXUFxOLI7uNhepFV9a2Gjh4xzEwrFAcRZnLHZWyeIV+vSnVv0+XZ2u1PX0Hb4LYcMUp+SlC5iy2fJju8F/LOy8HvoG4+ZtPwpDTWguobzUBN0Ab6UAQTpoxjOxFxl3jdQNmF7TzBU+mSHHEfe0iQE32AlSbWspzhIcmuDRk4BySXzaKz9a2DsSRsOPVzrBOcuh9l8qa2H+IYtQbhGM+9BB9QsoOECBH+5FVqQfwPQgYtBDrABJzMK+kY9J0Ch7j+yIHsv9aPUxGB80fJU3oOgQohJ/YiISWbjrYbr/W3xvMJhoTZd+YiDgFZTYrHfRsZhJC+pCxRpUyjtRVv+KVkUjwlzMoleO5XUpWUnPybdqWqiOwLumtLpZbVZK0sHGSIuA9a/19kNzk+qGeRny0AD4vro/3Stiw6ad1HxciSxOkj5kbrXQ5XnpNGL5bHr5S2bwI4wInWThyyaBxYtRwMzCNcN4NrNqTIllzln372mTHE402C97ziTzg6leSe0dKBoRYJRP3XFuuBvppitQLkZgJYxBkPBla0UYv11xB4ULy0jSjUaS0F+5NqAy+TFIz7pI0W8m2+W/5RxClEfL7+O3Saed21PV8FLZeWfZm+nVk9fcAdk1AmkKyeW1EPVaCNqeh8GSn1D8/jIpqWo6FqUtplz3NdXkuULSOzg8CqsUpZvVFdeMYsm/L/ijUBf5ov0YzraQtyueZWz6yUbqHDs697eQ3ALx7Akkyc3Cr2SzRIoHD8O5DeN3GkIAg42qW+6WEhxP8+MqlCeMmVZ2g8TrwMbM2xa+7MwXdvOQReF34aTI3awiswKN/gUTdek2x3Sk109xcxJ+dTVeuFjNjLnT/+iW7MGDJjrw+us8gn4zdMp8a2uwHRGuZwDH76WrsTuxyigB9Txm1C/p480U6Y3m59xw/nNUERDeXqYhZd/qC5X/lmKsB+uXYnRBgrE2nm5MjzRrWcTsewpvFCbHR7tjTT6wZrGbNhiOTRZ3nkzRDKcWX9FA8yQHylSD4SaSlhaOmdnOpLkYbkitK4ukw/DGMjH8boFb3ZxTshwNWvsCRi2A9M2Xvur8PtWbYsTM1xoSJd5krIFaK4rAVTyvoZpfBaS8JmHfR6U5GukpJGUJTZNA5i4+GopTfW5mgfgutHAy1LsKxDavsh1J8GF9ujwkBzq3YkmC/eGGZh/1G/b9sqYHcIglFBoxGSw8bbs2XzFD7jq+FkCSfAhs4utlW7d1FVGmOUOkl5OI0Qmaah5G6soDGr9zHeBvzGDkT3qno3STN2lKFASQte9YwaXBXy4N+yZ/WsdNUQvYOKZgHw65aj1z6C5ffvgVbJXAI4+GLSf3mTnGQNl95QDIIciyQStEuVQFpdaVE6M31ahskelHRN2znmoox1I1fjuRqUCdU5TJ53B6hxlXEtnqgUI6JXPGI7zjHIf+YBDXt+SilrRFEKFWBNldbRLfuIsOPReuPC29TYvtvcLSJT++lV3fi5+1YlLmrkneu9puUksr9sBwwEEx73rehUQyTck140ChbuHqnSuzVxG/x9peIPjbbTzMZRskIGYvISfB9N/7URQ/KcMhZ3LB8k/o3qsxMwZax0RfEiyQNhum4y1DvbPsEmIwjn1dUfb6aj4Pq6GP9XNuhstNZv3Z6MtKjx2RtGq5axkOMdtl4MkJYH/CctxbLVewoSlWzy8S49w9+glaBFINLZEe0XeKXxec8k23ePkl7N4lwq4y5qZ757fTG4fCoacpM05f7tIhWVEocpByC+xz12DTWju5rRpVLi4MVpKX4AI+7VsiKuq3Y6knpxoxL0kxdIMpal7s7AcTQ848mobSx8O2DQOs1Q81vON0JsOUdSnaCP5O23JwHszZJ05gb06s58So9YE8+prlGBZKHAHb5yMLzDeNT4oPm2XPozWz83odaXWfPiGi8X++zl9U5HiwjIL7vCQMgW9WM7GmQAOLob0hGRtzIUFCwPqa0z+OicdKKPaK6jezP7ZTmQ+Y0+bELQP/TaN/dGYz4Wst5fcuAgkPKNL6HUumzdcveUIEf7FzhFnaHxycaIBoMelUlAKTAinHpRJi3qslgOTybwrg+TfPBjzaY7ZbcXyz0RDutJq4XglPsu/tSR46hVVkiYN2yMOS8hSj29UelgyqUSmtlnBfUedwAyIthDnb0l9akaB5kodv5BNSeZmB2M/lZslNxrE7YpN5rP63DMEo4GFBDEQjFyqkSM47YyG6TuGj0k6hk61Mt5qarLHxlhuu0s+QzfEK/vM3O3WalLtKOx9Exn0YpT5YnPKLM8WVrRexPa7w56/y1D5fF25+AiRkwijLnvbtx7ZBafWOyo8ZrtgDmEtsdYGXc+zVKdwwiZ0PtbImgfADzH0m4KdEHBcfgvw5TXlsHjzlq3ePuPBlbY8WpAO71wA79Sm1aH1HNjq4xqxlnjem+qO7kG3ELKYpnXcP9dt1dDA3Fx412rBgvZKcAtr2Giy/FsjyOFsZ2ROBKeku09PjaYi+8dRKG/dSImUQ6JN+oKd/2cmKYtWxuiIEv5ewISOSIGTDQPSGT3oNb+90zEm8FYcnkHIYEMgBAF+bBuccWYOznrns7dDK2npOnwOPehy+gMH2WzIFfHZ76XkEMPoCQQ9W31ErDsW4H/kkxkFYjRdW8RrxZYGLWVS3xnZezQL+1fNHTzM1Ohtm189ev0PrQ06Y3fLkyk7eTc2fzXZHDm9coWHVUWxJoIyOuYeGO3/t0GZbO2EgJSDQM4a4GBufCe3QGsFRWxeaR2XRPZVfXPaQXPgAHet5+jyrYSHeejaxoZEAFqOCW3uD/db+YRRKuvLmU9KzJeeOUZsNLshHHWYt5wm5Viay2IajCY0N+Lj1qh7NLRUmmJRWmUxDK9oQ8Pixboz1WznuUFRFh9OPTx4apt+Fnhu3b1+NJesgfvQbuh4bWj2jptgZj5VhvRZ/JtRmaAbV5PElIRyY6S0jm74Hz1pyS2G0nqbpCB4rKvb/NqazKHX9DXWX3TA37qBBK90gCmAH27NPf49rxH6z5K2SBo2QdSifoJy06DT9Q1UpDpp9wDdBNWUHnSAjNwvsYbe/phlSBcaRGgV/5E7KETWLYcdmAxDVcBSOeXsJPeZ9BOuAO+oBNHBwrY0eqPsugWuFyuxY5pBxaSV9HELrgT4S3llH13sk1Ukv7AK+MUYiNtDebG3yMWxInVxObptSD8aC7ith6L1VQelnMc57dgp280cxOCARSHHjxlcdDg8bODqHuOj7ZEkon1lMDLpQsqr+8A10Hl6mucUBV0+ZOV9fwP5vgLo7f0godgzYDw4ElWpWgvYgEARRKkUIHLvPO6f1sj82w9DwYtX4/UpJVjWhu1i7dF2Gcj1CKQC9di16WQxaUEaXgmFOY4i/jB7T/LWcnTMVy1loXna7BrJSrz0Iix8Yqf6kTygrS9UogfrZ1xTyw/alsUM9hELJ3W2TACOcJfkL+5PUhq2jc3OuWrs9Tur1++iJoxN4g3mmMZOFUg54jxt6wI6oCews3HPMQT1Mj99vbiC5jpCC4Bklu58bAPxYEzzZXZS10c8YQg5HAMnHLx14b6c9NOUbefKOUPWhB+d+BEJ6O09QMr+xXWc1juYa13tqCqLC6ydvJdxN/xlnpn1hki090nT2j7Iv64MCSGu1u/WJTWw35zUN0ddS+RGZuqmf35Se0vAH6Hbssft2TqKiG6iCzIHykaTRHysvOFIS8chb7uJ6f1SV0RD7dnow6pSBIZFB7xr14B41XBH5uOgMceJDToD9+/9J98PAdaG35s/gdJzKASX0BBXPpgMlOrNXPxQlxgiJq+XYwj7CQmTWGUigqDVZ4/WYrP2J3jf887ZZelSxT4/s942sLDFwA4ItuFkw5AWohUuOrnSqPHRmFXc33o6bmlyiJ/kraikxi5bRbFG8CiV0j/BGbqxVfI0b4JYQLY8fw2ncMPYFLW1Bq46lIitcVGLqAOCApeZkSKM1WCweuqijeRDZ3O+t/XGY/HZ3jQInVgC7u3hhSfUZbWKNy5cl4aLrKk67Sz8jFt0YdHPHbaxQrBJRhyqz12f8MDFwnFrhqmACwVWZ37up3ihfz/XQfaWaDCr+0ZB2TU3sIAjpWAWf3QFHM4A3WiebonHzEK6q8KRank8QmhnonqujGX0pwdehGU+AnNrqIrv++3LyfgrDhf9bx6+aQqX91bp+BgNnUBzraOnQzzo26sfYwLNaZEzMiJum2cRljZPUeOJ7SlMGopIjkJIuv1HnXHkzdBmuLFcA7VbsoAMrwFyLF3bWxblNHgkyU9z/fSqoGgNsxH8Jk+I46CRTI/ZsZBvdoFwIUJgfPMDXeubs1D1UTtAV+MFUuWyzmsZMw3YlHAFMlAjQvgMluqBryOUCoYFEIYczWC3XMeSezX565u8LpS5k5qRW36zIW0VEV8zimpLx3jb8Mwpj0am3mc9Lv5M03LdKm3dKuny/BcqGvlPIg2DYEDj9nXavEpg7scCend+0Osi1QWMjIIYXMN325t5eIjchMM1mU75jzXKrn64N+ewvwy8HcKwm7CVN2+ZfQNnGx3xhv+V5boJT3yRUPP/hTYf1HV2ebsvaaSuFc7mPR9pTMnDjDmZKBOT7PT2HTp3Qn4jgSPgbX3kv9QjtPlmVp7X9mKfhyGuQwzv2yFSD31xPTdwj0B5IJBJ7WBMdCrYbKuuQzDZcdzvomKqoxaudXX/Y54vM9hSM0/C/TJeCjMMVXWrWNh5nURSIdHaiA2PQuf+pNy0CSlpQuSfJ134ZMsUnwPBerjCjtZQxnIhmn6O8vjW140dNvWBb7kgv7AxUrb7urWpMDtkN2sPMnzz872jAwn/1qPFQHOUFQE7Tkb/4tjKWLUYQOwJYEYz4Z9ro0j9IVeZz84solX8NgiCAXB6NIqZUEQ2q2/kFiILz3wzLhSaNd8Xpf+6W7jC+6iGIAQetvPFUhEnjLFVj/3cl+EJvH6bFrdidRydjo6H1dJa6DgWQpkhqAjaKAoEywu9hMLcvLx6GQ+7zE4is4kr1TCzXNc9PqvI5XLIAX1cvM84y5XqoPeN7k3VZ2zguNAUQGUyj2LaiX7MDfVlCf/2nPm7/vDZRcJEYZYm6KOmahY9OJiNvdi4+9yQbV4nvs386yLB1DbY/qT0+Ka/S9mGBWLqWqdqCXofHjN1JFGNBTTvWc+G/8AowLmAUSz5fKdo/Ght6+s7rwrsIKw7ZInVKvKNIZH2Jl2+yaXOuHyvtvJU2TiyOfC4qsLTWQlwr8f4e+JnkDJMttWnXKLDBIUZHCSKdC0sIJRPifIPYQwYvJi9S/Czkgvn0iGJY0G1oMEzlonuZsrq+YpNUvnS6b/l1HZGcyf0SesiweV3lF0xKnAv7VmQDbdx8ajtcveRjTA6QVm0gsoCMrISTlJOT/o1KjghYdoPnvFc1pY+7jhMsk3U9fh6/W7P+l8sYhBS5tml9fcZNoYvrohE+V4HbCqIxr5i6MWfh/EDg+7wKCnt+zp+W2SUo5W08JGjBVoU56PhTgSq7uiMy4UUEWStdgh75afZtHIriAC5I931sA9zRJZWj83O5JKME/Hxcs76Ni6qNha+kLwD5oQ3HtPJLaZieeByd57r3jliRN68Ks2r3+RyM9M7toufJhhAH/cq2pXIWPfMXLOyHg8iyECQ3ZarNY+gkuFS3EehlHuwnvYDmuIoPJheveB8NYCvI8u3WV9/sv88mF9tku622h/RchbM1qkiSF294UA6UVxnQIqpqTWADt/13vJKvHipIcJuJTBHJXfbFl7kt0zhzxQD4K+UtMq2zPHw4iV/9viKHB2zeYgI2TRranzfVBwRVSTsR1vgy7VARBi8baNsannZWNaKecaxqZlFlzKD5BJGy9drCk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BTu0Kwdd97UV9Z7KBwP9FPFOxOc3xxgfoWcoYTRn8FQxeSnpwDl0lOMPzPrPV6cUWcpcUXGWIHlpP0HjN8e8foPGtfPDjVy8urHXbnazZ6Qj342QG55xCwBucBU4GazL0nVpr1PhFBCYMSkWpgHzBFerA/LhyaKF1VqdocmfRIoprwpXWfrxM5M5k3FRyouBvCaHEotv84tVf9b10sUHDmZpkx9zbbNYTrhVamYlY3h4dw9PBb3D4Mctf2VZYTe66mRuWpdvBA9b2OEtxW8dGCFkRR3BrLS7yulwwQPFgEkKshBwUOxg5MakVjQYzQIDbLE3fT5+V56mrUafnV2eEwImWxyo1ysUI9REO8p5VSWpRReHF2A0tfAIubjJih9pPY0P8IPSdiR1sAvi5N4zrkNTuOV/A++zm+areswaiK9u73kPsn5v/+ZTQKnoPhfuGN/R9Ai0XeHZUGCkpAf2uT4J+VOSh42x2ElkQUTTfKfpLio4FfTKJS2RtYXYYTyg7o+Cl3spt9H6c4NZCZ6iIveNSYlw+paWpNVI9t88ML4mvRt9V5qtumJ5Ul2sqqFHGtF9br3AtJEbBNM941vcvvptns68oHC/AtsPaAUS+4Gte2UnDSXbz0NVDF098zmSUZGUSqesgjnom+XNldT2HYCd6vCKcYWtW524F5ahBLnoBPSzx7BE9uhxsnL1Yu/it6kpXxHvLDLsioG/XGRAXjoPs2WAudf3Xlb8Ku/tXxDuMDPWzsauIiwImudO4nNamaMZg1Sff7uOA9tRB1PkwgawSCi+4jgPeMdvjuXV8yinv9H2vAiyq9vyNxxPg2Q4/NfhVgMqvTZm0Diiy+RLTyTGT11LnWCGdDrOtuw1W+4FuMvrYAgJooq4VWB0R0BdTWzAwiRHJgNhDBbqx15sl8O5PwFc1E6bu0TC6Q/6EODQRnjBNbbgaPFnNAWCLEQMFVNgnR4b6+MhtikDDEd3Sehk+BNfn7gfaXuWdk5Lu0GUqB2iPxA5NYHPl+MRrS4FCa5KElLYEt7c01qoq0/jrbaG+YiD1/24ZBAvcXLzZH7lGNKYnWcJzMgpyJLj0Md0SFczfuQLNkaiwSuoDdva7OegadW6wFiH0dCo14fGFEq57vavi5qh723pL9XCBC9n9gPHy9AF4wO74/HPccpV0TtSvMGLCrVmlj2mcOYQsmDqk8Tai0N+IBLNlkrP/0zXSMGm+s9AwDSlP2vwMTY3Wswr9AQQ6j2oXuFuugZ7PdWQjQ+Ou4Ly27Nn9feFGe3IzTDiFvzZQP98r93UOvMCZh+fWntgkLXDb3Qb1GbLPWpNGAhHBwaqjQzgv0ecbgknPCSpkKemW+mRr/r1H/fgQBmDgDuGQRxSzlotXhuLDJiUBALOztMwZq5AHG+JhrM6OnnPmF0UGzeFSiSEAfgI/V/uZ5YLZxZ7a1cxzmfQB/6zC4tPkkgVnwW/DiG+Q45RhhxSkuyVE5u/bRzvbKd+rSY4LnKRLujg4Ic0qPWlOzMnklZ+15DGLvHzSVdzRc60p7e0fRoziiQJ+g2tS+eXu8TIH/O/y7B4BDuO6y2Ib0dGvCrIXlP0lRPtQMFF80oo8aXaiFrB626Qz7pCdA7zWf8om2A5e+hehOxBIEJ5q0097rFaQYnhBCVUJ6uW/ruFdXXmDt4e59tCE4MiY4+DeTFX4X4eumMpbcu9SBHvrIq7+7ZDPar/kNYXmWi7XjkYJUajdt9fyKocquzxCcMAsjtwe4m9X0x+EHoeRr7WO6ftzxUIxKCKXKhRhfm8wj3+Mywhn2SRceqWKdNA6LDXXs3opPTM3gp5hSkTzzpM9YQCkfRlh2yU+5SNCASpRd5KPrbH/OtjMf4FJet2TKdKRnBhizD6PGqz3g1+IMuenMNQ3h0/8fjSULeC0qCzqACTLroGlDOj5wlwTFEEUuMbyki2ORprATF7fvCC4LLhiRA3r2m+9N0vT+i2PkkTtacdgD+GuH6Wf2HOq8a6ZLNvl7p9OclUjE6Huvop4OFkjp9I7BJilhV63WhjfUpX7w0F0tvzoXyisTAZhoGmVDUF98Qxoyvq+R8QFB3MqGFXQg3WOG+JQH37lhFAS5g2T0BJ7CvpLyaYUoHWmloC5LKM2nNyLxpFDgJ8Ye3uBJog9WC1fdiTRjtOzI07eRgTsC03cZ/s4r/mk8urpfPO8mU7h0wThfqi2w+jk5pAS9UHIVRIQY3P3oDXGk2GeBd2N5kU5hpmLTkM8DjLo0w4VppEoiGRqvAfml03mw4T4L5o8DK2yhkaPiZEM8tXDPhIc1p3N0xNiW2N3tiLHZ379LyWYcrIrE4yrJqQU4EMnbpe1eGds86l3TLHns6asCgCx+o0M6KV6iM4xzCpBJociDWktcUeWn6l0GsnvwevW9QSkBpOnJ0aKKs9cknCeO2RQMjWzV02RVXFRyh+OdjDUTUjlCzR9dQEM2DtR0JJiTNnHtYeIZHuuv33A6oH6avpBcFhDkWvHQ4Km0mst9wD5H/I223TS244TeQmXm5wlDZLpt5GjK/ppnqmCnP7FRfSu+HwHxUzbusQSBwWyKVKJ480fzjLjY/r7kUcSds5y9k2TsXtN4uwPXw/w1IV5PO4DcBXWUeNxnOL3jO7z14EwE2V0G27pf6XYBGWCcmcsvlcztGNrmQoAaGtWnnv5EYfddurdcvuuXX8FefZSZw65P/XZrglmIlqXhyx/HKw0HWU0DFcaTgBK34JvsH4B+7VlNEc+jIoTebVkwBdrf2ta6qhiZclxIj8gmUIh5LZD72yEiGEVqrbN6fNjg5eMABYLwi786ztmeO62NnmoTOVS2sbq/SBKsAEBQPsZkerZp09k9eS3xucS5wrYeBzpwHZTpbhbzkXS7/UmdasQsitiifVtF2jkO8qVB8awmpDse2wKsMAG2DDM0+6RcKaF/zgkOc8MR2+kj9zEGlDY15+OmlZ32U7q022pjTzALiWFhKVO5gaSKuYlh4UZRzK0Ea79O2w6RPkXSO1BRtLmuhEvmr3izbWOKJvVkgzBCq6TfzYBJVkWHGR9TUNErSLGFPYVL6f8MBo5HnRaas0l0ttgAgo7fVOq1GYtSiDcOblx6tOFzEYqA1eEN9ehNc1WFuQohBdlZ6HvvrBGBPh/uh7nnsHUndzVVqHj4szh/8FznahD97v7MkA9oH1SHiIoA7a/Wym1t3B5IAAr7ZJC3phruvI5HI6XIx+I3AU/xL5AhMw/SnoRPJ1zQEH9FmE1iCrzJ4ap++aBPMWe/H/XEd8ItJsRLHpxDEv4+N1D0cfaQfSGsZ6P+9lKk0pjLRFVd/mL6VvkKD7GP3/5sE42Px4bRWUdeufH4PFMUzLc7L3hvUJD1N65bt8anTb+hKul+DTWpzVwq5rd69MXEoDmT6AFPrw1Umb70woVLPV1VukdvBPED9FHTFW30BPbNKWmAQPJcm6d+F+4+9hgzIlcKbpTIl/L4g1FkEE8VkaTaLgKeZXQOL0TFj7v/7qcVq9SIr6y4tpoHsCWewzJGqFCNoJsQt83lrbz14X+4NiXOq/rPRnVPWaOHjgoC9eiIDLefca8OO68RDi9yrmqn68cY+e5feSAAJgXlYjcpd43R2T2mMDr+5tMj7URqj4ePPaeAoNJTuzJ0JYLrMqB47Jue8N7mTbtbTQbMgBIFuALb9yrsad3yPP02xHXeaobm0rZNWRnou83fhOqGAJDngIzClWMKgIgOTQnL8+eiMjSdSWuS95vFYy0vVZGJJMMPcxh3+V9bWrvf1ys29kE/OIajU8QrnKjf9QP3NQe4xv8knQ6vAwqS3tdgMfvKK5g/jQa129g2lHmLSlallWQZ1kPza2OTSrxmuMa8JW/+n5DPbc6MCDlbu/gSst51yuKNv6BM9A1eFE/EgEXQg1leB71qWX8BZ0cvk3SXMIeLGU02cNrMCfUVobHnKadtC6BoAM9Z7GQQOF8IBGr02qEsuM4HCnrWD02eO+10UT220fqXxO/ZsFz7vfEtY3i7M56pZKowgA+55zL51v4XoPrpqWVefpMA0YWYzg84rdKZo4HDO96oXI9WZ2P8VMGKHjKNPR+/AcnI45SYvMu0Xuf0DWaXZ6YFVhGqrsWGvXCTGInxB39nK+OnbjGJ7mrP3yOouCBIbLdZJoxxRThxB+xOsG95FvGHe59heOCLuTq0HeO3AY/L8+/HaYS9QMAGSwLxlWxEUiVK8Jj4ruYNo9dBl9R7PEIEHXgWdFCga5sHmWV6gEbU76AGi8fBcEgCZkNS9efLcMulMCSXNcO8+rJuQeeIYWoQrYvp3UTxkGvJj4fLJBFhVBY6AnytMwAO8zH6wiZPt+ZIr0gW+/Q3JEAJ0bDLaxit11bBBHbsKsTEkHWB4/CuGo4S18ldxYayLOKbHtd8zg6BVrAvqUrnNj2w4o0l7sdYvgUx2E7REdQMZ6t6yL+u1zI0o3dCwTDtPyz6zX/nlXrd65tsokBFWfu4lTYN0bPEZ+8PppNubJdXI/1+uPIcFx6dRJd43qPOwWRcTmjVrbcn6L7XN+uuGjXoFUFKlOpz5PMmy6Sb0sukgQsLGWgOhSzFmBfMdpBkeBNHM2EnQ4ija0yln2gCf5ub/BJYQCdFrXHqlwf05EETNaW2wNSgCueMGQybmm42MpNQreVir5wfnXmlLzfs37C3ZaVar8S2qhTVn7R7u6KEE6wDvOKlpg2ZoOOG/rQzrASqtT/2fdWLlX1vQ2FIOq3We+fbeXCwZ0+dO7cOFdg46SKzb/re4XJ/Lgl3FGp9fqdmQgNbhxU4MWtieqUcvcR6R9d9W8vdZbqGJv+ZwDhKoJ0pQfke1znu2XGRCnYo5VJxYWcFROqfXtUyLiaiKsNB1yJ3t91nW7nPmkYgzaRQ8o9nlygEP0CWBgtYQJ5T+T0B9NV7zX2MK+gFppSiKQ8jEerPALOZhzqV7oReQQjCBGj9hSoLdb97u26tF6wdaNTIzPnYHSDGcZYwpEydZxk7u0vLjNU6M7Z5IBGH9+jFXEXaIfpEQt7egEOvWGSdmbOEHD5j5r00aLNfNNAOtfN2b6jD7UWB9NFzgT9NZvQLKJjtorQ3QvGG94jPs8p28s0QdSykn0QY5DIG7uFrtc3wnaLYZGcWIQBvV8+FsojOGdhO1hd9g9wepuLw6x+fQgfwYTuZt/1pnXuiYPZDg8rYlYd63hOsGSYtnRuMNIDmy04evttVsfb8KngUgeIr5E7MQamRVEWLqfzh0quczTdJ6KkJoqpRC1E8NnCCWsi62fuDT8idUiF6w5w+FUXgkEluNyAJfSSw4XCyYYqcIGCUCuRmX2hVUpQF6dtRDXpMHnIJ0TG8c7/25hNQKD2aBM0F5FHNxrGJ6NCgXop3EAeQiZoiDn3iAb5nLUreIE6Y2KquZaoDxefyPKlBPfLWpjxznegoODGBR098RHpk5DhbAT8rY74W2RUt3R5SpBqASFKCy/jC6dyV4clA22bH7/zU6+luMNUjt9xGAgj10/BNt16RKfzBhH0zHoEIh2vUZpoSJ3a8KT9uHif9dtLWYXMo5t+hkOLa/5734A19JVJGQS+/E7b3Fl4cc2Bous/wTRg/C5NNpdcS8t6DktvIDN6yYMum+UGa5z2Vc4kUP24iM9Y+93K6lXiY6f3UQ+LDgW9xPnQ2Bt/rmKR5/pHDqkAQKvSd94U82e/nrjE/NqvPYCyRt+eB2w/y6+cgW7wvMx8b5O255KdJXRzbq8rAvtc2MvIbRGYRvCLuzobReMzcNWAaWiSwtpNOcccVAhGe+Bz4ib6TmPFkCEr6Vq4c3+WBvxELXG97p/x0fQSfVGZGtnQdk7104FPl6ILBQO2U+DbyoUmr9ciOrpg+AtJ6j/TSLSW4DgWbD9gV0CI5CgpnPft+ko0yZ21QaY1imIdWe6z+Viq/JYqO2oIeDvO5zL7X9GpW4Rsqn3oXA271zJyVqc4VfA3tTIi29ciC6vPeDknXgmObhO3DWvrA20cP6wY5TXyKj6FmgPz+ReSgA2+dRdtDogemsJZI/Lf2Ijnskl+sddtwmNV4Ha3xn/LZ/zcbGliJpcF5BICh65sK2ZxklviZlLI2iATK2sbjMXLe3CXrgvuOENwPo7enko0+0zmnANwZIB1qDq9uqJaVwyLb7uul2frYHfxCNiiS0Wv+FdGB4E/Z9peTugKUQ0Eq6MI/M9LAGrawo7m9sT0OYCpmTzpu731H13SVWgaAxcBkWwHyD9s3/W5qY8aUKxwBJwflbzEKuqqJjDhB7/K0lrRySSFYQBeK1nFstwzwZkDJfHBvpypSrY7SEyDKLLaQJXfSMTIqDr4omc5VnD5rDQ768qdzRgRv0OewCZlnzRj2WbUnfuF5yu5jf73VPlihe0PgcZP6xeUMRuWyK2ooOEm/gJBvhCLG5yZrJEs3KRFx2w1EUjYVdLce9RiqtH+NAPAaBFGn3Baubt/PRhzvcjur8ehY/NtI3zNhXzoyp0iwwCGyw2+yms1ppo0724Zq62uCMTyxSSsZ0n3HdAFacf1qxNQKRsAjluZ7g54697CEnWM0ptAcj9foUJVqZHrPK5gzqeG01bCfrd8zC6GSOTZzKtrh8s0B/qYE2aEp6OVe0ZkrlowDV5yBBeb/MpUBEeXRZ7H/ZnDkgqJCr9oRy09Kugjreh2MD4WMma+D24WzCORg6A2bTddsuV8QhISM3wQHcNyb5TXPyf5pcBrwWKIvllFvfM7eaDxxJ4VVfuh9RfUwdoO9gIICLlT1+pb7Ldnj2bwGPqSATFzPMO3YWKWWg8xd6cKkehch+MF/D9e17njwDXYRNxnU0X2YH9mYv07TqtgPh7YxvG4+X4jaBwUcoly3l1D+aBESjS3dW78Avs+TcKdMl7MqYGLytAAedLLHWDFveODULbt9ZJKzxIc72YKf/dXmjT0p6MA6cVe5/NPrxymqn/m5PCU7iH7kC34i4aU+AVz7K/dV4UcJfTfiFIpi9+6iWz+u+/uPRe4Pc8QjRacBCFFzVV/mRhjrQcrTw1tuO/ht+79aL6hXUUmYE3+aoGGu6ceeWNdI9By76D7v8hax0eZvX+szuPQTWUw0gQkflYbiXNI5nOPUWm1LmQ/npIN+43b6+isBtI7DWU6awZoTXhEtfSemjbcuBcONobWkI2d4hueS6I026vPBD3wOwE2jhUSZ2QUARCZrK3CVP0RVyAVAzrz8NpF6ez4yL3aCCTifqImjLAlfMY0xIiOhpDxMAbDikSm8K9zPQJF+wtc/CfaI/Y3gleTRpREWdtSAl0gASTduH+3m+36t0t/CQzXKYnYhI87lJVWUOdiOYU6vNVdBV0I0dhi8+zuykka27xK1pOhc0YILuwji36NmTFJKLobCQdZkBXSLV52B6pYNSMwGSeNZZioQ/sfsbUYevPpmh0qUbNhs+5W5tZvZT7aNuvlBLOicL1Or551o7ey5BV0XYq3VofP7Ct1hlbFdDajISFQz/5/rnpYLRPCt9nDH+Ttgl0CQWysJK55Ofmt4TeOrifV66IoFN9WvlAWAeks3H3ho11a/rU3uWMMnVQRMn0VlJOP8VpxUhrvP5ZEvrRhJqbfRBXXodUdyvifG48b7kY9xg+ZswRwb+K0uEJSX2oy+uRP9oLOikv0AQWma0lgGRMoFN/1go31Zv9VYKO9DAajduAW8J4fuUahP34IXd9sK8usMfiTn7besk+Fgw9XhLGAdCCYklx722wLF5jmp517HDPxmtkQFqqHcRaMpEzH4e+qsIoLLA4Pr32HlWyaInetAGrguVgyONX+hAyE+e/wh6GESmOgtHIsqM31OsORjr/wrAPqg0pFgJiY2VwKduo+eRTKmi5ufaFWazBDRsKttHWz4mLc6o7M5MQAWJck4mZM3u/FJlUFXyoFAPORHuksJ54EJHNFVQMt6rtgUlgmPJFfsZsTZZZ3BIDFj5GS7JqQD41ImyZr9pdPWPBojJzMeFcIeNO0flIIXpEwsScDGt6wfJ40EfNWajZgE7nqV88ksSeFob4LACsMwG/sWqM51l2e9qYFeg9p002STYN3MGaBno3OqjrcWyPM6q6JLQTGmUjOP6F9ddKIal48aV2fS1x9/bwImuQL23zK06qNJCccUlvidPbfKaxH3vkpgLry935S92EU95fyYmPehXT5ouFp1QVpTN0psuq8EZm6bf31YvGfO/hsbZbxMGzeuh4TMjfB75ZyniR5LYfFMgJD7SuFnr0x15pCyPb3IcgTbmdx5D1RXcmjQQA2MjDrydJLGluqQPJmMJKvYwpv8K46nUG5trne8KBSTO4IZuWTQzmaCflBp0pRh2Wmmz2lEXjZwEGV5WyqfQgaJHEEiL/dNV+dHbIdkvDYqjAdj8LUD3MvwJSwbbUaiVaZcEkziPFkdPIV40aCj0qIQ+QX23eCAtav83U3eL7eDw+WAIZAt6UrS94xVpRwCDJhUWH1747aWrhxqFeJWIxBJu7gMUq14uK3cGHAhDx+vmhxGPKQL3lNDrzEjY4ypad+Kg/TxihrQ46nx4TNjRbQRuZ+3aoUZp04G/oHuXfVtmq+kXo0pTKQsZvk6oYSm2s1WdTOrRbDXhfGYqsCBpIWpVgQ2pcF6WFUMbmJjIwyNqSR1+pZM0ZhfOruFTBcIMf1Ri2GVJAaSXR2OA1oie2YvXHFg9VkZPXVmnSuqIpobzYBJrNsq8iuCcSQPoFiIwFP2Cl8XoiwgFcb0/WljFyqESC7An75wR22pcp1Bj7pIj4eABoqys9vg3wHdlv3xbBBr2zX3IY5a+3gR7GoGzFngtkzWMrcxXSmhcdMOhCw8VSlP56oQK5p/nYVasJI9T0nECq4Tj96uuco79C5SZQKLFi+VZ1xnd6l/OegMJGhC8EaGmiYZpJr/zuyrVeF+XEnGha56DND5LczHLnl2YH5RaS1xQo2rJkFA0vB/grafP0GGn9sgwAthAg3vs1FZ19eQgmLBXQIPmWLJ7Y0ZCIhKCQ5efhFYLn2318+mTDmZGrKhKIj7hFwNnupknpUEf/rdxiEILYeXWHfS/zzFfc3AurfFmZ9EKpuB4iXic/EKP5CfhpMdVIbnkKO00DyOIkhnrCUfD+WACEE9QxtYpnaKY8o7ph/WHqnccdZ6kkQ7vcnSDeVNPVMipUIJ2zo+yzP3Ei3eCr2V09L/cWPXlCo//fswIFAAON63DOWEG6ksDNqtGddb+ml4ySkyytGn0zuRoHoC7KIpRoE/tqpXxxVtZ+MDRrTNoCIyPgpirgjfw+72tHdoKm2XTY+MEdWS1iHgFOLRuecX605UcfyNmxiELaTcW4NCF2VZ6yry+IyYDwzXef5HMjhxI7I+jEgiRyCgG9MdjZmeLcVlGy+vUJ8lk5YeUXPD/F2aYMoByTm6KZ0ZnHyDLRZdJf2oHNodFKCEcfjdNc/kTmWJ9xGdVDzkHnj0P/gjHPwQgomlAntwxYZ2uhiunpqiC6DCxK6BBQmUovZUsX1Afl9zqPctJb6zh8d1qg33A46S0OGHzWuQgH6D7vmFTXfumqgSC8MJYPbFS0ThNmajGqLd3SLDvj70sdQU3h+ilnKUHP65sLI+P2bnojI1V3SGIe8dPiQnLp51hNMOHd9zsMThKwycRIJmuTGZAEp0tnU1FDpmN6YtJDFP+CxSG830jnQ8zZAGStO2CbkQ2ZIe2qCsVBitW4UdNuK0jMzzWzIEvY0IA1tnlcaI27KxA19JnFc4HBQL2zJY6RjyPLgE0AjnMgkFRZrzgamiF/3SV4jcJwZoicFFYiAYlqQWVWIv1wfTCo7yWw0Dc4sgkBsV7Fws2Ht/ArIkSF3GB/1/W6bRZpupPbriOSkrLhuEpnlLyd0KmFEcSm9ZAHCiKLJIaA03kGipFwTaAKSERIKCl2oApe2/DObi+sqmpCA6bmaFlxJoFzyQ+h1cAnCfcSvCoV/C2yRm1QIL8Qwv1x4EJGMVUCulrbiQHXVTPrcqo2ZZ2afa/sCuV+Xf5unzq7hJkjYO5XwRfkaNmGYTV2oCjR8LD7n1lT6HpEYhT7PizrksycZjAfXC0mbFXrOtSnEJjkNANUuK1GIB1ABHMUM2fVQopLgMna7IZl840ACtic6UVWekrBz6S/61ahqn/lFDuiytnCXKOPuV0/ynhOxt66LVICMeFj0YISenLlXrVVRv7nLZoFLigtGkOo6S3Xoyem4DLvlaKbZ2mjoQE5+d/y0SX473cL5SvMX1NKVLF8kIbWTxZVIzIHEUXRayKcQgTa4IRJWMZ8XCrnV6XGdkJGH3LcGNQquqzBfZL2uJBxVft1+fHmVm/9Q7ZtlmW0V/uSxgBVl69ejmD8nEioWzgjcqecJ0CpjxtsPLgW5kGngG5YQaI+yd4yVGoYPKyt4vMbtkOt6hpaa9TRXt5KlyUWiHhiHQs7NRCwHfrsQf6HNvFZ2oRh81bAujD77MqDwxBZqrhSzoG4AeDYJuLnqOVp2bgzSE7Hb8/bPKTSl3a5Hf0934DVdV+ZfWgeDxeGbOt3+LW8EvKjARosoHJSPs/aFrww7cUw5Hhg7T1jNgofX5hK+vz4L2mfjBDKdwKG6p5Wrf5TomGqP7kJnJf4E7ab28514DouFTlXqgp+9N5eCnvheTcWe1u94beVHBqEmVZA7wrbGLGCpa13grgOK9xMehDcDWSQAp0jbWS3GN75rAnKI3EoC7niOphnR5G5KC2DPeOZwoj2ztMskZSRTsq1wmtG/kakV+PegW/idYrIm7pH59RHsgTiHZ7HUJpxIBQpMNzpD+f3khQzvwSkoDEUZhrgJ3yZn6gqXKwHcCqacER+VjQ2QHuqFe8f0RUY0GRyjpmv73217bzs9NEKGLfP2dgheSRY8w2yEfNKk4dBkgWRp3fXZZgjz2Dp32VMHlq1FG3nOTH7hH+4lygnPuw2xKZ4l2HIKATE4KNwKBACKNiosU1srp/YwE1aumpwVYQgrwdEExF8apYeZ1zQZd82c+cJOOMcUiZUy0pPJnhO8/7dWSKUJVBC35H7j+2cvmLh/brYVNokYR+Mlg96p3KpVz9l9I3XIVU96uaO2QFX2pfVpxsKAoLaRkO5mnW5agGPnJaYOEpC8dNaLxY8OOWYQVzpX2TZ+pN82W9xDDKJzpKB1+OxFWfhsJsDJyyjacn1Xo8QSEj4LjGXkYwVvgLQ0aqpX2xSMoflolafkIUDp2O4uSjo8QgNuDSMvIszjDvrgcVGhIEMznY0Di5dErrQORSzugzrylKQnl1Cg1FFpsucaQ+F4az8wdrEnBdGH6ijtTcz8abwTRcbnICYBwH1/40XixagWyihP+CEv8C5FX+ehQ+wAPXbwF3UyWj6ngeEKivfvLYGMQUTWoWI6ZPnKD3QNBuJrvuynKlsntFXvgkGIdd9A3otIalBiLWSMRTIsgniWNDz9oqbDjQ261YFdrGhh+fjfHv7Dwu1icKx9U/RmFCzR73/jCAo2OKextPNUAqxkzzIGlH6Dgi+b8fuNsViJZtlGrWyT9Nb+/u+L9b1Yq8QTU4Yk7JjmIxzvcyQw3KhgwmwxRJQFOd99cQJhwjduerAiFDTLAaaIt2NJYJpBvZ+cMPzFZSGLBRj+ENoCToRK286KOFBLnirCdaoYimFwTRLqJdj/P0YK5w0z90A/hlKcKdiccLthF0O18X7cw7ZWwrIidsX+x9i5l+qZaIR0kKlJXjTilFn9s2h63bvdKg+MNFyLh7yI77BkcJcpspFUTb5dzZhUcs76EoSh50x6SIK+HUPSFvo9amNIK6j+ch4y4YU/Pt8Ayq7A0u87Wgxw4i60QYFDIC5qnlZqZHVjfThqduw0BZYk/CSh9zl4SsCJ0WM9PVg0u/oPYM54F4sDLjiQdE/9bHrAtTirC5GESlL8+EZIbw2XY0D0cHaVm/Kbc5A9PgFuaBmXAeG3PfL7FrInXJBWck7MFshvqIzkdHqmMwXbdVpTRBNfXOfiXrtKfCKMEWUUlZWqlgHCjWwoG4nvVKxKWblClUcFFU9JynXjdxVjwon9RmoXAnHVihOqPoZEbw8/n3HjzW46YKNyfQV/P3kA0sHOaxL/ElT9EOgv9jZ8R4kdeNRQMmnLVaQ2cjN4OnLvwnZd2ew4gDt43xxrFrJYchOm74O5+T0YHrf0MQfU156DjUEPIe5HYLb5ZdqTgrbUiAw84SmgG/3E2y0H5ZBQa/0Z9CHfPtKMqgHga1lRYqU3/ee0LbHo3RwxFPkOtXSxvQvuYgmt5iiGLMZeS4AVaxw0boFM3hr8PKM9T2LJuHXJMGcgk8UjyY4Po5g51A+bsi/GXZ/2ztmyBvbMzjqjU1+44ZIuJDWc7g+xUPgiyYH3wQ9u90YW7Y3Gu+aDYlrOb1yAg1BchY1mu5KRfFIIVeX/CdjwrcuczeXLI6UYOx9F0CQK+udGBom1rCdP6y9IFoMs1J3B3EYNQKYlE88S1mQhOuf14z5BJayyocqIdo7momYpX7bT9fv8jMvmt68AFtSUidlDQDfXgjO8ajiNqm8+kAR0cJflAWlp8klqoi9hrMF/5Se15KF7ipEB2TTItLvuyKUoEoZqtjvX/0x1Eov/IxfseQAJIxrUjxEKoIMMDwNXHlpHtZtfI3pU+lG+V5/7NZ0w3QvDXJGF4pwzOEn50nNbBVZ5WqdB1jU2ohHGGXRg86hWE5iYXOAZ+lQB5/QEk1Nv0ZoUF0DVbIFewsEZoQAyPaQi2dhapQrpdH0pQGQWePH2crTp03ctQsrnIHkrG/OfIvUASp8UqfeiplDa3klYv7cWWj3RBwvXCCVK/FTyWbr2wDj4DNW508oioh9N/A3Cyh78KTIdmcrNhGhqiTqXB9Ydguw98gDn56LVpDp8fZJP+nczn/uvqnHHGbjeU+vT1bHPwFNyuzQ1e6ztWf3zngC/wlfPUCyQRt5SZ5hVvEir+I0PmU7MoSd0J1ggB1wUMn/K559RTORYUKZ+02knjkuB45MngyXyerldJHMsecTWBHf3X6/W4NAiRwSrAKLtiAcgv0XRRT0TEGm9vOjVPBtwyduwLoNkc9mkOSx4JOAAU7vLRRJON7G4+HDbbne+JLMQFTazJq6c/qjIx+SYZ6UbAzXcyJjRXuvx2JtnuDg2KClw0moZhd4YM4njFF6R3RDHHeHq/MNySsGzvkot14Z0LI1BChyFGVH7ShDYM6UrxJxHVQUWgjlFGyF7IsPk8qjfP2EtfnKHXDEYiXpMpxpzmslvHCgZu42Pytroij2y5XpCCwVjJX5xJsOUeb0BK1OWItJizOR0NAGfiS3o/yDUaSJ/MokSwnlASXlNogjPNZuT8c43uqlg6QXHinkPbnH2tixaK5LzdMn6Svl5POh1i3IMHwhgtrCMfdi0CR6nj2+5bCdrHHKwVeFXChG/xjhjThg1HmtsJrU/8RWlCXVr7LyA7kTZA8NIyVK7Qynik6SO7azXP9i98GRdcqEVUW+OdW2tHZtMkP/350Hs/295SczOIqp5kYfwv6sAy1nE19KbEsvmDCfYwRYbhREnfxJ8Ht17oOKI+jV9K5Yro19j6heFmwFIcCxeKk3yixFZnAeZDr4lQBKaKjugBebjRdGNRPgonkY/nDjV0CQRt2ntnGNIR/uJAqY0LezvhY9Y+qNOCp8lLhf/bdQ6iPQ5GEF07w/23DkvGfwEWkcimuOsu7ufOXS7iuf6ctKOFxy0UVQzzLdldZV4bQecU675w6g6X8qTq4ftLJ6g3MjCntlxZ2UCSXesfWEdYJYg+RBd2bwpOH16yxhNjH4gPbyqfCr/yxy6AVDeElv4h12Zx8nB629zwEyw63j+Mf3/xj8amkAhMLyL1vN1trEmbNWMWfdDgIj51pJTm16XY546i7FYSknu3mCJqRKLJbNXEav5Bw65ilcE5DHHVOzipupT7mdC7pmWH7woEk/fTaPU2RplyX9UCI7GxmeMeDSsyeIDMqDaMPIyef+udfkiO/gXyR8WoWLCDgKM3192qhOniAwCCr8ywzSlius8AvA46oavfWJS5pzyF1JyDU1tSE99UKXjo1qCPGmuOxJILBbnOjFuV6Xj0scVqCGrmTCBjJ1Lo3YRgViIYEF1IHo7Cv9SfXHDdXv7CSngVvwi6/MIy/ViyGk4lqpHtfcV2fV4VmsJaF9Pin+yVWYL2Z5X/NbkzF+Qc5plFY+88oXwZFK29xLehqIlnz8ByfC8Z6zjDGrCYF378fs1oq44rbJB2l2ZEp8Vc4hTiMYfepSzmDVl0rTzri9bufiirlQB+vUWHiw4Ezo+HMQSF7lpgxMiOkXhZAZUx/d7TAvwxlMgLcZTcqYsdzLNPwYiU7AeETdcNG2GX9LI4Hwwt+LD/9RUI2ZjaEz8PUak1tuFomulsGvuRTtjqTkNnm/DenaFfc3qDBwntdTEGUhmUrHsSZ2cJ6fue0EJVo8onHI6RQ2CM3PfgGjCGO9/ziXpebNJcb8qFP8FbbWWFim0o9dQuc+J5wrx3R/Yh7cPrsoydnqoUIyPJeh8zgLoPbzCag6EJFqowZzST8yFvMznHaJ5QQP6CNb8ZdHzQtsnElmMwC8EyO71hDWBCRQmeMmF09OKkdAY6h17NhICc4uyqyTrr+T4waWySAmY/aubx9EgXqgQQdNmPoG6lhR9d8ip7AQp6BF/UuUbQeQiXtgW40mO00ATyvnxoCBDFv4huoTAfwpjPSl8DqkFqGWFkpnLG5DwmgMr0zD2KaHJfUbVVy74Wjm6aMLddYqTqmIhj24bg7rpPfaNoaCIHnMklxTEKcEko7uT/AqSt0mxF50dD6RLgyj/d0lMjN9YIHzoRTl8JEd48tUcny93mhsSIyPWDSyBk/hzqSs4ULxYEMxEddrmjrAYwrCFpNZvMRkObch+zgt3zqQ+o07/ze1nftDbPzHDeLbQYUp1FD1Urk2AUe7yXsPgDSUqY1Xfcf6MguPtPDwuVGq5rnWaHihBiHM/3q2j/O/uu2Bmi52omrGJiX8J9apYovzIVlMr42KeD92v600SrYxNYnZx4gFiVTPCm7yzyk1/Drh+aoNe+uqS5vMh4L2mnVEIPFpHsFHhNrfMxzkhxWXzHTiAhztdadr9fm505348M8ivH31EvaH0C1qpJIGsOKER0CaJBkjkJOS+dmZWmZfvgRC/KzymWgcgD32bX8VrDSebFJZ+h/d4Jqhlfb5Dh9emVNFCMDbzdEZAAJIvJJVDo8fHHNCvQ+Khw1oHBCQycptqZ83ck/epzXltl9fuZBl+FdpDq68PyNFM9MCdiYo6uI6ONv+hQM5VQpLNVTMSdn6pdC6YO1ZNXP/9FUskmuwINdI9aIKVqvbckD19R+b2M5KFg4ZSpkq/k2AMp/1uE0sHTwiM1LthzWmTa/43opsKFoirD8YB01ysR1u8/MEwJvDB9CfG4mElusGpbVruxlEiZCqsV6EuNoh1NPAvKGjQW51o/q6tv808bMyf5UA1mqEpf6pRPBeLzGCXhdk8E1uLtbCh9RDzcyh96+T4Wkaz9/gnq3g4ZJXUy9VGMrP4Kvu6mrOpdzlnoFRlwNwaEqYAO0xQZ0HONtoEs/Zvn/hVYgf/YQ12i2BtqNhrDYUrOfxAfgwiZ/vW4gBvXH4Uz1Dyvg4B70xIdn/K9myBYcI3OtnScWBZHscuJiM4kJN4tpTM3kjY3HNWejbPYrpJYkb4opnpWaRdRJRq2xwbUDGHUHoQvJOweZlrTl7zGufwPiowHuk5c8tr2N3X6M/6kEMDt8FcbuQadPwZPTIaE/9UGZ0igVfxLpXP6ls6vW81QmCWivtSD0wCn540dCNBeHpqw3pTgI+gGOL7ASRD0D3f3IIJv9oYL1x/ZKrwNUWojxX4o6AlckqYaR0W2HyFhggLLag4VnA+j20GhTjHwY1VKc1RYYhxvlnQLr4p9HHypU/d4WoiaJMBHXBx68v5OYpxSq1hRsP5YgnUxGUZq2QF7TXNAviv7H9RA5scpFRQNRWCjSwMhYHG9gIwOVT7U30D8W9I3D1ntA6O/C4wQMKVEgg2uAUJylWY7wtTqMeZoM3uIXhZVFaWHu3c7j3ecUlZKvm2hB0jeWHWcK6KQUg8SAgS+QA3a1T2eoIaHn6WK5h2HxX0SOH2kMqYQ/KVjtpIxrJczAgtju4QP0W8GY2+bU27tdl9kUYmGJY8Ts7BB8H9E4uJAldDMwCayI9p3GAJ0SVsMaCNaxtJsgojAkQwFlxubWEsSZt06qqWwXhF7Br+O7deslm2Q4JrtoMuL65Bu4AaLp7Bz4oP3d2+YiaTf+JQAMEXCKGGojibtIzxCXMU901RBHE04IxHmaaMpFfkg7HYQRuFxY9nd+orc46BixG34QVfUfx9mUU7UWQcWBe1Ckvr+W8TmRfkXfm4a+npxLBBxt3lWcBK2nTFGrVroy9V4c48gvT6Kl9216Dqq3z6GXj4AIHiLUEMzXNifaXHQpD7zxGN4VVFx18AqYTnQfzCJadiZxMQPlhA34H0++Q6gzeYOQUytN6spUGDC0H6c7FhwH+XBBvmIGB+RQgWSPdSPCy7IhOQ7R34Xg6A8azQgtHtaYqGKEkp1REWmba/0VG3xQn10JxR+pLoAPpxdeJ7Pkewzw9Jrc1jYIJ/r8a5BS9xGl/j6i9jk6UrirnZbz+mUCfA9EvLNRBO/sWk2WBshCPMiLtvyzIuPzc4+NWG/lFv+ErH2UOW23kl22K67BxCgunqOHSobZ1/Fqbg1hFT3Gbn0soLY+1BHE5uw9nUGK7I3s3chLlZ9mNa5jcNdafSx9lT+b3u7x5hdjlAe5ME0EfPEuogMG/sSNH9lb1d51pC/2nuNWufjPUem0foXfe6ksar/HZ2g5j0wlKz2a6KmbbH57fcagnBROJmlCo9x6expmyfRHgD4wMzk3+MhV0gpFCC6ZrIHabP2SE7Oe/hOmBoL8xsOTzfxfS0OWolX0w4YhbjK9Wme6YOXU+d1pnUdwzAYGqf4QhVRZS8gztfyUFcrA1As6ggoTgWrS399wL8IgxE2OibbrgBKluGqVbJWRzWCF3amJ+4PtogznHsH+VNffg8RMmlntOicRH2d21RNUZre7/Mabf4MsMaORUwqe7vfA6Q81gFQoiIuoenGtUyi1Rc9dUrQF82kdp9tu4FFO8GT2HcIg8vmd0KNwEuSRTSN+EQz0kX6w1EW3GdYKuxyqRNC/NGaMv1SyGZpe9FzmOuJ5MnhjUrI0eGL5Vq53fL9WkXNOk07WMDmhftkL1foR38VCJ9CXgtqhtdoQ/oMqK2jMV30A91O+8v6e+lEeyw99D0/BvqmrZDnyJOcQ8Wa6vwmgtF/CRZW8bEZKn4WPOHUr/A/hd5YMGS05+0sgOGNZu1MfU2Uuh37FNtmMxxUsxboEIz+BxdrDcLoAsuCnKByaeB7quGk8NIeD/izOP8P/piFemiM15zwLnsdTuBDxt6awLw9HPhduG8u12xoEH5CO369NWcMwtzP6enQFUT9TBnGy6joqUsFuLW6u7hXR151J8G37uSpCWj47Y0+QGXtvQPNHeiEDDNLn+CpbRYE+hghLU3cHJTyqtZR2E7iZKgJrZ94JwgZiDf/IoXLOn3XsBTz2SzzfnSStOKW0eWYehxm6zjnJi0ae1vdloxIsLhlKDOmTBCaqzS3Q40lz39fG/6AIYCMG2elsrrOmgUN+EgJgVbsbgBX+AvcbIc3F210yK/Sq89kIhpBC+KGbWYchIXHO+HCM4tVeNs9YbqBc9um9NP9Y/stifbJnmUb2O2Er5tUAW1y96vIlCtdBqX8g8QyoWvgsmetkcunIZvKNRooi2PYMqzGab4kdnbmU610J2pT7lo27Eu2qxqN5+Ho2Eu38XZ4zgYfvCpwSV8eKOxnbmsms2MwUe/QggAVE8MrlaNhqe/1Yu4mdYgQLdI7M6N1LuSUByeugWSHFuJtNbtFpD4xOEyDE8e+U0aRRPowRe0mpF/P99dAvTxGtPXai1aPUsr5CIGs6ewlhoDchCR3bYM7Sab/783sWvrcghC6eslx0IfHI6Yw4T4M1iDOZWdr/SB2/Z6gJxmy/IiTwOXkVfiCFV4ZC+niWmmHVeFJ7PjLGf/ujkhodvfvRNaL/yTIXfnqiCCksNZRy9GN/HJEibP/ShUCMBhmN/BZGbZ8w4KGNUxvgf14ytFUVrnpcr9UnclzAxK2vhzz8GFiK5apKs46+xX6Pl0OebqzB0W7AXIDfEYDg6kEXiqPy4uF/bfAwJ1TCMy5qOXk64Y9MDt0cnGd6p434k5sIrC2oUfGyUzqq5cYwuj3JVVxEv4///nkw2R9VMs4hPtTFL5acyXE+RXeggG+obyWvByyBz16GAZ99EFbMNPX3YIUW84EmJVqB4e3B4z6Mqi1ToPh8YuVimUVoQfMvsA/ULj5DEKJmdaWdjyw9PRugzDKXsN5KxNxIa9lIbGk34xFLSbuwZMREVv/jM7lA5MyRi6KfNy2HhWI+D3Srhq8QsWqf13zaJF8LSkPzf6fIFMZHjD2Sf5yR4AyYyHwoSA6ME0O68S7WtKGjGvWym1OeFsTHGOCZUF1peVaNKNGT0qMyXeh/b+zDJzaLEiLdEF9acC1IoJ4psSsvJoN91+IDP3o/7P8zgr7FeMoBMrmI3xjIQJmWj7ooNTNjY2GJyI0njIGkPvc7Rcb0PPvrnYZyOadsGduu2wSX+B000Z4r7D5LpTiE4yISvPa441kwFuEOENrDRHf7Ejzus1uFAMsDE3hNBxrbRb0M5s7wP/avSaQTTUmFPpaKxTBdU5Fd29zwnMbURGj/MR1l5fv98LPJ1Gv3ZFKelVw4+ofI6/kqQ9fYPaLp5IsNA9TMUhx26XS5E6II7H16EHQiG1BYHhWr1RDZ3n25CQhQh7rwHdhiAOyaHDgJhEC2XDF6A4KV5B8oXAGxclqX/yQRuJQ1xrHPcNkz0vpnvG0c/jL5UO/l5VF0hfmB2vUBwOMUhjahoR4xeLFIgw9WOWNftV7TvA8zvzLQq+x7kUFtG5FbPrlw3ai+LNkNuw78Loi03RsK6cbDbm4HqAXTUvRVS5V9hCQ0Jw8zaGc3sdEXuDv2tdJvwnLCFQWfzf5A8KOA1iGWZIiio6V9oEcDhf1apy0lMuS+5etbYc9Oc9HQiuZXNovukNZmrfgaOXEmB4PbqNkLE6mih6Y93eFxcQEA9SQ5Bd6V7TuAlft5/YexVo0vRmXMBPaEKefNOTas+Vesp9o0nT0nqASWUGl7k9eOjUEVuWdym1oKD7h7+NGnQD8dW9gaj1KJevSILbBNaAHHgp4hj1AVzDLaA1GN9EGP5nreK0OS4RcbJWpLuwrStBsAVaqB//hlXnxY5vnh5KAJE8/u0uASJHAtaHGrn+sWK7ZV5cnKECejv8XlUr8bpILOYjVWsxp+y58fD+tw/x5CmZz7+rEBVq81Qgy5wSTsMRA6XMofMSSnwSNQ7CKabMAgyHLOPIinmDcXuMHoiGwRmJb2aLX9CHsDhL5YtXPTPecdcGNEfEP845sMaGZFJI0AGb8MyTJw6Yg7G8ylJllGKBS99J5kILptf1cr+WoMZfqV6UV+9hfX2XULqfSJdPjPmy4iHldS8Ik2MYvRCTFdefnbQ6xV6uP2S4Ou7fwJKsk09jx93HQPMSGJ9JJRMG3BDiDXu8mr9zkT8a0GvjUW5sJaRjipU1N4/VA9/FHM86rpr0IWuwwJJl6ny2W9qL+qbUxVx50O00bfAbZWwb0FLc9gGvetRhpcudipjZGNAJnv8Pr385Z/K4F9gNNS0MQ2tRfm6aawyLFaqLSdhQfyVT/tVud/FO1fS68MMGXYhxrTsMmarKhdwMhVMk0KLN65i6L4P3a9a4QNhvKCdRfEm/c7X5w+/qtcVtac8mwAxFXD4Gh7HX/AENsnadtV+rWDisB1Gmx+wmweDeBTK6kfoW9VpI+Xwp2QwJxJdop+iu/cLf2NslfTxcGmQVSEE/3ln+nUdczuA6LCxbZi/PUGtuwX7k4+3wJ9GGpfIxsCz1fbZvDN8Pg0tzMTD0jbxawDOsxWN5oooz3RyZdammkLYZIKzGCkxvcu755b7iBAiReL5Es8ugJeizOB7awQLxkave807NWNKkRP72sEfbJDafrk6b+CBpqniC7yZ9FT510sTOPQLdrp4AoM4ere9vDmJxirD+5tFWP/wzjlfeFNouSJE2HZ1IIvm4IGBJ5/eSlgty8rQAXKAcIjrw3fLGw9uYQ6EU2wa/lCm7dGu43SHHbb4ujbYnj+YdDU6/aeFEDVsKwshRzCJU2RSkONSVCzcnGiVCP2+ipNFG7HDgCOH1WD1xNt27e3W0kRqRavrLJrLIo8zKCnAd1ayeUBFsAce9F0o94CgO02d+9LxXf7+1fiRHKZIXZaknzIJ0ho0LodJe+wPn5xupTev7CvxWdeh7wEeoYTKJo5KZ4tAEzmDVin/hWFiFr2I6k3atFdJJrs7MuKAvk/FxLfVwPFBDo594iMde4LuUCkb7SxBLGyA0qtCU6xRaS84YFSycEnxUBDwIui1S1FUk6UdvrOuKXTiMWJJwp6ojcYdX7s4fo4DZJfLpBvcyMuDyIRXIWZxqSGNcaLqt0HCw8x/TT6PRsw69rOwCkN2GQwKt9rZ8knBa5wb4lMJ58MFpZRnBJwSK9yqBzQo8a9qiC1LOduIfgmvDRhOCMwjOXrLkb3q3fQyt79BtNvyigUaR+bWj76mgDJzk7UmAxZQewEFng5awQqbijhMvvTLmGFc/fQQlhDGKvJaZBMAnQc/hywJLnLMKBwjc3ZaljH5tZs9/J0ZqznoGSm764sleVFnPY89bWI1msz4XwRrtxbKobZVStzI0Cv28Zw3SHfxY6VAY+fD+r4XxeyEtuMhIkKupGz2Z0ibfZmlpaXZ2KH1ejYx2BYW78ffJIX8dvBubarhxEXa5y664T2GHtbssgbvuXu2IlOtth2Wis+UyFmO+nAjpGaj4kWZo29CwMMfEp1sV9bfNlXUFYRMoNt0d+wAGKYEELjRqKMITzHD4VOjrH0FrR+fZ21NciQT7l9LOul5x8U9dP5V9V/oyXveJIOAOajPAFwrSGFiraV7dWIXGxQkjgEJ7i7s3uSdJR9WbD/YD39JoDxmcDhkyp8Mx3xSwBB2dwQZolXzXBYHba/vyxDj8cVUqnxvVpVuE/cbhnHor1Wyzz3K2JlaS6a3xvRkbkU6prjC9clYKYQTQ+7nl3RbOc4opR5rXtt/I014r3Pp4agJhUaHTvnxqxAIRyRw6hHkMeU0YaoGdnqJnWoxxpDGYsW1tikeIyOdQGMGP8kcZeWn+AwQCOLE1BFTstBGappz90k0jeaW1xmPYLNTDwCio5Yyny4h8yR64mvpunCWj6f7To4Jq+3xCw1R7GzspmT12WfPZvWreWevEHbsKxsXM6yn7FABfTgBgYb+v44Ey4cI7OzrQ4UqvxnJfNlVd3kQ4GELX1jBPeOZzsDkx1GN+hzIoSrxttJ/YSfdT0/X+fKRtXnfqAdU9hQCkWuSJLH1+cXi0DLEwHfTOn/BS+bn1xrN3yT/FvMVkliVhYVElKCq9CgdZqgFJqdzZpPQPqG/WO8/82rBuUXiQtKiQ7DdWwdUlsFnwYuvq4Qm0z22zS/ndmjkVpPqnTTCekxDfaDEQJr7lcJNi7VnPAzJD/H3PYhxRHWJJu6JzQdKWK6W52ZNVHa3KJhGcNaaJImx/+xcp3AmYmsYxS9IYMwfq0bHyr0IPP1db293x17M1jxqfCgB7Yozptl7z+USqpQB9qSPdtTOfyduAqXI3jZfMJzAZ4/QynUSRCZDVAXsrevWW54H2KNKfmunq0YgSwhB/WJXV8eXiX8xPwwW0igj63ZAY1zgVbyG1gUZ0b4Ffha0sUdfHy3ixUSQud2YYgvOuEi3qqkxIJL2dawmG7ibYwioeId7IKf9620wLkUvcoMoBlFv5KYN3y2e7GQP9q7aTc2E+o/BKDbZ6hQg+yCJ/CKchu++c3H72M1Ao/y5sOwp0ZOH0z92o89TRDpDKUWaxWT/XNhCmEGV48GvGKvuKAJ4ZQ6jKrO/Y7NnoevE2bxyLJHh13xtmeCxRM5qksjOcmYsWfGUgTApxhm9178Em9j0WBoKZ+HoX3HV/qHiO83eXIfAmBlefIshnlnyLLEXtQz1suLs41tBs+7aeJz5EJdzlqZW6foCTxyxIyB2xDZ2aGYoRZVjxvir4mtXseXoyPzz865FlmmTDi3k7nUIAlo+7vb3YBRb+NhspLaXf9NQAPfYaYKD1cYu+9lX5hI8Gd2zLWafVT9pTks+UlNmXmlPBIz+//egVJh4Deoh4rxDsiSDoKoGjxGnQjyMGskVYGx2od1bSRx50mTT9o7o8v49vmFhIq7Nv0ehFsLivNKoI3JHxrEA0GDO8yPEFeIHIR28DNT3BlaWMC9ReqCXVJqJwI2HpMY5dooL9peYxUxV26ePuyqswcXi9Av1dQQ7oieIetGrRDbbZRoqM2lAv07ggSU6V7IgJ1HpA0/W9Z4cbJ/6qkTL7+jXDAFvuN6yJs33R34Eb3oDlMmdSe/fuVkNIcXb5rmOqpIMJWj1eFqigS2Z29k6vflTfC9R3yVcp9yn4j9C6F3AHX3Kjdcet30SH1rPpQpy1Xe1LUOEataljEGe9+rFwHeIdQNjyIRm3rk8IOEdBZQmZTSkV6N8R2wFiN749GWSuYJl1jZFNfcxDJBLtEycPgqCsB6QYJAo30EQ+HXdP4YJOVkCT6I7wLACZBVI80bfctgY2YRL9dJfSEzThIqHcVklnEk6RbFhnbb9RVGicR5obEfNeLekSGOfq7MF/vZIcIuh5Wn06m0c72q6+dXweFmzxbBfwtVY4KmU8hQzuITUwhKwRu26tC5oEfYgkkYsxz2582p5DrQTgf3Nim4JDT5TBAH59xUaMP99ZLQVQIakaMItIP17N2b1ffm8OlSxNm4KCVGi+/zGLi1kD8ylbf7goGBsgSrW71Q8fpf2FEe5q+fxW4skoFLA6jWM+82prQ4AUohOMFjdWLMOSx3CP4Gurl3ic0PVrf8j5D5pXp0H8EwiibVn7ugYbrI/aNwZ923NOQvdI2OfZ1zhA+YA5jBPQW32paNR8O2hYN0hAOhQLBUbiBQVeSxE6Q04j5TaS0zXJnJHncDgmUbS7NYy4P3DAVYDaNRFVf1Y1zv30Fpwo9+f7P2T/lXrwGf7iOhtBrRAO8gpFYUm73cGJMQUmKm5ghfASTQg12xxYI10vtFSPeUZWd1PyHRUWzzEXA8LcwAv8ueUD4EybgL5LmK5yOFzciwFlSJ41Wn4OkPekrRqxj/U7LEcHMdqdG02j3r1socmC3AsLxM/iKRwCQyq5Fy60dis1bwEYbbRoqUeMfZTKKoK+sVK70DmIa2A1vgFum61s+7REzS3wkurkVtd573VHozRI57l6QtvF/wCZJ36NmQi0Asr/A8XRCSkOTcoXyJrNuGnnEpLsZ9AtzMW0f5BO2URwRiQaUL5qGRY06KUtEfIperhFNKNWNEJJQaXxvFecZa6A8z1IOAycvjKTdmqZZ9KieW7Me1+st2+EsPEIrgqCybs1oXhFHv/DuHSWJ/acnKpokWuwZRUYspvrr73EtMp6IkVi36h+1B7ydeQlz87p2ThJENyPCSduxAOJ0PKjtxiM7vRLNs7brtWCDMiH0gF1axH82e7RImQHwY5AEiIj+uzBdZ19C7b8ZQJIlH1zwSL5PoArWdYGYDrgG1x4C2/CxrvHvy20SIGRu5qgzJpz+mZ9lzscdXY+418GotWyukAUbdaGwtojnJASzFjHAiZp2BYmPE/CqOfM+Q+iIccQ5PHqAIIuj2GPzzj+1bOkNOfZcpF7ZTTZTb98MEpPbeC3GfYp5UWkOYt/5DiK/dinN/jZnNodv7QtbDVTMKiKq/iPf0RjvEGYbqTlkvqV8ztauQzy0GplTiMklNOkPvVsZyNAlFlQTDNfJ7iNmGlJTdEcZB21a/SEki3DZvcUg+mJperUkw9Gg83CtjlLYxS7ZY3/H+be9Xbqqisyi5QmpfYm6Vg+TC0KBO6NZIeQULGxO8YRsQ+J0q8Pq6HZV0+CQuTunjpJlTrjtC+Tiqs0WXF/YN05WsVP9EtxOhs75FsXc7X2Y7uyMSjPw9PXqWCCWD2bEBMUBW7BClXNbzWt3NlW4JOLwfycFIc/+5SwRPVU75Bi1Nq3BJHv5FTPiDllXlOLzWnCe4u9YzhxQjLrWO4xl7t1VeKWy4ohaAZj8dypzgo2eU2yBvs+0lkZ/h5PDodt3hIk76OIdE8mJxNRQixc6kbZcqrK/Ma8tsRDRN9tKwH/lUvk1+kB1TaCeTpyGNGkJFsvmwgvIUjlZW92HkBRhTnb3NPNrszMInDatzN+SJiwVI/IvCQVJqJCX4pRQy8fifHxrIyMgBUvDpYSHaF9493EibG7FuxZWXElI5kL6mibTCBRqjORtcAF9lPo9+eCEk9shUI/n+QK81zp13iQzPx6AgiBn+l0FWJQQxnsPkt3DENuCAvYwovfv5QH8/nSazjHBUMg1juafxVTMyChooCp4P+NHZRBEg/diYqUTPbi+k+RpwtFQXxasLbHpH9XXdLGWI7g7Io8gFm1UKyM0/z19zwZzicxrtAUS4SkG9Bkb7i1/N//W0X+RMYcPEj1+DwmP5yHXBsc0rg9gOb8nFXHJn2lJGTnP4W8YRG3taLReKxO9ZhrGgPFMbI3y44B8w74E8bL0zxPnjQFMJmg5KLiYBGISXACxtFnDJ80WBjKIxtsbKmon0lYZ2zI7ZYFqcXS9iy0iFJX32wAGkTyyIQhnW3y+stre0Ix1lHiUtsJIypQjNz5k+orN39w1k5rgtszAeutoTb/KR3Yaza2JkHBPxoj/pH2SJSpKkDQisJeDr/wsawXrZ7m152kl6b+v56KuoUXJed2QsjxVY2zJ5JGT1UZ60rYPkJD917MszR0uKuN9YWVBalzgkjgzyuS3aeC8JJE5RlKKEl8S1bybb2yVi9d2xVaTUo6lws6UCgz2oJ9Y32yqprHPHj/ixWFwzPk2OWIZ5/Vv+3ROd6gtUEO4f0N2YZW/eTt3hDtTb/19+QwrhsD3rQYK1SZWyKwX1Wo3jKgwKjW6/ZjRwt3E94mMnQC3oSKbIXGgUevHFLTiq48KxJRjYn3uTnY8YvBx5OmfaK8E7p6iq6uB+r7pFoveDHFKZunLALjHKrsqeeimntfup2sR1rRxM3I9KjFIMIWchYXK4JR360TAFQp0sK0me9FiRFktohA2rouSHijPIm07IlAEzzudH80Z42NY2bbTY2ZGvz/ISIkICHcO8Ikri30IRSec6+ErvCvn8afsnD64R9CAheGdm7qmvrdPF3SEKqvZ2utbGmdotQH+1ZezQWoBy6F9NJHxaMevekxzzQYdEMNaA1qunoRawat9oAZ2ID/1mREswKOMOoN1s61hBhD8rxPQWSqD6XNhM3QjHzFHPOLFMOo4eynJk2GzkP2AubDxxgrx3PjEVgS2F6Bvs9/WkECTsi0FyFZutUJZaWFC8lzT95j1dVKezG22KGyGHK25XFdVXAmERnfckyl8ApXm6mNJu8fu85NTKy1BgH8nEEsUFEpi23NsW913oXj5zpx7CGcim6zZR24GcXpK7pBIoSQMWjvmK8z/1P5imc6P5WJ77KZBdX0h1J3BHDB+8rgG24AH9riCl30Opgs9S7BRkqcBZW9RaFSQGOtBh+CgUlsIkc/G5jks78eXoDtNTd4o68BclXtzccKBebQ2pT6zA+aQ2A25Ht2aGwNoQEodNkAtonqZFR7bQMOD1s1HXvlsIqk7J+Q0hTPqFbiQ8JlK80Rc3CevtREfFdCwFVenr4JBPGD+2GHBKc4J9A/izm/vmblPkfViB4QsWl1nH88M1bCLAW6JT9Y1mCNfFBFQw5dBGvdmAPZn3U2t8o7JSa8DSZGTaYt/+EKaCJAtGrkzDuLj1gBr0K9r6FH1pWm/ZryCx2v4jx7MAGYSfxh7gk4gEZpklWd74mwRhfKxoacXhc+d3V7BsQEnFWT4Vm8cUoCEdObSxDmvSfdSl0nxGLLbfH6zGRbQNPVM2NtQg8tuR+Tisp1vTWihd/lBuM3hq8kCBlZB1nnUBW+TfYrayIUbnqFIeYuDMB9XVYy+ZfbAodjp3SH956LXfWgeUiYSO9PQvG731WgiW36wO9jC2+qDmacTEAXqCa6lY0ZGKKv2xyLWXgxnMo1sV7Gl2SCZH1sIyOptlnVBs4Q+ECwmGVFroXCeIvRUX+B7OsHc0kgtGagSopJpUQrQ0q7J1N9wAP+72zjiWAHSjrQXefBdjytaOwQUr1rsMVtdM/QpA8Fz7RxeNxQsAxDgg5ClJEFifC7D8J6/uCnCP4z6np5KhnYUBiU5H3tt6NKIIFzcah4XMU35TgBAepxY4s+VrpX8UfDQW5BxTkgg9C4/4mjE2bdBJmhXYYTSpG9HBgzDmvr7+Gio0GiIrdM73XScp/4YD36Fse9/3E0U0qPl1PjLrT6BprCTOwEAQtY19QkXtM57btOei/5FlMFIjxXOpn5QB97daHUvIoRt6J3FuCecNxyFm2YcgRYw4Ugh/H/ab5vXs1xT6qbONZotiUvbCWRJMNhwuuEM6QchG8ZkyoOMHYBVUmJif+O/S5BQUYnYXY2VCY6QFTK5GfTRIdRqrNBpF1ffSRXRi6HqRbFwPHaygSo4m/WRTIWNFWvpB30IZRqDudApcyNKqSvuhOZo4uwovWUbphilTLNwupFBtWHU362b6BsTysDE1uELo6YolUSNmf2rqYnx0qd6MHHm1YdrEabg9jFkFc3iygqJU3ZYzGuElgveGm195CvJ9BBxYnDxiqYRcWuAqIlPEd+kKaTEofEDjcS3/QTAusKKI3DjdwPb569tR28xQg65zOddtgsl9aWJFXtDFGaNVVmd/jEFzdF7VGntu7g27IRRxziIvmBrM53bu63Eo8n9FXz9jCNb6P0yvHhYlEtkB3iqQPKuJjP+QeViV0nQ2BdO+uuKjc4xN8DWL11T3bfjXk2+g1lLvl0+VsEkKM9dHWGhwRjaxuhMrwdOOX15tT7EZp9yZ1xx3nb4dcZp/AG98xZyxgbnkaQCIg3uIyYixTmdb+0SJZY5mfXK8ieFnCFpjLNy0uZdzfTdUU1NH6t6pGRZsLDt0zhY2zJS9q72BIqEI3J3qQ0a14dZ0eZT/Q9yRbj0d8z9kmc3bO1XLNrcYBZJnbFcfoCj5yvcT5Jdv0rnWFcOPrbZ9NZN3m2j/nblfxBM6Oloq72fnWkgXu0DZv7grJceXFe+3F9f8cDO5+hixgNy+cqw3gBM+VeqvuNVcHOsZkKbSai8erI4TVVlM24Q0j8fyYsZK+eLWE71hILxsdMiC8vUKLlwqXu+iimSqdyZ4UG7hTSuujyHSfHO3euL9ePBAWBb32m289n/oNH3EAj8RbMfu5Ar4jsN6TXla/HiSAirxYXuGBTy1F2I4mjnjgZjdrTRMoazBA+2cU+9RTSICmBtVCDmD1hgzVeBWsmHHC88OmcAKOUTb4By+sB0pVwntnVO1Q7mLH7DIba9GZWssqQm3G7kkyNub/y5/gRue0QVDyK/HoGt4Aqyhb9bBJkIjGWRTb597igcKFt6XEQJqAsM+zhsuK864nswWkQbrsAopFxNORWyaaT71/smq8MJecmOk/YCUOdecI3G9igGQeHvupRnL8o5Amkd3cgNeVaujRR/oI40QvKrGrGbBR8ORmOM2l5nDJtnu8FTtA74OUFsd+ycxPGrbRXrfO87VUT5hBXm4d+UIkO8LXxpro3k4k6vgYLA2p/FoAFbWCCTmTWh8Zz28o2ZEhW8kDGlXfxrkXb8h4sxjheVQTLdPULcy7tyzA/HyBQBj9QCHpGJtKeQPDlcboKLUn8BVBvi9TX7rI9m19Le1lhJz5USF8G/JDHWY/GvPNxK9KUTWXAn0jB9GIArAdzxX6KCIWzX8SxrNxkWU6ROg1eN8tCj1TJxCmRxCptbXqC7M1p1xEXcRSxkEO9rHh2TprFXx2viHrH+R5cmPlDq02d8tTFWXq1HoaeVJpM956KDeKn0D1YsYmNmN9WQqddSAfFz+evlg2q3eRkTM3VuNo7h46BgVYuYVS6rwpaQXIR+pUcdiVBGjnuoI8uUMR695y2wVYO2UOR5Q+p4pQBE1KfhqXhYDTYgHZMcDfV5Qpatae/Q0WMvGcqdvufhCC2aDyY+Y9T2nr6FDrghGr/uL04gsPQs52fmsK7c7KafL7QsK41i/kjjqgA1pWMZSazfnnIFm92bpf1vaO1ULUAakFwXkFMPzQwt1/nj3bhq9sam400B8olFs8cGuFvxFApm9yjLXbSiJBglStVcoQsi9LX75dCp+6gEDbJSaNYR9yU3yn+XmilNsS1/EBEQz27eqWtamD/RjyBXuTMWIG3wVxcgYMQ=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e3IRofc58oivK/ctSK/A/HA845yfDizhbLaIFtK8KhsvJ6XFphTkcfv72XyRvk3InYdwrOZF2GHYGLv27NfNmi4kXFcqqT+FnPzYDzt8WnVxEnlxj9gejgs7Ny6kw7Bue+tLJG2vZl1e0weGQx1Ts3ryN19Tw3Dal2g6Qc8lsFhQX7HQkszHkKxsfBLijM60Mlc6xPEMqTan0bSYWlHf6SkuHrAuCKrSn9ENaz8S6hKXtOeer5X+yagBQDewZozUsArMNCOHIFYPdYcrW+4x/VBkRJV5C8qOTZzh9ZUG+/tjWeOT86TbevbjI1F7Jn952ybFy9hNc0y8cSsvLUzB8+9QFonAzJE6T4oBbmf4T75ldSAU7udCtg5a/glwCvJElPLwqdqgchXl3BTi+rHz27WTTcC7PksaKvUYlFkc1FGz9b7YFbhjOR6/fTAYOrOAlnqY15KQfBKriy1HtaXKRP93V6kbwAGPnyooWAJydtdsTSFUfR3/gvnsB61OhA3edhpzOSbRYVcDFQELYHl/wto8hGYVvwI0CMj/wArDhV4/OGS7VA1OlLY/kX/u5L/dXl2to2f6w8XN33LrBI4QGIM9lPC6ZEQqSE3MZNQXvKbzsDMnc1xx8nIhdTOuY7KucneEkU2asYL7yg8ixxs957Y28UVsrF59HmphdEfeGBsZcSDsa8BDu5ARltLlxkNWSUMBim2U78WqVNMjY5Eqi2NmAw9p1vcG+FR8kZn1XOzRH4rGqzYMBPxldpqGk1oHLSPZpqZBPArCf4TAao/BoULpHMwqWwGsWojnBNfqKRSbU0SO9hvkDH7Q4sb36E1tazrnS8wO4FmgGDG+tCn8hqlkbhKhTuwnYW2DX//jo4d+j4Uzwtk6ITcHnMlU62c2ywkJQWjf4lLMiQkLye+OKxJrvgImSwLiYjZjBQDoa6POjJScGmos2KGTTLQLPoyRIjtjOBB4oS/yl7LplZABd7ZBrhTuUhm4DM61xvTVeN4a42E2CluiO/mMvzIB/iXeXtUNCy3YiwMTdZ+mb4ZMAPaKX8IK7dtTP48w5OvaixeyjrEcp4pSCv45MeqJEaDBKONB6On+LNg7bRDm/0WJPq45Ni3aKhLT04kIJzQUQIN5FV0Xbcdsz+gbhISe1iB/E4ysT3QBVUxcb1eCjAOQT6Dyqoi/bqxJTgqBelVaBo4NHHWk74FQzsb3MWYsAip5G+LNNeAc3Jmynh3WH0hEU7dMZ2z08SaceveAuObG0LW9RliYX7cVfEZZ44DX99WyiOCxfLTY091wPneH+hoxSi4triiVKwzfb8znDGH+Wyfmie2OjFsOKSjfMSZlrldQIUDXblkYQa/40iAUVd0OXIh2fsLNDpP0AVPNRXD8cZYGjFhC9qOVFQVTyOzDEaa7Gh8D8D+346wQieNtsHfrPLuA5uDx6DBudx43UnFOttqN5dMgtI4LRdL+Km2SWLza9CRiYqnLOgEC21X7YrEZCK/oJTBq9FhcLvCPpUiHyvRUcu0V5004qiWdAU0S7dUKpUqEZnfU0sr4UDoMg5+TBPt8oBv77k9UcvS4quHXoESISyBRnSfxe+aS3RqvJGFeFHkVGQ2vvaI4izjHfYZVwN7Rvf1OQ4o5jwfdUy17DrSQu+RC0On9l1HffXS/L6fHdNPCBvbJDjuK+RpekgqMdl5+qHMSWPply9wDwCEu1YZNKFj2Nccf7A1oFhfNfs4iMDu9T8zYeTjvJB2i/XYmYqMSTam7mrWN+XcNI1vCJYQpkckQsDG418BGiUnOPFFzehzv9chFQgOy+o623qstmoqX2Pd7CNod6SUOgx19yFL1j6zvLRlbwKBoClMf5qFc61mnW/m8wkNT3RbTcTHVOruU2Am1vgoCWnt7lHGUW/CYphkvm3+lUAJ4zP9mZuQ1TRJTpex2/F4I5GJJ9R4NR5dhvxuUBv547Qb7MTgtGQdcHrDBrU7u4r7H5+D4AciRbLzEbOWn7rNo1Olcg/NtSNno1KQNpfqQyeC7KC0vT5w33OGZsMU9yERx4kLehLWIyKc5s1cy3CfShnA6UZCxvMihz39cnvJfqx2G7OM+/wB16kaB+E1mngoDZwEJLGjqyShpV+YwQh5J4P4lDBEHfJVGJNjgw/AhBWkVNX5m6HPdnX6HFGH9meqjEh3G4E5QqRU6GwR5USSkLuHKniAIo3f7qttboH6G9a7aOq1Zmu/p+iqxceWVdaYs26JkTflqQWZIIFrnvCl2FrVmTFCl1YNDoQlf3oeN2vXSbO226zRhLMJ4yA4Yfxc+C6h0rWtfPZUw5KZM9PxhPDg9hU67TysCTmWPU6gfFqemLx5TX0DfCHokxvcSK2dXB6Yk1ucDZi6FDsokdVr7M4r2Fe/NW43Yg5QDapAIu8GHO6+XfAvzPTWP7JzJGO9I/dmPJcRMf+B0v9s8tqmPExiWFSmNVZWJr5VuvXRTZgtee8UilhJ5UFr0bbmmNHht+FVnGZaInTlSmDL5d4/AydhNENvjORN+ab14v+Xe6Ro6gpSta9k43Dcfe3leFcbY0KPx35R2/pJ1qPsjjZKsXZOfbRxSljCtc46u4j2m4kOBLVcfpQ53l1i6QXOi7e6imJRSvgWIURk/15y9+kWNFbRSNFIYAErD+85gYT74Ls98G0wXfN37Wza8JRd0ZfqMJl/TEmmVUYzFrBgHL5zjgdGhDtlZtMez8LKFonxNv95lqQRQsWospfp/r7b/ZhLpcv+8KjWd/Fkiie57NaK9xUSJUIhQaR67ubSrGj4u/397Lzmt1BfrvbtmYtGS+KCHQ7l5+pVhYTtJk2130CjSnXg9Lz+c+pd2cdgqHcLQn8xP3KtPNK4QrhuFTFDbyE051b77SaKYOKD09u4J+umxbiKYGMO5PmOvOerUxp+bX4CZREpQJvDCb4PtYdba/jlc+swNFVVvhDz0gU0yp77hg0j0cgCy2kjQGICcDcNEYALjIiSQPm6q8hWz/rHnIJQnm8+L8BJUFx8IPHkUkaGQ4RT2QT2imG8bmuOoRYkzJVpqxG7rge88IBf60dLUQ7CRfdN4/QHNEb+DhGJF39IhlNMxDhMuBJ/TaYzywf5Ybhben0PLAbIpguFtGFmj9h1n1Scnzt3Q8+bHSgT6vrLTbdPGGxUXUIi9onAE711wKTQKrdhy6Vk863mJstrcGMdHMmNJ+2NmHZGUV0ZBKf+wlNGHDFF5mj6OJuJpNNG8SHjz2prLlLaOijbBShAc+Y577ujf8I919EXbWk9obq4CVLN6jwJVuZvUuDqJ9DFdFTQ51zYI2wIybDAJ5pl0+taSMFiDE6xzKVJqTwGyf0rpTACKHgsZ7aEGMCq8wt0NPW10Bcaw5ccovGyZRISF5RRCbymIZ6QhpPtA4VBmlYDj6MwG9HkBIrNQcYAPplJ8xh+i83eKLg/9DWuvFyvFpB/13xTpYU1XVwQIJ1Yigx2fWUik+2q/TABtE5FufFPz0V4+mISNzlZdRDTe0nHirvKobAqXKlfcui9rayzPpGlfuFWWux9VGTs0U+b3XIB1M/086PYg5nG8wQGNoQG+TVG2Q6O+fLsSHa9lIojir1vt+IDnPgTFMsfV4OUlk1Se7Lf2Myk4CTwKWx0UnlmlkaGgFuefPPjp0ZwDYiSNH66LPRNIc7fIoEvGNtQZk8Cn7SleIIAB4YlTxI9CD+yX40kRHkGcE5HG8rCSkHo/ae/5Oku10nJJNAw2LRfnftd1KuqQN9ed4/HAWBQmjoby258wYkVYjF4aTCQ8b3klGUU0SDXWeaBKcwGWKq19D+JOHpvjbh1ZKnz4oqry6P2RC4b7uNXuYmIuqFb0/+CR4yBmw4WE6IBtzw5Jg5fNveGYiBdqg59TKm41YlZe9JVb6974NsCAlz7JLDXT4T25vOeWKRyigUNWuL8xSMwTCv5U1ZETRirhfN9WBoXPzKGpya9YPp+opAZVDlrPuuoyYvZThEu4IaT8/beDcK/QCbLLKH/wgn80U3kqfzfWXU7njOIDRQLJkz7rk6JGgTCa2iYXDdCfNYaDNd0l2N5ZHNFBquBF8Jml2D/hotF6t18LsfLuI4emZVzewmq3GKCAvN8UyUGKzlYD7EOG4czb9pFtW4NMkJr9mDsnd1nxCVhOiHJPhZ73ryqT7Wo1E1TEP8HIaBnfKOvCKEvra/rHcMYwIjVncfbdZM8nu2Xmj2NIsEm1MaVNBw7bfvqZYYmEZl50spol/PFxzJztlh18tI1LiKoHt9y4O5OKteDkbuPqUXQhpHZSvMxyxeSqrqqYbE07WstXVD660HK+UkNMwOhK49WgQXHwkuVRPfm2lvDIYq6aRhXi74sWKqwoI7DoiT5IG/OjfCDrQLAfsQqa1YvlV6Hp4pDrAO8F+wkDnBUgcrFI9s0kyaedQRPxsu8OqVB/WH9jFGxHoFW5I+tA+/QekVEA1zVTuypvIFhJkrOE6PrOLdHQyivn2OMi1MuSB5CQgCaV6X47HE3CyphmE2pZsB3VyKDSDi7KvH5hz2pjJJy8sueYMf+t9B+EycjSInnuQlbjD505pfDVuV3yzHcTUNGRKc/bneyzjGrzEoq2zAJYcdk27tIh8nw1NTNCb8S3XH+Iu2frFYSMXSYMBoM+1vAS0xVJhOQn+rvpLEHa2e4fGjgBXBPoa+eThoCmIY6DAPqloXlUCzMGwhqYc5GrgyM4LnztrVsQQGp0/t3C8ayZ4pjkcoXt4NpFKwqprpU8VvXCZwmhNljlj7wcRIqZ19s3izHreIORuFaoVHRwzDCE398pJIL2jKIn2+DAUR/FwHotKM1+pH5UwK8wXVU1LGZ//h5eJ1PPfisGTP8JJy1IlWvRlXd7eD16vaImfosw6DzERWRiAIkcniT4jqSsRRqA6YGTrrL4UtGrYDRRPG2hbY60X2lp9Bq+xF4rgU7nIg733EHgRZsQMmdL+bg4Dvo+Skr9DjKKziYJ3xy/esnBaIT4QEbyhZ8nn083B1H6pd2ys6WOWrNPTsLBV0SVHxiKBILeg8a1lcGNv3mNDrGL0jKoiISYOhUJmSIiujq/wk8ILlpro+nMlW8d7wkekFFRMgi292mJSgRFNgE4Q0GykEjvJvAca+/cNBcvZugyOhA9kcsdJroyH0Bi6xy+8bseNeKwF63ueoyQ0YVha9ZurnodmKdgmI/hm/sTQaeK7XXwueLwqr7drySKx7ioh8d3eShReWi4hT1WT0sFr2C7M6SVQ3HBoQjxvNl8ZyPrL4kTM03ZHLBLa05EaiXcGSFgaGuhPiolAbBNLv9jQ4IEYk0cvXo64R/vCSEIBiPjQG5gqmFlJ31wNGp0Jxh9Ve/rBYwZAd/1ooNcTUyVWONKcDLv6OcjhTuIG5ffAA/10gkjvPXtuhda0rNQWFIQ7+yasj1xJ044uYxcFTj6a0mWC580qeorIYNXdskLr6TA6Dgqp0enxxy0nSDl5GgB5iKP/X7DWfIdYWZ73GePdXCpnYMbWWyyhzJR0FQJUCxA/4QpSLuFugGHF4yyKKTNU0LX9xyahk6AhfErE/6W35wSBRrqsT7nslKYpIgjd7Vl4KdH8eyNSyfy9C3usDogycOKowGxuLpuGTROm7GcsNphonnjzPzmEunzfoSj+hQu8pUOA2trQZBMViDSkhTpAGa0yoyC9F3y4022f4ZcohGXMbTNv6LPxYD0P94GUlDj8xqCSgD0ZIGQ94/oVfCoBqorVQHoyHt/y3ceIVVrOIAT8N8/uQ/KwYn7Vi7mDe7mesPhynFxAvzQqFT0XbcBd4re3035W0LyfzpGQDAV4xGZZMPhplPtEVYX53jITrsqWFoeyqGKjF5s8YzhI4Ag8h6+DoYKEqOBYlr4LjTShEUJD/zKNCpb2KCG0p02mxxjm1totRYg3v23v4QROwb4rRnQQM86SBewiAcGcQSJqnsBnIQiekOT3M4LTzd+0Vmhx61vrR0QBrRcO+sq78O+/h0HFoYA+YfooyHvj6DqqJ/WIys1+OKlpN5heWehHVTrv6zP2S3gRL4fjKGuze9EWw/ZzbBOVIb1otTNN9lTPEXJ4opNu4//MfF2Wo60WhMMcyX7/Jbqad0FSrx24bnPFF7jEwmCX1pMzxH7+znFwf6ixXQMDb9VzRMcJSWQIpah5vfzHxxM+EtQkFcRZp2Yw5RFaPt57ZP5PWE1SFFbgMMUTTFG5vl+L5gITqGM0uVxYJq+hGCr2DIpSPENht0LRf0Tk77JHjozqZMjwjoa63ZNB/l7rBCowPU/L77uobylOZepIXg5d6zHkw5tvrnPD1NE/G6whtd4AAbUxBMqh8kPjXkWJ2F33Cl/njaiv2uO7MuJcU6bcqqNHWQBDR0tF7ud86Vdm66v8vRKMpLk0yXDPvGMdcdkulROr+piR1nhNjoyh3hs5ThLfwZzjc9n9bfzSW2kfkBbWn6nvJ7FV+yJfEJ0ljwbLF7hblFL5Vk5RCOV1C4AoHANXvVL9bgEJXmq9AhWfsFDsOFKP/PLYKthWlwl/9N9cJjlGpZ0XN0c5xA1M/qlOBVh/F1iTMOjhILnWNU//8YBW8fpiA4WHIF+NCmDJgikPfJcu4LTJxcOyfcUtglbQzsHu0VSdRMtfwpBHwudzw+7cKhXV2seIxmIAENvjZvuE0T+pmlZph8VgW9kij1Sdg1hMy6eNqCz1b4cpjBvzZDJy2ukBBXN4kSt3uXnX6O1eK2zxMrWZpPNThjilf2suT/5GolFiG7+P6SSZdO8zjbe6fojYu8Kdevk8naoQ+tim6MTW3doMRQ0fX6zKTUlQc+x6wk2zq3aKcrwqZBJxK64AIw9wXv2SfkrjiyQBya6P16OafXY/SqSpRTNAn3Pw33+DyzRkLHhmMqpl21RMLM3I0diVlahzw99Z58I9Gab5Oo127D4nf0I44lKhumrd+irrQCESPPo4n2Q0oTfCbqsO19SD/IdYY6JGk0gkLE9vpw2O/YFOg3urU5k+5e6+qnj84K+qB4ajD+JuYn38R9e3f4A+NI8+gYW3avdDbg5+4Ssk+NkWbp8rbu1BRy1wqLSrXB93srCLEdc45JhTSw8uiGZ1TkaHMBNmlW8DvHjghj2GaPRr3CwhqVRl25bRM144FuW0xgnUK16nMM3sEN4BZ/Q/nZPGWe0FO9+WSEqVTaz59Ma3nepxnolwAeVHrfiROEak8dtFESD5zpIDK6w6RLm5sl24dZJfvk/Yvr/IldHWOtzR3DOGf2fCK+OzZpybgFakZ93v2ubHwp+nbmEbBcMLwwyNFP7LsLbAx4ORX7EfURhb08FPSoTNq+Dz2qSy5HeNh6S0ahJnDzHevHKlyNWgDFUubNJnl3U7M3yzhbVtZ1yEtV7fwLOsdGzt/f84b2jxr+BSl/2cThYpIN6Kvh2E5s7h1R3vJHTTQvuYpslb4lHrISM0GpDJZEr9s8dQHY0e42SmSMGskkf/mlrwLU4RK9nblU4nfKlcN5zyn3RsYla479kxfeaCRO/kTZRvp7FRlmisBBa6gG/opXUasFZMjxebVObZJ0LjPqwbzB2bCBYot35yH18b5oZuEJ6yIcrYfCnAjeDZYkCWomp/4fPITB6YVF7FDfH6N9G7uJnIOffLx2I0CVnh8Cyfe/nzKmI1/2SBn44+P0aNPUFEBBRbrUBrDrZLm3JlxP43y8sY/NplbI5KUSukWtRp+s65Gs9vRo7RggKYPCIVXoYoVdSK8X9ahBCTzuMDHm3MFV5sVTiU3t476hFimy33rxsjcjyDLb9FDLJRyPTnFJd1HDszUP1jpyISEREwM+VJhkDIyb/gKqt3Kv/D/W/oDKi9vha+1puzaBi+HD864QsX46dU7BgmJGKujY/hExydV+xU4ptbPbaj3OfYPmJ8G3qm2j27IffrKGKyXCxkCiF3x4m5N859NiCdnxHLod3kEUApUvPkIrKxtStLh2bQSvU2A1nqFd8bRw5ZICvkLNnzVQfdyS4gDQzFtTXDxAge1jd60vk8kUCyte2ZiVB0X3komOtwB1XdYF8lhdNNbR8A7iKRBDkSHwKQFA9CMB2O3B/7dcmll1k6mNP3LwGboY70+Q/oG+u554nZ47RyDkAPYGcluvWQb1RZ9e2vVbeiXutiiYedfS2RKEAkgSr3FAv9Wzf1Pz0JeGqbXljGjMrgMGnKU/UJhUKs6DN7HyCritE1Y/g+v/Mr08dO98H5WperzQLDtxtceZdOfQL54e0L+Z+POgmTsWQZn97cX2CYrkDEidv+erRRvc3K9PsPEYXrjJPkWaZ30JD34qoLt+2JqKxQlyqym5yxcnr2sDjnomulOA6bPz0D4lBUAnR9+I3RXpVF7cfoLyUCc5SbXEXbfIYpqyccqneFawV0mwXgevJiL5dqZgWi0NlvOxrlwTH2vv0QOMQ2KPojIPGIQuppTB7z02SRqwBaAnIG5ldI9f7Gkurhtz5hYmxkze6txz1yzrLQ6bi6ZdRcrPuh/rlSXXBBtTjJV2bXIzGKOPaVZ7rZhDogeH+lIILEHLLGoyWbiAe/h/a7JWL5KaAIyuOiiI0YKlZ9XdEsavG7M+gqExKjzgm7NCE91XhEigqdsWw3gJOjtStX/7i9ikbdb+RrUZIE4EwQTGi2WkV7wvvo5HHmzXvB0+yKC9TvO+Lvct6GEhI+Tbp3PW4mGbA9kI2bN0s0CCVknMPZT0K8EwxmakhXpCK7aR2sHKXzxafF0sOiQ+U8nodlx9MBs5an3S71a2NTVQKv3SLXJppfq2iL4gbyfZgSO13Sn1hnMsh2WtnkKOV0PK9X6wabkHg2NDaOHhI3/DqVIebdfix8Q64G0stC/Q87T6kJy+GHrJ/dVrL6eD/Fex5PNDgAY6gSHCVKRg0m7cnAZtlHViHOH6Nb02aOcxngb0AFOBlTKbHqeRDoLD0XplYCSkp+jvWl4/bTT+9/8HN7Il+tw659QPJ2oJPrBNib0PVdN0B0Kmg/Uny3Uh9SZxHJoXDOgsU2DcglgDK42J3RxdR6abZ4pHZLAJCS+10BK7Hm2zI6k/BIlqyWOT0C/J6141GEb4gXSFh9laWfYib0LC2DYgwdeZdYn620E1eZalxZEksFEYMMXb4Za9Wg3AMfH0jHg0yWPW02nUWd4pcMkxDKOVvIye4sXnW9Snv+c9myUrDI8Gl5Afh1SnCaekTr8uRQRzFNIlH3Fik7JPXpvRMuGnki85csiTskfP1VYlwrPBUOuQZ+XK6OljqC4ZtCHXEwDquONkAHzZgs5RQb+urL0Jn6JW+Xftsyi6IRJUUGc9OV8ff0hZtR5dYr45XJk/zd3ZH+ob6vIPGePaGl/dMoAK14wSaUHqTin04WyRIDxmZ/Hv/J5MoWa59g1XSOzEWuBqu/227HinUly7dIB0nXKJeAxs+DGcMs7sSAUySqg338f09132rJYHSU1JXE0NaTJJ0ymuXyH41IteOLicVESiXlvwwz9qTCPxABWfpI6hPPbEVesyeLMwsde1Bkv93QjKmTuDo79KVVtpD9iKMFH0mUaZj16kJS+77FgM8Vryetfwp2sCI7h5vMwf/ZTLIBiARGQ4ZJT0Da6RIsnyTMkVS659qhdt5Zv3InlR6bbF7y4J3E0Gd+IJP5mhOmsaEDAvF91DWzJoi7cgScYmPiSZATtEgY/Z+yK3jRuzj5EcPhWFx8Nc6L3oNREqdetDj6crt+oV7lPIAplEydIlN2d7kSapbl8npoiFk+b6u0Sn0VNYz2Ez8RqhR/4CoAqgGCneqk7Ec/zNHzKvf0gJliaEqkKrm9uFfBcjXAs/4R2AThQIh4yHr9eVghza0BwpjfgrVDN/7IOF9KUpqP/LRDTulKykyHYL87dUEsyULBoGt8iPojpz1+OPksz4KuH7cW4H11MNsvISK5Z7wxuuJ1uuV5ieoDU+b4Q0jgRM1tp7l38+9ILBwSVtUalP7fOft4dFYb/SJyoi+j1OTUzqfSS2kHM2QJIrJeAUW1KwQAyOG9uAbVdJkzpw5g8IfOK/2sOCtuMmCIPxCpKKTU6sso61rL79kJQguK52wQxSwahDSMMmoJR9fWGcpEoj8LDfHOJMaXLuG+zc+yE8h7o5Le2uyULIzy/U/nKgHcs26vcPy4FRcbhez/3MidABxngi6JZC6wXgJsIGL+LVOWPgp0hUm3fyQg0X6fW/UwvX2Rc3d6bZKvJrYBKH+uDROiYAssO8agbuMQ3AGbB1zj9Xo9u+W1CD6NhAdrqooiH06ChxAihYczvNPtAaPwJjVBdcPw4knI8YyXaIHJw69cRX6KkuJulLqM+qNjw5xA/p6zbrtQVxjdTEizxjXWq8MdMBnn1s/um/pbStJmlMTSEb/YwNgb4nYYdD3EXCOhlmo/Fk+GdNgN0MqRGLNzc40RIQvWRAEPkutOz47Rf2Bnk/M5wgtaGKLTKk+E/CNoF5ymXpf6JZA8SbU1oZgpfVs7C37P/kNNsiysiVPiQrHaF0Wm/S083Pg/c2K0KZ+wF/n0w4YBjaPpYx7gZk2pn5vVr2JnHDjzQiDyZtMpteuu1nTtFnv8uwNuJ1d+V8iJ/tHR7V0xXG1rjP3jOwkZ3y/8Tt7TAAuITGy+lsvMRLjLhE99zpimEmA1I7ElKXtXTGZRSJ2Rxi9pj/HWukPGtXP411XSC3EsIKqIuEcBouWCueBF/GNGjn3+BwRFPBAIomvnoUnU/xW9sSZCJu7errmEKfA3WQVn2KasWmdNpTixGzXch82zaX9couLxvV8Oxb4UTP955fDQgxPN8LqVhFj2dKTJ0+VbTKZYK6TkI7rWbjm51SgLUtke2smgPWrQ8GftL5CGR7LTr0w53GA2YTB0IBlGqyadDJ3SdWFQIDf3NOTsYSaluv4LRZMgJOabYBHCl60LH0TsK6jEKoL1ryVusOdkAYL91RGZ7hZTdVAPS8zPDNUifuAoPCzxCgeOH0KbRHOifXCrI05qCQnreuILN0Er6BQ9SxdyuZEmgS5XhBhPpCJs6gyBz6QoVl7zw7Ujl0PiUGy4p4uOPJtrpESpUjM3q1jLhsBK6j7oCMUaqJoCF9blAHL6D4cRlSqifX2eGlWAjL/F4BaR4U0uhJvUJUCNJYI4hSvgm8qshY+WYUFkNF6qzFUbDqKiX9166mkA3pRveCdbvWsafg/GOrqyxI6kbMv7RzFIrc1p8cyYDSpQ9DcLYO1aMBy38vIcH9oaXg0G73souLmp0ug5hUVCBrkNKKrIO+2aWqkXIJp2RgbA4BB2wJjjRKYT0oXCxljj1ETrQewNmsShK/M6Yr9/4Gtg8ABkuqvEALoQ3huxay4Adu4tSIcsSTi+L/0qFBFmwtV6ILG4miYeve7pE7e5fjnxNDuHc0iiN5FGlIRTjd3U74KyfOj/y6cJg11Ds34ZsToLNPtiLBZk3V5bxCJj3R1RQnoMu0Gnyyc2oubxC/UpeD5VBTQ88gqpCS9ss9YUBSo9e7b1nk23GisV3vTQtGPoM/iHtCI5O1Iziq3Pi9YsG6mqNYovea7lgFu46N6ntXQhUZtDkgdWC7qbxqvcx/NJm39/0es/hOHiHiLbc5OonWNtfnr9VXbmgh6XTXAFONDYTlfijAz6SWGRCen7A8XwyjmO7WlIDcY01VMRWAUIkeRCWmrg+z3KRzcVn5uwWmowCCEg4YJ3LBOLx1NI1jwnBfH/I9SsPeGNw6VwuoXmZhQ7px390M1z3Xb7nNSTRbuUY+/x/UzeOZrEB78ONm9Jr+QpjejGyaZRPWdEFgX8RR4U5pffQ/lmnZEybpKZXA96yb7WNiptQatJgOvyLMB3gcB2+1mbbOdSxJ+Q0Rr+gmvkl/rfG/uMHncbIkKvZ41SbrLpUJUGinajXsRZEYFHsiApLLWeGLfIkpUy+L6o9973IixevLmZqQb8n1iOoLQjdQ+KfBtrL2GCyk3aXmu+W0HHdCmPY7MTUBrbcGrvE410/jzsncQe0iaVntXAuOpSAuWuLoUJbQfpVNXfCfoaUMuydX9+WfXYkYwnKeKiayEoIlk92kCxtppnpYjRJs8fHc9lxAtGrdou6qZJpbwLksLEoc0ViRq8VexzbRxWILLbafPUq9UKZNteum5qjxI1XDon+gLIAzo/UpxfOw0uc4OI+CdRQw1Hc2Zb8s497B8SAy2sKXTsohjkUyCql/hVlLDg5nKI48OpNNy7PMsP7a4k07RuYDJni2afMEVgdwsqwxX9TvpJWpq/GQ/BtZUd5wXjfusEhsFtS8DFRqGNJNpk5Lacc/T9++IuYenWtvrI4SbQhRpsNw4qtgCcpjkJS7p/nd7GbBh4zTozMXJjSoOM8socQA9Fu9cPMy0qAvMYyN/AeqwDUzc9U1/drRXKugtgzscRw7soDOQYrQd+Jgju4v4g7HP4wWS2pBKXkIdjQSHuFjDrtr9y5Jxzhb4DsGyyEbXX6bcsm4SmArXgtX4nYTaBlCl0rKTINpfm5HyH8jvuZ5EKj03TrVBFuo9csCK/HnOX3ZMdxJ+ySXGydaZha7fbdDTKAS5ATMpTHnFCx+GTIRBTzzbFBHI1Z+QL+s6Rv5hSqGkO7I8ZvZF0E7PGohyC1T8SuxGwdtewna3ksYK5V49mSPqi4FxPOe45ey1eFTqblXZoEBhMTc30ZIepiAAiv/3FIMlJ4t42wj7B71vEJYBP6JTlc/xXL924MGxd+JqtWJXXR1FeCsXpXH046CPmwWf6+msAJzMzj5CO1V6hBsiAiQ/bJS2OrnynLIcECMCvUs8kioujFjazjUdZ9XWxGrj7cCwdZcmOK0u8Fho730JtVYHShy1XUuZo6lG+68fnwm/jrEXQKWjnY7os6pr2Bnwyx730qU5JaJGakXV5fcE4CLq3h7V2gm+InjEvp66PZhDO3LP0xy5G5OKytAm1yaF3PaYCmOygYVg1jLU72llRt3VrNm74PpOoTiUiEg3URYcnQTlMJZfu2t/2E8x7MkethBM2VjtNnyu5RZxS1PBSXvE3Kc6kfUzWn5qfwaCl2D30fGKAn1+s9mSJcoM9iUwuC4tj2wff6JcNvtbnSU5u7i9i4jHNpnW+4hQWP7MuN9w8vnoNk6oosj8rpV9EoWhpD33q5j0YHWoUUd20ZCRMsGXkqmDGo6d4DUt8QQt81eww5Wo6JwaYJb4ABsscxNS9XzUORdg2N6AbqDTI7jzqbasaaNBlsgEMOyGRHvJJEQUpxXTd2likaFHkJSW3UPBbCG1STsZ81N1x0o6JdK4qu1ODi9ZbAYe1Jzy9XC2g8jGsO+sQC1GWbnjrsT+Hv3HgTlyk7Gjn+nn7jllumCJxOfEQhltb5YrcstGkjwdWjU3tOU0RuPpg6yTqR6OqkL2fJVfSfC2YX1a5Z8+6TMZSAH9v+i/Ky7ksg3qUJFYvIaAyt4pdyiWSb9sNeElcQN3ZwP8gp6zcTxJdk1T2I4t6hY93aYs04mVp902xpkoIUUb0olFQ1zNOvB3iCwX7vpIIl1llPINVvHhcUmiaOyBqT9+YUp48xQXyX68Q000tmFf5JoJJcMGstjBxiG7am1OgSbHSvmb9tQtVQYpgZwweatQEjUWSO08UneLAFydaHTCxwyhAvPTj9SRR0W5uq8CediNzJBkz5EDAwGVlPm/PQCsTC8h9Zd26AYmVxpJEUCD5503KbikFlKXvoZ7CNcBvzOuLzSiWPQBXDJ7/wBwx2T27hYASwzz5Bors6VJA4CHhuMJuJViT5TUcpNmdg4rckXJo40gWSrKONtxMlSbE7e2WeS/NOqW6/86pQLrl9Q+TrO4ZylJNT6owGtZZ6Py5nSjshmkFWP/IG5J0R8WLRvH15u4mU4qgHIGTcDChBCTZ0l2PBrsGtC+xSzFMMerQe0870cJKUutJLc2nkHWb8+zc17AsHtEt91QLVvhlKph1Q2ERSoi0OWl3lWWhS0PX4m2ekaedrRdmhe+D2Dl4mOdsQ4ZZyD5dTEmnPzTEdCPam2pdsb+FrgW59cmnfgPVu1yZREp/Jy315Rycbt+RdYFqlnL3u/gUlRVoi9egzkoWs/q6D8Cp5rRByYYOh/SuEXPQ8Zui5nKW31KEfN9CtsRImHJRoMNiKtQWSvy2k5Cg7RymXTWTyHeNhdLXuqtJTyR9M0rjZSnyRlRFMXCBS+CSUQ3yLe9GKAhivRGMvumMEI5rlwrZj6PvrClMH3setBBt2AhugvXf2PKmWKvgJC6ccS8iDmqolKNi+UtSgVQNB/gr077lAwVCCa11owoK9UUsuwIz6Ll1H1xyWQAwsFFkw/YjF9rKIz3d8+egitiaTWZqwC359FssRuerj4krG+iLTKiazVg/eii7B41rIHnE4Fsyf1ewMFWwh0qBGF3gdBbMPHLTdBlICli0eOxANCxyR5T+701hrW9l6yMdoYcnjbmiIIpNotXMzH1ep8ipxOIP2vJgjRq0Oh6CLQdJ/BoAbvS61zS85/plrMSV+YASOLyF/RyMw9sLSilU/6wb0oeOF3z7KrbX0vBb2OSsolv6G6Q+AidT+EIF0Pke+I7tVrFYUKg9ByRZMnGHAgFsJ8QI4mxOwCsI8KwNoayLXFn4KL4PsuWsn31aZNC0YAwN7x4Ks7qJA+6MwOJaGjJrjBhSLpHAFnBhguQ9VpynPyylv70mYKJqZf21doDBKrViN5fUp/mHkvw4iMUaou9v3wb2rnWBK/5SbYuxG8EYwquWAaV2Yp3U/MLJqrPIty4X2hWgZFcq3knpKiTvRZ1Y59ocC4cMnRWZNX3WW5WwvCX86rMGK1d1IO27aR/cy9pU7FLeFPxYtpbcy4hCwHD2C4pzoRSwnaiMrMGebWW81yDp82k6AhJrHnZJ6VT2PehK4RK/iITw4z3JHWfmDQ+QvHoNa2Apy1qoFgbzXxA+aSjl5gKdm19UzkkTSVSryQPqe6SRM4j1mOK+J6oQ2Rrix6VlOpbj/Q1JwFde4NHPIbzMqfqEI0QVA0YTLe7PAOrKgVASsSDPIhun8HpTQBtNAv5uVXBWekAICsA+y2XhLTyxdH0HKNTMp8sWvDABECjwyZp93JOxec8B8bFa83c8ffPD1zOuPidGSlwz3q8ONVGOVQ3bGaXVrNPT4lY/7jEBDFj9r+4LlabbNcW+MAJEQjnCYU3lqXXKrzDUYfbZrNajzMhYYPQrSvlpt+TS3BgfWlts6ACJAxc3Z9Z4+dYJKtUZ+dxV4LKU3B7dCci/b5ey/Irf54u39t25VVBPadxeBRB/E5JEMbEmyydkoKtFZzmKGrq1O0u96mS11kTX1L34StEUEdli0yeUEOgl08qIGJODEvRAYZUf5KjmfTkTTzdpXUpuKugieYBAvY4sumUVgtGbeWcgW4fpQRh7bOM98vlUVDPsL2BtBKN+U2OQWDOHEBtm0KfizE+NlbvP9YYkNrwr5ZTTt2xxrBVeFojKcdkqt+SDE70fAhYJKpLgSTCLE7bt2U6xMX0q+5+DlBhlBluMI6czVCGIxAPG4+hsu1GKW/syf3qiJnVdLLW841R7Oa3fdZEFeezeeTJ77az8pOB2ohBZtmx/C2aqDniXVu7ECf8G9Bq8W9otI/PCWhAh86QyquE2A4Z/FybgwBMIhJz1qGRFGhT1teuVQCCGwjrVhhJVktjGIIx0EJHWsYZe0QUyZ01FZ97ZnUVIsbtfPPworSOSq5FcbP4W4KAwcMI5Zjd6IwPVTjKVrgZYIwEiNXzx95H9soP8t9hfagsYMCYj3rtHCpWWoIWoJOmBnLMrikWmvAmhiWzJSY2QFIv7X0SvwqGnITDjzLWhEcpEkZoK00Ki7K3U4ZQprR4QptmN7CcuD2PQZR4GF+Dnm2PMW4dwicL/droHeQgz0TzGIhHnC7BK9Db1SZsjD45LzrV9kSxF3XzLP9yuZB8flmGohwB9fE/9mRBTi+rpgZvG5Jgj+CV8Lg6Bdmq8Lool1Tlbh4fnIXJCu51xax1KRDu5w4WP1fP0KtDFrroxZRtvAZP87Pu/1BOozuLnjUppySXsUFlCgQOoGQ3vcjdL1rtETlwQk4YFq8DQPxOzCsPdNME0ThPktsVYxFl0AS4b6NPB5NQDpZshiPrPR45SQLj58eCHRPgv8DuLi8z76vdFjKjtuhxOxh+1039+CZjVIlYi+m3h33s2pkG0VE+1GtCiTse2oMq0QYj4ILZqI6xwuLFSdUCS3Nnr0XK6xwo95VdFfMkpeKzPDJmrOz1ss+FDvpqyRC4d9lVsceyyo3PmvRMSLMZ+GLV/ezK0CQDgcRVW/3nNrhXX/+rqRmQvLru8wSafczUetHJy8fwjASRm3daLJTq1eOd0h+ZgW25K8e0WLMRhVo4jk6PHDIu8jaC01/2FSUV5NYEsvtoT3n7jIxn/QSPHwFKsS+uFmWi8rw89PZ9z/Drr3H/E94dYp5y4lu6WYEdvnZXnfXRM2HW67HE6ZFPskQbnhsn5uhlH7GbpsL38OLB9aROrFElkoNr21EAkWan/zvIP0GudLTNYcZZlXJNEAEYxhddDiSJFNq77pqK7xLSSMyeFq2DYVqp1/UF/nTjBTF0eBvglWG+BqumZIb7RzOdh6FCH0WYRdyGSzCwx49oevo7TBne6nKgX6UGj+Axtz6/n/rlOGRy+OyImhKhWCN9qz3fg4a5KXqfzqOL1SKFRBamUh9hQqrNsjPCFL0JIwm4DjBgF0ip5ixvH8kFzFqjle+U5qReTwmP+vPa0RkNCrZqreLDyBNeRMBCbTS0O2nNotk3KCzOI+SAkI3x0wRlsHitFp7WZ9QKQlelrSjnCSU9N/3xBPWlYo1qsQso4vFsUTviWKJq1LnsqySdX+4rKfdztnCwmQeww1INLDwwCsqzh6/pRPWpN36ru4KXk0JIQ6sULeXc26kz3PtTgSFMFnFy1/YCA8GvXGSeMj1i3a2hlagWXpG0oS8KO4pL/IMjpvqZ/6uexwZ56G1/Ou6px6gcVztfEbbSn0aL60ZNkkVDK4fi3AVOmo65mcTj7ttInz4Hjc6Yse83ZLR05KgWhBy4dsEzekcLvdhp+MzDRHhvuRK+axx2XJCV7Psjb2UXVvRXda4/dVpILGTZVjk9HBvSL2unWjoMy2ySmWegX4XbSdQFZ3JK5DYXQ7F8AlkBJGfjtJCH7Z5xM2whJS07T8RwFgM4Fheqm0AS63LsOnR81qrkW6+SeTZI2EBihyd+4GtPnprNhJUUTLuToPCGGB/L8h1jL7oWvL72OmVtPgA0NuwZ5IaccOJa8GpRzCKHypCdCOuSFyVQYlPnulJ9blotWGLQSV36fIxM58SZdtpjZ87z9fJAKgAIAo2S0zNSnxuyVxOWtQZpxrBrbmV/RUbq2Uw7C7L03K9jkN2q3+9N1zSrJ1ZQfelXfWPjKo495UBNZtOArel9ijDMgOBJfcm/9ERrQ4aOHNKO5x1962QNweJkZaX8f44Vs5x1mmzkjBy6E+/XQYbvQqe5eSL+boXJYxlWMXKpOU3sujit9xup0TzZnO4eQU0pxOuYZrjQsYTzbyRESq3F9MFIoY9pgmoBIBTbt/ZEK1YRrkspvq88LzeucXLwDFJDQ5HVfcLFwLpw0RhayzGYzrHN+AAmUonFIzeXV448CKZwMyG9MIBFrHdo/D4aIXjTc2edtRvMMzhs+cNmE5Oqrjk97Z0aa8Aw75+vkTA+UwxdPbgTs2uoSOhS/hzHl7CX8KGKcTSdEP2RswlsegAznJX+vXE8Ij2nixwq2oS3Cxm+cZoIBEkFFfNCaL0jOOQkJkNJ6oaO7NPO0FsxqIv9urRWV16JRB+LZCJwb/BieltpdzF+mUyFg1sRBBWY0R28QHz4FlCp85M9FElsEcfoY8CgjiFK7BLhhe7wWOmnaQPqjNtT5mQoybPNP2+5BA5yDp55AQdGOcZXAJ6tBrIefNMqWYHTkPprrCLmEC69PW3vWooPj93Rg/dC5x7b/XLfWBwH67dYwj1h65seZ2Ex1vo7s70GkhrghjWKCessLsM0Cd83md0h+Q2JjXaOvmfx+zpYlvi3Cgeo9OSv1qgeL7rEKJSfeBEz+PV31tYbPprDvYUqqLoDzox7prVAkKdI4hZ1L1zqZ8k/nDwcQBR4+2W0TjUE4YIE+k76PuRDm2jPo72+AzpoMdNPdPxEdb8Ajvamnt/UF/WtyKWhZg1g3uoAeISIikzi3clOYPl6t0mckbp7qY6xQYMCMzsBFB+hde1sSdktwiGdu/Pa/OeXkkmXQJVF5PlmzZotXCQYxSceqhFFnqOaVjbyxwYo8xE63wKN5ZdYXd3ogKZgga2wZ8mFGPCSNlz+S34ZaZjMTF5Fel70FI8h5U+6SJtLdXeNX0DGx4QFM4DZakJzIVTEjjTP4aeZYv5jvL1IkTlS7KoDWMLWIb5etVZ3b5Ye8PdOlO8VfBl9+4yCZ6/U3BY0TtXPWfEEW4CSNMt2tr5lYeCw/+b3A1eMTaNdlxo4FlMj3PQq1T+H5ZGDQzwtn3PNdqiEy0QJ9FX5Po64wAcUIoeW6naiIC9p5WHDUYFhffo95U+YnOcR2Q3YI/D3bTIluvoP4b7yNGA4mCqF5p4a1vOrX1QVoq6TVrZMk5GlgV17pfESuYNcYtiZ5C8JFTcvz3djU8A1lV5ADssDQ58tCuQzMz5kSdm5TzDC5nCFzqp5IZI2oWM3yn3k0m0RLctQ/iktumsglMLPP012mCSzGZN/5vnNFHGD+KV9Isff+tbJ3+qKv66x4cwpY4csrcWFMOXI+TeGXqLZeB4HVVG+uJws1CyKQOdjSW89vjbYynvh+6iyBjdyYMStW474SeQKhIwStFdBoUgsaZSi7GgJber9ceKZi1zU00xDSfwpeHgfEq/pAGl3x/9ugJb+17Y7CzorfBESP+V4DVbaVxnvLa0LaRxSr+iy+4Eoc6hUPxajKa7PozHjKITg5X2K5X9SIxpD3tUkTpanXkc1ubGTokYP/B+w5WaM4P2HDevCEWWpC7gXw/gt112/0tOoRhx1zprIRLOVNhTAsUfcO53D8P4uFxElMSllJW/EUM5fCz3t9kVjRxRSZ7OoCTAyKI3PPig7mKqt3iadefcwMizCXAUcBmmrOIKEnc8g+ADf8R/FJVxfal6XLqzLVETXO0ZCJt8LRH4JLm27bpRHlpKqGBoqZ1qbn/2ciYjqHXaP8DylkPIxTs/P+SIOsoGU4/c8Hh/5oQhIhPfcSafVgYapwaMqkrLqVzA1maAu8oFxioRgW4OwV7bA1caSEFYsPcDUFo6oKrnx1mynoZr3ygJbdtvANJMltc5uwq4DR2WYfMUQtZEn8AIzmssv3cS64q7dajQ/Zimqh9873jkcNy+j2/i5tv+pvIcVqGtyU87pYZs5B7nX+lZWGFZxeXYDL0BYFg6FahRUgds5LtoJDXpjJ5QVv3fVHIX9P1/fVy8qgp8AHinK8fx3F14dZIqHGGPyLvOsnnFTGhkhTu6ZQ0Eq+QEITUEBX+k6cpQWWKj1udCxx1wJAaK/kFax+7xlXjiiC0nRMm0wDGr+IhGo0wc3NZBwtdnqpRz6h0z62TUK8ILv9Sr29fZmnuD/K7hp8qkMKlSny8ZjMdtqkCn86kV4stZpVRm3MnRlk+f9CaF8tBtEE/XYwmIQhtkCmslROzXz1hGZzfk0qCZ+LcTNm8gYOBBuUmQkc/Kidc2AiiwX9V0LAVZd/aTORmqsSP5RxnqM7MzjZ/cSM3ejXBGPsqn8BChfBd7AQ82WDhzpkwsIZz5IP2Wgwl67Hz2E/63Z57kF0VXKYTxHCcrsEkfar/5n2HOlqEAG0CFoSB8EzOi4Q+FQ+KSoxDwfGWoZin9P4gUk+OY8p4bgJRgr1NGSia3Ss5uZ39eSdmRadpu0V93MTucX1E8zZOLNiouq4DgE/xrvUAYuGe7HPm2Z0/YfMqX3gId5XpGjdGwH2KszNzIpHaPymNGLqk9I6SF10C1DACmICSbxL5hEOYggeo0Q4dPL0/CjaWgAS1QJ9IiSacU/ab38T6PHs+X8JBTtlJ7opvB9BaTX90tBlTTyrrgN/3oRejDLs7a5tX2+q623AQJOO1NHQIMJukGJyXif1m/J0HRUGbRHaLhHR5l0r+v64irez8zZvz23SooMqieIHXc8nDdI3USA0b4wZ92H8UZUnaWKlaZ6looC1HeDzVsShE+DIVx/cMSkpTJBOrpWRZTlTaPLWgDnGVXVjOHx0aMI07O7ie9a5LtCckgG2f+Dp/3NJITgTEMFT5uhMJeFVR2Le8FGQ82x4B4nmTEjXrtvdMqkbQ+cuk1njsDRSnGDNhBwqSFYnBB5GIbF0gZmBnraFiHgy2F21UhdcCTFkcLSJb5X74s9mS0UVPmqEU2lBH9+WQ5QTRZSB58taSnc8fy5HQZWxF9kvCQ3yxZjBWS0MMGjjlsMfbs2eyrPCDrZhZ7Kzhev+coMBNXAFNW4pVYX87GfEGEZ4FQaTpPSuEa27PSl8Y/awUn1yGmJCDtonaCOQCNLqxUYZlB5Rsr3Ib+/Qt/XkhRmRr+2WwIbujszZzvmvaY9pxPv/AT18aiWVVUu26midotRFv7e4D0Z0FuEr9DXmiOi9GNuDlRSXkLnCPoYaOFod7Rv/q5kyx3vgiSFe02Xfyw6LqlFCXkIIhpIxihc8O2h7vuSlkM4bjzyoyP9Nx6CyLsPthVPswZFJTp8uWhgOHf7tgUIREuV+YNzK981DQIBKBMjwquvEXPwpRkGAdIeKne6VaDo1OPPKw++q5XlcFQGIxuALVcauqeoXCeloSmXa5SK+MqnljQA90taN+ZYIZzQtywsLJ6usKDLLV+qhT8EMdHeDseErpz4SDTN3o+K5VS/ttd1W+JC8UoWBQInjJ43NHEBBU6gnmBry4Zja+q0UGD3dlbyjfLI9bkcu3uHEt6R91rcCqbGiMDycsIzvV289sFsiKYjmTL+txtTlojHztrdfbJqGBM0Ouqscz5L3O77Jv21K+0OCKnfYw8JctLTgRtEWgPlY8zvj7riG9TtZDxQaNd1OhwfHTI8EEczunxycZqOrGF+9seT65MVF8hisL437Zr4lJOvwbvEwG03v/FkEr/tzKdZs7CQlkXQu4z0RifZv84debCvR5hQAilqHbNQEIpHMTv6cqYZhPbBd0zp2+5rHVhuAIYYRri9Ln2EntnKb1ece3Sc4JStXIDaZagfLxC9pWoj6xJ7Y5WsYaLVcFaLXsV/ES3az6mESswvTZFfpNSz1NKb0V9O3o18v+Jz5h9aqApNGAnSbMlGQpCi+VvG7WI4h6yJr5b28xzSc0a9bvZSsLx8Bftc1UIfyZY2ehLyGwb20DqVQcLZ41s6e13QH/hs0g2kw4NqYqdwqpALhDSwc3IZYnDLCguE51JUjuQT0k8utuswa8vMo+I4/FwRTMGnPM4k0XPpZMj4yq50dfZjE6d7V0llp1VkAO6t4qOr62uxCVnJP19z2mft4fgx47C3z9wQ3jP3pV9+MNcbicnfnvUYbY85T4PSCdmT4UBIoYv/7Teuu9fU0YlxHz+tlGooLH5eyCur0aaY6Ip40ERmmv2SLVZ/x+hgMGxU1iG4FYYLpe2WLswZ/lRhSyMB283Cpi/Q1zvkkLup9i6YEimPsreE86EK18Wmtpajo0kQIAYUlNvklNkS862rIaqghOoRYB/cCNIaKtJxo72aaNZgsrKGT+QzEwhE2XbOvWzeMiuf+3fkoKxvRYk5gFdzf58oW1DhBbhaEucrnA6+MaX1kiWHJ+R/YmZk3QPEYicl4FyAsdSaw8cD97vym3mTKufJOAFg5wzjX8kCnljngRExQNb3skH8Zej1M92Ky0UAznDJLDLIG1H7eWz1FasbjX062EUQY11YxjwN59DuWocBASpds1r8+xz2L5rk2XVGia4XLM/JEiUuTZhZR2PDphesOxyfdtNlakCzu32rBcSEU83kbmlZfqHUJVOJoPWHUBWAJFxo6s80Vqcc+Lf2G68GCVDyorsQf5y4EvYyEsGbruN6omjcen3HoCpi7VTBBn6ZJTRjgatnQprML/4G+8LDvy/cNqoaBEgjbzYLA0FJypAL1S6v9Rn0z+87viFFIDeGGgAgztfJs2QWk5RuSFCcDurXcbRcmCqP5B8fvys+myQAqjh7xkDiphIPOYg4QmKPEiOlRGxZAC4/5OzKfscvll05ezcnRmqpXPcAKuMB0ZFZP0StSQzlpxnrF2Y0sbQFE5cgoMFidB2h33wYF6a2RA1xyp9j/3W4Dr0heRlkS/rCnz4gFTN7lVSOTQ94Ra6dTNJE50WBJB1x/4vgj8znHGVOiKgW1PESNYH8J1xgNwgnOhszo1JVwLbt8fcBEBSSl2axhk1PoYdK+unbjhrg7WBKs2Xf93sf0dv/RHVB6IcDKqMrHFJkW+8xUemUUxAzmmSEf1MYWASuo7h+pa/ksA4p5Ggz63gbaptSXIodENpnVT93DFU7qkEPiYQHIYC8r8uBD2rYevtyIiaKUNHnMCezTXUkt8HcgwtL9DDsPalGoSt3uHrwi+BwrAlKXBcx8r7u05MqcGdT2xQW7iWXgXfHav+pC2WilOt3CAKJYVxoCBqZV34W0G9mLXKqL63sY2dNbCjRk8U7K7D1CGbZS1CjP0vpu4LouJgo6yomScnGcsG5WV2PAaSpiAhgJu/LrvgwAF+7J0niGIBYQQv7QOFjxQmtnVUiOiOVLbMmjQXXHWEY0+r8Tg45G2rSn8DC5aFVgrqkCSu4lQkN5YUTZ27otLef4jZGuLYLS8c7h0gNshcidRbpAJAJ7BLazT51jqpd+OFvk4q6r+UZ535zMVinQ9CHd9cptI64ES5+8xfjQ7jkDm0dZRvkunYyF0lElcbXnzyIPpl/8m3U+0n5UntU9+Y4U8n/Lgb3aXZx3EbP9fH5bmzBZYoVabN3FiUkPD4s2ljVOyYJRFYlYkQu1lFb8bMdXV28M41eWyrPpbn+Z7CPU3WVYWsB1Fl5K0YOA+ys5hw2sdutWmtLrw+5ZlkDJBVJW0eRyf92eY4hrLWGp9szIJEVw9csA4rk0fRvipsPeSY/XHl5KDO3Pu+xtFnL08WHxFofbftLyLSNwPEJLGyW2IRDqfU3gld5awkzLTLkaznXDZatL2gzF5wDjSP2t5Egbe+fG6E5AWRfRvAtfsJFd8rtizm4gJAR0w1Ry7dlgZkbJuAEN/CBHM0QTLQStCSMcXm+oOjxas9yTAAsBEHjT0gXE701IcBEMMVF9Y1XBEfBO92fQqHsoQO2ccwkMufEXgXKaxjlKhSv12zqCeaWR5DNhsEuUKnR3flzwEozEjrJ5tjSjPEzJpN/A0vnraYtcR3P1nvdlQnb8es3wHNYz0yks51lGSZc8b4vln0wleKaGEwXANfZTylBn6RtpOACuUhLiLRlq3QeMZdYBhAH7jaxnRwpj/ZgHeRmHeG9vZc8sEh0weJFiBuo90SxtnWcdxdHzewm+srhoCOF4cK6Ct+BPDc75OaYsXBWIno2EZh/i0SGMzfKfn2qs4fJ0B+104t05kjqYaqo27QAwompk5biE5Ki3xSpXTpdpdk5Y5PbYyLDutPrXvDrAzVh4Ckhn4TbK5lR3EFe/imii+datFbChN1ZrCxlMUnez7Qz5GIznqSZfMGdBZ7JsPulMrmrTiyJItYYkwtTEp+i8BHNOcmtRHZ/59YhD93Nll0IH1JCHigMQhhzzXpfaQdCvOgPx9dtGjyrH41DVpoMo0c/qA63cgC3uTnU+lT5bnwVdtLoznqeTRdslcmiOB2fVrGjTaZQ9XWrAzL0CRK4xkA0l/yUPCXVKWt99evrzXVh0OxMC74vMHKtKCxt1akqUdPraB76aGGWh2fhHfvfKq2y46n6xHVO23b4v3yCsgAPmeoaJ6ZksZiRCNVPLk4JxIocyNzIiKFfVoAvi8Z9cjqOKLTJjGckgeKyQLolB75zeR/DSSx5MrFj2oqW45gpBwcYHfknlgvJ+DP2c49QU61Tg1uv+NO23EIbPpo+nMC03r04tjk1nXVLLihtwJhqjrPzV6Rx0+T2iX7nz6iXARk+JJrQpBfz5m9pXLfPDv2jZIDJoxvvfOnQI3RNtrUPpZNIsCtQe2PiciPToIw0M8X0nvynZxhlW9dYnAe79ijDJBXzdUO5MdyxnYYIMpGFh8mIZxi1hacNi9qFYW1HhWEH3csBzDn0rtom5PzXVRi7psKnAdr3aQHwz9GMOhAJ6osL1hYMcSchr5x+4ixYvSqdky8Z4w8NWd+wzby9uUXXDKcCHbm/yr+IcARQi7sZWfE1E59NxWBoAp47gr6pcZ9j0c56X0h7jkCvAS0r+uUwIECzFZcPiC/epHhBrLKgstAwnD2RdE4Ez/AD5CJPiG2qBWRc2q7GSrLJeIBazs33E9pyCKaCigZ1GRgGbMNDXHhOmSlGYTCsk1bmaak5b5gJ75QDCHVlDmDObQdYvqffHsIDM2bvVZbTe20UQ3sFRbB3DzpZZoOkXB73eHktv0Qthp+6a/+uIu/PU6BLJ7UQC44k5RDKBu+saR205Nnea574nLJnLztJZLHhM5NmHAgnBcYqhLwd2kUBsFwKioWGELIv/f8Zddh0lNz+nP/1X5+BcbNmdZHCDWrahHFVZ3npf9zserZtHYuGtVGg/DIeu6c7wVFsOd1MjOPLkLxwwgcXVqOwpvJcVube7LcQFsMxKC2a+wPCm1NxQGXHV5Bb30F1YCa+JtJbN/ww5eDGD4j53RO0DZU4JUNOji/uegaacb587+izqR4SkMCHQCpRr76QfYRoKYk5/2fZPBZ1jDs5d93fiMepe78oL0+6wVC+GtUrsbrADyF3zbnWFVefl3xkl2GhJmz/mxSs8SHaenLQWzLlqhQHWiBLzPABfENy8KGQNQXY+mUZeztG6XB1m/PePbd+akecFD7I6kmhYpcUtp7RhZZdE/Bq0/8xAz217IqgnH4qD10kLwN17Dx00C+jDOIZeGqwB9NyHsB6bkkma4cpxyPSzPi+8/DPO01Rj+bJdY6QlMLixsBxZ0WxG64wg3TPIeME50x6V+fvuwYWZ1dtZiVHbMbHIN8BHm6wo5KJReOyELmGDMrApSAeC1H1Wo4qDIG+y6c1RjEarmpgaIkLI0xS/Ck1rILoQW2+hgWTJiBEQc4p4p5gP6Z8qksRO+vO3VuF+gU1EKlDgzaoFHk1IyTUurO8zxKMd94ZkQ7Q+vFR/UA21K1xWHp5x9U5Oo6enqqtM8SrYtNJUqI/nyw4eVwZwqfd3wKYRZElaA6/kzEUYKPNvTD70DF3aDwwlyur/3fXevK+I++mq/pbh5Q/wdWmfg55gyRmbgVNvLyA+geuNGaFsHhGNr7oIVEPbTepN6VCrOpgjDYJPlJAiExwsqlkETVHKNEND9464PDLFHghebSGdBOHxKIETYmfKIvi3ReYir4b7AnuKLA1ZU6jkpK8thrI4LENgMfUTkMNnPucLBi0lM2soMai19pSo4SMBcx3natSSgUpK0fDNJCaj5e7Y4Qv96ijJNl10l1HCZdktko5U6ffsBBX2u7WRUoi4yc4krWDoEYhg7cLexswESdeQDMzVW8Wr3rJtk8pq8cdr1SEeMxukbfkr0GzoHUiW2TSciNpR955DP+bMakK7lippdd8brAGa+YcfDDIuYdy7dmTWSxnn4l84GUvizZkMPmwwq0OkG0gINe1n5cp5Ae3tkuS4V0EUZNOzGCV5hNvrVjxiRBy5T9l7rHDwkUGahR4A73IlEOKQuboh9XJDppC8VW1StLRofmzygUrHXVgPKy0/nSzPHJEQ8HBar0PzmLcxdq2VhbN+1dlhxzjqH/CvVMS9PAO4LnqDcLYXefshVw531bju2ELPcZLxF1dk1jGKfuPiz6VAPJSEUQfIxQDoupK2BsLkwzcL088ROa6rG5+2tm/alFypxy3KcLXmRr1/OkIUGqv/dNAdVKDD6TvI1hmkiw7+I9nhrD8rIJd9wNyLwSRYUNWGzLTT/ryM8q+QACp6+SiXaDgvOCSrdLzndjn3+DPuuEF0vevICRi0/s2ssAoERXt21dP9sVuH7eUsOqTpJ0USuewnh7kGGLy1Su3FlBRCxknGHnKEHWVzmydARFDUNnXbOR9ZHsiaA3H9Cy3xEDkexcGN74jCpJzeUzX3In+fnwHik5ojU0f2ejdPDRqMijRtC4JjT8NJCjRwWrUvZAik5T+Tsjxt6IxeTicvog8gXl+YnsQiqj6ZvwBANSLJ/cTi9CT4TBQBmneyQgqxsbbcM6n6Efn4G0H+ruj3L3f1TLm4m7daIzV2t4Er55ib3TItn2PsndLFvXeR1Tr/L6pXSCTz4R6O99xIKI/cR5gJbl+sKQ9jrmobRcGd4I8q4ZvAhSf+7fUZ1i9CISEQnFjs1Jbge5Ouej+1tN9Otc/awadmoK2fw4EZQW4iW+awfdWQGwGta6bl/gHXphmekMU3veSwokEAMrAcaN6ub41FMETIkyISm0xPGhuN048uI9zgQ2UgmNrB3w4OYczLq/0nhJOopat8rr3Z6cvckFrQZMJk+wdhPQ4xXeE4f5GzYIOYDx5B3WLkv1pb37HSEOCNbhHHKRs7j1ENZoYmC3jZASuzvXT5pEjSurgQ7KbE1QVCpO/IUN+S1bW3ZwqKTjc6V/Wm8cjaw/MSLqNRsoiFW+1nmtE1aJB4ZRnMoDkFsMOCHtrigr9uMAOkMm6Qf2JTue27Z8YSKo7XbxZBeclukwtg2HWE6nKvIN6gmJp1dLrK2Enk/+Vk7yYBT9lQ3JCJyh+jYgycMiRR/ThCVgLoIri3AsYIZeIyG9nH4odCLsz78d7wqOOULsHv04ZXuX+1iTKO/HnS9ob9ov98WJ3G3bk9KDFH3PQZXMGxO37kV+BVrWtVQCX8ID9su4MJaj3SZKJYwwmaamMI4kIG3YkDRjhJ93u2w/iX1JaA94ZgSdPVP7ipLhRwZj47LY79ieN81wQnySfXQD098eKJU3sxcqkuaT6wUWNaG7T5NaVo2RNvPfkhSsbg0e69MXd8dMCq1KS2fqup5RCapFoI5KdO+Fv7IhQsConDcEfpxOXwwiDH3jQ23wja4BG0SAs1bEcNOoFrrarCeESKTPb/66+em5yawLx4wB596DugojJQic4l0JyNtRzSmlsbrkpLFb5Erv76ftJQ3CDy+eBVRodNmVvzLXR+hCiZGw+nDICi0TIYQzYc0rO4K2dVhObbuqB/MHN84JQIEC2qmzPZNOeIzrxBmlfSrt3kyiE2fY9tApIYDvJLNa9GIhPKLcP8HGgwRHpR6dt8A6VxAv9bXtdWq3TFzT4wgoX1sjJQJJOaJshGumkK89PXjIEtLCJviI4WzeIa4sD0N/iLaztIm0Ow68SnUKD0CY5TQZBNYq0a4ExyEBvysfLGuFrysg61rgBkun901hT6wgDrXUyluGqrydrLsq8RoNpogoKQX1150cQacx28UoVQ2FCfFrfwxprHghitTGtS55mQe4YD/OFkc65c+YY7/fkzzNHXMFAU6HaKjwbH/B4nAUPu/qzyxcwor9uHXUVapDc2BN3zY1pBbk+AjLOs9b3bB8tJVhTI21v8C6rUu0gPXwWisSTpB734oOWcNXgNOlsvgMvU9EloOEAhw/9VwTsBigQ4yK9oRSjzEK8IvHNf5wIBXJNjHW09t7Yqk7BeY4Xl7E8x0aIy2R4qwE3Gg2RkQSx+yt9Gpx4Gl6xmkF6s/d8pcLeWTpFyUCLvWYRnWLD6XUWxMdUsqQYmBsWKAqqm3eVZFugWaQEtHMYQQ18wPSc0JvFQWOd8au0kTFun0L4FP5/TP/syaJ1Ghinrkm123xm3son2CV47g3UNmZIOyN3PZ/Bkj314Oh/uPRs084D61SKY2SJICyc7QV7vOVzaDzIwXHDaZ43yRBOUNrk3fAJL89T6YrMSFX+Vc5ZQuE+CmH+d80PXpRipBom8LGX5dhkPsL4h6L2+0ehcWlCuvTIXNJhusNwxQ3D1ZHX4CAPU3s3VZ+aojEXrw0WlQkKxEPIy2vWQmdAYgwP0m6UsRExkzwtwCYGejj3pRTzdL1TGMCBO7WqMCQ9SzBfTcet1nD/MI0WDs2e5gns0gL8ZmkKcPnHNZ7PcpSMmcidTlWNYQ7ZyylpEtwYOFBsEyYPA7VZKf7UDLKJ2ULLrhAJgdTQjuy4e5+/+2vzSRtqellw8d/CVu/IO09scbbhZWGwdKzMP3i2Cxs29SInsVGJcTPZZIjBqzujuXyQYiQKn1r4fF4l9c+7uV+nbCMd9fLHv3nFp820zC9kuV9hRrk1/bYwBJ50ivZkbU12tdOa0gRT1GRGjm4YVhuenIGWy/piicblorIrczsyc+Q3aHg/RuCX+SSklevNn4vrQiVQjYew2EosvrOYbvkQssRcSp3F0kfs583DpGTgJa+b9RD+OAH3W+tvOhm6M/esocugAgLldhH3J2mmQiX9KuD4sGCFGG7y9+6Xm7lDiS8AtRWIXfgwTvf6vLsn0yD+taGSbVI8/pK+GXJ6TG85MmIumXnYQpG2w55IXXcVXo+Xvabry5PR7IsaJSU0zM5QhrUf7HraYFnpGjZRlWvGxfaVR6Os/g46zpkFXvNI5Lw7CtKpXRetEbqQUCNY1t+EtVbh6kbaz3T00ws40uPtyvyk6HRGANDr661PqH/wflGmP06bns1FClzd8pSO3giXA9KcKgIJQsJi/QqYnwD07Z3BPcKaWQZtBDrhVHejKoWJzNtASdWvEpsUVR5RyCrs0wjQ+nbu4LXc6H8jGyT2KeD4bx9ygyxb7cMrJBoXY29BsNIjlatPFSOxnUJeYzdaKkORriWkcgGcLFoE+ZOhNQxd5hb6hMHWPu0C/LNanmrVaHIwKkW7P0UPsrGFbBtTxVH9akRj43rwINW/hXxkrXdjkXawXtDfxrsZE5OQeY8vi4GqfdZXJdM6fDYfb3vn2dto71N+aWFDGcZ0++36yqjR5BEwLhy0tzmAvhyxssdQ1el/OhiFLvsEmLQkggDjPiPz0R1WauIuCeTa/1LvFgfqkL9NVlNqHz4aUB0Y4a3sCX0KLMwO1zjOxlsRwYJW0UJ/1SlVgzeW2VcpCE2tXKlcHZSValdXuXXlxN94vwW2w6l9MaNAjx1HAhEg8YttZ9PGrzIUWn3p5Q4YdaMh+JA/GF8UTt8+XgHAuKJuYTECfLe913X/2EDf6nIBXXbhMxWfgwnTWMzowtsOPz/QFKLEgotQKTmu9bmdOAJK/P9V8C7ppzJzfjbWhRz3TQsvYeyIO4V5AmZMR9iKbBU/vtYTaB4owALDyZtk5eWssXgyXpswHVvEcskLJEY/rDHRkl/2AJXaR9sIE5t2ByR0VE4Kq3QgQwYYhiMKc4Iv0CtsMMoRBitG+gz1sNk0D6tMvGTtLBE+z4KEUhfVqBJt1vDRv6GbDM+iIKKCfitfzbbWBUhWhd5ZkfXF4nn5RLFGaQCKK1IEcS53OPg6SVnts99Z7qrH4i5nR+h9tTL49S3szH+bKH/FkGGru5EZ/t+eLd++x21K+A3+Z8o9Kf/QuZT9L+g0iLVYfUQCCVqCHsLTOMB9ZxNCaPGJCDNHXS4vTw68qFuvQbs247n8Woej1zXsHHpu+H8Tn7mUvQFx3rSyupjNU0mS/OC1NlspEwpL8XdIfhjUIIq7t0F/A2kn+5AVX2RphuTcLvdM6TY5t8KD9gPauJqTb3FLuRwnLP03Dv0KxShhWPOyv8zF07JBkxU5ufiOIZIIbcFwnS1H2+5eb5a3TrsR3+SpeG2eFyMPa/96Mq496R9M+gRp1l63K7hWQJyLibnhjHuYQa+8SLKOfTcUdeht/CQtNHdP8mp7gTR9vD2ZCSPkBbtEPHUYBd+SpmS48uR1yj2YUQkY6N6MeiBLuYtGzjAFUR3Iprvn2XuvMch/YIiNokEQgHmJxqiLF639Yn+bL3U65dO6zzCkO5zBqaaUxJsr7TnUw9Dp5VXT6OxyRFTdB2zL/+9vtizRxiDEvJ41JM0QbcCEHkd3iHWjybk3sLJ4WhFFr95pmUrVkWcT8KviCYcPKzfwWXZ9E+0Gn7iAYyG9UjLKdZJi+yBW6Ct3x219rN4l3KhFXWyLBYDTKWmAiWmNy/MBwXXCT9obtKhoHPjAQrmBiJfVhR1d6jDe+peqUavfg+Pt5aJ0RmXXRrOXYwBtRe6YycuT/sZN8n+2uUnrRiKUMeCfHCf2S40MMp8V/55gc4Eg9EljAODEPibdlZwOrJr+C/wtWrOuTfy8AtmOOsXtaj4J49KMPUjzuzp83gz5mhNg/flrayIWFSBbwF77UdC/9rjIPZPOhOLFDCvfLQytL/c/Bc3qokPJqcKgfBnUxP2MEZUYI993rqGt5yd0eem/uCzU4PSeL+6rpsdjuiQq9zwLfRbWwtzoAdltrNQlgKmf9JTXseoiWPu0saxctZSIVwW3LdL3fvso/7CHrUHFJFwzIw7Nzx2D2naZrfL4pYTuRTVh3izdPagcqpU09gMM2f0ktmndDzBT4iX3oPfEYFYhp7gUctCoOTu4srBHqGLh2soT2OJJNn4GrbflqWaMRKcoNr05n/+9bWZWFn7nBWVXAjC4nag1pUxh4JOlDRQ/tkGZL9OLNNeoW2P09oGZClb7gVCF13KIBbJMNR5o7hfAL6k6Rz0iGClnhd3uVK6/9RHPap+OrfdR6d5rpeata41AqYo1xANBXmW88+4gM73NetLeoGft0yd7vhTjq+STb0Le7J8SaMyqYfimXh3vqeU2CIoegK8GlfKJghwfYs1DVLeiGXP7EDGP8ZNhLqCgRqtwJ5ZC7iTHedA3k/BZsRwchDcH9bXS2Gf2Bpczpom4LmTl0AJPahiUzv6WgfvxKqZo40onIqOnA2PG6O/SGaheumR/bT/0AHW8Z0UlErqMFxw/FudzosGYFl3Vxq049tK8jefQbRnlqtTVdVEMkY2eCjlNcnlkX7Sj2sii5S1hfcD9KzhIyRXOXm+m0R1uYUwc0o/sKasJjeuro491YrFZKgWBNiLH10sxdBoHYjpwLosbBzHY8d7y+hj84PfS3ZINdpqRJe8ocHHx6JkygA/jVbH/HFlP6fox9VB3m/ApHnnIRKOxB8GfWwyMkL+VHPN5kirR9CQppPCOKx/QlRjIAOpZrpClxtuv2ccmS2hy2l1Vc939Y7NaWy+Fk+QIZzEmWfQ91EbyKU57CWWSDkus/J/hCJgKA+xcqURfkRFwBDlyYJAHFHHUgQ0LoNngR1+ADFOllr76Wo2fqYWsr6GbnKms5vhXcZ+I0QN0NTm/sNFM5PydcDOHG/mZPoDIIZ2WFmasPGr6aK06lP2C6iVMAv4/CcmDVvBUHTDvKE5M4SsClcKnKvtkFdbIJGs4WjrgNLRqOEcIyIC46uuU9cGVKuw1mXSv4YnWVxDIreVrInISHf59zX3PbFeLcZgdp0IWxEJf1vPhLt1RTjPZnt/PSBQo23cggoTxNvfMH943FPGEAG2q5VulV2jajRan793mR18zBMcNIHE4breW4Y2+ox5oPGI1r6badHeDWVjw088Mw8NDHxThItOtsrbuDh6uZn/NvFMnUhiFCqth3+13ii4WNpTCoTjb9UrKG3FYKUuTM/wEmnIpBsoeH7hlCU8Vu/HQ7q7e47s4Mec8QHvSlrxEAMSkQ5xWKq9y1ASX714UBXG6LKumfQtIndq8gTNpxAVE42ztNjc9FWPYBvrffCrnXNlivwTti7EhpE4nmeYONoTv2woiQaZzEm9gRzrVFLYr/x7KuuZMtWdcrWiaYZaYcXWbdD5h+yHex9pu1/lerPQhTsGZKxdH3778lvVfyRNuzkCGg6EeFwysYAlxQvyWeHpUlr+vTNmCiwsJgGT8e5abeZjpiHVlcgXr2wD6sGVvKEXXutqRs0otDkIXi2TEwsp19O3q8KAYVs9Texg4DOA/EICs1muKih0u0RCFBxjaeGA9LpyB1mHv/Xi8pJBJ/sSmjmh/ReF5Ut0r6NMzTJg/tk9CzWGwbfi9BKbIa0TbSiQSp9OU4c1Uecpo6b+pkZA/XuerGsBITwVfKFuoq5ykRg26DsmVE996YOylSUygCEkIFOExzaYeEVL/Bfw4bGfyw2QekmRmm2rFlaoJy0mXdwgaabqc1Gauxw6U4G48v2iZlGm3IMDzyX2WCmR5aQhfOklPe9tSzWSTgQ+jIjXPpDb1ync6RdiuKqg8u0UKuDsQsdmc1Y+bKdp76i0+Y19lhGAN9DQoQCBdZFpaaQKsMdfRItzeTLGUVeTviPhq8K2QVf5NOQpjU44E2FXKIrly3uxmKa50sDvwSNSU5CrakzZPC+fO8JlRCyCDDta4SZQ6kuVT74sI52+tATf1UYMFir7HpuvrSyv0RotNlD2d1IJCRdmbZ9lV6wO3WSa8kcefyQO29q9nM4AQkgQ8acaBdVvdLzTf0V01w0r78IvDOV26bYIpknz1PBZBdY+LDdzkPYJLi6/hXliBMP+L/Xtjwfm6eQEFkjrf/pdMfQaEK0HfkNkBk7JrbPhnncV0++B25REEFOLT7LSUAqvpKkDyN9oI+Z5E6sw3oS1mBzKcv94OpcakUamktVSdak1jVaBVsg9T5uzwy0HujFZH9/Gsolln2ndRAk5VEba5vi/UQBOrgzvAMv5i9M6yukN86FTJHxwzKC1HJjVO7hFuOlQKiW4E8T5bEvKZJNbVaFCRA9Y5GYfvd5fQ0/ort94R+kAzDqYxaIzE3/v8OHvFf2n1gGA2+YRJNawe/+zPSlodVUK6zFvOvs2YtyE1peXEy78TFVwYQt4iSxO8e/VzGQudbBTmMvNb8tJTBHMNywKHoXaDz2xAMDKo5Jt0sMlJxNiDvUVCpp9tnpm9SKeho/KfwMx8JLoxIrcQSWy6xsv+57ea4h9RYoh6kFOPAgpNleB5JPIIEgaF6lAjZ//PT87jVOzTAmM2Q7iTJQMbYOV/npFf9MjigUHsC+TW1ivMTLk/2J2htVjCaACWM4UFEDnfqUXf/Zpu1eIOT/9N/pI3/NQZ6kw+7PM1zNxO/tlyklk0lmMzXtQo92eMOD20tVKYzOTC7p1+mxYNdniD12eFeygqW4NLWHsNp8ekxowANisEnqYRltepqHntD6FQFnxYDvff1aAqI5gvwxF6pkZSVMMa9WvMF4rNTu5ymGqtocEMPP0Ruc8DM3Q2c4I5+U8GtObXfGi6IIdNwFYXYLYrrl8ApHvjwThzYVqQSIED+aOq1vPlLapz5J8/wbZCph3ynOelqBWYxwaF2JFOm2JQVhn4vh23gcHJlouPyvTmFK5TiAw/E9SHSL8dZITUjHnn3E6yO6UKTSZTlo0GXtzEjDFskPujPqVU5d3jQzJCuYMl+7kGfst/IaXzD5bulOYDCetIP8uP2viJG/YOFlVw7ZlVYurXyUvwwCbsp4G8t5/pZZePRwvuEBKVwo++DwIcA2ek5Cn5Cj+7iZ2mX3q8kls8aX4opxx4cwbk4Z7gHZxiUw+RS0rhgpoDRl0FxHuwxchlDpwHxrvFhDmf+VDESmyQ4bpEsxLM9zVasxcSNVQjTmfX5V48u4G+VlOWVD1ffkgv1TeKe1t3IJoCYGFXqfOP8jnGSfZcm1ph5049c7X5ZhBYA4ILEvfiQADD7UGGHKYe9zTf7EJqO5hVISO+TDpnNXThV46EpFsGa20jSXh9BC4qKCwoSR27gNog9o8cib7knNWAShXeksyYY2JH2x0jzEpQMeL9yaXT8OLqVTLDovusoObp7iRlrsNYreflE5EFAtYD9O8sTWJosLsM7d1bN6A3PR9JvyNZEcl4C9DqfOXzLyGVZY1q7E9U0kQSHK10P16ddlK13Ea9DSInHnpWrZHKAuhwIZfXHpKFqL64RvOuj5ZCbCaOVCVAM8ZBxUsqxg4IJ4zwwdr45FGB/BIjBbaaTFMKISOsYQlOuSUxDuXK/B/SieNp34QFx/gwsmc9zKWmRAfcFzlRh1UAl/6qPwO/5hUOUA2Eh9j3wJ7/QlYFxMjFGbzqLdoPtd11WJjpEIE69xw4nDlaNenXwqqNG4eSrrR1pegGUGyj2CPOr3Vdk0lguwhEdEnxnBpIIjXEsOkW2A+ilFZ5cEeEHO/fEHoXzhoiMTC0zK/jbhZwK/Zol7Qn8Vh4yfy/gbBRsBL6zlUWI83aBvSMsFa9MagKt35Wl2BNbuQDXQfqWa+KyGgmTdfOnSyiIfGwYXmPG9AoSHtcRO8fNxVNmosoADW2jT4/ayotS1VfclELSG11G8SJbXDDMl60ZKPHPlHRwkUA5zUOgXq+UKuUNmESpwFyvmdDOHQkfR9DHRbkAamoLJE3VhXdEQNOwLRKgn3tDePfTjdBNmjQ43YzFww0hwhgKne4T53IrJvAvVxFGgQnlF65D/8z/okRKPDCNIUNma726dNafOoocZkVQdPbpXEoJlMzGqH42NTdnTGUuBvvq1zcwUvKjRoGAWzg+BzvhVqLpw4fWPWEUQZiTIOxfP9RfwJmZsP9MEuGrynSi+HuNdvlKSd205k2QT/398V+kK/OuenDjosA89Ld1jEx3DJ8ORvu6clXLT5fJNvP0Q+h5m34ooA5mXJYi2fJaAjZ+2xZ23M48AstqOqsX7GsdxME57tM7dob/KaZEb7Bi7IRV8jtERKb88GsdKLZRYUrYy8n1zImS/eca27qHbE+H3fE7Jki8QnxiQis3leDn9tPPH4M3ZExXKAHls8cJD5hA74x/JTpxVuMO8jp3JWmLHQRp27HGvK6yXOVHgDXHbLg39tNDGo/YzzIbsU2rgzUl8ai58UPgT6TTv9Eap8iOiQKlJnVFSBddiqhxBL0I4udPaFV5WxfPzGNL9wO+Tf86iiWPc0c0CIpMso1O0q4Pf9mkXh0xV/pIP068sGdJXpIEHinF9JgQyDPBTrqZcHDo5pt3g5sSNDJfYMgsoDVnEr+AV5lrFtDwOE0Jc8vBP6Bip3otlKr1Ya9UhsX0jQT4SOp/L9z1cER0KCR7iYWXwgHshPJ60aCGG84S60gc38VMCpgl6VO8ZBS1M0gMiRChDSvd5bg8fjBmN0HNRoX2y5RZterCmh8dceZr4UWdNo3i/Xih321PLSgbINd4025U2A6ZGwpYoe+uHMQZxbFf1Jl8IYbwDTgETxhRNfQrxklvCUHJksJ6xykJTkW2oDdKrgbR8eqVmOWkCkOOEwKWZjS71DoLs/8SCFUhRaOrwCOyZ4iv4Z3nmGiQnxrSVFgP+kYCfHEGtBqWmEQhdr/NGBXFx3fxupIFpLjuxz8skby+N1OeAXXx4glPSMH5ynEMpHrAr4GQWJixvQDvNDvqNZfanbt8Q21py3A75keRBEI01jFHHnLmLuD1DQHoBguSezEWQ2w4uPW+Bxc9gxzZ9ycdjzaPFF9bAXvbozG+7gPtQImZanD510jywWULRNlHBpNy+uRhYXOk95U0jhtfrzQnzBCLO+CxdOmN+h5D1TrTTSnbOh2s3WEx4k0HYkQJb/GTUwW44ZAr5ZuKuVY8F8aD3i6CFHvCq0XiCChJJWwP+19wmtXzYrY5Qi2qfVLoRLgLbefPVn03dZtf+WDxeZEFGTan2DFgIduS5zTtpfjjBv9j8jYkgFM9lSDIr/UEVMLEaWVEpcCe9ZT/yHMWeBikH7/YxqAlkD9u3e4MS4cuY9zYYtT86XupbXSejlRd0RnolBD4uAD2OmN+tA4p33R6PpnQqv4qekuhYQEgfEzr2/dQhjdj6Nx3Whrg8PG2M6p8CVqnAu4XuiiCNCBVF7BHsLXag4CgvNbIAXa0wSk3gVu68SC4Kq2vkiq5nZFdc9AYjx7braPonFLxuS9/Raaj3o49J4h9+0aF+h4CUksf69PQWOYPc00a3cy9B4fbECEXQHGG8c07WQexmGA3MFxwws0Gpn0uvXujSDQp2v9jb4at6UJ6ev3kJkSf+THp3SYYI9k7OgriLqBmGuKVbHSeDQyXDiTJSVS3n1RTCd3crbvW1FmDhCBsGPZK5ldnPFXRUMG06lxR7trdAmC1EU/yhAkAex/rhkRw/vEgl14Yca2fBEFjrx1ZGXU8G1BFfhf9m4uGf5a3DPP8CEiMXAqH5oh2gj/TznXWx7ySEMQBu4dhxtZuoXRdNJTxtDOU+k6vftmQ8SwEDj33rKwWxpr5bGdEzsZ8yyHMpbV6qo0h9e8ACRhXwtNt1ZpN7f7WGwwid6Oob+KxhCs0IbRGhr3nQy8pohO2WB58EmROD1GY7CzJTJlCbScw/OUUjT4WfhkIxpIrNS3TYxPh4WJuqWobC6vq2yWE2bdkYLh6JjVzW652L/sCTkQFwSal1NvMkbBPhtbMIIWeWjCluwKQCKqFrkQQHo5bK02BUW4XsmSZB1331zdVr0lc8V4B5D90IDX52LrTwBXPpLBYd7IiXbrp+TmJW4Q7xpouIgtFyjjwpAM3MHapkaxTlqvvI6Nj5T4jCl1mW4sARz7h00lCEQ4wkvaVE7CWx4MsQuaFJMBSMcqxz0qUXztBDFj3dSD+q3Coe+byApaMoG+hUa3Q87EPpyNsdG4ZzmmB7A7bgnzoqbSewGsgUDPxfIucXGF8cdnK/vZucktCjRUy2PqD22ZsN6XrymHDrePVZO0YLyXyNdTdPJWhmLt5pdqihtnhPmKJZo8fBZ0noleoMQYOuPd2hLzbIgRe/P+ai8Ghtta5bV0wEgkPs4ropX17sNrETebcWIJkjfV4uPmAnC9kjv+ovCDSaiX6eA/huJoD1KaL+xpBFd0prYZbkcyS+qmzbfeWSmXjcN0uTblJFZ88tQh6a34DnlUECh6zM3uRZihoAYsSybdWFDY4csi7eUDwy0ugzespZRwZCOij1Cg1OBJxT4+iZg7UPvD/eyLZ4o5ASGeH29HQ23oJOM7MwOrgLkv3ariVwzLGb5d1NVpJDdrmqrFBMYyZnIv2siwlRB7Ao1StFETwIgBSAwF5dBPLMqogCH0bH6K4WSSE4aIBww1abma65ruFLik6BsGWtdaCvRjEeFndQ+C37OshMXhsiT0cmnlTID6mG/uRFQZLqPxSxVBzxCKKnlu9rKQsGqcn6bCYXG3l2m4Stzo6Ml9hTlnsm/tuS/p8uFbR78SmdT7YXRQd00Yu89P+nHh5MzaJ8lWE+V0RM8/YPe+G367t5aYFadywjYfHtguwTEKAiimlhDA8/MfU80g98ZzLbXid5x+RJs9p9NTFCtQ/vXd6k1BpJHDBHwBU4ROeg4t3CQXPYrqOrnI8dozlvyuxFQFhRxD5prUlRqHx/D0/w3RaRHiOGHTGqmJvDGGPwnxAx2kgpkObSPfUihqMJtn5ZNQRE+cI2ITeMUxIvkvl58NMUJMBFB0w+El6N9pmMmrzt3J5gw0b+X7iMTfP6P7PWit/NvbSUEgQHHmUSF/vyjsUDZHv3XPkAuFrZNc8EeHDKdZnGTb9EILCAbvgX3y2vgeGZ9QUBP9CDDlCJ9eVM41YhMrWAasHAJcuDQU7d0bTMUxyBTFP8Y7Kp+K2bjc7SqGrF3vI4F6k23hesI8WVuD605zhQU5F+DZKGdhj9mjB/HLxnMpRQHXq5onpGr44KHr1FgQBDR3EJFhxr5dN51R9xrRx+1lCjFccy57Cgxyzyv5KwTEnxfNchVWbeP1RkoKEzs8d/C/Ph3l+m9TkHipjSBPNicfTVS+8p2ZSE8J8CVLaQDRKzAtafKAJBOatNSPJ7lXDsdH2S9TBLYtuSuMSKy7pzSxgVjE+wuBFbw5mjK0PN3Wd99/3YXEY/TQv/8ZdVFHDa9h/xQHf402T+IKetvrj8eW0hMZe6ItEFPYaXGsniUkA88JtrUCvk0qBtimeH2k74+X1RFHLaSBASjQ99IBHFrxuyQMs5FGHcmP+NS1e/C6zRVu39oKh7Tto0XweTk0ObH1+dvnk0UP90JMHFRt5W9SeP6CRN4RtC86Req9lTYTtBklx0uOCRYjAY7JfX0uc67n55pfXLX09I26bo6ViyLm/z2aVjEhyY+FJW18piDL3usk1yu9dwQ99x8oUFkzXzDdzG0sQZUYp1x0NCQDrocTAyBCwLnFT/KQhH/EVEdVmmPDRwg8LexDsWOWyo/ElHavI+c/RyTcdGk4ScTFoFAmrXnWc3/Jy6rDZPZEO/CkEMQrU7tvHx7mugilwWrjDXVewWPTYbmO7+QExO9S5PfmKnf8xbmBQGobjuNRQySKFrWrXYeJDPo8YA26hlX+LR/lHiFxhMkqrF4CaXWK/JMhySQ38NbTVF0wJ1WFtxprdNlOUH2rWe+WM7QQGK5vDhwl/3CCfbvmOz0eI2P5EP3NwXkgycC2bT2xhBa5U7+Jh4ub1QdNu5CRpQ/EwEm1fvjZjsXJffEL37GsYfDCPPDbK+tcEgK1mAFTdeZeUtME9MACPOZCap5/Ol8dideOuOeQ9jUkBUChfpxUEl3egITOyhUiSs+AeA+yFYQlilE2CXNyBYAnaCetn63Syok1WygQwGc/09zrzpc35BA2xqAQIRe0ZZpgP8pShP4bE612Dv9T5DQ5aLpKfPIme3IRHreUjHknyyMSOvuQirLjq0hyLfB1MjbIsG6hOYRZ9LmUJ+9W4YZPFKNQrH3dYZMuWF7fAcZ/GJDR7hC5URn76WZ7NmCZLNQ29t3ul5q/n145gOH+hJPCyWDmLue7dilvV0z82znl4eq7Ih2ywQQGDS8zlBNxd0wa7w6iw/7pCQz8i+YImTc74aGhJY6T9ofO9hYdyMIzUbIMIAFH6Z7O/IiUFbgjE8RbhOGOC1iUGKKb87BU30E02b6Md5n9pkyX6n341zrnC34B4U9ze5xF+SYrBe3Y1UB03HPxygvJOa/DcAuj/JmsFfW1PD5IUjULl83rvPBrOfT9XTSykiwY+kE404VQLVnMWcH8U9ISWSEGEEcRWFWJv1dw0+fYAyofMTbbHV5Xe75baVbXzHkhFdkNKwWOuFubKuEbo+ZJndaZ5frnh6P2n3xRo7mqhXH05OtwMPxoJ2xXSdNe9DJccjV0mXnvlQ/M6R9LyTzxg0z87XPMLYTSirc7aMCxXCr+nokytnGk8anLSFrqFCv4CZxJRhnhU9K7Emegdqg9+EzeQOjplhXDJ7DPjVlyHh2vTYW8MmEJOjCgPD0T4giwXSNtoadZCuqFcu6PjuOWBec30LnApS6TL+7GA+ia+m6WER39Cza4++CBUuFRlY8c9MoXLAvituYbG6PZ9Yehj+3zcKWgi/3uCfKE+KS6JIJPjM1tWZND7ubj9qzXsilwf35fIngIjtWcB2CIOdylStZysLWqopRupdgHcmx60azXchXtFEPxvRjq78RPHGiNTOFoeKDNbB6MhA4BLT8keQ3fl7FzuZUS2Sq773+aixX+T7hnfqZbvbXo+1KK8dqjYpU5Qf9GBxXOIdnz0H8E/7bb8vHV/4qYzCz13hVeb2vgtKJA1lxDQzoI6vNCTnxxLGxVc4XX2zRoB2riFfnd4HXETM/xlkxeYp/kTTtaO2Dcc9NMUVpLfc/B9WeNjMGBUSLiLt3f7qnqIwxt2bJ8EBa7Flm0tvoq7y7hD7dGur3WY2BQ7uAagDxHAtxZ3ghRt9U823oVbZv6Rqb1UzCXD7X2bYFBXfJk3JjtU0ofxlq30MtzIER84Pr5AsU4TeNJgZ+pnhpBfFNbz04e0zMsJ5k7WZADt90UA/VTmGywo2HCxSPXPufk9IDCg+mmav0tDEgdQZ6XAIasJJ37a4bWff136NVfxWVGzJfjU5riV/kkivJQkU1x6zKozXGTgU+UMRe2qdcZjalZc+6m9HRlkhjLxdHp6IoRyf2oPOAAi1Tlmhd4E98es2OhHt/BvJrffhoQy23LVpp8MhYoYLKraAU+StDO1oYp8ayn8IoSYjZ9lN756wAxbdGuDkeWKbqZYH56tUze+jgKmkit2/lKrKeizxL+2KRN4q3i/+UZxIytiH9l/I3Dw1DT0nZ6ewC+I0pwP7t+FwIUcHJrGgV5kHEx9OLZiLxeeuQFuw8JkW8veObxWNsPsAn8WFEjW7BcQ9FUlUoM3a0r3k13c+yjILz7epY8A29eFd0YuPQkWKT4iG3WWYzl7ZitphgXXd94HksolWKDJHi3MjiglRCDwm7r8OgW2pGK0J7P1aNZDTNkKQymge6rpWP9JeiHBUTz0qjem8BOjtrpkdLuMHBRb6Ug1Lqgw/+2L6LIgs1NIes/oppDEqOF/gn4wZKj4FzJngx9yDEauGlA2HU8GAXSzVKZSOkNj+c+THZompU2wMwI/pcpPI6SzVxeWKUpkRNfq2xnmV7GSidNAtsxwstrCDRLxxVJOLtRD3ESBmme4Lx5OFZX0S5u4JP4OZ6dCrA5zpfvMLPZ404qB/HhtIpO2xUxItdjYZyJMYVA4MVvx53DdMMAWtVmzWhHG/5fKDJmGg8z1c+ckfRc+z9tv3s9TZur8EXTd2bbeeE1TFO5SoJvM64laUCXdPPai/rmevBvbvO+8mgYG5Y4qs1ITLvQEL7XidXkOjHDiyKH2blsH5C6GNNRW3Wl593wlk8YBQ23HyMXb47xI0nqsFGN6uZbI17/un12kfI8F6qK7yOm6UvFSHeKqMxY1LoUDphQEv2hUo3uf1fEgupw2et9L769UYWpEhUfyRXL8TfdQefpjVi4FgBsVQiI10B22x9jlibWBSjaPqjHkrxR6kdAdoYutVXdlooOYdDlj1zIRX4Yz/vtviwMZ4/10FFmS2jJQhucMo8cn+kjRScN4/2aMSE28PNDonevrDxhd8yXLKctSR00E4sRvnkSAmmcWt4UfZGKSNc4oaMPpPDODmVFIqLyeZ16D/FC7SgpB13H1fz+7cM02koOTmo7TqD0+TtX5cCTjNshPUljaXN1oWmh3ovRgjoT1fNAyErIN0++j5TrzWnvkClNyVNEZx2FRSayHdE5xHjUrx6It9N3PaGlQWYE0Bx8+0mPQngUmhTbuEJgK9wPMuIzJ9fDjtZ+eCYNc1KqMF6/bcU+W0wShub5qDVBsHaLxmmwT0TgntnJE1G6Z7xr9vIBWvCdC5Q+HQgenZFJFMWAghT23/vCuHbzj+PquZwlYsuNlvwGgik4tcm6nmD9iY2EZFy2i/Ir21URlM6w/TmiV2fUj0JZB2qRxdGp/K2TvLGxxg0GqwK2F4X0qgXdmylYgKN381BYWn5TmmArtDaR6Ka07X3wcO4hVOd+EENAt4aWxpW5gs/rSQKVe9sXp+dEEKpnriwaKKxcbuOI2B+iHHOgeDqTlnlkEQmKtjfmE17ph7Wnlb7GISzZ/HIAwcHcWt8hZcZYRQZzio+QBmRNOgwz72etqxTaIMa1y4h319JtAG18bc7YDedEFpk29+UgH8YLRTaOPwGQvqSsPuHz/IHI+628rv2KkNjrSaBgwXW+mYPFiiJ94l+HnIhZR1NhqrDfBOOcIFq2TKGxihmG98wDuNBTLwlGHTXduiDbIoH9CX/4y66dqaSGBpctEGRvd0mlI6gwLEsFyyzM46xfWvb/E+eIoqjj87l2ZskXyCfRPp42hm6JM4vNKHC86bRTFmdDJpN31c/K5MxQTZLCAsX/r8jGms6BdOOsogurtf2iyGtZgqF2n/5+0d+X0hnY8fdUrcnWjB3B2G5TNLoeEySauG2csbOnb2FpnnMKVcZ1tBfrB7/vDccPOCpZUkmbrn3hEt2PTe8FgnIUJVBoR6qBiNOf9IsoZzNntws8pYZyFXa7RCTM3l6zBy4pDH1GhynViaU+88kaxLbaL6st5bum1db0Qj4ItY3QWJ+skA9PsQ0HVwXYKGfa5KVb7Guiduj9m3iJMP4hTyMjWU4xch/77Cio2FrH2NF0StM3dibFSlss8/Rfqs6521pWJv83gZ0bL7Spz4ADWarQqEditncxPfpqN7pOzKvoJBdm6xp8ZNsEUki5j9G/Lmn0vXnFvw7cl+40TsOU/YeRx3grL+0jHWP0OcNR5FZvc8Vny1IiMKSoO/m8FAx262KjEUW3wevgbVpEefRrZ614PdSMS4SuAC1lPr/mSQ0LEHSExOylap7tewKF9qzf4VcOKO2RXKz68ZFD1s+Z6tQhDB2Btr6Jp525e+XzEUM3Hfkz+1crd1vK8GtkgpUIBq0utFP5HCZrUgZ31UCbD4+wznNUtfqzFo6E2gKoF2K6E/TE60pkyUdZZXxDiER5PI5lvFat7KcNJbtrY9lB9etVAGWm2ZVKhhMcrB/YAm9qaV5UBUDynsTO9X7tFkVvjBTE3w/trZ1Iz2Fu/1l9QuFPGwxHpS1VTgsA5I0BqHYkiwd+Thr+/sJBJNR1sPUSs5jPCxYaOchP84fIkBG2mPzulefVH1DlTcGaDKzmR5c/UfJY6gOCMPfSIFw2XduX1LoSl87UZqGRpljPBD8kfJhXqYCWHzcwn1l1dVrcoZofKLozxTrY6LzE5svhfoVHlhhr9/Yi/3rW2D5NlGCQbFJUueoUdqdVraigXeDUen2DwbAYZfMpJ93m44BKABVAzMkyuArePRlEF0yg7mfszuJGDljmL6+4kE1DAHk5ZRge3Xf68fY/2X6jQQcB02Sw1FZLL2clUVMiw9xRgq/4Vdn5fv+nXLQWXYTZs4rr3i0tn8Iwnaph7bSbbdRnfvWcloUykuFP1/0MRz4Tid4kjZ2pbttGngkULNMu6iktdPa0+gjE15drSoixFnlWQfmQ35uUCo4H54KpKkUNI4UBQSalGRJNyio+plK/HjmAvhxKs2Bcj0aexwELKoi0nGQrpIGGYWLUmxizNUiUVj1VZaPNBT5lFsLoVq7RB12VOe4zYMr/BYNxNuPcfKlqmGX3fKBJ9Hyr85rD4qmUWCySaDb/HPSpd1kYFHZX1zIm6CDgyP2YEWxeLSLplKTkTsztTNQf2xO0EKfQNrL0KFoH3okx8UEE57rVk2h7i4GW6aWt2ZVQNXe6lm8dCWozAgUa3LKwGSsi2FqBhPMPNBWf0DtPzNX79NLh3AZ/TL0CkUIWpeajmr8X/EVXTBX1ceLefuct6T7xvBSJUpkkyua9vqUj3AaQVZjsADF4zHk33a+PrUiwywWT4WCC9WxZPT+n6z+6ceEvVxcPkUV4cU9sLxiAraT0zuOzRKazC+I0YsMggf+twmmDMWz5+186PlSxrOZPFQD2tYKmKH7HrApKr8y/HpV/LdAk9JMBxYdIMVxWrFg9NKS+4FnVOfI3wpyYtxGshpPDF8COxnTMcoi3g9pI2o/vz7j4yqhcipsnm6jtvPurzNRg8szPK+nL3ep3pNSx/4FwhBkRZSEdWpmGV8eUmpkfB5GftwXW+pgP3eHNhpVMHOqQELV8C9lnNao13b/cc8zOvOY4ELo2fz6UjFNr8Lw427q6z47M7WPbytZ1aFEskN4B/L9nodzWxVKNQCIZKMtnWR64Xhi/KxN6+n9kZzWUi50v3UwoUa9gIdMFwyOMsJG1VfEBVY4dR/iBkn1/wM6XCvmVhRA3snirM9Xd6TFa0NZQT08TlSziyME7iAAgP1MaDjXCMUA/Bhu8XvQ8S1uwpEUvdhk0g83kWzGEgOoeiZ0xWCBaZUw1pQ1hk2SrgdXjj3+Ax1S0xfI+lxvOEJxeGBTQ0aOrTpTsHMvacaP0QyCcXV0eUeTXP7akg3iRPkdtKZ9yQHHfMGB7yFtlsXXyFPqMWaGRJJ2dxheeGWYpYGi697hjYcV8YiqaJAVNDqlCqs5atWJ6YeGPD8ebGJrzo42dniiyGgUYw7NkPJ2oQAagO6zbSGeg14U+JE+1L54BX6xgMdGGkEkdanDwTeIJD9csePhqbmonXXAY/2Buck6JsGX8avnOG6SnOsR1K9UCPlvLjYqCvtv9/R2+B1NU4ff2mu17mO6ObQEIZPegG2r1t343Kn2Vk+TfRnGO2ljAaoTbPOwNLb/Bq+l64lR2Fm7ul4hZOqs/HiRpliU40KDNz1hIPQcIgzHKQvAPbRkIUPdxApR+ZbkK9/awf23fU24xOY0iLvQ+aD+5k1IPeg41YGqNoO5en+50ULk8lw5Z9EJ740a3tnGMKfeO9D4m9m9Lph0OFmyz2QcEc9c8UrcFezqPJ3LhrRT6pwrR1CPp6pAi7uVRkrm0ylQgXAKaMTxR91IIDwTbksAQ9Fs4qlvH0xndw0ALzQllCy7b/jh6+BzAcChxA6EXq7G5Xb0XUptMRv0lyNa3Mn5U5V3w5PbS8d1P9RIYtMw4s01UJ0eGCai0NY34OHY4w9gAhOpHcw+5QYS+CCu3aRxvh0/pwHMxzLGbeP3bQsw+WmhciLh09dveC8kTz5InNO77jObx/wYmDYHbSNnFZNOXxG3eqZdEJ32otzIHbrpa4IkHj1+CZZsmhil1rGCAEM5qHgmG3mtB8ut4KVEsMIxDeVROGEd5hfe6OQUbzcYkRVpBtD63lQ+aL7H/BZqk63Rmi5SRcrvIR2nu9fywwOet0ZRN3GCi7dLg9U8c8knclkZYM5vogtwoTGEGMJAhv41R/9MQqEsMzh4F3L9UAKIKyEg21lzO2baH3IbGy80nIUHfVz9VQwfS730DhNSEyLLvHYAq5uWupsvSUZBbvSdvjHxixCMY9IfJTp2gDHKL2hsoEa+yn5cRxfhxqZSytaXvj19znCUxliO+6sZR2NOZXd22wQQckwPatw2MPPXvqHJTXF34l+ib+kvNNMbbSyPX2hvBndHeHIqwYiqPF8XVu4Zu6nUczacgRV7dbP7YNEtRz9IbbXlBX2q93euAq+Gdp22bNU0ohYd8JllxDzkq/swrIOed3xRCucGfrU6PX6kD4/MjB7TwLpKKpWljhw/HDCqfMVQgMQYx7g21W0QmA+B/28Zc6BXeDqYJ5tDIJy0lsBNOduNFW9EkJu56xcbYsM7ul+eNdXZrobWqqMbvw6S4RxAXw6Ke1P5zP8ZqySEVJghSokxkb1yhNcMwfvA/lKZTOgSDPICJPpr0IZD2pTrUPjRw2jSpk5tFy4Dao0ohjB8hCRA2qUmRK0V6bwKd6AKgGi+G1dPaEckJSxhWEbIYpJEtaLy+6BrHNWuldpP7WrEr+qDct40AVQCbe3mtCr32phVKGy5lQvAZTt44NzrEsxZF/3gWJeGDhdCksduRxEoF15IQknQM6HbKUIokM+CWqgKCAMsN7i9Fd27VKDeWQwQKJG29q7qqU18+0axvix0hxbDPvGEI1+bW+aExkT0sNY2zNpKNovZzMJf3kvQEcFgxOSTtvSNCG5r22039E1/ID1zoh677S8HNRbBuKF5Z2ch/4sHFIohh1NYEVTj8vuN2mnXcMFT8qFi+9fY9zVD15M5dftCxmLJARecuF4vOj/As4BhIPSzOokRg7AKmynvrsHNXXLwNHQESwFVAjSyvrrSU22qTaghWktN0+LpmgilLMti45kMNZx4cP6j6ORdWXe5/VqotBg+iysRnk6DjS4LYOAJDNwzRP5qitRBlkDqJ3XtdTnKQ80uYvIX5QeAKEKHcJDDQnzUKZdnjPtpxpda/Hh4Hqu/uBDUZg30hZo3rxGiQ0xSBQ5StuzXGzMgUSCty8v1Tc34JObFWFcW4BxGs4+sssAp+eCOvrnl59JO6fv+rwILLlMm5zhBj4vgafPX/F2e2+HrlZgvfc24TOx+h7lJPb362byc2xqB6ovNBDcB4yLfC8LqtDkaNcuj1XdRCZn4AsJJ2QepIiPCOd8OD/SnIHllClfnl3uTdhY/mfM71Xe9hpXiR7ggI9tKAtSj+7ualanM/75ZYiSXoqIEaZzHsm58+w6vPgLp21aDVF3ZUmQe6I/D3MISdkvH8CnPuPOeWXOc2wJyukksa548FKcnLTE1k1tcopLmLkS8sfGIh7apCFrAI3DsYClPJJ5EnZ26kAWEGKC5NhSskdUXhiyuAoId15Tu8PNcpM8gK9baBLfs8LlhoAiR2eLLGRW7yf1grVXYmRlQz5DWNMWIcgTgLVxUrcR2DIukP8+/wcZTcKfZID6BJOcy9RIdPdZ63r5dtEZIDwUK7gGzceaq1qymTrvjIetyPKVs+aWIpPtnlWs2FEdwmW2akRFAqf/WC2v1Uft7hkNWKVFNtllpQZdM2ZkKJ9vCwAmJ7H7b/p+74sbH4pm/Vt9TEWlFZxupFwV3E2MIa1MdVkPZnicVOqLVSgH6y3+CpGvaZnJF30WPxNed+wxNRlAJdHmnrRoycSxx9STgLVqGlFjk7pyappPkygJ7XYql01gGYtuPdnpbkDGiEdayaf6ZyqjuF3bek9iKNv4P/LCrnw6M6LdVgpI6COu8CyrdWDMtMCI7nqd+d/DLS+Wn76NYK6FMZ64nB7R9XEsBU5cQXUYMELR1T5aWJ7nTMNkUDtiT+KV/ANCG5FcyLoTXTizGIURRcLgUbJi1aE9nWvWHrDuZzoVj0aumq9ykuFyr2Vd9GIDgvv/7hCALmY8s6tZq70FV0aHTw6EuezsIKkL0gwhBd3ARW23A6cvY0V87yOcXls81y+mLfNPtx+TBDuO2O3PO4qoMXXX0ywJxvQI6SvhNYh183qnsyKBL1bzcbxXVkJpxY3B0mjOrzyJNhU4UlTLMtQCaRXT8rdTR9tXscZZA3yDvgprgmoKuA++RZk8SYaL/xGCI4R25xQREBb2LulPI7xncdTaJvugRWFAXRogNBYyiW049uQPcgCIbUnEZKLVvlwBZ+DJdR3C1hmRQib768xNan6FfM2sUwShex/GYFqW1xXWBGmiIhvHYhFPCoQ5Dm691Atz72LxlW2P21KLMShtD352Vsb3ZuQcG1+tkdOuAi8ObBSy6kT/pFcHBgoTuX0tDObRqQw6AFUkiLBCFib3O1dDKpZNBKi16u9RskodWm3cDXDzs9D1GR1CAjwnj8Q2sqw4sbnqxMtK8P6mK/xbKL2uev6D4s6S76vB/GCaGogY8fMUtRE/eNO1VP4rJkA+ojdarM6b1rl0jeGQFab5FMOizg6dUDzfbcG89fG+j06grZ0DOOzDSAwOn8JMPiPbKYFXHukKRKjdU2Igxy5t5kfHuOUpwM2ISQzfv8a2qMLAsRigYyC1hj9WdKDz9qYqU0cj8ozVkDDnDfShulFTPeF/H1yCzYcuJi3mVl8pysIy7m3lkiqCi9+y0AnTi2V658CQKsBO0shcQ8fWJ51s47Fb9KjCg7BcGFgbxOOLW/GpsJwZtzi/QkRpwXInI6kpWD0taqXlqfjMt46LqExLR1QfctpoQ76F62YiLOyWwW8Yw6yNDF9jzk/6PogpF2uCk3qIRO5+05KYzV+LYBt4CTctZ5YjIDb2FfIw3qJ8YgZTZJrn0iPlF226grpimMcv1UgNLWtKcLRUFftKB9LVMcLlgKd6vKvNKdeVcTDSaKzvATG8xA+kbBqWIUd5PJ56TnTkV2yzIaoIY5gRt45e7UyfAxwZItyBEANa5tXGhY/E/W34R8js3JqFKAxXbD/Ih4hDAoP1jNGcB14pxksDU6JgNXdgx0bDXjZ6qaxa3L/6H+gFm9NX3FH7wwa91jGgSIB57lS/Qeic1c9x8+t+B/QtSEOupBQYR1dU22y8YtWwhNW5B2MpLrJfO1w0PronVHfcfYfrYDbi5hK4/QbM1neI+lj1E0NZGQyPiD9e5Q3A027sokzS4DCvCPbQB1YHHQnRZzJQAjqZzJSlTB1XWNmo+ljANIcE+egghgEakxJmtj06h4CuacHMaX/w8Qb51DkWg/izQtwX5BRZYAMd+M/RNj0SYPmxy/Qlcg20JCUyjd0+VPBT4SZM0yoqEP0iQwk5/noGAdUo9pkXxZqf/ZBueG8Kc2N3+LIFCix1lmOSjuXAHULA0BxX6ijoDeblzJThlk2Lm6tcgK0+1otp+NHrpQtiunv+pz87mfsRXTzuXn+/A7ZW00xmYLnYRsgoqyRlrc9YSF/8geuvokRnRVhnz+SQA7p7HVuHuabdMeQ5Srx4BSSP2dQKr8n4zmO9kY4SWJzhZqusi2jVhp/Z7Mh5bH2EyFRI9XlGW1l4OX4447BFqb1YohWltr+fjr5cScqjoBYXfwHzVMGCbjoJSzZwG8nACsJH+Xku3m9vjD2x26u3gN6f3VtEKBaltR7PTCHU4KPsNLGWqPmKqYyE1lqTI2vturRuTTyzapMtQGYSNXMvFRqkmdGpU1G8IjJOwka8Ye3JqAfPdNNbORS6FPdA+QmOoS+gh/Cdvh5aDPREw4eYQH6TeLmnrZoFmh8ad5QSFMNF/3Kfikh6bufUSc8RpiOsXK1HpCVcNiMazheyxw+1UsoiwJ/BUunQJuxhKr91OKSKyAQhqbgzTCjb+NOK/zjhiEv54ToVud4D+fWZEiNwbtkrdTGbZTov8iiiPbHsw6PG8+Uwnlcj4vsfDNKWcEGRCJ98tXYwACNpB4+vE5cf/Qd0yv1UgnbB5kHje/wLFOSOAyZexHVUIp2lwjd1mCAy5rTvHkgaQFB510LKitGU7Al6B7TcNxzLJ+/+Zp/J4GblijYN44JiLANyphtAUCRPooMFDjNzR6yCzFN6DiXwFQdfGuX1vOwvFww2AVB0ZpNbwIWffKlBkACok0FSi+b65+bDBuXpFthFzZng040PMLDCu6K2ycFwoKbcSrZAYvCjpscyKrm1TURuqEkgRjGazVGmUQOYtZFKKQob6p4FavpMm+htJfpX9gkaX7lG77HO1bGq7j+YflxTLT0OE2qzMWe/kf7aDlkORZRsSTi1ANRvSIBaSSo3qbAKLYC0RHEzElgV5pwJyaY5awyjEPIBPNr9Ft32F92qeOiFe9ow3cKG6bX18XB/GLTzAuGAWTeCOKEpgIONLXuvEY85TNnaWXVr/VCTnfPjNMltzgTSxH/rlIpLAfqaQXZESCdYIvrfn6dh34vm2AguE+0p8U6iMORfGptEunCln1L7ZqArPPQsEisx1ZwcyTpMk74EtwLpkelBdIugWhciCCOL8YfyiKr2WbHf1udDtw85cBzyNlgKeci70kiJ3r2+SZ49F0qGqEAQ5fVCY1cVEm0vvBfuINY75t1McTYUka9qORTT825nufpu2P0OXidpTmz9T3Kn4mf7v9nqKQ0mx1/2zPHwbSSdBHduYzH28N2fbj0VPPcHPDrQSouhMVBnzwvzxf3uRE88t4/AaHO9H+zcV0UEDjljHhDn1kLzGn1Ps8E2Hhb/4Qz3Jr0ckb7TfAIs4fhI6JH66z9Nrv976wyuMewV8J1sidmQVel/tq4aYJyCbtUwDyrcOFnPiZEyZUVHYrNWkS8MKgVUsEmvMq0isPAL034xBoeUhoqN7Ooe7HqzNdBr4BjMOm2YzNKHs2tDjbalfrzXXAK6hziVdFZT47x0v8AXag2NdpF6vhob5BnamBXgxMMHyQGq3M9IflZSD4u1M167DbrBmxYoDa35rkPn47WzHpHutoJMBc38wobJnz2KrcNyhRI21cmqsBc9YvNnWGyDZmj9GPABUVrthfRkYjnPPBNqWaiCvPRXVvYAafQF7MRHtTWo6AIEZXt0AC0O/a0rWzEDPlzrAwHRvX9C8ZVGqJnOi4AIZj6jig3qAOxznNGadighr0Z9YlSQaGZzRI45XuHKT3zl9z2wTPcB7uGlZAlwV9+Vff7uGnLyDNBJibdSRzPQfok2j9lHjgMB97Vj6+vNgcH0haz+pdOzJe5Y0SnCmVszlD5vsY2hxD+WpPDnCpm6i+Xgoli0fOznH9BD0DaEdD/muKLllDJ37DMnfPvB1hlVlE2LDgyP3Y408Aj7uPp0wKP9sRnBp7UtxV7p8hpiAHdfc8AoplBhw47cqMAae/pq/VLvQk6UTMf2X5qubi4P9OSn7Kmuewn0b8b5HcII1s/ciLZjHV/LMg6MrIbJAw+7pbV4A8iPM9NKeghvFJi7riJsBk5y9qUMZPTDlKnCAw1e1ONv23CUTnNOa/4yvoWg62IzAf7YrWULQXzr2X1ipAf51cz9WtKbMH3cnyB+1+Vyf0HFYQdiVL/GT8cdPYOdSlnW+1AnRetmo3BcAWPsUk8MUe7fyzkJY+IccqtEbTz8ddGFRxpFyZfSnyJXacCEB+4MYtF3gBxN5ym+QiR9WGmuNJSHaiZZpDEzJustocjR0MI4DtymnMOfP1dAZUcKdheIg4co+CEDjCAfC4J7jVxUOHtGuPOc4A2QWVFjTdqTeWB/2V78GVO/7UxfpdeQr9azcbjizohBm12QK5Ez1X1TKP/xpp/bxiGlC3mBmW6AuyWuCPxsUYbr7UdMt+XJvjHRHmtVqM5rmWwwP/5QF7t4dwqDpigU7062TX8a/uGWE83w/76FINeCVE1Z8AQLjTPW0LbuR3922nzQDZnlP07bDp05iuLin5fBw9idnymK3kMAZfzgoQijaSMfRQw2fsCwgIrPx57lUiXfSH9f2D4Erc6uZ8k30HERmdMuH5588+j/OJgq7UkQCWyt3t+GRlX6xxxG5kBC+7PxzUmAUzUMhj6fHwcqwo1DC1kEHRiXiHWgLqTMRpGib3VNFl8DKpAZ2JiTpeA+dXODxs8zvnqDQbYLxFRoB42XxG7cWKwPjP9vS7EAvDoV5JKfcfBzKXkuV3BLeOn+xR8Foa6APzoQuNkHeL+2SYCHhpptOQLR3W+7WPWvjgsLqrAxdGjdVcrcZc3Xb/FJBxFXp9vCAE3zf5ykdUT1pLCh5B+Fd5v9WbSQErajP+F5o0J4c/kU/ostrgIVw5y2Mmj9MC2RYxUf/bYrb3obZYESYWbjqV8lJa3eUw96Z14vuybZqZty9PuA6SY/Brkepv2N+jtZ06TpOi4b1Pge92mtrz6job3GgHlFBfz/y5EqTGNRkdVTtipdErg9njwKqSqfdEB+j05M4UwG1gOF0dZ7+YUTkC4sC4YOU3bzKZrNpLtvXEK8jC4FerWC0D9Rle+tneE1Gk0XQnkTzWkgO5LG5+rumgfBBsSm+xWKLLN1Vspc3MgnvGd4sPUZ+lTWXqtl4eIiZzdR7xQkJvCmvkAMPMCOuMVRcifenVnAexLZOjHZZcL8eSreEsi/bfbpmy8eqU4AWvtIUaRvECpQvmqrUn1hIWwiMsvdqz/p7gidQWegToyypudJMdHtJ1vGkhHPS0J9P2s4a0OM5jjHmJ5AAYbKVDU9H6OYd9O+xRkHBlFCJLPZhgF5cUeo2RyZtRVMKRe5NEDHvcYlMqw7ca03JVuJKCqNoIPO0BLaVQf28DI640m+cfaRsF2LX382a3jDMx+TdV93hVlIoUUiUjYmp0SYCOtnNCAdH0oSJV1+RSaeXKm27H4OZ3A34jtKH2eKipzwkdz53aycsrl6x6sY2Vn8go2f5YZsV44aO4/mUQtKsWtTma5gO5EDpbMi1mza3R/mWFx3KQ4vM/lZHLoIJCZuplQReP+AdRD7MBbPTVY1094T9mdAqDUw0qql2LI/y72o4OIkrWBFX96qEQkZirVl1fS2Ad+0jjD+T1bnXvwvZG47TWXQ0nHpVmSt7j8xzntnTs/j4HyVWfAJkYQzc7M74ocegXkDzyvNIRxhyc9JLoIbZBepfjCaHFsEY4EpVjqdlqxt76HmWjPFgB0moyI7uaoVTL0kGQrp8qeu9o540xkMcp0CYb+WxovFcXBNfZWOxl9OyTlvEB4AQwm6CoRx38EdjKQDYxkApQnFCIk8UN2/MQyyBWUuP7mjb4Kp5v2P8byP6/wdCWKjBXGO44fbGs6LDObbgIYmGZDaWXDZsMUlxSUl2lUvP6kf9eFSg0ZTp5/w8qe2BKJ5B9HHrKm5rkW/e4rZMVykvJb0x39a8htrfvctU9Drj+lkJpVqdUdijql9oHAGMXQfzmviWwuWZ6BzbcC6EUx7HwUYt8eh1lTzBpfJn8ykaARbCmbi9segn6oC3LCrpT7D3oiLFD/wZHXaq62PlRPhirV7D9GGHhlmrhRID0UK5oNh9qDGhmP3GhB+v6UgS6UR0cR3QQ9tjYfXM9NZ+JaPwuzHDLhjxTnN1EHRXjhznDwKQCo4B9Ac0aOhtgYHUP6rTsA473JyClGYhNA75WGn62kr6LSwEKm+qiOy9wjg70wial3Nva4cYOM5NwXLmxSLzA6+oo1TVZaJeAbFjhz/u68ORRnYFnUnv0URVfuXZO5Flii8D3EQ4c+NZcrx9vPbSjtO1Fg5+w6/5jv1HmlhyBt9+s89YziQxS1vXq2p8GmYuG0JCUoyU9I9y+Dx2JctGkQtvH2cMVr++5CBvix4BiOXJMSr6q6E1KR8dDppdFpcOY7NXAzix+JyrdnV/hB2HeKyhq64YWFWLy+SBsR6TzcbBHZdLXeW64F9Gd1KPpf8spyHZKgy9hT+vw/8m2Y4yXGv8YWaBM0bM93EEvMxxmEbJjWCIm64+yticlQMC4tfuKscgpSFHhxQBlS+bKNp2Qg74bstJ6wDA4+5Xgot9Z6Ogdha9FwAdypKwGpihb3F4NLoWX2ztw1Farmc1uSeoWssz/GVLZT/lDJEWzxwWXtc2Lnt1Gx3+OMXz1riKlvjUSc1E6ppeqOC2IuujqAXLImuybOcqFEkzO2fVyo/xqpTvajOOa8Sj+laYvGcZVa8tqbT4R230dFl49bcXqmerJYqIPZa36QvEqZ7Ra0nENt5VVmfY6TcySuTwNmc2/c6rxH6JRg/61FLBNb/CYsvXwGVCxCiD2bByQOH3jL+YQe8KH5ainLAwq1iS4ODz9JpY1BzvRYDa1XPc0jnv7RjmP++HdUXc48T092OaeGCCW8nfOBUiTTQd6/tBtJ2covqKwp4q4Jjahman/2eoeqSrlH8XYE5K/5c/fOV+512qIFsdHz00J5OHF4WpnPevc15Jov4Yv1c9REHMidEhSdLF1spkLJRnzcw0C4Y5FFuIVJYZUuIBn4p9TQYL6ER7FKFwi4EfzlCOx/2g8PwHfEN+TUkKZ15A7J9WqLJLlWCJV8khzvSXJu22X1mQB//T3oTHGr7WVbS3qO91O3KPfPRbYa85vROvhEZc2mvn4pXS3C+F7MHRhmzaa7Vz3zXieKs7oLwzicflaVGVX5Lv4TnCjc2a8cYOjmYF4HOJmQWNAA5FA7hQ+GjAkbZza8eUoHRR3IqdxiNCxk8E8lqtX8R8q3zHrzfgThHpDXwXTeNm/ksVA2bf7UNT+EvvDM0qxIgHV1jVq4kLODfeyGJ7QkVhwe8LAlT+kh7/usI248BsqrgozsRnjx3OPUy8cjHZczGBzVwREr9fy+Gval1/ZS/CtzGw5xY5CP2uuK6pXrQ3SSe3a4DT/mEwuciPYzcYjkePr8mLXqkQzWAkUqMiRzy4ZBfocQT98EgtezstUT5EtRLdcp3b0a0OVdk+gnhBrS84hgopLI29oMTGD8xfWRI0B2L3XCa1TZem2FH7MHQBFSUNy+1CT9sv8n2btL7jR2gAItkoC6tRHZhfHuqJd/afnYXBQJ8dk1L12ZDw9OCynUxBIbFfHMAVc6GfzBrcz9RgxYe0bAsbrJpn1HRHfoPtBqS9m46OHChfVoFUbtnF7pxJrJe2tP5jd1+ex7dOML2K0nP0/HzoOANwD/xPJWU+gHzcmswDe7ePaEWyfyMiGcwVqak4l3EtPubt6vjauibFPS1/TqGUiyWh8F/8KCyF+WBpaidk6KuNOKK7YTpwgsdm/NcR2a+Ix3KSe/JkYLqRDhY5bGQcijcKr3T5pXuNdx82oi08ytCu8+YGZHDRTn3h6km9Dr/n6iKq/M4+JIkqTfc1iC+OsmrS6WTCfOf9z/DhIpqkb+eWUfDsWuV1HufPLTmvSxu4Z+34TNClQ0aMQjvXzZqKG/p+zBhPHOWV8XYiO4XynIsOnRXT5mAAkCIOmUy3KymFMhLIYePg7em/utOTZybZDw4c2U1YjLyeYMF74FeNstpzGF7alNC1s79kxiQ/K10cxfpyfCafUYTY8FyLNq/TFV2JMXaePQp6sntEBDw+zU9bdFqg0G11xh9868YmZogH+u0qfvqzVMYIQ0cE6gLVcYOCRmAWGAsfH76SzjM3J83bK8YFbbOitlDXszB6TlY9fF43JbwV8R0CmaI2y4nErnrjeyA2z+cRHMrChKHZlXx4RFpBUPxS6Ls3ZXiLvp8zaDHmtUIu+eR/v2LPgrgdNQKbux0ZddyWJtPcRwaHOLzz+AcsF255X3PHbZi9g1FY3zTUljyFlj9CCNnpbx85dYiPdEoJIe/k0Gt8rlzWCjCvlJQYZ9hoAJgZUyV3ATlVtZhx0vCPqwuAB1A+yzzrBr2N6HHIHN30wSIGZHIH7gmxnOPVOoaA/K6AEFpmdbSRc6x6ll8W4KDp3sxJpXPV9rYX5Rx6j/v7y72Tw9ki4XOVeUnp71p1QqCj0Le45EDFpIY/NbO1B6SQ1JKpm/swEIRILbPMQ+n7XIdN0haVpwmLH/UeIddjYLC/GX6krfvuXLVzjweICCuC9fFQ0NWtXqprRFw97yEhOm8smSH0oe0xwp7lmuP488rS78+Su4FxGBwPaYMc+HMde3kCceyamhOwMMzaQEYUkUc+HjS+WbwX6G5Zb/5Jbqw30kw1VHeC6c7abffXxPPi6MHuAN4CTJeoM/eJ0bb5M+uvP40HhJMJLsu53wQ1z0y/7MtiDMXk8xh1BK9I9MZ4ajrcfb0o6b9yBJunodqgcNxcpb6oPSO+U6DXwDPd95PWTI7i2/EIMyG5/6wmGMzIciq3r1+T9W+tm9KfePOhqnbt2jbLx2xBx2wWVTn710hO7W4F7zp2K6qhdrkIVAdlD/e8vFlgeqRUFBdJWtWQTtmqS+KtuP/Ua18wabMkEWzJGiudVKu2FpXaFI9ekeURg7PAMYBxJjGKOzqHp+qzk3lTMPcAQEzh+91g3/6ZRnKQkooqcKLXL4NxNDFyrGduAqxotVz0tNeBKnJjYTXZQwqN78Dpjjgm+sAVt71VgnBB1K0dPJTuuIqhXwgHOyeOAkCgAFLIWs0Rkyw8IXdOTccBcvenJgojJMmpmBrHTBDA8G/qI/ESw45EcCu0DbZyr/QEeIysgKJ+tNMguSc7MegSoFCIRG0zPMJJTkRdmli7wJGrnh5orhL/2j3X3ozVDt0rca0Nqqw98nXOXPsM/vnHPlPuJC4O+1MLwQV4YyQCJqHiZEp0fjvReJOEEkafQYfC4FHXBPxL9kOE2C4ZGs2UZqIjJdndV/gI7eyNwcSFMVlclo0BV6BlrVEz9XUPJ/i5bUj/HBnJZFPf359OkLAoAk7sn4j4my8EQcRQyJIwkcrkQqeAaieZpAcfiZJU3SBxyqafmmTo4gp3OGvw6XBwQmuAEEfWhX7M+/SsKsQDcy2bRr2woUpqyotT+MP5MrOJk07zGeBURIRHl1qbsrR9tu2Fu2uoKZyx2JyIfoZrW5M6E5AMZcMuP6wbEKle3Escrg/3anlxC/yxfre7HrURLKr1Kfmvux9R/mdAxZudWAodhc8It9swE+Z7sVroRSGzQaFzzMbrlXxzvnXkbZQ5M4WJhiW+/9q9y9p/CYj1owpAHd9vLHDuotA+bKloaxlQHeUxBTINHqKPWat2gYAuhMyLzeBgZrDze+kviEhs5SfSw/9MAYDZzYivGTC94wzfzB8sZoAaXnphnHx+VbQfEbwp5regROFCu/CoUnu9x+9SCMrwycSYX8Zoo8w+zCIKDwndnPZ084xIm766fkAtxx9NG/XHdLZSOCwX7XliqXKtjAjrB8Jzl2AZtpVy+Iq3JypSEgWeD38msntRu9yz3gBCVMsN0KuyHSi26vqZ/3stOiJrYu/ZQ8aGu0ojLzuRwTWHkrmISfukMuFf9WpTBjkT+BRgaWGUAlXpcthWf+KdMyxVq4nRgLPb4GSfgEEoxOcfOMS0v2ZsvDmpSPX5HKfcE2OQ2n6EXOaFMnBVUg7F3wyfwNyEh9A+LMmOxz3A16OUtVVvYBCVFOSNyHwF6Aw73LVcc0QBL608edtUVVOK8jpUovE7T/pIvJ0P+WVEeVWvHXmHTtudnf28qh4zriin7J/eBAqfB/ir3Bn73qHaV6Q0oTzhH7GJH89Pk6vIo77umBxt+sW/KGnAD4YWiYhT5Inc8DS0VACbkvUM1S91jet+XUghCyzU8D5TzDksfUJS2VKuNwyUaCAPEg9PArb8hFAjUgzfXF+Nle7RY9kG6qKsvf9r01yGuc3uF7ptyAzoMyLxN3QsC5Kp7sjjoIBDM6FuhLL1Ul/xo3ru5+bRKOalYiA3q8SrQIzJcTDzS7cPzokJYhlMK0aqsxsyF4B5lgHFJPKBtkzk/zyCkcxAseRQEyISLrgOH3Kbo0Wry+FPKLAECYG8mp4lPy0oAatPpYWyiZV/dwoCmaQDxS/jPNgbIP6io6yAjeHl+0TsZ7Mn+wETPH6FoG33BlvneHA0MUlJ9CkGOYUn8WmGSRCr+ssYmnRw0TBc4CZr8NHCaWLtQXAox+fsJgRyJm8TzKnJMvDpVEqIApCZyWQwHwKjrry129odWMRayfMwcuyfWIgzGXlkg82MF2zBOpG97YTcDxMIvyGk8C09BgBb9fut8yigOsKwtzybbDTiC7uK0pUbvqiU5Ub7MDJ+j0QU+Ll/9z0h/xSsgh3PQkCPTmFfXu1wOLrCIxKgFfbk8Ki/FC4dBcFQRdnQZbLoxUyXuSA+AqrA8Ada4S9JwaxSPe7J00zVhp3YtUCHeEVWv/IZm1bokBzOpOJda/FPE9AWbqfNS91vJi2ozH1hGGTV/Mk7VyWh0cSp3rZb+t9NHYUqEY7DVxTuKa/SCk9FsQzGfEXUbUqiccMHyQFHFbXcrn+tjUlWdoPBKJcfuEigavXXpLmXmThsokG/vDnq7P1ETFJhhfVhA/SmaWGc1tnE+yQV5qHhZLQmZ/76MSaLMdPlT5WCTMMCDbechehSn0Cm1+0+BEHnfu4tDniKjrHjlgEenUKom3mdap7sT6GENP1inE/c2wcCS5Ii43rU0JEoiFHH/5qGK2ubMHYhyvksJQmp87HjaHhaBeGQOaAgXlDBf4LxYj5+JyeS3MauTBEWmhNxwUmn5V3+6i6r+44oPCPiLJ84x8HIiGaaVbeQo3CQKHGi4HoTYiH/OUiOE34InztS4BTgiHDtWe1vz8EsYNmgNO7vTJ3yL4FPwdnm8RS9nTBg3aUeifAQR1KD+xeLOgBJ592iQx2w7AKMB0mfmCs+FciJI+Xj5cpNTdIvTEn4JaGu3WmvxC6AGvm4MfneqE2ARtxexlI19HGvOm/5sfxAFeLrAeJp661n8MkRQJFXl5lpyUbNg90EP8EbFjEH8zXnCyUkuQCfbNy/WGI+5JNlOgldPnsPgwtleIBsGcGyBU1LZhjQ9fbQcBdJLCaNKMUBehx+9M6ddFvqfKON3k0gNac3FxJdvLMKSXNQ0csQEUDgiG5ioj47/HfMuXbRACYxC0nfLiMPOJ+Ghva3djwj9UYOpoAuQYMCvyuGp06o8DuPVuUTAayWIU1gD6dH4CnjairCWQfvqR9mIxHJF2+JWknXed4KXGmRgagiudMVQFbgIcby5WInqgMX6czPDcv6bRuaMy6+ebhHvRIpGVAB/ejp3KdH7euZj3pEaIkaCRLyI8IMVPMHSoMJB50YN1MMmwWj/m2cTn3gYXipXYXScYoiDIDioc1MoMV6/iTap+zeieM+hxQsK9MDu+nn+4Ogb5JBuRBx/YZPRPYdlmF9NGEzVPnVwUcUHcL8jpzQueKgdPCQSkkzcEbgxly1VWqfx9hmbvyAV0DlJ9NmYYgO7n+hC73fKWVH8RGFXP3v7sxZ/JXkE6IEZ8J0Xe74o7Gn0Mqc1p/uLJcj+3ESOZ0EO3O4YuwmyXx8JXGqr6Y1C+Lu2gyajZ7W87sF8bqr2/x1wGOWcNYEeG/se67P30LqdIAa0WbxJCcZlwt3E/AeVknnRovRMTIVOp1yvkI81HeUl3xk5kUR+x5l2BWYGLDcc0UmBOlhxP7/UDOrbm1HkUeCugqrs193sL1rVoHLNlAAlaqWRnpJ22t4dqrj6+44/mdVhIf6f5kaZ3sOQTJQRxQ8o6WxgIpzIauRE5FxN5FtQ8OT5qWTzdwrwRzo4ZoYhOBiLRrl3HSxRLzQuYdCizTUtZJjzgmOCLf5m5M8SDND4Q4dy0fKairNromy7DIS0rNm+QQfVILfDswFjDOuiVzcldMtKRar1iaDJ+eAjE3Pk3P//n7bHFFjXwdJnUhJ/In1GsgluTQmi+q0ErShMZLqxren0UluIELy0FCgI9uDpyMZWu2oH5xzRyMr8tf5SiOK2y0kvj5PNiruRvB7zl8H50g03Bt1Z3A6US3qSnWIRNgBFqU+J41zEGTJh7c/jEg3CkWDgpcz4AoEL1sorVvwkPNjGVHmUQd+ZY7LcLeSnrjhENjM8u8G0F64ffCBohhTz/Argatxf4WvNUmULjUXXZ8MBE8D+nPFiRy0vyh5+wKFl5VZA4+7x8ykOBjIVbEtehU4VDzyAcyvz7FUTI+s1I6J4GP3Ny6C4FoaAeFmn9f1u1YVHAQgRGWBpZ/l3EHEDPndgj4N5oKeFR9SNyroxCANJKoobjquOaBjH2u3p3znPRLOJfJa8BXDZOIo4vHs17fDyoQGWucpGvBMtimtNZwXBZPLy7O7W4/AekQ5EwPLObL2LQsWy/F34BSsH40LrneGwB+Lby2VI92R2QRpmeLNkKKfQqarncCiep+JE649meojba6q1i2GxFGzRPgBSDiYjXup05Xph4Kj+czYBt/yhZg89JoWm+XC7naC4lB0kd6ayGlfKIuBJNVDVI8yT0a6e6gwmWBsNlZYiarPwmOyzkZ1L7WMFhpoetKA4auL3q332CDsp3/II4aJoeEO3S/3W8GqjGZ067egu3B7w5C+pvvQDnCVFMTQ0IqepcLxV/pWYKwZprtxh17c22PeLY2KVlya5mwMNFdLQHxzPN0imdh0YoDhRspH9Xeqaj4983mUHb1vxb0ObO/4UyfL60fe8UF8MY0rxgMyEL5CYhOBB3dxzRbdDoi7QpBYeqD8ehdCxJXkHLBoCQm+7Yc7Lo3RBpW+HIeShjEWoOBYs0yeS8xQEBdzNXJa2BAMk11ZpVRkdnbCgPPdLHTCvH1lgenPGbvB1DcQQ752WWs7q3lDawpg/vq81mMZF0q8NUgIctlxq3u97hw1gxSGD2BJdVJg9yvuN4Wv263kXMrl+KG/mFhPyL8Gf4zgOY1nQgOB3CEwDFIgVwasvUfIpLb30b6W6cv7/4pbwy+AJrJ6ZIR0gnNFwd+S8hSheZ8p3PJnsZqZBgHIufVZFeobC04y7RAGMPRVbiYuZ3fgdpzkA2t38ZPvJ6X579hjv2BScOReuBlfKtjG1RGZz2HjhFWPlgwaePoT6ulbEjQEpoEuAi1BGcEze2pARYROGwUBLCD9mGFWCH5mtTPhUxrMqbqA5XvIsunIitJsVF1MGC7m4hw/15f+vD8UzK2yd8NfEN5vkHSpuve/JIM+6Su94tN9MUlBn7t8r7kcP4A508b8CpyeOzZoD9uFALiuwftF6WxN45ExrYB2LZwtdkMro1wl26JjQztEsCrBzpmre/Ey85pESNpftTnkzzR9F4SNINEQBn7qA1HtqKQ0g6JZw3HHNFZcDAAhc5OMwhp0+hKgMwefT3A4ZgCwj6Ocy7gdo5gIlVXsxa4tyi/55/L5blDu1rsOEkoQ9TXxaMMVdyYnBY0TEmrnxIV8snzwUV/S3csv8l+a96rCw42m4En6L9q+i6dTZ8EkZjWqtzvNtec1/u7Z0Nn5uBaHuj5Xh1cV4y328lIj8fke5niI6bY8UOypLgk075oT33O3OkqbwGPipvrdi0OaFIWiHOT1mqlqtWphlXBezpbAKT5pM3SMDgrEU7SXgRwsgO7SJkpHK7RTN7IRN8SjykSBcDe7VTYP59KYKwmbm0wXILsrpLHB3w8ARebDdQXz908JC4rBwYuR7t0v0qtkqI5VeoKEbNf13RKwy/uZixgQKBqijyCqR+2zfwRV5kPwpbqMz6lQeCT1zgWu+ojouhXFja22sMPO5hHfr/rDMym0OQ1ERyTk5XZJL3Yx1lqn+zBHVuxfLIKkKArDrsv87Tw0sw9E5iBIyaveIgedB9deFH5kiHdRlvwwTRbI4FWLOZnAWk4BlwZRzDeec6zAlBCXR8sXmZ2ioImZd8o2laZwNbkH3lG9BxpHPdEuRhd7+DSgKdafvxlk7FMh3X7zjI5kFHSUzH+oZb/OyGTAcU2Cs5xwTc+M0xrMkJ8oj/I8hjcJ1VpEhWrRMSCY4LW2Mn+6AJz4FYxRpvtKlhnC3Et4a8bCmzhNqQvjQREwg+ZOa/1Umo6mkb/8qcdGQsOhsjO4zgJMIk+MQx0lrcKDG1Y1GljWwigJoxMNhHIYCw3DVhJ35rUNFSKpBO8okCmNUlc+ozO8luKVNoCZHTvQYfQT2lLwuF6iRNAnksB+7dUlIlDG94Q7iTT4YUlUNCmnv5Ow+8Ccct14n2V6q9KMVlmeoIITXIf+vir6jbLxCD6qfM1S3cRU4LxaI6B7xnzaDybJiVyut8OuJpH4IWI5EnrzHZE/HCzxdyhElL54vf92rb5OlrFgOmQLjks2dDhadnG+a6ZtZfQAuJMvV0d09kzINSOTGY03eC+y/y87FasyARcLRT2da9gaGJm9S37P1+cc7HaO0wdw4RVCGYdTwKouiV2SsY6UoynVyYMdDdB2Yy5FZ7E9juHMg+On4N1mZ1FlKO3CC0zFFrSo3RuvsHopOYxqNzz5cs29TDr11MKhzqmV2IcWGBxvUAcuRuFNMigo6SmndUA2+wks96XCrFZMTPrSbxwrdqNRP/OaHJPSlS5sIWaPFKmaS+j8+2D08Uflugac7c6UrxtGjIA9bDk4kYi1ZWtpK+XT7p24CzBHVCvXoYBCmk1cNJaW3J+NlXtb45fF1AzWJATTwMtBy+ngqKfpGK1AT729qCrM8bo49CbzCTxicufM6eBtIegymMkI9Nrfx6kagH8Ru1gSr5gpvY3U+9uEItJLDXs3a5jMED5TH3Os+PgUt4GWCSbTa/vJ/mAWkFLfe3O7I7y0MTBenUKZ3FiKhnKwgNAbh8Kqy9Gxc6lNu7EzrGcQW7kgq1GgaYaLRIFp5rPt3oRRUwPMYdCTRAPfuFZJvBPHygV9rW0ZwVJzbSuSmy6qbztQOuCXKgk5+dr+LIjgVY2zSwmf8HyxPVKmvuJCQMIaJVfy7WqTou9+p5eey9D/cTIe+RLhkAidNIKnEwEVznxunP6aifpRMxs9OIAHxjDAOXZUJG3laQkIQrEP33iMB3eSS8wnC2Vi92l5PVauWQDy74roSJqU2qUcM/IIsB79nvTSQpNjdkhGFWXWlL6KizOciB6GLsSOPXx8JeaYSBOTSYmimQh+0rvqRd9Squ6aUMxh0hj2abU511NAS2N/EYyk10UzqXz8tE5EV2DAcVqWnWENudXciF/U8pNuj6WbOSN/II5GqKAHm+xyIwfag78MeeTJC/XgagwscDxKZkAnjOYN/hSCq0hiOOWdYuywE22efcEpqpZieYbNGDJZfFF7q2a/kPp03C73KaENN6vGm1pa3u9wMfGbHjdu06HIIB4ouwwKXm7q2oE8qnH3zGtedly7iCNRyfoSdRkij8X/qzFefHFxch4mZHoSyM9aL2w2TEv8QY8B+lqUW46gGRRbPMqNAL5hNXi2AhTG/J0zot3cUfA4BuqLR9WAqlBqm0Pr6zuLrhdFZ+u+7JYX+0jFB+8KN4KAfFQR9nPgsdCOgklDP+g4LszA94ojmIag7hJqkUO4rEJRixDWNqCGKp6mZX0OtGrA3jI0BIYvhktNU3GkZH4kyJC8VZxP3DnUMYhc9GjGM4bpaq2+w9na01+UHdvdPKvt03bpu5v+XJ/XuyWL5O+4Op/AHPiLrRq3+Ft5Wpl5GEebIPYfOffK9EKhq2VCIAuQGhfgrLwAbPzLn74nDbSU4Tt8bs5CYF4Ac19mEM4UnARNgJTNqCs5Q/9ogUYAJi4mHSvy5jGudX39eNj3huYhsHZhVNNxajNXP9uDSNnEil3AzxiKK/Tu4/pDH1I9/v+96MyQYMKUN/rJnPfH1/hcZsi4gcqmeW750mtA8I99oWdbRiMxQ167p/Unx+C24EPvkIUumgZhfqMaVdsT/wcbxGNDaGz9mR9t5XpgZinu90WCC+t87Y+vOOsY029QeTd5DtoYvvJmsnCpUIzAGijADN1rIRcAjd2kcnrv1fQqVxq98rTtQ0kwDzAqHv0qdVoubG3rkM/r6YlbR8s1LTzzcnS/GEO+BD31hVBVfe2kxwgqfd019o6/I+TenGVcg0MbzCH1CBruJbO/s+IJD2tnURxWWMnkqtAxrNKdUd8OnHNKPja0n4RPECTIIGQvVk0kH+gdRXG1ETi58PSx8PIFHNOU/8K9EaI77ywhR+xzU7sn/sKrAnHjBnUDIgSJFWuIFy2qkmkdH8N+17DB9/8chgOxU5sSxtpXMYnJrVcTYSZ50UJDR6H0vtQZG98W3HNn6KAjYaSflG1cAwaPFQOTWtcZ8zKIdQoPA8mJqROo1pb14lSCkjAJCMOXGxxGdXbHDY1jnlDz7wcoq9Q+8P8AOIzJ2kg7PkQZmMhDal20TQdcV9rEUTtyQ0UUUj3UD+4AD3JGBL5+kvFYu88pvwG9RH2Yz7NeUoJfEylKtovSPGRlloPci4CW/GdbqOMUadiDPG4cdAml30Ak/48W+m7Ws1Zioi8tEPeiKCT67Y4P8yfhoad5x1tf2v7VVMNRdIr1mVcWK3SGuI2CNZWWPtfAxfJLrNan3EhZ6P0QtJfDorINDCX67GKAH9x6JwUXl3SsjUwyYQSlM5wfKUq/wI6iHwW/2pbAM7COFn2s78eRSm9OOy55kamKQ7rAKNgqFzCr2EYJB2/zeqHbeWGNpFF7O99ffF0ZDpqEdf3TAxphkXk1Lj7Nd+4B2LYAOTVDPwGxlBqRx8NLqJIcc7E6bRqF17ANeFKwBCtlH325jgb5aBQ81XWfwW1L0EPf07cxHu2JFSqgI4ugr3CDZiub3mpd4BLNf6eeg3k5/jC6hbNoQPHZUTKxQXEa2WnIqDSCcAGLxWOFHUjonvtGAG90/bQuFKlcy7ualNGm4sEV8t++DUdIxdI2olVd9b70bZmk4qmYLvfjphLrMydRlP3XOrrJW3St3FvC8cwuGRDPNXCpe3KJJg+atPkVXUk6LQgXMOVfQsBTJbvJEAOYIaj4rZuMKyRNkoGdaW5GiN0mGbDIKivGLXzzJevAQC5JIpYRjF5re4W6XqxIdkYtMUdAaqvadxoqj2Hq68nBLKaT3Zbj5w80UkjXYmQ4tTxgUEjFlO1zuMLh7+CTINsDZG9SG69pr+2lgO1E5E3yoz4rQxnwEq6tAILY+4rbO9O4ZBXAuOXL2figzVYqghQTYsjJrMQOCjMmtHhLAYDYwrH4FiWEZsMulthbwKUDRr1q074JNOvQ6Ekt172TlL+KtyOVn4vB/3UIB9ZDuPYwpmOG3T2y6h6ULuEOTOX0fC/ftpw8YDPBu78zuxScB28/t5YhT+i37U6012+43eZa1mFF88cnfFHU/10XuFbJnAzYV2Dq63wqdPg3PeuDbqfGuzvgbQ5gJCV6bmXMhYDEj6McP3knHSK8miL4Ro9wyW5xV8tGqjuejVWwORo5mnBpJZ/VqfzOqq5PBlmW5FF/pCTdPLG0XQPeYebvXAze/dwnBzC7H8uYpSxK9z3aS4Hm4YaFvmx39UdvIZetLfFD5TMe2QBuy6n2Mdjtja8QfFg87S5qOoRMsDobGmV1dJPmyMX+lOTXJuiPdG9zM+AJHIBxg+EHWVQl57pSO7i9WKpqu4r1oCaPYG5+VE2Ha8B/Pg5QfIYyC1+32fnncFR6bcXDjeK95dkgoUHoytmp7Lb5dG4spdUPiJn+N3mJ5qypByJ3Yr46VZEofh9/3kEccvObyqCIQvk5Yy0CzAVMew+F9gjVQqLVpBkXEv42M2RXYPqeNhT2rPNAPNmkHUXanFZvH21lZ1qElT5cloHjxu3KSasVz3dCoyI+ikstmOaefMVhOTWKBlQxcQK/V+cUzWSXVm25X+qBMrxoyXXZ8Ukt0SWFSsDE194v7nEozlcAKkx/AcLMjxqZFkGZF/ohM8vtcwcoOwVOFAH03w8a6zHF7pKMblz01Zg0CZ/eUYo8Xxu21zvfd01xX3+JXkn/2y+r3/CJDyj19VQJOBoyLR/osTXobK+ip+jciy8mcgbZ6ZMJJid2Vri5AfK+ClGLvKljxszTs8cwDLFHSq7RS3UK19N0b75y+KZc34B3JOCJi6m7KVNz7kni2O1JiI2nN06/OnOkFPCtVo+lHpvSgIA4m08jnqn0PLid510tR3n37sZFhbsGJdGN3cnIhSJ0z74nQcETYANxAC4NC+HGdGDj/hc/n3qKIpj7t83xrBAHSPZRgdQvKfXSWHTge2zraNMYriLPOAQ+82xBXkzaPukO857KrYU8qFZghQnaCMC9TcXu4Nj6PfYIhaCx8E1bfSFbRP6fG1jUcsjSXYghgUZrmjda8iwd0ddxJkPv6P1kLgiL8KxpFuZ3KTx4VtFo03NpOPy2gyEPL+npnzdEwo4+Kr4P9/qkmAxDFnkItgXQZDqgnyi9InlikDVvUdNJjYoMjsEb2YFFp2vxTQ9nBXScnUry6WLNAop16edJD84IA20b9t9pRao9CdMfMr0NDYArFUN3aPq10YfQ1ifXx9hykJf6xtUOEK7kmECargFD1f1Ri8t7SQqYKAYBP89uq+COxhDbYut2jqpSSmlYYl8tFaR3MvaSdczjA5YXrjrtBoAZFSZI8IVKMD0FBubIHOKehIr4dGVEGfi/JOpdC2rUmvtwaVtO5XpCnGpM965M0y/GDjuNvQFZYNsfzv7lJ6khloNBriEIK/G5bO3111dWm+meaqARC7xI6dZ2C+lj/iyWI1ze+pz02xGGEate3DQd+SCJcFhoHGpdKYd1x1vZsL6QkL3xkF8odQkCCNEpl8AnolviSo5y1/Z4cVvcaxNSRYBNnXro7nc4yqtOZkCr7hfCj7em2tHzl9oAPon5ukoQWRSAPWc6KklzTfmsk8u0lfDtnwhBZtkAA6TvS7f6/lNsI94hj3vvGN2DW+tndZnv2vlgDkX4GR4Ut/TsSwXnTivyvdf386DmrpzcGlGUQ30an4HZjzMNWoQzZG7Jp4b263WEe/PsLQ3Dw5if/niRLWarbPXCrk2/5+GGJCu7iazPFcD1Rt9d4yK+Ioh1IjSX0XEXaXvbyKiosvyunS+GOXVCdBdBBecyPEZIl/Kqf341QQgJSH/GYSMMf/23815MksXVmJZzm9LgZMYCkeZ1k/wz77mXo179Pzq10FY8SgA8DhHVSlZOr+0iI4eH+dNnE3kbHA+1vt+lgbcWStMeqEglf6/c9+NaZI/jHiPOvZjBJpOCY+wgBLXLTqQS25PZ3dL37V1e7+JK9L+a5oONHcmX2zZ4c8WbTFlZReMPTFwijzwtKYdbplKOzBgnTthIcmMmun4gNvKy6TOwkLt3ACqRAFlHAnGmpuLXGKT2jyv4/2EIP5+MTmTjc4s+b3YAyA9w1w/LWcOdfyA11ZzzgBK7NWatlXhy1MD49wos74kbwK9ANpLMA+4Irj7/fXk1rl7xQzrHyOltHUr+KngqsYjp+hahCoyXCm5SPc2ZZmoWKrqK3GKacp/8HnVwHZNVxH7w5bCGQBDX6Z9bJsLEhXaiTNMCLCNPwoNQUeeC5st/Oi7MKCjKUTkMn57sK9DpZK6sqXNrhfRbTKV881FnEhJ8ibOxHRf9wc5CWobq58a/F2fUSi8fWYGhKE/bqgAHs1WeAt23LM7VIdsbG6jYEMeqn8Ngxk343GHJw2ZLNuBcGWOHsWf09g2Wr/GCAX6ivDHQU+KNZu2chetFZ4cXxWHZRoxN7hxuynTOV/FzkgWlXsoJOtd0PzfdBP0ehZ1ZAofvzX7WDcmLCDfRVrndFBfQMCM/9Dd2et/EvhT78ixpCAuExwpOEgoQRu+uaIAHua31BEOln5qOaQJUhWQbuU8NR/SQsSx1i2W57CNq8767Q0SlfnDdAYzgq6OB/q5qjha0P+lL63E8Y9MVgVHIUlqrGnBHx5KdCWC1ynnt6eZrowI2Zvn9iT/iRuzy6SSLHZ7/zqbjh8h5ytM7SI8bKbEJNqbHcydKjSYLPHMdM1Cw3Mc6e4fsUGfRxKRGyDl8Nj9SBTnP3ioNyoPjtFSFfLfM7s8kPxN1YXn7z3KUzHKsd+60pCi6ZLmbIrT6paa+opGzlPNkG89FAWOBidXABIJJytrqWccjAJxCZW6rmAS11suAwOPpvGTY8WGegP627SnB+yLsBVU4Kml4AlV7r4fIoWtiV6AKJnIVQz+f/BC9TrNevw9yO+bsZCeAek/uvygvyVyYVsuczUdlU/egYkbgM5i0JBXAaGsnj2QuCGckuR7D7ob6mSXSHXNCkX/ucmqwlxdKB9e45cN1ypu2UCkHRLOyAFVhVqH4JYmbM+9DDSeKlWoKL3vjn+KS4mmBzSYW7M5vt9b0y3eyYLD4JopMLqVhaatFuBmVAbqFzvm0nYZdJgSqHc/kLInXcTc3pmzuFikolu22yISEUshms8OpYhpngGzPwkdE7TBYDsrnNhYcVeXvU8N9hP1rv5pT8Tph6NK38l+ZOGvqH9SZla3vJ/6lLXy1UxTF5NuNyuLYCQnqyrWINQ8QGvdZh35zVbKN/r08IjiYgL1agslN5V92Syv3LgyTPcBi1Kyg7lPM67uU/AGb5pEjcssgVeVJnk6z4ocD1Vb4C7zuDqKfVMbSKbHF0Mx8MGtAovK9EPqBs52eRtyTCzM3w5v1D+dZluFu2mmh5La99LhSTdx6Ta+oVMp0yDvb2gdOhVvqYkONkQ5AvEqY5sppaB0NuwLa4mlye+GvJ/pZCYPESoUROIZVOK6v6R5hustM6WRCjNK4ZbU8SMfekcz99EE8BdfTQ1m+zlIIZcINWh5EBgGocoFjZzKoOfibdvu9FYL4XU5/Nli9SMFWlQ3/QU741fx09OR4KG5M1R82D0dwXq5TkRvLej7K92q569DKr0VxDjCMdLpyWfz+gIO3K4xjCgeTq/9zDQYBcqboOd447mGhZBJrz73fcNdwXshTPE/ajqGJbGpVDNl+PxVSEYWH2Kbh1pVsD97qhHn60o5axXavJyBj9J/Wt5DmBee8Luquo+AK8H1XKFDne5b7YV/iP960CiU9ivfsEN1Pnnjdvyn0ZwaPy43+0LnbiRpg3H1bD8zSsAASUGytZK8GzyfXeP3GXLxCmb3vPrmKb1OY3S/92CIy0xW4yrLpheSsM4tAiSJu1jYM9u9dj/15sYsUTC+wp/dGTAWj/k5iFcuOSPX90SS4J+KyNcv2+dVXiXS+TqVd0D3/CMT8T6qBl+IA7ltfhIergRNKyzs7316yXqc35Di4GiX9EzjyC56KCyEodsW/htg9Np26eriPozQw61bIFWm/nuNNUgMjyzdVodanHUZi/MGbnagdeDsr/Gi1bVIo7Ky9GXbDJ0I0C8T7KBmbYIozm1r6Brl+hBaf7kBCplS02cCpq6yVcy0lsw6Wp/L9vVpaUx9ULcUx/zO6sb3e8kRWl9xqzsAid+SijL4aTi/Xzr5fYrrKZmCxPlASdFezOt+XKjEwp+1mid5UNGHNVt0Z13hIviIIv54wUdg3CiIy9KCoBJPg1sGarCFJ4FgaPu2nTrBvv16mKNUfFw5BDdl5FgbVGSom+CRiSXODivj+m+WO5ppgB392FFjwIwywAERVqwXUDjYhAymogZANDCPV93pkEBpIrQrrzDtUCcwkqK/2LdhO4mFXP6geOyGS/GiJsWmu2IzDQ7qbdJ22hYcp7PHBJqja4D6JF/BnsA1e2/27DGXPOJV8RUtVjCqFilDAKIQziKdokthp9ujqpvZAKh8IxJhlB01KpbWSj9fIULtC7WzTZrnyMFp1M74TFHL1yWw9hUJmRg0AVbT3aN//WFiB52zfN3tc4kAP6VeiIzhBNcM6bqJv/GZl0fX14q8T0WR3ZWVXXUF2izxQZdIGK4NsfaEFd0g5NVk8RwtVy6DQzby8ZWqc9kGfzymt83GPHW3aKfmCM7sIq+jv/t3rQdl7nibKCO8vPN707zZzssqcYm8PEQajlaC0Ca09eOgvK3hda8DeOHyVWN1ylHLeuONpbW1c5xXByKgJWiLkiS25JtRC207rCb7FAvWjYNuYcEGTff9mtlCNxtWnRLXBes+sRDpSdUi4G3tvx7XKrYT+n2zrfmiks6dq8nbI5DksX7dD+kig01R9XfxShkPLiHVNLHOOilvQxMH2jH36a4NlzOQXvFaY+zcah2ThI9N9KIgzHwwoRC1tKzVYk4/hRbeFLQWnwoSAudfVNQbPypuZ0s86pjUfcyuHM6wCg63AwlVvLWSmvdG3dH8kWM25afUJjbgzdVUNIH/piGGbsevAhiWB4YpIyl2EY0+7TFRwbGoaHDZcTa6ey9Udgu9YO6WIpe+KRqlpuSvtd1VvtqwWX8WkK2NLXtGOrzENUtoPv9C6ZmR9kSidlg+Ql1LP6AcceWKQ6tvBtN17SPvGQDfXhT4/Rsp2WTwI29dM1V96oZlv0YNfvF6pqEBlFliMd+jDcnLhvBkpBq3dST+M/+JKJxerdsHBFH6/JcrPmXF+wy5u2JBXstSI7CUV8cru8cBzgWlVIemqw+wTqEvtgSFvxEpJJWysmzFnLV6JlPrj+9GCPx3WUb++g7VS2JPUVotKxfQs5Dasnr+VhqKqEefsCvF9tSecVV8sCZWHSiLTtD64b87dNQFolLL/DXfmL1rAaGKKsb+obBIZg4lqJo+6fgxV2lB/uADwwMYxqWg9PksRegCbnY79p6bb4AHYo3AS6D+P+qOXm2c3DJ3HW98a6O4/MX25RWk4nskpvneRVJy7SMDPd6xFQ0OwJWf67SlZS+6PViX6PnNqs2sCU6KuLAE1leYDHT3CPD8e8o6XekUxlzxRwAGgtcsF83rgQEnMz4lrVKWXIQZma85jo97JIZ5OhE5Qw4usUE93gazy+xp2TZ7ozVi8MP6eHudEYqNHxd0iy1HAKfOzTHG9yqmMtbz3eroYYMWe1DPcLH81YeZzHE11ZGH9knbXCkLJtOu1q1rjLdtHZOYfaBp2r1quFtW0ijr2cGGYX5LPBi8FpLO8r6yt/70wEfKR/dGcCVURTytcLXnEtdOyMAwbkKax0Yc/LBPzks37An0C6jLABk1BmTUtMux1EvzVcNCRUQKloBjOU1AHOKBhf/Bb2mTeQwU1A/bQZ+uRS50EX5UgmGygJ0HMC40mR1ZVj5IVrW+RmS8Cr8ZFV7q7MQ4q2FBiOxU+HekMl7kYevtMgP1wJHs3kLdaomCLpXaW+TUjniuF4n1E86Aeh77a1seEc10bIZ2mXG6BP2jvShNnRCyMJZtQ42rCoyPpKOS0QsGnh34Ntvyf2fenWy/v44+SPe0Al5qiFJoG6i4EAMmFVloIpgbgcTuc36qh4OJ+cTHSM9EH5kqP4MW0AZ+JgAI3vgimz5P+Sueuv4O7hiugJbWXD1K8BZog50f280/qCFRTU29h5qoQFeHUSw0u130vgwSJqV0L4UBeYtlX0C3y1OOVqZbD0dGqIntG0n9hpUV+aQdPljfx8NcSVStHjhjy29nOh04GPcX1/iNmtWrve1IGGxB+byr6CUSjWFefPXWagEVyAJBf6xHBMKMA5kTdXeBOen6xeyf88p3ptPeXp1Aa+YcvdVny2TODFeEo7ve4e7HBYiNuN8PUptY75Ung2exF5mmaa6pkSSZN7TiuR6G3cf5XeqLTNPFbXTu8+qRjH8Yv+bG1rgpA0qqWwvGi8IW9Pmd7HcU5ohB9oKVOJXJGHn1JAm8ODVUd0A6iXi07sCCO7oxzdQ9VQyz5tIg3femR/UIU/V8qljo0AXzeKaOJxIjLJfBXBozpdrDLHbluBULZeJBHXp3M0YrxfKrzff5gk5o06zjGU4aLGX7Cp79JSdGC62LPcwMV6i52+xypj7KkvNM6xYDQNu2Ncg1Su4ujkMI7tQPiVifVjSsXGem+9+AedOAx+lsAul2EzalUQI17hQjT3zI1AEwxFQ7y/Ta3s+nhGiF2wHLeoFsmMiRpCva04x7i2K+1GL/dKPvm5EMLhhJH810eRcwqRbueYHyL81/IiS6sAajYz1/7ZKs7tJpeiecfx6SnTBOMyfbhdcSv8YUgzx1b3VETz7mgb5vDNav5VixL/DoxVTfP+0j/DOLXB4XqUzmMXjPavfaGOnGxN2+azhzciQm75hAAiO5LL4H5jzwBNZTOzjU/bfJPWMuL8UjBZaezfz7eYCnRUxtIavCKrJ4aZEJLAtSwnfap9oLI/i++CrrLKupsOoh0plBtawgza6E3wTlV24oJHGJgEHnMEArX3Ef1ItbPjmzr6hC6qO/+uD4t9tzlQeHhdqyOvl0C8X8QO1e+K3bk3DrukdiAbk7thUjPdLX9ueXO8Qv92JsOgsid2i62ZhMhn2XDnw27rlFIMHANea+yuOK+GlWgFn7Lx28lLjVynLfYuYPbZyog3Gn7+j8kiprZnyF11wD9xkRWvMUV50LYgwzLxrvDmtALQKtSx24CBzWtDfz9cPWmAYim996vuZdQ9ebGQYraENnmokYlJ909x3LLrT++EC5Xzoivj2lNbVMG/lCXRutOzNIH/EDyV5VDFxh5IoRQWkFaiofoDRGIYVmPJlQ33ib01Qe4l6Xv7ooV0bBmrLPaBdG2PHGlyo3GSS4Cl3uwvqi5pgDg5/cd9nsiRugIy89hZLNdHZkIpJzkKIAmSCCsp8Wdkf3GjgBskkDY/DfkNmct43sQr3f7dYPYmB702AJztpRO2ahiXjL+mqy3S1aIMlMoQcPvQlw3TGr57Z5lcOcqQZwWvSmfuQcFzt8LIpZfBZMYjUprkWBjoDIm0z3s+TdsNGzyLz2naW2XMzJKBVaO/bBlRsI1Bh4VPISvv9pErTHegCdE23u5GzHtzESFv0Ju9xcCanHCGK+pOjKBnvYfzzrgUK6XtqSzyM1ZfeAP1UtI58/thiPLfKM/XQZmWaV69T5wCjyjFPZea+rTqm+kpxbQOX8qxlasFD6eLY1aZ7+rXYQd9CrfHkLShkc8lvQaYLVIW9Y95n01WvrZU6JlywaXZ0JSrnWxoF2AY4VhTM30pfKFzg4Kw1IbJukixvhB2RuRQ8uDsNxV+obNR+8G9yk8iRl0eT0IE/4W9BQMEDHmFQoftfI7kKg/A+GA3249fntVm/U/tDfBXWXULPVnYoscCRRQ5lSIlwV2rg/rxcrkhzROHN7xna7A6P7crHuXb8OhWHc3iiTMW6r6L9NrtFzrPjV0oaDXc6VNotl6L6xip5th8cLdwSPU6KUXYOIIBRZn2IQRx4c0G0fnrSeDcda4lSQB+kGkXoHNMmpas0I2MmMZGxdbbnFRF4Mz4TCv8QSOcSnOukQ5GQyCJrD5i0U2i/iUOq4tR7pFfSHtjzxjb8mQfNg2yVEtH/7hyJEmUA6YFBkqpMS4HHp+Jrizfb7OoI1JlCpgJFPdx2Kn8jTyLaZ8o1dCVIh0WdBc9t63d+Bup++HFCjwJ17E+c3TgGFPFDXvwrrk7H7/AlQHSgbxuj8vp9nWClUq01Yz56CJ6f0fJ6lmImgK8EmJzrdundlxHz6brMDFrHJyv/0PJ9upf+5RR02SmFhrmNQPb0VBgLb6HoQaI1xqoomFVXCrc3z1GVKln0/JH/dGAQzw5fNNk8DOYLn0+sUiuI4fkdWTxAdcSwhbDO0adMhvA/RT87GliG9MVG0yrQCkrVkbV4DO2vH4PQlw9Zcpfe2AwF6ELvK2RFbmv00209gn3GyYrEwV4CBUq1pizLXpr4gZUhsOq6jKv5/beDR/lyXjZ8jB+F8tjR/pHrveMQhOx5NWfybB4xb2DvwtcubLb8C7uXGl04lDUwdWP8naXQPYrsk8opqi2vDgv/cQGOcNJYBUSg52KVUTYPdEmqG7GcQVbR8hCRRXiUTJTzXby1VwKsgtNFu1w95TiP6iX72I5qTBpBkPmUQbuj8658D+v7piXAh9N794mHdacXMgtHZrUJ/1Tb11K8pKC0K2tvrIVJDWy3xIJaanpBEbZnK75sN/u5h6kl2LCR1QfdOreS3AkxvsGn09VgPRlaGDxujQigI/389X0KP9D+OySoSYfO0hykbaCEC2iVI3vwjCyt6UueYVZPRPdCR+3OeFvobdn9tkegNj72wRQK7yVWTwuxuHBOq9mU846lg2mY+faZV/u4jsDEKN5Og7QaQj+LLnGMvDR6BEmAMZ9NsCBpdmqHZD4KhqGea4mjoM0KagpHQi4Lo+VUUSsgtSPZ/IZ1RhLh2VJvi+6LNXKyVmnWPWJ2HtCECk8uwp+D9LlyjyCbzePYR8n/mKfLwsmx9S8Pd1l9bqHDvuCW3TILmnSk+dmCoCz2B60yg6TOPikxbuR1VKjsVjkjQIagFLVK72uf0DUNpMY5cl8L9T5DfiDb5KF6ZjHa+b14Uer4o9EesoKxCjSNf9DMcbpoQwORhTPJM1qomzLSwvoahjQqYVvey9ZvUwgNome0BP590s1u2E/sqln2ffUhUDRXuk5GyBupm5XPweSbMJLKKLjhRQGnqOPmbIXP0FnW1rbWc1QK+hhQNP6kqVxxOPF5mKgP5OCtoF8AmIwdpL2KwTAhDr8IL/s5NFUeSvD4zcZ2bfqIPn5QAD73DHF2L0XXw/d611E1mIhSP6uDb9cIQ/QIAWLLlFTFLN55kYmC25p/LA13S13l0OQJLuTyjYGO1ua/pd6OP8Ai8ZSzIHmMSHfMtagGyTHW0BSf1NExOrsWc65QaYh3LLswSA2c1NysHbcRnvsGfEh+MjCoK1/vKMeDh1ivr9wVRjSRC1WFC3TIN6SbNFBu0ME01MOSk4nPUZez0pPazdG+tPVWoqIbax/f6/Wf/DEXRlMa4WOeXvTelYpbxKjl4/utsC//WuIJaqdvIX/IPQAcZe2nGtyuNes/2yyr7IAlMou0d+jlTlEcqvBgqQzhFcrMJRQTHw3oJzicFNxvx8wjRIelviSVD22ICMytpvh9kIZG23T0I++W1zq1nDse1F6WAxxbi9kWYdUnc2rAkmBRm9HmGfwS8jV0CIRWgshxTmzVh2sBjGjxfqHWty1V47m0OlCC3jZbtRHR80EkmDdE0aVjpyf/DuxS16lekqMFXHy6mUeVOvJh9e21Pf2kg3zxjh2WrjfrEyKk4OdSSOiau/j5G3bAhMRCU5Kg+v9LIeG7m0qQsgGwpTMe24yy6nFZAFRom+VrCO72uWX/e1VUkwxLpnoJ6Id5ubq1WdtrktLArEq0MDwqfF3+VaJjwTjHQuqUz39l5OWr2mT6jjq1ylgP6XVHqbEMtGDEUdcEZJ9nuox26ycLhYEyvgLhjbuyfINzFe9HNglJeR2sOKf5VhnF4qs0qsWmvGUSObAmd32/1eB2/EWkg6gjQ4bUipFS8FYHC0scNJTlptoQF2GkWy/Z9N0LK93pJkFfrxScyr9F9P2GZBq26BE2sNQkBi5295tLxIICZA5mk6VLWd7iezQW2jG0/7DUk2KGcc7HAyhYFBTbLuAuD7/+l6RKn/o71Qxb3FJ3R58ZFhoXq/YDoqQ9pN30czrR+QTctnYjoTdf1pF53w2cBr167aBXsPQmxGCfw6BnUOEhcGB0uBkI7WKB9SZZJJaYHJhwWXLq9LxDT9O7YnfHoJnhgMdGN0R2KVaMXAtlMLrDo+MzVi70wHK/n05quE3MCRUhj2GC1ezxJbiv4XXlxelfMm7ULP+GvmgLb0f4OLe03nEXPvOxm+Hth/yJbQqRSGE+cav0n5+vqJjP3vzTqMMH88u3Crsl4PLpb2apR7C31A+V9utXg6DU2ZTSwTmgoDE5rdwtJXgOa1v+TluQK5p08/DSeByicNvV9hLKYOeznIR5S8Wz1RssiZVvEWeh6dmoWlsTzoosVJmzJ2VyeuSH3SZEPupw7eqbBJW1qHsYdNy3xIhPVLAe9gAYSM37Xm7CrynCBNBlh9XdF3ejmkRyAtDJvNj1E31y6zsR8bmjRtlWHrtTP+9G4GB4hXp8gOcNX7MRjYn1EP0AmVR+tAyBTp0VM123BqDkKDMeNehKn1IFzqXBo+poYU0lU1FAKaGJEHXPrApMGxkYV21s1A2O+kh7d9M2W2j0impkPxTM7i7mEkZg5gZFAkEqWPCEDY0lxcmkCCXlqWu9kdYJ37Lu7LL9i2vjTOolK5SdHHATIAGQRSfxdH4qcBozRLn6NGFQz8ZHdGuG2HaHOo65UPhlcxbVlYh+uiSz0ECRPtHiGklJFbW/UJfQGcz6ANBot28umEQ6zUqFHhSnseIqPbcsOpjz1UJ8ZI29J+WabHx8fWpFDbm5ufAycKWZuFn/ScDYZjWTytOuC0vQ45lyf0sQLcxDxnCYsDCJuDil+DQs8tgDd1RdBTAzDI2ajrM98d++WFflstiuxVB3dJlwvUW+HGQDSaamUAafbFb4Ql1sN4OJZSjKR9WCeUbu+sOJyp94RxuDeFdY2ZHLZmR8O3CyNqmrxg7C9Hmr/kRUd4jS2p2F5FnfMCH3a4ZQHx46izkeWSDa0NSWo4S27vRujP6XpIfqdUSSzSeq7n5qOnTAt+7q/plSSujG7iCncB56zVuqGqIdVhWblr70GXzZy2Mc/OBtGAF3xcZF1E2EFRkDRlR3QwTr05l4LBmCnZPGiMSmvSzoMYg9jSDtDXcXpcwkYbbgY2Uh2Sivs2rUBhnMSJuo5UpEL5Bd/phTtJTK7lDyOR1WKEHKnvgzLNL5NYcf2Sq2PX+15xtvfViU89eoquSUXPms95UoX+JQ6lotrFpPwIZnD6MS4G0aIx6fZ9pG0ByDt6KZrGrHsJQTDSg912nNWQbdLX0vEgY0jNSg7+BcC/WnithvMnAItkGtRR8drxhdC+YajaCbLY08om2J4aepxp/Bjbzj+QzhT9K5Z+/Aq2eUPLwF/mpDsXK2mx+9lMP90zoUhf7Hc0xtt/+ZkU8dDtsH43w07P/kp1ifyaBBUkzPUc/R1FTfd4zAKf//4PvutI5M1S/U0m5P1H/+sO14yUD7vUemP/bj0c/m9G4kDbfP2TW6y4dHvsyMf2FMQNXKXxwN3wrVETSFlrwXLYYi/R+fsfvvnsLdxYNqSJQ3Jp/NeWCSdPamgfo811qwEPvo6lZQ0ktVwwp9gDLQvIgVMbfvKG/S4OGPuskxnymIHj2JIEdio6pSFDLoHoNk5U5YoD66+ry8eHG8CGuc3vJKEgryizcCbDCmjO2m3OP5ghr90naWDLOCuIa4q0li0/GajfRVjdwpVI8PQ1BiI45r+Zre67sK4JwvNYiAwg0ViDEaFmAndOMOhlAx67nPUrCLMwBhLxtqgUSUivqiM1l++SiU1DVG7jcg280A7J99WlNX93tYFkKYhOmDwULlQwwtui4vtG7WgFRPUvmonI6OICxOwwdZU50Dq9/yKEyNQt2WwIBtE3Une+AULQ+SGvZtkLxzZDjzlA1Fy52/+CggGA3U+slhPG7EQZMcWyOY+kFLgDT8P1pYkvUP79wFbSI9uZKUeu7RhXOW7IOlfdquixzeeV4J1vASCnfzRlN5fd8pXn/S8m+0tjedjvak/WXOEhnpCUli1Kr2sob7C6zxP+YMOHJBpPgB94BWrWFpYcgtvND3mZ7uLhgOwgLB9kvLkncyewcUWgJw0IXaEEWAHlE14aKpoP2NSSgT4hSuIRGJerzDK+CcZC8st+7DhNbq6OoIfSuh/KnVwBHk38lPLyhT2Hx3XDHsco5BNX7Q2EazkTTeHf2F6WWZvpNRfT0sDo3yXFnYAQgOZHbwMmCDvJga9LmKKcSwF4+TaqAH1mIR+8gu46TA3/QotpLU09fCibKA6SOALr8Bruu0fsOCZUtxiw1BOkKkJUZPAdoTmrQkHNHPwMezcrA4dLmJiJvf2cO+lO9WBXLTjfNGd2n2kg0r0y47rrx0e2/2s7MOJ3C+sSqg1Pl2k9NgV9LNQSSJM9wnuLfsrdXCIDmPc2ZCGCPRNwyd+bcuFHTFd30o16U/T9MIBOXNs371atZbqDIw+W1mHHyeuhJOMkNpzY5BhwPqLgNmioZqxjby3HsuSgvs+mqbiLBrr1RXuNZG39tcxYZ+SxusfKxfRmKx71euaAcJuMh2cQc6zWevKuG31GLDszTVGOdStWgEtqeuXivGYFZWnjIU3SfZ2FzJM/rWCct6gkFg8DIwgBD/QoAKcbkmcr6m1wXtgWW0096CnrPkSq6kvlGWgA0CbTbWDX4C96MF2VYic8JeeQGjSZGkAR+hz0CanYQksFjCd7DQYbMSVlW7pmzXptv8R3PJ5cR1UC8qFavEd/eSZTWMQKgMLeEB6JEO/jRRypLe9wyjAFrHDHzuzyQRbUnqIHa5f/oAgDxinC9nuNgsGsJl0CxzgvUawvn0W2DJHcMg48V4DRbha7DLLVbb+VrM1Aud5obrC5LgF6UjvtFuNS6GSq10vUJMB1qyiwOcKRma38+uWGM1qdjgTHYh7O+ZNnE2oEzrGHlAjK6xY+e7+4iX8FMpP4Ss2kO09zqK8KUZgCoKtPRAeX0FgH7qXUAcmjCK8enHfW8WZyF7gizmA4s5tUTleFtcOdyOMbGmQha4WF7cjUztaZtekIesCLy1gZ7JinMrSThW2kcEC5RpEtMAwkdflPykYOa25JyRdQV7UXVnO2kwbJAeeKqUj1gVp08Lh2j1FOZQ5jp+mcKzwJamqvbLzNPA5QU1lpnxIS2p+4F8z4HsYVJwA/+QNHKI5gtYOqlww++Okfnd8qu2d2Su3A0G4xlXads6COyCkJOOLMPRrVynQP0tKzNu1F88sS8APNOqrQcdEOR3VchHXnqUfMAmEScWga83V0FnkuCGSMFx7zKPctqJ1d3vwERXpYdSkFypTrSQKd93uB2Idf3tIaQwFWeZMJO0Ldva2uxZNDRb4wwhnq7dxBu0zZ9kf/4HLb+bh/ToEzJlB8wbdrBl/g7T2IsnpSiHnvpsWs7SdSkszFiMBo50RXRnVFBZsmIBluTiF/MnQHRcR4Tbza3ojTF/vDA+IGQaORUcdJbVrAxLzbuDGBOoBFrwmHlws2R+5IqjC7VW7fp9/tCI/1P4fZ1wXEPhSBIU6i23Ifi03GU8tcSrrlFedJTRcfW9N7/9Va8i3LOYBmfO9lxwuw3WTkVIYtmHczwEy28CEkcQYDaypgUyC8l90GyvBK3H18TsM18EyH2DqFxf/Rv64bsc0qZRbmgENjJe0lpC4ZbHcgmGYMsvb2dYOIBzkAwv0NaPbo85FjXIFxUWY1rQ0++zcrRYmoYN9mfCL0dqi6+IWpOzsTvQUN3/5k/sfS0T21nTCh0/h5+M3QLky70lQi7VAK8pXa46tt/dHi6Pj7yGprYS74aBgsv/uJ29GMfjKW8zA1P+yXZaD1zKCHgHPBepvHiRKnDz+n1mw2dVR0WwYkdkVjewh5lPQbvz7v9AOBAiYxDJ9CfIS7UOjMqRTJowPlL1S78+5Ge4wWuDOjy7hSgLTVtezQ5gn9rq97mxduV+Q+KoI7g0L5vxwrIMOSmA0JU07SlBYCub2/8lNQcvkCzEz1bbJXMQ/Ject5On9l1+ccrSL3C7rgvh3t7QCswalkYohjH9I/Male0hBHuxhykFM1VE7LwvqcGFlUuHo6mggN1Z28KOJofTQVwtplq0HPecpxEBdcCZvcCtwZESCtPCV8+0+n2A+kTkTzrG7Ye/ixYBPcls7oW5TeJhTLA6JceyCo+UfYRJzY1fyBUZcJ0V7WPOkx3x0aO1YNgPzwBUd1zyNqS2ALSR3h05aYQQer8hKhX9yDjSdgTy4hbaTJf2dFarNfXgCtZrZ8+uRnb446wkpL68gZnxGIksk1O3mwO8DGN85hnf1y3tgyhviN6NPquOWiA5EhK6KpadaLjGQOqhlQrmkoN6vpv2iuQTxhHbioXtyEatOzv6h4XwkTxpHWACNB81fSqdaxUGcb6FRfvy4OTRPMbBWPAa0Qswu8gLPwyUxVNl/EB4ve306rUJSKK+3WD8du09TMEW/B/+QKJq4G0xPXGHVQLaz1FRRMZmTJJuT6ncpzR4YyQR14GovTQaCBhxnfNuxCiIAWdFM3CGgORIrN62UAsP+PBeWhJs4PMZhGzFbuzQzTK7yjFbN2iVemu//mxyTGh2wUh9fG9lh/rwBVzVmOSaTSaQF9Xir3TgIKPvuqvLgG+vHOI1u1kE71auJpDRzktAX8sEoytvsm+O70bVYM1AhbKD1HwqAV8aJ7L+8aFL6npUrqM2IPMxy3C4yCE0XCV6PcTlzG7D/IWQ+cqgJ5fs3Ejw6e6Y5nbM8OnVMSFCbcPs0bOgv7L7jq9tEeY2vWvMi0MDo3OHC06s2tzNelo4ThTo3LxUyTnI/LMV8FQC796Wk0JOFBR6xG3oL0/r4WnwqsU6mKfnNqBFHt7E+ayvAcEOuOVgzW7R5xc/lPg4ibwBVsQNKcouO5usjiIZ0rqkt7B4qr7HTtUzczz6SgoHVLrMa1oM7J9zTpxtycNLfLnfHPebvYFZCnrtqAP7ebmRebecA3WfDCbgCrysqjWKfqcNMLAqRi5hu2rt7UxgjuxbE8+pJHszfKEq3/ExEf5g6gvLajOk1x2khigjHOCkYHu/EYHm/qErhGQ6PDwj22+Q/+YwG3UWaNwP2Oktqy8J+bi4dycMywAQtvxWi2iopTdHCqKrJ3sqxbleW9JCtnPIidPA8V57W1ChF+6zCG+iuYMdPnV045YJ1vn+VPQMl3qTmWRcfXnXXUdCD+U6GU0GO11yhXQbfJF5qzMKyAAiUaBVB2DR67dqM082rm9pWzFWQhWsN9+c9wQLhoL4lj0rwsTkCKxs6XFZw8s/WTiYJwkqdHHO6cOxZkGpsfd8w/2nLe//oZ0XgpBe++C7SCxOzwm6j/7YZYSjxlb3SZZk2tclCLQIxjWTA8byFqSNoemHkhkkjlC1jCesHuTBumMON5gkUuSxwYhVW/KThopweW8smOT9gCjWD55de8nzzBv3e496xwrItFL+YYnpsL67UwofRVdQTB6EbpHRLPeAdQsHGLvka6lq5DGFCePN9RJfLfeX5OXjpgC67kYFNS9FgQ6YvI/K6jM2C0QAWnLgpkGiv9m9IhPX++c/76IPgU1zsWb2ozzlz/SdOMBb6A7n2xbTHqQgQlpIKgLVnvEt5XJpP0Sec0xmb39yx4lBwe49ShJTHz4UjKfYARYb3ooFdmN+l4/oecwk+WxoL3sObiYvXpUq0epd2s3m51qEuaFbeOwoqeKqQiQIewLQe70G5UEgQWFx/jk36YRH3JpgPR2ytUDPZmitLA3IBzqWqNXsP0XPaz/Q+Xc80cXD1HS3LFI6Z3f+ewmIXLtURbIw5fqRgpJgVcWoPAeQTz6FQI9D/cvlDb7Xc0x7Kkt94jV/VfFJDgp8Kg2kyp0ow9rv0EkQSyjynnkmjScEu1mecuDkayXelUZODFxAumSAnNa1/GidgUu1oX1cVoPAlRW8YVQXbGPvtlmeTJBaCTgmIO9sXtXOWcZVUXeLfY/pnhg2P4Un48nUqbx/fkyFFPbaQWK69Q9JfDDJ9r8ZA2mBH3wr0txGZOcTqafuL2ZRJuj4UvRO6j+P6zZ7ah0jkUTcVZCF+JZKDhEToXd0ufLzKHqoKafEjoETsO+Nyc64IEL22uNTSiwtuO2FaShgjxXxixEn8ExfX5Miduxb+iVYwYgCUHk0A844aiQnSsw7m8EB6l4Srr5wW++S+haISFDJToNEWjU+2w24x18rfRA4Pnbgu5WS8sThE5Kt+hK6inQ0w/Msm6oAHdmFgAgbTvDfyEBvI9nhSb+OooVOfS5H2+Q0GeUbW87acyUgS/lCOFyOZ48n0BdEyyrie/NFB+DhpaD7/TbQphw+Rvq3SvcR5q6YDiieDlJwGixlEk9T8gNvltvDe6dwoQDlOF4cAbTPCZ1aoILjLTF68SrpXeDuShYf791wgvK5zAJzCVPlQnaxuE5XhBJzQCFOuOgGEpXitc4tqE8xY0HV6EbnxQY54Trf/wqF/4i/qgVQRzZrJGz0cdS6m5GLqZoYb1RUGw86ou1Vmjm2H4Poca1Sk3lFruBHyLPlG7kTVJ/ITdSwFVU2CAnKqdj20pt3azC8ZhkhTY8o5v744UT63f+n3ixEhSZvg/bRtNQER+rpgR19iySK3amQLME9b7seSg4TFQPRlgeEHaH5nBFzpKHMpB1h/25R8nE//GY2Np+sAW7WBWMOPDldAQp3K7ER20ajXYU84RY05Ce89OMibwE8qTDQu11A6d8/gqpx2zlBU7tZIzGRsNE/54YVQLZzhxxLMvsEDUL4C42gVjvwdDnPlbCzmccZRUz0CGtdno9RUoRrrKmRrkfIp5kZKD459sbWxhh0zJz8ahvOQpPeT5IPDYpMK7+n2IuYRdJ/DwQA6/lKEvNOMVm4PgXlGgINWn3HS96CmC2IvM/jyHnDjeDbvDVlg7WUt+kolxVIJxIjz/8okioCKCfiYfbsBFhT+oJxlGBCoxrtHx2VSDaITW6zQhFLffv2ndzatTpUr7hh7WUdw4uDRGmlpTl+QvWzZrrauUM8GT84CeI9VolbbdBZEBHeFWBaeQnHWCt628vYTf7qZOJkj0i5w1f1oQQfdgPb9bJ2HH+Z7rwCTSO/9G6uABG15eKpp0Jwod/GN+Dh2KQds1Bj+h4YYyRlVey6x5ahMZrbEUH04qfjVtR9GnmxFFR6dVVuI0feHfTyyEEyUAe9CtceZuzKwykhdFhtK8GJ3AnN52qhgWIacmKHcjCUfbjsDpKHlObbLy/Lw/+JdTvLt+Uqn3YKkTUt9u38SBLaSmz7DfsyYQ8STvlOasBUlA3wTQb/FUKdUQavBZOxP/ifXjdBubAp5oEHv2w6YxEk4MHySqRM22ZIQ2ciYKkfU8uMllN6a2Ja7Ewf+4iktD0n5Ac/L8rLFfkSLM14bnlX19pb9/U0iAwI6+y5/8LERTWF2wo9b6xg1JJuXa1CoBkKx5CR8KmjWsRAgdgo4ppylER52RrK8yrNqH1hMcSUdgHkqx3Z+6s7RUTFYdKmX0F6w9GqcdVLyLKKpWCoVLsdZMqS07BBnFLiMV6oyOdU40/MQVHmuVPDtUo+VA2ljZLv97Cb5uu3K4YulxaX+0mk5cK0bt/HJN31iABFX9oXejBI456/DpmFp/rJffKhlx+RI2aEojhAISjDuEXxmmYOXZwmU6b+LBjNAINQNGKq218Uj86BEt6tj3rxqJMtgwwfKTiDDPQZhv9ikq1z+Kdu5sDDhm/BukDQe9Yx4PWx97SKEEwnb+uNs0zapKsVp0zdiiPg1ObKEpzoKgbqpb6BSS4jlxYCuV7PoDH7IFz0MiMHG7sAw8ks6mHcvVrGaAnhEmiPgS6OkVlHAdmoRe0Wk1h9jxV7/7LQxyR3Qi6G5cVJzf79KMcKJD7vepp0YBGtREYbvnEmAGq5MNCfSQj6AzCHZarPKZXLOUasawXSk7GOYKk9rgtvU197KdcuFVpyf5SpRpP/RiKmp8HcdIPI3IMQixuxXYaB4cG2CCkUoDm2wlhp5D7YNdYUPaD/lUa+6y+X4TzhwMBz9f4OxUueHxz+/nP8RzKUTbnCZSN3PbwAE1RMtp8SBNNCMXVBeWStL4QnGiB7kTxOYtQsUfHV8tQ8dBZfXWdcLDy6OwEBQ1CAUxBeJO7iRyiz7/svYwgvJQBZTK4iY8a2V8yrCsGW9eGo1FJosk2n84+JzSC4r026etcMzQ+PTibvCE55je7hW/vCxVmMsg810G2UC+zPVsmlbO9CACKKR4r2WrOtoVJE1MhJHXWpE/tdF+lnSs4QcSJRTntTLOk5nqTYCidFOvA0EnT5UINTl+SMQ7eTHwQawRviXknHrqjEkh2xFVkFo3iUhRGlWBQ7sKwCcsGAra61W7N3Oi96rbmb10WiXlKacBTqcd4cgZ27/e+rcBQbtqiuV7GFgv3pJMArODtrE9XEgtrUosOt4em6/HEDDurt6ZJI7FCIKIektakZs90oU6+lJSx9BttGlLbGLjWtJyYLX++6BRmhlEm8WOrOMef1X5Sd3wQfKYleqQUbdLotKqGlShwVASGNL/N3xVEcSMnDr/XnV3l8WpePVtL/S5zKw0xzqYCwPL61QqcovMmKi0wAqX0wNjZ7kFIhP9EJ4tXNHH+oed5RsHoGg77TkdHiGTqazRQ9PJfBYL390y4KdcXl1lryDRkilxuaIKr7SMopoVfj3Z0ooE6n6vC8EwDfQw20j2Gq7G1SQqrB6w0dqCKkYdF4fEtghbTbDeibCCEX4hwM1moeUN3ZVa5SQ6rk7OirTm+Yib0Xx+YgOxe1KZdYn4LC7eBOCb4/LALQ2/QCQmhKR9O7AADnfCJNB9GEm3FCX3biwwX9nfRpl3qHGIUQ1NNcUqgn0VmkLmJ0JmffeuYxyCQuAj7ZOo7rlt4vHZaSKyI4RX+0ltR4p6ap3gCLxd7688Vzzh7z+tqoQKsn5I5U918q8ABWtFPTFD+q2891UyXaJkm0+DObE2dSiNp7vODudvqelj5iAtKvY0gK+AcmVL7PGCpJNXe5Tfi9pl0/+k8CJh/ZedjFGBmBJ2moF0hMuTWtTLAX3VwHk2BumSb2+uiIouMk7wKe7xgbod8sMP6hHQgWjdb2iYNwKEGd5N2aS4vJpiYCN/F+1yf1HLTSuOrzRj0fXNCe5vNyUhQbCSr1JQeP4YcGSOozpl4jZxbasD3qjONmGRV3vbQWm4o7jVrXby/Lf71FS9mP94WOx6q6FF3iLYUtubqv6XWN29z/oTrZ+W1GON5Zi0EdlZauhpF2Mo20n4GSgikZsGQY2+KOAE22Om2C1suibimwzifUI7uG5rwt3IqU9eHEGVTEzbMvJUEVRffbfVx35316ScKdIE1dNpniNuO1gBp9xLt0YxBy778pDV3RYfgS2RK1zkyn+iszJIz8Q0vWR59rnakYq6YU6v9AtNXdnXNH88uuuvdJ+tV5h8BL81++koi+8FftdShSrE9kmzM1nkA0/gRvKXTQXU1mcEXSTlNeZ5nZqOTneF4QzIeED+UY34yKRxylUv+SPv98eeYn/bclnAp4hcY4jTc2N5yIZQy52v1854C4QR7llxMcBTIvy25QBQbSpPRUM8lqWmTYymR2oWsftN9QlsAbZPac/4lKsxOsOg/FsHPY8ThVbqWwnvQq93hHO+zclU+zRpZm52S+FTq8k/jb90VUdx9PP+8Fy8fohRiE1JyJhnH/kWteySiAJGeg/rO/NHu7O4S166sk6X5B16muvDNvr7+FefAVPbshIdyl5uOzjp4Y9DMthukwTqLHWXOY+ks35+02JmCYpu0pSHPnZzXWTvb7aj8LQzbSl1By1P0VObqFEsqWMKVC7wBiWTqMaT1+0lvJd34rpTG1banwDOrfbYE3gekOlPr0I079418IBSgoEvDtHG3Yt9+1LszDnLoyzY0eNWdpws99+IoSZFiszLMYrj02mA+/Z4lC75dQZWk7IqByV2mE4S9g62HgLyqmUzxNhBc9u3mzHNgiQ1TSo5KVXs6pSEB8NJ2pk/E5HQFYyy/3xTk6gwlepjHXaZmrRjP6iokj02RE/HqSR3hMPTJoAtoXUUw1poU959bdoI8vqjrcCXMtkvdJac5yPAnpc2GA/9WcETMZ12AqjUqVPVh2+fTt2giFk2IvGYnP+EhVApNxIJbRpPYqx0ruizXpnrBFZEubMREzwuv2KXDQpwdjDrI6bGBxM/QiNzOP8AnDa1+aAIhvrkcKObK95ppjil8YiplVxN4AaJ/T8+qYVEVx/j2OXfLnKXx50BpSPRBHFyV++uI2egAYM0qhBBbgsPX8feXbJOlRrAfzf63J68HxgzSAJVPgGPCCObywR/fyGaUdGc1qfpptBQDjUN1ZWFJ6y4fsE83TeEcZRHAnKJutr/92T7yZgTr8JdM/jKQ3u+S9Nl+4PQDYUnBrCHG/48K98IUUke4fbuJeI9+Tdu04dFAdCUopj033NpxNQNoIi2VM4U/PoccsOiWS4hnKim89UrDSBgjubUDkIteBJtR//p19agRyZUakWQCToBdyycCQ4IPiP9Ri6a7SI+ryYswj2rLLUOiLJWkSL2/KAhGwx8eZoEbgYLa1i7CIgYhDP9Le3j/HjBzZ/TKJQFIAm/OwAdUxMF9u/ovQ43gFIlR+C22tcBIhX3TT2fkl0NFyFlpA/zoTThp7CK1HH0DBUE46aQfJrLboD6gvm1Il5qVSy2FPohxfTy03n9OizCbAN2r9ZKC1g7WaXw61Vs7VogcJm5Hq3LFvvMjeMYieMXG4gSdH2aFe9GM5AnL7K2VDHcm+CA9wo7E3PKUR1oqx/5KerBRt69qu34fm/Wahfq5ePKZykCciMZ7JvJAGIQ300COoxKpNehaYaNq9LbpTtD3S8YazQtqclZ6hugHbkJREY9s0shotg0tdqKgtVgeJLLMp962QguJfxxdsXdd65OBC+pFssXZ7KoOJAGZkSGN3Jd85VjdBgzGWrX59tcJTu5OBTQ/LmX5nY1BnkGvlxZws9eybWKhtLh/zRzjImWqfSmcF+/2DqwjeiIlDx8gsJ3jEeMKaC2v6FTOF0fp5Atppj5xjEqdAyEmcgaewF2P0xoHqWiTQ6X3DZdVAC5f1UaLQFSWhrk/r34uXTVZUlzPjczqYxZpMACcJNBEueZ+IzvVYRG5g+TipNBiMYfUY/iBZQiUkd11jszF2iua4wg/UehiinmRObyNsRRGwfNKRdP1/WbTxQkkdI5HthlBsbmT8xrD//JP6y4xiLPJbCG4iN2KHxCdspTvt5jZ5FZuXtCQI3k0NiTM/zYsmM+iEzU7oACIPxHYdnO63jS87Zl1o1XtXfgB25VcKZ44a4dQEXA9MtJ3zTI7WDjzEeta6gE8pPZKsXVFfE3zFW71U4XeKr2kPIjt1MCb/ihi3C4bR6GnY8Q402MgxakifONYBJ2Gc+Gma9fvLzMOyoP5rvkjUnJ79lrStzTkGl2Ad5We0CEdCYDyXmIau5k11l6K9DFwS3J+b/EiuClVKkp7ROL9L8AnWr/Ahwf5BNcNVglzy+x5VYTkCWAmhFXxTu4/2aLoODUlVRid3+zz+mD0TB5VaJbqGqZRrBHd+IzVWboQ+qBU7gHbHis9K3Z2bQPNS428voREcEkHdtLrox0qEH/cYgbtKgMIW6hGp3UxP0iIV4ApFWDSB/4Yzk6pW2Tcj0Lu3sQpCBd+X18PZLMSpHONpclbZH3cacRiH6yaAcdUffSs2wL66Igf974doi5U5dyWo8avmUJtMVrelijsyeZOIE+7voEN/jz0vYeqeOBG17aqjqIRK4akfHl//FAw3oSeOnCUbFQALllOoGvGS8YO59/c5N6C3Km2HvrWBefCZIF3BWikvWG8Ud30dVQAXLefWs4JDueKhXSoIdvAOiZJXwYtIMNPucMF+ib2Tpmxx4JjcTPwmYM56AIedocVIn6voMAEduSQI8Xltv/VCGoQwztXrcbPR7Ld1QCJcHOYWyTHezT5W85oF9mcCErtCaDPrzWAFewMDtWuj3gr5xIugLZ8B2ScOC0HkP7rVPhi0WFHB4sjj9bnRHkKHeyNkOinbYdyetbTtq8lW4KxIY7ycxkBtJgJ9eAP7JfX3CJ+TmRWqZ+3PHZBBJklR45uozQomTHzh0dI4UvsqMryrUNxNanZ9BZwB1EnXFSQLx0NRffKeYrI5wzo00KDSsBzJZ+gSc3nXGniukr2fjfENRNBMqUtcn/Yiabc10WgyBoZVgYA6Kk1O1C6M4H7/PJB9ApqL6E9mC+Jiz6mpu1FsHlIPqxLFEb/dLogzoNHOETSWxBg+R840uvOQEXKPF95i5JrU9LKV7DDiMe6G8JbMOfpRw44kt9Bf1ueOumgmx7CiewcPfanQ8r6XbUOUunY51EuiBFE3V1hwYs+jNfFk0aIgpsdOcxnnMlRGW70+0XPjPBqoYQk0mXdooMebOxTo32tySIcUQfNG6SjkJBcluiCEi+m7nABQJ/Z6ONByvQ3WCIzZ0KcbZS8bvoqLt0Ycela3YaDrv1WEfwKPqPgcf6Vys+C7Zm4K51zOXckXqwg4NqtAwVniFbGO0Xwn4tzhHg1Jn5ClsoWNS+4d9d5aO9mSceyVqwGgV+pomehynSC22vBfJ977g1+SWleBuZgK9kfnyVaoUmn52mzodXR11EN67rPPCnJzpYFEtlxGGT86GKEV/+Yf0EwP0RbiNhZoqiteMp7MXCZTj4gqqfArS8ksWumtatPeXnvz9vHlIIvi/ZmhCEedQvMHcsJnh4mlclas89ec9Yuf9kVea0XXsEzXe1Ve6bGF1RKngvuWOtZXhc/NQF52sOslfUhuP5IkKiGklWZaKq5vpf16m13vVcYBZGTPLru50dfjUjGXy69ue57Y9abKTxtXHOX1a440GcugirlglMA5bmAunClzV5u+hQn8rF6F3isAbUNvJbC4WPkQ4XcGb5TM0veL6DNGjx7t6cMShunnTlgLCPZ1ix77H409rhoC9Om14CREa3HKzPmeGcOf6OfUSDr9mYc7n7Lg8XroTvv0U4yxHDKxoeMEgSqQCca2dm3DpQANht6STOnFDQ1fEJ1KhuDYhwWoAmkS6mimA0dM3GG9cfeEcyrO7N/76IoHpVXxTv7gydB8FKm1kP2uAodLe7M0t+VKMvkumV/7dPN38IPyUGSNYMjh0yFmEvsYd3If42SWlN9r7tL6FMc2vA/VaMbgU9keJT+33SeIslhlbubIlOv+CZJ5hJTv6lcKElozt9KtGLlTLk042ZzWsFFLl6trsRVTIdpz991yg4ZyoiM2rZqLQ5za0z/8nrYugZ/sVr9XZQDAzWl3G4OQSSoXvsWeHh2LNDQVzkHa7zmAhrIDjnRfl88QCoaUpw1KQSIxG9xPdrzL0rWPqpGDIUBJQowLSLlwkpa2Q78muV2MvmuI+tm/zfeNFI/GC8epvscsrptaWdGKUHXvKP03KIb46wVP7fx8yJP+pW4jY33OKNkV9drVh8jKumj+ECot6IdaGI6HJoakrgD2/UBVU7aW6ToBUtHHV8QS1W3tLvYD0ALMvd1UdSBC6Klv4qQN9/SM2C9h6MFnnaB1irUkWR1E9MwvnQvVogsqeQR+05zCn7TrJyfquQWua6uqw/TQk/4VRXHzrDUk9sHsHxk8RnCZoIR9hQplWeqRp/C5JdOdkiF+g/gq23dOqtcP1eIaRz8LUQjQydMbtn/JwK/lyIstnRmjPk72R9zLlQdly7JzRYLkeFLcAdVXdKUC3+58W+ThwbCdA1ZNCgENx2yqT2RSschtV/C9wYUUKlQRjGuf+LbsFZrMrOLELHbmmPF3riXTE5zcvFoBgGthrw0egyrqNfONaqVWz0BoQGHOimxH9iy+VB+9wf6MEMysMy2QAy+V0Yk6sgiAU9DL8ejRHrrIJvn93cPlGhB4+YYRidomNWLEp8fa1S4FkcJGvqdI6qw4LkDP8UenUL/9RWpThr8vdADtJdSHK4dpLtPEv6YPQce3OW8ZSJP0sTLwGd2ruxM1M0QmESPmd02NJDW2Zp8Cucq+6RNqKU/lCyppW8rCbZaE8YYLSILfI/tlgxRxnsnk9RK8vorxZIUUBOgkobKN2Vhdc+vDAyMU9OfTR4HVjuIIFdsbT7OEOJozuOvppDkdTfzYLF7b+B0C4I25h87zRiHQt9RMTdgviEhYbrao+Jg0eeFu9pdAqxfhJzyYQ87PqhkkV7jdDxcbDs7OpQGpht5eej3bYFPsEfIvv21tDcOxZL1Hce5uOCCHzUVhIOiYazNBesJXPktwkhkfXUHNI/vkUerl+4oemw95f2Pb5Tt7hghg4nVrC0/UJrO/q/qAwgoh+WSpXvNISOqF8/9NGv9IvU8H66khXJuSS/WQRlKVBZG4u69c5gSQu3g8ipm2nnU0YbYb1M4jTohNxjhy0VtQsxjtBO/uYjYa0Rk/EDrKIFXwQPkXOKf9yCKsNgG30qqw90esDvccVA3dDyF6p7/UUlz3q9FIgEs08oxBa+HSD1iPZuBV6CLoDQMmaeAoyy4IWlSuXclQr14dE/ig/v4LKTuZ5vutMTGJBytkiZYsAPS8sSPnpdDd+vSa3XGQolUfkgyLZSEBg83VNlPEFqrX0sZ7ONt0WP+HLUy54flw7nW+vD57Bd593Y06ZU/zDjWFQAuE5GmZCJHBuwxeXEXFNttCF96b+qlB6OGg2cYRJfm+fxohVwZV2C/yiW07UdO4KMsmA68Gbdli20UqBTgcdOt9Yt9Hk3yMd25q1hoPs45aDO3K+hYWiagU5qSFREUfGnN/EptVD8rLtOcqaUIociNb/REQNgOBvGxLfN6v+NpR54N4sOS36Ke8PgIHdeoONXoRBUL2j0s3qS2m36gRpOvXVj0LskAA6SHls4RXJSve976bKFuySOLAohLo6rea1OBh3d9TGs4fdq0Gv5krPvlufzCO4LG8kFK2oS5igohAAbzqpHcpyNGKl9Wd9m0gUgXfMfmd/LW6G3gX4TWNhIwmDv4f7Z1hSjekmyt6+9H7WTHm6GHT+OzAXi2fgwlXJLF8bBrdxDevJiDUov9ec45zLo4468HQvacR+9VZKVXsRyGnBQ+mA0tjVXY9HkC6fhA+cGhrpnGrkC1a7pWrzlHaDVSIBonDtaCH5+qngm9EnGyc4rcNKsvGURc3BCFJxnR6vC2F0xlW0WYtZRFjXkIsYni/yuPbTiKsMDs/b4Cod8JBonsgZB0xRpunOFhHhv3ccpv0n0Vukh28BIBPAOinoIp9S+wh6dcx2z2gGgIOKSpzu6RlMRZhtdw4s0w3R5nRtotaG5USNZqs5Xji3Znxmr8gauywU44WseZcEgrr8nlgfNsepI34BVq4jN1gSCKFzI+vpgS1ShEONqJ3ITTaJvyfxf0TWfrKIFzVPANM4A9U0RjjqjmjJ4153zjJYV1pIfoCc4hAIbKJy/Hs3LSsgG8VbKni6qKuTr7lPss3X+wbYnqIBLwYQMAvJDKe83vkAPUaUE78f8woJqCDdjsvk6gEWTrOUXeJr7PlD3jdVNewmVm0p2LBhwFsaiFGXTjRFke48zk3PMRC7LtWX5xnMySg1tqYUadVNcs4TjSphBCcWZSts73gCtIZ+qPN3pLszXjeOYS/NX1APINxpQnJiIEGAHwgiOBUL7g0AA2Ogsk6XvUUv2qzrxRTBlnv6nZr401XP3mPpP/f2JkhQKi+IUqSY3GGd1ThZSj3S8jxVqnH/qFlHcPUmFL694ASckqxQsRdZrkBycZSe2diuxV/ERr+UzX/0N2p4VRzz8zUmMK3J7pU5sSrtdGAGzOfQSl+aLOrAfDgmNc6rmeYYcGTmpncH3drMj3cCmBFwkFCnHHMmxrxBMnGso+UcHur+5hGmi4z6U/W5MOOfFnu8fABT2RQ/r2avm0U4X7hN3zj6UoJLxI7o2l7V4rq9cAdyE2sPY1dflTKqSXrX/Et0pajGJG15IzqqZ2p9zYKUTR2fqwNFmvfSDnHoB2SMH+HLBbzTaVKYzfuaENcOoLEsgRojLwh2V8sJ4ZIHZVCs+pEDtwpax5aoGkhoJ2RvBk0YjQT9J4DkZw3rXfvv8IPoKEKwV1q6PWEhitDBoaYY4NznZ8ITHgzLyQZHeWeNcC/VYXmUlxv1OgkvKCcqVe27wCgUTkI2trj+WzbkNq2kTHUbAwHfE2089qikO1INAsiClQici1Sjccmksh15y56m+gToTw8E50vFKdp3I2Ou43k2AsLSzOTbMZZyNZ8wF69U982XcQc/VvRwvzlkthAJVLdcVOYWA9S8QF6C80ZIxqEt4+x3Ej96XajmqtUcE4bs39tVtJWVc8MY86BYxdB/tSQr4ebXLENvS9IL8eoLhP/8ZUFGnVAmfLYqHQMo8Vm8QKZ/MZIb0Nlj/Gnu73v22mBdsokncKimZkvJGeW/pV+5Vtm9kZTWHlJfro9GU6PMMwa4qMQCAcIVEIyi6d7o0gF15ah7GX6xCpQAUOTt8e6Vf1jbnmtdEkv9+vswHegEimr83U9ED1MyfImQlZ1pFGpEN+1meQaIXX51qFTXh/CJwXl56O8nvQhndFgUUoqVgaU2xz1y0TyeyJA0mebGu9Qsoc7ipmNy0iNEipPoVeV8CqXrOkmGWGlioZlbvxu7JpZuGvKz3DQrYrA04RULQ0Prp2iZlJp2NiLCZeRBAUxmM/FShdSUqBCD7fnHhG0KG07kfJT+yCqsSaSbeaPHHRjJZaWKvzs5R4V2zvegcnL/TyVtM9tu2LOQEJGBpXV7Q7zR57+CkcaMaUnbNPz/hMgYUfbcLQkNHW2QUDqvWA/x6MTyftzArVcggMg9XDJq3Y/NMgn13awLAwGFTXfzMOlGTaL7j7ogecUUE7eXgZrCiKmEDXsmGpKcheGq3yeTyyT/J3H6kwGAz8CNHXSl+y2Ey1Qn4qVkfmItQdi6z3A/mCt9YLbMhUcw4HNL64xeMIrh4pomwyOHN0aqks3k8xfVXMr/CwKxrNm9KOAQ5EAmZ018fx8ucakGinYasL3HOVdTAe1iYvbgPCLP/xePdIw2pTyRdPyVHS6Q5K2DvwEnOl64VawLiNBU32yCs19bXZbGxD3wr13CRiQAgDcvrt7P8xt52O3qZy61q8yzuHgvvR9mafA5782C7K3PiT7MJxXiMIOKidiQ8vRevgl7iQpJq4NQMKJz16nH8spHC2DB0R2qvEIsi0jB1lg1+arG+KuaMyycJKikRofmLq5LfSEE/iftTdkrejpFc407okKCBXpebf/yb98/msjtcXd1iKcTD1e7Xj+VU9vBy39bon8Gvr/cpKCEto4a6HXmJI+opQkl+BkBinKlE8kwlwg+8EB1UHIwrHf/R/6SGeV2cqjXOzZ2bqvOI7w0Gs5A0IxZmkVc8Bnz5A0gpRa4UMtwClTVAHe6IrmCtCNip5hmp3jM5+ko2mwZQpelkQRuAmYUCIg9s+ozf3fqxZ4xZc6cgP7oIetOQns0TWyNomn3yWMmh5+AzVILqnAhOmM/NjEvlM73+zk7N1VT19R+OrpPV8wOtCaC+CcrqsuQF7FvoEY+SZqh0aJmYSFYD/3yoFk+hIe1YjQtnjHRN4XgnvyAoIbbEXfmph9C1LV2qLOsAB1fVwjdOea7VYMKKtQz8AyeWjcXz/jILhjT+zj0qC/3G/p2/1Bfg4Zwpg84trkiJigMbIPlxfXf3Ty2Tf+YqE4wZ6dvRZzJWcXYYxmxQdEzgL0nw/8WFjETuIxMDuOOGStXu77axf/gPYRvPpVWwEHqe8ANnYZIQ2bx4m6TGIvky1QiZZfbLvqvYiQYHQX0JN2G6QMt8XoWXWPzbZcVJ8+HZTtI3mUAR9KHv/DeXnv0xQzc/mFQgXIneSEsL8B0+Y0Cqr/eS5ubU9G613IVl/b3lhUpM0I9r0fs5LVdXLRmTzuvzSeEXB1MrW9B4comIE6W6csQAgu+fcq0jydHE9h/foJjOPYBCO8h7MAp1thRylmCjpyfK8F89Uuj/AIZSfIB9tjrK8MY96bXaHXh0Usmu4/POlko0Hp3CwESvatOLT+jolsFioLc+o0s/F96y6eViym4nNujQq11TNB90GL+fGSmfSm7aofP9V2MN3dIDjXX/7K7Cc51Qx86vZ6L7Mf/kVzSi1zbQSI2VEWb8uXaXIMn0gpik0d7dZtcJWYr3OL1ipv2T31HJeKShxzq8bG3zeHeJsBNNv4u2zS3I18DB8xAiGPBFzmdtz+LT6hqnAFPjKWvEYqEXl7Y2hQaDmlb8NKFca1+bmyPsGpRXydr29SgKigDjdXoIaulL3Q1bt8pgwGh/tV3Lt+tLnGvl65sRTdlnDfJLIr05wjuvunYn7VeJ6vW783v9z1IMOP3QPjdNBZeV+3kqB2Qjf34l5jwMCsaEk+PLq0N4YhkriIBVrlsWdbCMAbkc6QVRDZZySlk4SBR54E4TYlLeU6KCkFT7/Dzm/yVQI6gl4DEKJUv77bDa543QGn4rWXr6eyIrweIrk2/fmPfQAa023cw5BJ7vSPrj+rx3HApozkx5SZyRsXs16GhjXgPt0w411xcDHPUWdjeSB6/cQIzG6tfYQF4wLZF4m4dtKj7qSosK5fXc2vSGLbUdWrGx91IYVZdKEk1uQS8/ZmYvk/cw9iz+gTZaym3l9DvihgrZjNy5XR/3fJuUyYVMt8AphmzBzxeV0vxR8g3sY5uUUkZSSg/xmImydMi1im9+MP//Ak4gxYz+ALl/1OOpK0GqzFTvFb6YZJYDICc3i5zEX8QAFAu4i4e4hWP2Eel+okAZvlLGWrsyLa17RoV0bkGDi8ucUWBM15+5lfTDa9KsxRL3fjPjLMnSXW0BmFjg3jCFeoN864ExIPbKcf+pXfER8RSqAR0lOaw7agok9N/Vo+osWWRGJ+vMz75cKV7X4suB8r7OlZelEUAICJ6NwC0Djf8iMoRXhpHfd/EP2OUhYYFOJMb3apB2s7Ms5iCplSTxcesN6LlgEbycAdXGqKA2RUGrfSMFLIBXivrn5SvP+3ZLveLAcL723CvolSJU/MJPQUMKhu+pvOmtuK94jiFGkJWCtC+Q49V98/Y1K/PonAHKLHAoIt2L3oDLkuBNi/NC4DRT778zdV29I5pRVMeVxVUFq2yAmR4dlykWHJxMiBwZ9886Ml3v83zVnD7ErwzsCt7WHBKQgqNOXfVyi466r4yrqRMr1dPMqdQVrqiI0dYAQqhtTyludO6Tt6B2XsmuCZ8HaetaJLNkxkAnEVDqeLSxKsCwSCGfx5+4rOfX5tay0E3wNVQGEL7Oek+89k+fB1j92tL+OlpH/dAr7W0UMqBi/QdLhYnKVFx7moq/AYJcFLfXhZ2oZtPS1T55q1MRLzxn9jVTQRb+VKh52G6wDQr8OL1+xm2xYHLdzoIR8+2ZsbgTFY8NSdiRSnTBFZwkQYFUnCjDpLLQCRH8p3Z0G70O/tRNU+5dsmN9jb7NW+R1VLDgzCzFyWV2YzWVuy1WpN1P/gUSBZWvNP6gzKTFdcH0RE+8gGT66a1icIFY2YPnFsasly9HqzDss0DCDs54PTxwKwWQMLBPMJmWu4qhCyiVVD84wHzJqHFJxgQl9kLEJ8csnxIGKUKm3mERlH7tnNeat64N5wOMCW9Ao4KS4n/pamFVOSOHuITST2nhIN4geTFiLpH0IaHUoWmxER4dEAccclDERsJBomr4DKEfHSdTlySaIGGYRuOCEmh0HraAbFXiwCrKXa7BjSEm+QlsQ7sN0tESMBC1r6oibiNsqYHjKpJr4DkHlxiQAJ8vrJTHgIw7Wbpcaw9ti8vIl0ZVggl5gAQjBdVuyPUcZ1swU1Y9aoD/ZjuFdQPTDbwt+qJAY3NemB7pGiuo/uy1/wXbZOxf7YaTHix9SHUY7GCkYuNbLa3HwoV2eMcmUS378szHWgkK68MkWhx0SPlNPUWpesPs4ktQv40Tul8yW9bZXz2XxoWz5bZLRVD9Cw7vWer5X39LrSAigraCxaLYSmJ5cKZkpabxjMM6X10W1+Kgb7qyJaXXx1X7y0DqnFgbXSg1DGgpN5h3gH7rLBFTeUe4H5fAjLUe/J3tmMuIT42GBpPHZIxvz5s0opFEfeeu5K/qTj+DgkUsZvr5011BCjOSFKJv70mxgYoGgRsIbEndWWutsxN85qkttWCBEggbHSiz/B+OA4SqiLQhVvOAL5rnhqX2f9vfYHbzUCRT5JJxxzAPmmCYf3WrTz6yEtSXEj9vV1rbKGqn2Lbyi6QDH9oKnsVEuVVcM46HHNHUm6hqarPIHsaR9GpvIH20tjLziqeV9+AR+QNrpAb5Zp8lpqmT3Ez3YUk74Y9V9Md/LqrZYLFqMzVBwanMhcW80kfw7XMR8xVG0kjKqsSyXf0qjzQPUEMCylNLlw3JlCkYsBghndzbBgSsH41BSI8pZl9XCH4w5uGo7xdwAzFLyrFQN1ecKhsybrcxqqeF4n1kPS81yLfbA22mDZ8WNoTv0BluwlMXVrJSm18poyUfimAI3YLJtbDN1qni5vzh7kAxvMQxY1CsG02DA5R4jrYuwXLKwgWNvl93ENmLUXET3AW80gAEhYAQ1ywPN+WRES/l4KIV9WR4G3ltlkBzGro6SNU2lpDKNypdaoQASN9h4ro6w3sUhS1CPnJIqgAyowte9HbaGHVVwZfKc5FQzOSm1BE/CBYqQmbHypqeAThXRgHTvb/LIn/W6QhpZJhOg+bCOcxhdSuo1OJYGJaeLgVY3w8rG0qjb0WNALtECKzSANtia5Vpw/ezWmuAmI/D198gNz0lLTb7EbN42jJ8QQQYzwKAIVY4/k8mMhMw2asWn3u63ObYpufDA0GQ4BjkLptv/aHTCOdyIy9JHQRYX0z6wgEmFpd41YsiXafmjvV82V5OWV92ynNXwiPIEF3ouO6VplbSUO9q2Em/2Q1Tc4Qa2JA/GFpsAt17XzUluI/KOgxsiCFQTYnXdcbC+2tCVpuVDpQEeSgrd6vS4S6MoWYmcIaEkzCOV2EBcx16DYgzPmvxoXnp6bN/Opngh6bNHqBEhJzeM1n7wpTxTH89kXtIrTyJy1XxwEfQfAdAHIdlyWOCL+K98UqQ5J43c7tq75pOg7xcKJ1+/iVPaOjmbxEejIFPOwXh2B4Kqh9eQFPa1MR5INL2akIojl65f5Ip7xKOYDhaqY86QP+VkjNeXE4eHv5Wdiyt89ZURbTAkgaczi1PlVMgZFn6I06sKsw4lYode/YTe1Y8AuAV24GFL0p2juRFEVaOCnT6uYbCMK71Og0KEgRM+GWQVffMA/FEqagcXzwwHe0zRcStDxqRD266IGdvDXhf6ExsEc741MLYBaNI8MD5dFuuFstogI0+D0AOtZpaUzbDcL2MwatUuHWGS9B/BrgopJyCdDl7aflv+m9Q4oTvD8XvlujE6cZeM5GuCRfjE/CXSgDGSUptFfaogOH9HIRZ5pLTy1oTKkUbjHsv9iP6nUQgJNv8CnSIsdaGsv8fSFPUFrmbFuVWr6sWk0uARP4d2a3HQzy1MewqgrK5tFuOiP41NEoelKlSfSR28ZTlgWDcMaRIOrgMvHoJXsyRfIXYPx6zZU2JjUKWLYc68+Il70vsfjUUPKxpx6QVLu8rcXFp2fdtOHlf5ienYoTs75Z9KHX9jWgc85nFrcEAK0EAVOr4w9EvnWek9EbU889OTLewW6PQgbkpB85Ih129Bf7DRJ/HYAhoOCFKfo311E8xhAe/1gvCvyJnyC8Ihk+cnGbqo1R0js5CPskxiY6Z6H8VKUS1iCuMTLj+gYq2tj8UdRGYhgDE9/Hqt30XISJOpTISVSN1qhKJcvWkFopTARsfuSXBR7fcIq8yT1WQ7+T2WjV7FAdlDji6AbwKSHJO3AhcY3/sVfp/c3oUBfL3J1xv1x/7lWg1sg66jY0dgFm1SX0zDh90Xor/umBv++l7cutvbKc+gALs5tB3g4iL4ykhncPdbmIlBxragpWiGZ0vEuTd8CQNH9exn3fDLJ71UA3x19KUdWVe8phXPNORV8i/b2KrkU1dpyTfkzWyY9lvJ4dMfbcmCf9bFZt2IWtNNbKFZzUoEarhJRDAmEe5sS4f2/110FOeNjcQW47U0rK7idx8pl/g7KxR3JTynqwNQsCS95odyWn8gTEmJEC3g77b9RpCeEsESUBJVc39OkpwnS2IXksENdng+s8QX4MinC+eVo2gwe2LMUxgyISADR4JIUxrBisRR6PGBuF2q25njA/BARNNB0WMAFK/vxAhCi2SYj+hya1MLQrfhw2IsxuEcE9/3PTo6Ao3MwF7BcG9gWjlGtjkuenv7Yqv48Xh4EypQvwHhBLDNo78XFZABqbDYf6MZrn+t6dt6ShwE3oC7akf1SfnqVDarR3gn7ZO6NvY66afTJ4DGDXdxVm5rxdx0V+GBE+nT7NP3uS6Zy5wAYTYnys1STIJM3JuoqdGhKnCKSGtAUuQn9+366j/5gz5qrBHOWok/VMENAByG99xv6BXG/ciz8APEBJb+FgkZS1V6e6ZGpFTjU4OVlU6TF2rCSgdSTm3FvOz8FkJ+qA5bSvMtBWkazIM0C7hRkTsZOiCYfX3OPAFnIBfJ5UET1oeImqEadkEMQrep2vI9fWIPRnl/WqptkB7BWi0N/CurTafhMSQ9pVcgr5n2qr/PSQ0Mp+47qXteW2LO3LCjxka0Qv9CXdQpiA2658ZJllZ7AN1r5O7fZNDFQCIJNeLddVkUUxy6fSi0tWJRaEypVLfBADXHhXOv2SK6oC4rj0+x0B4NRxgRU7Lw5GBEUBaezQSPAdV+piT4FpBZi1JG4Yh20ePreYi7H6vARjnA0mkWShVnQF47oKhNgb1PL1RfZVjXLaIwYlH64S/W7I1iN/Bs6gxAqyGR05sdBlufv01/ABM/o9Mhn1MumQItUZcTZWOaYPHUMAwQYb7GGgBV87G4Boafh1nHuErTW+zJJribhd0dzDz2s8NbjRkfdAi0G1pBMoUE82DBX7YB3U7If/nWDp8YcVmfXE+1ZWHgHFsqt8DfpjTxpCny6bMOs0W6APX8sRoXrnSdaNnlo+HBkY0gdjUXG1OHKBsCdV7Ol5krC9+mxOCXj5dDLwvWLfjtipWUtVaeoB5RhKYzmxLkTAQuclmSY7v7Ka/iIOHPDnABqRJEYiCMpV7LBN+31v/76zEFBB9r/HEJ6VsiA7jLCAAQA9p2DLVEEDZq6dmluw2xzutTjCuUYmL+LHK6ttNQQA8q8nWYfy4NvSWAoIZ2Piw1YXVvosAqgw7Alnxh+Xw81s7Wxn1sT3R801kEis2wqsmOp31Pp3R9PahC1znBx7XUtdWHWnh7hvEhFNyk6pjmD0JZqH6h8sAJie5v94mJOD9cm9yVqy3hTlibmgUo82jHYPoWnOJDi16vPReJYeZu6Sb6Ltsl3gAh4A7+2GmSALV4a1RRHDqULw5oynAG25jsvx7yku72Tx5cP9yTxnbdiLCnpcLPgufQIHufda1Bda5q3qTSAAcRlhGELXyfUkzz0K3pQy+7A3iFn8bQBqQrt74J5beLT5/5Npkt1aXZRDECh86NL9MZDTDW0g1JIH8Gp0QHCjIBYCt5eZsPsZYjC75eiThkqp5NIc0Q1/8ST42dxaYMahDAjc9J5gfrOJTmYX9kXxu5viUcgJFEuVxdTFTV3wUIiDAJugN2AepNo1FL6J0K5qecg+O9zsCSEOkTbeBXP76iHc1ZQVgW6PpForLYWaDkGFj+yW3FpAPx3Pn3g6ncx8dVGxFKaJD4RIM8TMe9tIINOjpYcMdMBUKf2e83glkDTucgjpVMiST2zR5E0vaCaxNaSuLSiCEff2alIq+MGTOSViQzoo1je+KCbQXmqrETUEANdjqBlh6Xap3o/SVtrl+d/jDFU7S0NI9QhXvTXUTpOgYaA5llVStl2Lbsn5Tt6lmOvQU/+zblpw6L9CfpHLqBx/pocCuZdIlUz4w+eMFkEGugu7Xp6kLJ4T1SueRF7jXLY3NLXAf2mnaePMfK8D5EoMg0cniMAmTsWxpyCrVpm9/F5Bin+98pTu165ov8+ZwWz0GLEgOKdyTdwwbgpM1cR0B0FsRQMrSTzu21TjualoTvi1Pb1lteGDA7HVVD7pu5rWIBvoY57xvHxGgJ9ePDoX5MhDjFtaZqIqJauXRPiUyv4AB8vB5MioB5HO57Y4zcwfNwnR3XHuF49kPasYogCq3N2qxsBBpr/Ag7EVaes2FRTFTcVQA+MjXeVUXGqqylo6rDy4r6I2iynYKU2XINtXM4v0dIiE8Rr22gCEp86liUe0c6THpIyDwgoAeK9Sw77XDVk1ow9fQ/JxfRqVNpdhp+ix0rxtAnmxBLHzQrl9B9i7opzfL+ST9ZbwOmnPt0AOffvYMkW9WAPnKhbRoTq+5DY/wntE8xNWCfopLILChREHRNiAdaVfDH5V/0TPrCv0YH9pRijI4jp6vTxmZXnmdE75EGYNSJXMd/BhgMz9AHXMFqmNViin/iiBbfJHSJUcU3/k+7I/he0yPnECY/6Qtwy/dBkC3ZgDabFPeagfVKBZQAhO9AZNLeng/joEPwnmzqZPkDjgYUPhyFql7UQfdyeG3gWk96CMXE9Vtu7bFZStb6Jf0pXGlWB1kuxAnN4Wgr2ouOkG4+7t/CDaes46Bvr3jBRxKN3iHU6KEu/3yTaM1nNiVgtLEdE/5q4/xbKRyXz+f6xdPbl7U8AolFCmrA2eqEtcmuLTU0NaFoG4wfbipfo8EQHetffMU3R2LufD1T7ANbL2HesA3Rzm7+s7XN7Zl6X5JME/aPotaYewi9DXCD8UOduq2lTcmbsvt0A88v1i/8E9VRlkjQAomMjNtngPg0BRMjvFuiIkkBHmcEHf7RnXY3TH1jaAFERZO7wReN1Y2VdXoCrfHUlOd/kShOqRYsmj0sNVMMa2wgOlQi+n5OOIZ1ZneKEnT3GRtuxMqxLniBVjWZR+wP2+uBvzpFht4L9JztJgBJ3Ikw5p3OnpNpMf3L8GXtuE10OlBo60I5ZhtzQoP88YjoqNGJnxIcGfHHupADoRSrqpbX0v9pLgr9cQXwhJGtxUrxItJTa5OuLtuFkhjhevXXTTWk0VyNzCod1rIk6tWs/t+t/ZXIKAZSlasWG5BxOr33/OW2K7yEFeOSzWYW9VIAtO564kT1NS745/xBDTe3zoOqvjdZf7E9BBuVzKVdTSpjGcdqzeh+lmBvzTh6OrSmgdARqFLugcEdCoKBO9C4A809dsGz0DUaSqTIq7sR/Ze4KIlQStibuNRnsKmmyMr4L24oFaZyirc3gk61nFzIifiqMVm2ur5tD+apmpMkNRomwNB6T01tjZQ2s8IiXPcY0/ocxu0YaqF9PIy9UxGG4OB7gcC5NforPhN6SyjvsMzsZ8PAMui0EDG4doCqIagrq5wC9DzYHlTfNYPw9a7h0DBnjAgH6YQZ/7SF2Ci0UhlKbL6OnkW2GiLsk4v9k3SAEFw/fSobWGqbCHkCY4uJrSTnEeBMto2G0RldgF12y+vytTePSk64uhWdxK8neFEpRqdQSyUGxg5+9/w83I2OJmaFCPjyIofLhwkOa21iuqTxoB5Tc0z5ycmYlvhQnHE4JQxZRfuvRISxLcrauuPSzpt/baHzXeA/z335kroklnJgEOeOiFtyE+PXkMvqPSEN1mNp7sN1YiToYAMA4TLmtXIeAyYda5EEb1dwlr00ksvOYwB533A4WFLnxZegJq/XzHl8UHUMtDoeZXAhePcOTvYDvndzdab1Yn+uYiHdVNv9w3sc+iXapo0H1zl4NMZeU7INznEgWLCFUdpvQAi5SE53bLDrZxLMstC4xvd9zT72xEYpH89MqOwRoWgMg3KtFpXJV8f1ageKz0GIDQuyOBaIOg6eqPFPJbbf0s1R5hvSE+o1BXxRvKtoEathHCGC4+xT6aOj1No4TEkApivdr70T1S9l3eYTeSnHyPUyUEkVExGDlAdJFWm6zrFtlmhTiBf5koIRK4sZf/WtsaviXoyWIHmhH5mDmZBnS/d6p4hGE4xmwcbT5RCztqcyd2xHfbpdOaUWJM0fdwq1yTRN5UkMp0dlIGupsnYwNN43Z7a/bJSfBRTKCdhTABp24klt/obDzH0TfBG8WQNVleQVEyWDGP/NV0ng+7CcLmBFsYhfwm3Tt1Hj4vxdWMa+h7Nhl+/cvmJZie47vQoXWSRDpNbGJw9TCofaZKU8mCsCUaN4WRBw35NqbABTKXDpv03RmL8pPAtyP6XuGEo0OjH4DhwnCsw9VStb48NjLYc7ge0GDIKjs3TuoC9GvgWHjfmUAWjzzUOuHigpL3JUJXk4G0zXAY5p1gnkAiKjrbY2Dfbq7T5WIJ4CIXQZgl6w7Do5gKOj1UFSXZXWZuo0sUS5tfLZNCvEr2TiSH1HlL0WVqMLnauY8ONPF7F2yS6AW/Mlk/aiV9lQr7clw4wKoDIfUR6C2gl9SsIN+KBGj+T5dhZ6AHtY1eRs9z0H00oiyqFTw3L1DreE/4+44GT8xP6MBosZTOwmo3cZ6lLh1y/aiZadmq/T9prIJ33sUP7gU3XKfyDS1c5r5oFflMK1DzxSlshy0v/0rOH9MnLoM/ygCZqmt1N6UZfm9Ei4PnhvFOprz8/a3RNrB3gkuxfqna6sQFa2eCib7XewlTIcGHC9erHiQ+RtRT2YdBmvUKnUIE33iP3Bj2YNSnbpYOuKpMgAwEf6X9oJUw8766KXxz0jWSKEZ31dSeHrSHr1lSSLxLbqWS7TWIJavhyJt/qJAvQfwtoFpf8qNVM8VqKzOQvS9oohuFFZ+NSE1evcdV82w+zajOMAF4ybe5nj3jaFprlutU9wzNeaOC7OTihVdY16Tvt7X2nNZwxYsIkby5Dr+P+pW7I3mqqPzqGEgPgudxrgHzyn/zlB6x5Ug3kCzBNEVINwSAz6e5F+LU700/J+gBXrW+ZtkAGPIuEDr0TeUxoKZrDmR2KYloV+/ZRU53ys5ThWN90zsiKaR8dFXc/AeGZtw5TmQ0EFBYFOqpyTJIOdEYDdHtr6j5LmbkhyEVGfcckISLKLhjZBYGivGG7gdStCntPyYTiVn365YApCGV3l2oys90axopeEvoE4tpPO47LIsh2IOiareSo0Bnq7MPuaC/qm4s/jfsTAS5EUxMOUoylpJQlUmpsHTk4Ci5+dQ4m02zNZNIYWatY/kpDO9Uu34HcDqSbgVtJbOXlzq3NQoXe6/zKB4RZygWsMByfQskTE9adPCIfGhQt/wwP19Z758k2/ElMa+Mhxgd8RGsWN2pPkV/RbdMNAsD2NEecwjZPqFUblpbaoDTETxnzhxUT491qf//AZId/fdYGmEYj4mlT2mBoume3A/VToU9JJYPaquDrOWeZqx3uiDefxdqOF+YiI9/72DWaxV175OQoik0yvB1Y9V4P8ZfWjo5Awm86QsMvmTkzVOmKAincD3zBuuWD7xmQyQ/BvN9sFpO+AAGnAe6A7yE4rs59C+gpyTxZgUjUjvglGQB0ry9oyQ3P9GmGj+B58TE6ZmtNwAR5Un21TJMhjpsBd6q1j4BWAxKhkze2SX3mYEXhQOPoKIiZRA1ut1+tEsrbsy0Obnp+x84PQeBnRrZjGOM3l+QzQB6BTC/BtZoI9mexfvPA6fyQaECTIaaUzJcjWP63T86tVDb2MCAgFFxcCPp/4P5II7vtPSYodp6wLXdgEhxSuI9ZJhI9jBByxfJLL+L3Qdn0Jfal/EGrs1wga1AQRiqdiNtJ/Fa5i4U+meaSKLqMWXuk74Nd9PwU3DJIDUoYvslccJKRVW/wkbZAbuIjL8ACRp4YZXAVyuYfLibXfLUoRqgSFFhiKxwMseA1d4XtIrx1IgI5/e2Djo44nikV4G1ZFrSVine3lq4iObLFm0CuApj9tt6lVhvncYyNinaF+gN9HT4aEeU25Fjh97yyXpiIOVSLMfyATzz2ghPoS8uJQCjD6br8JeNA7irJj3SQ2Nsf1D++SorROhIWgwqN54PKjeWukJUEIjSJPnPbgqeYImrdjD6rJy+JxGnSUgLie9xcU6V/tMrsgb00H6jm0RBbgT9YyWJbWuwH2dUil+aOjTJ48or33aN5AvCf6naiAno1+zooB4uNh7fYdDfkqzj+R/bn0FS/6Yh/rzoFPY4H58vBORJTyz32KuqX3UGw08xXXHDPJh9dCeb9T9AuMb1Z3xzHSUVE1VlNtNICzr4PUdFqzliRHHgRqf1pR2QFgh49UFHq1ob+LBFW1NeZ3g/Ju47fqbVPD1KHYXRLwNFnnZZ/y2fKBAf2jmD+14c0B1C5id9xhbOcYO8Pw27uktbURbCRHtKkJsuY8WihQXv9G/rrlcqwJe6Yrga1NY3jkjPhIrubBLncSpQ2nfN+B3ecebgFJKC/LyokRZN16wCzrj0wZTPWUDDeQGODU/BZhXYamB7edPZ/1v2UhKOMzIwZsBuVcv3NwCpE1TxaDoqqj3sSmI0ievqgv1cgF10bSIYmF5tCbTnAMyxKWOsKtLnv4nk66WgXhrlM8pVQzi8xs2tE55QPEcR9+Tmbrnyjvxqc1p4FG3ZmWVX8hjpGBY4r41vk6aJTuPYW0rcgSNtLmkN/OxTXkI+Mc0NOO8SwihL3Xch9KHnYdEA8AyLbWxnwffZVWYVV6fO/BoR3DVHpYk6wYWU2VMwM1dRYdCJkz4iKpDSo3mCJWi1OFQVZby6rUS0610EI0yG7a1DUSPd2nJrS2Gu20SKNkyExHsB0cF0ksdQwJnqd8no4KD4nN67a1SiiwI7kKVnDG0bwxsSgdytANyIHOauURlHw2xz26JNCRngnkhr2x0tTbSj8C7ZQ6BANjeibWdxCRW+Oqdt8K3GOlczFNGhrdR06OCPEuzh1YC4G6pGGYdoiWPPQqGdq0e+wB1odVWODXT1ev589XEKmOFZPLuTG+JyPGds3WBbX50tDHRJ6Itrsko4ASXZNEzGdcWFZH/OBPNrY+0s4Z1k4DvVuOTC54izmcX3vh6a8ieJrp7SvMtrpBbBmKfMXRNsBlwbS95l6MKkowoDYFS9Y5uwAuTWiu+/r7KxAa9U3PQZY6jXBA8MHqcgwIRdpNBC1+Q3oBhBp0w/Voyhf29JzRB+J57kfFz7nEemLH7QKNc/9aEv+XM4pds1Tq16VkwFMyFf+hokXpJYiD4wHI1DWT5imrS1jQ5Bepq31BxLf4L/kEmelsOXiWhFeK+FVjNHjPAt7AKxJm9W68TpJiPVXKWaY7nKzBHq7O7spPPFlaOBx/6IT2AM/0ttu+3g6IfVQyn3JoNqsYhBOvfAH+DoWl8ykIMz2fuNc/r8z1aJmzr4YEYCWgaS21jhQVN1VwLRuCQMkEga44D/8Iq5ItSMUL0f0SNZenI3IYtmz62OxLpc0pspS7bJxUYnHyBm83FcVFLII1Oo5MfmCWAJ/McOBGunRVBd9Iy/zOSbY85looGd1pTALqzVs7t+nSCq2K3Nr/ZXHmCl19dtfG0+n6QL7/Y6FXYWhBu7YhJWNO7Hy4FRYjlahX+TQfMajUAfL6v8Y3DNJJV2VrmbqAQQQwq3hxuUkNw/D9Zl/rZ/4Y+5jkAS1fNGQa2QPkd6B/ReCB38d+EMlCDSJjDdHoI4oUktdcVkm5PElCBdU5Y1RaW1r3uZiyeRxXAVVoHid5gGS4ZLzGqQub5FM9dIxZzii9riJpRw7X97ukjSTHp3J+M3KMBuo9lnm9mf9aPUqiGDj1p2AqFprpqvvmOElnDSnB90NdpgBqNrey4hWAzZ1ZvEN9Jvb+Zbtwhle2U/dPpgVhdcQifup52uoE4EBXuE5lXfG442qKjH+SW4AtS/cxnxQXwLLMSbeMhoplPjp35w/GWZLw0Ls315zzTydpYD3dY3mDEnzQALpoRS7fOx625JEydNcys1fNQFUfnjPzwckRjAm7fUpmHJyY7YHZv7R4UuUbMG9P3sbc8dczJL1nmiDPpBs9REBek9F4EPS2c5KYXWnSB9/ISWS7Fq533iCFQcKGG4KLom3aSis3C2gS1CxUUmcxNi8I+k2OsFkjFShNwp3ECzfQeYn7U90Pfi6VJmNGQ+2NotHYIFcwrsthY2UXZqkEj/8OhLabgikqZtqtWi7LTdiig/iIpU0orIdt3SleAZfVuCwLue8G3tRxNDxdhcW6yksNDq0x8O1tsMc+iUm3u14Qad2uOTk7/VbToIVmQlXP51lduLF1F49hOJWqDuyWNHF42MKJxmJXrE/7hUp8kmHzIB7u0NB7uF4RZitXfJpQDupcfNau5aHIn+fizTb2nzMJK0X7oHSVF03Ix01Jzw1c580lae/O+rCd4+0qClxUbpy/Opg0ecSPfc/5RSQ4ArzHgUDHjAtdvpHDaJ09vMiDVU2mP5eG5sCCqYkooOGdQcrNaXVjth5/L8C9SNPsz9FXUJ0ViHkS3J6SnALljo0XfstXeYBxzsjAzZrCjNO4SH6AtmWhlGm/dSBqcP1X7ZHaX1FwkX2FmsVRjanL9lwln6meC+7fkIr3SJ/4hBUorLAKQtvB90dMiUeLa6WNWGpcDFAjzo/p6wSHKO3A5Ns72bI8wNEDUhmftyJkEx1rdZYk+eozD9ND94HJjw7M+LXSdna2gTh/HRX7kBtJ7k/SBwPc2PyKnvtCnlwiVgJdi/UNaV/n1Z2gmC+b71fdwsvWOU3QJqplU6iAtinh1n5i87O3JU6R0uGyo5MusjIhq/hXYNClG7SD6tG9f1F3ZzhHl/91h2DAAVLr/fjbD5I95ng8bZDs2mlDZG034NnwSjs8esOH5y+lu8eaSXOK/cQRI0agY8tGdhhat5De9mQoFD6wkiSJB/r2GjodokwmHYdPr0TzJhUHt7i9v5Ce0x26kDqTqHDc4o1ziUpIrxlio2Tf+EydI81KH9o9mUzrsYJFo1dRvge4maRbvwdDLjexgUA5A3AyZmNSCP4JWVjqzNuCKuZnYyUA2qCII0lxr439KiVImj9Z4xHXl+YZqkb9QsgJNg8CDRLa9v9D0lKvixYPgWDJniz5i8S80IU+1M7vIf0kjR0Ie+1QYdO3+VYGLdaaSN08aYtTSwyvbRk5g5L8qbqycVWHn67dL7mdkBpQG8yICQYuPd4fWXGi4F306MeXxIVlm/YdQMpNod/RAYYq4cfhuCf5Bc7/91Y/U+N+qrTpoNYEwQWpZ6uhTRvA8HetxIB3SirRqWGr2t1WZE2SDhLgwJQCnuF/0GEHF+wJxdTPQVZU+jzBak/7+din7p9pnzZvStigFERyRIIHBGxrG5JGVhC5vZjqDywBVS2cf6ZSyg7bX1cBQtqr9+uyoMZGol56kfZZVEvBNGSuPj8cmzaC9tjRnldVAekDdrlijAndiIy5F/4YfNoyCcgds9f7lPsWlWLa3Q6FzWHCYu+geFy5CcApsaUWeuu5FYsNoxQhq/5uaTrOFMOhYz7rG1rTwatKnF50xjPIJTzDxkhutjGs2cSI1clqCqiu/0zBvw8UqGJQYDBasJOcAlD44xbEOndjiBxG2U71nH5WdrbtXHFBFyGTjs57yOeKS/pzEUtAla1RZARw249bFznZblmm7HaWa+F/jcr8/cMqtTSW6HZ45qpfV8hWM1B7lpsJh0rGQw2AhfMHkcsmER83zdujIpc8Su25YciozbwUGRQpTMIo0OT4AzOPub9jT+WgplI6tOS/rbAypQRpUAubgpGHDvP/+JvE+EBbKhyKz0YJl8lsPO02IB+07aHs/QhUz6zCxl9VHHi9xRkVkpHQfnODqqZTcjvo/4f157v6r9Z5lbb9vqTs96Wxxvv01oqu3LDv8f8XXnuZz59Z4itfrDVnqJwEX/kseGiazc37D9YQ3dT8Yv33N236ylLRuoSgF/bUN4SjfU0yNSFsUmcGZI4+mDK2NY4urhvBbO8YBUMx0JeOYsiPZDbbHg2u4XYqhmp05LJkWYZ1g5zSJ22lytVMIzKBtqRUzrUDbC48LWNBaFk3SkeyPuziUnqikpnP9TA4bcziZSo1SGPuQR33Wcq43PLQZYJ782TIQyAWDKH+iCsH30dyO0gKPyuqJZhl/nm6J4eBxbFj0vCRVL0NdPvFtmHyLERRaGFBwKX4pcRlq99GxVUGs796BpaRoQp4OZNNP1owqS5evgHA3XgI26I+/8OUpDsAR8zEAdPssza6RXnH8W8ovWTq5SUgErtHBU2i5mXgGJPq/XD9mz8Uev5oNagVr53y8+ux2wweAzdXD5+pPpxi9ctCbz7iSdy0JbdXN/RzplvTG2O2hG/PBrVmXkEIE9IyT2+pVif+XO23S6N5TQfbhcOqkhd2Cy1HYeMAVVmjgLJp1gOjP48WlMzCfow80AQ52juKhsW6iZU/2EV9EZiis4w7VwRfFwcXIUO8U2JwJCyiOe/GyIa6e3yO5WFMGdzCqa8U1rxRJRec0JLJSnMGQnPnH7/i6Vv5k2Ab7o8ufEGzseUNhSk3iGJdhXA2D7laOIR/ii/rLgSkY/9o+8zP68bFevE9bUpRc+mD39AcO2wBj+H8nkYALtw8dXLXuw5z28Tgisy0zwiSUkQcMaQk6PjJtBdH/50O7hHVoQJ9W8nx2F3ko+GQpv7+RuSYr1ZMvkb7on/FnV+yC8D5Vw5Z/nHk+b8EL/U2yrUlIP1SjtP/L2SMtDsKqYixO5EcL/DUQu0GaHriblsRiJTizhOUymv/CUJXV6uYDGtxHWhoPV9q2MW8TjT2lQ9I4Wi/Z4i2cVS4EXjl40XH11Y2IOxTuYCjKHOhqPDsWE5LTv+x5pmf6WmzjHicsDY8aWxwPnjk3tZ8q8R09r4ZqcOxvLIKRWhP3AthtFhL2pZbCCK2AsFV7XeZjKdnN6sglRm8SxRCPZgkiM1IeILw4zvwirbD2p4HgeRMZzKMq5s7kJIKBkf9dscyQpYPgddI3loIbPSb/jPc6h5GwXj8nL6iARm1B8SvsN6DnQlMNmVlBFiK6kguYUOt5B7XVer4YG7+MIAmMDL348qHCuWfi2qDTsLtvENcXVe5YfNHFScxWnoAVrjHbbZNj4Rj3tfPB8L4PKzPNeOqG1cnBqjLjelAs4He2PiaIoDphCRzbZCEh1DwL2jM5u62AX2qnp+XctloHWqApF2xhiDP1uGjrPS0+2446LaXz/hTjS2IL/XC9XcXV6yDEF2BBA+jUAimFXajHaYeHWh+9shXtCrKuCZAuRocZcJLJG6Nv3Z87jQ9ayXGOzBVt+CuYmzNY/0XQNVA181h3GCNat7KRTcCuUMRrphtcXaJMGacAGnw1R/xt5ixecRrpztnGB00DARstRT8kfzB+8VgNC7YeltMOooKZvQYalOwELTKYPONOArj6wOWO+jlHrHIyluQVyxCG/+vRqKhNyyeY1tST1HYPNryZOgW3wDZ3ujc6QrnOuvRQk6kCCZsYSjlcY8hFVnr0Ji9BuHHCA37P175WIHYF4ikvPUzy/4Ta53MMb25ipN9wVbzjKDObT4Xf65x5e5WRenYhHCg+eI/7BpLgbokmZLlE/yhwMfr7knLgx5b8iKGJW0ZLEfHimXAYCGzwTFnh12B3ssFKaptewEROpViVGhiAKBj5Ta5hz78uY3CY5tt4lDCTj6Ju+U7ksmCe/JujEJE8z26pg3/D+RsmsKub3BfZxjeqYqFsAOeWcs6jG0UtvHegbNOD3d807caX4VXDGnjFY5zJBvi8MDA4a+cgcEgnHSSAf2xQhE4U5q7eJnMNZ+dGdImEh24ImeKtubGj+4gL0x4HOaX+xZfCf32wdjp42GJZBSE+k2e6XZpxjpYV89vdvU5FJix6UZYzVbM/i+iSc0k+EzyCRhDqk9G4V8uCmr1X1Ra2HPV9zwfEcaGeQHE+eLPO9dscA0iV1N84Q/guldPkjtBir95sUF40JR9yBhReJXSSTO6GldSQkt+mESPllilORQb/Z2g3XHP1dBWJ+vxuyj0IpZMFtRQWwdUMoOCz8e1R7FViM40D/ieG+P7tPU02kwHYFkK9gcI7Vo//GAwf+AUCiHcnpjd8XwoM4c6Z7TMqByZqq5QedCHos0cP1Wf/cOSnSMG48/nXhOzesiCcBMLwRtKqcFOTsCS5xNYPQMgx7qyw2ln6mpkzQhZieDHVDFbLWTOIMARHxFgStEBXV+W5L+pxb7BP4B9+OLXb7/+79nfxr2Ifzo66xLRmkglK7F7ccsCB76LLi37LrQf90N44ODHLDDG3h4ZttJMye/x9k1L191PdMbo3/EugH6+47tN6/IYBB/YU03E6OTeBRvvv684PhfJydMBJO5OTQC73yrV1FT7XCYYDmcQmEkqH0tDZY9emJaN+3et/qCDKrcjr63I/2h9sw2OmOD8uCTUFGMO0MOUn5LdSvcXEbP8kfUoPdSIid4XV+ulXOQQ9/3JHhtseZpQrZcjFFHfvbD2+kciyQ3nXOjnFy6tfDSHJgt6MIVjFlk1Rgy7SoKsFIXB7alSHPKx7yMPc4ZtTd7H+IwCpMZ1pbJfe2jiTTV31Z9ckl/nvoGxkLhbiWRQKr+q9D5tPoMfoa6wRNN2C/7XYQhX3+Jf2hsgpotUk+Sjwwdd14NyVnPO0fTjzWRoS3SJvMVw8G9LUKiytSAHkJ02swBFCpUbjEoBiCEseMFsJwTvGeRzK+D+pgEukDbNlFL/qVspYor+45sSPua1DkeJp3Ho90dIXzd3mWSIJhfwpR3q6tFu7fz8zQoyfxX35kJYVak9+Q4myqBn2L9EIVV6q01p+B6SKaV7KbUooOtC/sn4r+1Dlo5Rv6R2+MtqYNQINC27RLa7sremDV8atRX69FA6F/6pViYkfai+Fc+mDgAifleFVNn+VZ6FBtPuTiQZPhiybvichqxoKjV+KnUDJy6hCLNFDOnyE0T7vi0kw7d5UDnpxO1kyr23JwP3jazh8v/B06M4koq2az5fumg3sAkC7FeRB8SpXOtJd5ZiyC3a3d/WoTpL0wV6W+JOLaDhjlYtGRn9rPlVzl0oLqulqYJn+jhR9hOPIUfwYVp1+lhOEhn18W632uWqZmrQhQFwWttMbQRKqSwJ+PvR/dGo8KpcrremoRsOJzVI6wyWUGdBSWRbBRVv3+XEfIxr/Q7Tcv6Y+Hmy9GhVIGSk0AivPEYBGiiF+k0EoyYUapgc6TeTqTEynUr6b/7CpHEya+LzB+Obd/ZeGJHij0X1qhhxMU1QCQT3z1Djrljjz91fgaXtUag2kE/ZeePOM5sue6cmfDcIYzk/1/ZIkadA8tjobFFaCH0fTBGmnJm9nE0CuNGqURuyS5n+59bb326BptPcXn0mgL6qu4oAfhGYPxEEfi8+Lnt36pXmrc0J7XpxB+jbEW0jmW2mXf2OngmGhdHRuzBBDYdWcebH1qLGAVJHBm5gbLv39QitcJBhzFJ6r7x9mj+Dj5xeWWaD3ifocTHWchbOkQXulR9j+ETRc+BIcqisHwWKIFnycmcTHDdzdI7HU2bkVNd+lwd+GA4bL0lT/oAqCUtMTePFBGjFDq8NynDiuVNROI3IDgzO5VHLsEftDeXLmuUt8cSVhoXSyCU2ySePqiSGmVkw9y+dkie8F2PlNKc1kMjoIO/EcQF1UDJt3Fdq0xWrKnXgJdzYB0FHkQDnj+eWT8X8gavWY0cGKyVri7D2kZIISvXSav8zUQZHpVtZnlykYGm/mYEwCq0Oia4RqH3/Z5Q9z2MOcWn2u4wJM6aLtTPy2TPse/i6hOEHe4yCQQmAk+6DVVr4+FbrTDrXUBJTqS2H6r+fBXv6xvN7wBsQd7DgEbK/QkIK2u+fKILtQwustl3WCuuS1F3X5YQJ0pAdH2UtXLEyTXrJECx7Kus3uAecJ+TQGAzakBqtfIdWRkSjzmjplZrnHDpMjtLDt2sp1d0UM8Xl6BDRj6u0dwwn6mXPlsMwas5prdQUCL+E+yGcgCSurALL5BZcuphWH3KipTHbYe3+h7OEPnnbiQlKyW7aJnH1fSmhxpzcKM9CY9cB3kePMEh34/lPEueZGtfguG0rNKjogXPUGgGtXjLHlt6XnJKiByrBzpknItsD28euNpAnSe9uMRY3kY8sLIMlxwc+zLRiAKn1aCC+9k5saDsoWfp6XnBWtXfMRfK9YVxIZMRzeIxLjKHoYCrjD5cMXT3hNmhCt6clY7iQ2/xRCTOz5mcxupge+Vg0+t7F3Cj+kM4TERFC3b+Vsj3TSan47SlwBB3ZrDlBxc/qs0EwApJzLi0JBCkPAA3HSZiUBVQ/9xQWC+HOdkaq1OwQRda/AjOM5plvoTS59oJkdZ0E4ZacOj+Dbfb65rGMsvmOc5mb+yhttMEZABZpaDDS3TV1HcDDQj2dSVTgcBZq7IRI+oqtJya9KDZI7hHYRxfWDvfKP7dty51w+radmygL91bVRpoIhhEY0+XbiRmdfBE6Y/N+fV4degXqZc+PDm3/Z+BuUSMDHOl6fhaPeiq7ClrSF1jX4hfgRNNhkD4bGq9b2gk/rQq+7tOuv/Reii9vynzcdtzqkoXdI3OpgD4CqVd0oWVnDMe8ysqlW6lzU6rQniXocgV/uAgqkZJLwmrbrLK2D8XX5jkSBI+RU370tUv9KE5aTSygMJxixHwYB3YnkFO8uW4TwXhDwhroggobOu1LWdbNLHdI60AhtzuTFwmZ4K8p74hqCbYTNGphRNk5C9euJ7Vs+90VF2CpzYub8QWDgvZn7PVgwLX9js4ScX14HZK+cipBl36hNVNGih8ceW8klON0qfsGK3h0FfdB2cYoGfUznFBGQ1dexpgCiq/9Jpuw0+Mu6IjlknhvZ54M+dbUTma+VssKBOKT2yiO829LGyYVDeZcWW2iq+rM4+IVkuadJHvOgtK0HAvf6Hqv6MvzMxrMRIfRVaYXNZItwWaMhK9EcHvmKollg7rRwj4za6A5YP1M8ICVYbu/ejuo3px7U6X3653jZwCYJLkYPJJF4hsANNchWw1DxHd9XRhFpEtDpbwsgnRdHe4d3JJWW3YlUJcaETFIyqyrfIDNl9FI1qdhnsErd6PpJDsXdTVBssnnywWOuYBDJuuROw7dJMhIyel0KmLWAt4WuDA4XBDXDhvdH3YMzpvSwpGayA9OehYLBdiJZg/Sqcgzo4fAxY60R/D9lv/4aXf82WIjNr0OJocQObI0mKOG+YsDVDkaN8Gd0+FWIxQYkKaqz5TKA6GsaQDQVP9unjeL3sq+T40sy9jMqejF96YrCVs06IPOaHEk6ZeXD+pYF/SgbXnP8FpxDLZm/5X2uTbU+KmcSA8qTHtudYm60C+qgjY6q7Cq3PwPe6x5cG6aCy/iNIJB4pqhVnthmLB7yg2ykhBjI433x3zCd36z7XXtIKaDDzZ80h63LWtIPbwAvrnEqhjECFSeZ7dcEuouAjwMtDp/xyH8g3YXEM/dMaXeczfTvzC9G12gR9DsTldPYxQr3S8svCc8f3eYdY7ceHz661Hvsph6d2UWYorNiN06FHIsY8JiazeDCIPwN3LTQhfq8c1y6Sxzjp0keL4sB8eSRoBySl7i4vaK+XWooY4GX+G63p7c6kqomt/wv7OUegVhe8gsubcMSFHhs8b4PDXcfeQpDkXi90QG702Sg3MA3pTyrFY4fs26TC0BX3uNxfLOwPXP27sRgq6php23x/wrCYNMmRD0ygm3oaXuc22fnzN2qfIdZND0ZXSg5Aw0zZ2Ag5eMtjwtEhh+oAsi58fpbprCd3Y+Im8X3dHxAbJBN/voswwB1A8iFTjwnJS22VfXzVLgJOkAbN93ypQiQgmmYUB8P74RgykpWz/kKDzjYEICESz+f1J3+d7k+nDF6wdbyJqKa2JLnaUEEjzTE0veUXhvGyxwuicIs8sjfUxRS1xaTFzBlaJR14473/5hgrS2C7nxgt5dDHgJIzkWYc3UH1x3YcuQxk8jd3yjUjgLhAu+ajNAIA1u4rggxcqWhBd7PARsP/IbjYWSyBqyzWHyVH135RbugYs/g8r0k/6Jk2iWNGR3WStZjMs3ywJOEBRaLhJN12glBmMumQYTj0lWp/dXUIwgq31BBHdximsLgDh0ZRsDBZzQ6esLIuFNeNHJePFmy3/T0XoC+P1rlexIWwW62lYAHAsekcEEsioDTMb8L9rvZSH7v6tbRGI+VuO+iXypFQL3x5+F2ZQuNrQqPTVNc1uHe8XoDmKzoIhI4Jb2+mwnlHz1U8kBJ0rraYrbWtBK6jqZoeh9f59snon5cPXTg9xt3hPfSD5THo0IDgDEzHbG+AxJAIWFWrkw8YzxkyVTrr45qaf8kaOa8SC0FqTd1vID6AQcAgUY8fE/4pC0jzEkTt6PsAjQkz1hVOg+Z4zGcyynHMFxz8JR23C7VLInllNNiF7sO8POGKz5eON7xoxjFkxAJSxi+zTwsHLHhARd8+ZcsStHP/VC7DedS8BNvJShn4llJY0aRAM/tyRhfuLUWIhfjY7iKnxFxO2aihY5zK5CwZnOKs1vY0jsp0dWrEZsI/00slpharnjRHix8saKT20nB1BuBOl1IOf2bhdCjqS5BWxCRf1ty4ryTEgrM8rhvZ9DYq5CnGGY4H50BRhfPikKrKr9NSGgfo+9tvfDrrVe6rhwOj7VU4K+TvqxpuQeJJ6IQ1icni+57klou5QQTNPMkC6Zx1FrSuamcPLDK0uZeH1WHkHpMHECmIHs3yVP2aTYB7LxIn3fRpTv22m9APLRgA3NCaZRhtplzXbcgS5HcfhiRugMN7jX7ocJlalULdBQYALuyHwIsnZpDRvzPXIsLxzS9yQ0+ed9wpDRUSM09zLRW76PFELUCfEL1Zow0637gcqvTMFR85coU90Z1scXNIRsvTctfpNsz8yBM14o5+67SB8SxYwDEjAS6dnIKhBfj2DWNZhbcDDh8iykbN+aEgrDPmJBzaoNHBo8FBSTGJ6P0Ns5pSjWeXnce9v9wrjQw2nTtk2pexRGVR0VPLvd4mWdXYQMQICtxkZDMhtqHrJRrErUVuYh20SxGkkCHGs4zRkjodcHOYZ9x0PpZNZCWTgmMPwfT7O5dnD8c65vxT6zLrFPLQRsv16Mi6D+yb9rloMsXwTvp4kWk32Z879iEhp7SKMqC+7LTGQfGiPbuft5kAfN0sb8JOnYxCyQscy343gX12ybth9ODfS2POj6Ndx13bTiUps6RMVvc5o5aOo+VP5BJUIUANOX/iObflpSWr7rSac9sW3HgpGu0Nliy0eudWLp+euHcnO6t0j1UsyQji+zDw9UUeA73v/lo5t5OWgPE7hBNr/QIzYuw3NzlgBj8AminW55yt+JeKw7BTuog15gt9EAs9KuC5On1fhjHW46V1nrHMlLod+Cmm199OrsBCSZ+rSnAs+R+t5I49GCP4SpwEV+RTTw+t+Hpp3x5FvOXiPXjTM76HY/58rBg4H9rbqYtJXIZEPirqw7kx7b1fIGqK/m7nCa07gC69YnENviHWRMWkCWuP4rjBkRczcJQF13OU9so3eJJXjEGYQ3FCqmpZK9JXFnKmVahz0OlakIeLcUfGRX7tf6CTsbFM4LdQK9nt+aJ2PfIuCXt9SwsXSjpZrydO3efU+4nRpcpVLnfbyk5SEq0eJZ8ra8DFw4K+P054MwQGQIJBZ32UcQfjKw7nxkrG98b1U9lPp79Tc+6TPlGNa2D4s5UlH6wZ30VLo1DASIUN/58PuMz0zHJV0J+1EZ63DWD6yLLbWukppmRZ5JF2PSn5qnxIQmX9Odb/sv87TaH+MlsGdaeCBlOvEAzVdeMWBEq618h/HB8Qj5NuA5KYDqOykJi6UlU6DYEtQJefgF4/TzhghUUN8IVl+D/hfyg0S8KYcHgyfcrZN4vJjIhI1h4G554fVNLtxICgY5/P7p0/iu9R8T4ee0mSJIIvG7G3ynVfsRm2vSjBWadHOeAdYZ0zPmBEbrVTyEMmuedd4HPmpp26D7idSORBEhBi9Quy+JcL0PHh1jXlc5ahJaGUMQsnSxp+w6iOQhueLVApNNuhPpKd5GS81mxMEHB5OV7d3lnA0PDpVoONXmqgnPBmW7AT8y4mwFFoVjkusqyXX3+0pW7fqdftv+ZtSl5Oo84lmHmw6exfiql7yJ0//34eA12vXw0QkgJ9p37zUwWYdll4xKr0DSsNfw1JoXaIAPZE8KUgYjzvzNv3+xuUERahYaMjP8c7DHZPSAIE8OujKfvZjY+IsP5IyptEMpuP9AgkLLbERRmpYPXVOLc6eweQJgOZdUaaL8ngaGgvfhrc5tJ8s6hHzbK68jZViOKMme1ahYMB+qe6/sDNijQazsrksZmKR5+FOBioNjY3SYH6kikguKiCTGJd2e1RB98CSUD5ou8/gVYHjbJdYehci8CEeLYAolB4KzceNBzHGV13CVoM06V+AMYKLrfeQbnVwfPw3bt0PAaHEWIQCOs1Z8Rez7DojMdwMnd+l7edHxIOmS4gIGlOiVHVWBhwBbl7IroxSH0zSb5WthJa5UrZs7qIgXSIRDTMJhG3ngjmNZ7ypRi5GBGgOe32Uilv89yorAjFQNPisFMX1D+2cG0Ds0MKojL4uTsDW1OkJ7xD40BAf0Sd21HzpvaXk8IXDQ9hqcvkq6bkAFysO0mB7mVQJJ0/g3u7QOaTXINZmJPsaA/NL61+yGYhIYI+UQVZGfndGlGlhFsslWoqt7puUxtNTA3TvR8dNKzUkJRovN7mdrGBxgwltCNBMeCZ7uagydWA7a/vFu3tOHxlQ7+kbURb18ulQ6sFJHX3epbkQ1RqakI3xQ+hZElQpOSx1iU89r2JKXN7cVDCWaxAZbU6BlA/PoWW0y0CrgTOBrS7pF7VVlSF427pQ6tBzfLF5mpbBPkIx4DLc3qlyqieKKQygaCVt18Pc1vuRQmyu7ITO0g4NJqLHjMA38T7a8K3wF/wLSDOG4xj4Omdb0Y+MBca9qqF0wR5n+NKPGugpWAyl228vLDGb0sGwR0DnuD0MKa6Ulus4wW9FN0ULFZJ019acaxNO05ityqQjP9a8MpskeR2zCYbTBg8jX2+KcxvshKhIrtuKub+7G6DU5mf+9gOMdT16RMm3wWpFKnKLXAKeBIAnZy/OLsE7f1Oo2VuDryNAYmY7cxoedWpgpyuc6MCFyuIt93aHqAecocgQiSwJwv8qoX2QFiA9ofKeWo4ASZM9bn6cDoxbs1yboVA7EyfE2k0mI6pQHNnLxJqoeOUck6+lborg7jaaYst2ShAFDwVj1tBouHNs/QSRvi35EajkZa+0n2IhVS0lFmuPcqIzu+2Dvua+hQU/FQlvx3rx9hACMmKg2P149Ep+HjQvssnknSHNDgLoWtkx5oLQhdbY3nJXJFDBEuC9sRc0czJxEnCrmZJJWpN1grZOqv1Y3vUQETk+/ZmiW3y5AOnEu5GnYwtFqqZ7OfaM2pbGAQEytuzkCwQW2CvUu0oEk12plpLsmpWybZG/2CrfW312L9q5t8muF4y7OE57b7TwqQJo0VcT3pRkh7vmZOZP/DN3nMLkK5AZAx1fIN9C8adjsvkpYVbcFUbs8wIB31gGGWgoK8P7ThCjbnKFo0nx8c7bzVpiz9CMcYkDIuaVNQFKGoH6CKkXZftE9/gH9AwP/+V+G/P1oO4YyI7UmGG0b20/++JieyZ2709l23M1p6kxE7pujaE0pnEe9mb4Hef9yYPdLdoNyWnATaxWe48EK45kqEDEyhO8ZUr/dToW8a/YXh9chZnOQpA+VgHTNB/oEqFOeEi5hbLg6MNfbF+hY53o9Ipm4Iuci17jAm6+NpP9hcqXO1X7zzaXCkXG34jpkChv3QpjjMDDH9nhI6k7KqeES++MttAK2hIxFmp34Eaziny7+9bf5lr/bb+bc8Xk3qraepXtz2cNflIl10+Mlsbci+UHjA2CRGh7O36zpS6akgi2KGIRUPIl0Vpz40sgcfYvPbPuEDwlKt7JlQH397JYWdNDKrhvpC02ZbG/ZeNFq449Rjd+tFOOR564GHsb8gEfiseyXR+uLauwJXam3WplPXCDqp8MXxyueWtsjhxuY4y5WmtuFJlPJ4WcjBALKgwA/sSYURWJVkPN9CnK2i5y7o002GMj4LV+wWPfoZLLJ0/rX8n7x/NtQyIVdakSqEDOBI8nRs5od2MG7cQM9fcL5DJb4NUzgAeA3J5uYIw3Mngah2+daq6EiOJPy9NSDI8HxmiSkW+octuB/i9R6NdsJf9tlz7bUP43zrtCE/rHx4QDN7eTgAvLrxhsJJfaPz7/xEEexY8ffFgcA2vLRC0cGRqd3ieM/ZMyYI2/mVRYom2KJJGTQXfVyaB7OFia3qO0ohB+oLtYV1B22BUMkQuXCDr5mpVC9HZMKwq4SaosT7/i//qfrAyOJbwY42t0nYjLCIYuuFU5jX/aTQkIHL0/HWfIz42DomWgTmxdy/QRkdGRcNau7rTBHSSKpQ2E+UGOiPxsrppGTb4mQxKG68csmZlGE2EHyh8BtlyVWGil9Qibh/Veu9awGbaRomAWkwhxg3wcQAsFmkAOQzuDSteyk4hh5X1KX5z5yxBfZ7jxviAdDMb8i63h27UVsTrAJ02CBNuWU2pAxu1O07h480C71DaduD0f0C62ME+DqVjmu1CV9Z4lCINQHuI1zVqaqlut8LsY4ZF+ijerh7MeDx3Y4a8vKnaYPkMNd24/iY5uAC5WFpJJJhh7DDCO8O/qzhTKLOBJsGQtEHnI9hcj9ACZT13olPeqYlADeyXRqoy64PnpjVodi1Yn3wx16ujcgFme6Dj7b9WOv1zx5oh6yAXlqRqM9kUiF8QSDiabuZYhlPxcqFdlS/1+6Zt0dwcYm+dHTjNaKUJipCya5CFOAsUB5yseK5KlLLCIqmUsiea6UW8Bge9New/qUbsBT0v9aLQalutg4qHTGeJ6Kr9Tevnfh1KWCA9t1r0h+tzr1zZNJqCFaMSqrHqLY70TfDLxqsRNB3lWavcXCeMxAXs7bhq8Lk96/u45P5AmyXDcq9w/UbG2KgTB+OdlxVx9q/Q8z/UUR8chNrRnAYbm0D81YrnniDdYavRvc2kmQboasms6s0Gc9cjoh60TCtdpDQ6/JVxD0RW1PswbdpramiqvSLOE6+Zj2e5PBNKBYuMtpFp5KiWOT78IUTzoQFo983dxvgWtMvRVZ33xJg5RDhH2/0HaxaPqMKhT/0qYTM7hFrdva9e/p21+shQIpi+t00aA5TghV+KhvnWSyOMYK5XhqfXvJsjJwaLDH+/fXyGyH4znzXmk0BMq1aexF/bIxDj2UaoSFid9ftWj/exdH7dlOAeiOqjJUCv4pz+n/SAZEECCweBR88rh+5tuikeSF4fomBD/UcavPWrZnmD3F/ACHRlp40dN/beVu3djTfqaD6kzxG+8Q6cBvhAPIwyfyFTYsKprHtBTQNjemS67fL/my94lzMOYCy5G8LDV1CBWWkmqLs5Fa+CBON/WB/cSWj0/Q3/Vermig8BhoeUsBAYI2kgkvAETxB0dmucDO05+xe0/W7cEylJfa7xGNrgEE7hpvwryQi4Ws4M3+DbuhPAqb1irjQGr8WjetGR8ET6hlf2syaQ2wn2zvfPLmHIVPkz8vgKf7M1UQeZm9eHYUDha2Wshu3zcg1XXjNenII6No66g49i1ztjaqIYf9sJDXShIbHCzxDFF5ZPdZfMT+hnqi5a06FbMk874aG94qFq2MkAlBBWTdlAn1RHoo+mQEWPT1SShmo/LdJlT6296lL2J+dQhx56e9SMa3TGU6esTV3wd9Du0M5XLFDmkvXgpok9FzC6A2QCIERW5g59ugq8h4qYdOcMhFFa7SxVZ5GTKs6PMqCirdhNG+xCBBQd8cB24bwI8UdOx1ODP2stOusOFokXw2PRDp0tb0CbOEMU9aqtBYqzc0ZkBxNAAmMvxmjZ0QqD0Y2Z/0tkgfPBevEJ4PpqFS10///mTZZHO1otMZ7Jl1VyTALDv7xEL7Y4/uGzRnIBsMpa15ssotgOaBX9aHOmUYPuh2uE7fxXDiab4PJevyaMPY5NPmAcYyDz3ywv14b3DpilvgzIL91Php4c2fndjd6gVSggYhwXXcdJDKKxSuoHt6U1L/eY0D5mlfnMXZJmAOOQ6CuFf2jzssh1/cNkcJTiWZlRIQ4hHN9Uh2KhNefHrsM4cVRj8lSZgL6jkkpDS/FLn2p844KiSGh4LYI6iJFOw4hmTqMWhfbD3v0XdoGoJjr3Ivk+VuAFLPOIknL4irj+SzYZ5RZeJ6j0hPySHq1/JTfC3ZUP/hEnCBKHBbsAJm6uAX0IdEVGfQJ8W8M0CoeY3TQ5estQeSl9msgSyt4bkBfPHiPFe8PPvxIsLHeyHwNpFNWZbtmLzavg2uGFmfz4iDSQ32Nl3mx4j7XPyIWeriFclUdIt/zUeOKx1R0OzgMNx13h4MHEvX59g6FRtbuotwM/nAlblczU4h8OzTavXBXV8uqFpu+SrCA4AQT/FH/Eo7ZtWpn7LLVdAUR8BpsohtKnFG3H7BTbeJVqN8e7x0gkaOuqQw3Ab0f7lG41SURedEabgg/2noDdfmflatC1mhEkZw7RhBad2v0yNElT/4342Vjno3yrzNSHU/aKiNFJbeuETMuwEweBTlCEfUyxP3Xp3cpP4hFI9b7TuqEh6OALDIaVh4Xksvbs8BAla1vkAuNJ9uz981AYUQRtEFSinqsciHLd/L1vkM2FRNNdsbFcYIIoQYbJd3/GsiQhEmtCWm02cb4nR+RgO8PlsmkRG+9wBgIXf4lDGWcxcrLKB8Bcxl5hkCV8wDgfrawHL/MTC8/vCsvzyr1P4nQIuaUr9/Ne0KlGSOjCQ7pJxv6bPSK3uSxQbfnu7NWJP3LkbZcSZWEAISIgn5crfRKbCfkumbDnHytbhw1VNVMv8IzYgPsJwEK8Jhbfr145N5A5irYVhK7i4o2KE+SAmccq5YD15RL8Hqc97n6jCsRq4/uEJS7h3Q8sXq/aw+XRDvcpmf4Seb6j2Ybn+spHtV0+9SRYCK5wYhw1MdYCb4+BxaxZtI6UUnDFnlNp3oX3Ff+UC6t0xwD+EJN09b+GWEUgiH7/w1PLjWN2g303NN3v71t/skUxqiMk4LaN12aeB513O2Ev49QCKKiTh0bMH3Lr4h0J7+jXLgpbqOKXOfn+4aSPycZPXCpmIhE0peXCCXMZ7SfZBVOQ+7HCryw0wO/wRlYSMMG9Wehu+G+XPySILNY+oXcZGMhhsEgi7Z9HoGpXROMsyaZD3DeSIDucwl89+/KJLhddeXsybHpX+373Z+9NJFLvXGhj91z7iHvFqc1I5RbiNILpvfY1izsFehcbVZM2GOICZ/gQoMURt/hFSVF4yQ0BYO525PnnOV7VEEJZqE8ZuJHhsaFY6nmNW4oiuBPquCJz+C9GGVhQsMLGXAhgZyhLsDzEEXm3711QsvahGdhDihbO5WPbkP+GXr+fvlgpdYxEvUk1jQxONN8N5WEtPg49RQYSUGi0ERGX6DodlkIxPnqgqMelCCj8NiMcKZ3RKyNA2+erjTEwgHO2kl7/BKaPeBLwzDVvXaSw8pvv4JfH3MGsM0bGRshYjKcilw0Mholy7ZfuBa1/iD3vmdaSLIc/N5o5N5p/11yx9HUEXj353Ej7MHEK7SIHOZm7fUKBw75SXAGAs9tkwVz8J04tXLpzh7thwieAP88Pm4uhiFgmX8dU6xn0zVqdIQYac/qTwkKVPm+jYIpGXlRaRdT0LgGI78EUVeSrxngzv6DzyBGF0Q8cSPKow/2lCmdAd9evaVyikKaHl2b8rguH/ZLSuFgRrShD5kaxGw/3BcWCbDN2258JTBa0/svXzwZlcGNTgmxg5JkaHbK5Ag2kaEV7Ayl+fZ/KpPIkdjEU/8jEJlFNcXQ8y6hUBaRrinB/eqxZTakYFnqZKZIUJcseJLaHmcAoiGx7SD14hH0AdaLlDl4/Nb6Sb9RRugrmxbzxF7QLHoZW6MzHo4YDPrO/uAiuXJGDOLLpQmVTskhCHouxWMA9nUOJJpVWJxxLsihZRh2FjYKeHZ6F/pjbFgOcyUF9h4O1fAQzWDbBWjtQ+/n1EzyB0amJdH4ue14ETUbvbLLg0hTwgQXLrIQ4Lboc9S0sHWwAi0XWbcbvkw5dTQRJdy773vVaJTyvSBphJLyNIFOcFeoe9tmFrZM+M2K11j/rQv8zvsAPGCKyMAvD2qO2NibI8MPnhthDaIANgiMwSQuld2zQVARd7OkZ86f5R35gObk3dPorleJyt5eXtZc53J5LuZ0bl5CBSMW0x62zrVHxp/cHOsS2nlWv4PAbK+VoNHUCE6gINpAl5+ULxkpn9tCRziAuPkOk/IGm27HYUAyUiAe7Yt3xER8wIriBXES5Xec8B9RF1/KOEn7WhkfmCTrYlaqtl4zAsMzHu3LNMtO2sedCBBRqakP+71vqxdwF7Federh7EsLvYkjMCFjATRzL2I/dEstjE0n5mDGqvC8L/K/HKBfitvgMT14FT20b8w8yIFxq6FvuX+ODnwP18dAAfAgukmEnWbNTYucI7TNxoVsKtPKlZyydwrzQgHjbLFcRJ1qPnOKoNWVapkwYKu2dbxIvDM4J5WFMvnz9SEiSZGjw2jHGlbMdcoU0AZ0Lyl+FkWAyGjb1Mt7/Ceb/3iLohpWwHQ8K6BRR46CQ42OalviM8w6LOqC25q8bfhBIY9LC/sfVumkl6OpKvAbzDCpf3HcLoP/obXhVxr2RPN4lbxovB5eyDa2C1EcmnUjR2abc+dOqt4U4K7H4oGjpJfs56wiKZY6A6NXBY1wvtSv9N+zXSmceqzRmyvrtwWQf9JD/lg0PSV/pQ0ZJN+ObBnVUk1fwXwg/sZLkSTmVRA6SCuNG4LNH+Nnojucv6B5ugdhnLKYHQYB6EMtROAeUQAnDLVw1+zswAGLSpgvhnWNdFLG5c1XFVvbGTIPvtvu1OFHOvMextAKZEh7+KWiGqZoXafj7wK3xoYqAFcFlV12NH/pvyduJGgRskb2vhecuv8JaCXejFYIyxUBcAJIcNSorIUdZ6YvSvFdvBQXb0LZKFN/t9ihCGgZf9GcuUH6b+IAB9qs33ejEQi0bzngqIB1zAnsmx4ZUF3g287YtjVNtfJ/D5cqqdWfshyQoSa2CE99sPor1WOY/Nrbk82QfiPxx107MdKw39Jt1cLVPDb7jIi0ryoS+uJWECppdb0lRuHvz6afSm3D9LxJEfTeWjdW0pQeWgc2R1buIlCUwOlenm+hABrNhWC9FydBU7H/v2zZfSNybnOZ4bL60z0Lg9T2AHkXPow/saHYQDFoGq+B7ohEu6d2btGqTLV+glLX7Wrz0t6YC2cXkKssYjGVZNMJFVVFXnb1eOS44RbApLYNOLkklKQE/0S04SfdMzalg9G9RZvBYddTsn96NJBxq0f0MZsa51JK1STMHbRaTqWSbqtWRUZWnnDt8gg9PDPi5+i4gVgfqsw0dZ3t/kfU50qfvQRmifCYwsXpErr8H9Wp+wK4M4Z207/+gYnlhWXzvEE8K3y1goag10n9TEa3Aup7Gi9wEDc5W55x2c5zi600My7gVggnrOBfO8AFEVH2rlJJChDo1+BOODi4jL+o6LBOQVClaM41eaUwAKLLvCskRi2Zs4DvHHuoGmwjOwQ1UnvakRaAu3b5YqHJWFgvA/UtKRCii5VpgKYFo+bBQJ7Xv3HQNWS3AStLFt68ieV050b4Hq2GHvl8mIJ8gnIuN05IAH34glxChNVKDbA0iXRZ/T3HIGFGlMzf/m0KuX0UW2Bbbv0esDY+7wJSwoKMAUdFUkZTJIwjSBAHEa7IsJTXDDeyWVks8Spr0tO6wIvS/Hg8iEsEge6zYlt2MoLJue2U7eRi+oLj8VkHHA9fhf+RdJR4zlQ2Xz/oYtIP32zHgIQDeUIrtsKM9dtzJMVFxfj/x69INtzZWTW1psh/FLL+5igRwSZYyStdHv1AKSZNpPHOE/RwsYmCl6m5Bc/ywg2yETZ+wOlvNi/VKckZLOXHU3G5v7sfUuDFkMyQr/LUosA00ezYXfLKaex4XWC0CVoM447TdlR2PWoDKmEHxpWsJmkpDxTKCmHtMKqUbBrIc7WjXdTtnLBSPOS9bBEtQRKL1EkIueSpOCcK78e3TynY7Kz0QUyR7+HsjVh3T7YJhzLD6FfiVt0/TrTR8PJEQBk7dSB3vLag7U1UHwDB2NApgHhXBEUQvI5o5jTqxHGQ0SJRiwT7ayO+//VpCPvyXw71hK5Alpj+IvQriFYJzKnwmT1MpfzA3d4Ntt7tca86wyD4cCrVKEaPDhg1cjFvN5YHCJhQ3F0wBL4a/odf4OtUtPiQbIgbm7dae/zpp0K7r3PgViQq+glXcCRjj94O/zHBJI5uQOrYqJJOMgZjYlSeWiMez3xxxrBcHM6udoeOA9ER527CF0OdILJgNZ8gtdx76O/Jhc6eaLMpTxTp4taKQSDUIWa0PRvGFvnTiGVkSu1cr10QeIEqc88r0C5Eo/hJB17U3TefzIxn8wKSVzjavfO8tit9iLm0fHOBbpNpFn0ij1yVzsXD6hsWWVRlIxLzhpfpryus3J0Czt18vXVXa46oy+VlCMj2xv/SdsVDmTPohibRIbEzOXsshh7NDCiG0H6WJ9+d2kdlPippJvYTJ15jJqVzNnFyiC5c7iP9nZnR65K/6xbuoHEZ//Zt63tqreiljoUtHAqyOi9RON6frrRHF07KEZyYD1kp42T7qFEPNDlN8vb0idcueFPprokj1s5GmNL1nevdS7EqFQJSMzI7WuD1Saha7Ca3LYO/WqCiG143JxDEiB+r67lC5gICTdiA4yG5NyxPGtWRiV/FdvgQLkju4E6SPnSbs/Vhsl+EUjazwrgfc7I+mBoVRrA/v5ChMZcDV9Otk9UjVVe4p5apiX6kiP2FEfTrDvgnFZzXGP85o7Z8zxFXjqYGvdk5Ze+4/dkgPlWe7k/2/yYOm4OlHiwHM2NiMilxYCeENjNXwrB7o3VI0bWFglhqr3aFmCyHQBpYzQ1fx/6mxjfQQDv36MI3RZA2TSyU0UiqoLjDwmiHZWB+lVz8HOj92OMMbu3+aghrDv87vtTp45BUvZHX2MrodE/DFAZy7nGA89AZsHVVWABv26eTMG8tZfVDz+szhElTDR32FU338UmLw/e9dalqGmoV2OmztVH8pfT2Km4anUR3tsIp3jOKxaomnHPKbZeMeEpGtHkQld65uhTNluH76XlJmp4m9TOhRdxgu0NJighoYhQtEfqaCvfv547sEMn6HNm6vqM87KrRcB/qS+iIRGVEvAWrrQMlX7Zli5zgNF0e2KnoPeb+cMqJEzZy9x088m8NvFffSmflvzMMurWQwB/Pv0NU6E+tB6WVuA70kwtak7nkosBnp/8ML2E+gongCi1qvHpoBFr4pfQYeIuJgPxIZdp7fEldFqmkkW0t30r5xLKjuv5JoqKShd76vQqX1rpWns52CmrPHIIjv7Hnc2cH9lhBiyVaOpkL52MUb1u02+ZEzLF7ENj56IjIIFUvIG7Uu60bIlf2IIB8Xsb/bqD/R5TChQ52cJAF/dnh4gBqm/HT7oNcgV3xLcpMa4GM+JS2SkxSJiMO4PvtgUGMuCxi26SIUKx/OnaSI0rb3Kpazn7briVd0No4aRIqxDiwTWuhzxOjaC8FXOVtyWcSKHMCpQ0cqchdl/ijz5/Y6aEBAUI5fVniAMbP5sF1eZT7j2ZIzkjM+y/OslCYEM/X2kqfKMWJuNj643TkL1djH+NDS932T+O7SELaH61uwfkuSjrYJjKQZjVkO4fOAXsVwCUhMfTCbZ6EQFr6q2lFO1lgGJASk46OrOoxZ10TizXM4tSgwTuFE/d+kF/Ds2PA/CDiZ4Zr8BsLbVO+yr9GQGKHK+ytKj/EVEQWbfxSifdr3cMkATnKWnBqeL/3x5HCyHKPvLlBlJDPpeqvnKNiYvs1jC3Cea5PG/VR6TLVAgY5l0Qi4qEeFID+DyiSBWsP4X9BBegjT2dV0Ts4nzB1bNoYeSPxvS5DRmO1lW3RxGxwYG+ALIJfa0a75Jg5i/YlxrfXKQ91MtHhSt9ReGH9VDxSOQIhhYRYA3L/cpdGm/GTQsKAOCuM5W9f2yoZJglA7dWHiXWW7LgE/vhckQcg2tQmq71diJRbKVDJxKHq7m2DEEf6oLC0xljNZMjSFo7BPsZX1mMnqa/FvJ+L9Cj0wsL8orjqyEaqiTPayaeqXsPji9scgOVV2vi6bzNFQDJGnfq5Uvaguy3fMAm1VdYGtfeM7AQQCVKvI+UB6XvUL1//zgpMOzglQfN+AaI1cgLmOmJ9rJKDT2Yor+UO4EgO5bzowjHjlSdOjAMtEp1MIiOXeYBLOYbzf9vdN6vjLXpvuU54ULPn4+l4VaaFIfObxJLyM8TAThsC9bUlGsvaU/x28V4nWu674XhflA6m3kPqKxUM1+/KpET0KW1jm2w4PvY0ZCqWrKQFuGExwCJUqZMCwTwQhvicLZLbrv6XVe6imeDuMS67vteh03TEk9YVg06WyVpc6RBeNY1iT9h1G7PHTRN7ha2B9vxcUS2LGaJrJGiAhw7E+n7gTQVpM5mw5Gvh49W0JM+YL7INPGOVdG+AmGuHYqCxwlHF/uJiMZivhmt08/TlQrEq25M8ZPOgpypiPupkM4ZiCaOdeWePV+YcgYNceljsNiERoOfQRwx1GXvPN9Y81s4j0ZmT4BSsvETwzT7xTFxN6tlnPG1Ub58YL7xUwrCHF5wm71mgWONorBwbhjghIY/X/N9y2k9EbbX9dZFv4gZ629LXnHzOB9h6OTzEXzcMJm2NWztL09bqooU4MpImRa7RQsBcsUc28KIH38qOGB/MW3i+11o4/XI6KhVPHjGqAaSuD8CmfhRmcDaDiVHmUokrt0LGkwHg6xX8YG+zE7DZ8LkGgCj3vRMkHpCu5xps2D0oR7V3u2ncvpxZOGYkkaAFTvmyOr96O4mvxrY3OzIFdVAv/wyvHnJeiPF/YB+1JGJXy2zQwW5qe6GOlMhFslq7ynECx9OsGwDkFCgOLPaQsF5Y+h/DbZ26F8EbbXA02y8fJK+5Nieeozw1UhxbP+2NOKtXBSan6qQ+bDP57sOk8h8AI1jmZ+NnCPoIaP4Jf3kQKyLl3LqB1bJqJVE02+/LCCy/LxovosfExObgBSHowynwj6UMxokNfgFJO2Wpw1melH0l57WOz5+C9qLQSjnTSm4QObdy1j5BspP7pmqSdqp4/k30HuhmuWQxTNeoUVH9Ocaf42MRS7GDsegDXq6icUqbz0eLULowabKO+yIX2AXRZ2bMjnMug3Dg7rEWeVJFVU6dZ9VAf2LfaO5uAgFBa0LPkhtv1pc7T+P1iUD83B85UniXzdXj36JuGfclBr5dZWmtaOVBd+sKMr4CUUnqxLnljqvYTk7s/smL7PInpl7GwO8/f20f2ulfD/a7yiFMck7ye9M7FoXX6trsYKqbwSCF7CR9i9VAHEKJ97sagG10oOitCSahn0Qv0e95bfbsYIYRZjEFMAZHJ/iVCm5wSuzmDeQfhOkgnO9BfyxQ6Lgl5VsMHJ2RMWNzvY4/rS2jbPHcOQiH3lR7DZlYt3eiTlbhUzl9qWiZPVyKtO86tlKvPKL/K9QLI0gOLnwLAVY1bHX/no8P4QRSLCzCcucmWASGw+dcR7omPeE1SiAfCQmbY7uIvXuAhVNDe2rxZZK7YFmx3z54t35DNEqkWaJWa/nzQTWrGDIhkP2zDoB7p+7WQsCrlrUtWRk+xc+VEq1p7fceiReaFMnjqXoHYLFaKR8U2UVVgXsDnvz/tGAa8FN/X531PBONza3LCO8diqmN1fL41f/ry09LvjgFWm+AR4G7+6g1oWvgXp0vGacFT0Z2d2jk/ncOeskV6ZFmrRS0ADTd4ntiWjs1gU88y5/7yCv9MOlSs1L3lrPz9vBtte2e8XCBbMJ2wffrFcbdfosegnaKvBuzg5HLX4TG/LLS1OzCXNCn1BzZCT6MJXlqdXOTYPlmDO+U1h44KEoRwhP4uBqNakRSbMI/l6hlgHlNliec95MOCV4eKna53v8Y+tP+UidVrhT6gX+KFHWpBr/a88ZN3B98Qi2SunBDBmd31OUzqejA1YL4zDi2f17o+WvPAEYXfviqUbOXYgPqJ5S6cgHtk6KOvYRrW++uw4cMDRozsYvD2vMJm0fRDRNS8SFkRSeeM/J/sRU6IuRUc6SbLcj6lplzZXlJ1l64PWo9J/HvPlHKsD8S6+1SpdK4KNUsbTpeP/TMY47Y9HPlSTmtUMPEqR+tGswrOF1HHmFiG+ocptw0+Eqj9HvYtUodikE6pNsu3XPAdgwd4XIE+obI9t7JGNIUlbSzV05ysLgHToxv3MF1wRtyqxiF+q2uBRmZ10x4ApbAraQ3HsN5edoyoi3M3gZVkJAV0Zia9jQPzIrogcjXPEzXmTjYrXdcU6UYwdvTkf6skzWRD3oFxWyHGifnYE2grsK/nJgQGuFYn1rqagt+j6kgRxizFSwGGZTEFi6PQL+fkKdZyxDpuWoX3owzEjNvaon+q3eASDB9UTeeIcrX8d5B7pWVVEdlW2Vetl4ksuuj5WbUcDsMRW+8OK6WMYJgtMst6aN7DqCxqXY5vb21sQLziGw1cQ7QYaL/GRDsBIb37up0NzzUoYeRHZW8ddaayjKILWOpwQfRmfjcMsOfZjrsUnvLzPQs918nJWHivC7M76UEFEyVG2pubTpf0DJ6LRj5HkgEEIu4YARoGKfRhgyygdIscdbevwtlamHDGS1mrGhf0tysWm3T3PVtLpet3/D4IFa2OGu+BylGIb9ffXZQkGsi5kDujUFv2GTBs4EysBa/nz0DIkQoFlEi8hHhORbIEWAlTrrotM6g01P3jlSRwfJQkUUseqrc5PdAWafGvA0IP87GfhUKwjau/m66d4hqJkTUsGbWWf73t2NObU7eXRR6K5BZFYDOSzgR4/MkZ0WDbGfeWTckWuWW0WhxLVYYM9eloV2TecaQraka+V/7XykVejgHYCJUJoBeV2QiWUwzUsX8T9cnTdiIQnsC4yyGwWrKyiskgXQChizsOGq/vo02ojlCWGar5G3EZyz6TPNSsA9O2ntCgz4ycYZX+XqL8waYt1SPVtkbwoZvvdAy/AL16w0oW4BsSbjC9tM1z8kFwGnHwMHEt7ZLl8OEZHfijMRGvI2AA0E+lOYYJYluLHmCus/v46gQ6O6sqN58qUVmIIV7kOLGuw6EgcrQwiGQcBF7BGiRG0cMQlXPsJaV5i3QoAJDDrlKAxzZ5xvRVne4SBfLGBOcGo/W1J7c/xwj0ABGia3xCbOOb0S1St2kmWMJURn2HeeCo08+R6/2RSuEBXXTE3RZ3KhzYpCuoSWotIpRZgBmbrpli8Hmjh8wgXgI8cp6fgV21fdSAkLuYwkODJXMAkN2jdcKautP4wYlgOVnEN8obV6L0FUYBzYtJHsKeRZ2BSoF6HGmlp+tbJZrr7SeqUqtnoiosJaeqWrlyKm5KC9BP3pqM7I8YyggsApRofZ9CgsvLkGWC1dERL00HbZgriHdlEkLygt/7WVw1p/FmFgDAngYFVDr5Blathno4ssNwWGie4mir7rOjgDZ3/DquN4EvsAwOPYfLbBhBDF8bNxSUt2SeY0X7lUfocot7eVXCY4B5le1AV7kQLXTOi+xSSTRUbcQB+mJ1AcdVQn7212pTsiq65Q3WqHJsLa7wHkHNkNl42CLpRhflaRfsTp24pX8zzXY03gu99eBPiXA33nMPWChM4iknJ993ux7P96y4YJbxiaDw0NtmldyMB/XIEJOF0hyX6D7zxt/z00RVw4QqF/0w7W7jqIEC+r/PPP6aV7b6nO5o38Tw3h1WtWQHTVAAanaef+YSI5jxVu297XizfJYnUtqrpWSWcHcE2qO0BdLtpvxnf6OUv+3ICaLTyGmC3Vj+z8C3YbzdBvopuzR4bi/ifZln4QQdBohO8ETxYNr2bxDfiFwY6LDK1SMBUO4EteZZZzE+Nmfu8qOQJzg4XanHDYQQ0wWAARNUGi0ct7X0D+MT/H5DDpaE+dOcBXCDQ7qwc1qv+6PAGl0AhtV6BQUKcfH8/GVIFDu5alIppSUr1BOIQr/ySicjLZBvbwD2sT1sDcoUCWpWP4WRsEoKqcwmiA0GZxRc5OfsdYPH5G+RiwKD60UhFCiECoKMPrUon3Mpjqc0LAw91YlkgUl36gR/l8iwtCW8qRIaJ2GHvUHLGJVgYo+cjl8MnL/SlD5TsNGtI8SF6hQN7DOTORH3040CgWHW+5eGNjEPGOvS7HpI5XENp+uq4MVF55q1h5PJzEY2Q/aHp4T+U7XWK/GVP1b5d6lHhNkB8QdAab5PIashKpc/cbyNkE+RRD7a+4G5kRKHsOCUzzaahVaWzral/tkfUB5xES/15eXJenbpOVwcBMuXsOhzeXQNQmHLPQsKT5T040lFg4H/IwvidDwwhB4qLUYZ1Yq6YeIp0GN7A52BQl7XysITeYXx6SMW09/gZwZXdCoEctW4nhGXyGB2wXLyTP5IdlFxDWC00iy9v/tqWJ2MT1UFW78p3ez5u6ra5zjZddO7n3fIFM1SIcrTjvuupXWBev5vkBYmIB2GQuP3RPUuMK5k3LalQq+MxEw0p6gSLai69hXwRKexN5C58bX3gYrrKN8FgqCMbtYbx2mulyaFKU2oREygyh84MRip25S9T0WaejGje3TtE8nCCsqLPLNFMO+Id6Wys0BDTLZ2mgG6hX3bAZukCx38o+8EDjPAY0oJlmLa8pe15sNScr8HNEBOtyrsBKjpCQ9SCbmnVZpc1eUFLCFgAz8jvGz3v2PGZ0UejwaES4NyRQEI0H5OCi1JlVxR//cUioLZpKFDZ9mUCXlaYgA0fbUqKsWSYDXucHqody7QM0BJph3gwZqEAFBIkWw6rHqCV8G+K4CTLkxU3N7IFVSZndaG6H8+ncaEI9KLaCLtKLclZ4vDVsSWWoIGLf6k6DrEWE8zuRXzU3cQQy/c6IvIOSY8mWL4mV49kwmjCYX7i/kMRMn4yuPyoUCnUM1sU7f1H2iXvJ95yPJRHnFmagO29vrV9tzFyu3un0Kqc7q0/hludYnisHL4+y3EVAFstUelgjA25qGKDgnAexKwaA4wUt5PJMi2DYKz4an12UhKo4cW1mRs0xG785G6H60eGwrpZkVeg8Rm2iQwEGLgLBDps6hMhoO/g2mcJypbxRhJ8Tla2oweB5R8MRKd+whmqaApAitJwCi1pyOG280YjvfU+A6DG6vdqNJkwV5oE7+B2CLepYYsruQYDGjeukUrNgQtaPKzpzgJx3qFARPQWtAyWDhL5JXBFU2PRXQmdBhs0Oikr3/JXuC57Kc61jYCE12yf12ixFZZM1YoqrX+4zjro7zMztA3eYKi841xyL0Ig6claaODM7KjAzaHWZmgxy9fFJ33XeHOlN0r+CxKMYuSHNPnD83T9qZ47LSV6d0CkGRIq2ydwHLIdRnt2psgKhdS0bBYuB70vjw+RdXnReUKhK0G1wa6nkjlgB4NYgZB4OPSqJ5d8qhxm/S+gFG47c0D0qoaF5VXGJ0AOOJEwSxcXEM5XkYevK0iULnGShK0vhYoIkUOqeecit7jmxuh7ae7CnUg+kszvbDp/ZDtDQihTFKFOZTmo3Z+hYFdX3kQdNzweYCA1NB835v5yCPFc5LRSJUFP5JRjEFyDpTMfOjo7I8OcbismRdv12UnHo2M6I2vjlf5bBgpeihB7BsRQKYBbKX4K82Kf3D6ErBga9qeKeYX5y5XnDJ43YuNlhfm14taTagU5UUpLVm0iMFh/yAfviLI1MYmMED9ibHT5rIiDi1wlRM3ilLv2xaNDxhJtbGX+eUyOA7S3jV+OHfRt+vCgANAmQqrRqqY6plKw1fd3/Ve8n84aIszwhYK2+UjDLbjxIZfeCSJmGNppF55m+co5QL8bsJCbOt4HWIEJnWrTv9e3FJ+LJheFqQeivZasbLfKGS0qNmODj/P3nQJz0ZAo14hApNQv+PFX2B5L1bfsbTBckcx8alPAMPvJwoUBSokyBY+xWB7g7XIvENN6VZFyo0F3o5cxDcqrNgcZ9z468v0hrxlkkJGUPtGA/5LqtfBAw1wo9rS02GIJdiFS6EhLImJfWDlUUmONQ6A3kosqZrwfmU4sN9E/1NAom2xxSR4zwkh1JRbKQmSwiaukdECmzEJavtJhkzbX5qoGOGVghY2hZhRJzsvS0ZenvSXiUdPSzK8Cn4D8wSzQC26xaPBtr/artRcV9bI7pz2SyNOsRjbikIx0Pm3+cEF0x4z+3MQMs9hFe+jb2S+bphb7CLfQZMVlMGZsZ0bniopRqqn9IvpbVJgdkxryPqR9+WLTJiBC3H3/DjQlOwmfq1UCNSvoU8e4dt6ESXTuTgc8Sprozm0NJg6BX4MO3b1rIu9nz040sSaotdwCG2crP7ma1+Cl+bZodtBcWrDwVFn5wB9i1/oYJ3w7P3z7RCTFNcS4f2RboK6u9XHpJOZIQuJ9joBkxn8vhNZeHG73hmbcEcqT6OLEYrBqYWtUV9X/tfYBHZwwQ3nlMh0PoDurqF5jweZaduAlqjkQE2IMeZKgENJXYEoMePVbnK1s/oehMQZQjYHHGb30H3JfDcnMpiw6CGtS7GOoeINN9e+qUdCdJxvnDzoJZYopjmJ9oBQEqEODa+ecf9OlcC5CeumjWeGox8duWuSptq2sLhguiSWPUZDkiLfhyzghfV5bXlSa8Rgh/MMyodYzXF6AXc6DEQwrUhUzdxLncObckhCHcHxtSSpfqQbPwu91qnamLtl8WC+hFWVYPZ/dpdBeW9fuvxJQaCAi6N6NSTI+0yI1wqU69Zc8RRHTT27R6ghwqAzunj1IB3cnjZ3b/A73lsQ5CGkhRR+XAj5VKmmy3nncII2iDle/I8U9dCekZ6+3KQhfVajhj8UDiU2eu+Ig1ERKzsuTrCOqzWCKj7c3UEOLbgskeXr/s/8Rh8xqTAB/vP/gt40z1tVCrRhL1+cKJLJ2RrejCM7Kzko2kgfCROYYqfK5qcZIcOP9XeRQztn+l1FSxJT20eq87uX+H9DKjPvLfgleDlLtG0VWWZk6m3C62lWeaztdxNgThNSlOr4hQkJm61SBzVRpvSMVGNWMnujTFykgkO6Ww2rGZR+vhs5OfBLzW95UlkW2b3TjUp69EJBGiXxR3XdDIyZI1DrKtilvmxhXLnKiYejVgNdT2qcQIVgXbKYzaz9BKODvfmdba9IdkB2QiAVVxLQGenHlwbF7uDGHJYqpAfsEzemx/fio6xXkwSsS9Z8JcorLaoDIUJcfqsxjhFy4MVf9w+l93BK/bqj28g3J2w1IAZMtsOD+/v8gG1vG8W/qt4pItp44Dcyhdy9q+2EQvkcc6HHkGLZ14fSpMPhZn/4i3DnTI9i4Io5rOYHxr2h2CzIOANgSap0fOipRi+0shBdKM/v4W5OoWUzSFnzQjiQ2exw4LGb9PyTBF4MHi70RPDO20q/7F4XMu6rs+1J/P5TfUu2iCuZCm+EFOIZVdO8NyMQlUSwvIJuly0EP9+bBwrl0Jb25f4zByo9YD9VDOvKMFClW/Jusx37gYtGtrcnQikRdJJZXx3jNsrWSvDAagVIeZ+2h9SQs2G7C/B1zpHEGYs0+FcaJND/IOOXny+kh/U4Oc40qTealgoyaDzsqlZkR0U/tC29TA23kbjCfzWtyBO6/6UPt7noZ3VRtpqm0uM1i/0ywV0BtTPRevQemN7AjKiHd7jZ4Ao3EBiqGx6az0Fy6M+eqUh1/6HjAsRjeDhGaplGQ0Aqda1rnVhGsMSYOeyhOKeTKij4MJlGnk0xce3hsQpaAvFMaLBW9PdJZ+ROiem7Z1+LwsMewZxk9U0+8m0oKzPX4rRcUpLk/LJn504wg5v1cQix8CxhLgOhnGZU0uWQSj5ISAPyxGTeAsbecaLAcpZVWMMjH8XCTSPAF0fwexabwkpMelV1NeNd5oRMOFzzUlHkdOBN0pusr4ftClm8CPdT6QMbL/IJ44vBGGsUMHxey17nDC/CBOpvT5jF0jQdb+khuJBavc9tjJIc56iMeP1QVAQ68TBbWYLqyw1FOgh0OWsFaHCf19/ChH9MUR72dDvTvTfr9bysBmR8eeI4CKq/jgGV6HNRFB6XIGywvj+wCshZ/11Ukf+PQjOc2mvlUvz/XVK9m5hHpJjGccoKmO74ly42XhtxBzhRE2ex7VAQpCdE5kbhBuL6idmOUMe1kIeRfUpZPLUFyWmwrKC1/XMbGnOtLmuBQ7JU+cO2aKu/OqIdBMgqOEjCqA794KIM3apriAEgNjj/6oa4vucipwRlgLP9UsuFzrfxM96f4t0WK9csVn9MKtcoDI6aP41tyQm4Gy2pe8mwFp7/tIJVYseT0lHIDU3n3BXhFBHQUoC869rw8frxuHSmv5IkhxIWmHYiKCmzytmx0YPURWYa6VDn/5n3/nWB52EsgBelpdc6HRNVBaEPBbTD78ovedh3wPPpgA9WBZDSZyAh9bGDsDjl871MIWPLe05S24G9xbbzARPfKQsIWV/Nro44hu66HB1x9W9Hw2w05y4pDTZ1AHMBPd9DXHPgrrMa5VgY4S9LmSchAV2mefiNCyQCo+UG9IM7HAwi0rNDbZqyccofwTcskvP9PTBsMDXq8KwMKw95GEz0SGRbV9H07EakvzxR3+mXaiPlfDvf3IJmtV60HwDcw2TaTRfMBdIlkgVqh09jDRk0uNBNqxQP3XjYQcQnejFQgYaFkpXIVjFDEIsPr7Hl1alkzZayfolsNjh4ATeiCnka0IJapCuhI66IOQO6YInt3q8FXOZGHLtCQ5cJ6ARbRIYycm9dCUB/q1k4PXm+1Llh2hjI+aTc/Nmi5/bNSxFz/hfvmvou/7K33ooIuHexHbwzsiyOL9+glmew6oJe+gp7e9rHyya2mgh38MQWNubywQIlyQbRGnKLQ7FjY/yZPze6Ww/s4zALuD60SRRDwhv4sG55Xix1TSbQh+b2c4bpjj0D4xH1E+qHuMk9lRgttQubz9SzA6wjhb6sNopZ6B11AUjv6pezx1mQmrA3d+evqtrAPcfNEeJ7pPjvMtqlBqay5FrYfblCtzVO6CFm8CTIfcgRop1+QeSsTiJxoSvbveBIiZyiI5b1OfLoJk/niqkNUM6sxQLn+SwLdPPVw/gvMoJ0gWuiIBr5MUKOPGpr/0RDFytFrW311cVQfbbvK+dvVMiqExbT64FKZhKGSdsiIEddrCUQi70MiR7lMPLxOFI2gSeKE/rAVcuUvUb5UFcxB4HKTrTmP0BgRsNc0sN7phB1ohwPpfGdSQNrSThlKuGh0weOoUj6HTvkMQTWHFhR8beGR5lrh217nzb1I2Qj3PKfPpTPW3Kj9Heq27FYA5jVx45BEGPGZ9/NCT1ebq8ljdPQB8eMGwoazGnphJb7+tHiSQA8gNJEitjYYY/SLV44JViAHra3RsaBqp3RXSpSY/PZ5mOCeISbQFyq+hF2po90z/pUDqEzmdIf+6qjCLu3wvQ/rRoS5Me3GQXspSioESRcNYVy2SchtzrBD3JLBEBMVs2PXCGQgQIxG3Hs9+IeUoc6+sl2cMH6mg80Nxo5hlRDr5DhPBIGDakOU/Qpxf7y9y5indWQ0IqxfLN6yuYv86iAn3F9Gt2L+TAvO/+YUmKlphjT5ZtxeaSAYTf/nCv/EWqvH69FD29w1tABlACj79YFq+1z5d939XI/4DiGJu40KcQ0w8d9RFkB/rDl5NQTjk1Y+ZHleL38MXDRV+QVfxXhlF9S8YBGpl6TW42Dgd/CnYPMdIkS1UUQTMualUDoR+uzGh9vEJJlNA9klRlXSi1h8UCdgp53Cl5Qmf0u0xPCbD+YS0k2u5bYxsl096E1I8gC8JW1zJTIQB92QieWp8w4srKG8ALg+f5TidjeWo+hVF+s7dY7A1MXEVXoZfijXj9Qc96RqDvkWBMST7jXV6906uK2MX0UrAFkwLTU63truAHhy8DjSmdK896Nr8Q0+dmO8rb+Wq91pb/apQhtr4sZ373kkZhzcsdYUH7X8Vyy+ww7YELRVJWeY+vnc47rhbiSlEIpWN/fk+Gfp/ozUkt1elVSkYZAcfgwQnLTV3lefuoVfovJTqUJq07FujtwcqKUc22abMR3GF6/lbktqozn9Xrm+2gG4VH5aZlglUyyBNBK8XDmYFjtqmKQJ9Xmcnki016j9qSGIUJgon6aRBXBky2ECwgwBIeVg56aEU0b/wrSdFPbft31g1LVMpbExgZ32fUM99oghqpN/a/MD1+F/xdzXpuket/nR+8cb1yiV0KvFBuo3j95d7gfkmmhnoWVLe6dnekc/WxUqpnhcyWDqEt38MGwgGKCqydgCdIdKhyBZ5V6PYTP+0EH/1hxM/pDgf/R5GmIS/TDyudv0tL2W+JcX9CFzj/ncFKm5jhpC23fMCT36GJscD0wnAOiQZh+nLJO1fRd/Ub/26N+O/qOQOC2B3Uubv4ONunfUCxo4V4saX0yUwvqKQAI4pB6VqDiHMZJxmMcDE2ShEVNZMLzsNS3FkXb0vMtqJju3EzLpg2pMGSmz1NN25BPAFqqoYglvy6nn56Eqidh/J8J5nR4Ghq6azJM39DoXkOCGlGvHM86NmBOrraGYJRQ6vkLuCe1mmkmP7NUz3Kwf+g9VYXIk77gDmbPRyhLQg0sfdMmYoobir9fC3nRxuaS/ogm1eOPeILvGrhckuKPVSr+p3Vhqkh+HVCK+Vv3twJoitpvyP1geydfu3n8wx9p3hJMVefa1/zYJmK4BJV+Tr3ZQ5i2/ixq+cFVFOWoVxqSovFWVjkSEZaIfUGD50z/SKlSC+hCRywYuONswUeFw1KEEqyG6gUHoe+ZP80o0mX35AC0w+8KoX1sgQiDukiZK1TPKHwgfOcZGOHqeycvrB/6eKGN2Mg8Ydv4MswIp/GWq+2onB0d+x//71h4LeCI4sQC5MLT3TskiUGRmRzQxrWBJjIP3iXbDpkz/Qu/AgaoU6S5kxaYMFyffwvWzgUl+sLO6GPXeZmKM0rjlOwK10aVawDGAFl2u5+QCHQAVvicDzDks6IfgKCaDBobIBa/5U0zRNhH65O87D5fvX6CxtbIR5BI7k3LYWVcz6i9PpoaBhAiNpG6H5bbN/cMne10aLmaOfTGTGD8sjRGn/pRNYWnAa/4R6iJHDnA/QtGdpusmdcrCIrlmdq69uA8jCDc0bxDVmmXAE2SjK7w6vWlKBuDNtLvZRrk3SsJBmnxQ3xuauJrWYJ8B63JkNM1grfjmd8gYvqs/zCRMpq7J7Hpp20lNqoIkjeLhG9C1NAaRji7p7sScHFymC4So6rh+riyxxQqiK80qALxx5TLzSlOU2F/zbzIMzJf5mqNGVns4/gtOvvYrBQNq2d/IFRC995cBXsRwyEFEVd56MBFlZu8twyrEsFKfAtkl93OrirqPs7St7E6vaTY62sfxob1rMeS6RuPbnmGBgLCu9AJYh61EdP5lywbWhWN+IWxPvsImE68eQYihnGV5D5F7y6klF2m4vNbR6GNhr0hKWaFqcs/nm5nKUN1OngfOvD19NhzoMYFiMSr4yCXGj8UrkTsvxsBiGfuimJm9pE7uPGVjgRkw7wkCrrPi8+PRvPQHnVsfzagHFtKb+sWGyG7Kh+NerGpPAGL5TDbQxh07byS1A6TQlzZ+g9C0egK3WKGzdZAVb/nanRxAPguoFsIeLmbmXJAgxHTzezOyB8x4k/dqgPba3YMdE7zCVFMNSAooNJFg5l48Fe4rkdIe1eoVDFwoih18DTV9Bq33l7YmtsWrCvTQYk0UrPgi2WXgEvhwiaU/NUqsp+iGBuKqfSSEuYULipgRiwP8JH8mLFilAl5/pGQ0TjmV3cUNlg0LdB/L5jXEMd4y2qaC3x0qbRoQlFdIzdGIYPQdEuCfpgHARSv0Vto9i3ifoyEIWfS849CYyVXmpfGfvg8SsXwyorl55pSQdeZe3doDYPO9SFI7Zw61VYkp6w2UjA1tixpyPHLd7DDh8MMGNiY9lQ6dGA25dl0J4WCB/TyVoEzl16mvNqyz3n4g07TkrlaC0IAtXTvYZ/KO2dRrQSCDpgkZiSxTpu2bt+T97n+dzOZNYsnK6r6ilry7b6qAzrrrWtjZmytzGhJ2aMUFfG/O8wpJ0ySdHGuqtJ09XiFfQ2V0oRpECE3GvffBo4eGBHL7hRetNxLr3m6aFVe7+rsH0z0N2X7H+FtpYUw8839/BurrdYw8nYboOKiGkf7IzmRpoWbg2D58zydwWPoT3MqK23v+mlFkiWAIJ3RdDQJ/rXG/+/y+xNkZ0uul0ODzj7Oz3e/83wXl8k0pA8S0jYPBarpoKiV38V8fKnabHuc3vjRAdNERko/9Mlv7MzRMnMRaWNquxqNxn0Lbmut9FCApIYZBG+ZqZGca3VYwEWPcHSBUIdKZHp89J8B4gh1FxEqRZScL07Pih9CdAKDVpQ/CVsmvlnXLAJ/7/eVvsMFKiiW9U6620pvzJK8oBNu9rHRtHH2oCWVobPfh4ZjpPCKDdiFyWCqlsV2nSBhtiR1ztm1LF7CFiSZmzU08gtoIedYfGXZGPucajg0eSEq7LGVqsE+Kx5pgwTtWWP2Mq6pdMeDfl2m28gT/7/0Yc0tC1+yPjc7rxQghen+/rP54ssV2GdppWhK3s1yqJR8iaQ3xVB6+LQ0wRysxobS8KEWtPO3+qFDz5z7o9kRbsQG3n9rLNWfAMVsIB/36VmU0Lp+5qTcPeEXNB+kUOesp5HqCM0McaRKV3sDdI3U8NbBrub+SUfw06mgS7hBJ+GCtqGjpzgB4BddSThwj1BFA1Xw/FIh/kJ02sm3dugiJV57H7lldrQpMHxcIsucquzmPBR/qb2zqOhAFGJaVps3JxcuDjmmGDb2ZSHApc7SqF67Nd3+IIv1iG7SpRbT9a6/hZE+CWX5RfVoqLenhEAfksYzyg4mZnx+LEy2oH2nw10q8ouosWqcY+PKL5oYUr9h4eRSbmlgNOyV2B82LhLVXLqzW0rkd3T6B+4/LxFwrKTE2ANlq+g+UmPE8pZg/kMIuQtSAABaim1cCGjgfb5gUQpwc4lzYOlzyOb9mrIVTvPSreEetTavcoO+AH7FkFv1RcSxsOlL3Zk9idFTVk9h12PCpktQ6mlDV5RTUeYLZhmjz53TlBwsC88cIdZc+QBSD+6GrMjj1IDgzW9bo+UT2AEAMqctBfKVBVmxsD/NtcBSp7Q1BV9/fa9qlLF+kjai5R0BRICTg0BipA+yuxjZlKCFVvLy16cPs37koRU1cbMBFpG6xgN4OUc59fn+G6T79fpM6HkcegILDSRG7jVQOp8PYbLkbYCm28LRxeNiDpFqgfkW7opCTv9/npi33gowH4WEe8/2Pwx7DLAyLDBoI8QVqNyW0kho7fpwbxrkwYeb90LoRRDEoho/1rCvYW9Fklt4r4beqFfkM04cM9t7LpszlKgNqHI9s4SePdSKCarLEZaymf7VWtlbwd8QsdSvJHG9TgtfPeOHTA4B9IPySeEydOJO25pFmtq3fFiDnu+n24qwQdrHPYg/m6LTG7aAar0VyXqqfYkHsN4j4FoY/SyTV48NxRLGDBV8rglek9gdLUgrt378I+PPQssJBDYdpwRHe5WS/4DNkQNttQklfrS8q/qwBx0n3B1HLXpd6ryBrbUDgqaK9lpHGHFmdhx2713oJz4ieKIOO6mP9c2HpoIwx0001aAZdwa3CPlQo7TfeP682cezR5NNwOxdmzSLyuTiTkyedOYnzV+9yNnyBLdA9ZHRbfOrq7E4mj1DRk069pj79IGMJU/6ljfl7XKPCJevgHjRF5dSGxpigqA96a8Gvwq1bpQygBeOPWJeXS1gbtmuLK3MYcYM1RboD4TT0oSJFinM1d48lqSFsaGL3Ndc2ObaT6TmODUPaNZFs8/xxczOK1o9FiExTApEN7g8Dl0qoL8pXEFVSOL9lAnpi6u5zV6kXyvRj3B5czIU0HhLU/EqcvZErH6YkkUKWHkewDRVc6n6Ez/D/IQ2q6nyeMIJUAQBL8DQzOupkswCIeO9hOoPsbx96bRvpOSzxGYsx6vNjqxfhqNzQAPXKOiJ3t85dWVaVG77Cahqjx55h+IrnJ0PYd8JXAng9Y5rjowFH7CMzoZNFhVIhQ3jXsRdNxz2eO+xz1W1FFa5BtjJHSPW+i5DsLNCm72SzDLwbouAs5kuHiOxg+/NEB9LEroIwuh0OKBRuZo9Di3sksTIjt4m71WvsmpkbiLPP6ocZzgtKV1rsFx6HRUDXAij/B1gvUB5p6TTEyu8tLmUd0Qd/cMTopT/c/sV1XXnsz1mAtH2blgIIrPU/FMpsw+2pa4U6n4FQt6s+YntAwv/UBVTaPCVztI62EZ6XhS1HkrNrRuF+8ZXOStsEkXCEoYlIZRTv/4S3B3wTxmqelvjTNpqCQ8eO+/Jl8B7bd8lPCzal34fZ/Ot5J/aGua8B/2/MsjXbStiXrRrDP6BnqL3kRorp1/+Rv+wF7W5CPHS8NGEy7lUSsHTD5uU7Sw9VmvpU+NY4ZcHL6XXdNW+41a2FaIt2SQRAQ/SU+FPrDOYuZkMM1rNKx0mZC9hG7NH+JYigWsdsBnUNCartMgRn45XeITz1Ww3/aYORRuWQRFnhfa7mazjSRF66cygtPYTlpsLWg2Ge7rVQjcqoOPxg4ZmxtL4uhwyHvSHTv9+s7tFxdzUZsNz8BGusaJgz97CkGJHKe3st9M+fvUUUEl6bvWPl850w8L+ODNCkzeMkX2uo/4voCS7lHuWRg1ioBeC2V90F/4fQCh+pWvSNIFOE9qtTkxGijjipz+o8/Gcs0PufNTOYz0xbvj6LprlEYoJ/7E7+BOY81NzUUiXtfnDMyxBURpM4+6vPtDu3OKFmZRCqtls0XaUSdJGmZlrVMB0/MBFvoEL00BPp9AMCmawXnM/MoBozoK1dRxAVNQM8migaC0qnpAnyuEIUKV1y/j+yJP29fjhrQ2sCy8zDLCBqQE4c1iu8BWMJwItNt7jx/dC6s+QFObMXC7kPddCRSTj627ZkKUwf9bR48TxP+ZbdRwECbVqIcUZnpGefEMt2jJOvk2L/Tl+/TA+0l8wjFQPh2+tWrsdzbQ++IXaT6ewV8S42V2Roq51zCI2syC7ondgbUlnO8Pa9MAbda8cKu9CJr/ahBaPhVoh27WGIZxVXgXb5h/0P1WwO2Yys1zqRu0ceRFCP2zQH9fmf8JVMIQJMXZY7N2e3/N87R+xzhz8OMpIpynIIfb7i+MrGgnqZ3jKorFYlz/hihtietGelJCNdFCB10xbRQmW/Zjvhqu1VCFQbAHyFtQjVF3XYJaSAusUF61+wfsB4Xx85CrDrlEJUJs/7IcLOlAqSWmzZRu+W4VFvh3Ilqa0SDhUYKwFh52YOyvloKdLTEF8ayRCoP4vTMacenUiD8vAqlkvLHKVysdZWzYCJiyfWnAwJZy2Jv/+PkMdBq4m3GapumdT1xeJz1vFKasgfz4QaLnAOESjziu2d7dXS7RDwNAu1by1Pf+TQD4w3qxatRGQ3vcFgoUxMdTxoSe8Sd3OebTUSFRlJ39jhApjolyABzjNWQ5h1oM+KYP2QhIVEmnNUTmeeA4nY4HSwv4IXfP7cYpQPkoJZkkkd2QA1MoSZA5WmGJ6CPrTlWlmEIbe/R1+vA/m9xOllQkB7CybnqmA4ewkFmjY1vDZu/dXX3YAghJN0GfM4LyXkTZ3UW8gQZgYxNJtyVCSeT8fTTKGtNGS6PSKk2ytdJ+PXTesmzCwL1BY9963P8j25A/yGfCF1YdTTxSRantfiv9PyWsCaMgltPNG66+EBVRUfRz7Bd+1f0/d/tHpDcJrI2ZjwDKeSZUEq8OyrROUNJrRGRi8GX3Mni1ItPwp8dFvFSbRP+5qm1fM4Td+WChVWImTC6lvRlH9fLJRwSOiC7IFw6+R+x4TpD6OBoPTz9n6oN6jEATMHSu1hrpELuA6SVjrXN6HFP3C6Sos8crSjnrQj3ZXqlgTkUSi9Fk2zMpxHE5OIFOcpMCQepf8UUIHE/xbKLZ58w4JgEU9YytSsGcJfuiH0coB/EJPuUuj9jXsLC5GnP1zBcq+5BXqFv5rnsy6Bo0gL7R3JGZH5CuZS20LLS8PhVw2gvvXDuwJcxgzsSxhICK51BWSDUOUXNhY+xtTw7td/cV90+TXAJtlW417JKahokJ7G+q6o3jFFWY3GGgnnXAPF2eKbDGpdaVT8V+JPb9SoMximuosKhZ9I9EE10DFR/ZXmm9X7on+jr6n36c6Aq+x1H2BOuc3qMZ934iYj6IyfBSxmmA/8kUx0MpAL2zknH/eCLexXF5THiDbBEx/n/HcJROppykZDfGQ5dMm8J597Kt6USFcK3KDUIc/g2ctWpqMqMEbdJHZrYVC3hZpldVvtIzxNOMzjMWrIy3fq9/O3ZIVYwS9jie53jubcfWxz/iQ+Vjik5HqiOZhWlZ18jL01kOfm+n17zX5dW2egLDNg9o5eumoZN9P2oflUe728X2Dn8tuOGadsZ/Dzhes4t4J+9TVPZr/fg+Lo0T9/gYsmLu+r44Z43s/f9tKh1Y9cXNEPSUdIjnt3QW4TSLknxEit8FueX46qcY6cxhW6D25fWEU1VZY8NXXGcAgnfUKfX0A65Yt3T1fJCc16rQPs3vAitQeE1LGPXhmRMp4CBfiwPcFsbOJGPvLvM/jUD2X+giGznmZPn+xC/r3xrEaoFRiDCeVGvCyXizXRr/MOFH7MN4LEF2O/GdCZdpUdldds5ZfLAPY91Rd7Clm/JSKnANMgc8j9lAq5dK619WoczsW+xX2Q+ombt3J1FnWr+R21cdmaTFmXYiVHtrksEpbCla6g25XrWsGf89Ite/G6AjO+mrQjSEvnSKHjOv3bNyK4gNrGjiBJf4MZRjl97AA1KdLSLItXu3//imLp9oETKfrAGxdYbpaJpfqrk/mxzJ4QhR7khGozX15uvq93Kb+/DU1wUfEWCx7rhbu9M5Jm2RR9PF+E/AdqtQkHhNmaFWs5Av3IBR57g7zrbbu/MHqNxfkLN5b/sinbH5mqZP38g0tbZt2vapkuWGRGyWZkcAG1X9/u6ETBoprRDvqnEdsdKz8q9gfDVbTqceBGlCl1XCxXljYA3Q49l2XxwqjK7iXc0qGpkuBFHTUBYw6MhFNfMkgVbbcD/V5iohl7lCde4PpNVIAGtx15MZvk212wlNlEI5urB71HPQ5e/urasvDJtritvRXYWpef3W2oNfR9kggNjiOi8FTsk/X1IRRPg16vnkxEsj5/thy9pqN1m1/i1B9VKoU70LeV7+WEtAjwxBPiqwIq1HsvUGHBdYcXof0To2eY+RXIfJrnmvkB8c/h9nE1jQhW18BB1FwLfsJ6qwnSBPNx3T8UEvhBbTEJJNKKg3i7/YydAdUwVyp6tjTGuUCZi93a7qxxTQueILlZeM05RhVNQ/ffpxM6VlfeX/3dn+2yWSPmDu6CVH6rjWLUBIUwJ9sRgu1NJ14u4LKfrp+aIXPhlvSJXSJmXGohZp6tW9HsNUmzvxFg/Rw3KnAxdvg/6uqCQCybawKxVK5iXeLCmL0fjWW5xQMcvyk/PXQOXlulcvMoVHyj/dJtNSskRmlUH2hnRn6rZuMKLwltBxWjJwGeuUdUuNAjL0DdLb1azt3Sp1dMHcF/XW0ExESjU8Z7a0l7596af4A6UhHJpnohtQZ2x3eSwQxjtF3YuDC4waG5CTo4O+o9W+7bSdzI3YAobycQMPWZWhU1BprshK70vS+M63MsyMk44KkqS5IHcTYDFy7czUKweMoIjbAZ5rcSlH3XA7T3ZTow57qvoIQ7NDlkLeq1ZTiWjf/N0Hmb8txxR8762pOVibx59SMVcVQ6gyqFaDUMJLWK2RVTB0j4z1a+qegN/6ftglWE4LvKh1opsDLrGv/ECykptnKEJFUPVWKD1xxPur0wHUtCZYrAsByTaph/LaRCesv3BLNiw5VPKIDytDki+2pMG1AoeEtc3543PTACvyw9YzP2bdkPugxrprhYZ6LRVckwyLy/P+2ZuvH6zBGiXQSq4GdoGZFVI4JJOdpN5Enoc6Wq5v5UoWEcRn3XQE/7QevJBue9N4t+yndtnerFuOVQmiMlu+9bnPbDMfh/CLDrKDhP51dprO8l3LzgpDy9wSgzpnaWmyZm/vRMW+tnMMLl7GOzzqA1PNWLyKXdW3pXj9iFPd4tqynKCmQQPUHY3jh/P27xuFxdHh8/JQsLkSt5/Rou6sEYySW97Sv9mxjCFERXqxkZfublJpQxZZmeliF7BHWvbOi27jn/gm0J7mS3NkZr4pkj5Z7TQfVSgVWCyIcYrEAIDiygVmt4Pv2/bYhIjKmxLbGgmaDAWqAaUcaH8dyjTGhwqJeQSYoBAxqy0j+Z3ae653HN/45thoRKUq7ccdN5kLlEIGgBILQgyDqeG6BFwJTDKiw7oQ32yPAlz2hTHaaNJPFnPfI/L1Evj4CGkmG5oIf/YqahpvR1RqGHLfLqBuENKP2pM0CxlQCcET1rKxXqIeYWWFEUtMnIPzya/C/7cVVrQdXM3XMaLJqlO7SYoS9yetHI+i3KDSiln7c9/Um+WXzhL+BtUCPtlztgA1IZWCBP7b8cMa4W2c7IfxljPPVbpwHd4yylpTj9j6aJ6kZBX8RXN502p9YW4Y1lnMXffG4sur2R4OnYFCLYTFeBI3h0LQSa+fdiXjVYgyDzVONLmjMIUdPak+IDZXgMEWZ1LZ+5izFIncIOUJWWw+gf0j7aL/xlH+jWwk3m30Hj1fi2CAdSBAlTIIBV2NfNRQT8ihpA+a+votlw8TPX4a849l1yi/tNFuFBFWtmkB4jU8vbX7jMwNw92b7JSvNIGXqzdLcjYL4jGcn3HhRn2+bBJr7H92rdUqCeonTSIMX0zk/RpmWOoJdUffaInyUHjrdqwL8OW6CTYBwA/Xz+vhzotMetQeN1s4CPdboSwt00zGidToA8q0gKBHIdq4CClOd61rQm9/veZwMT8pQu254SaZnEeDwyUSpxqHo/xBvYQHILm+p55kJ8yQwEEM0KutsFuyltdptYSoeyYjHuG3ZaOVVU4zq+eIIFC/a3JfDg6wO1pOVGif+XgehUmGqsioiVLirpjpo+79SNDV4RqLM56OsBwA2xQfQ2uN1qvrS+EpXtrhqJAEwg1dVyFpb+ytG+C14YHSn5v8OV1fE0IlLUWvgEAf3hcsNxPup5adI2zfRxxhx7Zv4xNX4kmA7xyMIKZ2lNJMQk/fb5IiseGJkZro8QLd4ly0ic0KeubfosDAScbnvurScyZsEbZMVX/HTIuRWd5OgFyLF+E2CHB6WFJ+8UKifl1QB3NHI2UFWwiD4eWlQeQlY/Q1V9pEdHC+elW0uo02TACX5YqDcccM6UZrukahWgA+q0HH0eW7tRMmewSWXpmYNvhji5pMjQoRnwz3CMkIJRZS1Yr4dlYrxgbFsgfRRnzybCoOD8pWL+Dt23fbDA1jPdxpRBAbWCxw00HiRRHNG4eyLr+zCAfG+1LtwRuL9522hca596HjsNTg54QiCkABpA27bh7q+8El3+KXTIRLyKXmFVXc1TdprTrJEUGWx5p5fdbmdHWXz6rGIUQ5wGzKGo7qRRmc3QSYvN8hxvqi0+iyreA0ITT77Kxucrq5fibPCYi3kngrAsNTlgyW392sfNEIA0y/yz34U/5Iz4X0C5+rZkoBN6TtVvVi9I/cPupwqeyLP12q1rdFYjmdoxmL9XY1AE8vHFbdGncJsln1R+EPza8JtpgYjNlkGEv+8fUmWVvWgEuob12tB9waLtwGcHVSUfIgVAb/kCNw7I3qLIZYFJSb9lmnjiSduEQAG/hl5qvWzGfr+a4D9DT8dGHSNCYBVTbqYRcuar+bJ3Pk4e63g7OzUA+M1mGGsAqufWCAIzEJyYWBSi9FZPY6IgCRnE4JkpWLYlDLXTubdR8TgnI0pwmUh7IXMb0KeVIBc+/cSAMQI663KXLGalMF68NDSpVS1GGVGr0eG39dAT1s7Ef8I6jze611TczPWcK8VB+e//9XyZSZ5FOsHG0uDh1m8tCRK7DBpFbCvbxt1m3CXHmM7omvnRmiaXmiIe2zYG9e8KOBN/11uR3zfpZpWsdkPMkBR2maO99ai3cw6LOAEHtv7fqyLVga2ciQnAIzMheOCThx3R0dI1dWpDdzQV/Qi3WjzfOafABcPvjPxwxWiyWPpJKKD9H17OzOuHWAYGR+iYGWtj3TtnWQaAi+9oGjAM+pQ7lL7Cn9vQdG8SNtjfVeJu98RmYWwgdOjFFzCRoC8TwGmQI2jutzdidCcyHgbQi6eLv9FCXKdvHAbapSCzEuokqSvynGYPxaH2c2U5VPSbIcFZGrdiMz3RrghHtxn6tbkgAF7shEjZVHGu/x0Lb3a83RPGWoArJT0o//vjTpCsLOcjrThmAu7bLnWkvE/G3e28f5+D/6qSNrUEfd3BlrwtzQQUdIIBuqqSXwIAgIcLXtriXSmWE25ncs1O6WsProG7gM4j5kA+hg8YnXl9pHT7+1ryLHphGfTpX7Q19yDSetRdPZGPVU0EzuoaLr2z2l5ZYKDLEkC1vGdo77/z3mje0YSykNjYvcdMSjrFNy9fYdPhZKvhcRICTetVPmukGB6gecb58+y16dHE7HOl7xVoNyjs4ov/t1o6WePx7oFWRBt79kSBJ30RjTsNqdPTn7tsnKs6SiDPLzn2nnVjHn+II4JnYvNxODx/me67uTWn1gMkbYZct7qz4Uj+9W99CjoujG+7TVk/k/q1rmYD7mNBaE+K+jjuBtyZv+OI5g82JlYFLVr3GW51cmkHLycXZy74Zwpy+Z7ynjqDLTJh4GoEdi5uN4mG4Ih5viYc9qYZ1tHx/lkL/o6+gb7eq/XmWMbx8TT15F1GlZ/6CIrVYUcbpbz1QuPxJED05bZDaTdn4AF9X/Gj9FH6nqNAaQSXg0P3erKvyRS8WUtl9NIU0C+QbVLd3/I3bG37j5Aj0mmP/aMzYcKdAriuSMSgVugLJ5Rg4lZ+sbMcljj25jo4mt7oyjtfEExAyIJUn3qXAA0kR7RcbJxTub1OrdMWpnP+E9PWbnmtcKzif2exDTfmRghT7BX4ESW0Qh3iwKO7V3HiMJ5VXT00arTCBgz0T/ZqzIkWdGtlWKT70QL7pww4JFOlqepGa8fXS9WdJoqbzq9wzt+qHicdOD+MdE+XW3BnrV+y6m1EnnNwmwNzzNBIIQX/UD36XQTn/9LzI3X/UU54NT3mC30nSuzUWs76t0GZibgDm0wiUWifhaPDSBgFbhDAe2IWqAgauw+1WiBFKJd7kvaZwGg5N/2Fy/7Ezhj57as5MxKhkfZZkE7UcFpJQnnqc7pgeN5V9R3UlsAvPyNFf+7uziDIqMkZVBgp6hHu9oEr/TMf5+RzzSbovFudiRbk2wfVsOvRN3N4cM8gRXZlHRJQR6Kte/nM2t/TPRwyek3OCzpkCk4wTSqW+aYWMJkP1ysD2gZ2Sqwi3Ny2gHt1EqflNLrjoT2OF3F4HSMKz0JSDxJsKuS7mlXzhZUqLnXwrkE1c0DmhMBCotHoMykq/OpsxecUv97nbWf+Oo9ovWxkH3sjEDgYneyTP3hdE0MJQ+r7jgHNPz5wdqFXYefJiZ2z2x2dZyCihF6ETeTsT5h9FmuVG3/x2/NdyKqHROUWPKgkGarsyn/YTA9swR3Am4xhUxeou3mRarkXXvqgrlAabHTrHEXi3hb8BIWxDQNb76pKlCWQ3GEH9KzhFfP1rWh+qxmq/EEU6kyPt1YMQUjnjKg9kGPzU05bRJklZXUl7QbyggDBdg+ZyXcfHzRJigSF+9MOIooogG24NnB5030Wu9yJbxZV3nIl4RfqUXWivL3X3+fOMeN4TBKCVKDpnFD8ctSt36Rx+ibrjHSGgDl4OVefAZwaztuPTysy2Qov8EU0kpgl8ex8WqzRk4PoLFqxnoZyEiFYq8W7in1ZMaoO6nhex/nhFVHn7SxRRJntqYEWfW2FwRynXcjhUAWu9VuEwyhUvRt38enROw0tlaYVytNZnOF/fU+qCitXYzCujq+tv6SyOMugdWd0gsMDSRKdZQWXck62B83JWxO5qAa0rycLsn7kOvnsbnjsmLli1S8zFBBiEf8LGwFxGiSwaWCiKLtYGuPk+ruPixT8YOYLf8fHhEjV3gvqwaTqyz8ENkDB9khtROFfgUSwQfBjKrKTVLYeleIyPxAML/Ji+jScz0yPnuGHJc67BjhaQ93yXZ7luzf3ddGl4Y92QykeT9dYhv7AZ4kSXINWRJn+FmrvfCgNwC2j/MOb+9HPrvOqM80rfZAh1rWMkDgigRjA7tNOtwCu0fjfYFWom90PwbQnVjwcNwDGA1MOdw2YwGwpCHmPFyZuf9ewYMTdMF4jHMdvecWSmTExsjJhjE+gHGgfExH6ciqXmQZZjzEnv9bBU4mb0pT8J7P9NP/J0ThlGsUs3RDu0Qj+okvv3dG5xG7So1pL7R4sgmMA2zHF1T4t+Kcb5Z4f8u5PZoPHg2RIF+7dFzUl49nF4UIyGkpkJcY2dHcEYcGxO2DFnTpJ1nrO52N7/ll7JkYrb3wda1sVEmLZbBgmT/OGrB/y0xgR0lriq5H3pDU/5XSLAFlc7E1+f/vgmBWGcZ/w3rGq8EPT0a+rZiVCUmT4uf/XrF8ML/4VkukPvNSqVqnk0lGeinbaoYs29aEZmp260xQS4tx+oe/I1J8sZAlKrc6TzWwvVN104Fog8s7evQnstAPrjJSwIGrrU1MxeF7u2yrjod8EpVuQ3a5I3h/QaFwh16xJIw/npzlhmvh5SDc7amjkO9KqRFjJK69lpaSciOqXKp7bS9Bx6MbIXv9+Xs+q0vwUMKDVCJk+0DEZ8hM3ZgZnBMEY8hhKGmC6HUCtZPn28lLXYhpoUO8GzjFlaQCUCL5xRTJdPg3+ADD3ILWqgwiT//AUTdt88W2U89s+sqLrl3JfabfG6t1OmRg2xaCLsQEBsXK1fzrAw/SmesKZN7zKWqsWakBF6OFMZVGW/JJ1yZTdm4mJHr3vHbRzSC1b7XZ1/2pgl+IqhxzgaEvvkpKDWs1xmhctUjyK+nLzsj8COy15kOOZcu8WpGv+Bh3EvmQjgMGpOFkA71nbDEv599hHuNoUQr/VgE6V68hKJ1Hk8dDmh3iaG3OX1u9zk8Mq8eHyFZUucPyVR+UOk5PpQ/mED/U1C2VrTNja+Fho83U4aMfZz4c8y4NXYeQgwzpzg1YJvYpzltlAds7JFMFc8q03VwnMxg78AhW9d2m6iSrddHV4opONCMk6oFKIJPHEmcsg34OvOIypPXNMetlbFmsNJ+XdvrDjvcWbRC3UHsF8L7/tIVMJvP02RxLHor5RWrWoLKCggFbrq9GYy/F9lsOTBlX8VvXBmZfElqiP80yPZbqBSfNjfkgHH5nUXOHq4OB0RWRqVebtHUpruejx6LnUM0dn8B/JWz1KkFaGUK3Yt7/X2qeTqr1cxIP6uRV4rk2RnLWspR5ZmuTvRnAL/axJYqrerWDTRNLU5vNVR3ROnT/XbFZpbYi6K66GtoV0SafQEwRV1oMMHi+Vmv8CW9r3UERYOVZOT2Q+sL/5sJfgRuzx/VG7iBUrMRqh4O4dSeWKcatLCVVALrnWMhnVmu6sFcD6yzayZdqXVaHuCJZK7RxtB6Qox3jptwkGWs4BGbYEMW52HNgV0gyZZNHD7HMiROWytkecZD22yDwSUDLpLv3kjUE2iUHDHylFDoEZcdcRRfO6chRg3HTJBiS4j4jpYhsx34rH4jG25f534Y/uLEFZDmZz0YBqq5yXVY1DPnWmXtkb90vskzPJEVQxITSBEOx1eVkOBIB0RPWy/yKnc4XfFOjbuT4bIckqbFvOKfO0OfzHFJKtFBlSs7gJ51vhprM6N7BmWabUctH8oFVB8iM8LXBfyr0p5BiB+TDSbI0zwZgLeMMzolNaaHafke+nHs2dPiQuibWcu271fw/sOSnlHhfePYK6oHDbdnedjoDYA+u1MMT8SnyMxO51haLDhIRL4RfGOLUui/VeKRnZ2wWSVozxSjX3nHcTdFf70HlYw7t5YHK/GgoP4KvBqH+aq6xMWgtnMn3esersRoifJ1gVGWAITy8a1M1/lTEUlOlwTPsncQDWRJD2t5xJqC2oWLjsUDAOo8PwONSNUkYql870yaNeYd6jX4p9heDwwx+uQ/iXQNk3ypDkJtsLF+HfDRKhz4Kv9FNw13jkhj/5rtg0LSh4DH4ISggR42JqFpQs+MJDRcBPm7vg3snPbpfO/KxjZ10Al9rg64tgOL0RmFGP0g/Jz6VfMG6rcZ/bYJ+cITXHx4VV3RrfCZwoQElLHixkGyD59Ne8nKCS5XUJc5nQ72FmdJEpvSwlplMvpKWtuPM4byjYftvFasLhoPuJxzXHuPKw+ZnDXEjcvbuU43+u5AkChwWDD66GmyMy9383nswWpwIsDoV4VSr/aqriHoUBubIVMyXjqpGcPqwllWRC2Pawgs6KpBUNIIbiEvcNikiEq8lTSZYELvuo+ex9SEvENO6LJALW7V8UZB0MofZfZJ+QDBfqOMiXNKv3ndOTwOq9P0Ryh7ChXwwWHnjgrqOQ7ocrH5qVkIJt/DvRzCy1xLdZTgBj6WYZ57lS/jXZubcns5RIGxFzFOhrc4iKt63UUHREodjVDr/3qWZZU3gO2St5e5+e9Z3+Cb+PFCC3quq4EOkMu02JmeQv8UWSqkOR3MwF2UHsWvA1hTCkCJM8Pnq+rhPq9kBRDDJRKvgeX7DH8UNbQKCfQ7D++Dvc0EiPoVKBf8SyjRxo+AjgIrrM3xE6K9U91NQtdjridWGB95jSwwS/6LJx5TKq5WQBoMxMOr16gbsFZfDf7Fdln3zMfl4J8uiqgbc+jSB8nBcOTTDT8kYUNxrJ6/09mQjKMIws3pyY93fZhbp9fb2Sno/ztRCMkdQU0VAM3pNPyhPMCDQMZ0eXi+hP5srjyXUJr4M7eHs30X/vM7/2iA/dpaMoy4gQ/VhOMxGxEfdZoNxf+Hj5kC0PF3+JdkqMyCvjtmyH11XEI50styoTu1ZCWysw3pquwQd+Tvae7ejaJJAQBmiCtnWcdMYb8Z4D25r+ZXbtIalv0aSpOqNFS+G3zGQIszvtlzHufgC1Wd8FMHV9l9CT7ekT8hNnhc2ZTCvVWO1rCoCVonDVarXTvZoWIV8DJxYgr6gLqEi+iZWNGxX0ti3tINKBV6+czm4XItzBC54KTOF6quNtqa7HzOf+rLlRF1w4YmztNAxNH0gqQvN2tmYd8dao9/xlB5yPuOdHj+tbTBDt5Vk08KJ/xcgaAyDEufvkLPlV6PvViWKZfMYPzAS/5fO4aNjcurbx8g3QnndEYCgHanWkt7sdN6FKbhV6m7PpnE6IRKNtelHt7E+DTN3154yh78sXE5FgiaVMDGk58wU9mi4GO3Rl9EnA6lT6k4Jaz7REI3deZdjPHwHonKz2zFHxNkc4kw9hn2tbBX2szk7E5sBTvYRbITvMgVqKFhDA7uHjBBQuckcX8u3EssxaWUptoFXDmQwZDPdpxd0g1wARQx3CKguKR2zyZjuvyszX80qbCa5hYji2JlPwUt3OfSGL4C3QmMHFHAaTKPDsMGkBHDhgZ1gWZP1I+AJS7xamZxAo0yu4+cq7vCC/WEjya6DgcLTCvLhvSzbGOXpBw19MwTvipuf1v7CQYo2aRkicqghN06YROj6OqEDsx3JRF1sj8EY1jULcycqKrn6KDLm0/fLeCUNGGfC4xLWaI+INnD10+CvvlMdWPgXYWy3DNjHEVS4ihBZW8cVDaFErDhlRuO3wX9aLVz2KWl9gJRNl79sVl1EPR7aWB6J7gw7B0n6G4xw7fvLrAiBjQFdFMXAPjqV5i6X+qUeksNHcSPZA1mg+1Nrp+3A7Vr9LqNN+J7kSlcAsfj5OmGce7fSbuy+KNItiCYo3onEgyxJlyaGNI7QlC2+xUaIro6AtoYJYhETaN6bYB1Iv8ChwNNg66i7ZOSRnuHZtxMOIN3uxdc82txoT3yaR+pmr5rqWqA+A3uthj6HiQPiQlB8vhJoNZKZ0CLiLporqV+nwseUhMCYVeB4v2NjUpfAtk3Cbxl+swEVMgCu2krmBbBSTfQmBV87FxnEpH7YjKsYJJBZHZnCJx+hlUz9hb++uiKd79fd9sRAq30seGdryR/zWgGjoCMRKPqz7SMPb9RWV6E7Jq8hqeN74/AInP2AuJjsp6uGobx/TK0EGeqc+D3a3w3FJCDVO79m+CCLWefZFxHaOZ5gf9K7CVmK61nFZCAFdwOQRLzLjkcBMQ99J0xDYzwPCxQ/jzkpmCQwktmwDU2cR1oqbIKN5MDYWrMsza3FUOKUFD60RhD9aG0vgq1CL606VJtjRGYdf/I4FLLPr0c/VCkEtYRRLgdL3v1wdVPfp3q7L7MvDcgDQ2SrSyIwjImyLLC3iVjmrXsc1dT+mMay/7hWVAPJz8MpJTTv8ktMeGYrHdB+yurded4cSMl1enf/6ATCM7GB0xKveGQUXryeXoHfM098ISA6S4N64ecszw9VxT1sJDS3No78WG2G+FLJ3amty9IVEyGYVY4khps99oMwNnNQvwIoeVDoBLlG7Se7USj6U8ZwuD94D7TWYxyzFOUOibOrQLMzmeO6xkciiqJ1+Z2UNe/AWdk/sRjXg0dm4WNUvKKsH5Vvvd5ykcA/ml2/WYegbiSITZq7d6cPbbEb4gPD4/l2uOjDlPGOWnfkFdRxFVh7j3iIaWMRVi36sCkrT6lv9KysPXmXnzObJ2BibDEF54rlR7ttihnFIp/mde5AlEKZSuICxGN1PpbMCiLvk2gicx3b3KvsIc0iseArrbPncArHWj4xtrjNBsU2aRCKwo/1HDRoh2tdO0ExJLhGZSqiiXCjJXE3SXiM1/gfe433MtbmdtfmCqqENLP5R6y/5Pt1NRhWtq0mRfZ2fVwIeZ1WuTlKbNXFuIWsn6vyQr9COwKeft62hWd1WXzPG0i+xlZ2/lLymns7bGEKc1tlCYU13RlL1hbMaKlCKj8u0s1EKQiQaVYpUoKPZHb62ifFGIn2Lfrres+MzTT1Z5Y/LdM0iOjf39TifIAW1vBSQkrkYA3d3c/PFzdPNQ7civTi+dq+mYSovwVDiejM3OljLlayd2zcvi3RS6t/Bi3gRD5t8NyPuShUj9HQ6FmMkOyxU+mO6Hymtpsp0kTBdg/RhChwgLy17Pa1N091FTlF7ayVpsgWgJhYeOK7CA8rroH2meJFZCicbSoaM/lopPhx4Z/p6H8PZrdtJVIvFk1ydw5b33uxTR4yaPhOSmGiel0pFwF2kXzEFwlXqs+RDx4GYRMzXmgcbShjr17TdAVpK3MqBHQwfzepH99zK06fQT6PacekF7lQZ5mx3BFNpZx4gAmt97X91o5PwTmWk5ZCKJ0tfkWbr4abLCkiNDpUKloFAH04xZRMZ9Y90YMNYtH2MApKwt6D+wsd7NmOZ1gTsaIsHcc3vyEASiJiziq2wCPmoiv9+p25O8wLTco7NuDJHfgfYWRHEkWnYgABc1Hwn1IczU4kjp7d3CCHmAXX4cumdCBg1Rr8XO69RO6kLy5g+GzgpX/hEP9r7P0HpAlzr9xaQzHoA/XgEy5ybNGoJKgnpeIVwCsYTSsrS72ZQ0y9gAXxOjxvslDj3Z4di/UM2j4VLiyZEwi+iLYtvYzjEcTwPsfFVx4EpLPzk9rtrUwJkrLKM7Z8qI264s8JC+gKfMMjFpxpphV0pDfY4ND1COlGbe3tX2LIZ0V1JwCa94SeVpjJ212xkfXK3PF2pPqXL1XoO63FVjephWRqJ1yqbGJNWLD/yWCejXju6Vspm8N97wJbFMYGIVO3+BAck9qOAGO/IFoVFXPvbQjbrlVBtgTHdOksAf0XEVz+uq8ZD9/zH8SlXPbdOG8zKasgpnN4rvLth35So7dEKM4WsnYBIK0TYxyRcJ+LuuUJOFcB0yzdaMw8najd1Zq7jdBin9w8HbiNd3vNvtH4MOx/TqJ804RxF3+BK/zYlp/elgwINzCttbKal7bEXT8qMpZemqJUP2hvvPxu0ovQcYwArQTvYnGnmW7EProE1Q8cvFdFeBpN9ZxWJT7PL7PF3EPdOJ1lEN+kCwVRMCdILMDnkZh/eJBiLajWDa7FO+q/7CjOn/mX9sCTHkIOBF5jeLyMjx4h3WeBSbevYHfDnOFC2/b9M0TyIhMtpaTwxj4bsiWWNKi7Gt2Des//z/jhxAzY6rKXjprma1oNTVZiR1G3qkE+7tfrCFtKLXmCYQR73H7SPfcTBRFX3n3c6d7flcK5ofLMMi05EqCJIPrlx0F499LsAP5GVMhEKHtjblJNStEzlPrMNXNnZAmfCiUpg8wpo9E0/7TfvAyAg9ExZM4fwqtna/ImL1phRvDywJ1NgsFdrWUJCLj/4J5I1FoPTlVH2AaqKaY8Ff9ZM0BXqiTe0CdS+s8HhexwMYZF8Ck8HXoVwyOOhYF9WbDTg1efnot2dJg6L4H8uBFeWQUHK8GPUTK4rJ/PFxLInGvSz25i+nG7YhV2aR3XghpgrSNFqFboxiy+b9UeYNblFR4WiVzblOcMsaE8oC4GMMOk38ISApeNzgZH+Xy3HJOQntpUi5Rh26tQDnrZD88U9rDmYyBAo9y3HHqMH+u4OeSP+0HMoOoE9Hvt/JeZS/yn9Af2a53Nk9xU1fRXG2aQBq+K+7yOtTUKLdc8L/laqdlfvurhp5eq5kSqrNWlzuztM9cYSmHKPwiX/s6k9gC/Xn5PsL+PBGR3ScqFLV/7LYk1Aqd9YyzjhD+MhKIcf/k6DogO9pyInG8yKGCy1DIP1jplJgoOPX4zOwdrKOPV7jb+ddEN85iSlULbAgZdtmszfct3AuMFLBxNXp6YcmtFRcbxTGC2zaUstPzkspN9H/r+/8BFVa1uaxgtBKDy9tlgNjL4t4aBNoVEIexiJj9h88f9ikvrb3oqwoiunEW4JekqoqsruQdq1+KACaLs+xp5sqC4od/DD02zC6cseog9gWt+HvYssVVnp0c2EL7SFspCJ1myg03WZ7yCsCdOOWNLvQlhna/2qR3d88OeXknd/1iPNPTfGq8SVfFbkSInX559xNHKIlvUGp9NMcZRVbmeSvnjLH9WU5LH9hDUBRyTQGyEwNZaZQXyv6T9Pzgj2SeJU6sHfeJ8kiKPD0A/42N7Bh+s+Wcf1yD3WGK644F+So2gCDV5dFz/y81R1iGAcR4+BRy4XCcKTfuB/jAxV0gx1TJyj0kh9tr7DbfxoOiXeN1oV3R9X5BZwzc63LKuYuqS0DrRWrUoS1ppEvn7bj8+7QlmcWn02zhk8X5crdNAklVI8CWt2CkxVw3E2FolWXAtlFsYBNUq+j7BZCwpnBlsVIqvDlH5SDtiOe3uO9g8ssaTQ/HwZXPqC091aXHotRdsVbMrz+bdVdl+NTpCQsjTViL736qNXirBVCSuvSzyM42ASVVuKdBlz8tRWOL6hLa9/M1P9qQamwZI+MSyD3DSL9I04gx/ojZtQ3CqzogWrcKy1jw7GhzKS/YLaFcbIIg0EdMvEEtoN4+Po/DsQvS2VxaGt7OXYHlVSsb9GTZs1ZgklkupzgOLgbcYvOMAI0eET8CaxQw4UrdSnEkddgDXiK8q11IA2sndPsDtuMrIeYKs79iO5cD0jwmJqFPmLnjcG9KpLWrK+VXhP+hkx4s8Ujj61t2+Wgz3hqKooZrISpdy/ou53SVlAcB9bh3cdC7FB+J3CIf8XEyaC4CNFCES2lG5v4c5WQTni+r+LwRdPzlkG8OnQruYFctqpPdXF6yrSjvBx3HhJCpl1vudrT2pjZbM5rhkLURA5YRid6hct0Tnsfzkp6WhkqLBRj6wVkJniMBWXAV4DacQnXQtN4xmU5wwrIF4J1lIKKSlDhyNZ0hlDSeHRz5V2+xxpWG1PFuOSEBUEnk7v3PJiZG0jOibT3TsOdLOWqvA8FQc6l8lu8IQYip7WADRmX6UETBDipSqV1KUY+kUvZEMh8dHO+l2I0iRcJipmu3rRpghKEl6qXPOpbEfvbhhtjShXWljW60nQafeK1bV61vrJpRGa3ct0WqmV8PCxdPy/fnrHDbLT5YS78xbVya3yd4d2KeQ32EaGf7K0e7fzX1wCnKiuIv0LpGEmQuuz9LAUTfGBVx5hqMggThDpLZzD9n1RzXjal/+3n+SjYlvfbfoCe9bQkI6tGMWcPp3VFSLGweSZQluChW3UhbURG5qwq6/bUm95+qb9r6oAh3QJ3rORriMjekYD85rz4NVY9G7PDyi6/hDU7Rs2YbC7Dr2smHX/O3MOK5uZPiToeoA6FpUXBCzCfUsrv/wNg8YU/l6fykUyIg37QJHHYtpf9gEaBW56Kd2SWmqhI5nV39xPaSC/B6u5YknC+AszdF1YR1Rncc8ufci9fBrciVU8giwxTIEuP+lw+bYuL8gzKARzJwqqepPoak6oZ2BokZqweP12jk86iLftbUA0o9QyQ7umG0sDJxf0MR9YqxDV6pPph5GQp/wkucv9a6QzLSv1onQfXAAmBybfj1tlrEVX18nGprBgGvUHwrE+lacQXSlACuqWLHa3zgw575bjPmWIkItD9SblDxhOSRXZg3DN0PsErrOyJLEndlMh8NtZTPVTEVRfA5cvI294kGWJoh3mMxxXJKum4zXEXm4g+FO40gcgoCt3+pFPW9tZoyDQ1CaESbtNZPsGRd/FM3ay2IZLYycj6TzKuY44V+b9G1bbNRiNO8YExNFzesvZcESn087sKlIPIjJZdPB6t1Jn1kbwIEDiTPVCoykIA9iAHWPqnJGNaj9FtkFn6kxy/U7O39qbxb+SJqT+K9LGeBEmrSSwgFDYwJv0htJVIb99rtGSBEx5K0+KsXH6JkPcXgg8Gr4C0NeGjDMngnoyTAHjQsDKF6mjuOyTX9NGIWhZvVUf1PP0yt16uOyx6F9o2Pvai6Rjnrw3tCmQjDOi9zeZ8EUMLOog2CX79Vb+M9m2O82tykAWVMK4xx7hdITxHgNedtlVqPx1+09Zd73se2zaT4nbwdeW3z28JQX2QpOGbYHLnymh/87iABpJY+6E8SjWNAqb3hWvTpxTGxGOydUVUjBY4ESUTS+pFQr5EBRc4eR1aNbC3NAcTDbdKMN8tGJNOOzp6cqQnxz1dJZGVrC6cxO7ZoncHP9Buh6S+IO56/iym+m6inZBVW0ahEit1MhmVpkV8t9rxnL1MGzmXpotsfCGPRo74oHfLvlTCGJqDsZPiiJy11VD0t8AI0fau3/YKnquuD+0Yy2NhJsbQjBbfUY8L3t7N9h3zxBoXgK7TqL3uqsDKNYLrpiXmp85twLrdmUJbEnkr1tMsohDWuNr+jv3sNpCCVgHJEsnYRvaKYN3XDNaVJ37B+sygG8bXwuiiNG5yY8vmN/iK+qk0R29CpMJrhNeM2jI7vvpc6OwJwJNzRQ3qSmVi73eC8XB2gWyFoQ7Z7n/E0X7k4Yb/IB+eJkNF30uBJNFQUuL2ywTsd+R2hfzRcDSlpEMri6yBG6FoOgzvgQkXLb3evz2sLZmPcmHFgpYLtgQNIz91Wp1OwcjqWXFIvKgrawUNMfXYyIsgmOSyi3LdoIuKqncreg1C3IFXIRTH/h20lwhogPb3piUiuDhxKBZhzYN8R0gE3h8olP364h+ROTmRAMS9ODQhR3jRF63nxH02cofualUHSTMfa0dmzRdDRzIW1SPAUee0ruU3J01ndFhorYwQH7RpbKo3FB27P7sfm8Sw/5lc/wMQYgyBDRHvie/7YH8AOzfb+2FwLmZFBtP8NQqVjaaCJ8MYxT3vpP3gooHQtx9GTitwiaS3hxgQZgl52ZTyHN/C77R4Twwx/XQY+6A8m1R6ZbQAH0opvtbfbua3QvZkNiT/ZH0AnKhNtMLeW3imLmr1/mKQXGjH+VD3xpsZqmx6mP0hR8RPphMJUE9dJTkmj1oiFYZEbyipF9vDxnt49svP2bnQp8qWxBMAAyN/Pw+ZkSn1ySRokgPxIkEhdLk+KjfUWEUE9q4vddY4q6ohzLpH1zXBWCsdea+AkZYpHIWs4BU+zKsZkyS0yV7hL6Ta7JD0itIKwg6KeIe/d1UAwk1i/VqNOAspt0lhnzuu7KkgBE40s8G8o40II6toziv9igc6EoXu2GrVsFdZpDCa2caAY3KsD2kTw4T5w4nzXgPW1b30RrjwcmAmN4XNxiHcwhWAPyv/BGWEOvHYZMMutruUYngZ4c457iHdqoNxauTX2fng0YaOcrSFWuJO1oFf2wbWRbFvEjwFAPYUbZS3LlxiyM7fEPpQpFdhKTynj2h9xYaY+fL/he/lwmQrR0ALh+eBTNpUeGEa1YXah7JOoRN5ZYp3RDRySmtf4dTH3snYoZ/+SHlMSBnAYiZ//lUmS2Y7kyT1aIBb7WWaM+KlWYltGGo6EuaB84SlZsBTksvbyUi/xcjrn5wEol0cx2421G90tz7qymYF+cv3KBW956raZU/YRST74eXyDKme6/M8d7WSAjxWf4xAt6rXckcjn/Oy8zVSD0iG5UIBI3x/2Rr79xYgKbBOdPQl6WjKD4Nt6z5eKdmUPRblpQbQHiHWJeHRtKy9xJUTkjYy1ZStiZaaxlrTbyHLItuy68lFHKHL+kSG967h6QxhWE9apH/K7iRmVxS8QKIWDcWNHT9rkXVrf6RjVvQy/i7j7sxth6QFc2OkkGfLnhvTkIONrMTRxajhti4GjIpn1jibBlq1qhYcZTDFSy+sPHNW/VF0C8OWpM811Rwoswa+OozOU6S1IFkFn/Ilvj2uktWk6kl5wXv3OHzw8ECaFCfpvkxPPM2CACrOrKHv9xLvOtJZti3tAhOgueyLktRqSxvbt4hfgYxLQVcsZ4UMkfEFS5HqqcSzXJUFYiEtESWi5pU0rIUrJd668fAqCpaw0MmYo9paf70mGnVV0vo2k6PD9kuQCUIT8LrxYsjGGj9B2xZVQZ3IpyykJtF6W6aVcZyQ5kcgQpr7TNafu6v/Qo+pyMf4b2TunGkdOjvQUPSAWGEa3BWRbZJdZuChMtHoTvvXoY5mUHOpm/9oISvk3LnTXyOGELga0w8VT8OEh2+HV6jNcDUVkRfuquy+SvHd0cr6pZg0bTqlJpx7AJmCgfT1pEoYFuxdAq/h2Ain2tr/FDEwjsCRuqq7vRJMycxvZGRort4474oUXv9gFzMviqpEMk5Ytve0BEfF125liUMGsfWgQ2V0jpMisE3oHvqPrYjShb1KRSSa6oLvzvvOsg/EDJbk322euaG56vH4DgMBOfm0CErhMLCw+khDzViHoWJcx0y3lU6bNWroUe+GW0ZkVJ3bTpejqChzTw1gmAgJ5AHUn8OAdsVwNHysEH/YwQJ8yPrYT7Sdbw7h0+Lh52QBxx1jc/jnTSl1fFcvtQgPhkXa9615AJHTXmLqt6byJDp2ZEeDJWYq9nIeuu8Qb7nmVf7I3asgj/J5runcNd+jICfs1wsklBZRwksFCQKGhIKI/kEaFVwrvSlVHPz8YoSaY/3xLBMpdbhABUEOXks6KbXrSWzbzXuG1IDGhY3Hlzdsr12L1qmLwiPDgkBlhBueODpRYL7M/Ul5JCy0lfG9w2pAhUinHCX0OE+zvC/G0Pdm7PPfVWrv7Tc+jlGbskAFQ18tUy0olMLFE1KYZgLMD8aI5Ou1FLH1K9a0NTfNDaYkYWJ6fNz278iXGiAN0nG/8ISNa5TY9mMDsffJVW2VYhdQxlS2s+tgBNaFd7JqSxoF3L3LamWZLC5bMsbacd4bpmnWB8ozNgpD5IUT2VLZxAcYWmLJejL/UQv2FndJrFPyUCLseGBYvY4BiLU8J6Cok1ivvuVk/jTJ2SUYgMNyErr/34iaLpwgrc2/cLSms1hCZ1aaR3t5dnOIe6CZfUlDbwG4r/d//hqDWpyCiOkyiYg40PMi/TkrTR250pFVEjHST3MKaMENSeIA3tXiRKSZ//TXmQqojCt9ropZbskBuHeHE2zlpwx0w3X+Lz6FyD84XrDAvIt3z5qo6lMfJKlM77UKAIFjMY8IBgWCPIOOOIK7224eje6su+lGdhL2JT+mTQRThUqM0RHwrdK4zpsXOLMK3qDBkJNna12OP3/eFjHj6+ldEWb3Kntvfk9VAubJqVPbaWxtbPnU6UOTb1FnQPqAC+TMURaH/ZI+d5Sy+7rB09FJW19UEUM7IsO0iVkCtpQgbLtfsRSiOn23l8WFIRtGzmVM/zwe65/iqIG6wsvSthVfcGAmXM0EBEDj736wCE+AZIubMVB0fkWVFEc/NO6xW59sPdVa7PySSiowFXL8byTiNLATFcl2q4wwcXnuDyYxie4/lhcvOT6E8jOOV08MZXOilDhnwhRAPtWuimUIxQajs37NmTG6k7BWbA+uNrZHiFvAkkr/45LHMX4OXqI3MYfsQ+8QRjqq5ebsW9mYTLoQ2tpc3ZIRILDyDRwapi8KeH0ZqA3LiSk2tjwVBak+Px/D4Z5NNMe+KNj9p9bKMHQDC2ehzkwvUjl9W52iHtdiUIjB7L+zreU8491/XbPpAWbtoTcNnJAQATo0vUYrlsOqcttjDV0pGFSRuL28E7/zVuN4XiCK1SF5DYADHo/O5vCgDrBf7tw8DfhRZpuvOSTZ91d7NsVzN4/VybyFx87yI+TOHc2zZpu6yDRwa1fRR2Jsr8A1tM7bqif5jbqCH9n6V1jNDkbmJk72le1EUDNlLSKsbVsg1UP2IwAvbZBjA+yk+CWDUBJLyvnMHWQT+XH1M7/DFU68n55tVoNoir9CiGi4TS+T4ol5stLZ4eXs1rWgEjujqWp2symKXadEK4nquzrPzGBqjwN4RVXOm4lLTv0ML+ZaOc7z2cmbVCTQOXw/d6sICcJ78Fl3JXmPm64qOHbQLL57K5mjj55Y3JqjbwQXD9nmDglgbRU70gFRTUAyYY1/gYqC9nou+u5az6yqDP0MGAJ1Xej1UYbRRTN6Oumwhl+D2EiOgGYYkbyu4likL4UXKn+TtebvofPbuukuFFa4GPhPXb0yyyd25eWWvwNYI8+3jC8fpwZ/jI/2CcTe1Fdy8TfFL/9F7XVQ+DqeE3SBhWBrgmNxzx78/rMrOcCeY1hn79h6Y7OuZyjMHdmlXGcoALxS/wptHXNFSStAARs1VjX5gS2GahhupIxF47N7KPoiXylv+7QFWb6uWhsjQeL9BSQUmhYDL/6dmOCWvSKwYEjm6GqXPnSHpfpMZgEOOWwiOK4e60Vs/BEpzRM7SlY9qZZBeWp2I8E0JpRHVoYEueF90QmnEX5QXczvTSUEgNPqYutmXsucPBrkWJTsOQxyL0pNc9Opb6g2m41/ma/Yr6kt3alRF+H1rDEvF5W6f2nsLyvanGr1Uvv3a1Ly4qNpqbcu2bWAnwGZqjt6SpZilPCDuuXKDIuD+LsKHZ+Gdu4hmUqe7l6PRERzrah7seAHIvoq47ro5fxa9vTzxZCias7mqkiNKMX2t7UiAabMnoBRjFCWrpSBsXLUtAJeExA63cEpZ82Tkm3UkPNqrX4smLwGWxwO4ApA4To54oDBHg+Nl3h4jKfm3ISXEAPDwTIyE5cC0IbJao/JFigdhn03pd313BmPn2yRmKdyIUXmJd5zFor2C14Vm2mkMvl0PlrwsrT0kY8Cb1NtqD3SlolvHLwgXLRUTeP3ui5Dec5AHziXZXeL4obem0qwUW355KDjVgpsl3zToZcge0LJj0CmUdCT/dNW3gkUwdqiO4crvqNWEfnUrrO1Q7PjIJrGBGRiAov9tPD0zWUzL7UgPLyBmYhH2IzDZXuk/6YRdTCNFjvLhOR02TUt2Odv9Cyxs8C3YS1h5KBXcZH4DZgTosFQSVSgTXa7uI7c/UpUfsKvU7t/C0JozWVhaUK732rYJ4YYNuJ02jSGTmnmEfaLtbwN6TzbMllXvc+OZEbBYZ2ldcVryH8EnR9qlvFRjCQqkjMRCe9BTGnxjlGIj7hLnkm6W++82nL5sQxzY1rzhCWWA98DOGmrju+KZonK4Jd6b4a+XJJKyLx50hyOfmR83MstVIQwf33Z0/rp++4kybRuU2RC2abUCLPbfK8iwcXhNjrzWQcjV8oRZAMQkCah1C+5KPT+erz75yqimXoMDN4tiZMf3QuZbuHcJzpwpqr2WSDZklKVlfEewTbwG7Qloy3yGDNL2pEJDeH1jTunHy8LPYF7GGdXJvbNjMmfKMcBJjIX37020fV/pn0Z1gKro81KCJ/34Cz4LdkMIl4/AcV/9WX8csOqC1nNivUWI5AkT8SIcfZO5sIHPLsffTWxT2n4Jwbqo4ln8x83FK1UG83Br8mZMoyv80ox7e1IOUN2vNh2A9JfOBWgA4BReoSeA/7JzseODzxu1zmpvCKQcZHjjsxAkd5H8cCp/g8yZEgQkVvpahNvObmv9fy5ILh4VxY+WeoRFNgvajTsI3iIkZpUy8nAQmoYOtUyBHYTTNaegt/1l2I5pwR7/gG5MbJVe/+xEVXOg+Sn47C8iuIJWMhWzWxjLiFKez9aT47hgZQn2RSdL7OWUJxbhTJYgkjAdWLbN9tEsdjbn/xxVMALfMksuY3ayVsuHiOn27dRekaZAKDf0AjsHGSf1P4wZlBnYXBXlhmozQ6ip6Fr/s9RDnOxglCFFca36l5iUl/mwxtAqmRNVKhVhlkPCxIRf267S5IuajH13/1Wtvuj6RxA6VsPabVHn1dk+pL2K+Q1YYT95ljhSqJMZ9tL77zuKG7AA7RHgSeCr2tq501zl0Sdmn7eE1r+/YBZHRB46hsR549G2Ohq48lH3CTH1ct+Uixbrw0ollQ0IiFJW5JbqjvpDGD4rM0o6KOo7x9b1tUfYRU8NIRGZvwCVB5yvBJ1mHOpL4SILPj5Bsn08GbNxiaTziuQ8M4cgQD2e7lyDOB2hq3v02f+uivYN+o4JMtU7GRmB3+8YXD2GHczI+LXWV/QYPd/aZNIM7ZUp8uIsxEiHOUcfMRsn4LcCs8Ne+StCximBo+WU7Q+pjar91HiXke7cPzA7/3heD/F9YZGApZDWmBRhtnqYRiJzqzBSykoQ3L2Lv0moofs4c60XNKdAlxSiPYQg6wyAOOIQTQlBORz73ysMuGuqWvaqcE92VPC7xNa2mHKM0xZX0Mo/hpm8+NcbQLdgCzOFAQ8oMOgeDXzSl9Qcnr1qYqUKUk+WYxjLnp+b8FjB8emv9/+bcfEYpwwpjIZwrJNMeRtjCbqpL348lFcZ8pbu8d/89U/7dzUG+4VWbyJ+oZJvBTdHKSWQkKzTVxyKVjyZgPamZRvfjxbiaY1yDAB2TkDyNhO5vP4n90O1CLZ96WgJoVy/2+ceFd9hHr9X/q+yV32R/KZwVQI+ojEQyGyTwyFW162TABYP41ncfVo/iP1CEe7b3iz2akRFLLdj2BPuktGFz9l1i2VofM6VImy1wTDZjZLF1sV6xnDy7am7DL1wTWVhS0qUy3POA7u+5EsPctJqFGXnxhHMb0UVOoyNxRC80CVg3kNR7+nlHsywALlpJvF3AwLXrBp3x8Fj/FmCm2cbYYcV/GAeSV+gGh9PL6FO6fW5+84aVWnnA8hJOhjY7stzvFZCIRUSH2Z6toIRHdnPQv2qtTY1qy6Imu560KiE1bPxBgAeB5s/pszkwALbRjIpUlX/0oM8/d9J7mFC+3remdyI6P7dht7cp3291bwkeEuwS9qODEeU7q2Kk+DPs+Bcj01NOIXUBADvf8J0NjfZRZsEIPgF4kolh6m1ngVvAxLIyv0IxGDXXCvttQEdsTBHkOh0zSDppuqEbCRasPDv2ZIk5xFlc1b2LKgP3iwo1qu8QOzoSTHxMFFElKmV3NKD/KoG3UFA1Yb3l+56xAFXGRf+hwC15x5byno7SsDR1FOKe+U4dkVKL1P0U7RMVB4Ue3bd0Z+s6e846JtjsjqGCHQSkXharGdz+QssN6K1jgtyiMubvD8AjzMziJPBa8428vxGO53KzZV5huNS7RkVIU6CaxljebCqM7+roWCJV3F9U4Z40EVtGDtY5gTGAwudY1km3OAUYN4ftadTfwdLGPZtkDf1gm2UBCEpuL2PbmEwUWuHOg2WvFiTD4DBHV4pVNyv4cY8tJJMLTknc/QP+ZP8TlVJ1idVrgiumV4gX3OjZX5jt80gZu/aA3nBZITM7vMGfY1osvJ8rf9kbfINxdhEWvMBlw9NswkEfrde62j0QCu+ghgmNjwYf5x6utbP8Zu8dJ+xncl1IJL2iaqBZtrtwthIcqXlFZU7gtLPLPGvsxbLUPp/er/PPdOMQ5g0OKlmalsdhEWH9LbveyBULtKBtooJ1Nlwx9RNSs5MvggK4RwLkdcG+yRscNLHSkKBCxwZrSmKmr8qOlcqqltdx+wZHTpusqH83DDZNdQEy1KYzYFVqpCAhbjnugblRJ2be6MZSwGkHJ5w4aH+T7hsUDq3xJsrT+zDipTOe5/FB5gPiDzXg+pKSEinypPWR8SaeTPTYivqlGownokdm3OqWuqFXO5gMUQ5ChS21K1OO/j1TO4kIm90dlQeeiWc9aSjVSRSmXcWYiQrUSynk8OXa/75m/28P8o93l6X3Z764HJ5CJ+U8LZIlHLVdGm8w6EcEAn/YDNNIyClj8NQn7/8WzSlqTXO5XpIbustElQ+dqxl1ivaOlTvzpW+jVQAjwsdFLBjCOeaxMsHOMLxppVfBXutxw/436kmVSWgYszQ9tyIchDs2I4SPLLwnWmmCj/61OPGx1CcRmrdj2axtkRy/AUekgDm3jKZgstCfvSj+RX6WNXKqsdgTIEYHFU0xd71XmNMECEJa1QlN86szBSozaRpGMcpk+EM8V7Rqsk1XnQ/HajqMggW8Md9o6ePf1qI5LTJn+5OdLw+xDPN1xf7pIP7hqENMoggSxQNSk4bGLnbP8VrArzFyRGi+IrXIXom4vU/PNbefYZygLp7HFyDIkSr7VJ9X80vxC9ZPt7La0pdqx2MK7ET6UPw7ZDolxZtlVEvbgiwZg2KRCbr++4IXKhX5YXEs0b849dQiZeYp+wUgs08oVcM++9S9KPeGmNEbvLElmrUBmRvqt3/xBpayxCQ2KBwVICFt6IrvfeT5G1fhfmMYSBYz2sBPDgrAKLJUSjUymZ/dhlp7M9f01+UQ0Ma9GLtTOmZ2FR7ZSVTPY3fx5JMzaOBhcM3JFvW4Vedh4yaN6g1WYhyhQx84E9GzPAfNi4VUxevPJJtmY4QQM0U/X5POdgzoEn/QnGaCEz2elIbS7y4Dk5p9xlZZLSbJ3Of9YCDOg8egiHM8S1uswObV9Npa51FvprGOUSLqhL6hmJBGvEHlDHbVZl0OFKZ2neFnTbiOz2/vQAgw+v6lUp5HtCbc9UoGe05YSTRok8NWgSZTLHrM/rfn0fbv9EE7d0vxLzB98U909/VnFNVqoMTKBJwU5XyDwDmlVKVM0Ea0/CLJahivYozmpOsNx75/Zj9jRk31GRsMV7Zt6kiqXsNemGGrLCei5nk7vPPPHPabnOzckKsflwt+CIIaj3ZZnVBh6BNpxzHNVx1VmoZQm/ZCD/wsyO3S+sncgqFatpziudy8GofeNdYznwKQ82FQDWguc9IVFYfw2mUptyCv/g/IV+k5bgs0nkz2p4ijR5Nrr5bicP2l3hcgcusFkW1hcCfVaeAB2dcJ0GWEz6AgoOgGm39Hq5KHgX9HWNV4OguUlmbc963j0fsGWEEykN80G7t/XUc+GThGOLBrsolPZ7eCtXlakVh0HrdjyI+VRde4fEMP3gynUNhKxBro30gErhDsCX1ntHWhXAvRslbwkspPkY35Ty+XpXvKP2lvhffN5B/9NLaEBast/bvf/fRWuwhzVateqwB8ne9a/TmkvUQzuvuLp1xHrkwvlW4rRdXLUMy+/b1LgWjXo5ywIaRMwvya+ChdJD8yxJMXvuVhuPB/ps06vRdQqZawS56Vgb5mc/BFIVzilN86Gaq2ormtm8b4LjsAN/RcBXTDonbm91vYaBX5g53spt87xdONKgQpRznJsavW6AL9bWgquGw4QtFiUhhcWGMS6kYC2u9xSPxHi6OrLoAph7BXc6Yz6MZwDxwksVb5KyjItHt7vaaBZsbTqFgU4IE3afaClNWStHXg028HSJ91W+AD5hA2bed7ID862Z/4EGauiRIMdS7uvP6QArWxbeYZJD0KHO+IAbuaE3TOwWA5Slb1i3tqjzvHyEpUKDX/i0PN42Cc5mk4AvDRghxGV7SZRIUWzY5jbpdIi6pKMOfVwlGx37b86DiM2z0hSGysujnh8ZC+WyEz3De1WGnRfcDWIeFMbogtUpEnMmW6fAuylgqAkiHFXXlQrTQR09yGDdkmmv7E0x5pQnumhqkL45rlt5IGJBDrBLh9IV7VBrRJG9Wj/slmWgtxPeg6qwBa2b6upcrbINV5+BnK1VUe4kOGsWFGFSjfvpEysER3xee20AZiXJXyAJ2ugblVjg6ab9aK1VJtiFED4H9nLW+zJUPEX+c+Ku0StRqXHZ0pu8aew9CkWqpo5iLewvJw4ngg8myAHcWLohy0Qh3X1ttfrRvEEn3uDs938mFgWNOF6vh2a8Nn88h0NXmIa3plIxhz4HcYh6jK8pSkL2VvjZABErSwmw0ijhSZyWsb27Ov2oDmEtDT4SfkSkfl3AlT+l0ZsKNqR9mvIU/gIprx8xSBWbeRsBM9F2kT63DooDeiiG1gqZF5JJmiq+qMFqpMkFxOr7I7Rb2Wv+mJ2b1hfFdYPh9ksiWD+5F+aLLGpOwHeCyH9fIyNrzRgwjClwHMc6s3eDWVKz7ceBQEnt/WEki5Jriudl6QYw5wk//05QMaT92NrSP3MjK+zZoTJK09eXvBNq/6f2kbFH3h+1OOeYgde9UQagf5mrpcr7th9ux3c9IIdOR5CzVDIXJGzFqUCW4m6VW1WybHiYvefYsAJXQugptrfTssHYlpZqZG/y5dL5L9PFzk9DQ37RPoCqWDgf/co+hGdJy9EuCnHrOOiazyHz1lIEyjOWlVzpPwcKUw/ZQkpZ5cK0/cVk7DT2aeRKa/HuACVcNgAWBtbrn19w4KVG468s4YajpheQx8zTtlslupg4+omBAXZUy242HyOmERRt3FT1EKpmQusq2V+0152HlSHtbBXv43biFeIFytZ6iyV/4/mLPmKPd4VrYuulLwP42oTuWue15jgoAJrIsplSmYm0pGTZ2t3lZBEEDZIEXGvRdnoz8DcukEQE17LL4EksgxdjsV2iu4wrHqny5dNnCNF7wkNufMcSpSbFySChvTv/y7yHCj3SFgqiVlE9Qhk7TIjrFElgRINKsGtwZHvWU05B681/et3Y8y5+2N6w3Bc/Po6xa1pP70cM2CxE4vArNbcz9/N6lwf1/T+ajvNS7wU5B9dvzSd+Oe0g7hwQ+m3jQ3R7bBYankSkAyKrasVevK2L5mwRSP1Qtp2+zL0RuQP6DgfRLvt+VmX70pW3e7HplMc0PiTJl8lYKKxKbvGQCnL7OerChMCYpIrPyFTr7ll63TQ1+lhsth/uihH+ZAROZap14zcgA+dj2kshaJxLVO2ZFnTf9Yk2Wf/21XUgSKvIvl7XtzqAgE8taPg+H5CCYrXfFfLytWEVec/s3aYYeXgD8UkH6jAVhWJJzW5HqfJ+r8dJ7+CKqQoVqbybJH6uN0vRStYyuWdpRugiYUAFYauZE8VRVtjIQixzPufzFW4RVW24i1/4yY+DosThnuw0aqgBt6ySp6DwC6/lGL/0Y9SZovKNDNoNSduUAOelHbHE/YU+HbfYXEvWULFGjoRL0TD7QLHUg/K3OsS6qbiyCZ2c6DBwRv25aKu1EeUroXYt2gvh9vpKHC/s1bQc4eBD/h4fTZRy3QdeYWsVCPfBxxPugVIibs60SqemS8eO9zjct6Jsv8T43m0KaZTj0sEKRDad+RxAPPN412Abk0yZ92+ehk0RFtXmqlWHS4qlzCMW5dlS0jXi/8QZEyRs60CkWvei9Ld55jKfzi6b3zfdUGCqxhjyEOXWc20053afChJ2/y/ngNWmtJrL7J5eRNe3kAR79v/vJ/iTM9VBtSVNzd1a86gjL1rzr41VWA1H97uGjA4UTHg8x8hxgJ+Fliqk2Efsm27nv14AG9hQOwJreY3dChmOM6M2SogM+nLzYJOSo1NhbuwfwZbLBN/72IWDh16EDzmF+NDvnS2QxT190fJ8q0Z1qhVjyooIDVn7bimEqrXk3/esJPEws7kcqujlT3WE1EEXMx1uBAB9r0Qot/DlwLVqZakp6WEHC50MYlCs18qN7WcmNbxo+klOfMprEWmrvAmYol6RXs7VswpCW8D8OzHibJP5VqS1D//ZslzWHzGnIcaeFG51lHDx/VTHkFjYoVK6gQStL8h0fM35BCQktOxKlyfTj8VPg6VxqZG1fTJOe/J4xMthupfAn8fE+Cw6Aj+AbxJr9lI72W5RTSdD5TEEyrJBeobw71/poOrnk4XTqoYNsigMJDIIg8YiAzzjuv8+ymMPv6j91AmAqY9I67AIy8CcmtywNuYkdtcCRjUHik/FTLacKy3GIxtWQEdqG885jzDc3ZgtMx+ZAfRXyL7YWZPY2GD8wHKGypFhml4SAd8NTB1uh8hbhq+HhEFa72hsSWRlaIN7B0ybRZTjrXqoRP6uwJJNmguTDjZpkofkN7pghOIpBup7GOYa9kzxerDQa2GC1YZ9zDcNaZYr87iLXWZCCjrRpjZgae1lSvvMFqEnIPJQeUdL7auhuEiQN52qpMQZ23fL0lgWDBS/pZDu3ur2KEiWQe1rjd5bWFHSvWziOtivrMNFG02Wxp2Ef2KcXZhCQLuUPxEXJW+/xoRqov9mD9Kl9LNWLIvC5WUcMFUdkzEjS7zg90B71TymUNqA9MAiQYgOircmbRppT889PIyatIH5Z4lJyNmAM3hJqI9bVsNAghIk2n/+Xdbwi7peWaWJBB6BWyl1+utcl9BPHlLaFILKUR36eeOjSGnDc4uHLzOTKc6ZzQT1haCLd9FgkJ7IG1dx+r0f/3R9Tr9nkmCm9AHC0sGAYbZZ6t+KNlRl/IUh8asBApQsdJ81FzncMBoA+doQgscgEtp517eMZ9C9fBF5rakt6191EC0shGHZo8HLTNpDx/ztK/dEMYhh2fSu6+3rW6IeoHt7hXjf9R/ZNMMJOO2kCAyJJ3z+kV2Ufg7nppLhGpRVWr8OMacN2+jArpixnoBuFjUbEaA8z7kkeaIonrrYvNh1zYUcuV7maDPtDBuBFJGq038BYle5i0tXSLaFgkZ5Rbxq4VjZ6cpjx3X6HfUwy5pwBhIRxt8GaMdEknLoWiaP2GTncQVKfabBJ8QoGeYyAQf/r4Gxz7aae2beMMwglBXXBlakKBvrKrtVohBfzGSfxFYVG2SkgJpKQj7rodJ1znaZxJTiZFwuKSQbJuraO0bdFCi7nYBhcTFugDjRlM8WNRL/jQNj115pO49jhkPeDkqnmSll4hX7gLTkeQ7Ybg62fYfczxO20TszgYPy/CnxI7XLD3ceIPeTb6esvLRuIwIXGMh2K0vwH2AwHHmcgbmzz4G20rKWXS5QtozNnxMAvqeEv+MQAG4H/PO/Bo59Dv38N4urGcUyRWl7GaPiXFmiaBiJ8Kt2DZPPOh9+R9LGtrVUz+XZ82HntE+vxLWDreFdF3asjz9M4UAMHu6uTcb8olR19qldi0FI7OZAtNlG2JZcUS0Jm9DB4MsfpSp7DO8MHvrKw94IFDnxLN3yfxnSoRVcsiK1/MXpdygS6qiJxl/43rYVRf0Atj9rZ0SrJ6A3KAFa99CB10YPPGR4EhgMdjNj8TPJFkk7TpFQPpOSxASo6h92xq/2jtjrJJ7K2lfnsvWilLXjdN/310Kf6h9b3zJVbcfXSOXcDzsODu8XRXOhPiE5z0Y7umz7y8iOPMkftSJ6S20aTy7WW2YBYaHkd5zzesKZEQiQm7i5zEcWnZyIKz5TIznYwmechK6XWZymGlkPlhbijuK4j077m7hcIo2coDy3ARDJlzfIDdAbMEgKewMC2ZKI3TeegaOdghWDVFj8VRbotJrq1Elg3wlbHqsHbcKfIyZuXYOhGWi/Q5RNQSKxfxHaDTPKbXZTd6V/eYt+up4+bh6J0mj3bHVAMrG78kTOUJfP/2DFIesBBtiLp/kZSOZzgoRdlxxupBVqUnbbdSAj9AmHuMxLtnxtu/eDwW2uIQjf1P3CXrD2W0ON/UN7odT26dPkaf3T2Cnimw0QR6SEQOsRPQXOiTYU65uFpcYXGUx+4FlxXhXRTJiXPWNKIdXKHOy9RBJmX+cbljjwm5/0UHphGkRbQ8hS4D9t0f0Y5FJ7giI80zIY/vsZu+gvbOWuQcVVn5Ur65uepo+j7fxJrMNGzhDz4HIZB0S1qT5/Q5kHm6bg5g9MOE/bJuMXLK2cNPPu+dbaVmGpMPmrFlkw3jr7KssXREcZ3etHEyw3/W6xou2NOGKPUxRl0QC2pGj73S9u2Zo2uIxz2J6UjungH53HgQC0sUoCMPfpSe7uFY5s1fzheBRdkpfDtV4E51EhS08jGyiaNO2ZM5kabKcaaPT7vk4qnA+SQIZVXIxEV3WdbPD1647oaB1QapbjVIhS1MfZ/msV1AZQmcGDsN/q/xHn9WOjko/wfzvvglHIY85qNHt+1iT3mqeudUgq7x9bdPoLQn1rDaGpBXL9v0wljec4fT0KVeBHt3eF9ITcKWkv87Kxy/m5XqIGr/rUB81j0UtrQLqnjb87f9whWnhC8Ca+52r3QHTdZY+DYmu37sPYfHtDz1XbV5nwqijEy1xjWXNZhqO8qtuD6KxiYIAc3PwXlhKGGtIaUFA/K/G8w296h97mxoFaK6uDqDeYc+j8/V42RcWYwZAXgPPaCzZBKH0/h3R3d9pf7k98RsteY0Dq5OsC8j/NzUF+tl12t1Ta9mKv+tBhaMy+xd9dsLIRtHbM43fB8r3Oiwi7WHqn3RlDqgKq1wo91Fe3pWwgJr/cg44zWpPlbm/vBMnvElNE40h04bKXBLxeGTy0M4jHg7F5klOJqoIp7bN/eZEs/dMEhqpwvYPdspYBGusVN3cE6NkA7gqP86uP6PdvwS1Axs4s/DqMFnehB9abEziuIIZMsJIoIgttKPUlRXUwMg+KVvcOHh1y4CTe5OrHdbCeljHAGNG1iSK4s/sUZP5DoX8id86KtEcdzwi0qXkX3VpuZwMa/LhiiCmG82I8HYXH8xSvEuKPlN7pH6GItBTlQZGnY9w9mN4g2WpB78Xs5PmZtQY5d+olgPMvm81lCTP0G9MuQdpib1428qHDbE47T/DXxGfsTmCLbZibZZ+QHimBWzhL8VrFHCGf0U/SmJ1jOHHQlZi3fnzIYdUyXDbTGlERWWOzsvAkJNnWIw+3X6yVpBZzAYnyRDsBJ9yBBD99EEe4KjByoJRIvt8bVpNj4A4fm0tswcC6RB/WsyG8IFsk4jkcxqdV7i8V0Jb3XPcJtEBZ7Frd64djG0qw6dODTPHkX00KTv6r027j5NvbW7wlgmRBoVgAT1SCHUgajI4mhdR2ksErgAC5a6N8Oc/QdNgaXeh6UEQ0buQP8NQc2Azf+uGtssNeggLWgX/GQ+vCocBakvozxXH1mCUOjrsW7UAkqLcvQTuooS3hqCktOTz2LAcFYetmtqik7o8nELKWaAZYpoRL06ZfG4+ZEplURY0i03ecgoyReUt83L4/FUppGLmHlYGQNtCyoXlqLRHy/x7Ktk/ei1O6D6FUOqR/BIISax+EWus2WoC0T+AUr6subhWgn5dwVRDZxXyvkF/oYkSzHlRn4qD+P45zDsDIqrWxs6WaPd+rY2fRsC/TF8bdgLpRDE4jglayl17ixbfVo3v0dsebSSVs8MUNlYdWG2tgVWBGCSvLw/7eOVndo4tLWG/QRaay+SY91BhgGH8W2rdJFlnOckdPPpUrGWiekwybk5L1pof9ZMwhBulPMH2wjdxKj4yppXN+XFl835v/cPxYHWvqsM2l6VbtDPpeQ8woPflIA3JuabFpP35LpUyukDvnkhhMxeCDLZEDbcfQqgIw9QhU/oKo/vwNuFM/jafL+/cSShuk+34Q09qhRB9J2ZxHU8VubcAJmBVgggHtSkbiccWSczBMcGbu1oOnvOrzZ5b/1Tsat6faYb4hQRL2wUqe9jp1TTTXpA9pWc61VuOBw+QKeYPaJIV3MsQq3LWLaDHNoQ7qZtKeWrNubrvPhB0khyMBBvfENQvZCz9xjMvKfYdi22URgsHVq0WOOkykwbH1JkZ9WcJs8IqMq2GcMz9y/YKno+TBnLRRX341XjOR6A9Lomi+YCHob9obJ/H/BvYjDQhq8bnJAUyAp3JacGgLA5J5ViO/coRVKbpEN3fDK75lRNeqde7W/Ey9mOXdMMI01rqOqIjwpURSz10dkCyqEhyszpD4OX/dZrXXC7sB1rn98qMXDFmL/+Sm3Dno50ezY4BJu30MrTcB5tzhm4Ixv0x4oZMhwLN4oOw/662ffPfQDZW/+GzmnHOE9eHZNs8TQHhtqdiqh/Jsvm93BjV0y0/DchC2738P4UQSxWYEF0Wot0AeL3Xh3qo1UAYmFbJFrzP8GyfWsZ0xzdNgU6Ox7rGI5VgxmggWeD4tS6S9dbrQ+B4aoIDL5CuLeorlly3K0ypSe+OtqEf/kCR24FLF50HZOmAAYzlFnY8v6Ned/u65/KBxZ0oqlIae1zFEzsn0+a5ILAdWz6pBI5M2bdMRlWuWFkGGkx0OtkAhdiKpWVh0ubaQXC8oKUWeDmGE4eh1q1vYflse3aUWNbk9KU713j21Q80PlnGQnwqJhCpdWE0a4MpAjPxwC9s3We+K1V6rSKIkiTfc1/nSIwJFyyBkgIYPAeGAfEYjHvMufwgfhhd3iPclRYG4R3mbWdjcUzqscckequli8pXbddl2klWApP2w3tRO8Rvg68kR4NEtgpVETREACUc62ifT1lmOS+hN6zUh0j+vOaz73VFNpOh1MO7tFbCpzD8ieVVkysaEGWZ2W+idrmx1J5O92HLuKbKvAIwFN0W+9rv9Yjltxvsk0oLe5nyndDZl6M5lJwIS0o7tPjEgoPA3lDDTN6C8aY5eJFSLyhG2lHssDVb7T1wGr4nskXspuBcyvFMrZKzvubIgtOnzS6g4H2Ah0MdLaJByuTeN5beJtIscxxLxgasfk5DzqSgdZoVztHzyDQWEFQPlq2Ncnr7xm+4FEymvSVNHEwGxrC9Y4Y+kxw0k8yoGQCYsN9V/v8dobMNuZcrN7/apOOBJxSAFXo5TCirMTBJfRgXo4sVmM0CRu7mzanyqO/sAH1jt8NGJTfl7/U1+esUEzMdAajzaxMiP+7cXXncn8jjqcD5nMnhPi9Nu+G50fulJBc6JGT03zOM9V9jWNGM3874adyDwXglmjAz+9sRYJE2mcimM0BVl+dlfH1KkWaImFWpKBgmt6rZEok/3JbFiQ/HPWVIE3HTYM6gcNZCoOjq7ssO0B06tVWlaMNJsApzLNUIZ8yJ2b5h0mGbFwayAjx1glgvAAyibZqqkE8mzS46H3sy9af3FthlxCol/DK7aHQGCT2+VLFu8GrrxVywHUrMHD+bnEqNaWGlAavjWXd0gwE7/m1mDx9BbQEd82vkOEZJpXwfX5j3BqPJ5AhMTgTbZntdCAkrvMz0GgxD4n1hyYyIbrPgckS0QkJSZ7hLQSinOuvMPPI+8JPwhZHFweWz3H31HDF5bnFX9ETBg739HyutoSa2HTWu+d2RR48cevbaHDI1LXB/jProldFySIb5Op/irgS12sMTR6BizcshLOXtZkQ2acjBxzoptXAeZruFsXBtnVmKpa1Q11HHwhHf/jiqKezLV/axgzL/Fiw5Uw32JRxKSTXSe/dn3r54XNCx7TLN+resvN91pSb2AVDb5hD3VvMSsl18U3eLjP8jwfk9GWxPz8YIi8OK2ijH/wjLCbB9F893EvkCTJ1A3TDR8DotxJQ01OLQ7nseq7kwtFENnWAtwogWNtvXjOJXzJFee3LK7ryLvE+urdZeEfqk0WO0A8sGNiwrO5q6pl/YkspgrxrrvAVqOfY+fmXKgWjojJsPMmf5zuVs1VEBv2yQmOSPL7MtG6WUdAA7/98HrUxfTzfdp5mliUr3s1HiIjrx2oH2VQXmB4wciPk0y4oCYy1Zq6f9qO+GsSbB0aisF0OSHWIEaxvxm/LMvVoFuj2lxytgPGyu1BQpCHvSb/sEfahQJnASAGiSn39HlPwnBBXxIFuPPxP6O62hXbInO1sG97/N3Q3kUwjjylVQHXx2YvmHYCf8GMdjka+fgZyXmYnOt9vyAfengVkCZ/l+B39Hcq9D3wqnDLzRIQPnj5NgA1Mx4XhyXXZtOdgZUl5vn1kGLytdPwDjXlmSflHb6qyp0p/TsRFOhWI+z3OSNQBKNdvRRz2xF3xYP+k4nzjk7NTbobPi6ctKM3VnBC8GyV0mc5483uJ4eIShDULVwgX5e8t51jdsPe4jOCD0uv20y6h2h0paRaQlsiP1ub7M8d4nXxt67PWhlomxIaVH1afCgqUhFQ7rM9E8ZD0RksNNCLnJP5+blOKwLPZv6VPloTIY5TakAFpfrDq7nv2eG++h3TVZcqxFHWdVqMxt8dPUTRSyT0UMhlmy/hnbPvZklh0wFkcK/rY6blZlMNGdMn8Z82rquOgun+i6+A3xVAoYZDVYvbL78NIM2FdI3LtLvu7h0i8uRcprDBrh9Sxm09ONJM/CqlXqtSPWXJwRk3X2ORAJvHcRILEmfQgxsVZFMmKaKBclrrGkorCAu+xRid9ca4MKGubnMJp0suxiY8/jMplypVdVQ0an0PrU7DguAECvH/kSw2BEO6ThZRR2+WSIv6h9DufDySpRXapmtz2SHQ21MwHWmh+WiIcrwuqtZ8oM9t7pIGP8CuPStBE56XsJ6KZMl9mI+xrNoswcc9DAKMYxVlj5snxAcbIBJexb9GxSrSXMt9SBPpQLK7afiRWXuwVrwr9LWOfNaXTFNIsgayptA61wdXBcvsN1HZNkClhskQ7LQKyF0jjqBLfq/aUZgmlYmv91UeyjjcDnJfMZhNGQLltbq0HrKD7DJYxSyGHd8v7S+R2T1GGJEUTiMDfxarwtfBU8dvyvKfjaD1A6YKTZX9kAMxvpM1/vr3j5liWGyiRMCfAcOoEuJa0xfvfBFGBLTf9exyTxnjfsdiAitdfP4YX6ObcBBlWGd02JiccEBD4/VENlxSCGRMBZDWBIdww16i7/0yycFFofTLdUfQE+u7vLPCddIRpeJPpE/ENIhMUf+Um5bASzqNVzHKCQW4+49PwjGhrmAkaksCUSJF8aG3rkFXiamc3bRAtvuhhRaiJPeqJL9VGHOWvcJk2hrM8TJUzECFQ+XL5TNwNKLOP+u5UxXOxmLAuJVwPihJielArm7DAqoPAAfrJSh6RQa85LJAFL1yxQMfwlNS+rmOeWrZXJ/9R1v5p4uyB6b6v0a0+nfv/Vuus7gvYBqLD9zsofYULAVpBh9nhAMa4C/LeRE/MQpeDoFajhr/3q/5q1BOX+qgjxckKEDau0TFRJaL4qb5X+XIIud1SUz1Goc3HxJjHuen2iooYPlV1VLgTwNZnlcQ4wLtVDuG/kH30wp3Ji53gQ0KGeNlobNgdpSR76RWFfsnUoC7NUfKDEjPUFYT4CypoElbRPlHToi26fKD0WS4fgOKb3cIykXyY6o813XfU4HSJsjQcMXvlmCJZ3u4+xnjPVljTMZLd8Aydw9DkMB9c4cq6GwCQ8AlpqS5Y+y1lbaa++vJlIDPqDdLJnCW05yR0Cxc4ho/1ohKonVH4boPYzMcRYZ5MC9JBWLk1xGZORdcsophBRfaOYWjct/Xn9C8kqbvd13nSaxxmH5/V/opDmDKQlKBDuVkijUroiXoo2Te/558BqQNhd3jhfcr8rkrZywqoD4uFZt5GGJo0J3psST8sW2l4ICvD2SERaWD+5Hne7+Eq/Ojtmrw1NB0EX+MEpoPLe/SJs1lzNzi1ygyPiRCT0zpUmijM4TFvZEdmWd7BTch977nd+I+oINhn1ztXq7h561vy14T38IHwvPNA7g95Nw+lEM9tSpXc0qd6j2ykr73w8NhZdf461kOLcfEPQVst5nkx2YvTNn4EqWrz/s7xraliXx7nCHZAW04VkCmQbADfuhZyyuU3Pcrd39UjFuhoJS4BI+eUHRVJhUN7oeKPv8TYDAqwQ+GP5k8ixYOcy/Hyhw3yBVIMpopgGeom8u2rmsewpwMnjtHOchQBDYCBQDbhI0EhVjehN9kdP5Lgjl/Qg+4KLxHZQtXB5nu90Wmbn8fNi432ltienKT1fAeGrsfeZXGdrDk/84fhf2wmE0ZJ3d3wYVDIhhBo1qzfQ+yyovcH4snopHhRw7iNZ6m/4/tqb4dK+pVuuUz25Yzj1DlBTrJnXfHPt87HhfvvCQOuP+Ijh7j8e6ZSQ1VWpAM6L9d95yFEq7RY0k8iOZMFoCkx6r1QVbrxhvpHe6nFxCXaULMLrXfNOnjrfEQ/rId4sDUdVyyjQnklMnxBENIC3bETUDv3ZP97DlDhMSfcbr9rWAIJ540uNugEK2sQ0naBivxHgMA/06n5GRzFPl+lsa/AnDARAfuD2ZY773K6kAkLirIs3vrNJ9yRKhGLOwAVk2iMZfgg/5bDsHARyXPL/ueiYa9C+F0xfF5W5lnj4kJJ/zVOVVnXh2bbe8X9UtpOrKd039VU7ahhtZBwm97rZ4UqSUrsO7maVaE1UrGPAGIyXiuCgWftnF9zjKXXkEm/gOEmWLgkcPHNRHJHAvkExAhJv02yR3DHRZ3ucpyjG/yDvO2OM5Emw4wbrx8qmG+gJdvytTt+m+Yu30g0WD8KNusQF3jDScUhA43tGuWU4anKmzSN2ezlf6RKSCgHfwZxKGr3Ca0Zt/SeKxTNOkz1U6mOefLUQCRIMrfQYObcXZOOre1CvmVx6Mz3KPKKYWwLAx33jnOjV6dV7IH+nYA795r6o099Jr+7eD6Ik6l5YI6vdgixCCZLRUhF859I4SCEq4rN8zMJUcyTLDXnXmPu1payVopbZOK/vF0DRYDNPGo6qjLXR8GnK15C00wynfi5OOQPIw6dsyuBSJFYeitXawCE9680iH/TODu3T53pND1xardp8eFFkCj9dQW8G0MtDr3KfCPA4QOiFQaFbLVydlVXmKh7yu3UnYq0aoQXZkyFCHT8L0KnyPvMMH4mz38ZBT3vy+XTG94PVWXO6iNOltim67AN4poq6mPb8GbiEr21gXfEdQGsJcyEzEua+xcGj/vsedV1GvOnwpKgITI0De4hvCgUcfMs2qfc1LC/mlNF9u1v3O8GOXh8axDr++7QgKl2JWtcQwundMAFMhX9WsxR5vx8H040hz39v4rfriHB48qGPiI6UnbdJV4B2+IAO7vDasOFW1mu3jX0b2hcdjf+ZneZiyPB3Xo/0HHSLAdqnBxrY29IwJiqN1YUckgsHub4vIwQ+LHEfc9cntxC8uBDqcfoA4d/HlXiL3AwoiOGO1pL6S/Lnw1oVgdCaeQQdDTMrQiLybtDwjBny+L5qbSR5ZqF12kspszNZ43yQB39QH3Rj9xanVIVenmnX0jfj/LYioXxkKebn633MDxYbSVQmt9wcizS3L6syyVmRdNXy4PjM9FbedtlR6SY/xCG08cbh8KELEpMe7Ub84CGzJy8gxEsoI8Sm0/UJ9jauDqk0l5UPQFFBgEanLfHkdCGGEE92xQTFgNudcvreMmaWEXbmSzQf7vvfGv4MQx7YqUvdod7hd71UWuaFl6/u8xPlPtvv0XF3CaaipmDnpdxMcDvGVKlJVyMZObfFFIBEApeHJH3ApYPsK/nwwlKeEOFfdz3ojCC38AJmNg1rcb+3zCNIf2kiswvUP3viCXb2eQUBXI+IJEHVWFbed2g5HxjKHTk1HiRJC9Ae42fYHPvG+ph7gLrmzfYvYEradgipv4+8rnPo1TuufbqWPTmWWxrJL0Cc9jaqQucSv+Xx+lrX9cQlT4z+ztJp2J5PTUNoklbCu6SwPI1KSix1qU7k9U18fuvL2k3ZuaMNKhq1dh7hvLKS1C02o2OC33hrNjgtfw+3Y5TXdPdohjUDn8IEN0K4hKaTeDSWdYVLJevJePcehsnrRyA+6sKRirqclXsbZs1P/ifXubIyof2PoWEAobREk7+fUtO97mAsLgQltuxWMZDJ/SlVfZG8ablMSRPX1db7Z7cRgJJZGXv8l3YaCtRNOiwB4RoAVo9B9zWF1OIoc2uzKfzk5W2t9A1p0sdtFdYVCYV+WJxI1fgmc9fnHNCaQ0h20qOu//nUlnEUfEKcAM6MIHHQSXNZ9YKjQo5ILk1OHJ62j9D/caGOzWbMK9a0qhfvBW/zK3RQ9+keNytu9xzKopycPOMKd+w6A9zFCyADkppOvlnjkfX7zVybz7dL2/19DY+xiU0qLHW6zWcr1EvpOteQUwfSn7clJrIen8mjauU0V0cfQtNDMP0d99X6BKHEA6IkoFnnnUMNtnev7JkcCzK/ozd8wD0qeRMPzxbMAnefEQK3ZeOHAIXlEJ4V1uF6O0VaHZ7JAbbBLTdPi4e0szGapJ1wf3op/kzM5JQMuaM9cJnCNQqKzmUvOfD/rFBihB2Hg6IW7KEQjNqYACmeBD3I9kQYDewOMvG9hBPFyfmeQ+aoqPlN0QJ5wmyUBwvVx2i2Ut5n/1TPpICEnSvWtA7chAoTkktT3rOUBIM/va3azVDaY/B6nf04iC6+IIu7j+qxVwPGD3K0Mw1yltTJyMzGeAwn92jmhdSxZCa1JNnR+B2hkXyR1i9xXx9gUzJPE0hPCLGzNLEGjkH4kcQ5ang0ofiqUiAnxF93yQMYN7iArly9Ki1YhDKmIFZre4aiNrcSiSnvmyTEjIfPDhUHILAe/PrAm9n74pDMTJeFCwmOtOT82ft0BKT4hgP1fvlfe4iY0MGZEgPn/wMxFwKQJGhcgrshmS89rXpCKja2jJFUZnvZksep6m8EB8uiXpfTRSbAlx6gMOu0fSr9FJaJ29MeLTJGBXYbu1sXmnjNOodHt+Xny8pT7CmZMrVmPJgzKlNIjGHT1a/k0gc9mRBx2htEMT+agvvl+ocjdXMGYBeE+wP9QftwzznbVfaHxX736nNnfa8UOdeZhcotrpQz245KDk5dBBrljXTkpt4FQsKzqJkd8kR336oOxnwJsXyJs+t4czQUhwT8i8lsDQGcomxwol9BLE67NaBS42qqWb2lLleBAKrMjW3SC9R6ofkgYPop6zx/FBU3P9psszTLsPEPnlSODxbnisfnwB+/ZMxg2SSSRGfZa4Kd3BQRvAXKpVAicTlX42LN9uFrVTi++5F0O/Fr0MOcv4Xw2O5gaT4inQrpUMxso8z4NMkdV1MyQpk/uRJ/N6eHEsbKbyYP98oMSLxjk+C9cJz4QoVGjvknmSQFqDJCdpf+ORjSDOIc5nOfKO8bnik/Cgc5Juq4H4GB61Oyu7j20g9VxaDcGA9NJq850tnh8usIGA09eOMie5M4Lmk0EULJbBGWTpkPrKPB9afCI8yT2Ndxjsfn++G296CcejV9VxPzaKopWytSI4DZDQGvUvGGhuN8mcv5uRO1bDEtgIUkzAd2Z9299E5uDk3vDinPltfw1myiFVEcNmDi6dSKbxR7nnpe1ZFxKTLKUHH6qNphUly/pLih4bRgYv38DR2MVlPqxZGBC3UNMQJovYxHwOyd2LopGVb03wbW5rwyk4NvXm8oV3yFuQ2QpWRf81yoLpjCkUcP8hpWK2JxzfNyZYwL8Jkk0/BuglDs2WvCy8Yma9Lw8akr44eb55+42O+qvfPKDS9h7TvrLWKN/QZ8NRxk1/kcZO8fJTHxY02fHW9UMGaQCkOSzBrVQm7JvgNhNO/FjKxJwsX5aA2DstyhzxmmwtH5X30vObaloeWu0dZs0P4478J1aet9mDKTPb5B5IVheqF+GsRDB+wo/c08UdcbaiEzdzsfbWIqEMaetsr732e1popkElk1mEudmeSMZdgG6M2qXpTwJ0DNYpgG3+ZuUfixU3eFmqK3fFKwyURHmIHL8nfdIvlnOuWRvofmiUi1zDXwCIx/+9rn6C1GpqbqiQfT2k0H83w27Ff52SZevlpWoXoqTPjl/WRpd/b/RiIFC+3WESLVgDUeVdI+QteSlNMTxI+g6mcEj6heS3r2gpxsHozCY4qWlqD4fu34gInUrwPvx9jSAFweZtZDTlCBRQXvgBPXw9K0KEHwADiHxWgPsCVR/jFP2OW/BGpZcDgDk8qpccTmiFV4pPlIcig+zC2TijQ3elYpFaJaHcAobQzZAMXbIPLHw5E5bMWdy1vKf2x1ahsp6HYGvxkut8VMD5gOkOovTO/tG4AyY3NL9Fz40LH/w9SrTeI/05DBIl4ogZtx3cZzXMqbRIywk5EZZeE0/ei95p/OpPX07w8jklOK7en2BOScXbc/2UO4VV3AHRvWJnPOgTwQlVTMCZP9T++a0Oqq7F4tG+KWhIEpUvJwMSOll1i4vbVtT/z4cnOZEGQrjJiyXcfVdJXcKGKETSzf/C7aHmVlUd7BNLK8rayKBuY9UnEtTqqB7FgMsODN0el31PeQa4qo0tMi4bpaYILhZSgSXgtSVDH6iXGbGyYw4KAgJ5ZbodbWJinX9Qx8SFX+koaENqAblPvp6xxEslCQ7fI2jW9Uz5Bp1ml98WG7dm3L+s5LzwpGgYJlMQgr42Mp0sbX2Jz/VrE/0u7bHXn3Gyf+fWovyTCDotlMWZNo2rsqf9Acs319mRugO4hyNp0b8mMFMTQqBLaHHUztLyjgY0tZU3icgMun/AkfDREHSmz2i+hPzUl5bXdrJoavMbhGtwJbl8leiN2An+aAKakeWrDBQLw6mvZwxw3DGqnf2Zo36T5Nn1m/OrOSeVj3cekA/sQbrSzDNGiT06KMqSWWqQBTw1huAxQVdGASu21fWxU79ZI9JaQJIx46BKn1djuVfJrKp3OImO3V19EtbW0rQ4mAn3+ml9wPQN7NHy80NK0/6LGhT2OCaPnj/Cu3lZmd1mWe7WnNrdocE2bZtbaT1dWImElR0glYMTqkdWbKulb2lPVx8eRp/m2y/L3qDG5WmBekX34hiL+cLFz3nDWQpOrD4YP/XQVMkKd9ZDM6UeCI4zT6f2b0GcbCGNdCBx/u6CC3W6aTWbSlreM5RIHQZA2Rk70Y9qhwSlJbImApVMDv/mOjjZPj0tiJSBBZnQV8KVeG5hWktUCpB/blTuHLuEuSusCZhpLoEUBIQRZD/jDN5rdhwoNPwNVRcGsFDmeigtIx74uLzC7nuDLl8auE3y6pay4CbNYD3f4Iz+AD9ay17kPAX09ochvff2t0H+NPKhIsLQq5rhgNeINvwYeegsFV87qGN5zpULxY3FXleuxBUgPaaAcmZbMChaEYIBaSLiMhAbRBi23Foq02i/FEpthdDB7IUVP7S8Q+sUO7px/1cMf0uu5w23O/ZRSM1qRA/54mXqz0cDqhbH9UxO6ZUR/LEJO5dIAOhOKDMRW1j27ygmIp/iAgNB3pI23ce6iUYJV1rcatG383cmO0YPCDrpP2/2//oDTyD3Mu4oFFcWlF5K8t7oXZurgqNNmebdx7lkxdulxYdWCGvpVKwflACXtf9J2HARru24qCEXlCAFTq6AcGfhBF0XN6puOiJhWLt1bzBaExD8ZrOyhlr9fUQ8Z5vLFI6n2ErBpSIKDEm2fNxJkfCnQi3vk9Mh0pwDHNGoV3eWIbOeUiGjF7tgXl+vNBuJQBeu1eLbA+wksqwqcHGbrcsNJD+Eh8J0CF4qXAAEbDRn9T6tMcH20+K3h5Eqj9rlbUZkRsCv6sytFHIApy1PuuFbKmWGNDdX5kA+CW0+Eo/Kj9OzVrxVmg+vb1TVxBHGnyw/0UqzJIn3MS4NEj0+ZyywTtwIbwfK1CzzTAd86sZ5Y8KAcGqgf2kgRK0B/DB+m+cYqZT7rxEe5I/gJtpF+w3ez6NcIP6h5yBLwUruHnKbbkxLI9+Q2H79stpKx1TO1jPaYn8S1J9M3Bybo79V6LFShPBA1Lhkd15/b8+CcR42e9OjlIxm6G2H3h9HAgIE1McxFL2BbgGRIs8moepVE7RI4e7t61FwQgmwN5y1v1Ygr8uQvi6fm2uJ7G4GZtvfmvuOQPre5EdWUcx9sEhKwPsgqRLin2F5emlpJwLYe0sW9jMTUaKqMHIlYcUoskNTMPeYHA7R+a3QKv516a/tgEUzDTNvFuZ6cQJdJIZdX5B+PNIk50mHNywRV853S2y4uM9jelGV9QQD0+PRg7LdlJ5zPL4gahn5dDPI7TEnClHDntB46owdD7RahV58GS+jEPkgMlifSlADQYOxXndBEwlHqsnoOBa9nWH83b3EuH/YdX+NzCx5bkTuSbikSVDOHc3pAPNJ7L7K80NBKd3xTuM3u9sVRi9hzndIWRsk5IHRHHTKhI8Je+FPJUqM3pnBrQ01w3Hz5QQ7+8Bwj6/yBE3CC65XHXaoE9U0uRMQmmWe8MnFrhHhMTyoM7BcAH1a011mcYUs8bSTF4W2JJoBZnZqCSlobPEbwewWcs2Xe207rIQfpsHWN36JRYpZv3nxsKFSCnQTXutc04cqnjrP6xf48WTfmk52P8wtfYFA2jDLYSt/whxlJE4MJcVVtJ17to5nlRUdEDB8tMAeG0GhBOAGvopJRTklgFs/vymRiS/CpaH9VLfPHf1DM+ddtt+62Cxj7ZXoxKqpn4J7ImiC6mDvdgkacDxX067AsL0jSIEUjBeCdJKMDFqISwc38aQOmiLTPkbVXIMopnJF80rzjxkQqbHz4wH1Wc9UAvoVCv1uz1cOlxL3+PM/z2DmTN8WfA0nBOst+ueDziIsYJg8kGZYqai41wSgcwzTKyWmC/Hbxwrss32nV5VyruKyRO5Zf05BJVj0AtvkdOJfcwvTFp6mWSkwU8TgvZb2iJWzfVAMIC7qXavO3Mvscn5qrdidCnNIYqXAH7//k3Gru6i8EudLHacjnL7hUvuEkoTg0yvP6VEyXmqraMfVljZb6ghZJWz9poloZHgoc+XqLGrOeumQu5SwPJVYge/MOV5ZCePvKeNrVvXOnMHUYggAINmqoAEiOK6lgHXoFCulfwJEJwrazkfEy5iIe1mwoSWLK1mKU1ozVkH9+9kmKKZzuSNrjLO1t4aSHGrmzea9tXxjNyOQiwksmFv/cveICp38Izk0TVstTOwRfG3+IM/XCMRdkHE8dDAeqpA3prRhipWZT4w+cNsLUjeapWSxELNkx03/JEVKbwbF3ZPnlddzgayv9eXUv1Xom+sSge0Oij1LbVPXge68Fi8uRhl8fv1Ma95DYg5aLZqdkvtweibxeE8+AX8Vr/uLnrf+eT902iXyDP1aTl3fjeIwE8eabgm+UbvHobjcLm1X+1CIjVfLnGcsvdSrR5G+45PLZG8Y0LrZpHOQIqX4It37lKoAEwrCISlxArbCOgfIsPDSN/CxmobRS+IcJu/EN/sqy014648e9jCt5jhSHmDlLLKehlM+m30h9qdE016xdsjQxenp9pUUflptNh5jgRjw/pPCZgSH6WHTmRruM0kbVXKPbA81KTvR2tpLBiDtOJPlLIZmHjLyfZy1GhTRrCxn09b1falMXJeszWpHyCOnH9Vh/DFqpfy8cfAfRk/veaSlTKmXNLUkgrD7qHXOYLEgirKwUQirOUExrfYvfa9zRzaHPmsnLkpnVotc8sGy/tRiw2qQMMAlYaQPOxpg69BHVJfEXszz2k3iRZhF8GGjvxaDvUCYJf1b38W9KDKgFVHLlD+i8jH48qjkAVJgvFhGNTTVDVRlInw7rc3Wg4zMQonJ/HIMy6fzKXB9nwfEMlhqTZs0JWFKl5B5NubMnOLb1m1k7Cp/45P5B3Gls/M+Pw4VjobUoibMwfMK3RNy8OH6bIshV9S57zuGCM7frBm3ptvJXjAofiTUwSkSvDiMl6N059MBoP/zwzqlr+c9OMo1an0CtJFANr/XIJTTtQ6WRRTnHeQc3qrLlbcIV0uBpynvsCibuo/HzSPIZLZIu1G3KYqkSvOsm+RtGzSqFMY+3V6+9Q/dkw71H1bTAFWmsg72WrkLHXXE+Dc5OZA1RnIdfqC7ySgT16sPtQsaGfXb+r1Mmd6r37rz/iMCSKIe0OAJzu8i7zewPsZKKOqWvzxFiVyYGH4zamjh1M9I1S8SmjathyOZ5F7ESQIZ3wYSiIEcoYWUmb/eus6myDWqhMcdyQqMIgPh3p9ydEPnLYpaYst8yGKKfdtR+jBjtvtEqzbXAknBrUonvc6CMF9tFQ8fTz3rE/vDBtuuY53/kQNjKlbJkd/FMzyMQsBeAv6UNQ7k5qeH3ic58HxhMouUPj6eybtIMkRRf8i+mGTl9yH2smAmLgDr0RUJQ0PUeGzlNCq7D7PWQtLU9IHB2tzQrpHyAF3A52oW5yJ2WPKFbKYzz9g9mfenRyyZueelHrBkeTASHgpruZuKwAsXkFKpNSyV8amZz0CrddBD7DmKNXy9iR95IB5v9KicLBJPqZ9e3LFaAEv2t8EVGqfb5VD93Za0+CsqVdIZnQzBk6TIlmD00MYm79SQgvFA+a7mh35BlAhA9V41pP2sdbVkoes5EVa36F/QqbW9Mo96qaB4rn3LbUJL/j/Rs/vB8tAIzXYA/RVQAF9ovA4hv1UVZNXw9cP0NW3bxVaAkTbU379lLn8S7lwinh8KXlOVcaOqNeKoQZFDztgN4CdjwlQmJVMkeSZstHHIrcRzPFg8h00g/h7Gmld4RAjVeXw65oIXrDhAJuAtxEZyUWuyBvTVwAsibBUrQBqFk0sDFNuBJkq8VgoL4fnsfrw4b4GcCJKsnSwdN2noXmTsIcw/eMXlfzBejwpFIyDGE4iLaBzTpiKmqCR8HEdeXUfGN12Fig6PHCni8/qGkloTwkAsjsGw09hZB8pN2L4FlWpX/VjXWtTtiwNRh7b+cvegNzSbYHEKkXcaye/HTmCFegPBEZaUbj/TDIz9XQzLLZux2trxxudX+oYcoa+oBEuo6aGntNWBoYtJHL0buFtiftn2C+6mh7wp/6yS9Mjxjnvt5h8N0U7te77/q7cjVBw4OvD5Dwpcs22CNCphbh8RNlHHBzamqBbXSUiUpfFnK/ABdO4DjUKYj3n4uFdPGLk64GycB/VIJxCIH20QBvKIIJGwZEjMQ7wZ1CG9OPknhR6X998BSJj9cjye7VS75j4egYh/32WQWuBmuxU+9M1Q7DoDG738OM58QhkOudFuTUvnf+r39cgLSw10yLjpj2tqvBA6pKayqX4g3EkFcLrvOB5Pvj9bbxb866YOpCOOE9NLxqW8s7Y1p8a7LSivyKFjRfnWZOOa5PTnZvdiL4eIQcKFft2Vgmt2SWAjIvhrTDDsC4i6dQhwrNPV195GxNnC+eCA5BcY7ri6p9jNJ+BE89QhnoKGQG++1+t3vS4D1Ed6kTs49dQzgmF96EsUqtfN5UGaxbwAYhDAgUCGSqqclnFC6TiiYTKxbLY/o+ib9l6LdEp5EtUL9ircBIsTzzUL57Bg05ead9EsXh7G6wUNhgCd/RimXA72S52cy8MHfOdWQaCN2Xz4RDGw2UbZ2bhcWOCa8TP7p3uQp3fJJi93haUfS8/c1N+CVU5fAJbFOxcPfH39+mXknbRkk+ZxtDmJRo8+iSgy2xO2gAAmP7HwcRC+t3IfaNf/IkCKCv0cPuzxr4EiwXHB0H6nqovC/6IF92bdMdQudijwysIyftzdDGVcokE0s7ijcBDEwnrUDHsNAdS6auCfo8hC7KbjgRWNweFw7qLq5TRHWKYHM11ryUy5xlwudLMv4KRiKYIbS2JDXJtHu2BU/K8MOwuYXRV8WaJDAZ4EAMPZk178accN3n3Tb0uvqgWFs/vwA2V2cchZ8xs9KGBxIbqPCoCA79EyzLO9RRMoTdoabEGJT7BZWxWqm8tVtBI5Tj0JB9+YvoYyDj0LOm0YKVD0GvteadRmGBb0G4Eef+zEiSug9BPd/cLqlsj4kEbIQMwXJl9yQGvgVawc2oD9et8isBU6Pb6CQ9PBKbUcZcKcyRnPFBpm2/oKp5a0be8LpTiUMRz2xNTJBRrVSQ7WfB6cz3KF1SSyV/HZIBGMDzQ3uGhUIpgfhtvOVO9Ky/w5UAovEhVKbsMSZ7u9uNEmFuMZE3n+w1R3mFaJA/6tc2ahmyVivgXvB8AVe2LvM/mXZUlzZ8cI3LrMk8PgkzEzNLs373LAv0XITm5Xn8MmHoP7A4oVF+XVeP4avKe/TVu5a/p0Vp6WYUtog5OLtywWddo4fWxjqkI5LGs9SnnIzs9gQp/IPf98vEg3unUBuFsuFdgU6SW1C4oHX9KcVLllAGTu8RUy6eUhQP+9a7x4JSTy7iO+OkabezQ4O+DYz/KBm+/KUSITXEHRinHWacHcf2eksBmYPXJFCwpG4+WmrxHkHKZoumwoFDoPM2g82IZzFESoKA50v6ayo5R3DR5+AXD4fXM1CRuRjV6Zu2jzdPaO+IjwvJBpnl6wV74JDgH245xTp5gPBB5673T+BssR4gqDVcPA2HG8rKsSvICu8P+20fl3N5MbhJxWZNbUfGVfw9mWLFS8nksExBgIN1YExGmwO3Okz3GiALLTEz5Vo9hN1lbjaw4ZegsHQl5pRj6Hc+7jpcWVQv5BBHQ9IBPu1mig9jbOT+bSepvJc61/ZFjnUl2pRl9Glr8sYz+AsR3JfgBRX8ND1ARDUxzt/TRDAAtAYk44dbmHf3OgJSnn4bZ7dRzwRo6hUkZdyK5hIVIgE8aIF6ibk/MWzy4edtB9YtMVWsrzPbQeqMzJ/cuaaKwzKR4wpXk7c3T8wgurKTg5xaGnNh1wLQBBiBbX8WsoT/t5FnYGgZANI5U6CW2gwJUOynXZOJXeRo8SYxBmLA+pVhYFuS+F/785OaAYUcweu2zh8bZpHyNagMUKJ+Z4IdGOCGidKLOQSSisNytqFJ7usaopbLfLAOcTIdJSP9C9u7Zw1oeJDElUAyDc90yoUXGncdsbjBJ61vwAfMvU2ZjN0MuRt97TvQF10q+0Xjy83+F2LOAqtR5DBUqiHs9JXZnR6l/JIrlL1d4EVrNtruCbAWC6A++CKZYRsFOO0JhjNlSusCyedNTuz4UccGuW7qJS3/7XCeI2NbcCQb8PVjy6ftAC9HIxjaVJkfI0YOTT6yxkuY6lKzXI3Ix5oav9Mrz5RZghZ8MaQ9ZXXXvj9LjlqFBKj/lRQpsKwOlX0Fbmk9quX9JM753BZboH/fVxQFDyDR9SL5KensKG4XL5uh+1Eg01cshRh7NtHVq6WS0r86joif83hD3Bc7XcVVhHi1u3ZNkwviSZUkm5BqlRdg0dbBW2gh3isH1FOgozZXU515899mPz417MWjVVWQfp+dWZavkmrmTv/PMTtEUmSMR/BbQV9Aj28Rw4xufkeYxirtU0GmvaNR6dJMyW1MJT5uy2ioBGGrPgjJTCAs+U+YclKaUTwwwiKGkZ7sSfZ+/cdwlwj4/t5sMOpwnubKuJ/HejtmmqGr1fPQ7FEtSJYV6Hk/Z0pigDZ0fqxZqihI/xKLMXN8a9A8OWLopInr89noiAULALtNbYyAe6TRr35Nl4aHynGgNh9OysyHVeLU+nJNaWuGlMhYk+LZQOll5NYBtcUHxL4zS5yTw5ORjeLj7nN0z387oVThzWTL51SQ55SMWFzg51Lk9LwL/4YO6OezP72R5Qa0Z3VV4Zdcjuh/XY3J9WoYNj2n0no9OjGAKO5iXPzWaYfLIBOvbxoMxW4lXjrCo5UL7utRsVdZQ4F+XQgc9I8kAz90Thi8w+LzrlqE58tBXWAfUDme2gMnLQ729XtKgyfYtv6etkaP3b9bCx1r3FLw+VOKBMVbaoT9+zB+mrMhAsS6M6YNziALuCTb72UP5jsh6ZDGCwRtfHcEsMZuA/vkgB/Y18tkY8UAWTlZtbm38PYdiui3RqYqL+buNoN/7Wjbe1gmSvp+VJMfv/2pk6fH/wFPMfwgm1kF562JejEl1Jn1B4zNS7dmGbvSnl9AZpf6HZM710CmajFOHFoApr+ykgHtfrboWfCGo4wTwaouPtx70PvsW1PqpK2R7idRrXLx73gUYO/5TEh5jpnin5imE/iXNWAgBI86efaoxSZAqqlD6XCrg7sjDYoqtI/TqA/CHHvc1BvsBaJjh0/dqE/ks7/ddYWqp36fJzZsYZwgFwTQxDSwpDegDF8vdDP5Hb3YQ25LaqjwOu8gTJB1KQLIoj8uSLBj4w8h1SfGrzlXQvV4DqaFMgivDW6hG6SY8CdYKPHthHDX8AweBUj51zuNu3FBETPuWIkIHMgU2SXtjOu7OklPZ4Bt3oPe4L2W4I+HeAJMuGEcTB8bJY6RpnL0fGCMMsq0tk7r3mOxPelexcA6sa047IwcO/mr7mQyOOnRkfiZyf1lNdprb0Bn9lPWAX5nQ7XiIAfLX/FFv5vGmqHEHAMDmrU0x+GrTmsiO3LbG/w/TCqHdrHUlctSA7gtoTQLn2QhYELq5N8m/7tLGhKRxLWegueiTy9m4+NmEbKfF3ytRFwk39La1b5bAJ0UL1RsPq3kFKW4rSeAwjfOLxMYE1Gzz983eJKi7KN4iSW4POEQucflh4Eepat2Dg24t3yLKHbvEsX9Q5GmNNHxquDzcWv01VoGaxfI5ry9/HO0rkT8cSmdIuCZItXDQuBcPdXiUQBQOv/NPKN9/zJcco3GB8vw2O1+kS1G7bzsbvVv11a2drQvk1E8S/DchUCLtUi7PLbwE2NWTDQ+RID2oyoyjqxjgqZrxtTwgkZxKW0tywkQmEOjvb6yH/ojnHmPbSt2EREJN4Jw9Mp7GbyDSKwRbau3E60fZ6/WmSzaPzvV9eWbIZ4cr717XnQBwC8StdzB8bYKjyceUhhSYBAydidjhs7a5X6YT5mtkilbcPrGFRJ3SnJ8YTxiugYorlgaR92EJUGJeDNrTxJOYZztEQ+R2MU+giSiFNeD6KpF4dVqnbnXTks4o1BydRDn/asH/w4Mv2oc+u8kXu4H+T4DVZdTfXm3DCAC+gyi4rpDxgwVuYswu2c8HDDz+M7rvJLM+3twfyRBQpf9rTXcUM9lGK8uareZSYsaH8kNtKcnOiPfdUxOxjECytzTbMDKGfR82nt/YZQJ30fy0kCYxrPigWIeHlGef2oEP/j8qcIzXSSxBFNCUoZzIbo34E4Txp507tZIoYlSFJbW9DlDDsItWocPeRslHWi21yKctneerGKxi9pr4ylZq6uLzEPLYuz+Jzzv/xLpH1524gMFwDKqZxB5Jq5w0aWXdjHlGeK5LcwKlavl8cHLOpAASlXzoLoWyaT6an9u0mBBtg77VgardL88bht4ZnyI4+WScX9tiGAZB7mqYiEaCoO0JfA/zMs6cK2sDTobsOZHwPS3dnL0TqLuDTq8MM3jYtWgYrnME10teXZ1QTaDD3TmOAUEJynAJLh9qTHJ47jAF9pYDLNLJEMEAPinwW1MBazLpg5yOFGMj0Z8kwgf42S20FkOYXr4EdnDYiZ9JX6CZFMfka3Yetmgl+OQPIMqtalWn8NsTk0rNUbUDlR0J/0tYtB6TX40hrPCKsnkm7hxhranU7XnzcAZRQ2nBWvjR7yQz6w40OlkWJNL9561AH2MixzKk9+PWWntWsawjNWZe/TtteIIoXRZQ7h0AeOWf16fSq5F6Ozupc3M80CpoNPVsEAga+LdOe0FGC62TmovBx/byGwNbo4rQKFbRVjWxHxdtdEUhkgZxrekst2WnqJ6BQGj1QnNg/ZN6yVlyobZEm0UQl5Jx5EyI/hnFOyeHGFZD6IBMW+X7rkt8j6ehFZY8WUBxmqitET7UgLmBnyU5WCuJb4a++3hna04vl2bgDKvkKZhCY2GZUoOlKQNyKpzi8SgUI3jo8BC7IKykPUPog3zmptYW6LAYw5aPvZH0MlWjHEV8gM3MO5o7EYjZxtkkFt8Wn1CdndqGSH/sMZ458TGtakC0IuZAF/mETT1roT4LM+qJRboDEX87Q2ORaLw1Z1ZyUhw7gNpnMf7OLqBELnGBH1S6jIwK786PrQf6Fu9I/j7wDn4aPSqe5r0wv3FGos35bz0jKEtofPdydz4j/xQim+ZO5fX+2Y698LzNZfY1sywYGRzIwvziqvZuK/H9duHya+UNeyl4pJFUKqioqklBQj6VCHYLGu7IJMKVsgRsVwkTB4sTNUuoSa00dSxIMwOHZzOycCTsY7AjSA047M6JM8MIp4JHD0KDoNA8NZwnZv5Npl0d4OCtjwVjvv3YntJlLOAXKhXgpOHFu1fTpZSGsomLVjR8LKKrDgAahEOCOyh6EDZrlGfYLfhiruL/yLkxmGJTtAXkb0l/ebFY9RMrqb7ge1PL9/mAQT0i85geEociSoQT/9QDJn6/M+eRYdMGcwaItjf2qDwS7+kjmvfEPk331QjGSO0CGZurDHVOLPEraGxUG0qu+qyYnBLwYnWMNEkEd/5jrQLFHvTR7+vuCdx0ZtMinaP45lDn1dGGTafzFHVeldkEnpCPQuY3qv+/EoLdrSdXOM5zPgroRfankSdZeHVcrkH+0BP8AI6fIfgSaMpBU7g9RP9M5mcHjXIsUqktY4cD9dxCo1mZm41rqj7KIGnV0m0HHp+8oC71Yy5PypLa/b70XPtxkoJIrSVI1fLSDqiTod/TMnzZJ2Fq27jeuP+rSxIxYQFdzyBjHzq29CDgotcd9l/jFI0f45EeXNxt/XcpkzWg0sFOS4dDb0q4x2ubUb79Hg4Cd2HzywTSVv7AWcZSlkzga15MDnefTI1gotIPQ+7UVIJzaVqCUxWW6sgtuB3WnylDG2BVAckGfuWEOt7FpU75eYRYqnun+eyowrIiTQIf6HWzvoRsCYC5I5Z16L6YunVbRlnk2nXYohOAUSGMMOgWxgjN1gao5nxsgGVOnoksbPPEym3smLt+vM3d10NbEUMZTny0iKViRnZ8Xvat43J40BuPqEE1Iw5B7mKz37vNLUu/+QVc6IkuMSnl2ANPYE3ygO9GcGcjLn54R1LnB2LJ+Zsn25/eDKKO9spHyKS1r6Y4mU8CXXEqPiacGqrEU2HSfLOtIwO4A0TaYlHnV76FlJe+HRt6bFOCLvDOzT9Yb6XVMq+on/HVHsb/SXHrbGF0T4wNi2vS37q1NfFYP0V+bYP1Q6eXzpB3cD4XxXfnY6Q/CAyPgEaNOj8NgmtBuh0sAqa8JZGCtatDxBcMhohWZEIHgA/X3JDiNhJeRL6Anvk2tCBObXwgR08r2sdel7oxmtx6oszPoAvYrI+fnDlYfM+bmmCqYdJ2yHDsGFbfiAUKWeX4vqzS6tnBRswOym2rf3SLBq2brSUERBm2QZqR5Dhuzwi3Xbq0vWXn7XdbgvGGVF/aW2SoR1ViIe/yII0yaWP30A3QyOY1wRujtU2TE20W4lWOoEu9tgI3wPRpc6uEvtpczwd1VlHJr7APvn3dDubPGO2DU/EFhHI6V2jyM8GJ/rVRsmOe47m2bA7kM7HRLCTQ6X+da1CargjdcVIMrdVwJI3nRRMZdo4WfwZMRGLSaxlbTKrF+7GsIIRfdFnjOLHVwiJE0ERCSNTabCknDrY9jQTAKcaSOYfsQWMafubDINjCX3u5QX6IxjaTe7y4rpTv0yE8ogIl9OowYoKSk3bgyN/bQhEQhhtNt//C7MqEBy3zLPayRrYbgTf/KWxaeKstVoueKNmnn6SEVvNjWJB3QyWfryo2zqHzfDzMLSluHuKbjKtLp4MKFPYjBjXPLiRPIiWG7PFqJf6TYBVjjsLYKDZ8jw/PfyPHi65Kv9CwipafQ0HPP9TJJf3E2oRJjYbqzpjfZoW6Mp5MFEwqA0kg3M//N1+sQXHvfBoRvPX2Td50iMNm9MyfP6GlrAZtOi4im7kKwTh4AT3I3G6b615oyEtbrJ1efl4wQu34lS2uE8glELcnZJB2Wn1T+gVsQOSqwVS3aRi0COlWT+cUqUmgn2oPCtu2eJmw86pFECs0H9BiA4+J2oFKrjJqZYaKW9zRk0ovLEYwMnmm69oA/wSKWbvhHlNe8AlfNKTMV4NPFW/p4ZvW8Vh2lko1FnH4IVrizS35wBMbBZXQsJmXGBzkoOE3eOUlyf3KoiIKjkzX81fBGtrgVaCX//fdQLEmwxZUCk2Ox43or48ocQImT2GoMtvbaRigTuziNF4lIyy4m8co8ST6+QVL0Ek6nSpmg4P29AYLlSY/ttlBsAc9OThWHxxJWEz9GprPmg4/iaQMpsLThtGhHLgrMbqrt9cuHeOOe3Vk2dMY+1ZZxpuiL1ufSwS9WGxS+Oy+BqtWPS+Ny/D5SQNhNpfn16NRQoVyhZAzVDEi719oM4DfnBSQozeJBYpbd7C6B53DitggGpQ4y2/wwTxeh0a6jPnV//hinHqiEK1fUUpydApKY2H/qPLFQ2C5YicGy7igrgB4YGH4+tVycNW6+mZbqrqSzYZPge9q0PLGQXHw8cCRAxLSt/k48+6FZ9rQtgPEf+VFxaK1EyDxTpvsOU6QVlche+IY1T8oj+AobIhuf0FtlsGGUUQJSGJjMEQQKBny1qQk4Z2i1gC1ek9GoLV2I+b+/jmeTZs/gc8qxpmxIS/NL/TFEOFx/bJKPLcmM9lnbN/6Gy8hlxzxGQSPUDMm2z1j37HB6Td51J3PNMP+VfwZhsOc8ZeiHCy2XREExuqT2192YXewsPGYJtUwgBeQ+lMwc5nLBQuAXE0bX1C2y8NYMmRMLJyFo0wmoFsqbfeYAdQuZOvBmZYoMCcomIKSTqt4N0xcSu15jwTWH6AV3+sXiCjE2iFEr3jokJSn27HuHHIqcigoZT/zQU48gVVihzvcp3mfZ8wowHKx4G/sWKzLfKVNF1KnYgTsQs+x2fyScmLPyv4W8rG7yrl58Ni0PgpylE2lAORIul2lPsI2Yd6fIXBoApYb9BBmC3AaNCJL+a4x6pBbsAaNyaO89BtsPfgmGmv0ToBUYMimAiFnZGoLdTfKB/9heo80Nyo06TGjS/ad/yLSMXn4T9Ouxg3+LY2XWIt0xKROsjmBAuyz+J9GGTYZP0rc0Et5uVf3Rhourot6kxKJF42U2Q4JzeurwAH5wYM25Md8vG5F+BPa+cVh6wULHa5ml4Tsi3JwgxWqznXfxz2XMU64yWD8z5etSb4bSqW+1dXIuAGMRB+TMGqae4JFraOnA7RMVS2kSMQ0oVMqQBkTMHF1I6IWrZMEDrv19HFdde+EvIyWssKtb2o0cgevHLn3gH6/Pn020HT2lGgPjSlgY8wzEWf/2l/x6W6uDZ1UUXWVk5rXJMDmGo1UrAsvsn7iEtYou51jYFeQVDYjEvIMrvho0b74WF9uBgb6SstgdYhMfB39B2DJTJtvU8ASuvAOVA3v4lhw7V2CaOCdzgLasp7MqQ+zdXQWpiMbnXUPsBXWrNPhoJzHw+FZ/Ohw75/y+FfufNS6xCjLJJroHs1XNLkVnhYLw1i0nQcT7t0nXVwiWWS/FTgWQ33NYDyA8Ma6Di8hLaZLXj4dyplRqFJNbl0nu++mWTUCFlbUGb5fJw3Bczf2fSTIDqCr+rq8tv7ac6ZWw2GezRl/LzEKGdBP186yGvwv+5jrUgnJu599DiLHXKcVxyL2qKlj3Luu1Thhe7k6mj5dpU2SQPduNcIPvmqyPuMMUIAwkEKs+YYURO7IiQvh/lDivXx25V4udo7xh/Xx4Dxm+ZDtMfWntx2KsdWXNpp0+1DtlAbRRyGqsqcs1oWX0h8wM4cBP9vF+qoDMyaTHvKT32e1ea9+1YcS+yXIdI91a0y1rDAnCqJD78tuKyDMvu0Q9vlTJd0ZaVlkcKC3IwuZcHh28H4FErF4TzeW+cU4jskpNBtc2pv50EXhJA6wWp+JUovD5vLu5GwOV+6AKG5YvX0Cz6TjnDeEry1FT59xDh2aIHKxVB/T+cdpWwa06ajb9sK2zYVSm1EjU66ALKzrxr0M03peOCHJjgTiUJZp3g3TIrgnyRM5/29+6r4eiP5zTc3V7keTOmh3qr0vYWGdGEubpiuhBkWAptksxzXm4shfVIoNOQIJQQlRqLqYs/qECZf1tK2tMj35fg8ajelgo6vncHQI9RO+Wg+v2VOmlhJo8MT82KEGmALomRTQcGGez1k5kECB1bPOhiMPTn5k1eSgqrQyI8XZCgyDuQT0cHY483n433fPLQ0/It4dMUjYRMKB3lTX2q/fsgai4RbyF0brDOyzT60z0r+FcVs1g/mmrQXFcEkFZgL/g3q8AGYKehQlfv9MQtIfG8M1bzQacTTvb1Wu5bECTYaULCDziGj6foi9xCp6S7Co3Bjv5MvuQUUFaX+n/EpwBLQhdstpvrYO7NmHlJIXBT1EGt3e6UXNhY/Y40mDlJ7zN5EsXgQ2tOZwxzaFEf2Dcfghh12D2gLDEhfWMM02OpElDvhQYu+4J1vchfu/2Yx79Dug8DvchYvW3th7vwp6My5kOVXHoynaGBze2E1alJRYfOFltn++1DBTtHVsAL/IXKWVX3S6ItZFODDMedQAcc9NLi/jjUGPJSVk/ZWfviRcofoDOW1MbSf0uUIfkn3JX4yrqPMMetOuaNYPAvpYt6CS2EMzRSpBiS7CzvGDh+LwX1fCQERKcxplH5j+GvvPzazra5yvtKT8BXi9cCjpSpouOeT8d5msxoB7e8nj+EF5ibaMFDsCqDh9xba3qdTxPJZSK3E/tySxomYMxRyjPCJszsljgbLMA9oK8Zlcdbh1sEV/97COR8mnejh3BN819ML+9WpxFeSiRDxCoaspmEbfpAvKU0DsvCFuoBjO0mQ5vMYRcfXHJG1L3ZMovcKT5397dMTd4ujTQoyFlEo7BgU8vlLxaZ2o/RdRMX3tq9d7Maf6j1XPuHUtelkmQI6exH73+TZnmbvL7z7nm49PcqwIM5f+G7jrJuKqfA3V7B+N3FUC7rWpDJ6S944I+3fVFvSL3xteegHV9nDT1CQZ4YrfCnAZ/i8k0iGIENe7SGwP7jOE8D0ijId1svbZnLgdx35cBjtxlqsHPqk5+d32THssakq0V2PWrtpv/5ArAxJOvEfsbE4rH0vI4EuBHGQmF982wduPkhvHbWUst02U4V1bC3lEAiVBbAcwvZViOzi/Pp1coCyKTSKT/6q7oYCBwy621J9b5x/6TudH+W4UG06yItXMSpTomMXTSRlL7UlXCf9GmIiHvjWlX6Q6+ks+IvMgYXyhdMI6WDMlOmujpGu6qYeYSa/8HYNgxX/GAO+ZLvspUWehhymes62MyXTRHCFqfcUxjiiP+FrFwsbAhxLn7UgxtniFSKSU7sLB6RZfPbKt+csgdpbztP4JItGSCl1BBF6YPXaxnPumYyd0eSfA64cl1NmpIuqfTXsTgTaJg2lQb5Ww3Q3deXOW0Xv6RBtxIrxZbJmCQzgJpE2AFZh3rxry7kBF39NWXnPD4wrQGPUtVaH7dOLa2o4lkD+VKAS+LjUUNTrjBP0WdJFGMM1Hsu9UfHxwvdqHzTYU8DeO+UpRsDBbc44DkxsfwKf9vuDqHxNiJR+S8x9clSpM0EGBSDITXX57JKavTwpxTsXbDgVOD8IDPge9FNYm+c9rd6P8KHLzCDC1P8Lt1APBWoKI7zya1GAFORKHGzAV4vDflV2g4AOOSYWQRkcoan34ZzUU+qer9UtFSPjlektv7jI5GIE+ppFv5YY0hNjWhT+Y++B/e4ICLuyp92qUR7FHkA1dUu7FkYVW/tci/tuC0TXa2x7XKaQ2q+mLaU9zvYsLZdFy+Fz4HcKkOdmJxycWl1tzevcpAV+tiekhvUZaWHxN184FqAAA6A6gjuhqRl+xAhcJqHv7i4N6NqOgPMr0Uggu+fHOBC+EedM8s1tAfIMq1UtMrdAieye87evWoylVDoeUUYndp6EmmYKGW9lgovt326++Dp40TzkIiUVpkpxfPQ+X7DkIzuweLOjuFGlGk1+qpCmCI0vW+vY709g2c86aUnz65rtIZT5iDz5sezhwKzqsiyNAwm4gzln+znZZz8VFPsRR7v7OP6t6AHukwquW9RXOYeoJL8aVa7JG00EJgIgTGNMGMVLAGGDa0/di2+74iGku3E07agnmFeacYum7CrG2kpNQhNG6D6RIZSpED3nIRzdISj3tYw5bFGcHlc+DAJ7dKEVli+cTj01m8ERppJVSvRU9SozhWQp6EjdZSnWE96o5rSOE15L6zI8vT8RZbBaEo39y+R22xVcbaxefDJuCnc2M4BOCsa0EcVksjPSy3F92YGoMzXEMhWackjAiHVoXV4udqB4Aj0oJAqSHcuL78nhDNWHUkCWK+ScYPUktH7zRRGyahN+RUfPkgB4HPfq4Y4feqBh97Y9vGcH7PGgJNH0EbxRSgSIoaAfIk9zNDrXiW2/RCBaIsVr6CdXpFmFZO8eEV2og3myWJdvC3XfhLizIH609m7MGxLJlUoB9iVGVzCwXfwRhrCGQ27vXR13bYgolNt7Y0KBbNhP5Pe6IdMQQqAcd8gfxHg3/n/SN9MMDpNh3HFVMrwyiXGrU8hlGFYvysh3Pp+be8Pnnu1kDOsJ+A5qML+uukqifXasevnbVZzl1LM6Bya9WkFysnjfr+bczXnVhc7RwT0fYPh2ZduBKyMXP1cOr+AiMIJ68B8zSJxkR1KdhaNOXgBrscg+tz7V408n6Z7DANx60xmqGR40hGn7PeJ3ifOtzTBFnLMNLkGCbky3Acjgh5sWQgjwEbvrUXTeEsve/Bm2LU5w55jI/t5iRwUMA/wceGFZllXm7a5X5YKHj0z00fQ/NNTiFjcAzhjv8pTObi/VYyliwXQ7JNoaz/oo3Sf+VgoBYNlkqoRJUuijLOOtAEfFoyXYS3pyY0jrYvxTfQiN8+TQv82+sWZr+wLORaOC6SJsypDJb0ahMPAguPBU/544D0PuOcDsU+Ck1P3pJoA2drQw5a4m+eqkHlVKMdkd80VgBJvZZw1/56J3ekFnOBchBFY5LW7PzQbQGvS1wtLELyRPPO3Tc72WFKe/fTl4IffN3cfBl8kX/OZmlrzCYvPRKBVZbNJE86Qe48u9ekB0gBFKoFPcU+kkDdPVVtFyyF1F/wtO8t3k2iLem9F1uKqHdAH8YLj0EZw//fa9EF5lmtVk6/YGVgAIhnTWvcBdN585a/dloiVcdtttUxB80LXpYsTzzZF0xKP3qD6XMhZBtonoTc6tH06Lov92w/nKXywEgaIgZ109OAXOa+aEtplS0HMijvCoMTDG4AKziFBtFppD8OhbZBaWI8cDKhIOPCfOQSODdY40oF/aU1Xw6K6rn5e4e/FdFqo+JLdyo84iWnXlQqZuTvYdi+eLD1t+Xx2KUszHO4gYmw2oRfiXvbCOoMg0sdN37+XoVF2ZCNPjophnTNCTtYX2+rW7EghGzQY3e4OKVnwQ6IUHRh+d+/CivlCiLXhnkp4yDWlahW0ovlVHV6/y8a+0IR9O4kUcp3FzuqoGcXph/xMuyWiYUZ3/WU5qHJhziSPZkbdLebeUGimCtjWo5nz28yepZmDnqOTMB0RLmdxpZ4FHZ59Wz6FHoScOkz2KmGX/7/oUSa0usSg08RU5WjDzUkB61OfR+ihVJIdN/7DL8aApjVuC0LMohsR5TMPICvNVGLfGrrV/60P1NtDYSkHcbtFwlxEK7JwMSZgibtZjlzXLCbe3ppURxkT/qvTFyP7gxLraIqcditTe9ErTbbxVorJ/iFJy7arcW/76MFcdV7gJChHIQFM8NTP1vZdr4p/iwE49PZhwcY6yyp6Pd41gPqFlerNIILvyvrlgkpqPAnB40EGmNyY8Pfte9cX4HUli3v1n733qe++mwv7n9KH2gL+lb8bQJYnszAMCBtryVX27rjdiXBYQDe86QX8WmWG7w7ttWAu5RJIve5zla/G9BVbJUcQ6rz2u49h1ST6i9HGBnzyIctDwrsGszJbcllqarmdE/n7HR27D+MIfjV0tlzHMxFAYWUR0gImbU+0n9k2OUSmBGlfzaiMykfSnE6nsy39y48p8XJUk8YNqYIrWqXnRrf+9ztbG9cmBCzdKWATJwtlyqnz/7w6DSpbM6fVmo9e5Wm/iO31UMcwzIbFDOtmCz4CYW/zp2qCBc3vTnHYeUhtEcf7nYqVfySvcApfwQ00r85jgnd3XaeXTFfoWRGktzkLpcQOlZII7s7zdL0jLEYkrzJvFb2MN7899OoXZDxVPVwr1g6+CzMJbQjAJhYImgh9/kIbxjrwp3+M3vipXAK4rr9P4A7Qj+YMTo0WMJ8s0d1Bn2aF6lNnIQDYj/wjXfSkoqQKbMkggxaHgD/2V482vTu5IzV3omilb8lz8T14RGUhZX6pz80Ip0+a/hCfv1DTxv50BszCowJ7f9A189i+EhZvj00/bA+O8yv/wbzSDlaa2qAtdUV4NR7J+yMXXZrzlGTdxEJEihKVo2U9Pw++SA5LFpE/rOBVFP3qzCYh3kM+EXKArsSdUfGgXQBp+jfuFdVq2k6js6nj0ofsL804A/gd+5cbwqlruJwGHUkoUYl7ya2Rv1IYSDzxTyLmnw+nrgwPBM0rGgiWHvYkYoPWP5pw37QB5l/X63lAwFrwsYftc9wEua3tp30z/laLPdoA+DIkVvNh3i8qi47NCnmHhwwh0PaCo2A1twByb8mOOJhSI4sKTEfHx/V540TePyUPTCL2FQcGpme/W2fWlk/NIvGSCjq/1x+XP+dioEWI6vOqcAqxf0KjdCi0nB6z1j+/niycUt7EWJ6grjri/SCs36yuHTuF49eNt6yIziWIyRB4nm0SeESxc2TfjXt2AATblT7ODOIhNoygUR+lGMTfhquOkkMsvrKww7Bivb30oOxlehJRDwe/TUSp5KhFOQfdHWGU925F/L4ht61IGMe/+PZguYbFa+tnqp3744cGdrj5tfD5DRVfaAztnw6mS/DhM1s5yX6uPVmEFoVXbeVQUrqhkX1Osfv2A2xrzxABeEsWK/2s2dSNRM85jJEJCOhn644m6hUY3hdmKpC0NadJx/56wDRMYDopwV1KwkbfCR/Gwq1IFnGkIg9J1oC8CKgYZ1PgIjytbd003IylW8gAnuFA7TdwqajRMY3bU0cBG1wihRU5UkNL2kovhWB9xnjevpNqJltyohV/kqZVNSLW0AITdtG5smnxFmSNu4Vmzd2Op3w4UpMYVXH/JUJXnU0Z0FUtbIxb5e/5PVYONvoWu9UI3MeKgIKjHfxj+L2elnEWi8l6y5Dz2XlXUZheznTUn0OqjufB2ulvu1Nc967HDYMXaE6bO957CwXF8UCcrttt8W7fWmVsIxuXKA6VxrTpySQ5LCmY6Ka3sQD9+JVUczDL3J+E6wUZf3mrBpmjjQtNmjCGl2vSClTsPkxpPYtnooa/RmprNC6LqIReBAUKX6uYHxL6k759o2mjwt0zjWmNV3WiimdyJWVp/eaf7TK2yM8wXqZ23KR1bFPdAHPn762IqVlUCyPMhLlWNJS53RskkbtbZHEnHsNsnBHz2m1sNzR2wCBxcZvLT+vpSM1vkc+O+yzMeP/qCIdCVL+6NZE65pDJRqPs60c1G5hDXQ5N5xwPHX8GByHD4Lm/hIRV29tEnurix5fdZdxXDdFcnAY/ZKJtxO1pbfrzrHUwHA0nwdtF8f+X9Cm13ybvhOaznUkA19/2zn+VdIXD2yJ9RGt/f5iVXkOm4OxEtBo70B0GI1jI4Q0OMQkUl0iqtEbNSMX+Sm5dWqcaH0vjL0twegZ5AMIV3NyVjpNQ5x0oi//FHKz3qc5gz9a38E8yIFri1UsNmsga2L797QGtqnUa0FSTuw/erniRgNnRhIaLFKP2I/4tdzuxQjNV8BPO6qV1bSMOHtpZ8XtyQcHiIoUcwOr8eFqztx4ERxpgdo6F3+DoSQStYBzy3mURq/bzcJvDbJwtmtt7ZfYEbdGpumL9j1kSzot1id8E68s/tU08IDBQ3ZQ4wZG8HShxr5W6tjYjlpNG6uW7wRcfe7xrzqu+7a0Xi+y/NA6MwKYSBCIrfKXD/+26UXRwfwsfXHjIMewovyZU7lQ0Rj1XUhsbxUJpMDp3480MWMLSS4xYUg4JbQAGSSqU8SP3iBzMQaG1ywohPGah5HS5Ql9LMLL8BxxzB3rufkTSM23djDTAoSSriQm3Ix1xtrofXXJ1V4fi0RNawCBlhZOzcNl5v1K8GddB6KvWr2Ip++kZWkyCfhelrcMJTiPmSHYmkFye22BB0YV+Gtg+OFTAG6QHY+KmBwDb9K184HfRljGPq5UXfAkNhomMjft+IOe5tLzmg8YnsI8itDcYhLXTOEdo+Gc1127ql/ky3efDN+4CmpepjVIFv+fzKW8ZiAIqrBCsu1PlM0Kc9mpdtP1PhPb4xxny+jd293XHpum56mYnOiPFwym97AHhegvQVYqhyUVZ35c9d+yhvR4/1yZjugqaIrmXdESacwIAugcIYThWdPyQPFrtXnaRoRXRda153mfmM2GgvdnSVNkvuRgCbqOuG8V2JYewwuALyDYBZb5Bjw29K0HU6fxxmthqedB4HcsTEiEqmrofkPuf2H9wdBzl99DIIpOMhjmlltwFh9QSB+rwkDegEZLJQ6d717oc1TS/jzrnp6K1EC7F2/wuD9d/iv7iRS8O4muxjoJGiIKk8U2md5wPmbTwJNKrXneFUN+jpWhC0FD2JluYAdRzNTkXRgy59SE9M8jLePPT0CQ2Buh4C540+5xUJ8/X6caSAuYSR35/hJ/stDOjjpuRF/oDmDBtn5vUHbeNR4vgsRu7Lh1jPl7xwdduTMs2Q4n7Jo234jJYHP9r/A8stG98yH7pUwh0sFWKU+46lDXGYvXJRrtk4NqeeWDAUIF1OFJgW0UCkms7ok0V7B5HduVhbnjcjkayTj2850AhSLsz+bEbuqqvaSmmNHFqeG66u5Z/FOj3Sb9gtXovnaL5VnSjOR4qbmde9nL3CS3jFFzoG5WL1rr808OvYVfqVCpMQgWWf9D/Ic58iKhMQmtKbKYw9QSKe9z1hoqWHKh8q7CE0lnxdc8YAvsQWhR7Ay8+dAYk8NWHZw+y8ydU6P6fOEcJplgOLtEWt3YueE4rrIGgeExvIfFLJOqhr88a8HyWbTL3m/oA6JpLBbqUDsPZb5bCGeP8BLyhB+Of/4/1D7dbgIYI1YhjLziym49NZ+zbOzMPSG6PVgbqr7n6IcKkyo/HpjIZvm7GB72u9qZx5zKUczGUXhQNADOjzxBy2ogh2+V1j0v82whxphzHDr9hH8+/N+tnGvpkyO9lrfOXyWfYnZc71RQVL5feG1U+5rN063cKrlOEyc2dLP1njlJySg8JLOIj1NGFHW0NT/AQL/NY21mnVVkNrp1Ca+g/turr/lbNgtDeM9mgMg7au0gOLHof1a4HwHH3fX7rBIgli4WiKqjuu+JowvA5FaW0PtpwUw68hY5hkmDti2A3oFMB6meUTshhBeGayVOpgnWrvJq0EZiKwkv7X+MunWSKPFzcvshOBRajm6bnez1rQfcQ2Do314Mz1hYnnrEonuApFH+NXM06nRptBuWZQDpESoozfgiv5mTKMFC5JOi9euKCtjZrVmiDTScawXtenMIKUXPyP8V9dlD1E/X74CDm1pFxxfV8XTjGqIDQgh8YQsGjXmji3GwkKhG7en5W8V9/w/Yk0sjRb0rwDBIv3J+SySV9UggvmWrdwYUULRdn3dRB4fT74uD9HZ05a2VPCR7sClzQm1JshHK8xfcWqLW6DUYc0EZ4bAG7/8uxOxh0D+Zx2WkITOLcezV9Rt5UpZwDYARGnjSRGPNwu1OgPBhtWy8Ih3EnMwr3VSuJv/QCZOKBbNWxYQ/9drPJoy28yDyqL9CcKMGHhZdT2/uwxWfw2sQDjsj2veY0X/2XogxE8hXj6cVZQEmvWgP3F/YKUm/fVG7HqEDLhc2Ns48NZCFempSrJguARAxm4KZFCv2CguVL7U7uTw3FMg0M16HRPeBSgHSOgvBzmyMnNPtnZZVn0vq88WKbVh9REVC9AVd4B997CwqLVfo4Sbh8mqOBFovImd4HwUpN9wv0WB0PKnSSUjatH9+2oZXjJcFwU3042kfxKdx2XkZOj580fAMxvAs4pOvfvrnEiHCXY+C9mJt37XHHlki+hPT5eypz04W2htSRQwRIyoB2w2frqRP2DBp7lgfRdQ82sSqS+JmxyAVg1Emf4eM/L4hp/3/5IFUXhcueNIw7Io2u/cV6jIz2Ecf5P7zgHj1MYmxsNBX0qByKuIgt7ANvS9g7pNeRw4j0aUUxHHGwpr5Bv8wdx061s+g20BioZ/j+buEH4f5XzAA2X6F6INdN5jYeW8KILR/ynP94zFSjgXRdLYRCD82YOerQl4yAGxEFiQMYFpaNMKacqUXP+EWb0FMuhh0O/iEplpCDpyiTVbVnXYK1tMZ3Pm6OVU8CUzeInvkYY1iUa8rSFEiO83dQU+HKHTZDLsZVAYfXM/y93vytiXIFm8xY+gWcR51dnE01RYoEX8XrKZp7k1FTqGPDC7taZ8NcnmIOJJW7x28OpCzxDeidyEzj3J+Ot4j/oBNCUqQ1qJk8xJ4x2vzmcSrNkjuDglLwcpbuDpB5pxlQCU48Evmin67Rjosl2HWiMfIXGlHU/49S116z+s8HsZInj7FNdteE/xUo2ve3WJU+tu5XgEFECtCxDhwitgsW5P8KOvii5dwaU06mTc3aM1dQJbPQEUJBemSMq/l5nWZrD5WyNN393C4J4tNCry65HRG6QjfJcF4WOA1ZzXKKPRfCARAC6WUZZlr1HnS/yhhpVCT1CMlAOyIVAw0zznKAeFq5/PjItNPWLa0Hjhb+upz/WaZsZo0SqrGwmYbI+WTTFbyn3KSl0shzyOeaGUldIDWzh9Hw4euOAcbp6UzOsndpN1wUFzGWATz7HC0xPKMblRdq7JTK9zXGp7utKnw4c/c0D6HLUktZjIxwdc8javI2eweuGvyW0hJHiLzK4+gUisC8SBtZCySX/CbTfWYOTwPNHdcJ+eY9XdT+UFQ9SBT+xud23JB/JxfQBwZKtVwyoOl8N3ZyKXe79VmlcwLUuOZpobqZB+13z5Cbnn5g5t38fR8cStbDq3CNQsI7DM7TbOihDciOkPJKn1ra7I7gf+3PTvWw5ER0aO2CSSyu0GX8dX7T9y+IvGWtp/VDqbODlThwFAP4K7t3JBNH7SKVApcJMdBryS5d4FxmVbIX5bh8aMO7xBi+oPlWXLon/kd0/zIErbZPZDSMhovh8E5MIYu0jbMgg+Y6KFM8d6HTuUvmGgOemxV/CghLpQrWcKbNL1wPWOBAJEWgNqMLSP2dyWTQZUGJmwKbG+7vvGD6wVd8DIX6MpDOXdSmwIgNODnqCqo7tJJIfpQQD44jUL/r/n+P1DWRCnKEPflhBwl0Pp/dygm5A4FYSXLbtZcYaG4LU38ZBkBgXsrq2KeT8BKyVGFIjC9GlpEABud+2MpjfaMcEOcZUYHpSdD0O8ao2MVN/rKntL+CXaiQKaqO52WGGyVcDMXmIR/ntaee34K8SB3jxF7HHH3dyIhWHaEd5EVEE4wqlEddsfFb/qtu2LSfUlTZfyWA49yvHVXjR3KkI4RMQp4PGW9B7HYlvFgjDMY3Mz/HlK1TRZpd0HDdvLNYz+2NAMEOiR/t5h4XQdYwVUlPkQecgUSax7oLALcpxZGQq/CA+c165fMCYd+VeT1IRJtLvsV/tmD+QA278rGcVdorbGFteRtH90w3X6pslhE7p/I0ZRO55+NOrMMvltgssrZK8CkCYA/vhNeLIzO53Qs1Q6tSVKBei90fS6ABziA9NeJPDtZVepNNjB6UJu9h03XIGLFxA2md2YwgnfRk0bfJnwMc+9PlE/p2DCfz6DDPFrj/H4vNF0TJW5G2oS2zSOB835oiHY2KmC4Qa1CmC3vF/nkUtVnrAPeETuhrXiBQlOSBHaieS2UkOVSy9bXgmildESCD91VMqtZB2LI0dckhYjq+02inj7tRsUmu30KrNbV4q47VkKlKYVqT5TFdPx00Nj60v0Lesty1YLVVjG+WQyiSPGvoqmE6CufrwFNCPWHOp0wYZy6fxaumjXrRLQrq9anH1AoRMK/ffSHPX9gEfQumqlxYN0spoDGCe4vK2PMTlYeFnmqQuxITgT2h/t5gikYfFV96ltKsKnZqOak2CBnG+IaSxWMJHbBhEcoKT9PaKvIZT9229R53L0HzD8q1c/71NYqqeSGYA61LHzWuQaZDQ+pa6O3hFYyCCyG7rU3vPXwL8tiZPqs6pXwfJXesjlJQo08RE+EGTp4iPVSnD2C+iAzCKWaBwDpc6fQ/MNHL8hNOIdp6RV3TKoX3IefQbvuk/LwP6RBnic2UNDd1e6hFhdk2/x6fQIidDb6vHl+OzRITlrwRCp/ZpuIH1ZtVPFrsRK3mEgY5AXBFZPSuQ2qvNGa0+XAvkK38PqivUoiAHT3U1hb7y1njOlfZXjyLMqmkbNvuiP+Gk7So/ZdfoEdYEzVes2vrFGKzOxGsA+FVCyLm6AYV3kKgUk1COcwEu+o208XAbTfwFTggPi4d5Cj/G/qOsD1xt4/7kxqOrlorU+dzR2PkQsctPwUh4pBo2N6DiVtGrO8zBVljHHRq9rxwODdOrq4HQZG74+MaN65pxKRwnho/HVbH/mO7eIrt2SGn4C8tL+8Jm8iBJnyji24O/NX/ABLWMJoo6Wi69cCXsBBKQ7rGjNNNHErBYyZ/OOoywMoYh5OLGiTeWPWcfzHuf6J0wcQVgo7yITFcil7/zXmC7R4uRugHgJMnXeq/iu6voZ92jDAXFOlacXzRRO/kyj3NFcfVgsdWu10KwPNoZ1wQq2qUNxgNseggKloiip5mSUu4ZyXNH81r58SB+5Ol///NnEzJ0lGjq7YCPcMBOju9WD/nN7JupoS7N5AfYDIsqOs1C3Eb7tKN+5ZL5oQ50mMYzk/lvmWGYNndGk81rZgdEBrSMgRgpKLa+9OO0+t2Radvqi8j2ZQzp6y+YTOqD58Vp4rUJijYYHoq31ChKFDZ7u3T32qVVMk0IE3+EFEi5qjuK9yuQI3GO+u7s658gHvlcPM7jDT+S92+/vNsmQp0JmhlOQM3yEsnImwYU0C+g6yBz7h9+2bF9O2m15phFZNqSoYZ3zoaO1MStDXzUd1jndCkPFOAFiJH/KmLw0uw5UMO3WBKkvK7vMbZJILoOe23wgl/Mso3Z3X7vdoYVg+ilFKIronJvhDRVtjBdBYBOoTNy7oGb5wirwMSSBo1bWhiIS8jUiRTE4KOzW8Vc3jCl7YXXNEZSed+BtxE9tY1l3LR1fZTY3SLa93B8mpuau22YD7o2Elvz4qikn5H9w7Z7jLwT5UrqlEyP8P/YlWP0uC8rBsgGjQNRHLGza06xzIJkR7UbfgdVAjwbyMv0AEZdLjtExlHeMMyHo1zdcJ0cjP42eeYmqv6rLX20Di6vPwOkpK6g+/A/V3KZFml6murMMI4vYrI9OtX4s8v5GnSbBp9IyA1y+IbLmbv5NfIgxqtS50LXaZrIyH0JBvJRI1+RMlgOhSHy50AkeRUwh3S/BTXl23iaW0yfOB01CRXXIb4EmIGFr33uG2kYu2T83AGEyIAWdCX0gHT03VzkXbnW+70SkDJyaAhnDRN4LnhM+awa903U7ZOi9vw2APJPEHFSqvjxjLMokcdC7HoBM+a3l4oXsgE8SOX2wIQTCLzCka71S+lxwvxRtRA1ss+l3Bb2tTAA4fmqzVNVSHaqE2QrIjHvGgdnzqM9/vd+nICsnqB1c34YCr9DQPPQPH19R+vFIQQJsGyT3WkdO7gtDDDMV/JKYmK466bkAsbHQozGBc5COX3kTO4VXbLWuehRN/IF5p6VrTZTJrN5Lf+imqW5TBn5ktiLiX957RRQRYT8hrby4Mzq7shDRjKuwajOLtPmI8EL4jbXljPbRGAcVn6D/gbKPJuEuJWNlBczoaBcZXZKw+vQu13YK84CXgmFn3lSgle6euLq9cUSVO+WJRvfoUr7ewJPEiEHNlk54cXLsL+LptAdjDUVIMTVLsPMa8Wm7BVz/dHgwGtYT79f9gaAB45lQ8Tm5uI1aMUL3fIYRbo1rI5WJAAwzSXSKBT0mRcuVcQis6+FICpoIWiotjKrqhvguzUZjtd6W3kk1fR3BMoPaSj/hKkj7Ixl27QKesU5hCZzUv68HIlKby8hwMT0cGsYEomCWB4R4C03+KDnoO2aBPSzHPiE4pyxA0PHaECuPXcN4KYVUgAgwwkZ27q6sbTmCVTCnRlLOhhg1kbXuTPr3ZoKfK3pYD62caOAnHTGQ/3J74aOZQSLfqaf5xVaqnK33GXcgDOdrIdwvJx29gRSM7y62eIsiwkcwlSWyeehPRUBratt5RysNGWx7deT0IEzBD/+u+P22cyHAuKWXfJBxsxg91cXJey41+Vx7+KSKwg/BDHiH2pyXtMxZNZOptPjSgkrILp8KdjEe4AoSF4RFR5nrSmmfAKmReaxIrK6/JxEleomkwuyJvxfnr+jBumvQcdIecgrXXUW/Oa6o1Jem+OYRmrxQqT0UyI8BFl6B6a036NZ+1P7v6nesoogBLnMWQ7pMGyC6pkWdM1t1pIh28MTCIzumpnQKwd4PtPPfUeQzyhBNCr9CTJSf8cvuwvh/FTYSwTvianqoDm82egi7FOYLENplbO8eYBwFzFJ7ZigvulCbysDtSfWWWv9kX/G7Vq71A7Rpq7cAQf++eEy2SYq1XWbaD0ApjfX6MVVOvM5ovHyvtwCogoJAc48HJYvCMmBbSeAzNBZgxALqY7IUTOTb2q/8aXSTi3GlLeyb3lK0pd/AIm52uhfLB1Fo9enO0if9s08zPI63KNJWCG5bNLY8lKqx9a71iPIK/0HqIvfUfYSTsBziWyDTG3zDk/V8K6AwB+GCvk7H/gMaV93BjCgWY9k0ax6r6K3c+bc34qXhJMUneTlKAkIFe4453TRixeMdfQAX+o6MRhyEfTGPGc0B11lHzBX5l6Cu989kidHvY6iOcu5Frf4cXbhag0jfRXWZ5LCeT5KBtgFewBbUqrETDzGkM/ithIf98XT5lloYOgy+Rwe9PiMkXxjdRUUj4IPo4W2Id6/9ScrFo3SmTAqS0OcLCfRz2DVHtNoWE8QbREkI1ypqBKqJk9gFuukUblzhKPVksCOpS1kTKjBzlFx0F+B6KHNuyNCowk2R6RG71BmtoDc+cyoKdy/vd2K3FkOsZh6McscpM60tLUk8BLd+ZDXNd8cy3ZSeIBg2KJ2DppKbKOhRkyIBjsEOTlMdE5qd2KYlmx1CPLQD151uVK1uhV4gv5fH91dCMRPWenesdWueSZ/1c3rh6fYrwt+P4PaLgOCyrfKwO6tF2zoLNiLG4VKeQaz20CYqMIfSj1Cmwae0tGl9qXvLPcmt79BUXcs1cuI3DrttrMvvm77YNiN/pDVRU8vasi9tUdwx2J7bHCW7FrSLryyLN5BmMZQRDSabvD7DP61KaAiEuhz9cOlIpgX5ITQmvdQn4YlTlZA8vqS07ClfZJ8JLcKJSle9qAoEk6Uv+j/gv0Wl4cbB1ysnHvjyN2Ddp1LivIxNuXE/lzWSFK4592c8xHFHHt465MTKk0PEQ0lRaY0HgYIwsVfTCAnJYJlYE4GSrySeKGzekjBSOCx7xSUpTR/tuZTS3jZ2+0ka9nARBK6pJGPQIQJRiRv3RlitbEgbyGEhDFceak5/Jg2MclmlJI5NwtNRsbSw48XK2nTJm3wUbgMhVBU3AASHh+snJOsMAuhbDOo5t/HWEPzeXIN+X+GP7vHbkUZe0K+7l+GCnpFwTdz7nhIIgDH43sZx3d+BzERoT8iM/52Ed/5Gqf5hiOWcEWV7NvWRAatD595QuuE8beiRNkOSRT35aqhGnIbZYL+BlYzxK9xX+ex9IGGAplsAu++jHgcxIYPl8UQax5xlr53Bq42N0WOVZkTfepK61Z0A6pNj5zwh/194+ea4TZ1EfGJPUp04En61KSw+jU+JvFlpPEXhx12vHtYzbfYA6Sq6ISo5KH+J6ARAooQMmU0wzNbCnsNHyfq7LlY1uscodWkCufAptYPl/YXM4O5vzYeacSe6HiiaHPEE8UJSCMaxduCU0n4d2gHUCvXvxwVMSXEgBJmdnb/9moxxFoZBfbyNhpWb2HZPlJdx/5Z03x6jhtTmISA9G3Tape0UT8J/pW0TgZ2qS8YYLa/UFtFKY52aNiMWUC3hAstBNuqpjuFtppr1LGfbLbJDiQeQIVGEhC5LOMK54CjQ+rsnRpowdKPNqxISfdb5qIigZy56Cb0nrofOQGUuMZtDaNjdJZU48A+gyZVvWwFYjhk6/qWMpQg6xxvsR4PsSPVAnDfG78IU3NSiV6j+gI2cTa6pIqUaNYnKVPcLuuwkLU4yH22t+EK3itjvKcsRauix1jW7TcH12EHoL9Ja25kMYuSlaczqvBfi8sIQzQrQ9ai4OD0sWnt1du2iPpz3IJ5oZiMLq4Qev37ZvHhLf2ogm3cgi59QU6BaVINrCop8ti1owKRwJwQfrIZpCXr3ZRcPNSVq1DZU0g0wcIo6aCXDREUnUqw/PCW1xhXudBFh14K28f0nuVkkszJdRKFCWpi+jIdm/7ckCDZrprAg2VQDJpgH2YJlwZrH+rAdQUcfkFdLINhQlYP5AtB8wRzgc6l9uV9LUyiilkCs8lylY0zcctFO7L+iYhRUm32hR28ZPyp7yCMPWkcNu4A4x1iiDJ/01V3dM22gkCHuk0Ibvv4w4bzJF9D9ZiOwTfaHNtfcBOl9cY49jKLhGbR4pHhhI158Ln9hDuWRMsnMT/jaj6o3NVe8OiW5CPTsQYyoCXwLRX4EQx9t9+Lzw9nq2f2ehyvXR8diQwNXW/aB2Sea2OICXdiN1bXz+OqAZZI5Zb9nHmowyy8FBbmYAJaGXoRdccN9wVDE6Q8XOcPWzQ/rnazpc2req8SFH8L4vzS6L38jNRG8dEOjHyEqC+a/qthsn5R0ZXC80Uhz2OZkkxFK6dM+gAVb9o5ZTS1u88HKLgcQUO+Ba55x/X8MuXedJG9Qvs2AfTPs8F/evYvN6MCIQob8We8c7QKtC9z4oGxgbtd05S/5ZeLNS+bDaogAf4ZpogxMDRKdGI6XW1QAD2BsasN3GyB+pUBG18s0fqBX43ba7fLEkfjVStaSlEERRr6tikR3lxfFc+/vF2Zrqvo8EyKf65bZWwuFB7YAiyUhFIzUkDLW0sMhAYrixwSnmesjln44njLHetjFMLy3us49BD4GVX5sKX2pYFe4mtCY29qReTOYqHeLuyUZ7eaTQAZm2BlDUWbAMm0OUPxDxuNjqjs6BqPwOzEhMbJy/RJ/poohqDtSWwPDHm2pbUKVHefuNkj26mKmjO0bSirjfCxYyVBqi986IlpoGLQRuPJfYVlTPp7MH8eThAhDEY1nk/eHbtYhvxvAk/6B5TH6hcFdvquktDopdXRckF288Xl1jjpguEK3eJ/yfFkW5S5OJQiO0DhDRdD3u9AOAtCQX+D+JSXTX5wf3jEgaaMResE9W5TiESZDlTe26n1/DnqDQkIvqMfgjPPQ5PJnqTme7licwKqXBY3HTAU5UHgHfmtY6L7fN+RH6vt/HYEhz7IGdrvLGJm/dCEo53XzYYElNx7N1EUY2/KBJiAbCDpt6zPv3O+zOFiylhk8Ure4TkuGc/CHIxeLrxo6BsHEUD5HvqTOkQKokFBHbL/9oxdLxADflJq5wb31WJBVGhXOKqGu2mlCZJDLmKN0+Tg1BBB1SVPER5wloiFQB5/d29sLO/Jh95E1u5JF/gDJZFrElMzJIiNFZLAtLsyLim2UHKbYBDWVXmXxV74y2Xmw5hHq1tveayr3gfP1T1OsJ+WvIOQI4FWkTlS6V+a0tI9huJW5d0n2/LnvDnX+KBza91tmu83+R02COqfNtgO0S2XBFi1WmBytY7JNzk9p6qRlF2O+ww0IbZugdDBqyQY/GsqwNrKmMawlE+f+AJxz6ciCCj/7fN7qL4FWPJ+QkWYKEPUZHF8hIjLaBI7WwU8ZvThYxp7WvWUfQJPrjyhtOWnd4iuZ14TZZ/0vXnFJlSScfkh0sOfTFkcJrjShxFKq/PqekbnCzoVsK2/X6febSk9sEJGUJYFL09iTfOBMdEG9UpOxpbaRebXUndQg+ypZ+wxJ8CNXvEYYFtMaCyVG1dCt2ggfjykYwyizI/oSBs+8pCZpAj0DuD/1aIjpEp2xygMh7PVDr5ERUfjacmHdcIozIkch7uCm0gFEse3OyA3275N0/h+MDsGbazXtCT+12mAR+qE41xcNDsm3x21FBBCmF7odm8aFZNOd0hgQ+7b03Yh0VQK2LXNn3W8FSmQlRPfc5Qws1akWd3OYgol/zRfpyGD24X9JZtLHFonRJKdNfh/wz4vOs61k9B5X8omjjkpUJ9GCeDLPjzetHYNOkHmOTXQXN6RJLX3QTteVmYy1DMUBtljssZ7QEkSGg2DlK87QERGRnk383z0R8ytywK+6z3gGRzqwJ43BQaT9hCXPlZEhkm/XByZjFjeMwqerhQKMvfNR4bFjtlw96W7+e+0FaAZgcPmwrp2gPUg6ELY5GqN7K/Pv1Yw0T8djHuNwUjCFX+FafarXCwWyLevZWZ6SBZOKu3eczliiy2NrnAv/J2Ly4s2GeQpy1uTlLqNBVI5pvw2I99+W/0ASBh/g4644ODd4YY1A3nmHKoyxv5jFqBTrHf+qr90Xn1hmPgvC4hlcKqkI6YfJgZDss2KubJxX0eiXlV8TF1nREBcOEWrYLkI07M9sE+Qjjf7UqPZTVUM6mcjOyAQW1Jc4WYCpOtwhSjgtQRD/YubQIlso2xZY0EMjaxMuF14GiMUqbm8F8OqhPX5FeJSW2KZR0oG1GBXws33EyguZ7hwXu5pog0Wfh3F3aosBeE4SbHX5i8Cy2zIC9x6atN1zOdrVtnhWf5QCjNmAkKqfxQVP3+zJUQi8uvCIkBOtV5HGaAhzNLhcckeZwFM8UBufNXPCVlX9HheBkQmyyjr86RCh75ymev+qTjwsw86Rvx0MEjTIMuWI1iE4xG1xTcpjSiI+KxOEKVp1R5SqizGuC51X3/Eqq1RidAH6TjtEqkcKbuB3wkUeU8Vvv4BYxkbXIeC7zPv/5JbEl+YQmv8SH1jvSlOTEm8SiwyETJY9MUtH0FWRsNKjU19mq9VZXaVuRMbnLUFa4J2pp5DdC09xPuEzY+rr75kSaJ17hMfMFgWLrBMr/3PrlMe/oqtMHVA7RrLKRF85+qbcsaPHMj+D+7rDxrm1QJbBPVttFyE8jtKgEIFp4ar9Zt8GC9fNzSCacb6qJZ/DWGoP8DKHZBcIE3O3RcL0N2nxq0i4Ruv0d/ZuFnYx31BUJo4EIsXeigfsVvN+sFdmpQAYNEOimphoHZQxcssOcUoiBhdReB9s/joRKWGuOseHaA46UtHtxo3CJNVto9GfjCchcIw0chMJZ7u1q5HQSO7BkgYJdAgyLf+Fqttkqt7qM4Fi7V4EC94DeCuKOVxpEn64tjFIZVYnKIja+gI7jHLTIIOj3jrXloExXKaGe1nV/V3onGmnSsmJ77UPQq/F9FaP7sB34q9hKePU4jYzfPxrbHgvksJJLd30OGLJPq4i2ef4zOx8l+QkvuiQQAnKb1ofVU5rQtplE1CfVS7BTx5Wj0g4LIJkURJIoqnRRpspVV2AVOUZHZveb3JwiAC71Vq+KPaV+tk8oPl3v1DsVutrFtMmBkO6PSwcsWzUK5I/L5Uk3l8XIEEutSd9Rs5EekVgWr7stL9JOLmQ9qb3RsNvRh5QVxYhzE3Z128huSXwgPVfkQSzkNLlUwDw0RaTOiWa/uQDuJHLy8EOoTVT45LovAqKB+J/JWsPHSBBVHOjzfdwZwQ3p/ZSe3VEL8ska2+lJHpMq5k+YDtN3wze7JhvJ11rBzgEtKmHXbS5QJg/QixCL5CRYzlLRtz+04+npIcPZ3BQBVqsQQXPGGs5ATCjSqqNvBkleWcv0JCDkDEB7sojnnVMEUkggv0Dubdj26ZLiQSuslPTSMgxkplr46N8c41E5XcFasPwT0Yfo+Ado5Jm4D23zvRXicXR3V0hff6rXrycspLOpQL11fPpI7La9j0hzinwAsJjF/1MfsLXeqeaUs/ABIVfFof7p15RJ7zzKN5wew+qJ4pEyobRBQ0DxGjMjF1o6xtYBIXxfyxtz97RDipX/fV1EjrKjIxvSm1PYApbvgoOM6WFwS20YUwC9PLJPrQenhT1zeGJu/blr+G17AcKjKrB4XaKwYLUidxLIiHjh6Hm89xdiaFGAuONc5ZEf97wgqZxEk6ZDWGo1eik+CQTT0UBt3GY/z/3lUzssbVn/pgJ80sNdNAkfozbmQ5l6QAv90cEFmgmGY/yijTJrE/1/rVcJW21O6QMWYENDCMy79FhGMQVducCJ7zgAbKv4gDp46hTQuKMJrYvyUrNz3eQnFg6P3u4b+Q24rgiXDyQN3uZDBkxnnbB4Cy1PDGrwGmxgdqA3VZLdOLwYKVQOzySK7k6sv0zQu3ynFcyx+XGiINOE/cKVjjfYLpF2wXfB6mY5/BSDEtlzYEwBJTU0uKsOD05x661aaDpOA/0CT+iJtGBUadwQaVFc8wCe2bDlkQIWi0m3+RpLfkvoMsN7LPEzSk025sCG6F8+p6gOyWE22r/f5/lO8m31UWgN0/nnntXYU3Gc6HtJbZ8b4+XJ9i+GAiqS0R2/2fNQYgEE0GIV2qpLtR8XqdRCthyu7HNZZemvUczFXw9I/6aU96WXeBM+Gr/L26XNoO2sJPxccuNbvHlJ/m8gT3AouJ8fyscyeUp4lV/hn4NWAsFBEvLiVXYjpmNKLi94CP6gELMIAjJNzYeLueDRfqwxozi0naB4/pUFhlqOvCZzt23YTeaSknBZOCEx0Iz2fqkuhXk4g4x83VvQYFFiCl3jSe1wxv4wtBHN3KDSGrjwdCbIVe6Ul+DTTPTdf2aV0sbaGizQfREmSxsZGgQXRBL4U7LW2aiogAlVIhRSKISRG2F2291pOEll5j1KW9r5pZcYFprgcEWxF+w19ke5zCRBt4EDu6NhWUIaoR/tNyZp9sHN2hlyyQHblj7F4HrwbYEDUCUKZB+sQJD3LNnKBUhn8pTbA/CsfbD5MdSHQSBNx1zxR5YKMQ/aw+aX0+K+3hqg3jGyEByLPbULrupjT0EhCfwO4muSO4PlB4Hy2xcCFO0+VDMkVukzNX0vV9QjN2fyIH0qHwzz0mThQwci6vElB0RuPm0cpW9IJCYZBS4+0ee7RFAa4EzI33NGVurJeCnBjB4VJ0VAWvZK3rELLwg8yH0NAUQs6NJs/0T/Y4eS3fgDlrjaVx7RkSpG9w1fP9pr/iLNAMcHQYRmR9ba4mb4Jy0HIWtDZGxcysTeNYOUlzwyBad+nRhz3sw5U5puiyXcmOOd08YsoFhPbzOtFxQwUF6zX6nZYdvlsEc/YLN2pnzebJVOhBTjdPWOa+xOhI0+aQPdMpBpr643Kv/Quyv1gUcpaRBhx1kEn/zTZknoGNuYRLPMhR6wvL3DqXLn2dr5hYvw2BHmNa9QxraEkAoPdaZ4VgBw4/5PXNoAKJGtbBJDJam/jJ8a94ouM4rKGLKPYkQKwAYImh3Zq4TE6L0jpocFGZXLEiIUnPXSx+cYxTcgQ1yQoqJlrIV+fP8DmuuVpOpY3bQpCuX4RrRGFUAemOEGqrXzOGAvHlrDBwO74WmnYk3mMilMIswbCa8rPGvpBorY3AfNpwJauxtl+iu1fTAiw2fERD2xLh660K9eUgmQLhkc+pe2IRpStZFUf9svNl0wAbMNhij/QFInCMi6dV3vXnF9OG8K5fsgpVkfLxga3CpBbxdkwNmMQFIEmMElxpoGZjULz5QLEqYRCWQrEmTfJMBi+jqgPQu2GOXUhohNF8u9SG9Abq6nNWdLKOSAbCmEfhBSFKR3wfUh5DdZ07YgmhAZWBAQ7fm22jLIoUy2bjpJqU6/dEwg8BJuEWwWJDBf4nTxIMVgVlgd6DSEuKL+dxGAOfzKWGTFWhUAKDfP6HtqhRJ2LoqwIm3Hd2h7naolApIBnAFy6icChcpB1RMntRBGGqXddE6BT8EtUpxoYc3CKh+1pR9/ywle47u5UhjuXmkpIBmvhYVXu+hWUYEskMhCr+ZampdlIpbhfK8gWEnmpu7iGqxTz5a0Phqh7dAWb5bNEQHy7C9ZAgOMtwu00YFJB2f5u2Musi++QUnRnFkZoHS3VC3rH8znHPDTbJvd6v1Nr/JR3I2tL/rcJ5u69W9A3V6e1N7hGQizm0x8w8rLrGs/CysdQi2guTmppAfcoSU2dSGV8DqAs7RmZiJd5kZ6qVygSzZTKRZT4kULGtBxoI2+FnOi5px59U5vqNKztBAtjBdAkrnWuFWdMKxZRlforCaGxh6QG246w7p0b7k/T4yX4JVb8+7In/hX9kVM2ApO0FNoHlgLJEWQBlJomAh1vrZl42nEc/+5kJ7pzHqrN1yet7AQHJOAqoYkcCf1wCNcAJ4+AI/tiZwBUnkwvWNYC4i2sQGlAi7HP39LNv9AEnMd+4RuD2hb9V0n3wZdjagpn06C7ldfA+zJDO3XseUJFkY8jW/gA6XcCYwXkGv+LEEk3yQCBsgBlpM0v8cOqNb77k22dALLnX5DB8GXJUwRU7xAA9IwpRR3HYCc2h/asomH/1Jd4XzJ1Pb/txhoXnt4N/+pYNbm5M/mUC/SKJec4QVDNst9wrisFsjROFNeAo9/edE88HaNyJET+Hdad6gCHMabjmNu2tMxmchR1zMzFKh22Pu17C3nUqOD9HkewjywsnCHyz3beHSE7uUCIQ73ZpaLxQByeG9pPWH8F7X7SdAC/BhioOmXLyMCywCywOqyg+MCB9MDduP6FIOfYFmhw+lk4BaCk9zA60p5ktEesrO9QjKu1cqqlEyOZtpctC2C27mFFuethaD2Lya3jKMBYehkzpnumXV5TFf3DXdWuBL7h/LDOgphQRi/N4ZaVyqgH57vNJaR5iTFwg5jaaENjiaReLbSnRzvxT1IzcE6FP334kA14FcYZUhJw0ktgK29r9uOOg8mW0cpHWFNkH14SXnrxlQh53HP2+1Yx/2wyi9Q98ELbYX85oUrjJse/W2+2QsIUJvpQh3Id/+thhczT8/xTes8Yo9+QM5QKW5zfjVJJjG+aFBvi6iTlcgw29LwPVM5T4qXFAP6JKt1LVO9fIrNkn0smiZWixPnNrSe+MAqMjTPv2VkVCA5Hwoizim22MtlrH7IGjvwjO1Eu56WrFGPqmlnN8+g4gNnDg5Bf5McENpNnS5yvn2r7kQcX3HJXV5qAPxHYBGTqeuS6Lj/M/W4seRVTX8q6esUNc/3d8Cy6LQtFmH5zvm39srZrIe05o+glbfJgTWVD/nKiaSZ1fsTCTd/OeCxBxgviovfkwnUKMEy918GUrYHpOZXy0X2hh1e4P9ffwjt189XKJapbrRzjDHaPsQYAsy9/xeyNO/fqSkzCRVIFpkr9YTTxZ9vCbB8khGlXeH2PGB14eZpaTQld/JPO5YNGPlN0jlGN7N6Z7byyMEByySDMmi5ukv+WTXF6PpBW32/McLU7IzNCyakXQ47BQIUnd0T/NuWH2mYzkZsvWUQ3Ivwtsb3kTQ1unkZoljdefgg6aj8TalspzTWdT8cOdV6cPWu8E+xKz8BSxQtwF8C6NuFnr8vE/yUwfFutkq1bNnv7ivnNt6qgmNye1TlwUrSAaHCCgTOa7N1Gi/kOxiGZ1oZMhKzWZkdy4XVm5e34DY3HmHARKF0ClbYZeCGnt8DrXol05uUiD3zN8gO6dbkiBon1Ga4R8wSLJ/+v37GiTl4gdYsPzBwxiVMd1j0yDyKJLwyIZlWYlTFdbB6AJWydIOr4vhHBG4iDbQCgNUTGJ4s7WADc2t40JNCL8N/C90X2Qzrp0olmhbNfT+2qHYMbkg+mvLXbjRdZSiZBsv/ZeOkNBVRpKtNZ/edqQfzCvYW/T47V1oMi5dpz6aUTbT0ff0jm5SzTFVRJPT1wNITu87XoTKJbCaUZOu7Y1W2VW2bMJNu50VFCu218oV5uGevy+303eDeCFvZySs2lYibF6DtzaK0cMwZnYVLzF58v2cMLYsM3kOvmMYQttbMUB+1nuReD8g2JbRqMMbgzdEY8QLsxxZPUnnJuR8LvYnAgMLkfl+T7yoP4nV5Uo/I6TyUwoiNpgFJEdgPKqOg4E6LtvTN3hVJBE2MJwqYnRw4KE1zgaBqBgIQ5SdG9xMM5XZQe8OgHNBWdy1wP9WSH+nStiBvPSXIOeZA5WDHSFHYO9R+SDxPbJVcM5/qdKRW3scKMfZXqTCyDRkWaj9JWwB3VomO4606LQX1yjc/BpRNS66IbqxHSJ+SpMmlpGWXnNBfDNS34nMa1SozNVOHjHGBPllsKddmT8N6C9AyGEaoC9gMTnHMtvTgDQ57MqofE4/joGp5WOrbrKhQiqQBqpUieXeHayp5esic8dT/y9zHCMGnDV99A07s/vBXcXr9XkUqwzmExPlhOL+AD42BjVXy8Owhf3M5/JXkxRkTIvo3U3g/EjerP0IsyAIKVyQOijK2CTxgASFxpICxgYhJjadhizyzf1GGQqfPecT9T2NKVsvrxSWDJKsD2cfMXcnlfIQhf8q5qfOXm8eoQjselgtD/uvWi3JMe2eSfev5KDvLgOHlBLOERa8r+IDZaNSP2/kz9J11Vz87e98uoNHgWTcThUF4AyRP8Xatr/gDSmR+ynoN6bF6b3TJHvzR2YjoC97O122sa9y2EHQJfZLjYgl+ET8KlnJGviVIrh8J80EAGLgEU9uQP0fQzPQocnQLVJCD9sK88ndtsML1NUeHlNLyn72g2m/fCttOsGlsGyuCXLWNSvFCdmmn31sxfHglYEjIQBEHwinHokPDAwDuh9maagI9EQWHgf4sAJINmJ2Zy3t6JzAImW3vYsdfFm+UVkFQPIHsMQ6aI5X+i8NH1m3W8LmeFu9i5oDhEqSeCjCTStDi4X2MtgEvLSKu6XvHGMfX/8WG86pcAR5vgboZR8G0Ys2OSB4kHrMErqVeOVaOlajxwsKCh3OGXu902zI1/8HTFBRYO5ml9Zq7eu/MXAnqbD59AxIYmbZZajoY3TTFvF+xY3afSY0iT9oG5Mq8zuuP3LetAZlOpyDRaEZsEZ5CIhludMO4/gLsa6dWYjeFbXfbMKPotJK7ZkEEbo00jNkQ00OpF8NP7a2nylqLRaO3k1q3TeiSP4b+lrdGQ2FhXcVNplpDMFPVQ8yjPuo5LsQ+cTgZCiZYJkOY7aRIpu8utN7NWZKCnfIMX2mAIRPxYhY9TUxewmtnHADLKn4hqSNtk519TD4suPm0GHoGUPuzZpEDN2vSut7cekwJypah7Yl1y4gL7vawDhl+KSz1CmRwTQ4XH+jB681ayjBwRsfC9OGou50Yy0Uu3+CtoFxCc7EQS/e6xPjFrYEuF2EWfaucSQDhQGsTcgKbZ0T/ONdlelhJQi4ZrCEmonWMitSR699h2dBI6VTYCiwBCip9dp7Exxd7Qauu6HF63lqynBQ6i/IcHOwF2apcU311Ke//1F4C2PV2FevWqu1ONYC7A50EJBBmo7mqvKm2kfXL5rK+pNuxlvHz+hk2Uh+oPaZFvKmhp6dksRpvj6MbLcl/ck6Zb6nkRqjkhihvlqHr6QdloP4IKEZCaFSDnjh3K4nA0RtkE49ccUiO4IKniHoTVr1Yp3XUPXRWnH0R1n8LrUJVLmKdCl6/wc7A0KRuaWVkgDnnzXz3D5x6H8ZDCXEWWETwb3W0uOiU9hySgnFyVBVmKgVerl7aEZKIy2oPg67MHZMmM6QVCYMO8+i7wEL2rHne/xUGCWGUkPZxzcXAQMyKvTY7MKQjpdNaqVG3Sciz69bRS2LscbmnmUBk/L8oPSkoLxpmOK1S2F6sZU+yVvRFbE6r4RTpRmwzHHdqhlP5Pxq/4PhzIBdOfTHm2SBqx483ShmhdBv9Xmxa74HbwjustV4YnXB2ZQA57V85ZtnTfFWpo35xGZuDP71mAOAlU3DY3u74NEYUyUjWggqHJKKq0D9NvjEPA4snv9+ohU2yg1JpzkPEWocbeuuDGNi3xMHfxS52dBD09GIvUqFAzn+V2XAWOmP08ZZPe1TiVHWP/FlKg5Yn+/UHrq659MSuPCMtsgU8x4lsGurUxgC8gUHgAws5kR7CyCnOC74Zk6HZYxTA8L+5F/6EgjyfAB890E0d/V0vvPv2/n1DF22P+5KV6XcgRmu07mD+IOVKaZ1KC3xq0DKp5ptjCOOugGspXDIDTrbYu/68c0rHCaMz2KXOLN2Ep4vG4lT4tx4xQHhvvlxD94lXbYFcmGRzsHSS2OF2jb0b+rzjINkDsExRL+uodEZkZYzKoq4KGGltdE3+c5SilnoaESeK0wv+yMizc3WqiYH6kxrET8HXePJqZBdy3wRknISxvVspGhI05uA2Jfkbx7LSymgXC6HCxQ1Bf6ZLqgkj+zsTlk2hklmyfX9eFX8Vkos4bprMAgwiwbSQtUQku7HT0o1BiGW96HSYbve5l4xAv0tTS1GUPjJjHFY+Eei/E5KyIRtlcXp8GwvfvpAVzGSNTYqv/7tldmq0iZVeb3OPOvJLgaOHTQRFnwc4gErd6HqH4wCyBLFnTQStETitMbzwYX5Aq8PP+gDKxOh8MWH3VL75PL/noa9+7HdvlzCl8wW/mOuwXy+Aqdww/dMEhxdKMD4wPaKe34scu1aLjO4EX5MMrGrrTT1FNDmeZ4g+PHDREtHz1thuvro+sKNlJsEDEnbOa/IKvchnuPt/6eb14/cs9934t85eC1hbq5FxRNF3AGF7LwsJo6OKFdLsAzGzq2DYSBGugBvnzNH7JTxkUT5NrTLckzA54RBni4QvKk+5epZk1JQdnPO8qfep3sdDViQ/GFoqwus4aQKpuXFdsyNltXDHvDI49WYH3AdaCVmyMajR9HRMxEju42Ba7vDq1I43Ts1m69TFBCB8ra3C8kBVIIW4RzZaGtza8k++9IQEKIlpcsDhxiQSULnxhUpvZyHPSdGcr3+8LqEZLEIBXSAB06/qhRhYazuZ/DD0OmsdhPjRa4ZBTpIcs2NQPIWWQtLbm3GuXBkIcoNNevPUznds9pIqHE/N28UDjJHFvWc0hX0/r05tO8rYinCiLg2Xny0mXA6o8NwKU/qHwFe4H3qyMqsyEZ2W3zwNMI8SlksWyUOfKaFCSqKup7D2MugzRPBOsrDrGAlfJdw58xEp81BgmwaR2kJXqSxaKd5Bf/APblfOD18piCJX3z7zzu6c+4j9UcaUBQOHg+3rjXhXgiFLRsugt6D8TJhhA1vksCWCmibM2QGg712ZwYCgdCDj+RMX39mnpnbi0dgK3m7bMmTdsxGDZF4VZdA7RYi5Qa3agwOq3uiDnv2tDQAjW0RMTe2qEmu6b1N9aOqRQjXMNbZ/0uEFnL/7QF9RqnjLvsJtsCh20sw3G+C2qHB6SAJ2+8pERoY3sksqXEKcPH0aT9R4lx3w7S9FfeLgzly9wgyRwujgr5HBKQtKDpWbDa5N/xSfxo6M0S+dfFBckXNXU8FK6JIU4vju3Xt7nEEiRdX4qpCYJMg32vBWwbQ0nJVC5m5POgd/Js3/SLp316y37chMZtAdkPtAKu+H8Vn2sSXi10zBMGmzNBIdykz9P+FrqcE7ePqYCBKQWGgBYKuo4igevDmC9MpmUt+sBJ/BSoLwfQoWdUpPUHeiF/syjZIz8uuUPPKW8PNb9LD09dUJxlBGSRyQ/ZQPT1qoZnYPb+JzJ+QtqVJqooe5CdzDQzeaBHCWMGi43LfEcBDbJ2kR3JzR1HfC9tT1f/4PuvsHQk92w4L/01ku/cYyl5xoVjxEFAQpOlD38OKgBNjLhsYtu6t/smDIsLy3kwjkyVRYrCac0fwIaGtfeUXdh8CQ2eo1Tsjmw1hH7QW0y7TJmFLeMUxWPog2N9MshSK0DGvmthFuL8ew74fG9fBQFi5B8u7ZPFVFBVXUCEGdLBypOve0ww5qSZ4xQDm4XNFmQbB6BxAkFzpQQI2FPoUGSDO1lhSlSl6Q37jTB8+QMd6T7Z0wwNfOOKdfyPU1/bENAEnQ1kgypnE7bVvilJM3ApybpPY/daIElIJyr2oRzNfKtZNH2W8vmAjVYjX5E6ka2P2e4VbeCVfzezYcWhWjKuGZbKQ/FmaRStMZYMR1vCMgNUxI41Mv6T7zNLyMTt3KOgCl9t3O0fhr8/eaRDxv7hoBotLOSVijVHoHCGmQIi8kfX2Kx3TSifrPyMka/pspQKqwHv7NSqiaCDdveJR8WtmqXLrNv/Il1mIXJtvWXCGSO7AxnVrU4y63SSqLecri51Yq/HF/krNZULv1jasBmTaFrr/n7t/IPwZopAvKWmtSR4b4MuIyMG5tPpvUumwCyINwGyPSlTgmyYZ9sq6ks4ouuaBUynvrR//ainDCkXAQpzZPGKJ9OI733fqhlQuUKOIfbTK+xYggzZhu1Z3Kw9p+gm22UMIilJo3u46pjkW9yp0iZ9bGuwA1mj6qkxAqjryUBlnl58S9qrbfP7fD6MgTk+cCTqHN97ZO0CCdWH5rfafgKc0bsnT6tHNuQUx5qKSUGAiDVELyVz5mMSA14V4kRkAK8jsVKLMcrp9zIDsfiXb5WuhSJ7TsAt8YNQgCGorZ68op1glYSsn+AW9q07GlP2nvMHVg/pDZAT36HftbHZlgFip+2Cyw6bCjwG1tRbU8p/g7y/KI7knSvTbKc8fPF+wJ2Fxr4SI6km34HLo00ahx3gOAp+aLNvvFdOyAE398TP2rGWBL9thzWECNU3OU4/VKd7FiFciyC1CrMtt745dmBryfNopxnqkwP4/Xdyo2ofAtU0Zqhaw/TTCIjK1oBRueyB8jMwbto52zNiBfRYtn6YA/9MfHY5nnQmjPM/Z8vbgZyhbBbcUO0427/n9R00hbxMatfVLlWv4sLZ/bfkJIyfTZeYTYpcLqogHYk7UrMweJbZuv5uaL7F6KebZn2wPRcI1307i7VJhCl5Nq1wM2FemQDDpqeD/74FJCvKLE9ZUJC/ygVjA1GwEQvxvIMBoTHSBovO7mAMsExK9DVoOsdkbki0+Gw5G8cL4NL8h/T2ynkrsI30lOnX8TgXBnp7wja/a382hONLyyfVaeQzmVWZDDkHKPHHVhuABCE6pwfgRCDBHg5vC5tyZWqhHP2z71jd16QVFgbTVqAk/TEGitkaKbepCPd7IZr/rwT0VQukhbqMBmYEInQ7HpakQl/tOxqn/U7mAqDyKNorAlS/V36V7VvIiopvUL+4JKWKzcb9kppgwhGgpMnJH1pxQZC48t8HSQyVYgUuA6IP+mJLkIAkubl6XZneYFcR2kJOGlTIYCfM1YeHJe4iJ96hiKNLLJ1Dzu1+IWgpNDEY9CmJy28WncRCpPJ1PuXA2i48FZ1jZ+UdRsHBtGDNxh86d5RM3aMn/ZsRs44vmzqDMxpOJlkA1K3t3Zo6FIRaFFRfHfvNZS8bJsACL0nWznT/wK0OUXqDR0piD/1D/hsvClEsmvya3zeY+MIJVR+K4Pg25WxG8X80WXAFYgFNReQO5CNIGY7IhPf0blnhUHHhRYEy97WKGkSDBKmKK8SVQj2USCL+idoeUBx1RTpIc+YndQTgLQn8+n+m+gKNfcyTZz9giphrvuwMklOAA2lpZ3TjANECILzyFKeqaJ/hAD5GnlZ/LdwRWep1PqUJ2CotAFVle+iynSZuHLbjdouorO35GkrgaQDrj4Kys9KR/qRcqfSeYSG3eVinXwiMgkAXrei1KrgQWjzzzx1KN2fMyPUeXrXToHmFfh7P0sRdNO1apIDb5vCQSEQz5X9+Bbsvlg7YbglvWViAPWuaRl1UbAqrrSHdB9fqsBHnUmoE+aeNRwkMgDky6x07jQmS+CR0c36K56YetDyEaBCklLQDH5/U4xnxbGJ+xSjhUdyuj1dEbvyapt8JYFrQEsFq0IGqtBjywXomNNCHyRZBW2lHAUFkRAa9EvtQHNGkDRCbG/1Ya6jKCVhq5p/uB/ySU/WcBBk/S48sUKjaO3mWPbL2caO+5YShzfRbacWG2j297I0G9okCRAI4sZCIkTLaOpMbz1hvc5KM1180uBMVW16Pdj8Qfx8qPDfsMUuAmuENuphEUHcb90e0Wm4inNLjmxWW10TxFgL2JuEakvxdS80MLNbYSlqgS4ZAWh0X4UK75Bf0I73PDKbg3r4jS1vjTXHYeTqV4nDsBydIjQOm1Jk8fsWve8FMzD8RIkgp/rGLJlGMcjobWwk2SP8UIWkZmh8s5lstgg/+53FaKqd6EhZDykffhX7kHk6/cjTWid+uIBC/3X9Xm0zThiKhgIR5dQnD//uE+sLcWM+kVeIrkVPwfDneltwcrF81i4C8yqoGRvE3US6Ilp4brkyNjaTKm1sFEICIhFqa7SotLRpxP7EOVitb0FSkgDNwhJoNddBcOIFAIm4u2yClDouA4gJ+WQcBQVetAOl/0RoFWF0eQ+v/O+d5BBavb46x0jUWggPZSgWfuM9Ra9hmLo0FEgYazF4Dd0bKS7lKrBbW9xpaM5L87RUUu4ZpaXooVd8tJ9DSC/UfqV0Q56aG57R47b0bhUKJcUlUo1/HCYp0q8F/Gy9c4DDBzbe254nmaCJXGj2E0RV8Eux8xm3/BP5dd1l4krY6jCuW86X5AFQi1YgMvRrblclK17j8czYCzGnvtJrdz8Mu827xgbqv/hlPOglNRICNEiD1PHK1NN9Af/ZgctCzl6GPIvHYlQrw6/CC4P+7smvOa5b0xPOFkAHfIGQ8wAlX1Av8g+EfbiccgbwOUf9FuA77jmZmDpQ+agykf5flzghTGJfYHNrjq3j1u3r5Viw8qp3MpqDmFSR3+8dguWG5mFDSbB576zP4YZo/V6FcHg+JLbSWpOttUDVq/z8rLPmNFNDUsW+sW+DZvcto4X9f27GIflVmNUsXZ2Wi/4lqVMlDNbfCj83hQnS5K2Zlm9iWzG0R4Fw4DGxLpqC3SkKxjJdfRGzQ/n2EHehMLV5Jw9NQqIeyAcLOTQiS0Rdf3IQcAL1co0sxAc9mVzxiI9wUR0KJTbpraiX4JNIOvvb85VwcOyieQmO/z1k3rXTUtHCNX3SzuuTl0ZFvLBoRnpgjiBkr83ytfVBZ030P4LYBozllDAIn4qi/kHoxo0rsdS0BbElCj736S+K3xT9q407QBaSWQtXBfc/Hx4XogxBnIKrY1/i0erpHQ52+bWTzDDpMdLD4/OnA87psdz0OfygVlMb1iCAW+7WvBfZRDTuDA+O5z02zF62S8b1HxMHRmwLW3xfrDy41zXeq0ipxMrFQBdZMRSZzakDGbvkm8B9rryT/lKMAwOeBxldbnqdixPuCdjEkPH1ajLEPzaRTkVA5u/dIpsfIvyKYfPs7fFDTD4NgleBBJR3vEly/JdI1nv647rP3U3Onf4EDAPiJTkSkma73FmbFl3CfmBtv97c4sODcPrmGTAnBSVU/XaBjSF7dQ4Bl6Vkwnlqr9rBTJJM7QqtaGCC8YWSFuBjAqIJxSVYmQ0CAeRWSFdNnMxOhdtr1qCtp6cXS5LV4jutePUbuU0axEZYX7NDSbQgkwSuSqU8P0BE9BUXnqqxuq30D4OFgx1TrmhaUqWOENvkN1KU7Gf8AWWn45jIqeT9Gb45saJXvMgDFyRLr0oy13PFkIEYEFr9Rrm7v/KY6t3Od0nz+1JvZxXPxBDPEwPbL78Gc0KVEOCBUjFW5f1DsS9fS9x7JKgjSzM8BO0kbwybHkQpERu790sQHzj721JM0btVPIRVHST5OxrUN2w9pYDzekUtGGNyjpw5kch4PsRpI4/sKXZx2rVzBVQGFOhDH7+KXf78pBg+OLHbFeBxTwqv3txQKhRY1Hs6sFua0nlBYkasyh1cPywEF3aC49pirh2Kstk6qsT2pDBQZIB+FOO2j8zZfayf9h3TDyKsbCtDeJPnTZLNZvNDhsaeb8n5V0gW+2+I/ZATq2x1uYOVO+/icGjgfeYRu9TGmQ4eeim8UQ9p8Z39ZuXYFaEPTrDMqAb2MwGceyqyIh6ORNqFuKyYBoi8Ktq2AS1RgxVJKSDRkPSHRXgWjjkrvhwXJfIxhwJLAhY/vhaydLe0tEle+zfW2wmFFVsUJogejVwffxvNQeNLjF8z0ePpFnp93aYzeP/L+NRBgyeuCB/Y4qqLn+dovlZndTSkumCkaT9oNvMMGo9bf+VpgEmgZ4NS/2jo9dRPAweetlaqJlMMHPLFA8Mq76mcb2BXCiyzZ4DoUF0g5cldUuS2ehGA6ym2WZQYDbes63F20XEezcHacTxgqRFKGjY4koTkgjcB51s4Q87NzGuStcRT9ISpD+GA+Qi2M8CsNJFesGaTRDesu5PAlx18sIKqx4N6dBMMEiTKnSd8EKP0HwLTF0KKbffYafsCE70M7RNXrA+anbhviYd79QmpBQ7Daab7VWXPnOhFWC0i6RaggROotXFMiZrnqmbrffsD3/H9ToPDJche/UplAFxfVnPOTr26+YlH3zW7blWQQW793ITT4dLesGcKi2mAbxptE2oi6r+JxrUjBkdWESmcnXEG6A0gC+LIfbG8dr3RzDZB9ZsvwF38ib5htPXvoS0Lfcyy2zhkOfSqQHBENn2mZobD6Po/q0A5Q8s0a2zWVb0oe7JbKuttofnn3OyvYG+UXm4dyt12BsYY3JWzRlPiY2F9ESmTgdo0V7FM/KB/UqxRe1kZjyn7dl9seEJi1Zdh6nGVNyBTa8qTbB21LVBSU16FM9f8gtfjXPmIG6pLBqhXx0Q0MOdqsziepEJL1aqN5ZrOyjnrAEtpO+kZRqyJNSCAhIrhr37WEKwy7992lCE9A8Z739z/cSktu7bVmt5sVx4ST7G9IltoT4ElnJFJ57dU5Yw4N8btFOU+fTYSit3lpAlvHvvd0Zvz+WdEdh8cNCFn0JrWgZIux64/cUA2pP1qBJGWZaw7ipeWcNANlJXLNlbiT+US1lPmw9pua1hkquEj29gnTo7T7E8QcMBC6N7r+Vk/8AcNRDRMfuhZIdsxzDRcmuelFWojhWev/Q6od/h7qtd/dSnOWaop76xtm8cljIRn5w7GgYRLBAUExDNZS9infHEQTTlQHSfAq92C/s+6Z+mEVaW3TNFXdeSYfdBwKG9biZU04v0+SuTuIl4vWxUtuIMOLIISivkod3PBAzJQvD1J85HxVvo+3GRLydNHr7jrcoU9HSTHB2rkVNLX+ZpvJrI9JOrnLeK6zDDd1jxeHfkdydfi+MFt+hdBc20XoAlIHUVAi319TCqQS7gxIE+LCuoK/Cn7FPMFjg5Cm1nt3Iu639Vms4iTlgqFa13WNdsjit6f3QoWNy0G6bj3EKDCU0PebBn4MIayQ4ar7vfIVepgMCOxDWuAk2iSrHxZq/RePTC3NxoAvG1gOHc3i7Ci6oV1rzFnwlLsp6QpSi++M4CjZ+dbq4/I2os3/gV00jFZKOXMYlvpHitOiqT6886IlwKGFPLfJ2686qZe8/TclzaG2g1KdImas69NCV8SYq1eB6U4gUxfRcQhftewkkWwxDORR3AMlWufPirOr1wu/MYa4K4LtcEPXUBu5Fhz0bQOM153jKHS+fRBnwI7A4RlfCCje7/cyAV02HI0iIBLJXcP6CTOYwcWQxZVuLjbc9svrB2o5/0qn+MedrXeJt0WMB70PSjpwAypphEMCb6FTo/0WRYrkvb0wiq2xDsuJ3p2MRhtvFcTi1G9RPBs9sVldAONcOm82lbgG9nvIvChwagHd1YBFJs9B0AiOGYMsZOYpjSDKcb+qqXQf3Rq5zl6oZClVwxJZT/UVDAoqnxnjyKUjTBeYORpLzLVHUX/RR38+mANCHYrMiCoHa5mBLki0AgULjWL8qIWOLAwg7//JUMuAZ1I8Rl1FODqvu3UERznFlUgpY8Lr7kvZ+6I8V+f6MRwgv72io+Pf5TmPF45KKYjc0ZwxtoXxW9p2zaPt7wyRKJr+xDqczCBbiZgX7n5m99DKmI5HkZOREOTl3vLlQ8f4Dms/Ml9K4HcZQrZpsfvlkFEARGZIkZEWrRRR5GlFrMRYuhr/yCGl42En5vfjjjjwZ0nAQ1Wrv/LlOz0Rna6iCr24mrrLROMgfWh6Wgt4x/YYeBMMUB8d/hYmi1/UtTk/++VrMvij4QDP1nhYVPTWCDFL4JNyWHOxwxdeRxBpyq6rQy/YrTcG0njTXzE6+FPH46O3FbNy1k8FwOI3xhMJ9P/vvT/tEZoKVl2nSoddO1GjBjDNzLaHU4IcB2bsxhues+b10Q0Fhcwwf7IaqJDQM93sEk8UPh+kycc5He5QzKzh56tlnTjRKEE+9wdFBsnnMfHIiG8eRmC4/HIEkujFf+0jrGPpnR8S1mzhgBDPCHORG1Q+/Dee5NMwk1JHNl+mYwpqG6kxoT5/3iVfPnyK8GuZnT9NTfh1OiLhGOHdVelwPKv/MkyVv5Wr3uzkjnfrX3uzfLPSR3cxU9ecbkYxg/n8JcadmwwrMGfDjyup/aXdM0pfDConV4/pzZTe3SDH1mDWUDT44lMxNjtW9NBq5X8xqEmsPP/F/l3YuFLCvAhfThlt8QeRwG7cqq9Z6+0FClorqSnXOkgvxImN+T0f8iwoHwI1RckjBB3VtrO0lIqWChRSHdDLPsJq2wjkmpjpJlM0iBEpLOJwwwp+mI7Vb6DaQPUacgNpYkvBFmyRhqAZ8cZH4cYa3aXo6I5plxaYu6XGFYpfDL62EOq6ci/4/u2QiVxit3qihpe948uIZt7djMvf9PuyPmLK9MzfqyVxE+KEgx9g3h0TK7nAi4o5uWgFa7KpVjj+BnIZAGu3OZ5qGthk7AV7jN07vuseZq4Uz7MaCmEgFaFb2bGv3CEvG5V6CQfiFCMwhCBSsvodriImBp4QfQYeQIAAvEARdJ6fxpVRxLL9KyWmQ3NCULTX1zgg3spYBnhvCbnH1QODMyc/QhAN7nSbENaVR6/ohgWP/C5YK7xTjgGThgXyGy0mxAU6QNPG2+koxr4N3f5tgGKcUZIo9Flj1OTB0g5ANi/sl/qelU0d1sMDW62J84E/AZC7q0OewNQDSWa007LEbEwRvCHxvSZGJVfGimATrKKsZkGpD8l9bo5/CIO9vuv/ZLYqos3z1SPfMPufwlqccYP0w8tdZtslXiBN1TSCPrSeB+IlH5IEmauhxXIIMgUcRhOCvTqdZ8LeL44Ky/EErYb/M4hm6rzSK5Iti4RkbSrwXqUBmDOgAJkajY4blWb1+0KjkkZVCt7A7vWN7ifO33bmPI42EYmUsp+PHZEVvkT8Zr8UiiQOMbLCbWQ6IfO+UCvvZYGaTqvTKwr2iUVW54V/+jaU1vZdHU03jDILSxfROE6/dn8L4lhT+VqY0I04hMGIQLHsCePv/JH8UU9Acx0XpDZ7pyLdR4VihfhNZx7oP/dFcO2E3eT4WGfn/wnpeyxfbyZuV3/NeOol7qDS9a9vhJfEmI3L1f38vafTd53+VaJ45/CTQUvAIGIo5iCjH1BYoB93PyXCrLBgGs8m1OkofQ6XXAqEjP4NFRUP+JUfBC6790RMaRxPmxczTySq8z07N2+Rpru+nFxnj7rgrJNlCH1lrLCrFtTUQPcTJwtbd7utK5QS5VWF5g8JmZSJMwuMbhShDC8QPy3BJC8JTfJIhmBLuRej9O3WCBrIgq7/mzfY2jPmV6egSNWjNKJIllwp5pk1Tv3NYoyfebPpBtfCJFNR49I9zpeg2PHVMyqUx8CrBSdISSG1qezpAltOEXQNul9flWJSU3lz1BhowlqZRf4zfdohQ2TTAeXQRKzaUdkABCYhij0P+24WauApSoFSCS76hqCKQHFHE/awQN9jrNzCcPpNvpV1NmQLLbvCmBqOWv/Mjg28IJJGbuzDO/+FKpMY7Ka23tuAOv4zAubnCk+hDUJn3T/nfjkXMd4qZKLC6vAsxp88VTgneJLTb601jHQYuomvEx7H8uhT4HGQ2tkW/U7j11X0ZQKMsQii4m4BjT2Odd+YYbiGsgcgWyZGQb4eKwLMl7x0FaqtnosXQfQA4H3JKUX9I+J+SudmJ2/4YOegDkUUYhnbNb2KlJvHD1UtYPp5q1WmXa3txg5tIKnGVh1fghNmcQ5R7c0BK2UJxFJfGEtPOpGbydOSHP/n6A4WTgHmqjBf5viqJAGE4YComjIH8aKGB/nX4AEyQmWOT2NQ7CFUrrDJpKVKZ51fOYPAS0l3/wxgjrjKhati+JX5l4zsFSOH1fG5q7YPEfmBJaMq54TQPYgqQKGlS9qQAQ+DhRZtvhB66UjNJOTGxNEK5b4LktOxGGk328ZdA0+oHR3WudrmGUfT6Cz0sBz1r7WTcrJsfgyi1bGk/jz4Xh93AHr0CmnZAN4FvkesfTDf9+jYZNPJNt4LJ71lf/dkygaj14HC1cVredygSVIC6lS4a5/ZQWhua5Oub6B6uczUcouvUGhD7CqmMJr1EE8cwsaO/8c2j7tdoX7RiLtIisk8UMDhr3oMFr0eihwuywIqZSOOw76Z1EtREAFzLqBqHTykkgMTj4j11WiBE/GwZ2Hwcgu+Bww1FMop0/YR7SjGJdWK4okVmqJ2Doj/T9tTEh3cOz8UzFCv1WIbuxGmXXk3UtkwaylW5aZEaLprJ4BUP/IjvRZY0F2WbltKa9LxLQphNNQU7937GIxDouPio70bmVh94ZNJDaZHbpsUKcSsBzFFWTmeXmx1v2a+C80nDzIOZw00frJ4U7eICjeAi6/7osaO4n8UXMxBWocWBe9pyEQMpmAAVS7ncUBqPqQPw1W1HCezoRbN92bq8fLtinEOMAHrPwSlRy5Bn8xyM5sORtpa7j41bpMgeB1tOdcpArKuOWzln2+ow1oFl/JEvKChM9LJxq+9eeIn4q1ZKnQhl2CrGVm4kYKc0m5h9UisXiKHHM5fb10C9yfTLLdG6X9to8fVi1T9Z5teXQjGtfZMjbHEjLjDnZoxcfh+8Vio7PNcwMz13Md1S7zRWDfU/OV17JBJGTypEYNs1gSwVvX4YVZVt9hO1jxkxN0bJ4ruWBuPVmcsQwpbPcGjBdx2KW0I5iOwmYGQdL0ONzjZXfUnfllJE+XmrObYpiTs5vkZctbw9/mInK3OKPHGANJ5Gg5vBNmpyVReIvFa8paAhIxgGd1PI+jHebOt0vrDyV8M+dQDgBUi2G7V1m2PTcBVTaNGQvR84d9489viIxFku3AOApTz6hm7GMWhJZR5wUzPGRzXsZ7uXacmbVIKs6cne99tGMIhKPTuFfm87AMP5sziyBOHGAfXWyYmU0xdlNJhpyWY3k+ArY0Iw1klLpRO2x4cLPZ2fHyxav1RuhC2jRTVmY/IvRMku7MztnWpDc8hlMMfe1wg3BmTrMUAGVWUOVsk/jiIVo3We6JgHEi8hCCB/IX7BkfgHOWpiLWw6qklIdvHQAjs3aTjV7GkoD5GWCmRsg2D7TzxuBmSQ/7dGGt5lXuCahaEsdh7PLyEKN7tAh/dXwtuwTvk2ZFCOk/f5vjUOs7qNYlRabszZIieVlefKr30nhhALMUFG76SW+feFoXIbkz0dMwvoR2F5bzMQDwLuA08EkRWzGNfwLJQihiuazlMwP2aMExCnn7alUyUqamp9C063U+S95YQK5AXDP+eoRL7z9kGfG6Afv5Yr5h6VnwQrnVLC8nd4zkejE+LO1b72xwzna/g4uTG7WNlsSE9RaoED/W3P9EPq36tdov1+ixpQbA8O90Y4emw/6CipDybcL9su2odR1p7/Jtft+Iw1Twvh6rs4Ah0mRbd5XZkSda2PhZ4XYb9j2Bet2IVdQmo6iJ/xbyePWEk0Bcx+P6koee8+IVe0xkBQpT9NyrHmA0ubfpIFHiEOMqvV2sLY0KmRZkkb3RovPp+HwDf8l2wA+3XLT9zJcMZFLsDzO3/ealuoFvuwjIKeSAKEh3CAL+mwIbaoXb1FPWNrUFCePFbOdjstoNBzHYcNee9wvzhf9zaYw8wbiroXAT3AaVIsEqcOhlWib138nsrJ/EujSmDCGffsXV52fiDsb6C2QqpupEfW+cAlZxOc3Z7Lj2ILJ209EZd9R5L00ZDeZ195JH44Y6vg+F/xRFS+1N9gVI+/kB3JZOseJb5baS43YqwDA4EsO97p+mp6PR/EwKR6NV2b/vTVltwc5cs0uKdTLJB3M6MOj67nK/8jp1Wl4k4lcUT/kkFXRY7HvZG83OiXGOzykQa68O6YuLWBE3MxetdZTIcrkKUSFdmpsdh4NNNV4uyGLopUTbYyKxGy35yF7fJPU7MegjAquufLk7gELGnHHJ1w4kvRRC67Lvye0umi5CtvCe23U12BdMVX3z7USIXoiACEo23M+6HzHj8FGDC+dya2iYX8DJ5CWn5/r87Uc1dmAapnEKrhPRLHzmpcKFU6VAHsI+oIPE8gIQ4Isc1YkdOSm43g3FMP3znH6FIRyCu9f+3QZl0D7GkmcTK8Z1Lx5RNXJtFpBx+JMXVZg/6R5OABHQEwmJG8PFCal4PI7emH5CMPubENFOp9cbmHyt+cmfzq0Fa4PDYY7e260Y4RaF31gi9710P30frW7xGubVdHQM0IBRbuQqp/+WLYDOBt4FdrCT6FSIUnjSLT/DIR/2ryZxLzfNSSG5oQQy+VROvFKkhPMIpO97EFuSTk8wV8vcSgUI+UAmi8la1Dl6qHaQ42/2Dqk0Ve4Qfj4uY5kxoR2x0dpiTJmrjYx13N6m4hps9mbAsRzgmu/qcM/Uvc7gT2TIFUoSBRQYidk/IYcEGpIFFVnkKFbiCCB3oskCXxS7p4QiZvihrTmgT6yNgIJmJ3eZsw6zzJG20Cp8cvXicYHmeAYDKMOM6pvJtP0uvcoGEk1IUjttxl4tpLq6PPDJy6UJG9wcwHnUtmiK7KoX60xRcpe3mPb0qbykuk21/fpcpC6jqM0DNkmMvU1pqVJZ/rbGBacYSddt1jjP5QEPrBj8IeJmGZLg48GL/ug0eqAJhVgZzvW2HBCoGtPjTXjycmAqObtFHV8p9bDoZLUofZ1BjTHGESpFWmnwuAxA0Vx61Ct3jf4XMe4YtUat/CB2xD66ZWm55ep+5fQhDXYb6vye54frqcQHYnsMKfqm430Bgyd7FDG2TB3rZBC7fDR0b/jV4+oKO1jDQYoIef4OyTvgJBcILd//iH5rPYr7Ie+BUH7dhbRf2HWrvCZCx58vVdXTvznD+cysGorAmu+10VFtlHMChpmURs4PeyPpJKEDYx2jJeIeW7TzCx52OJfo8rxam/Ua8RY0612CeQlofIVk2WNU+zrE91ApFFm7SfDipplIXj5/p3P389MSbAA4E5KYC/nlMx2iuOa+MbvRYr4ExmeSilyu4LeseaV3nHj5koFyd3Du/yTFPJ1pC8Bpbd+wx3bi9nx6InJvvwn4vdgHX3SBEvx/k2QxcxlAuRNE2eg41b9gSk2B8TJ+KlfLw51yVA2ccsgey6Xpbr9Z6oUEM6a8WwgCzOJAJSUdfnWoTQMRUtdU7RVRpqeo8wB9S+udQpgpzfD4TsGZeNbqRhEddIHfsFvMBwzgRwfJ3vFbo1L3BHFm9ZscbcY1sReTA2oc7IXh+/C8AFw19Cm6DagwqbiLCkT5tOhxg+OO07iGzwGKobge9tY1ej6Uk+YtBsEvs8hxyKTvyAJ3s3zv/PKaytmk3wPgkhj2M9OUtP3hzlbLLOLdfxHyP1IQuTvQySCfk7KibtdynlJ52SYQO3n/vxNA02Bp8jV6ycPQ7130DxtYWcC0aAsZyqrW1Ab5yUyaECb9CnMIBCMy7gBW1XDAMm2Cecat7MPX+qfxynVyrSQmVDpTZcbDEL+hQLsBpdli2JIsYDPToahqmJhQNyFAwi3QUNNCm1wBf5zJRPm6hIqIb+7/7IUM/Hd6+U5GGNUTWYqkQA4zo1cLKIgNJLl/PE+fuOSUEKS5iW+s6pj1A5s1VZLVSYFZPvZ2mYYL2nyERMV/kU1l1dNDMQlcXZlvamhWS395jCAq1h5NNZLRorkvFWePIQdQLEWr5mAOrUiWmu5LD8965T3fRfSTdR3j0Miv0SDjJ6g6vwJqXYgrWIQCC2XNDoBJJ6MzBNj4i8v6ilGCPmhY4siknZPgVGqg8n3aA6J2worr4yiHtItQSkYT+jaIX/OarQkGAFfff4LSHLaoHCprVYLLctXJzAlrpf59kS6x0StfYoM75byNqcKnKyQzveYVBiKQ8Z+kMB/eTI0QODaKZqNuyXa+uiZe0aE0yb8mkZ+1PbnnWpAjLtjss1sMPxquVjJr5KAZomcWdylthdtksIHrgMBsPuajKSLHiH/8EzDqdropI3J/wT2fRaH0ZWap7lyEuC0cdj7R36auOIqUt/X36cG/ZwSI0W3ujrrSSOAApxOyd3qNIEdDt2MtVihavDjYlsVO4hLbJ4Io5qEzCa5ZC4ZEREPCv+Z+z+HnaKkbZ17H0uGlRgSbo++h/yPe+RYVXREo2niPwUvhZWkA82N4oTdH2FaabBP49yYTlVYaPN0yqjkLGbh7UoSUS39SXfXJrrbYxEo7jEjR4LOVelocyFvFnpQEj4qoxwhbnU/k9+4d3bvvr+/6GIs9bTuVf7Hp2MLAWOlmJYKg25YAe9t3mLQb4WAUnpYE/fcfcTDs3tlIU6tP917yWL1fO7VtSlBYBR8fjwE6dW/mR3D9vICcHdjT5dScJa4qqbKTNxF5VUFQzSUI/Em6cw20uoK0uRdda9QSbKM4r4WPxcWlOtgSayAAPOr8Ds/1GSbWS7dUBY4+7BgWTimj++6tfF/+XxzVoEFsXW2axnzCjzDPW+i6I2BQnpCgKzOnwSxo9JxTvqwft8+JF1XaXO0T/Qv/2x4rbGFCPZhyWwgCOAGxAl9O6kSEnc6dE8d6284sMIblmJUMqnMspG4dNy3riAm8tcZ/SRMdex3wVC0AoSgMQHXjDR8M2+ZCx051SU4arLdeHwtKZjCKlRi6AG2tmro2UTDcO5Ht7DB177mSTeJDHFjOniLzoOkw4+NVNXqwaSJV4gICPzitNUceuKgZ1K3yhPbwOOuECmqtu4lMbHXuWfCyX/IBYIqvP0bD5iuf8Dn9eQfLc0K2K0BhaQkD+zvD9GYI+kFRPnJ7QyQ9FESEuFXqt8Leh2SKkhlbTA4J5e2oy5zevSgmtMr+mxrCS3EeBjRJoIWGpYTzjpNjtrDtLNnEW8iF5LJoQ/+3giiTMvFSSasX1iZdAWHFebbT3LjX6MF7fy3OqP+gfEvLKFlzuJZTfj1Z3uy8qcu8tHKUVGXJ7WJo8368W+Id0A6SAbFn+OFCC5/yOjT5tjRQ6W3miRcHVj73z1YyVbUmyqMC4ePD4IdlC7R1MdpcdvwAW38IZzFW8uRlgrCvlWlbrOqooUJlD9qqbDTr6VN021McHBkMAxLyINK9bvhF1tsIFvbgN+fnuakjqywEqMzJr7SAJiY7FvzSGqmhO9zIkvfWPRaQhieK9n9ghYUyCbv8wvDSIb+T88nJ8uaZeijw27X8wvR8r8fmw5Abr/UT/MZD5SNh05UD6yDkZgP/oZSPZS6Zry2S+roX+Ryqk52f4NzKd9l13bQ62hBkh2/o0B3CDNiI5gFsGxGGd+poXtB0BrCsTzImT96K2KHwFbaRQelaWja7pgBQPfUqpVNWg5EtKp+0yNscCl2qMQdvMHK+p0rm+4/gu/ZmQhNXQDZpRwm4Pbgm7CfDPtdBw8a42vogZN/wdwj7hVAr9Ol83KqM6a2pkNQgTFjGaDZDZ6OlU/k/EI2Qc3uGYBElTwq56XHMFoOe0LxPszROEUFPiQX5GalMnmrPhsl5vvaaGCdNsGsbt7AEUr+/zJ08oFdijELfYxHmzKKEl0B+NzP18DEkv3e0AdLhtZQ+WgQouj1338K6p0VKNZCQHTkiwGnlMeHKfUYNRsstMW0Bbi7wTmaK0qTwf89dP8HZFKxFmA7vcBQ87AKm8TztNuUwQpNOFqXD+8Qb8I1RSY/o3wLnShh32OEo7HbednOHffZvF04KZBjTeOBbUwGdVNmkvrrfet84a1+Oit7kJzn18x07OMsLbsKO1HLaRTwxQpe8WnXfv2V1dSU9BCty/5+qs7s54v4mOcw1V00LW7HQPwoRcfb/85fTvLTtZ2r2npQ/h81d7jGbuL3IbUyy1uDXi+WjZQVJUE2/egaNCnnsogPtLRh2EJi1uzDNw2936GujBXO9GRzijOHaVp7FeDc1F3Fq+0pQwjvnEx4DsuGJeJEBqb6w3LLvJc55ZcFVsGrC7p8V1TvT+gjptqz6bkPftviNOwVBXx6nTCZskzcq9WzoAEPjUppUklZ5uUTf/vLvE2b0hFOOFdYhrzhYEykBGIE557Rh7MR9bPnYMPfTSSN/D8qqUCs5ra2arZ5GmQaRdQ163yUy7t3pbNAWEVDoi7NOU9DLuS2/MaiuQj3KB7rvseyKtmXf7VCdgZ0DT5gVMH8ZvtxBU/MUBi4x8v47RMtrbi79gXApI4PcKp2JD+Eb29qv0uoqZ0wIs78ssj0z0xLlOhCaDwMLTKG8WNcadQyj214Jgh9LSmu8+UYglfXc/5L0YOVKFXvSFklw3krGO78Mr1+/A0pTs5ZGav8li33ZAlcvHQR8UlVRjpts34jk3KpmmoYjCQeOaBlN+mYGy2fcDyTlrHqA6JYWpQoTAU8RSX2fxEQDal/a8loxFNuSDpEYNmeYBZ0k9ikYoKx3RIO0mn+j6Z4dSPXVJWO/KoQ1Lqu46saoSEm12CdjozVdLqVv+Ur6LKuh6Pt7OPvSjs0Sqpi5/ztP9aGjh936fPYIZFRWLS+ibPvNlh67Q8k9kUIrJHM5dEwbJ96GFIh7IzqMkRRDH+TgW2LwW9cTrDYEPNHWcUvbexVrQWiamsdTbcgTzfjjrpHXFPq7dp/OwvfdeMl7S+V5c8bAU0lPasID3wUeYaTye+hnyEK9tnCTsrhSJJStzruLQE6mX18VT4LnLhvVDbiSKoEvBYbbzoNgZTR6fp/VMtcT/RyxUTWnfpeuzRWeTo9nQO7FzbaX50MvK8DDEOohmUOqYOC8644IIypNBqD8yQKbjf9fod7m0dPLzOMFWwxtgqCuK8J2GatdVEAOIxCOuo/T9Mzp3m9kMhJYwXDloJyadgPOUvaFEAUlGhomlt0sbUN/t4Ktfy6d9bwR/V7HyHGOC6Y8+nUYUJY3Xsi+gd36O6oyFOfS0es8it7Q5RBb1YKsFss3gJFfiHfEz1CUx7+JVqPX+iL00cOld/YMJibKIeHc29/E4mS4jtnqKDUNA3HriHxmMFIIeMXG14LzjfO4ii/bncghUsfLZrpKjscD1YH8NyLTOHSCaZ0od3WmSd/WmLlXrFlJvsVKEt1SxTT2lW3Gu+1YrRABJbU5ZOdGD1o2ELX1tNTLPhBGy2fLwbFM2RUDML/2FOuNaI+cH0sW109jyREz6KnhZf5hf3f3SbomdhHKkIaLAYxEDVJpP6rKHM/EP5Y6t0cvU1sLZUY6O0uBuJJeryPnNpmmiB5bvzUgMxwu5nOxbNVleQHYhTMaZgjL5tY0j82VNWsZGGK1pJjSrn2Zxner3gHika1fF0miUwDH8Tx98vzHjAUdIJgumTHvZAJZ2xkBeBA0me4HMuA4NYR2uErUfzP7OgzPPoZegwrbaRa2EzXyRjGb+yJ8U0UENknyMc2qFITGsJ6QkPrig//AaKvyZ/V5QIE2JCa9EQnVWHX63QPIDOokiMcsz9/D3DWUaWWLqqxLY/Cs98bNImNme/Vxzop51HYkPmU+ZuCUCsp8HEjrnuYj026wKIYFHdZdtZrtnm+Px6+WxvsZgFZw2xAmgz1XvMz+fJ3eX0z0lbQMYDfvwtuC5WX8HPfw5tqzbeQfosXehi8Pg4sgEnAHA/xWh3+d2970YEv+aH3rtnYkGkc1jdmiY3qmGlCOROPfbAqFInC0gUzb+9qDW9kF7k2pMXAzvsjdEHADRyL2yQ09sdIeeNthGjo+IG6ROVKta5+K8QXGEF2uqiUlRE1egwgQea42n914kD6QKkE65hqr8AwGszu9IppYAPkMjEF9jC6X6fm18glrOhbaQ6nLkyo03yUyBju2M6wwqbE2a3BXP1NdeUhKGvcUE6o7Zwob8plSaT0zYE0WjH4brhos3cgUP9NLpu+1L7XQCxB8uQTN2Up+RIYb0m8FHrrNgviJtJrNkLkKUfbAKArvjYXcnz6GV5lLQHOFJWXNsf4o5W8UMDQEeCXmkr+kIwmQ0lUrSi2gq949QhX/iULe8+cf4bCxu7b1l0+zpbhHr+UTTvFZA+tL1uyrCL/C5eEfnu7LYW/6slGXw99lY8QIS5WnPvCPDQF81Q6n3HO2UScCD6vsDZYqvpuX9Mx0Ucq1m7hmFfEDT+T1DV8SIrC/SnQF7Ro9XjkZ8Np+9GTLFpUAnEnWTKT1h2FttstAQ5tvrD4LleP//SKYGknpz2yOesEIGyi65OdkttedYLIEISDKlN1um0bKzpaUfNF4VsQjG7jhmO005+CRjhRO4wjnCqkVsZo2Hzv2iyNSs//CsZ+rQrLg9FOCtLCuQuYUzCAmW9vQMSMk9KhSTOtlnsVZI+rc1Y4g61fZf6kQjl2taFZ9xTthsdafJp9lZHnkGMxMaLDfrfWv+TOw8103ZgRxUCALJ/mRNevqyA1RSptlj8HGl0p0yOpxCZgugq9IYZCwgNe2czctJR9fSye4/O+33szxiQKStcxu4eLNAt/uqh4dcZ/kJilFTsmrpPzOthMsdEDMwKlAH0KfUa9v3lJoGOUtR0d9aWseUArLPejjUvHr28lQdq0cGh4Fg1zl4tj/GXbbz8kjAeQ0iIjFevQP9+0ZgHFub4GTHk/yVi8EvTQRFvb8H9hqr1FAiTdEUZr7Tq1zz0Lf7rfxO5Y3LbgWnK0KbmwP6VAakoW7/EGvmcBsQFhQc5b8haNSDIui5ekt7SPm1GbKCoi08avlzTxMDY4ldyD1RgBo747RR1Wf3h4346q3NCnJ57bkOGdsDj9I6x2+iRYiQBQjzg1SIsg6nnM2Sh1W2vym0w7HPxPIyKq8h12scctZEOH9/q0ISjXBlgufQvlDc+lPYbGjFkiFiKdUfTv2+XISbyzuwnjX1HvbRb2SFaPkOOZkh77wgamjH1KX6byRIqDFx2FYthr7sX5UjJqQV/x1suGzZe6o74t6vkZQzrDhnOYCj6fRlBm5DQQTclalLoRayFL8A6SXVlHW5jc8s36lcc2vxMgp1a2GyTG9MYV96iVHFRn0EI/ppJS0jDH8w6uyCiGM6cOKCwLEZxheEF9/wDrdBJAA707r42AVE/beB4/XknrOxoNo0BA/xxCr9obNZZiOD2i8vKkAzcV9Ern8d1HkftEBHmKmWG+4St88hpq6JMRsD2/ZhwkhaRyXFLM6XQ6f1tRXqGSSwZ9r0r+Qz6lhYueWdHmpTn3OOcxh0BGQ7q6gdoJnJxAisnOwApVjD8s6L3EIvuOoPoYrSFSru1NckH/4Frp1dE3MiSZB+vFm5v0QBMkiiI7Fcx2qTm53a07cHG5rsPHi+1TqvSSQ6guwj7/lvG3e+irb6Jq2p1zQ36VUET0S8Lc14XsgHafja8QxUNiDUrEx0l/b03/Ni36XXz+xjIKjWFiVBHVBYJRT0MoyiwRTUD/i2JGROTJvzwk+ib7tg6ew77W24oOQTJR5GbAA9lZZRFKRdtYJ+YyW5wMBaRPIqc4LdukWo9LuEVf1c5Ecz1nnhnpT/JHKbj1utBd+dZ5fyzs6bxnzbLPR6q0Qmf3izPb9ilxib2FA+pFh9DGsV4/ehouBNfD4i/fP9FY7sdAmud6C3thM3My7MduEbFiVxsc7D7wp4yhZ76A+xszbHcEZJJT99BlYvE9ABBBj6AVM3OkFcaWdcyeRivMWJynEDLGiXTQ92z+Tzs34/o5FmATNNKaMWyBuMJuyqJZtPj1voVJGbI/fbtch/GxmGGSgrgXS9demfv44ZcDga4pgywlmit6prvbPhFUzm2rsDu662V8hv1Ob3jtB/+MhPbeiUyIGZW3np8Xdbjccvp1tSZa9GSheBumkIdVi5TX3qNQhQOvWOIiIpFZyCP9GXhy4agVFymrUqs26qudXMP0LVChqbxdZv8zHcI1K3RP7U3PwZtx5FFDWjPUadKOVVRGfu8jsjRftPf8Og4OdjwZhMlJ42/OP0bd2t22dS0DQ/S8TclwvAExp3rrTaj4il9MyiFHMQPMDeny11dst09YCwjeBCrpDShpJ8iroB2dRvyDk5DVZg/Yj8OFVr/ywRGw0Pwp74OPVR92z5pD8um+YD9lyGC5kEU/CIEPjrICSny815U3BNHip6Lp5ejLIqQo0hAk3tqhDXGdaHp3eNAO9DcW2w/XDyek5ZzMAJAcNcFzCeKca/4Murpehnqumdxn+Fz2KmdR43VwZuGr6Dq7ylHhYgpLzlhNLzkVMQLBIiy7Tt3nDh5Eo47yOLqH4R1M/dWP3UIZpd4hcvw0Hx9e/IOW8/u1m2boWBFz+/yXiShldBdYd5LYDR1k+Ty4057dYFv0EbFKwFLVO07JVbx8ChCtvFDsjRDAebJ8NCFzZPcIcS0gPQ6+ndPkWrUfSJTiJycTMhpokn8lUgoBQ+rtwoTfZ4dUtp5gqXs55KcnRaxCQXXrDwFltxJTFYFKjHT3f/wcVdnms/mwmg+AqEwZu1EgCNT4h8SvTFSGW8+yDanJjge45NR0irx7tnw0kuml2fO5hMniONFpSVHSTbl71UqyCuuuZIuJGdU6UflSfnrgdYBObc0HLGcwqYupwqvJLuVxNAeRVW1AH8IWDe7dawFaOxIJ75IdHDiDNkmfpuZP+JoP6zRCnYeWTP1xAAdMwVznoNZwb2vctMlOHuKGR7ehYCDTGFBApEnPaRKRtbbEzeBPECd/H6vZ0EapU6QJWiPq+rctZWcYJcpwx9Mu+WJuCN5MaHn/QmvkAnt9UXi5XIsB1evLQGERrCACDQx82f4VRinmWHCpJiWQB6DVKag4S2OB38/Wq2NXjdTC1m7tOVwFqv4YC4T8oXnKh8752UE5QOnS5ZfEladc9fvyurSSGfic7xqWwl7vFomRmMTa64fT+QSls+6sdV89d7C+RIKi/YnOb7BR2BKHw7Qn0boeVphIqcvYBeEmdKajd1vZ6aLf9MnfU1mQhpUdV9CedPYEGgS5rD0tEiKRspJUP1h1SuDhnn2cAq8BDxlGYmzlb61eOdFfg0vxQccHic6oW3HIWvgrCpVIP6Xo4NBRB4f4lXHctcG/J+gv14GWehHxhqkcj2pkEOmoGfsQ+OJgxeBL7Zr/RqpKTWXYb5TBLQzasuXWHlrAzrjHimJ4DA6ODPUqc6yewSPPT4l0s5SKnYVVrRdGl0oGRa6LzUcKo4OyTLRqsZltDWue21Vd/NBpSWVDHPcwJW8fIA1YpUBJo01XqlmDm838k081AfMhidh5HEigKIA4natDtMKG3NVQQWkCD08Z4W1F9VlgsS4oPCixS/dghN/uc6nsNfsUJ0vMYdxWUJhtOU/dGTUuuWuFq6qhKJ/GzH8F/WVpj1W7ZmQT/r+p0jEoaVH98cgSN7KtTcZYN568UtkdULqEQwm2JQJgiMRDTKvOmp9v8+m4LGvQAu86Jl0IKcOOEhfmO7Ra+jEBnJVKTul0U5VsVTUJq3tyDkGuygd29KfFLmtMJlrWH9KFuBml0UCqDB5owXWX2nLd7x6BAdtWqLyyxjoAHqpIbi1PuToZEYTZGrsPqmFjXZbLCz1rF7B/zpFWU/TClcfBKhIZTP8kosWYeG/WkvztWvA8zTjG3EUNHbGd3sFApijQVIfnS7jUUxG4i9YiPZPvZe1M2JiTftBfSLZu/221L6GG+fjmYgc6ACPDjULQfF/nMbONmOAQuVmBs/W73iSbNUimxMP6hr94TIpPWmroMK7GbebdWCONxy2/hSGslRTQxReEoEC5eFFsgLXQU6g9SAXIUjQxtX6/qKXN7wUMhT1ENIoASs5VrI+DfMgy6IJECsPmUydcfL6BeV2eIL72YmWwpbY33V1Js6KZ+E1AVDh5qUy9p8EFq3dGopqFF+rPFO1f9klGHDL0hp5HnY+5zeAivDgRvSG2ybUMDnluk/fKuos2/vTVF5ewTsEdlkVi1UHDtqogVCTPSp867AAG3nniHa99Qat8EAtyC+FT7P9Xr20VkIq5HrNcmuPGlhk8vd/+2IgxK9DqWHlfydEEOM/+9TB0UjvXhPs0qVfUMEnObgbUMlLjZMjSUCKTAUzMkWftP1IyP4zk6j09dd8pXHeZBExh1pryy8dHV9SjgdYgBgSP6s9q4V1a3KEQ2z7ZxX9LK6cgReFtVvr4yb983Cp+5C6R8Pk7fc2B6mFr2t29O+C5aVSUkfjO56SsTOM+ghl62XmL8Ysz5mDcrtuAlLrpa6RJilgk3CCW/HC2j4yBAsvqkDTtk2o73T//UevrQKA98j0WHpL+zPcpikBooFwIISwwyfAmJMgYvSxbj3Qce51R+YjmBNq6V4G+US8bFaOT6SS59eq0BRiLOPK92AihYh5HDUqWRfihxs83fAqP8Bs/lV3Cnzq+t0zZAken1XOGmFewtbivN7Q2u6LE/CpR1SeqO4lEKjGzjknCLRkKp44na/0VJEY6bCphHpVIdPhQ4f5e3I0hU/Z3wQEdUqLjMumu8x/hKJKUqIPLx2HNzXTmX0Ctb+szesnCHLhDBZA+ieIPzv+WTtGS44ugrxpT+MoqehwBVE/Ib3dqZKBF0lkl8uqlcHu2hRy++IOhhRRlovgOa6eCzY+GfqObko15fLFn2eX2TOg20aQ3CZzHpJrhWKKJ4oWTqzQOTFLkaQiUWi8JC2nuS1VbhaEi/2x93rTmXdj44uyLVmjR8uEN3EBsYK+izeW+NWl05Z818B1rVY5uI9PsgxiMQzAsgwFFWSpAZw5NSTB3Q+9Kli15iaNipKdDSpzGLQoc8YdMkerjydEWnProAMYRLmfp42b1yz+hBgXDT71vTziyKd3DyM543fyRJ5G98vmsVIe8/zUm/gO4Qg2OTRIxLv6XMG/8KCl9giXPYfvOPUtBulR/Tdc35WaFeeT0fo50X2TWnse5fySIUmYGHC/CsW0lM8OfaA3qOd41eUjcYW62e9VpO/ZlRJf87P/Z1avU1aBYuLPI9Rhc1QPQpXmbxBEYHQqbZ9m9TU0ivQ7l8oGdZgUFuOnjYUZezKDan8ZGeIUAAxfcofgWGGkv92TpAN+Rr5rJmoTGisJEN/R9qiQPHS72/6HYqdpIBzVAlYb31f8e0qWvkmOuiiChbtiZlijYF2sxgz8A+P455Hvl1qGNNGXp/ijonk9Fk4nbCSYQMatxXYf8/oYR+Lztyp8w7gwCKpZd+lGEjyYBC9AoFRK4/OfNpxAg7fo/dLlbTzwU57HsLRnHC/aoZY8Lo7zw83ZBymrsNcYQ63Z3SdLgBtShCwZU4dHNHOh+lkygOc+QxWc6bsAxePmERzQziFw0mC0H2CPrXtVSr/9iKpBLc5Ege5c+lINvPlE+ulRGyxYuzy7i1RMBrJ2ccbPCcTe7JM6Suf4Y0704mY7COiUJ2hpm32oQvNxGtXcFUPfCf/bXbyxwkLGSFAbS759Dn/rM90CZww7jB5dBP90yg/FqHG2EGoY/nppEAyxlijhDei2hNwHL9JbsQCGbUJSg5gu++irhihiHGza3+RZxzG+TWTSotKKCbgnZqRj+GYD0LlFA9ySPTghIEoQaHcNyzfksm3E4wuFBswMtxGHVr0uIEtN9l9MJXE9phXsd9ToCX+TyFQABX9EGnJbeZP5DVg9gVG8p4cdNlRvK+0XfE15teaokU13HuFsSNelVxdNtPXGmt5pt8ztfC4wrYCX4OGXVNgKJjzLW9CXdRTzFyH23Ri+svHlu/AG6iyEDEUbIxlRpI5IsJTOBGpPJq+doWhpTfWkY4SUrmDLtwGekj4cI5tDkln1bnjMPvBqKBY+tqa4ECqoO8AAUOsbnpDcD2a1uDvq+QBa0F2I9M5fH0KqDds4KGxzgLPsljk637h8xISdiOrqONxmpvXs1DoGhWfnZiVN5cTKJ/C3tm5Y+cNtELrYjSV98igEoim5WRpR0lHxRenXYcdvEgtqmY8vd9/pVrHoB2tm/AaEd09hRgzwgpqusww29wK0DtBOhwKNcEWEmX9qYAP9gzFnGsf7F9Aok4PxZsUr1F6hqiDPL6jhe0VKW4Vp3ENFyH/9y2oO3NRCpq3Wg9HgUr93uBSD/b1eRWWelUMYKhHuLOtZaswCmOp0BiEreQyE9FD+5N+rPuzCwXkoOZIhued0D3BJbuZGuveHelYoewVdMCJwiVoOrujTObVzQxk+WJ1MogbCSGqyQoVjIOeAGeKb43BnTZFclIIfmSA7xBlXuSllwZyIc3tUy96KvbEmz0yQDD3EEmgX23TzkqOzt+ZJoYLvMLKv5oUIfI3WrPilZqKiqVHBQC9vbtPcyhBh1IJrkIjBEgtY0cieYHQOm2nNgcVjdeTpeXLBhWb+I5Y14Pyj7z59rjaxl86bBDfiYlk8jOR/RNq40OY5aLmvPRMYs+n/nV0LlnlM0GhR2fMc9jIl3JmJtBx58BOXCb80p7bEwC8boTkeNSPZi9ECqxrjolVJDPLJc6E4t1mUwgTv5TmMntSjH21yRKW/Q+kJME93W0S5TfGuHkEp0+EF/cLM/xfAlChcBJ8f46/LiswUwAWJBsF1O5O+XPOJOC9WSQ+atqRfrkTtQ2sndR6CwHFNB5zxXoFXPb7c1j8ajGKyOZbHzYoveiQMzS0gHb/RKEg+jR1NL0VxZVww1LBaAneT7KaFZG+sr9Euo9noQmpfscegZNx/2eqiUsIqhZFk6M0fmp1MMb6Jmv57XQZFD0UvhwPjOcQLXTTXJ82fDRSazwGxCn3XtP4+trm3pbhxpD5+wycTS3cdOrwM98v3FJeWMoEu8fTkfBPRpdEkkp2lZr0oUV1S+309Qh9zPjpfThHAM6u0i/N8oKiBQ8TV4rUkHW+KGetyGxR140tHuidr/cfWk/Sew3rngCrQcjyAljY+sQXleuHXfZeXezPTm1MCbRRnGulG13bzmnbN4GILpEjSuF8FghKbYeaL7YcB0ELXVyQVcHY3gwEXtRnCMfmiDSOqhHvuIEXbM1hX9y5hUr774eBuhSO6jsjTrao8/GS2lq1VHpTktCao7gJ7iR5JpNUNP65nWhez9QHFfJVbpviPgznMyiwaTtalQEyCkp9QVZ5yHlyvpim+PZKE4lWxjMrmq9Um+clLPP7tEuBXnWYmBHO2UyepdI7wfF40fytWgrL0kqR4R7brOtNw8F44Qpge/oLWwAouNXM1ktiystHYst/p0JW/Kw1zXq+6YT8ahxZnT3Y8BUKyPsA0uUENXiOqX0JrMxbfJqjBbwG3DI+F7mqdSX6VPB2zDAmvw1uwM1zzjOwE0PaZl1jYUDHpBJKkm7VlZ9zittwOWzB9ZEDB3aPN0XFH+sm+NkygpncH4U+CThhKW0vcjiPPQ6kDOO0ztA7TisssgE/tt6lMwDjq/7wXUgJn+X+6vTrIOft5C7ywIADbujYk+rY1E1p0Rz90sr8RbKgRKHaG2HOiQ3T3fI5EuqNgbN5V8e9KZOx0Fp7gWfUco8rp9Bn2jG70hUjCxQfVYKypy+KnF6pB342z0CT8WhHUlJo01ephVPfxKCSADPsqr5H7Tj/45Ml/Lgas4Y3vmvsxie/QrMZSLzDgnWBwkL0bg3CzSFWcrEg4ekP9k1aAQnHApK3P7UBfy+hfeMYoFvnC9YGGynVu2Y5NUNOW+OKadoQoLz3dWnrFHN/qkMBzinj9otqs5J/rsXYxHnc0imXcRkik33C0yECRUpgbKgIcEuFDvi3AiLrivW0e5diCgPifj1bthx9M5Qv7/4VQJgbYqPyTDKw1+j7y6s2JgjdknD88ZKQQ1K4xFVS/0uDw6h9T1nd8PczVrEiLmDkcOdqUx4crfjz+HGkHGVU8eOcQ2OHTy1Rybm0XCZjuK3P1umaDDcD4kc4dW7kTcBxoBWShHfL41mghTBECPzcd7B5l6cjwLLGeF6dwoLQ8+ZP+rzcdZMB0RI8qvqjZ5xgwToTfiv7YH8LBv+/tbMVRK8FJgcB1Mb/0SKQvzMeZt+TZEfkLt4dkwBBvEQvxphRfn54Hx1+XJMfp4Dops8yDihE9JudaZxsP9FANXGaNG6KmamRxFhPh7/DH6g9nEMUUuA/gCYYDhDvtkzaS3uVy432I1zrC/Plq2xKD/Xw9jMVsghT+1et8B5RkLr8fLqZWINzOkYTxXCImiHKGZJQDlkm3HPzfN5sO2NoXAF1UwLTryG62++oqxe6H288c2cuB9tK+GEl+GUK8d5tEzgbzT0dTgmWibprUPujhgXD+NJQeDSt6RoW7kYISYvAieDqeg99O65lmo5taL4yPd4PIzNq8B+xU1mGK6LmxztKM4Wme2qpNYskGMVnVF24izYYC3X+FaY2bb+y5YAuEW3lySyArmm517YpSoFxpRtenaoF/PseEH17GmDkGm3eyfz1BoWhURUSVk2noXOFOIe8YxIxO7x9+Z2qQSVUQfmsURNzWrhxoNzsQZEymRw9Li/7qrQQkedXlJ3AQUgL7oBtwpQNPk2fdQaumIIeWgqkFAcFp2H8o4qhlZI5TX37wOFtYc8kNbwkjXyJUrU1S0GkzARlTPmv8ouJlscMVOyWAhCvLNIJAw8OtJNz9LKfB1neKYzJBdIkK6U/blQZelflSyXC037EBg/U0TP0nWvtmT7mRfTDynL71aXSw6mGS7O35vCKNrm+wx1b0Miw6YRqRfkxUpZ21ortiYJRwBwcpIsQMruuPZf19BVthA+j6QQd6AEUJsraHYXZs0YG/hvcVb0US2zhAXvIOFkh/YH9s7s0sEfbY4A7um1PoviOePFwH3tl91tY7nCu7UPbpsbELWmooj9mrQeGK2A3aQxYzTmFcL2P2U/bAa3jcOug/K7NKom96AzH1UVOi7XtqjC7rJsTPJxkyOmygJiQsuBlOr0/iWv5MbBxPO1F2oXHIYDMYo2a05adbITLr5zkeLcs6YZtmJBCBqtP7zPn/gTqwO3n14NJTIfUKpIDSxxQTeFD96i8Vm5ZKH5towYdSRRTNIR3oUZpdajMmWC6G5/WMkzZ8j/R2J00aCK5JXXXa8Pw5u12+JptGytQhAHkfLNWwXijoc4PHAfKWqMANB5Nl2n8JDNKS1LRVThWnSJsKNXj73HTcYN8+qpjX3L83EPzcqwuAcy+wOx1Y/Q2VUwzFSq0rX1t/+TrqIcyqfwVK1qGhOnNkGPXFho8UtkVnJM3W8e1acaddp9eg9jqtzYNNb+e0jr3CVBFHO57L/W1LRfhDlMOk5TZCZCwZntvUW2hrXy6l5KqU8kyXntAKRnFxVdz1+Gx9DTSCI+Wya5SyQsUafE+ijeObHdNS+HW0+DOnpEMof11Fr4OqsrbQDiMZrX2fqboqOC1RVuYsFzdL4wmbKyqAsj5YMeRTqg1TD9gevnTm8CB6y3TmbmnUup8QeSHAbbeh2scEnQy1RKNkW2N3jds3a0ypVVLtmuoqcW03R6pH7MvcXekaSc42bXfPGPB01JLWXNQoy4ihnRhLYvBDpaORkXSaxq2vYxV6vdHANSWk96UBf2oD6CCzYhO+K29NeZoyZj6USBFxiB7LH0gj7A4XUpcjJTy8J4MBPaBiH6bgiAqVLf2IvyG44lKa3tBs4zRrDy59O3RvSIrWCaO/1xwI54QYY9HvEdyMfomuJumRnNQ/tN9d0FF7ccNEvfKCDbtOCyhQRjGfBpvL20LmQiY4SwkgpmYvoC1oomlUkGSjUDnpMG2E0ZLKXtH0+CT6RZWaPGGHHoJqV3gpybawpVXlJsdRwihj2SI5TqzmlackDOX2H1Za+M2P6MQiWzd6jzBTv/UWJvApBm/nLnMLDcqNbYZH0DSdZN/HHE7YtqqP/eVLyeeQe6hrVjXR0MrX5wZKuxoh+So/EwJvcW3UnwvZgyL7+iotcgGdMGkxvUj7HY4NlBwjjxgbNqGIKLYr8VWejFWXxiqwekkvbJil874lsCJRZCwwegJAr5BL4dODyu02ExojQD4S8zD9CaabsmsKUKKQwEAPtO67mTiaHaJVyHyNnfC9XOSZOYRlDtRKX6NkM3ksdGPfK3XPVyhvOPvMJLKkMvIq3SXoxEtPJpep7+K767ibg44lkUmySaRoda0lOealxaP+E0nPduAhABY6pjEcBtb3lCE3/ZLPF07e/K/X9617ReNs/8J763B1K9oEf1byFtn3Og0bcwvpFNGo7yDsATNi2E5iCHInglhBPzGE0ae1L6H86LbtJNiMyj4pnuv3umUtUa3nLsCl5CXWj1ljdU3FlPqoWDAEMjg6MNpnSSq/X+i0JACKPst3YFQa3j+br5PYlmKCDceYY4iIjxtGUHPzwbg4mmVPrw6z2D3dhEH9lut4lj8c7iaHPpozw0gk6IRu/Bo096d7pSpsjz5M6YS6vgpXHNQMCdVLU2C8hMMA7kXc3Mu+GcYhYeNwFG5l0Sj7xHG1pAodIb78L2o+hvQNFqcKzD3kiwYhiy+0+Vc4cZhy1rCteW7h3YgK1zqRgakCWDXhOGoJLOeueK2epW+gtkOLtlD9uDd9sIobd77JOf33LeBwgCd7csAvrxWqeJ2Xgl1zFn4F9sdHfWo+fmEbMiRfriFsj0MyBqQDa/Kr0ve1xjSNFiFUMdBe/cjaPBLaHYVwyXcvfFSzxA0REt6Mkrx3oQkwJcHvz1pNWm1QMVA6X3yJKPXHYz3a2qw6xWfHncEh2RLAG1KadcmqIb3qK2pyJWnj4XR+jnV0S2KKfU6Xziii+tCSK8/Ospn+d541etM+gd9WWpaejpYLJp/3VdWWaqex9YNp4QC4oW9czg9P8y85s1NjnN4XkpWkK/XTrFd/dFzmDnuHV1/eS/NSsKzR0N4UhHUAtIClahxUAcXbqO2cIWUc6NmRZle1hu1cb0p0tRQ25No88Nmq1fJDHtDpU0d5TWfMsOjRZL2wvvOabvGDE8AKWojfXoG5mZYqbdcMKrb0l4OfXPVUTvzv05pc8vqmlAi1IpXlCSljANWRIHCmSsB3D+f3s72O5/5rIcBDNzJwqJwUVFreHFd9KLbfGT82kAgEvNlvF59WiJGIfTAgVg+7SMZwV3iC9chUAE93AIINyQFDQKvReqMkneJqeP66JkPc3TKxEb2R7Bj5nCO3B7L08YJ6d1Tbk84p+qMtkzOP5phbP8rikpdsBzb+BahVWQjZYaFiaQUs9GZ2eskpudqagqYjK/ZkXAPkbvCDHj5Q++wwk20ejbq1dtQ0ZwsQjx49/M101D9/WUJgSQJMMpUCFQkg9784ZcShFn4JGa4cup5zFjtERtytU4K2cs1HVbdnuaq0zYBx/1sRFqBI1kAXPjQcYDPeiO7ty/cIrJ9hZJbeAIAhsTxsEcQ3MnQdmdJCnZadLDuqin3q9BGOkNp9p13jfYRZ1Oq083m2xEQbOZEV5ZgTxA6b2GV6QyFQydhvuZky9q3rNbHnlz8E3wTfuvh+s51yhrshe/ZoXpauJ/9aPcEU7dqxu8Ct6wHL5OMa/OLFs8+BZuU/eC79Rw4MKfJBSz82nAon6Ag2vylDMUUSRV/XaE3n/mCS6i6/cVHBQWKhri8RgFWpavcW4+JsiNpye5tGTPqOYlYCC20/mfk0mrLA4UrxcTNwmncCyV0oHyhNX2PFRuuNzeFiFnHdALVhGIcir0Y27zXEhLzuEZ+LkXE8cmBvBDTpU1Rf0yGUb4RmTigB9Srd/NpkxSMpshXKv1oVG0qMhTjnsjUtVQqpVvlD337WQxxHSo8ced33pxzgy2Hcnhrc1QOb6Kr/6lSUQ4onY0fL7iUk5CIabd5kwQguRHxyNEBANRfTBU1STVIQGOTRo9T6DrMumP/FfzkcsgH8n5QyCMZhzdJHUl1u9rzJk0PYhJ6TAJ5Pwam25ucio/rEKPKeYk/Eq/8dC2IdZRg1IB86WnHXr3vjYSt3E9XBnvtmIIzOungL07leE4G3BQ4jImMlFy+gvsTGwOXfZcCyzN5i1fra3rSPTwILdpEUfxJNzV9ZFgLST3vOejxaHrT/1drXo5u3mISvTf6XKd/L34l8q8hFaFq/c/NoyxcORnsi4ctijEpa/kUBhZ5sQtIP5BYVE5BC0Fv3JDDX/StpLkl43q2DtO/ggWN93nTfVpvAheiBNrxhpYmi3OYJplSLunPUj25pPv0ZORkjfrrFAwFQt+K85A8DoUT4i3t8Njlb8tkZhIIWfGodWSImwSggQQ56iTJN8pORz71fqQP8pFsCR6aKrYkq5GuubsDq9s8ASpS5jX64JeCtc/QicDnFNIDGr7hBwicvzkP9iFF7gazLzuWIdOG7nX8XG02EvRJnooNuff+HfODodUxRWnq7DihlVuNAD0Pi6TMoM6SIMaHBa1qznz0av7eJkjZJ3EwjZm1PKaQGDgXlibf7zZavjZR8hPZq7vsLDvQyOR4e/ifHNPCOQOU0kLzs8uM1clARxABlvShqrchCKHmlGhbPvhvrzwtC9gXoYIPceBYm8xsanhwykzlBVU8u7Dy39MYFg49k8gWrZw7U1XkmDrhZ/0VCetk+zjMpwGt+HOWJLbxyoLnOuJsLl4gQsXHOaq8EytvhxSSYOndXEWysTWkBxCmlYfK3ZvjKNvRAET7MumYqZPvAVoqUX8+DG1/3wPqbTJP6JQnWv2BqbSVuCcPXmkKToP//pkygix6Pazf581DUUaT68hOx/peJ2psExrS4vC7zR3EtSr1j4jY3dU+Xnui2KnrVR0HwtJlg9EwQtXjsFWy9rfKXJmstY3TV715qhovz/SfbM6NA461VVbJLa+feyNabjxULnsAk5QxKV9rbXMmEdYs7F+rM0SL7gkvuTp49owZxcreoKSPeUbXw5/NlgbI+Ou42h0BwuVrSdFND7YkH9bExuG41jAAnKrqrK51dWzO0LQiaHr6KNfTZt0l31tSgZhM4HqHzkT9/fgjP4VZZMAn7tipp3pSx6ugxbXLKZH6e8JRj0fdeaaxg2pVUniWgpw9XOZyXXHLpFLYPbQQStDC0Y2QO0NleSy5vEg7oAOBXAw8QY9LvCt0eyJgDd/nwNtMJE3mprkObLQfGCw6WucDPlb24mjWVvQc5mqGkPjEIxz6W/OEjtgwgBJgmbDDzxZNTy3mRgfLMI1CjEQeUu/29zXtETn4GbgorFVEFmZCA4TRvwa0qopEv1aqjVttJibqX4UJN/S4cm/81TPYJoZB34mHeWIXkS/DbV4FWbGzln5oTAwZG5Zh429ZuOLSy21kd0+fahuYudjSAcOpc2x4twSmzbx6KDSdUP7KNfZLgjwNWTawYMjFsNj9SMerLxE74sR2+Zn4TAWVZkV4T9up1BE5nEPHekUP2xsUnrgTynBvkIH2V5t9OX5R0ez/Bq0xuadvGyZzUrVI3PYEOApP4vcSCy21pDhhXkoNNdwousZkSKAh/dBl/nE/sG8YFts16VSuwvGdJqPPb+jSW4Vdj04ATvYX++ZhDUVQsPpCTjGlLXhPvWx306w5dvgjL6GVceFm0K+YzstHboJ52aWl0fMtsH5KhdfT3V9DjS0pcKSOg+WD4s7S3JCPV6L6LzqAAOzpy8fJLeuscpJ0zym+2lJdpKoPJhX1tpq+h39Plot8K+MzGkADlpSUJZsESPWUpFpAW29BeWf3dRuTZ54BYyOy7P9VZcUi2yq0xO1xbw1ONzPGuObeJ/rMK0ctn93rSwsBtWb+KtKwmQAH04HuQEjnL90IYOamIhkdQCr5c8EYLZ3tRQ1TlqClL1g9I+ge1kfCjUZUwHtOeiuLjmYLb+kKCjJvdDm2o74+R/G7wP3w8MPGXts0ZtgbVHanAE0q14pBA/TM52ltEc/JzfeaF4tssFVFNXSFYGZeI5coX77isuIW8Agp6DcvCMSNuzYkUuywDAwLVx4929OanEoBjkAQRy6Sc5CZrDwiM5dCA5yDscmNXXv3QOQs1EbHzHDQJUvYuuPYGI5ddkUJfZJhx/gXgI+nAJ4GrgootkokUrgvj2t6G6sm6O/krO8Ry1tXCMH3Gn2yy90gShVN2J8RURiZY+87xVwynU0dLU/NdFJOKGEilmk64m7LvFpsjz1BrvxUpBTkEOUFpOB2o/ifoAWcWOjXkbvtB0bf2uRoKOTc2NLsZTVVHTPb455EhABJuSgy9XeFGbzl5QabUCUCxYESU5W8lefa0jRHHYwKbyfQVtMn/Tx9uMeoELq6bMuMBsuP4OUtVsaMVKtopIbM28URI8F1vRrcYyb4w38uNPfGko267oaHvR26mWxGej5rdIPjl67O9R3+G9z6ASdfwZqwGH7csN0YOI2cKsgu+in61mNbxYj5G6gi5MM7TCKPCW+WT8f0HXOzGqgveCuAHTOZ8Vr0MrBqZTf6UXpCSrCdtASatB6ej5xutYhur+xIPuRXxhkI+6DPU58/hdYl5bmNJefVC4Kkz8Bx6Q1WuChztZFNmV/ryy09ZnzS4zUZURzKgfC2bK5L7BZ1rmqooB+2mImhudzoiJaATBF0vxxws5NROJ6Azh09YwRVYDEA4udpYi0aM/2Z+lyt93qPt8knKmWX8RKm0YNPwQfGlUXbkTW8Gz/MKADSQW/bFtTEbB4H1YcCvEZuzM5v41XTWTuGw7iiBDu/4N6qztTljLFO/A7/YjLylZpzXf7tBmejY70slO1c10vIZiQw5QeaAeaypTDkOOUWOnAc/9zfLKhDF3kw+l8iKdtlgAvGXJGWnufgTTSVIJLQ5OStJNCZ1wXsEGhsGYBYZOw0Fl6J3jLqO9vvnsyzI0BrW0hzmLTQl3MAopddP4UV6MIn71RRueA1mBjzEJz9MDr5qz4L5xgybEHI0zKGHZGxH2HRmVsghCD6Z8xeZc/vEbfcJad9+BGb+x0foBwIN+zjhB7N3wI6wLWyiCNrGrHrjDbZWKZkFHXATIcmQf0mnjleyI3oajCvr+oSFdL8Bh3SBKTZnY2Yf1j3AJm1RnKaSyaVQPiPPUNwyTOxn21zLNY/1Y0cneUAA3a+2lrKlnnb1qfTCHRs696O0jU62DJ5Va994FQgRhDJTq6ceML2RZlAum0Y3+aG6EpBbFNjzfHwdk5OhGFYCqaV2XBkoukQysKCGdwIL4gPx4CL0PmB/g280lKLBcFHNiTu5Kddd8rV5Ke9C9RYibrX7BrNn52rbmVLIl5BRjhKdW78lJygO4bR2JGd5Ruv1j+u8mGi8+yZ+NBMf1Nux1wHvjUlrA46A2cifBWVw/QO/b8Dhg/JJJpFwlATwzh5tJvzb/2pb/QHdUre51QGpFDfXrRIxY+MfVNnfd6x/h7GxuJkzzdo77QF/f4g++2gfRZi7sqg8HvLpJYfsKZhjIUnyre2tLs4qhOI4Jz2noPG8XbV1cT8QH7n2VUPZtd6OxkddDN3ZfeGSDaePixunak6ZZXTFO+Kz9P4AWmRywXrW/jE9E+/cUTnSmQBeBNiX+7B6RaWvhYG2ZF4ORJg742B8g7hk7xkrdnomIH6uc1/9ZAKcHsOxGJSN+iyPx1lc1UsB8xlf4bnPBFeqOjtxUyE6F8BiwDtWGlhSGZqDXPy+krDX/BvFmmF7dAeF1iEjid7dIjg1Gb9RYn7bPqTmSH3Qm2TlT4sGB7bOCHp+EBpv8gecLDEaXvDJzjWZ0psv/y8Feexvh8IjG7t2DVfJVTkt3rz8nKeLowWWTEG6plah/pPHuNA4yfntjbesZNhs126g38R1bCZ65ZmtujUzbNn0gWtvQVzQQQKZMYperOnbzryme5xywxoXjjR/CexfJxm3dI1ix4Xa3KmM8LMvRzpiFIDQM/8n99M3EgwK31cIIEWldE+6Wixr9TszuoxbAr2+neiZNzJbpwOCu9ExsSgYCnLDXyUI4qPCsLbB69awOOCXfc39MPHaIlgqYdER/bdepm5/RKxPzRUzEvxNr2IEC6McW2HgvPo7J8fXQzwQyOHOKRnUHq5wPVltfS7IqpSeMDTW6BlC8M3cd3PKKlA1cYhq5owmLhlOmVilk2++1GqpuDq7DAvd7PMNy8gh9+g1JN7oMICCdHjLkGTAbjfoDN0VZvlIoolLUF7cJQG9fhLp2Zc8npTTFReuof6E76DpIdDROs61oPnZDhCR1CrirV2dInNHN65ppZleMzdes8zDcvtTCzFv4ceTphzgfrWvA8B0cMr2xgJSt8sm1xtP3hf1uhbdZtePElMV/Ch2N4WCmL3OHNVEt7R3I1Z368+ve0cFz4am6ONWBu2yi07H+AVJ4oHrPFQBxE78hZoN+dF8sgQGKS5MZbYveC/HuiTr3NgySJvpQ3sbHvL7tOEf1UiXtn3BuNsMAqJp0p6auoUnbqrnK2YsU4bByS7D//PFZ8IHTUJkC06skpnwDvMk1j0b8QOkM7+fzwWusjQfbmgZbue2jhUm20Ga/86XMTVbwluJ+dQix+BIb5e/RZGl9BZa2YF/Y2YZkFXxmQZszGf4bnbiDvB7wLUfLvIP8x/lhBTD1A/FI519aLDQG+Lc3BebSRvmfzY2G9m4atCddlBkNKLp28Vnrn/vyaROO/hZxTptGpPEPE5gAo+fOgIBM22oo/Vjck66d61wVZLSi0b2LOh1r9Axhc1BkGaMi4I9MG2crwbHOHDcWBto+n/AsNLlI2Yao1Y+lXbNYeBGt2NuphnPfhclpJYId0tH97uIeC+bKm105a+yBdF6bFOQ3oW0n7/W0ORwIF7YhMsfN9n17vdDeKnjUeRQFwxWjlPwNXfUOmk8GCuLdd8nPDr4dyxf0HomX1z0CwsiOeWCAeDJaNIy9QHI7058T+uK9OGPAeYe3V0CazJmtIYv3m1XLqa+J9WHIzUxCYo/IgTTQ3tUZ1iy9gjxtUiY3YRUHZ7SGf0v8TyOBotccPZoDbIE2raZ4jKT3ENjbjdk+W0vgcIyYca5JwKu/CQvgW/r6TDRxHMpDMR/sCnk6N+HlEEpDEPusiZHRb3rR/EHdThL1WGq+Wnnbxv9u9xWcJUccT8wVGtPEDHKZzCXTGvl0Vn8FzRJXUWlrG9cBWsoKSGj6EYTFGZ194F4lyOk6bpteZIJObMSbokYlR6AHq/muzKlNeKcktJjBmHJyiMPhVx62z4o6gF/bXIkPXtSm4y0T0+zi4ixF1UYQQHzRHFzLXqLB6/K7NVPZEsVnvqeKG+B2vu0Q91Tjsf+bObekNjH7BVicRKJPWHvPkjGBhDkt4mMFACJawdd228gQaFsftrXY/g0sOa2lafDIrQBJB+rSTws0xFYg2cRN9mzMfQG5cYdr43CDu47mnYxKZ5pDd8WaXGwVhnRjQg7/gepScR6sL9IqVciO79xfM5CZv5DdbWtjVaJjBgVYkyu4fXnD44lRDdFMQkYizu5pjMrvLZiLXPTdyQXGauGkfL6ANtTQ7ilCvcbof1yyRWf/bR8mbtaiOOdjO8Po1zZ96VWqlfXpx4UidmQwqH6ByGrcgr8uIUNoDzUI8FnczGdHX/MfhI99uoI9kwswZ+VOBh8HpYhu13+Cw5HN01z1eheTRMwdReH6Gc9KzSBrnJ9YuUIfyjl7PdsEIHd+SVtvmVwpl6EaJTpbs5ApiEjrrKHq29jRk3xrinvOen1MLjb0VxT7cwQJynBdUFsBCVazV/n96M6gObV0aLaPn6HwT3uJ2e8CCM2M0aPyxSsFWjk9k3pZyOz03j3ni7RW79Yx/15VEsL1iIlmf3rUFC6szqQ8B0sIswctvpMozmGqiuVxR+2vsiMCZpi4olfFsYTiMmmZNCBtIn2oE9Yra0CJhU/cKtg+F3t5YuZy+gNg/U1Lq718+egXQM/cZd4ne/zLSo7fHm6LFyEWbployKg+s91l1gOWd8IRh4PS88VnUKX+Ydy3eTyV+MJD413ZHEmxQ3jPG6Qh/iNcjl64QJn6F5NCPqzZHZOUus1QMFHAfUz+/tKC0SQhS5W1gI++AMzvRq7bF1Rx/9vcfjcb9J5IvEFTqOsumdOGDOiPz1NQvaKzFhc/+QhDoToiiiViRAcvtu7I8cBB3OaAS6qOJP9uf8AH+eVUh/JhE/PHMomyoQ7fGtUIxkkDuqV+3B1JofYfMR7f/P4aO+zmQaOR45qiU9gOy2XFQmaNRycFUNxGMLm9Pc26VAKpSNL9DJkw0tnm2l3YndsFfgM+WwbGoQyhzJey710kA+tmQdOt4my8Z6fOY/aYKTHn88+ruhm9vGoTF9zXSQETo+9lEnbCTCRV/ZL7LUydokZpFnxpNpyI5h/GVkiUMArWzt9EnT/BPkj3gpzaud0WlO45Tl02ZFy/kmwdIgc2lsnJriG0u897t3HgHhoOKWcGgr4OMxIPsEWVk5tjXsUtnGMuhhumXWz73DhXih/Gj5Fxim/796cuqs+nom354bD69wDzvIIcNZ3SlBLy7WBazcZphqaPmwUa6IrCgEYZl5y6icZyPk6ow5Hh8Ex5jB6QaSibCShfKOS53bjew5QlvjXzIxU09jAfWtD/fNwoa5+9r2I6VqTP/yZu2gZCfRMPLa/Wcfv9B8enbrCeYXSLJdVuj9IzjKoFxmXnHuO/iRAsx362+QXczisI9t2uR/H8XC9mh3TYRCKhrO0oB02CDGDRz//puEp1sx8HDf4HCy8/eknSRJHiwHORB5mvOrYBSPH9Ug06xN9E60B9I/bRUc0J7Uzv8/0NcmQv8LZpB9N7qs1lo4xOEcM6APbRuSEs4teFQMNtVvHYqb67myj8RjSudsR0eimq7onVZL4WMDeocvj76Y1B3vNecj3tjVXxoeW2egy/7+2JP9GwAnx56HUFyrWvNKChbty+YHqRhbq7tL66XIxdBaRemrtHlARQDElNtYyJJ5ZfncbVgsJz1bq0C3qUlK4B/JrjapdgD5CMI6S0vNVjJLazG8mdbKr8CE/fgtifTu8WB07EIWJ0Dclzk+Pj1O58EwD0thqRMRto9Ah5EmdbnRHOYMXygcxEFxryr0clV9OF9Z5QyyZ/57MPe6SnEFWloni2CHMsfN54LGJCOfu5lMuFmP6uZKnZ+HBAt3CVRAzPU/knNZDtfUR2SA5CAfprq12qLW7gv6pMDutuBMBLPH9xWxx8giZAHg4nTCD3GHyuvDSciPwXcq8/w3qa7tgji1CQXn94TMOIuuiX4edt48DxqQDHDM0rrrawcVDpKGrv9oNLH6RsHBl+o5QgW4oBggGTsMWCeXjwHOjfCIignoSpURV0NAxEf2Bx6AtAH8pfCz0McuvR4mu9aXjc9X0fpOJ4f9VCsAjFYp5H7DCqkUfhgKXjCKJDIHA0ORX3rMm8Wyj8ywoPuwwHNzREL+pFbnVhwhbiHtXaF9YZXd7oGT9mPnRbetzACkdP0zabBqS677L/nWDk9CGrA7dD2RwzXexlo2kPf5tut+zWmkqsCVkLoaxP39bqWebFS4Jdl6DLBHs2jon4x0/EDOzD5At86MZr1UY5DC+ktoemXXxjJSsuFlt6e9C4FiK1vEdcDKpc440pXe06qiWKQHKY02YqFHtey2L8GnMIstlB9ghN/mgWujtx+ouxshPXmUuin9s9MzlafoQ6vaF6ggMl6edStpkkmopJ0vfax6NfgXeoyU9r0hag+UxqdJU0PFW+7+hFTRMFPtFKsiWt6pLDyQxkFtT7z/KgetApHMYKV6KuN5Brtm2bSBhfb8ych/cuOBhjNxa7rCNpbDEQFmFHLa8FwtHd3outZRixwV4sUimO/q4ApWzEO3KXwARORzT8TTm8bXO9t9oR4G4IWDE7JHdhQfmKUsKeWGAYlnKdRGvgj5CwmTT1YPiuR53VIJxRGgv1X10AuEFca5tYbgzEBb34nUAYpyXv93BU2Dh/2G+fQiHHlODPjX+Q2J8IQvohJ4GdgYTb0n1c5bjwjngyBmLKpKD82Ga1K4jvdOaDM5+27gPIfW1edGp2CWvgj7i94rT2+XTFKCEPwqQpyPtrR5G15yt26mt2m6bnRTiPs40Xzxx3ZHbtMLKwi+YYMdQg3U+/M055PxYO1RFa/jGUeuUyU5OqcULTx6sg7rAH51luL7x13cdTqKv7RbCfSw+FSeYioEPJJPb8/W2Qu6LSpXKIPSZskttLfdgSEMMWjdD2NmXwyC1Cb4YCB9xe+x14cC54Yj44nKPWDiSmQJ2HcST2w0/eSgQH95x3cDCdX/b2wfjiiJjmIVvtVFH+YSpBryCp5ARHp6PK5jwPqJqZgD3wlNjmZzvGAvO7SHigIKOU0sFllmMfVPTG/4F6I67C4f/0aPKARrAaf7ay57mC21V8hEHRO7Z0Rh7c6HFvEBnMcnBlZRTJMWek2CXiCpy0g3NEgfgju5NcTnb0yWSdvpP61h+j5wq+FCp0vf3pK391LJyjgHbS5+khM4t2GeZNE4y27x9szqYSUqlWXHDRgFtWOyc0usTbanWupc3eCdtIm+AQVLI9ok0kMyDP9W7g05QMBCi1caJkMbzkCFz38+Lx5eTu2C28c2o4JEj/Zs7fZ8eW8OhlD2oh5JHPWCKHxbLybBc/gsqH1UgGwmp12on3EcXzpJXbKAAPkEKLTapq78GVjk/8obhf7xo6EMZTbOGhD5NndKvPcN2MOUkyoN5ayHb2c0YIkd2FnFJf0mwC+/14IfUT3hF2zghTPj1n++VkpnIqzaWDfZ/rDIZp/foZUMhEMT2ZmYY+0Kv5hdqHY/tz32an96PYYXF6L1yN4dSTm7P9TqRjYfQ8HkBhpcX0/jOVil/NiifiRl8xDuE97CNA8AhGDqcey5Fcx+vbfAjwgPSNzbtooWG5jvILQvHdj1ZjwkpMM8U9a4BFYst86D+E+cgjGsCnnSYE6Pe9Z1x5zy8HgCT6gq2qlmannA7ArWSMXDlmHhU9knUn6qb6Ld1z3fA79MBUiUCQsl6+NhIbAzWqVgQRtktBfSCMHxpE8Yn8+QIBhGIIMJd00zxksDdbVhb26/P2A7q1e9nB7kMeTxj+NIhpES3QlWM4U6tlBEFuTTYeRfqp8T+ma61viXiFE91QBtihVpG8BvBJiy0jO2OFvcd4NV2oKHRzmNeGa8xOF3cNvyI24OORVBOlaExVk2hFp+WmPsL5HcgX1tTxTnQz4Gk9lv4u+L29TpH4zoI9yKioRxK5t7Mpo9JEiQulUcCxaNRLe8Mt0LuCOrUjzpwxJ6qZBmAGPqk7tFH2sZqz8TgTHnIo7rCHynm8O922aVbh2qa9GhhmUBNoceUwDabxLwk8JrcxzRxXob+EBPK+JTlac3GFKMt8eBNI+5s26250ceoCqIhk4gEORjbMBJXfGuof+V3HNcutO7uNQS3WxVEXL605ecrhh48lvcL4Kly0iiJ3K7LTj1cL//zIqBWTpJ2La5bHbcwPUCsOwCFPn4O7ZD1YXokR/tXkVVOW/yYiNw1IFzq8QPa8T0w1922XFIpnFiIed3JeTp2S+jtUAIdLS47/2ZK44GMUL8OaRXEOF95ZdFhtzj/IkPFauEWGwDOLcrgjZjTsVg83M5LM7iQ+y1urfh2WKstikCHj5uUvlsoaa6DNDpTW2J11dQdc6W8MhDpv9vvNfiVX+DFK/xSgqIaNSiO2s9Ip3vtIAI+kXDX27Yetwmt7icOvqGw09LB2XbE+48/XI4tPRC4sWWZSaU9SohIWl7F0u1UXMcxgErQol32OC32x+eb4SNh3oU1XcZP9oP/eO2qBJoFgPRqBNs0FAN5L8hXArMwrdf5ZcFu5/8KGb8IjM0wM4U0K91aFFKqT1yd/+kZx2ZS+QW0+9wNMsj0icX02JCCM8pPmmynnmf0d6Jd44f5f6hENsE6mpwlxOzu0vo+0aLzmMqxvl3GB5qrCBAAu7mrX9pZ7BpKCijkDUIIZlWTGud+nq2aBW1VpVrfCBiRWeaUquCwXPQwvuoDOClQEdUXKkT0nLkL71UiLhZ1gVSMS++F3brVbaXHhge03lFNXpTRD02mykVqICebA2zhrpOvi56Yd83pnG9/5IVCdJp3PGHIEcui/5Gs1TlqjQfazQXp95NcIYzhMcGcVufvfEKRx70iYansPnlnLDVELRfVoihYTUST5yw5Pf3Su8qacv1GAyRsGtUPtrCrlBw8sQtqCIlpsnsJ4o4ln8kY6Y2Js4k5pNOTeC3PkH61jg1uxzIaSGCtxvZj7ojLhJ4KrWmzp/ZhO8rhE6MwUi7iB5OSa8NS7xdUHhI6Iaxdwrw64NRVijF6H4jx1aKk1AWCk5n7NjO2ebwTEx5LwW6GFwUQMwHU24eaaz3IjgCYBjhA7/eRjCE3FJVRaTPl4gzMpSIL+juzRZDkFd2ANNtkXEDApY2aQKSRsdKZ70nJC/X86M7bkGz6OCrF0UzYq76BeC8AYzUytj3DHQgtU0FUTup+btVhyIiDVnpq22sYqCMDI3y2iXJ2gGEL3clbZz76TZVfY00pIMLzg9fEB56Ktud67WaELjrBw/XW0i6V8NjyppRtQBpZZDiHJ4B6zjvv/PAVsmE4gGBazrMT5GHcbpJzYq1oNtKZdcik6fGVgr6VWcJLx+w/vViuv5DpSyG58PkdZwbbgXm/q9HBJnOjPG4rw6SjnNc1sqlO/aLg/ysNq02nTsNAYguxV8dmzz4vxvs61Xwx7RRbewaakEPZH4z0W+VuCDwoJuX2wfll5ML20yTwpq6fjokxFTtZIcB+AF4ZlX4dJyELYUY6yli8vhy7wY4IlZfLCZrnV+pZZRZh199U4oGvu4cqQBj2TA6acKdN3Mz7gavRXHV/B4OU6LABILbMIDdV6jxaBDF9j/GVaTGb91eFXXOSBK387v2DzH5SjhD1Wad+RLrC+ax53Zzd3bd7wykvbL0MtUlXgxP/LyCcRGDUDyLAe6vtk3FYzbK9U3DIwnZfIarZb/cv6WwtbrqP9dP2ZuGEhK5VJgN5a10ll8elaJzx3emrDcBAQeJgPZdIXtq1RRbeXZOuwq7QD+EOB13bj9EBGZ6RShBsynb3+YfCwZnEfA6/KfMfOZaZms45t016owAmU7P0JKOMpKRrkkjI40+cGN0Sn+jjEoAugRpe0eTDmRlAVzhDSuP9lQW87XcuJXgy1zVNisTdFmMXF8fQHQw4mW3SKdaR7P5QOH8lWQFfOTJiR+VfPLa/2uKSa+85510xjjaQn0vBnZxycfQAn2KRPIKfDLAg2Q12Kz7GAlWyRhNwb7NoR9B888qrSiNXC4djh0FOqxHokIbkdJa9ThCceH4BUv72x7kM1ILq699rt32n+WkGD1G7HzVWeI92/tmTP0ZpKeWKIMgXXq9cYDQptVo7JQfDAbK9QNxyqn/DGjrFDTT9uWOvFeDg0EcA4zZaRKAxqul6xQc2wBsDfMqATmGdHG0oTj3IP6FPktu1Z6ja/+fLXoIIJw3mirWE+dCdKEYgM2GN82fA+92EWRXol5AUl+HtaPfbPletiIXLlYQ/FFQ5I2Kv3SzaXzOyVD2+t9o/7LIqa1SLU0G+kk7F1PujJy3eyYk9yez+oDSXLVQPI67GnS0kLeyOlYxt9Gddo65LVsaRmvtcvdenV8EVO85j2PHQBW8RCFbKXLxwX1I8O6oFMEOnil3d9x75+OFLsyFfwzV5i2zgjTcH0Bj1u5fAxoxTQp+qFGsAdZP1w1qfZFz/UYgNbqF1s7/7g2VWmGyD2i+nLqkh0qfj51+FizuHTXVnYzKWr5pHQh/rbu7Cav0WWkYriBCMHHXE33fKjvmWtr2ws0qtzfX5bi3RarSd2JuNGlEjl4LDLbiVgzqOv0VUovARghqTNWZyS+MmbxmllyfmVHwqzzKhY6j+RaXlxCRMu5LivSnySedgwO37uPaTDtVOHgLu7gzwVSjUg57dFv+ydq799r5keEzCYhYNl6yWtkINYQP5V6VorFrzq3eGxg6P4EjGAnRFjis14xRfpkznG2ntidMEFlAmGS7E//Q7rHdkgwdsI0ub4SHf0uFgc6eaTEungL67ARSuEVXrYuRQkvPRyzUBCtfrlEE6H3XZ5CmzbnsXDfDGZnPjhaMJpM5ufxRlpftbbiev71ZqBGI6RRYLEYB4zBlJfYfuBdev7bUrh89b3BHzbIv6ScWS3VQWDvd+GgoVNbP8UmV7pK89DjZDFWx2HWMvR9Dg8IvObItURVQ+sQl+aCPTJ4Yy05st0oHsiOyzxM9ACf5A8xATZOcxrknPmmAx+TU/c5NMtf+JLKB4y3KQyJfpieFcCPVmxGuIZwIRe2Tx07WEBtpvjMmV53CQWsShCdmTIXD2/FoNvagFOea2alHYmEoboNZy4psx6SryON4eG0K/kIbx2oRH7gC80HNWY70Yr9iiQO/lvec3TGBepasC4HODkOdXOuP2ale60TBUKbTocPM1VB2Yg/eHOfDNUcDLN2kxSZXq0WyRnqMSRjNFlUguX/DWFsPbNTWL4en+Sx5NoX9ieVjEKgno5CWeBqMK3dXcsMvxjhMOZe0kNn6RRgsI1LutpuDn+nf6LkyMfvXb/bt14/XBuYxMBwd2yndFw0NX+UXFujxHL5mdOZA+jEn8iK3jRRKjKVa+7VAi9Ev7pGq6bQ3htbQ9npcMLtdPJxJJb5ax/oFIv6oJIIe8XnvmUoRViwx2XWQPvc9WoIo8yuiI0PNvxUnCaSHgW1yewbJ9yskrMutSCzyhkK4/0O26NYiu6LbuXuQD5pVHNgYLqahYtn0z2V+AzTHqHeb09D1adS0jhN78oawQtKLgfqV/FVL1PvriUupib0CmHcfqgaVo7FvGkdZOpCDfmdwaoaTck+RUAbSZH/4YUcGdMsBmymMPvdil/x3Bqwl3drTpPMcQ4VvRZg212fRYzPVpF3ZbHhAAaHf8hXwwgJpFGcQ1gkhWxTJiXOpMy3zmWq+Avk/4BdZxrfmSt8hpwblny2Znm6mDPdLqEHQS11j7wIv0bChc+fTWrZv/S89jj+2LFUUTRIfJq3uBRKrPna1RCQs7lh3TbtNFDTQYDpJ+1VfXSOm3MwSmKJzctR0FTEad1yGNUrjFtqI7hPcHeDBHHWlGA1jWp+drX+hnfIDljZR6muQyRrbbTiZ9Uq9fIGfexAT2XRrN/912vsbGISKSbbSslWLv96mQJEUDEHYCxy0bQ+5e7UWpaCLAnPjCCTZyKae5B0jr6ExmeJkiQZenh6cjrWC0TqPuDGUfU+h4sfD0qbOWHaWkJTXwo7IJkXS4auOw2DtsFbcRQxJ2Kkr2JzqIzsS/ostq3dIFoyK9SmfK9yY08stutwqj7mSD6rfYVkA12A5VvLQslM+XbTXlk8GxsAiiZewrZOQqKAXrkJl5/11h6JbXU3kPeFEtc39r6tEqemsLK7Y7pjSsKLuMxW7rM15vGoNdYxKoQsk9WRopIl017Mg47lIMeNmtD6Eit2k7F6GQk5NIZJs76ssv79xoeU18fKgdXiynt1xZAHUlqtJNROtWp1LD2Wm7/hNZ/GbnogXiVX8qGaZHrXazpARwkS06eo7GYkD/GHahgGdst6IbbUEtYIv2X+n3sUPdYI+cdnywbLaEcq+xIFXJFUHcSY5EEXUgZxx2ptHnGn/16tR3VTiopbe4OaZrCdlmVGdGe9s2DeIE44gIl+xNyju+b3mJAEwc1p8JJPp4WwKG84skO7Ao63EgjUkcnz7BP9QQ6Y97kCGAzR0FG3ry+DwV9wbzo9YCwnEZPlvvM/jEbrMtDjRciZP+wsy1E7MEZ7A5T1ZAh3crxy2irhDfDgQJQHRziwpimcegTRDVV0DmkqUr/oq55eq8MKH3/3w0zzgG3FDyQSEuM9VLO2BcbL4r8aWAb/1mIiFuIwslbgXNSbDr0d9IhxhKzanWjwD8iIzfm1ek284pSU8QKnBvNrFuRoTQx0zH0WSqR/l2h3eZ0UcMYcSyyMA0/N/s9kMZVPJJLHEtQVj5uEuKULTiXN07XebKEPPBdeN6DMy55/9o/sEbz+Q1klKenlmHgrMu9jBKbW3Dc1sCVopO9VbJ7ijqHztifMCzbVWX+aOdYrcJZPSG5B6Q7gylV0tC1Dy08Sn5aN85vT8knPhQZDkhkInkGh5ShzirNGOSdehF9hDaLqVHzVirHlaFCcZBZmJsc+UXPKmywWfIXeyGvbqumC+8avnXhnAiSdQ8Iob+R/yrh5NK7eR7o19ZChtRivYvXGEnUysB195KMHU1CRfv1TRSrjdaFMkLP1Q33tbvz3zFESMJXubhJ7QAWCJvmzcJSvjwXop34iY7L9ZYoMQaZFDb2AfJY7/mO+SewjGfzzEL9zzClwAQrjkJVPPGfJYCtJbZhbBRSfM2TfA1V89KbW5j/VWfQU/R/X5lkdkNRBwCCuWvJQ2vFb0AVBnkJeJxBSpFpXc8YHi6umrOlSMbCMF8iqDPkgdZffz8TBXneUtj74EL2NWUxZ/jc7S0ZUqYRjpb2on0pKMfKP0vyScrLuzH0L17yfnJnvxi2FTnW+gfGDbbhSmg7SzMrYapbJuiMcOSsrGWE0cjdNaJ/xcrwtOyDIewsBZ67ebh2ztTSS3iiRw0t4Z9lhD4gGqwRQQcnuXhJWcyX1P7GVFZGZlloqQ86zFWzk/FdqfzLH69zh0BN8vPA13LNtwdXQrQPyQPHv+2WgKI2m/OPQhBsdIN+VibfP+qkDmr2dWxsG3pmKLzxWQBRq7fPNn8bMRMjgGLLdY24De6Ty/L0oulVhPJ3+AIcncG4MWc2HZHvJIP9BBqo1KfGlC2j26biZCchkveKEKcAUKKvOQcLZw/cMYQJ+vUYThDW5E6xR61cU8ILcRhbjC52jr/bfA74dAeVH3kOut5QL1Zt+Q+YRGE2On9Q8G5FAd7KV3fndZ4V+a/Am7hU0qxF7utogFW1aGZYA52mudW6uiZ/ugGKyO7hU9ULXY82j/jjxHX8cEKYzqfFjwaf4pwDXdBq8C0hWFov/tyMbALkkD1lUnaVDi7KngzAvkdcgJNgdgXYESd9I8H0Pph/D8kx8QQylylwYh7UMfxz5/3xxic1Sr8Vs5jnZC2RD9YTD3NgQZNjaW/XDbSors7Iv6aHktT3q0it1BV/AqsgpOTDV9+5DfcuWfkZ8ms+CLglSOXbS8Bx68fACqM6+N/77Q3BGh6aqZ8FLB8r5FG+wUodhKgp38CRfiCLfx9mA3zuzb0Twi8PW1UIJTy2FErAKvYQ0A/5an3dtVCnr/gcaw5bnktr1delJN2CIi1Du6/VD/CiMuRe6YwRs3n4WokENNZoz6wPrBWmrKoBsPUOE4TldZNvN9cDBPhSY4uD+l1XK7oCt5Mp39VzMDVNTSW40F5hZnoNYQequGCVPOwHVg4OuJJeswIvWTSdK9hgIiSyc9Afqtni3zS5/sHqd1lc3oiGWoLxYa6KOcL2k4rn40xWRUGy4l7J1kHvDi3bbvKsdZ9Ld/h343TYRGAndVY4Bg9oBxGG0J8dBK9a8ghB9dhUAo7H6X+SQ6S8VxDSF/vFV4fMOuRPvWVwUl52szBgo0dfXHXmPlm"/>
  <p:tag name="MEKKOXML2" val="FhscXGJv2WeWpajXOJu8hzm7h1rhZeYN2IAJxsuytus7WgYWKvg6qWQ7spaoUmICUDlgUNWPIwrGzvArjnOrlnTJIAmNlh8FXh6x9Z+BH1gMrA6owd/4Ks6yRXM6B7lqPR8NeotAEpydm6HEKduODtchsTLr29gPNDKNf1/KH0nncMMLcgZdgAA1l8gxGPHb1Sju8rq6NMCkMRTrqlX/3zsgu/b8gz2eQyeclPO4C7q7OaOLGYOFLv0vvHye0iy0YZ42Nd4Gb5P00gqhog0RzFoPNeFKb5ZZ+0dPUw8MMWQ62mVwi00ZMSDJR70vN2fBwUsJRnWzuKFImV0Xc4bhIxcHN+7kLUp3rqdFIUnAFOh9DK3af0tniUtJFesNv26zaw+fbuT/adf0Zi1B0sIJ2n9E4Ti3aWEwk1SnbB8AHe9oFDebHIWOI3X45enlhszldMIrx9W/0NV6VVBPqxuMYneyGdzWdiyv6VJLz4fsU8y5lssSoetvzUZlPW3mu3H6u8xdsFURSizmx3UCKtN/IEE2AkngM5wLRoT9rKs/HpuSqn78FzYvbC2gKmv/IMdTLNqRfx4un3PP/JYvzyfBFqhORswGszWavnDvucZPpHrbGe0h1t5jhYE7Um349sw/e8834d2SiGLbUIDnIbpccd26EvOsXu6eGcbL2B+Ro4JR4J3+cw14BZiyFqRdmOZ2L1N2o7CSFCx9yW636suR/zQBQGvT4NX9hvV3LGqb2/+/Xi/pTdZsw1a8rrqHv8Yni1vzxDlZYyfE1ZYhzPDsLn0R9Q0PfnpXUt6fJ5iYl+U8Gad1A+23yXAXEbO7quxQfDSkOksixVSrl+DndDkjMn8LZjZdX0OL24ZvvN83df7J4sq45OCA+swjPNBN2zf/eLgq2dETGGkn91D4mPR+mI3FWJDIPx95/JIqgFtVpcO/1HdIqcrwWjsRJ/Na3Bib2b5rK+r5ZPQZKi6UEiYRr2VeVT9yvXJfkX+JVXcp8nkhokRNA88cGVWlD001JQwt5phrT/+ba38q+dFMJfUGF3mNqSg41uLKFybd1ylb+7Be3rjDYy9ptQMqPAp+w3jk+VbXPevqOm1rTT80aEGR+8RY4iwuSYBvUt8Vqh/RX5b4Gj9PaQEVrsE2UcxFH83uKp/bGUYzeSy4bjemWS+R2yaYEh8CD3SghnkkQpFD5kvQocSA7kAqwgi+7scpprVhqI5Q1qnIgdxMSKJM2gVXKNgSUAHiB4e2dEOh+Ke3qkRHvXJ+G+d76cOfAu6X0Po/uBFmwbKaWZLXwkk/OdOn1p2nqCGSf7yp+ypcPL3X8fPkO//FBMHWLHnXTHFzD/TKad8hj9YMesH2cTsTQoanmobhmvWRmXFgPSoLLcTctXszv7j9LR3b/Vk+2EkAbeiLH0CCHmyMO1LIVSFY3zOTMgnQF3pZ0lGJGfDlkHGAy8mzNqrfrBxzsm/Eu3L7B+Gq7RsyPJVxhKjOyU7kUtjdeOA4CDBGDR398rZnN+p5MATDBPXwLV7AylX2uWuCo/TvxINCFoXZCHsuEYbPQb0sTo/p8fEYFvEXd2DiPGLvJh1CUe8hV3NTC0jaAqH998fql9AhaDHks8I65VJSuBtURQ1ETmb5PXmGQQx+M+cuG8ynfd3gPfQilD0qD9hqWWspnciiFWvCiXkWSu+dHLjjf0wGlikVXA2FEeXOpqTo2cN/YGNnd5GpGUtfvIRnmXg3pDgck1aepMe/w8VRQitGlBvjkzeWE8KSPFFnIlEJO8wOmyPkunBwAV0tNAORqnx0dAF1dfAsftJ+8xG6alG1DeO9FBFhyqmGiYR6UEzkGT8Nnx1Hk7XTtZRyf+qewXiYNV6i/1gR0etim2m+yZQt4aMJmgv1k6NNxh8djO+lGQNnU71CJn4y+a22ZSBhLlko3E1s0N3nOMnaCMvTY/f4G+hM5tZdpPzjH5CVfLLFdYGeSphkJpu24F6uKk1Dn4XpyR1noS3yq3qLpvZVAQoXeAs3+0CLP97dy3+o6PGgupcgGUOzYGydz2e3w6gyfKb76bgcwJfNg3LkKGr8G/ILJFiEZ7LAbyvCdBrZ4DaX/Kr6XMwhl4m8O7yX1VKGVFxHw0Jl2/WEJcqvFMVchOTLjp1dfTPquBw4sHfSaLyveyuG14d1xImUtXG0N+vubuONPPH7UQrHjIhUfSwRBbP7+Ud46rsy0jW9gnnb4n/z6N9ZIsZ99SmJNEZhciapvYhaCjl8ZDdrfR0uLiGJe5rUNI6nls80Kjg2mRfNhE5QPOKlwZ4xUlWoN9fcfv/7qr5yu/znvAsEV/gbAm2HbLnrtev62M19o7I7UGy4x8Eurlc2nTJFpB6oY65nA+CYwJ/DgQJjCPpudHVqP2ucA/f5QYMu4w43PNzNNGUBpzV/Xs4+8s9b2RkAR8rXS4eSpcWaM3jT4gUSbFN0N03WTwsHd0/vzIga6jxR573jWNKhsr4Wol+/A8sltCGavJEjqgo4R1gWa/0TkMIpiV1tjHwHUAfP3fmKhIND/8o0wHRHY3d067a/aHzIjIFQyVD0e7ai6wYrVJvd+/EQM8qtRbyY2SluOlArnHXJtC57apmwYmO+jRvXSYwPbw7QmKoEuQmfaaX5CPZcDxSlEWIDMDcPxheMM5iKT5A9yv+Q3rxEfIwSYKJ2d7o/SiUZf+MAYbeJwu5yaWOy3qnQzs+9CDRTL04ryJ6fwS6iHE828yM7qskIvuEM3ui0Ot4jhieZC6jqam5atRdOAbH6flhek6xkKuGLejSXnzy4KGuROf5258pht3M2MSoJjHK4RNeEljh8af2kDqnJvKqzBE8GZ3xwmPYTvTvYb/CEDrycMm08HXAdCksEE4lGUC7ooSXpcZU1ck+v3QC4ccm38zKyFhUrMJlPyvjT6PP5D6U+J6rCynlj3mNQ5FivPoVo36tDUkAIR2Z1WTRAAAOuC7gSP/1W/izqDybQYInTBbMW9kOHc3pOb0z6ENagBYOkgka5U8lvVYZMQg1trs8zdVG1ZDWXEumIsEM3ke7acU/D8oFgytDke62mzmHTKSVB29nTnQ8ZmeYspOIRxbji9eh0uH5M50cg5j8qRvJ6wqw2iu9qBjm0QkT2Pb2Lluj6kiga68Yq+L2VDuGPi5ji6QBrbjFQSg9rWBI/2BBevErYcUflelNS7G3aGstcxHU90PfYlqph4p4y6PKmhCbpFWkYHVm3gNuauZ75MEb8/RpGsHVqV/0JrA8BywBSmVK7kVo2bpZcjHKFka0xdB3GwWiJwIePS9FYJx3+ub7xfAjLc2jNlHUpvEyIAk9jvPEzpGvATXI8GzZxn603Wo9EJWYE0RwlxV+7L5e7uvhqo5fw8v6mwMTBQQ2asmAO1QJkGu/uT/F5gPOwSgtRvgpZ/ABAPPo0kri88HeCxWu5Gzs7CsOCTSw/Q1G1x4pt0t3s7OJsgrhZnnKap+MRqqGomz+WqS6UNMlUxGBB2Cu3qhNtfBM8n1XF8fCaGFEMgvnKlbSmyP/EAqeZH4wfPR2RNJnrgygeLOlLVivM2QI8mPrzoReJJ9Ker8ONHrRMvZgN+L5apV+C8u7DMOHeqNA7rAN+X3BbLTmUpT2lXmSeU43R7OKH/5lZdt9Tj9Z3diZf+CrKqIw60u9IUVFFD0HU8iM4sAfx/Szq7KRoMaYJOnzIx9q6zWxoYB8yGuL2DUEtaQ5TLYOVlXy9/AsuKYmbhDuzLsMTJnTJecLcaNnUyYb9BDdlo6SmGaUgf4imul/QvCh989sGz8phssx5TKngmrqrqesEahj5sMkEUnTfshJaX+NPMmkAkdVyxAR5RjAhA/z+SN/RHSqn7w0VjLFMWBRJ19qeoUkBz+nc4fZd6+7h/oKQA5wFbEVN3SlQjgtRbsCe+GDM5p771yvw4WLuPtjhqMxmarbhDtIqIqeaphpnJvXZhf1HiDpCqb7SRmXLKYJVrO9pN2J4OScdU9MZ7R8Q/CnaPrqP8ebMchw6K96Ei+YogMt4gmr9Ms3P6+/GdvYSy4qQxJT8tOwDKGrcCk7qNfB/0RDVQAgRKx3jVtrZlccgQvaILpXWlkZ9AFDdo9SeQyAMcUqx5pXIoKLEWZnBGpa+p7DPva9i6EB26p5KXqJ/FuasXMooePfceF5d0rnI0zaZExG08ZZ3DFjZzk1sc8F840vtYTBZEU6msjftJgQ/ZfmF43/1PlAbX3rdOY8TochxHmLNSwkkOsnBZL1YB0WREVyCMqDAtkotooRdyXcI9tVMUc90lvVc6WsPL3suEJ3c86//C9cN3roeC8h6z3s9Jp9UXjk2lXy+M/O8NnhwCI7fSjMCX2zHWEAAu+lFugz7qOKu7ieAhplbSLUSFkSGu1Sl6mr3ZtGMXHglURh4BPXbjTh7nP+Ewj5hvlsr/W2TenpnCdtqyApfJSiyl7ZlHZt0EMPwloNeQDf1uHtpblOLpzui4MbmMEDodx7zGisdrW5xzIY2zDpXN3wB1ceFogZstfIjGySpKY99fKNBbo2Rx8ZEN4ceAg7kVlVBjMrQbeIZEqAsIo20UDuZn0mGABqHZ9PbiFzJKjnfINRg9jZXQqqu9t1rn8ZSeXUyNekqWnGa8ahMxDQfBzQqf3rHDDWbVzIEdoUfzs/O+ACB+SQTOLEBi1UKBW78auha1XEHda7vVWwUVrewog6aZO8hkUCZz2SA4sLf7OS8TJKOSKuSfQRu2KCmez8wMEa7KS1OSErnrMGSoFHxKoVgu/UKsbp+hVrFbdB5cI1pwlgQ3B512OSLs1JoYziU2KZQPGTbvkQGbKTL7GgHaDk/rwMSaIsA0K6gg8URVycHHQSKesnxXzQm9uRsfHNDiLxZZiXiczqcLiIBNRr0CySIzbZN1MCpKnD3cHfnbKyuqvhx36VNsvoTbXunzK/IrIAoLqv8xzu9ZjVtoqqlQAsY1T9Sxn4XK7oH5PSoJ8fK1dvGQrHsx/8bJ95JpedM9pPbLFbmEI1BVMsXouACpDii1rFepWkuKMxBWN99KO8pvV+OHEi94DBHeljdO3OwxJPNj19Bh2JLqadt76A801jHGgFOw7RNkCUNfkP/NSZgSMIRWTSvD2t60h/8j7EzhYcBtlCz+Ap0mbAUsiAdhHdN1PrfAGJqncHM+PTa6P8WdFNRCs3w+URTMBv5fPjvWxiQPW/YTfY3SdDpqCp4ejtc4Ps6rB3WzWAsIFiM/AMSIPff7Ax1Is2KQZVvHzPWDSoF7MLx4aRl1/RAtzT6gsRl/OA0kfTrFCtKth5Kacbrr+Pi+Ea/Rv8fUImOebO073aH3cAGyX5+QL7ptamlVwS006OfhMz1IqQwcfGREEuDTEAvX0fBkt8I7hETKv8F9iDjlZoxH+5ca0NMTzJgfhg9ZKTbr2+6bZinfvl4z0Kq8jUnxRCe3exLZFHgZy4XhjKiWZr0xuU7sK/UuxfJbdKs6HjmWe8xmFXBvpPTXrLr7yyW3dP30pAo+Au988PrnHDENPTgD3+50b+qP42TA/yH9c+AJ7dz3b/5v3U990/3y4KU84NK2imqu7RtXNysaZbkRmGgaXh4s+5z05F1G514mPKfIvGRXR8P6aur47x7dDYoUOgYo/MwYo/048tFUYfua0Zt1kC2lYSTSzVeJYtOziFBu1AF5ZI/MkPk3Od4v+G4SA7ll3g8XvnIpbghCemmu4TDwqTu1AtJ+nL3pU3rs61E2eW0kdCTq3wei2uKoXrGhlfgABvECqAEeqtI2a4rhjMLCRI3O7UbUSLI3eynjjkqDw2bgneLvvhvLrjrlAGsgJTkMOa/srfqFBb9K2w+gyGxKv6bM8Vnlh1+QdUUXrFWD0qKpLhQBJkSzejWLrib8/o0Ip2DdSBswsznNaDa4UYwUr0TBY8WY6bZNWTAqUIUC+HApZ4rplTl6LNQwu1hAetqXFht1WnE0t3nCu3/UeZbzG3fIxY1AqR21JM3QMedpqotzf4pJsckge/BbzdoKlWEQu2ZBYAMeCmS6D7NBjuEnNOVxnEtklH0k+TNI5Sof09gIMDe26x+ysmkvs0F/LkwDM8zFBrl4BnDBki0dLPb6kQNnPr6AS9XGTst2y5htMtV+vhquIDPqOYbOsp05kaGD/fOQk7qQx6UJXY8QpKXF+F3+JbPdY0MdOrQDdOwq7o8K04Uwcw8j1OKrEZS+PLQSAgxACJBgbt5C2CI9t9Okk12lBbyTGDM6PSVkeo6bBT3Ib5wGJRhamz/scY5f0rzMk+QXzmk9NQ5a8ysTx/9wu+h6AaoWmXtGVJcRzfnBcO4KNgOtldMScaHbmAdwXDpjlnwFio6M0Lp50GZSPmQYYcvSDJopRV8FhKuW4Svkt632EQNN7WNnS217Dt8bdzHYOhD6zaG8KrQwzsLNCyBHa17/jBIOml46tP+ZLaGp3RCwBkSHO5/839QBHETheLAvBkAEV6riAb1UQD2FV2pgC8OR3qiI+nJ2GIzJMfVNyhUVMbMgBSnahENeqWW65L8LOEND4fRqzSsavShcdZDINquhw94L3hZ2QPaaordx0CxFh+FsypjtKPci8cY8pdcTj5StAEL1Sj/IgdRUp/ARW4PEK9GXx7XljHtYmFLMNtaYVX2Fergw9xphwEzw/ovzE6UOUWbm0eHScX2ARWyT94uB/FmU/QCp6GRFQyUNpC05P2I1UYFd8sZKgDDw4PAlTtrQZ/ffmrYoAHQsdOzxmE5N6pDc3DYI4r3frSVZhij8E2Nf3xLjMFk9z/2lkoWEdLbbAtv+Fv2WU/TW59nRcv/zRfZMmapIYNh59VulI/ydLAyvftWkYasYiNeQOGnfMCaSQxoXUmRV1sZ1jJoZu9B4KFqmTuI08cDPUODo2CrFAEO7onzLXj7kyEzoabeBm66HF6Z3wpF6eWUx/XcxitUzR4RFOutTFEI1hyM+I3ik3OMvoIKCfF9XQvMMHZM4mTGceounv6XDm/n0FFyOjNdve2XSDihs7gNbNqyZCc7F1jH2GLR8O/F97zNKNuW8GsWRT1cZb98JrrESreRfqkPVhyMMiS9W3P2m80yqXOa0XItSmkNIO2PlU5+u01YzolHZQ6vVHxTemtEjoHrOYdFuP78ttua3T4lokyfl47jLdAgaqmfGZzWYLR3/vNHp5oWnmdqNncuPpP0bpW3g9fvCOjohJim5Qvd/ESpGPZXLe15cNH6TUmMyk7suVO7ENZ4SLn97UJyx3kUBmylM3/JN7dfKY0Ec/GqqxLvCGcjEtGOruPyEp5bWNuOvMSVkg5/+05W9q7hP19MKLPdocwxBrLSJiZo5JmHzGnG6KRkFbLdh4+KxzOThVsserTkD0HqczCsRywHsxgY5du1ceITLXaCe0gmgV4+6yfdUwsSK/IAykbSe1xvGWwJE968ZEaBROtKQATASeH+hg1i9FdXM6DUWx2dVVErwY0zS1sznHLJEKjh49doD2MDoqwkOF0ZW8HkHgr5n7tZTNkkZ2IrUHvtoYrjX9QEW//APWZY36zvjA2Z8IV+H1lm/+mA4Vny2rkkl6DNkSfCYAunQ+G7199aW8Fco7Xkae/557KsCvKbjlq6WWBgNzMceFAGqB9DNPWAZDI2oQKXpvZCmxMASNMjpfckVsWEh/ZFSqexpeRX4EdSMszs3y3nI4dyGh19Unk8PJUNgKRjJHSIcCSKeP8sOygKl4r0TzLU4forS3XV7hrTBcJsEOBa28qOx0QMty0VHF7uvgkD4443j5jUS7UcnLvLTkh55MoZdWDaPletxfje9Mu+X1/FkPFwBlEOPPPpkgp9mzDsBGfOE6jmcpBzHbwipeK1RwWFDM/ieuc637eJEQCUB4Lc+aeUEA0vSQcIeqWqbWea62V5WQuOFpNYTF04GynKTuY4GDH6NKxLQHsmC+Z2n9nVgYEf0zvrgBLNwB0T0tgA06X4BgA3sr77JCfg3RTgIqi6xn0Ky8ljOlEtlC7JxJ0WgKSVoz9Nu4Gh0uTNqdL0OcIvt/9KaQAr+UgN/Gl4pnDgHo2ql/Zb8QIY7JEmdqIaL7bzLwq2a9rOMF6fJsmxACXwLy9it6JcCUo7VTGlediVFf9VCs/uap/gY87iXDlJVH//GIBFOg+CdNNFHu2ePkdnNO3YCU5INATzTFbXYStYNyy+VJG9VtctTAycqJNiw/bx1zF0fUypigdlF6al4+VJUK2L0M9rlwu7odmC8yxGP/UP1ZtkfsekffhvFdCfoAlB77v4aOib07yPx9JmG7pR27C083cjxCYnmR5C9C6SW6RcZlWqrnmy3LiBunAzCbUR6beK5bDCnuG9oln0QgGOOm+lwtLZGjAoSa8WMQ/SBGiHYuJzLRRfYbnuYEa+vkw/exSgt4eo7csuj03id27ZuEYL0EfQwxtmsvssgK5dNfL2FN3fdywi6HOs5WdsTP3T+P5/iOS+A5eFyWx/XB+0EMgjNBQ8pPuNO5FDTU2ACcjJMP+Gb0zi7En7G080gMmiNLNbh22K1fl8JeH1rjzk6SkSqoEdIhBGf6RLmqOkAT71/7YqAcpB53xx97+nfNwTaJrBfZO7442DMlQStfD4FWn3c/zCanQvwv9tGGWyz6Zu6QyjCUQw3drTek+5jqia8cMK1KbTSFyMy7W1GjhjZR+78oVieMc8lW6HF7uGZ8wavPhegkKnSUMxEJisOm5qj/q5L0kc1WWiEkQXNRbViWjmdtj77msbjfgNazM2s1yOhReWNv6BGzm+VRjmaK8qMNJASv4odS8Kd/YT5+OzZwWyZ7gHS0McOB0xaNEvyRgUn8hsJWJEAU4ttaFKwE1fYq6CdseZo7VgkKjO6N916QprZOKcq36z96V4+LbG1u/n1nHmagHK5R9WFCnAQvoNpgEl1kQYxp6Bw6sJn/jPXgig8r70Gcz2rt3aLZ18dZR7JUooNfj8DU5k60VuIxKBStlAMwI60Uiny0zfLUSXAN6YUFzwZpm63SGsz5oXGRUFqdWssUpfkLQUa+UHMDdYDPOv+JcFQUQpC4BlL5UlR9yPU7kJ8GebKktnJLIsViuBRvMa9mH7wRKSxOq2W7N9zE9O3OIZ3vXKQXmy+kV8w4F7vlnVHM+aQ9063SryuE7duNUhZZ7nZzpP2QA8eEHTX1+jI1IQY2jtnHxJX41EZj97596y6IG8YMUWKmiKI2lR2Whp05IKgE3qZgxoN97f3Ji0Pkkt4A8t1sM8PkjjqCKab3hgMuCVDhqprddHOmAKOIFPzIQ5IlIw5jafFyUOydKWtwuG2eznBprEQ3eGRH8K4HL5CKDpfwhOLNWoy135TCcx03jb11QzNsZOlGVOUrk1I78qkqAYxXfSdX6MAQ03wHyu2+7wIuor/YanM/mRDIiOWnFXX8bWqwzQNpdZIOJCddUq7c2KCdVe+3ofgxqPAjfOa1oXAAZRwf8RlxAW85x1jxz8CRymLzlm2DKUvTICY9sbxAl8Lo2GAPxYl5s6O3j8H4aOfc1VP9zcIqyLPwdDH9imOjdlorwjpU/I5vDxwmNUBWvCoryjicpgSsK3yPB7gV6nT1z3X+efNgq3aNrmRiGD9wu2UCvdsGTJcEMT0fMD2o8EHAwcbj/tIGNjQHGgsXpCd45wzSgN+ISq/Nq9ntTmBPqTPxUWAgWPRTSmx/4K7f9NEjDBokVgDDoq9eb8I+XAksWbjqP0LmijNbP7O/PJIAhXN48a6ZPPgcgb1Lrp63bnBqngZ9VJeB6KQa4aDS1/jOiOYQGkEFTQQeSyi6fgT31qhoxyEVTiAECkZEu2m4h8SbfnuGt1CruHHdr36dh8TYdyNiOIyNJjQ8GhHWGL6zVA1Hhbqe3IEdEC0Dh/wziGW7Jmp1CZ6aik53fkr8/DFSyXTsnEzDhEqMs/KjLG4f/FNp2P0+RoY4SCi47S5xOpm6WC62gG14IQODMkAedgBseYCEnlcv1Qsdf6KQoqEXr0+bdDlHowS41i5nhxczUyMqnggyJWQKOjxWLcCMyOkwb3AJylu4Zuv6WY6e0uORsOUr1uBsmdtGfDWalADPEezw6W9ALhPzGq+GGz++QjEDZqYBxvqyWlgWdO/ustB5JvLZAZABL1i44m3dDT2zSld8im4JzcHDiPUoJl/PzAU6TpB07698T1X5F0nx3LpKB0SUAyim7Fuah9cu5uP5edyc/P2SNAvG2xBaFVcqNq8hPQC8BDb4eE4VhlmeDKRxuFCPKy/Gn8dIKRa5EVmbrkAVXIFhun5ljrpJCTQjSgX4Bd8OxUS50rab8L/z6DajMILS+yay4+pOOIALu5GN2HiupvEouxSM34HKqsHrlBc7LLW74gCORpagVjCeL3ItOcwSN1/+ozrrwonNGOJJIioXaup4FqO0/z7M3wLZTDjdvvXT26OV3CWACSfyaY8BZRjku9gik0w6wii/BF7R0u7OyBmT9ihDCTo7DMDUdM/x4/T973NgSvhy+v1d54Nmjj3FKMKUn4tKGMIzyqArdyVAEjIizKtCL3NiZfJwE6Cz7I0qaZRiAYWPciaIU59OllndM+2Qs/lC6GyNrvzpNedjwb+hnrTb05eMKo1uHE2XDndycKwAczQw4do7LPrD6eW5UQu7s/6lH5cGGX0oyVyeUnaxWH0g+rMc0xfcWIuJa1M9aIgv0q5lk4KBnER1rPvfJIHAtg3fcT07RCUSWlPN6Y0H01Fwee7bPBwF1UMSfAzG9mHwwr9L2CZnG+t9mSmXfDQiZQcy+cvUhFI+xyWn11jwu19NPx/P0Vkq+Afm5HrYY9D/TMOcjUXIuThAGdF8NQ+HyhqByceiZ7Qi7qUUEsZgxCp0y4ONOdrJILWb+4RCIadXngfQ0x3iHgO9YeTWhRS8UEQ47A3E5lwYI0qIYyWRm0iMXoICaj423PEFujK9hkUnmQ//S1vQEAKOx0A07rPLVmXi4jvHwwHkP4vknwBNcav4DncBNynoWTqqN155th2q8kOY6maHJVPmJhHaDPbwSGUKEfOU+fJ2Egw1vOdi39y18aidvLuH8OV7NbyfD1D2Dyh2T5f8ULOADQ5XdskJdJd4AFzx1NwthTNqoo4Npr5rwnOm8wtGnftG7aI80Fe07c9eA9RgI2SL+Tbjdk6rZBaqIjRWDukx4q5R5rFuNWsgx4OXQjTQJHkANnMpEgEHKr193Bcht0+RAHUXVCpv4wNH8mjM54M6CvVic6pSZsizZEhqx1m46kRt0B2kWiq81VWLhxhqQbHcCXw9fIFtLc9YLlOLDOV4Smjo3ZS/IOlkCV2LRnsoGWFw6Rk+jSB8g+eMIz5IBOpEFurS19en+zPFmlZUtYhSJ5+cXXzPI/jwZm3cr875LnkHOu2NwuLsB3xX5j1JgwuBg2YU1tYP07y7L66AMQo2aHfWNRCFvlFSrL7bTbcz8xltFeaVTheFnLaygZD1XH4j6us5sVo8wf+VAg5PNdhdBXxQIqFSVjI3kWlTJiU8kVPsrPwkTAPntCV6h8xwFiHC5kXTgOEftmx4cwvpgaQBekAeCFPF1G+EC+vQvhvf+QUAtUvKMLjk9KupNMR98J8Wz4vkJzGLjcKPP8L0qTqtd8YPEjrfuBNiKnkhUAUQVa9XFb6zlQk/mDRxw9k0NMC82Wwt2RcE6t5VKaeYHWtkt0TJOkJwP57/pTv5GOkOIdMbGOIxLjhrfkXIZzI/Nvgblv2x3i1tbiesHXJCsdOTfvaxfl7MQgcbLwT5gdTxxlYbaDTYguxr+QbpxbTLTTASU8lJgw0NfA7R9oZvfNY6nUwZLxudv4S02V+WECrQ1wYeW577NA6xuVbpAOLPC3SWyB59Ogkssek8cx81uzQGm0YIGtUX8f2iaktKBBXEWmFpthzpYcI4ga02m2WsISXrGwh44TKvb4Vj6LsorPWSdAVOHYrNL21LYvToNejuZUTkw5YLQgxmK4BAIBet9oEHrZH0MXKKed6Zq4UZD3kYNldEmUzA/x/h419YHG8NNv24DGm0DhzWE0b92nJhFA+toOA0Cso1WgvynWiRcKe9guJ3iVz9Dn5ozMhX/aHPdyzbtokOmwnwtXh7bn+AT4cbWzvrQzO8C9gOoe3Ixk+EqXe/taQQZ7L3Y6GeLiNv7s71+tShOzaCu9O9Y/+PHyur4CkknCJbaS4tv4QRWpC0FzLLGwHhLXzPCiV8VaTMQCijL7H7I9XmOad7c+yQyXdkz3kRFejrOMscQnwZ4NHklXilbPdC+s/fgTVGD5nEAcsNYZxnuvnx0ebC95BUUTWm2zoHp7JApj9WfM1ux68yulJ8MeG4BJBVz+kR6/c5/4lIXDRb55FY0ovzwSYFlqqO9Zu4s+GJtl3Dtfpv/h6LQnUt8/A/sgyG+NmulJ9r5cihoHUhZe5P+p8Gcl7yhDatw5ynk/GitZhTE2F5mJzNraIfI08bl1rwaYYMa8OZ0Uz8MyE7oGRbnWCSxVJ/6ug1dvmVqCjDctDtfukHKWd1Ghy4dLmoivN0TFzzaYeD3i7L4cu1ND+pv/G3cCeGvI3lSzRIil/lkeYe9CwcH5j22dTDlqqG5QJrtqRcTQRmOWBw82Yg2V7algS8MhIBk5/zspyYk1f5OFFrq3DkD28Vux473e374nhMv9bELivm+IXNCQPL12/GiPBb2iEeq2Qzw+NMX0pBRxUtHXY/yGia3fayZ9z9p3f3M3+MuEgveHSJ4DNKQpYXjr12cDk2wBdL1G1OVA0OkXWhLEQrlTX0XeNx+TdtYIao++MD1D5S3I3w0wHZSXMAwbBe6hBwExzq503XqGY7OgLqnTHNYh2OAOru7jTL3Z31WUJIzvlrz5tWHjp768PlB1Vvzl47jkczYAkFW0MrGSO31sR9mUD77cCMCAT8KPQk8FSixa+xVVmY14fFNKiuE1MbU+cAE8gl10Oo63ctplG4KcUHnxt5PsXKblsTw4bazQ5ysDPaZlD4RaFuKvQvf40WgJkObBkPbcL+7c4qh6L7XQZ1+YMsaQPFCNYxqyD8XxQ0A2BxOe5JctDFQdAu7DdEY81jN/AD/UXNUrtg+SeFA8yV2OMBUnSwEeNS12PBPQYytD6CwsEQzV3D0TxxkiD+0QUB1jQxddq+rqK7sRLrqL7m5MBPUz2UowsIY0/xUz3+wnTwPzWcwwh+TTf+Lnzw99oi9Z/WeyjGXZ2PvHP31ToS2CAKtNb/darse+iVHhLZwnoSkxzMSGhk81Av81xjyKRaUFsbKRaM+p/k7BV9hTxCGqAwMvIT4eCX80ay94L0fMUaTLnrSsafj12HL33KL49HqUnEtt8ZG5s05+7OWciYYh1iPN8DIbGSa0wypLHiiVb+KIT1Y7szr+dCM8qJLWoohNoXXD6iFi4rMgJm10X97keeztlWcWIMJHaV1z/xek043Ar9Eanvwm3ChUyVDMR2StW5PqawcGC9E+6K1FHbdeFygPN8gsjWzgRcleLxFmZ7mywz/SswWiimyHCuK9E21lrogonEjU1TTB8anRUc2eXHhthbwbm76iA2lmPjG/Yug7Xm1d2lhOa9QODMxPUIpm+AudTgyK2c2jyANmOnuPNP5cSVuHYFVF1XQH+s85aEBLbmN7XlsBsRjHNItGohJr9N9qo9KscLma8A3Gnxt+/LfR7dw6FwlK0mVXABYQJxHQbTm/TBwGYvOGW9uD3jqFPAPcj79vUeoS/gDSSu7zQBzOgnbxVLtSv88mrA4OW8UU+hNgsS4YrZQEslqjseiGZ4oCcBmSXww9s4fSYcX5VbJPCNd13lkna4EvLv1VhcUT2N1Ktk28ePMdUTDUD9ZXQhVEfRvDbfQQi6P8+LQ3xJpHM3oDfa4uwhglLMVbruhgzfg76MXEQX4eTPh0v7EfhOgjQchb1lI4tgM1GFpdpf5IKSh+EgwgpcjCEVIUWrz9bHmZkBNRXU6VffYTvWrcWzaD79e5ZcL4ugN0Cbi4m57V0yHJ0soHSjyIxJDJLaFO6CUrYfeFUbEDh/quysGwnTBHS2rgwWCTN65VASIvSvtPkVq0nau+aD+hqz8PHyjaTbYTxA0l9eiuNJeCcw3entZvDymFRfJgNGwXmSDGz5+a4PjAgJmfwejtA6fLt1GGbDK2OLy/hqKQDmEU5qPzL86hoHSrScFDe0vaLGeNctIwKsif/Gl29t5fn/PGQsjL5SKcznUBgVhU1G31DvmCm7w0QDGvOGfTMq+LOtFa5VZJALRCzb2uJnOhxvnhSTWN57X0kHN6oPORsqQ5I6G38GQ/iAqoAbtOmanWXE9gVTPkz/lH2wUPwDAN/Ilm76gP3jvLguy11h4lUhfFt3/Pdw6CVVqTUtiIMHMzLfZEgFn0J3zuCN8pLOUrwsnBPfTNs8Gfgxz4y9p2NBDRWll8ZzEw/tXe4N11xtp7Zk+h06Nf0wGZ8ctFK5fsrbQsHbF0jUElwHYsTWCgecFlSdpWsGFewPmT83E34/3o8DDLNaOvd9ZH8iTzFpM74fhimCkyuOC5m/EyAbFa7/hxeMsXq5M1FXuq82zcyrSqFkU6Q6uNAR+bU2/0uaILxlJ8WP06T2SMocVUVSFqvn7LHBAW1ulvxXYSZi7Qeo/hhZs+F0HOfJJOMOP2ajBDmGrzZqYZEHyLlik9sIPPUNAc90AY/NOiTQ3lrRSM69nI/ghQm/r4Od22eWO2FweIGHJ2fXSf01k9LsnLdWVCtl3q7J0fHiI9NbsJUaArcuUswjYwOe+BL5zKCuiRvMMMg0XfAU5uhqffMXImiAeH6bvwqwL0cptyTphqKEZ051IxERg7x8iDFSwwXPyPhItgwuqu7MmeoC8sTkhVdal2kd6C6SgjJ31UQyLnDzBj1LxzCfYym2IbOEtIBNZzQ2pi6qTGhoJiK9Zv7FJdR1gGiDRQcKHpCTe+bnHKPfx2FQQzuBp7+mCcQtR+Gvm1rpzC0OqodjodE2KPuamRi3yNdsMztFR0Jgql16hVogkhMVv+ZAuLUWJGnBhUjk8R6JSHAAFUB/Y6vTktT6R2SzfiDMQJ48+32p3Gc8pzx603pZ0a5SKI1FIjuL7P9u+VBbeOef2CbiJhO24xbZp3RHOCxxarumzLTzTflRPcPGf7HeiLFnfnZNY3YlwtZFd2Xj817YyTQxb8Y++GAYAi90w3Lw8+dGLNd6uy4kWMSGdVK5t+esbKpfkggEpQLt9sn/D6/GJxXCmGvvuxFZXHBcakcUrygnccozCRshfcSe9Fsh/RuihwgwujObUQhiyky8MwPkQuuqmRKGDdnpyl98BbsF6UkmyCiLBjqqKmns4AjomAVcMno/keOrrsPVk1U1QjdTISkBkSZrJd2tZs7pG4d5HV+bEYjWNLuHGjHR2QImDPPTtBCJY5JzXMciPo1PgpF+jfk6EflUAQ1z7PrfQYQ7mpql4CIGJ4FZ5/FUOCUIm3k5TcJqfgupFZOBxmLwr6rVDN6d93yvytAySfVhio3jVINAwqrv7vIOLyEsvAynH9FXMqqj061g8FRqw/jl07X3+5URyips2iQsYqd5yLvys4mYA80PkI+DLC9BYs7wClkYWVJJm1LiDm89eoG097BzknASEY8afrZVDhuo8Yjqowe/TSNvzYeig7YIY3lT6rnBBWNVSIAp5z7kgUyiKLaSE/qepvIZo5h0lA9fRNZjhAlcGz9pqWpVNTKFQ2XzX9nJUQb9ReF4ksxuTiyCgalKdZg5bYOCgMHGHZ4Gpu0T0+rY8eKFGFskwzB32OP+cabnxbV9oKgpLyhRrnOcOgdgQyhscb5dqloY9TKwcvVls4I3mpNLSQ9oCn10qHAvGQLF1aIS2HJgP4Nxfv5JMgK2eJ45xxwd53xrLfkEqkgTRw8MeFyuvQehAhefYVw5d2UliD0Nr8drxr+nRGLmXC2chd0DdfzMEnDYtiYB20rgoeHOcV5sqOotlFe+AlX+OKs3/shR4dEsUp+vyXG9z5dy/u1aUw3F8wy8/tEY4uE3etbFGxrl+78IvA7kS3znBIjRXpqIGCE8LZ77dbtGc6nWnvu0Tw12cMxyumnBwrS6eFfqn3EyFY/bU1xhsvzx9Ohy/sWe/WDKn0MB5r3D1+X+rzqjuYSo5BZRkYakYtUO6qCgTG2dtNCntmAqr0EgOZG7ViMg2Is2yFlLwdOyT+q0Hn7P18JKH/iz7XIMIvw3hi6YYp2ZKjxPS1WOmOXHSLjJLv9GKJNTSXLygTvPgtPFEUCwYSE6E8D/AJpuxpPgxkwdW8Yj9a1E8/vOwA0d4rYbx29WXP7t8DXrjCy5cERJB+eZY1rmIbJLxsja5oN6n8AIl0mEZ1F0mMJ1qOdC31IFxEBJqbfy8eKlpfxGTGomfe3UFH122nXhrO9zkuLhv/DBD96fAIKzV7qSQuajtDYpXcVti7gGO6T+TfSgh38WWPjhwKBelPvxzflwx76dBYho79IOERnB6OMdbf4xaynlutaSf6R1G/Ixh/r7nss/S6Sn60pn2s8UeseYAxmVFgMGka6bS2nTTSvTphnCFp2W+106w/GWge3N0huSqzt6xhodW7ernW5meHren3YIiPNpO/QO5XZdjN4d3lWT08MgOB76EfT02HtAB6zQPXKzvzxHwx2sBHncrQGGShgjzZsTLOZPZ5wnaIusTYUa9SHRR6i3zWCx77Ip5gXeQwoRRaqdHSqc3dolluBGjMeQFGOobqUdL1z6kY7joVD8ytljSE7KEHDx7sPzTHISDEGP6MYiTR7z4FFNFFbLWuGa0Zuj3MpFD1V+j5ZX6rQk+Poel5IfdCWY6GB1+blHUZgBsfsF+iByIy5YLcVeWyvdQiG+EIe19ECUVDM4xC2/nbwEEIK27DfA5lXjZLwluiErwo2hObJ+h4fgWOWGRPtFa5lr+7Y0HeoO6WX26cOeQWUiCNWV2pXy0HApA/HSLEbLKz8NtyHB2Cs8rC5TZmutd6Ggfj7B2U1XzxNK9Yt/AaounvqRlgVMSh6iVzwzVlZ2J71+mV48fttJooPq7VkitCRRdfM3spU25/bTB8alxfdn//4sML9GvwrAutdVPHsi8R2ochABj2I++LNvBSdY846v26G5k9MOaryKSQdVNzMNlPuZHUs1wXV//Yrb23fyLpWaN4iprcqaNbCewS4S3c04Gs+3TEe52xoNWb6ebMrs7FsMEt2JnSYurVyA99ppDy/DHvV4kkQbeStjhjhZ/hvbnkDCu991NCL+LRI7t4RvhTGY5Itx1FFcHfM85cfh/Tn0hXYHqbDKksdT2Ly4RxTj85QEl/dXMFdot1AWKqtwUmjJ5ayTdH17RsiavoJViaNYxe1ehzDI7aqwXmLN8xgyNZgOQW5Jy9EzODZERkv8Phbnvmc/8TAl8EmmGCgn1fy5tt12CdefI7Xy64wJBtp7eNRHNs4Brn69LWxpO4NYp54+5xjGdxQQ37qkrB/vyO/HB46hDCNNuQklj0xZvWMy6GFBGX+wR2KRzmb+2PSe3mzcEyvUmunoWMGGvBXSu+Jf8gGgMWkQLrt5IAAU435G/0fTblkvFoG02kkx+d2QsIMmwMKGMEh7kyGC3NwhY24sdUx6OALxqrlX7u8Neq/hKp4IDE4yWnUd58HQeMJfOpPeKcxa4bnEgcpwUyz8uMC0hOCBhH7DW6p6o0OrpLCIfL+dJX3cZCUYQtpcc0zz/j0UudzK8KgedqU/jTHXWOpYFPG3HlaLzYBe3tW1xYHOJzQgwTbtyXzKhm6PZabZiEySG3kpVzCJ0U8+K9pf6+z8oSv/d2OGBInUOTF19XB2U43UyV+yEWpHnzeSIH66C4lByDuAIMcJaJn/4d2MBWQbUmvS/34n3xZq1lHsCQ3O+EGRhOo9v+DEpriFO5Z25vGc8qRY6mkipFXP+YdkU0kV04aJk5Do+RRDAL93kXlRE2FK9JD2t8uqDxIqNXj0OBQEr06nuM01ZkPOalaLQq/BmXDBQzyF3ZLy4NG9zxOGFU+AnENSZhtEQtm0R/ZIccmp8+HXDhuYPz0s0iDiL4LUI3kj+KCa8Q7fRPFzhFdEEGzALu6Lo5YGeTg541Kpf3VyH3CMyZSxlKorwD4+WLvc12+SzBcd6TVFKGooxVDEpmC4Cyw0C7HhWTtNXLPuXiuBUWKc/X5qtNBPkGBzfjspJ5zSNLyORu8o2mruNe8ceAdy4WRFPtidT+xLpKcrR9lqRhd4UsWLST2wQaXEyvHNxnyt9/ZlOb8YZlBNv0A+JHG0+SVLhAyxe9tf4lsWNOZEAfJtLFRfoab00wE3SYiFBaJb9DcUN+2L+appbJMYZQhNrVH+0c5CVqS3+wq0xoiX4XFYNhipXK6cpjk/biq4F2NlYFPxZz+7nC/BHhrCI1J6h9gtBIgG+Ix0r1nylMIQhmI65dyNSJ4X478OYQGj9P3UjgYLrF8yYH9qkhTlw/K2WGbgS6esJCtzSgzbC09bZhI5WGEDU2lVEQI2YCCWiQ6pC+DDm89REhJAJ69wRHYpeWUxkh3rcAazs3PtZ5BqwJKdBt1Te50CHPk56zZ8cjebX6ThEF/o8WCaruo9vEY1TaHGnuYW9oDglDEzGWaZzNfC+u8dxVhOsI3XZGhmHVz/msU8zidMLlqpsLcTcGpI/0EisjYrgZalaEEKT1UTGnBZKqLzKZoYjFbTgWFls9e76DwGAZMRi1pphbNqhTlBr7Az5LQKlbmDrgRzRXmdTdUkId6Ng2ddeb0vI9CaG1X2AQjvKYl9qv07c9Cl38tPR9MqsZA5zQwxRKuJpo9N7THtPIb1e5l2FzXnnG6w7A8yAjyrVsZHPS6dk6aNgKT9prRFSwWLrGUP94dnc/DQ1lC5AhcH4C/+EJ0amk0/MVxFpNBA8tGQsuyVV/gyjvn99s1wADlLiBNj0glNrJjnvx/A5Cu4tD4BNQ+DeuKwGrEXt9qNobeh9Lmyps+TEVyS2OBWrsLtsOYNGoR0h/EY83GX3dsL1LptPKMZSw6v0H5Hmyts/6nnIQRzAobPnEe9zdqmgR5cwmKa/1CcPNxBwEvE9EHRdnEHoFtnniHJ2a0ig+WmGqrUU3D5VIc0t1nlnTdk613PccL/0xA+Bb3qVt9AxadPFLVkc/+U8Kzh1g4BS3g+kEajsd64kzYEQ5QAo/isyJdopR6A3mfkN5OdfmuSaTBgolQwaVIf+U5UZDFDGazyxM+H8C5vFn4Zy7KoTt9wjLT/2QTWS3dMFnvMZBBZ4uO9n6akb8sja+ZxiDtrqoZ0zcxj5cjINgA6bwZ6OCXWN/81IRX7CG366opia3nVPSmH2yII7xj8gp/jzs2uB6IcCCLqSay1qeoP+QGXv8DFh18Q6tGOVx/sUyFJ31msq0lrHrQWXx6xG9iVbeXyBTHrofVX+9ZEqifDD6LiocFMr7m5F/0lXBc0SG8f1rcMwcSXVCfacra+SCA7JTBrHjFffZ3YDJUm2fkBGpEB3grW3BKGCvp8+hdRyBgCabMz3/uF+Qi8gIPB6T0YqYoWsTbppKfKBDOYQfdnSDvKTr7/SVfilAi7f1Ib+eFURGVQUIROGgRtSgeZZj4d5HERk95+k5qcpAZ+o2mikNMVkI7stTPERpvnGtP4/Bk1XqRD80gtqu7OoenAPHFhdgSF+fhHTyv2pLL5YTrKFWAiLv0l8wfkfACK3CbOgXUSt1xZpL4ehqd4OxyQD3M1QbcG2JxrfMaRnOT3yud5l2FJXiF7LY04OsGOFyy44/d3ltzC9RkRxlXEvjxkDeMox7RxjwBwcACg4TSljkYdDKp4h+Dw2fCVAwYa1zJ5d1iy9dKAETIDLviPEXYGvyvzTDJqH10EdoXov+d36Pg9sxr0e1XS5yPu/OmCR8ZQPy1Xwi3uFz84fT2DgYonlXQRM29r2D8GMXuvgfiH/cot+Kl5Gn3Dg+QnT01c4/P/4onaRQoyx1PNqaxKVGvZsxxiBWM+gPye2MBVnG1xDKo76oMzBQnKmYRaj+2ria5ZK87Mm3fL7wFfftGg8+PhYz6TMNLZ9/oMLKeL71OiV7oVWRWqc/ywv+lIAYEVu+suJotZ6SnC5Rbj4IQJ5MqkBKmjps8CuSkAX2Kj7O1xYt4ji5nfYZneJbxk2dqPJp7n15XbNn3gSxH5M9J4lGJ0bcIuKRaPSGzgqBF9SyBaaL1mD4y9IhV8G8xysPoWl/Pmn053pXQuMwb981NKh4uEC9aiSgdHW1RQaDhRs9GvyCeSZ3xmpZ1nnV4/ot3UyNhGPB12V98lpQ5+O9Js6dDAZ9i80wPkQtmUEBRdurLdO3efowj/FCL+X7mD9Sr5NMGIY22iTcH/8wdXuVd63WipgPV/vkRoXCHqF6H2WE6fjNtRLESjkE8xqU5OtVl8gkG9NvtaqeaKCb4IhFPG5Cjj4sHxDqB4aLXYJ4CeParLwIi7yXRY8A/bq5ovcXkCZJZaV6g7jtnRvGd+PkqcjuCOKC00yje+fXgehhISvqaRyA0ZQ2X2aOR0Fb7ITG95k3NWunstD4ZTulNhOibidg2BrcFGf8CfYcGRB39I31q7IIeyy+UGuMt5Rrnn4HOD+jmkHnUITP2tbxAfKj+xppFI+vofdjQtPITZe3Q+Ax/cb3B2PxRpEoc41Q00t9YSikXkKv79RTfe8fc8c8GQt5YPn4r+wAyM8R2WKbSMeUPlhPPCsbBG2OEBxBwvVPEKxEJ0lOOrgMjDH1lD9nXDL1WoV5s6/RatyAmp0pDnKge1U7sAvrBGRZGNVRQAqpOX+j0Ges3qRNZ/AHm6EnjyJHwYp9pM6V1WjOQemQjRQh9pea7U7dEokDYG2BsW+D4bxPyZUNhHzoSFrU1w1yPbzuVNKCWNexwLI73mwN8wDbqiRYweTcD/3jGcA7iYcazYhOWzg8ES+ZuKYpaQM2TC98E64vSLQXb5sG6gf5SAuX+UGRAs54bTfE/101tfa+iRloL+WUMClzb6LE4EJaI1TL9HnmvyDr02SVQKjxVQ4JmETRbwoyRDzT5m/csUpq/6Ofmye7e8l8XY6TjaLSwaYAO27S5vzJgF6LdaF3IRFIJqoAdcVClUrLL6rx6rVSHoe+dDW2TGsZu+PD1uriA/+Xj2iQtFj4CNdiVvvlPqX17a6+vsnpB3y55mRtOFzmfsYsBCN3iyJ1BseCZOPn1nv4xGsAAVRXG0h/iXqqvM9XXkTrDc/OAqVZHj693DQH4SCwoARh8NDL/BTjJPUGhpIN2CYIZJFvTH8sttCai0ChBEnRY5O4MElatwPYu69lBC1vqpQaMZZbN/jG4Wl4IizterWpNR8aJRAFpblIkdDwTdOniGl9c4etpWPYpQMQ5/HKo0FHSGrak+YcOrzxcrcLR4IQUUojmv+Tgl+OE/X5DrZQX3GW29ZYzbVXXj+uiKUyKrVXmzq0Xw10kHTxQmphRastAwOVzy6/wDjVvK3j+vzFuewJgVBb/HsEBA7VaGC8ihd9w0q0zg8apWJAs16IBL02/QNk0oTUUhGi6Ck9iauk+LFjdWV8rMRnJDVP58MRabAtjw7IcOCzXl1dusy3SNcLpRlT8QjuoR6AZ3THX0qlx1aMt/2EhyrE50B5JYpuKJNuN5ACzD1WcfRdU+siGcfQZ3s6YObUvH30iAYS1kYT/26qMV3q2Qiu2/LmwIOg9g5od5dtG8NiwwHn7rITs6a2e3UY0HVuD/wsCz1D0KRGVZEMVghTkJGlCTXnlA23kdubVKeaeOlEj/nJKYZjAtO3s5QulDoAFkZlCOKJMkqWEq2h/JOjLyL9+sED/8zstMix3Sq4Nn0ckRKO+XowB/fZ7ginjs/OEbujSo1ETklu3X2OdnYFaeSxrAd43Fc8PWNBy18nvQ3pxQ/lhitWPci4aLk2SoRW+XAI3MPH+q++98agKSj2SoA+7/8RX24gKN7UH8XRRLy/A2aPhy6SQNj9h5RcOqhduQRXq1gzTg3WPsF2wamysZWM4VmW74h362iE1gy0WdR0znB+omDwTJffDyXMwnIIgtAPbKYDgX4a3fqJ5bcIpPEyxzVhZAmiTVXzjVDlyjwpKaTU8wldGrqLqIUJW3ni0KcpNu5vYMcqzZFZ34E9S9zxxVT/XfCtNSQOr6u4rWsuAf42NfHpNBv9a7/Zb5jjKNECIU+IaoE4vowK64NFtgT9ifvP54a3GmRQ1cgQHiBX4n5eTLrQGdSj3Wa/I9nqtBKaZ3hXBiv4Sfyl7hQfwYU0flZeiuiI6GdCwoxuO3nr4SF2VOp+zMoDwmyPsyZxw/oOXe080lgvf5DKcgFA+pHJYU7SCz2ql3vO4I7f4jSHt5/35z6lH1s0GuKLiyStptmVWMos49qWUyrLtBd2D+0ENk2ZTq6CcgrFW45MpdP9uAOXs6tiTkJql6r2nO/9S9MlHCPLJOoOov4LdHoU39kYy+uYpJ8a2MdnCWLVwAktk5IjXftvQUL8Rfz1zjh9d3JReqXxRnKImj4CuPXajtv8MCMlLQBrWS4hr4Fkm92+sYHO7lzE3grvpbc5eoJMfzHwxfDzaWnmfwJaoaZ+DdkXqUYaqAWR/ElBE475WG9AT8pGIlpN/n8yvWAXpEZbirCncZVDzBzUos6nDNfiMHaQkYKp3FJA9kAcBL/LjJQ7RJTlZNVIRaiLXWm2f0z3wCECtU52torI7l0lE6IOflXL70AJLZKVinMMWwFxW1fAOt6usTN0/ajXkPyL0M6Tuahkc+g2CsBd+LV1hBluOcqdWjkbMsHCjR0j7qr40uYK45A/NErvVh9sKehWs7mq/rzNn+My2AGkAVvXj12rGLdgeC1D85mf8oPrqZvd66XcLegQgYN11xJXSMi7ae5s/OvdikfhpG0XfweBSdMoVeQG2G5omiOI+mC4t/IBqXkAdad2bN/SwqulujWq97gtX0yUBJINB5Q+xIYVPaQ/05winn6s85+688PRg7wcrsmBMkvIKtu6qgPomRYsy6N1Zwge6UmoHwxyHKPN0cWx1kKkdFJL/5O9wzfZoOwWZYtIBTJHJ2jjf3OggzisT1He5C5Zxu8wkF8qK21sW/jjK6RyX8HH5a0GlJ09tHluyeSs+f4EAVMGsORTMrxcEbqusm7QeMcj+d1IqYIPa+YzIL1HPoqXgVPw84an5nkxLMVVb3qOcUbIqznCbbJ8GaJrdKLgcEepCbEm1A2UqDP92kGjoqihsGXRKzY8l5Ft1OzkUGfMaMzHMO+zE4WDVvCo7Zarm8z5wZ70CrTlXuXUkPbmFwAN5sOpUHwTuHv+RA89x72BO/zXdULdy5cAkD1MP6piysOVjiOO/+VleO4iw4slXipbU4MQL7ig49NsPxGq6nSVEFvEMrczj2FyFIJIcYenPM6UWW6h3qgzaGM4wIRkFP7RbO/3fjcfjrAZ+oiebzfI+8y29qU4F9ht8U7Z5hg2SoYSvS2ECwXGjecxqAfl7tpHzrDaIWe4W8M9s6n4mPdfSf5/OoY9pIdEiLEMxDViukdEBFjY0IqNWQ55iti9b7US2LYiglAp2+yO4cSov2503JRNQ6+yh2lOBpJ4cV9JTnyS0h1pYr7tzQWOkFVq00ZD7s/nlqy03I169p1dNLcbnwzJYaHRz/kfwkLoVUiSGbycagsvu3R1+PylXYgGcbwJ4I9oP6sBbsT1vNvKfB8wVNbla36bFBoq0Dfo1hBZOKwtG8P3Lp6pRST466CJWFlGyaW7M3hx+MoSjqRiZqKzSFocppj44I5WPnpp9H64hey1iBTh1GD+8fIGKWGXa+Iu3ADU7gm18ZlY3eiwF39OYUEkLZAqF9w6xXfkHEGxfO6nYOamnueAwhbHw2Tmtb581G79PBgcbtybjAttnysHwrvkaqpEhqXxJ8JAHv0xATwvZExFKSTUeHwWiOUCndSmkCz4V6tbviOLLLM6S4CbmrBRZYA37f9Q0kInqxBIYjuWn18UrhzYTOUqbgnk6T8Kd1RpbtxkKAiZxQpIb13Dyke7l+NTFrdeoomhxVyDTQBCnIOV8Bp6jtmF0XIMXHqYUtcgald7fAbZgyPS/nAXdHUzn0iTVjteVqfGX4+FG3lA+DphFtTvYo6SrMy4NwGOhRxRV0g/ZXsDpfT6ccCjb1AZ5YzSQ0aJCq21Z/+CyuRtu2pF7kX4pjuhncgaEuQVfEw9s2VRMW6P96rdXDlbUYW/LW/Tz6ULfXShZZEK1dc1aSP6tOxs6WEdHYYf+Uv4FnWmtWsODIKlEBwjAuUvJyZlQziXiKvjPTtmB5WHNIrS7MJT3him5qSf8Y/5hXlkIf43ndBaffYzQzWBp/T9AFk2DK8CK4WbajIjiBV0h6/lyKYBk8ZbCsna2w+RyYb0gBFcTEZIzAmuZM7OVR5FryTmBgrdRFaE8FVgI1XammS/Lc6UCiQi1iYabZp5sw6mIuKpHY+QM3t7ffBOogWHY6duuzkUDWBYHnX/JW6pf3KOTp6vOm12cvY2cPpITOObb2roruXJ0y3zpyybL8gOj/eGqXn/0rXhMfnor/e3cdoVZCoQmCXhCts/i72borkMKSe6g7xhtCm9n8fUv+1SPX8Coti4a+q104wzTiOCkLe601cs56d/nsJgpvKT0TOh7wnm4knEgRqAQLxKOBv/yzxP3k4Rb0My+58BJ+c0B2bCP2JGBWMuTttadYZWXdyilssyEeev6R+2n0lixFuFw4ZZ8nSzzKE6ND879W3LWT0GTON1z/v/v2rB8DfOQbxJAjUG1RRlRDAiN9Vy82DSWhSit3ab59+CwA39Dg/ad6hG6y5P0ec6UCc6KJC0D+0bEGzRiGzJVhaCDyYOoLhR9xUdzuIfc5qKl8VUY8CO+ofMLiugBeuXBrQmSXtM7Vj6WzyWyX6CZE9+LzTktSzkJImU8yxMy/bkDLo5KMLWN9OOgVxRFleU6bsnCBP74oI8N+Wqt8HC7DkGBzf1FP/PFQ9LDO3PYjz3sjlB9mDkeUr8ZX426b+Wh8OUvnp6n/qehSXlk6xikH0cIQ6TXWa17vlmtoKh5l4lQuVrFfu4SP3iC4LEm+NFqFsgefUQQcrRKk6SaZ20WC+6tLt1+/9KZwo9R9C3mG66JMS6Gv46QwU/UbFzF05OrBNYUeEpjDAefFyN/XwSJmyWU6yeuPVwsvcJR38SO3n3J32w5M+ykbU2LJJ2aywCz7fiaHK2EASxCuM4/omG1LHUpYE8f7AkC7pi0YkX22vw36JteC6LbUjgOh/XlbzPCM2oGE03dKUhzD900Dm1JT0bFYXb4OfBTsuZhQz+KQ3bSde4GrbO7aUnKykL78IrCV9SXj+c7/GlKkCSP0ZYoBUizFBpfow2Z5v9A4fKDKX3+pR1u+deN+hTBE9JkPmvx0pB8M/an7AEeM6+xhQcBVgv7QtQMmb6ankuejuZQ1O2CTD0VQ/vahlJL+Nlv4k4BVLiwdojJm+k/cR8lvMQQI/qF8K5yShy+2NlRG65Ge71afB41ofDHsXyPBpXp66MeEDQP054KDXmXmuWpofD+0pc3ig+5I6+Hl7oRsGxff1aplpXEKnqL2OezxOSUqNudJoufU/cR55U4DOWtRhqLP6tf6ikUnVfQ33gr9+mklR4LzA1h2dHEIYeA6sEgDQichQ53ApHiXzjlm32VlyWOYP0GWzStHHPWK5w2A924M8PIvYmxd50nCm6CAMplTrhKb3IRAp1yCWCJ/GnjEPIlDMLpFIAgn687lzwHl6Gyo/OVVEZ7bfddnmyfjCIaKX356KSrahFEs/FO4bODfWbbiZz5HHfV3oRwKQ2Y6pB7hbPzx3ktPRmu91y9TdIUlxDoO7utXeuhjZ0+KpYYFxjoazhxsTxYvDQN2Caovwn1Ch7KnM0ppEGKUB5aYIqYbvZDuaKnF57mEkxO41pjujB0/iB2+7FAsL9oLSWG4GeOrhkvOpCPKcOp8L3MNgHiSX+WrvTVTrBxlETEtofYEDzei4kjrJyxQh3IVKMl2hclh7WHBgrN+xqUZwdaetH9mAhL/rO+Lvsx3E/Z0wnUUgo32EnasCK1qmCLvD63g+rjrrQ2sXjCwtCllJi6ej5uuZFus31j91XfNsGFBIBcgHIcCIiE2SX5hfSGgg6phQxDubFR3afQSqcL28COKNjCbNJC7PEX+/CcXDT3l0YQpTT5txhUXneiuPYWStSbgDyIy48VXvusCUgzjXsHhOujYhs/BLcURqkiXhI0aRiiPGWjtD5M2J872A1DuQ5UVKrFmB5yh+6OONluy1g36LD0OwAR7J7pXwDCDd5n1Xb7Kh+SQ5EbQGBSPjal+683g1/B77zMkLSQHiOcPVNIOAKeKwxRFkCcvd9qHZCAAcUqk4uH1wkmVl86v/qtyW8lXQz+ehJNaS5n+fiZChDH8wfaAWJhoa6VYU1Q0Pml1hLNdvHKG3BR2zV2OBN/AU1SxbUJsqQzmwOnRMZV6Glu5BEaKpAaGR/o/ZsDUebcmAXEDpEq2vGqOum+s9TYDyci89Hu6G6rq654hVyOVeDWeoVeKPGcFBtY8cHiHm7aBXIbeFNXqZxPE7FPXkge/h0dknSojKMmI2GRxT8n++8jDeL8d7Kho2pkjP7iN1Zu2wyLSq0uiu6YqSTsVaIIHg9E8snk5oCSZ6wxt7J+KW0uNZi8RrMG2B0IhED2IIhRIMvcXR/PRaAVtcQkzBPvvKeKWEv7Jah1PYpxnNAuaw4b/j1x4lUYdTI79e2kE8HGqv3USRXneJav31TX9iX2d4vADgcdG5o1hAo8hgHMwU/OIqjWC+/Q6JUFmZI9GeAhRWHznzTsRnigZqPty9+TwzC5kldrX7/6UNFhgsUWJhKVIZPRif4FWyFIm2TcNkHWU0u823RVCJy4P54x7go2n+BiqgC9xvFF0TLbGPbVIy/yNVy/k+IZCrbWD7VzxyxVkQyS7iDZY6cLnaC1UtAZ1JRdyBydZqarfajCR7nC7DWWu/djbmrsXrHy+Cdhzy17wDD1eBTxeOSgy7XvMKjUjPJEgzjDYDIfDtwq108w91br9g1artb0F449zr5Qbe+F0PV1PJ0BmhOVZq2/q7nmo2BLFF7jH8zHCw3oQKX3zYOVH9gf68G2LNSGcGDD8JIH38TqYAClTHokXaZVsbW7++YbPPkRmEKxOvwo8A0JnJR6Yu+bq96mqwRWyeLUWMiyhF1JsDqZqPWk7YACQAZmmvNI3SD6bhnScrgeu0a4wEtQdTk9VOOr6jZ3uO/H4a+cD6wU74ohhIpHLoZf5izuUyXtwa1o0bkyMvCUvcd+A7eURKbyxsU9lREihUMemtZzvxvxh7dSSOaq5tyN9/6l/y5vL0TMbPLLQVKUWTCpfikHUHa5yMmwRC/VM/87ESg9TcoG4GzunWZ1CgQWWvyDuERKEIo8Y1ERxN3a+pqSthQG+NR2VTtQ22PsOkQL8X2kdMrw2IYq6MvSmVFhwCy925bYkni2PGE6DiQUAhDLvc+jsf1yTNXIGNFtbcCQJtlFR1E2y5WKZVRaxGNrb2Izz776E0UxuXtchbqcHv134rvMHrC7sc4JZOZpwNTEiEYwcVWOKpm8fQZOJQJ7WPN7Fms0rJlORjPeDTzdipxynnxqHiJ0Op0MfKgsqIEwYYkAnEHvPHLc07WB7jo9EpHdPrm10nBa5mKKynwzRfy8dyPkNyUGmsVZcGfT2W715LZkm1mweRnD79Xu8mqO0WlISk5Cv6TwL+VOdLPz2wN9f8mkzen9At/NAU9UuqE9pn8mOWKAR3O342akXhr0wgtisDJbzb2ktvNPPrN+KNRB2mbRF8PBa7Ou0Z5XTY5eLPsBur+YQGO/55ZM/dGDDEe+rI4kc1LTrZgcZV5B8lan5gM9SHtou7YPO14ndjFmGxDulbcdpzRc+6e8uymW2Z5CsAFN/cVoVZxYBbuetbf2+SJprfjODmXQgDXeou3ig10oO4/RBv2e19hy3BMeC1257DaWMxb5imLxY0uGm5BbG4DuqQf32K7XcpVQFFPLF2huPiK3KFvFfMxgq38CcOqW0YawqB3PEfyLttZgas17eLZukE0FWfYxEah7ipERWb4lyIYg6ZD4S16uDSb8sdjAuLhdE5314RFqBtPkm0XnR8iuiEfIpjRHFDG4QqCGrrn0ORn2BJWjVudSLfWnXxfY/2EqGV6VSSby1BdnJQR1irqQ+9gU0CQlclE/6V8T5XuuAASBPbnqJpd98NhcO0VkHWoMpF75IkU9sekG8vviD65BfuDl9Onv5NsiWwOWjPvb75qacJi7SnT4m6Y7oonOyMXRxEIk57hOe64BfYHmNdLxmx6OswpW6Cs3Y5u+1CrsiH6C+hlpe5MHorFJTxX6QZdcW73nbmTOK0z0r14xnNkT4WLmIM8AUvfKaaG0VOvBhMZpRtHn65jaK0J97wCo/KYWouUt7yYPGyL50FS5gp1lrZCuxMOdFvQPw8lFEnc8pzc9s4RG5fbvqpG5aHnwzmdMt15ext4VXEX2U96hBGUQAHnzsd9ih3UottVeptUDw0Drjc0Cat+ycKz5aHPDKh8NL0NHe0w/xeQrrFiu1rLyefyl/sYFJ/mDA/7S9SXlh38MjF4qC5hF5h9EtjPywBA209pu1wOjB1Qc6w7X85YdQyz0M9VvMfhyEC1R+H+sLnpPgq9Lgg3pNM+bZeLo9HXhwwGbd2TtaLjeqUtwCrUpZEVzBB3CbeC/FIxXGg7RZ7Kfg25PZSSIRzDuPj+I6+YrV8HC9dw5tRXE0BghnKISB0eLY1Gk4IPTePSDlndwsqmhUPiw6jMollIYRA4JJMHw1WLfs1YCZZJaqC1MWYlcVd2zh6Hop198R5hezuiBhkN2cqOe4rRmACkCKL/S2DpaHblws1P6Snj7z0HhtWCihA5yCzCN2Lhe1asvqmskv4Uly1+WOWG/q23WIEVUDA+HTBRxAnGoNcVXv1dx6EUFyZKVDYblMHDlFwYLYs5wcgiF24jc1lNWq7QBLqWwSmKFfVoR8q9bdrdgwZuG3u88BN1KwI5hM3vVoa9nQnTLzA8bTg+4J9U2SEXesh0euSmYOkGf1Oc07omPlQiQ5p2/K2I2QhRY+Wp8lMzGUWoMtYgPvmeS8cEa6mkgreXdyEx834hfOQG0H+93XOC8fVcO8lUbA/mbcXU7aKoR2CA1aqMATCnk4jVgGsSPnjpTcYwO2nSOo8YsUPNEwalgDXFI7d1DYoRmP5WtNl/tcDgZpTvFBRMXEjDDvHPsd7I0z9Kpo3kjgccvbWmXOtW7OwKsjaBeuPBS0oYaqMG+8TCib178deh702Zjal3XCjlsvEWGMr4Olc4TRJlSGMgALW0wPyrGTdtsVDyXyewnCU/ksSJ7S4m2fOHT9ueRnsTl+MaiMH5iqdlT6LLBRC4vObVPwxg+7hEiLmBXuZWJPICKmD7NDu+K9h5JFBdRU8gILS7XhRct7TLzVyuUn/14imXNEM19fCk7VyOiFtwghXlMBW3K0HTmZeeBlQP9zCdliQ+FFxh8fcqhmXLN6Jv5zSrkBHmRSxzc+bXmy32goZ5QCbeQ8Mx/QNxh1Xe+Hln2HbZuDBBtnCRpaDggHpWYLZUqJtxashpEXMYuUOsLoRhm2uZOXxEyCEQEdyhu8NHjCKaipAw62MirlMxnIzFkbC+klU00twP3BePdeuV/qfacLI7kwbchZRZ4YNzduVw4F+udtrkJNwE1DTYovKhwObd7AfDLzTux+3I7XHHZi44S3fSdkl8yqun0HlSjj4o+rympEU0F0ADkOSWwxVggGP6nwT1WfFWeWneAfq4dg/95Gk9s+s61gI/2TnYNq8WFqdxz3ug0qvVi2DDGU258TMUXiH4QiwJyDPWA7J25vTXftvKy4OiedhCFHQQRXcMFmX7m4jem//fhhfEAxQbAn4o+LsLMSE/JMLn9zulS9bzckv4dPuE4Wkmz3R93ypkNpiGGjkgi4OoxgEoRoqFy+Jk+bGRHXGjfCGU+/aFcyVp+WZYsa4RP+Sx5ohhwIfhKqAjjhxgpV7NjiUhhxBX7Mz9K2pYlS0nBYgapO3VrpPOb8svWmQUKBWfrPiw+ARDCsD78mpchKDsbmqTpywaz0mG7zbRbbXmDUDNDN9/6aDGf/oEJ2Uw5OT43k91Om5/MEIeHASp5W+DLnMCSTtlA6t+XUmr9w/oOondZk7mpWexurcZPpG2+/GOncd/xLDcmNoS3XRA4iJwD37N7ErdPQfqaE+NKl2iTpI/lZBMLCfFiZsFdQGd70Aj9NvocrFtZWNAhjhmjQGUbHs6UXo+dq1yDi6DRz0MzpqomVOZhQB5AcmyKdbmVlf8D1MwuDUIOO/OoqmMH9H1p0HwIGzUxQXmfbIQ+MUFXes+a+wP4QXSEef+50MsMbP+IaB+re8CatOYp1HDfI6r5Xi+wxDTX8PJ8A9QNUSfdGr2y7GdrctyWxDIuv0irhwcamimkFvKnCq0SW+IPw6qeTc8qztXdUOwTD6sXnMqOXbAsgZLu9sXXpvofMJsJ+J4QBpTlEiOLsXM0JncnCNvnb9n+h3iXw47TXtowrBJjdO5U4MAPkc8uQPQwtV39oRYEXeS5Qf3GWYz6rIK0XLfUbNrDWSh8fcbymQe6XBRWuh4LiYYkNJxoDe9bRSgz//oPfg8h4XkSLXeMCf0aVEgbW17NbPHza7JtLrYNFAhq9Cetm+LgL0MqEKPzcUUPzbvi6bmJPUa2qF4iXnMkZ74aW3T2W+ib8p6xaErB64TZ8mxyynESTEejlg2ghQVyo3LLgbhXV8AwopAW8WAHXnMfh29oAHEaDyjFNn4HFCXaeXhBnR1lXs0cnn6vSFwLSKpABCoiDtFovnxKRQWfsNkgmsrtKoSBwUAKzCGvB3xSuAQCmmBSWrRHnjUSuzuJdxlnrnnTpzQ9+Kf7d6PAoXbJb31joPSQ4ncGbfNydFWeeEHARxddAEN3wTXk+9/H+/wzvF0TEm+qXbkSfXwbRlZwXcGyTQ/4FA2/VTS7oxHX67Mc4rFLdathVBt+cacABhJtnrLUi/9MFrePvKN4AGYXLV91pKivNXtf1BRAncgbIkWWMHxSrb2Jd8I/lFEcUZth7fESh7qsINSzKe33cJoP1ik3fNJnRBNJSuhAcrDstXnZoKN1VGH5R/80ZitxRAJIkkUHYZzxNCs/1EuddWFrL61qzrJEfqPaJknHyHZ8bgfal50PhyYOds1oW7ojSvulMFPsFyklYkLW9PR2e2oWG1jHTVlAxaYHCgurfP2T+P4qXNoWTFR5bJDw9tZb88KHFCv6yJfMjqhVCo11qgluTESZyGFT0eItVF4oPMS7/WmV/T+SIHVq336gvEakQqZsIt08MO7CJD0MYWGV7FjP6vZ2jgutUcur22A8b9WRDTyPz18qQlWRHibUrgE0IntixOJl9OaqpoDLt8eTKCT7t7/YHDvDBRNs/tl5S5obU3FgX67e4fuLq6P2+0s8p/YAZPxQKZbIJhKD5kd/R7hlXd0nzhx1wPwwDjkqDpwUKwfT05MWSNj6hdqFFbE2CWRGIgnTjsxuFB4AWuBgXfsUPxwMDdsokZlvcNauEf0tFnoa4td/Hs3JddJGu4Sk+PCL1DymHZ14bQjwtdIYfgqziXOMrg38tXx3wxziqtBXPUVpt7GDGTh0SwZ+A0eUtetmhP21RXBmxyGr5XhsfTxmoB8lZ1xkFJRP1+uhnfAzgLgjiXYwtsgEj4lvYxJoZ6VXsAVjAchaQdmXCmwyxSmHBQ5lZKluw5cD3/l10bfikRKH6Gi+qHIGuwJRcIs4o+VvcMDMhdjLlokz/75Gi+GXEkzcMnSfl8jdoZ3aeOcD6dlhx+wGA/lrLWdO32WUEsMU1Ci1q+0/GuOFTwdmGFxELLoOlo1PFcZwyfa+xch3CeAfg1LmM7/taRz/r23WSQq4GJbHrP7k4C1ZwAQyBtaWYHvjDzeCHmIgiXZA8ofT4OgTjTmzWEHVH5VChk4z0BNNTHcnFegjUWlGyxX8Q4WHn9M83Pw+Y6NFq347i0+EszmzuEP7aKS+ms0cI7gOv9wfJSDDs9FzC9KL4dSC/HuDMpBSRMv+fuFAbG4Hnihdlsodx8ugM8QwEOppQh7BzM+1Ah9DyHQqVUUdKZwI5bihZdfuFH6yoNK5Nj2UtPizU9PBYOz8zBlwET6wTvheguQZkmPTg76334Gi2UGs1taEMy1iPf8WQNjj5wH5A2txgZ60qXuilFSnFAGX7g33b+7Qctken1FJhsUkMAWY+GM74Ap2+mIeo2bpNUEsrpF0c4ZrNKVEnORBStalEk8FZSr2+xMNmnokvQEvXGFPVCplWfGKGx1uTcv6n+YBPN9f+4c2xyHYf0FS+lrEVoc0hRnAcioYBcXWDKuP+JhgKCAIrkhVNKyLgBuLnImgZwVYn+UEl6ueqbLtnwWbTrgPM5XkxB9T5P4c0o+rO92+5dWdFnpPrw8vu6SOmMNUWgdlDzxQo9z6sv3foysrwpVPesga1LDWkiggDGpVtRoRSEuLHMyq6bS/wFsZdzrJD4i21fixWlUrVWUQfQ8TOr7/aSQinGZ0WJ/JHTE/COmJ0joqc+giK9tuVSNzxdsuWSzXSAYeK2Smq/EMyIr5+7Ae8HnFKWZMP09RV47Q5A7d/ZZ4Xqg0qNLBM4lTdft2fUty5w9US9Ilin71WTkyzv0V1PKrO7xWgE/WFBDylksjXkFDp4zzTQuwn3OIq1Mu5WEKOxJXY0LfexceppO9iN38voxQN3f1KWRSuQYufIjbxWvXPjVKMYrRh1SlJ81r+1o1GWGc76rlCH70Sldb3G9ZovK+SqEMzrpOYOiaxPnEsJWp83ne0EaLynEyFdCYl/sMvNJs1koiOcBg0oIwVyjlqzXKeVfUA4W+C8wIixzj6r92aS5aLut5MWtb17VSTUKGr5Vn0Wt6qwzwyfNyLegJrYwg2ESp4BYvPzrw2vX5Qy4TrcjwiJ2CAQAZzECZAYhEV/0QYMzHN1+9f98wqLg4CLI+y88Yqq4H+Y5Ayn5biRNO9RW3F5d1qWt1p+uNw6MI8MrN9iyBkuVv19bS/ewoWk1cKKUSmv7uu0oyCm0CvQWisirAWW+UJj8YXmkexk3yLgO7uWx5fEq0pwYOOsQoQd1TF9NRHfRPJG8+Zp3yEVlF0TgOskConOV7GJqEgXWabTBEGzcyGR+ZCA+scPvBYXgHoWZmFTPexjEvUElCeoH26ZH/Xh3s/US6UPQ0LHCJdtvsMQR5UN8MdyJJ6aWNj3RjUgvDMz65zjLXi+//eX2W6Q/38euyTAg7EnIc3poU3VBLRjL7hECoCtGidstB7PER7nE3bXIPFyQZeG1kW65JxSLRHpobPb/ctSjojPs7rBKdrPh5R5rVsOmj+ogB+BWgdOE1XxgEfgpIqlhwK7A7NL2FtwZZA0kuEaJLYRyVW2vtY4MpO6TakuyOO3+u1/83j9UqhdoPPdVqkC3FQQ+Wgua+pbDKULhbt7e+Y1asaOU1j0UqM4R1oOj/hmjilpLwT3vuQM87jlv36g2gX+WstowFrxYWtzIPMDJttAZnM+ChCZ/3FApuTopDLpOP5NVGz/WN1jXx8WPGmCX1YgtgHt0VKzQdy1/TfFZAbbiinuOugFETYWIrBE2dutLu+azrvSXF6XPz0isJMrBkq5KBDggm9sZ47Zh5sP+en68oxgRpEXGUVDVL5LWVzbjuevNhDGXzsaQ7mE0r8kAFKV5zvKtnlsGyzR0GBaRTMJQwTQUGIL2Bs/fy0wLZAZ3iCUAyy59+RCYzCOhH6ZYrHN4EPBylAyYJF6Juf6qXQVtOIa3CSwDGNDCqme10F/i7GohQQc8EoQs+PHsEQtKjh4EwHoYjoGa+PJ44HBr1rts/zaaXReqrQ+9QhxgIRDB0HROg4lFiMDeXhv3PlFykuFf/e5K1UDV8Cepv3OiWC+rA5aZ+iXUNCOZMqzQDS0Uhaq2Ys5T9CdL70yrChkUiFjDBPgrohZ5ypy+6QQdjeEhWn31ZjIOvTfsPrjdxZdD+tHK2ajqfw4HRB9W2bHbahz/DziUn4X/up1jS5Z7hUgvFu/svFnmTiXkgNtHIhkxaYnJoRRH8z9PZq/2QXeVbbK4IIfZKJXW5NswZ3iVIt/WvXBIP+kvbwLkMoO0/gi/2hWQ18hD+1J5t+aVG+LQJfCOFWo4VLgCtgd9CqArMBWxAr+2xtmVmHMWfV9+Yuxo7xtCt/QoDBcUX486Q7wVpAnXh11WB1Jp6vR0evtezGLuriiQFzmiqS236VpHKSX8Tp3XFE+a9+l754r1LycNAqIU1NxH+RmURIcciEI+IeEYcRQJJp6KziPFU0KUzpm3IcJj4yi9NefWe2LOLdAl4CKj+KmHMUWlhtI4JjOjhC57r9W0dmR6o/TswnoKm2nSqu/BT+h9v7lVs8mHsd0w8pokfLL7IzWdHFsYh4Y/QDMHWbbsiAe1WUbQ8+fucYuzVxZoD8XPbJHguIcFB2dy28yB+KGBvkh8Qp6b4jcMomPCyGogSZiCFol9ftSOetLQPHD3BL+az4erzPvCFh8YLEAluk7Qbk4ZFXP4eQRUbff4URsYDV7NHaKRCKsBIi68ceOOiz5TLs8WzIKvf41hJfG7uOKCvhVDK4vOf9web90XX8Npkg4AY0E3tvAHyY0FIDJOGZ5GSUu7a/RweqVSI9uN6QgxpcRxgqSyE2HxXjAiWACKYquKBButK6ahz0fIczDhXaDeevMXQRD8KgdGIYfIeh4dKjUE3btuu0nH6ceb/elcrMYCxu39NJtnH7Kxyhk75XlryyliquraDhB9O+ZmZaKq/Rola2+vBCs50zznmLy8XFf1tQh4bMzkVMlgUifJhMNgNWBIW29pXkifj6nCjxVoEpvPCj1auSnsnefFzA+LnL70WgOY0MRbJ9LefUHx2Xubt2rjlnlz+0EEKbu5zqkAbccKKuNj54fOSUY/x8FSxswrvV4tFkb1MpwJ9MWsO63aqwIduFUYJqfTCAIligd7uvo+TKgLVuRX8mqSuAuwA2js/b3hLFsJwEISL5REx8nkffugpx37qCRtBwAqRQn0QW8v6TPbQxjRpfiJm0D9EbzXNV9yk3n0o1DYwnyWLqper/S6pTMpW9ZpyHrxkuLeSlaFL5djF6GzFkUX3/ihh5hLaPt1Q8ZMDDS0IIcriVBXxKuIqF8gi2xQJTpSH66cOHoS38fJDyOekg/NiH/2THqVJgNdKP/PEHIJUCU8vD6xjEnKjPfzj2xfNJ2K2/TknQMcuqc7bplLJOUkPFGdot72SXSaZFwu1HtNMOkDp7jrEU4M9eNFf8PSqj8wmFXehnPtGr2Q0oJLiyuvCkCvMtZPkFuN5e8NCS+WGcbzcVsY2NMpZO5Zc/UdJw/mpxpzcCZ+DkwUsDFQfjffIPNUIW1u2kkBHu17lxyrMp21kHZCnyQc43eUj/cAfeZnN6uNrB8JoBHLxjgakAXHTY6Gk6iTh5iWrQ07jy8fv4ZiOO7ArxklD6Rg9v+eao65O7mRV5zyDxLY54eu7ExxvyLQY9DciMVAcazNpoY5bxHXVJWY3XwF6gkvb03fMPkHWCNzii3jyo0q0NRi89BewHo0fNbNhmvoeVkGt1rBNcz8Gog7YE1N+W8WYvN/WERRSY5Xd6ilqSH7xYrfkYdisNDV0uK5ynjGs1Sfkghjgn51OtLu020NSimA6w5vV/q6g5rEdWFaO5BLad0u5hlHIyBua2UmRIkpD3gDgPgXYjoEvOAD/iVw8UldcvX661uO+1XQjBVpwjihvIcD6Z92Dd1FVxcrHRQTedbE9oYuom/ubdxyTINrWID9mDcFpEGU1DG8hhC8GDLm/L0gHCi7EyvZ3Tgrv4r/KyL9BnXCCxGr4jtZ3tkHYggtOaXgp+ljkrmIRTXI+wDz4GcuKQ61Pn8sAWKjlSCfy37hEv4fBbPI0R1E98xYiIBaTii4DaCGNGikOngAILyJvgVQcQ7UYrr8ekopMConKfube+O86jE5rwdmnxhD9223hoezJdY4QwgOS/0tv57lqP6aUJHuvjZZQSvOlP2/+3RERurooYSfBuipyVFauOzJoeunMIa95/x7RmkRIJVmL1FVWmehte/XOnmkKj1T/U+i7d/LAOnhmXUgL3pKTC3riD01kDZjw1+ZolggjyDY0TCif68BN3ssriZSdRDFO0rTxABXsn8LXvVsbvN0dwR108iv09NNmh14GKp0jif3bUE/Q+S0PaSOb5V4fWlZVsBMZv5bsSTezLZi147mcxsWIBVZWqomajpz0lQ0fwOJKszUbiiEDLmZKsqYf9+3MC5w1zTi/fRtl47dd7ixPO5+ZN/SokJqEE5GiIWoNv3CWnh14iaxK7etjZ378HSJKpIfgFmfYiGS3b/BddNZXL58YzxsRXbsADC6KB6V3z+ovN0IGjp83qJZSPzmeexLnGa1bNAL4pitTmVFQRPQCfxFFvfggNA+nQW728cnOLkQHlVMUKXgbGljUuSSAmwsm0bfY3XnYefoATo/EhZuc28DuOcWHkX71H0CF+iRml9gUwUQm3y76iZLsWRF41GYuLZE/KnavVU3BFwwzYcHPt4Z/0ChwJItm4ju39XYVMQuGaAmZ18IuxosSU9s3bIib4fmTE7TGemQ9gdfvmlgxd5yxjI/mqmKMr+9KatxVYIh/AzXqOrHksoz24ZhFf/quCS3NcNVUCdmsnhZcXTu4zObbyuc5l3VnIntx6srV1FUcBsFQK9M2N0E1UTuh33CNcbPvHGFyYIkVQiaX4vNPbCoJogYMw4Pinp/XnqfZn0jdEKMONjuy1ASE78inqT4jNXqLcIGBOxqI+0xw9bA6afK5x/R5R46MRoXRegsLeqlku/subtDDl3hexeuUyNB3iT+MEaj+RpKuWiTpP4+amzrJamVsR0cuHmJEwLly8NCWSfSAa0GSGL17XeT3W3jomFqiilzv9EgOXg4RObqj1esZ+XMFNdQ7nmyz67AwcEnB60Q09HocnBhnTXngIQLdRgeyb30P4/Zn9n2cTXG835exTVjgf+QVeYyOOxfE+mS5/f9VDFSs4lW3ew4/jZ75IhOQI6cyFfJ1QfIfY738GTZkYLWrfzCyABsVy9Fq3E/POLxRK10L/AF4tNVIfuyCTcIK2+Q6a/MjbR1Ko3yPNQq+U9w0NirdGmSnuIDmFrJXBcmjJG3eeYbJ9EMzp0Jyt7qbmAMWG2yMY9XUSIatv09UkXPamMCcAI/ZUSvLq9aoLuma3GK9GeK/zNmyfnYQhSoJMl5D4mB6nmuyuWdW9GM1yIhusr+sqB5DS26zOjQRfTpB9uoxF3VY43SGoxPY9yuH3xClyC+Yf/R3H11102jEYLPm70iwy2dszsd9VZZU4TWTp/yJ6OhZQ4okDhkqODp57a7M2HK/nCpKjPOAASid6Ey4EwRREK5cwfk87qJHzXk4RGcJFr94rP3xpyocrNOM5AilsPkNBnTNnnq4rz8tU0zN4EP0A2p8JoZ++axTA28W6UiqdiCUVRgUmaxul/7JJKMI1r5V/5NyGjvlDbgcLTB8xFlfluDZFl1WucTfqEHhLoHxCCZAOhlcQ2hTBO++n4mFoqYoc/F+SHB+wUOO3b6UZuEZ7/5hvFK+AKz0Qt6td9od1xvUC7W6WqNc7IJlq6GnpOL1ogvzGjbLZNYTrEDxTzbUlKF4jo3C8qdTYNhD67IKrnDFGDWjoaL4gJ97H9EPqd8CdwljhRSPrLj0wRQEBg5/d9Cvu4hu1kEQAkIC42CPSiAwFARooMSU+fP1Vvu+Jx7VC2roxkvdrdkNyrAbgthIok9jHG4cShdwudUBIggAgsCPv8gkYSTpJM415wV2gWOvP2cNfHp04PnNNUUxKC2iqimI4GSDA5wQXue9HhfaSd0uvCwd7tWFMOD+PqEwvNgKe2XRbLBfnx8b+HnPhU45NUp2s6NgDbTc8pyLdaqvFQa9efLn5NEkw8Ym9dI1n+Kd7RTQBMP0Zzx6xzVrY0oKfjVhe4UY1dOo7iZnse7ihBUXxRSYGC+VpXqCJrMmJscJ3qWWkk1lq0MDiu14v/ojDZ5tejkmjKOW4WgqzWfZIgWFIVGFNF0znoiF3OPAa+oUZjsPxUERaRpaQxMJzpsxNHueFBcTZg+bOpdH2R/OYztaAWeGKLK5YnzahSY6MqkRBF9tvWE3JghVVKby0oYVUgtVwBx+O8/V+SDf5L+qxpBW5yrIhrIhc3aVUKZip7O8jG/rgoaVRSzGszqMH/63tiF5JEa44KErImpx4pNuBkp5dWxcW3m8Em4EPXqMiTXXVACFr7smQ3lDYhNsKb6CzuHnLnC7SZptGoDX/7xEohKcClrzNl+qODJKfhKEC9OSjtD+w0uKWUbPEIfILryAuOclGcniiY2vps/El/yGPHKUQEBvvG9jtt3uR5px4IpPzqORTYLhWtIYst/1JyuojOL4et8O1SpoPcmwixqpZNK6WZ4zNyb631SkyU4HdHTr8MtW6jja4aFzOcBA0EVqpblmv1+vu+14FtsrPDDvXowiVfmeoWocAsbUyMbcVv/d6bDuwm6dcA3z/ElquOGWSLiJ2NaXAMCWjDLXVGJqghoJsWq+kRoEDX5nlkbLeSKNphTE1wM5m8+scLGn8j28v25ZkrBbRdg8jSrgk/43Fusw1PIE0mG/IMpQaDDTZetXDJISFl5jmGv1CQj2IZ6U07NPd9vNv3ktCLiuN0YEOEV0ynoNrqkpmFmU2RPXOKj/I1PuK9itm5+K/XJM/YKKC/iQzPRNW4BDxJ6BNQkOm/YoSPEhfKWXNaZAhYepi7t89n5S+gr674vnBqh4RSOhOKU8Sli1yk7HPP4arU01nceRrebT8nSa0T7dKrCgoBqueHooBpGzh08jgyZiZ8jjARJ6cd1Vz9ZCXrI5euKJFxrH3OQm/DlQafzNx07/BA+XyVJuH/PIotwDLQOjizBamqcUFMOM35mpDzwIzINhjMFd5xN1CU+b28RPvsVc5A3/9abesH01om+v0QnT64I7MXhk9cezXZzi4lRjgriBzkXR2qSTYCdHvi3tM812T3zDB8+IBjFGQQyYgRKhleWOUzj/N7NANkl22TUZlKqq5QMaUkR1yYSnyInaOK0sy0GMtqhaFRHSJOrViAgzNgS56vetSwdsMAGdZDJ1cx7/YSywSTyUEl3pd4RP5LYOHrU70upYhrVRin4PYQc9k9NyCejBWfy0nAANeVz2cNUmCHgyKlutjOLWY3nAlGfW9+qaKGgvR/bF6wwRLVdwC+4uA1CCheNvRULCyVwQWpm1Nf2r+kM1+JdIwv6QpsYn0MN7+wpZdG2JSauNRUKCZUNYx9Hw/euUZeZHncLtPy70QwA3bvwOBCsmFBOE1b221YFdVmhmJtPyrEgvoq9erTNCeS4ZNl6qcXPjN/01Rhj4wdsDuHI/cnGs4DxusIzk/odFjF7Eg8jOQ0lOcA+en8ArhDheXNm4e6j/fYvM44k7bVwoZ1SdQzG6GtY60k1sZknvcIjjTLFpad62ceVwVpZDCFj1q2tUb66LLZatrzl4VzA/FZMjelCiSjpUj3ILKet5cuBGdiREY2jLdnusfaH9G69wt5Iw3HZEWhyMPhneSbvc9T2d58BRbDhIbT60i2Ms4txfo06Wkib0DMSd1J8BHMW72GANjSAkPHrPfXwFhfMwwFHYO1kCgNYQvBgZFq9wFgFtivDca82SuV/UauVYwDSYlwq7yM2l+4z+RCQra3+Ui67IK2IGtcNrtE2NoIgNum9iPI/kfR+9PQZLBkm9p5/pSXa7eKY/+JCCU9K878A908kMx6DVrkAK4ESWXUW16G21nA3cujbiZVMQ07hXfeBtec7f6iXBnQjmZIOtXcYitUI7XXWeGDUQYkTPQ+pqQmtlpgIc2mkacmGt7lMqFZEzYDGyw7xaTOW9paZ/SorZ5j4D7su1MOWckBHAcdI0VObBUJa9e5OIZW8+t3lz5y1Cw2OKf5ULpugzwa6jLl1YOSW4oO7Rg13OeZK6fty2iYOMZw9Vpy+fmr0nmmztmWDOb3T2JLj4e15kR5HvtmCSn1nm4o+ktaR5juspB2O96Xfg/R+6tG2QSkiRcVLP8h7V6sWSqGONMPwqj+GSPTjt7NZ4Li24aq20NOn6Xip2JNTSmpiJsNEiewM8A3iYaDdu5DJPwCP1rOdgKsvvcfxqvS9KA8KURHz01Ltiuwht5jcDKB/YKVWEPh1CNxASkBcOqlQOBQKAsBbzH+oTY4MhTLrkgA9dZ2tgbKXkeKvVKqVkab8ox3dU2KfbUcTbZB+4NLV18WXgX7zZGqBBUlyzKZrxy65o3c2NbAR9C+GHVckdNZMMmCRayO9hilbbnX3v7oeRgAVwZWl6uwczfZDPdveGarO5BuapBoh0S0cx6meot74UZEcnBjYKn0Oj6wM+L13Qk4mpspT+Xe5Yk0+d5cWZRthXSLNx4dBLyTmIDncpNQXYIzlPJ6vSOyvI5OefZ58JXN3hbX/Lznl9+zJpkh30JVRWnHTHg4yLNKxBo3QccwsVrTPXl9P3Ru54ER+SAMQrrx6vIfwm3u9hQXWwquDUp9hM5fN9Pwis3TEnc0KvWWSJ6pl2OQ0svxx4nmYRUQ2n/bdGDKoB9othWaWeeIFiE3qk795mfkofoGO9/gyS/xo0Qii8/KLb4NchL/jtkBl9I+nQnmGAOQDvullKgog93kJV1npHWimuEfRxpzlLq7+Owx5WnQYKN0Fw4zd/5qMtNoAq0ZxpRhK+JE2rLHHcZ/XwLbLhuP5kdsqPNf8X7tNp3txSfkn0fgzsOt1pyrlxXnZHwa5EZei7MNFu241a1mcppfsekYBPnLAP5k/K0fzxMioy+3nYyP9zYYd0MWbANeBed0dWnL8oyzLJIRkfEDW1GpBXqdAP/DJzbmOR9QJyK6AZ9D31vCpFQJdiacP3w9NThA8ILbPNDSIme9S00sjQ9vCXlSI4BRLJkqnKGC3LgwrQv749dVmc8CO2iJ8fYHBBHt9V8kAO7kFRuRH6+MaHduOuOBb/D6iCbnlT4ETzdJHCUYWR3mF9VqZWm2np51R9kwhPsnAPOmF232h6JVTxXTCwYbXSb2jQxCPIDkWOeuzawp7tNucL1W76gOwzEhiSy7JfEgUdmfR0dG4X9EIPuFglsBE7BJ7q9Tz/0kvJTo1DunSumnc1ZqEGuI1AnuUQOhAtCTuiXmZQus1l6sWrE4rD3ZPlrJKWtyUMt6OGeAW50WynglIosqlj7ngOiCB7Ui7pu54BwsSwamWStFiqvm0vI5VneEKIk9ZLGhQso4oGZTum625bDJqVlXNHE/Z9+quR3oDEWkf7GNpuulH6YnwNoFm71/L3J8aHjnqN0Z2/l9xG2uGRQxjQ8BWZCfOxCq8GTY9Z91e5s4cwcx/4vHDIUG8musTM3PuEg23Ai/NWKn2+90vzcUFjJ5WQh/RHnLmkcVbHfuYoHu5cteXm4lIC2G0pKue6n973gXZglJ9i6huGCSaYHzyZ6+UQSGKNHlxmaKkvavVN6DhXIzRAZiwBiJhct4KVa+Jib9s2+6673bjMHn8pbe09oYxdvfs9yjHXiiY69qHrjV77bYIF2FhzPH41xqy/6i/KO03/zWhLbvQbk7iIyD50vI60/GHtCdeudnyrfikYVsjYk1C0faJbIXjJChMLinQ8QO9ds8N4cLCMafOrXnh89ynPonhcu2D+N4FC0CXRX1utahMkqlpCtIXiQnfb0R2N8DhITpS5tXguor5Jim/ACQYVqo7Uiq7vhBdSoSmnxOa1YMj4eAe/IWGJFJhyCLFiDCmp7GEdiRN257URINDOavzX2EgvbnqV+4ql78H0esksOegIZfonw6Q1nsCBjh3eS6s0qXiFP+zgehIeAt9+6PYWo10eZboOhQOeldkfkYGnX3BakY901ynEJRbUHmTaCxSAQIGw/yUG+Emi0GLwc0wWV42nY1GDn1R0LHhYPSLJbNMTSV3BvYR8GMgPs1s+IMq91YfBOKu08P7JXwxxthEtUd82rHPb4PFXXVg54rcTx2oDjCfr1f350YkraWJxTKmLk0hOVJGRnzGYmUovucHMopDTeOsggBcmKEWK5U+2G2aIvm2ZI8q75UtsCPsiJ3L4+9fGB/JYj/90jutmq4s/58OR7yUUEl/SIiUcekuUPNdlMFtjFaq5E2RDhDdAJgrhfLMG3CB5hBhqvq4kQcqR3q5n/d2aq0fTBcrQXqqwdIoEjCPbOVEcrhGexU7vV7DwwtEYtvsMiFfGPLlnFtwFnqTUFdc/BQ29FV/xj5VuL5bNZm7q72S4VO4UH4G3VA0I9ttbgyfih/rZwO/QvIhsyKKccPSNgCdTW4O8Z7qOPkrLWYcbZzjIQLUNTWF7eFd8uPUD6hZR26sRdeselKY2bas03dQwoN0MiLEszWzbXQgDq6zQAGN3oUnDNyoapgnmUihp8cIiVX7qiWZ80L7CJmvFvyONe74KbdtjXx8IRdUyrRAOh6uMzdSrDmzlGJg5CXW+j201qWQ9WoQlPHJXsQ8TDgAOOeg7w29CXaHQWZ9LRsWFJqQCrv/JFQY+te9mwxDU6SgL7kOoBJj5TulgFkqpec5ho2teXyQ5rB5wjkn/pXA5m0ey2qQbDjIrURMeX2EDTpCm6xkn2i2UAoQGra5ZqiUSwGLb9oc5+Cpxsgj9u+Dlv7D+CtgSYlrZAnXHNqDk6Xs39PjyDz984cD+ad762ayjDOs+GA8OZbmlNB51iXPNDeWJfulXf0dtmkujLBhxY7RxFqdJsg9fP95YqtIAhNi6ikZQJsU+a0lvwsroyHYL5WfGxw4Mc3XbnfvRO318ONd5Y00Ery46rey4siKmZh9flYuRBs9rT7rqTCbtxCCUy2AxK2F6c5TkTFsF7SW6VTutmQw8C9g5buEpbYh4vTxUuCx8X7UJ6VuBAUYsDJKMFKItz/T2jwIOuTOFkQ6Tux9/x2ryBTMzXQu2qUSroPyxvNY76f7nx00zFf1FSGL01v+474kB9VQDl45Urx8VP7lFWiRUTtzyGi2mDDdLVNiUgfWjbwhRrbl4cSajaBrFt1wbh+TJBC5wXb72DN+ELqkOyMXHhWoDFkjgOSHYOeyhVkTbucdh1Xl6agYD9nKmxc8aeXAOD2z8fC+GBuLiNIOvw6p8/I6asldkvc7TVNja0SeQ5N3CACMbZvWAeAjsqeUnTecc1z3gKLDwidySsnjIoyzw3hGAgdkEB2e/2wmMgn3sLDoqENndiQNBoi1ENOWgZKsdLGrBnVFT0w7T8865485gCoQN57DG4H8oZ8SKOhCUxSoE1bL77kp4xEENhTYnE6EQ4MJK6bWPkP0flWBo3rT/FAm5gyzW0Frfp3rlHh7HpPDnTSRxJH09N9Ujndn5HAL7Agv6mEHKKSYXsMAH0h4ZfceplzBRCw8krlmOabmrUlZ5N6JSXmz2M1z7gVDwmcGkNv+/TYZVzJlM7wF+ppXlm8RXoGYbPjxneHhL8dROpnwndorxHJLzbOM4HEHFe9ixAMSdTqZdFNWA33xx4WueQG5GX6xjApHDdWnu8qGqRZO+hy5P8nLXBypU9MOhH56a6jwitOmRKB8ozyRj7bnKWcwmGNMCKviCUxBO67omNwgjaZ2PzHLYPOYga+t5o+g+louAHCjsOhRwXEGQXXXDfZ2o6EXfe12g0+Q7K0LLLZ16T0KM3/UIypAcVYgUwZVBhNR4mP5/CYfn1a1wcN6gFwl0Ywcfn+oPsbJNe0cFxu/3skImujJ1gkFVqUKgRNHWUtt5Q32VIgKxKOdw7uasaoFou5mMdjSgHNLeMEcke64I6C92aC5Xghp5zTOfrmoDRnXLvsMkjL6kXVdBqh8SnsP4VjoCvI48pFXnB0MCv4GPdUgITJlFw7/CPCWG/9GECyMtA87Ib1vv6428PLfSBxS74Xmv/px6ddtC8CXmrKDfivyLuqm/CGRCmZV4GR8kGuNIftMs65Lqlv2bi0AqVwYylDayS2qrWZgvn5208k5zuDQLZgvYP3Y5BNExvrg9KsJGGMi4/osPakWh6wqOvp6bwQ1P+ytswDPwaFHJoaqUVxk61I9tZwoX69FBtiOiguNybyWYmm2sXa94PZSShYYb1lMC2boZxJCdArWhogVHaklRB92V5k2NHh3+/XQo3y+2GAtqbK3euBQxWQxoJgpHJz3YAcuTZzqASuvsUXoEfJpQbvV7AKbDGyL/sQ6OLMsImsvIIcW+V65s6r1rfUtKSUPA3h/YuOLLKLRfrm/RB0o9WiexgeL1+Napivb+LDL2dIgJouS6PC7wgD7KxyWn/97XjH1yL7aqrKpOZIiVfmoOJlVrOdcp2VeF1c+ZO9avxN2cZci1Q2HF1SVlmqH7bmRMlttowdQlSeXMe+qHcHD0ba54lIMswAt+k59DM9LEnxNju7hzOdPfKPHAJewjqNoak9io+O4itFYBGyMbStPK69djZJwRnkM0wkkKTFms3cmXtQD6J+geNnYcr3YSkwI0o2yb068Jg/y0Y0DTGmVal+i/X58zD2N+ddeYe5N1eQYVY3/7x/pDbyG+VTkgUO7PxGcPynU39Pt/QAHWWwaegaslQHoQnYztMNas11i9A/VIqz1qaPGzMcYcBqayjiO5L5vFZ6HoXnE5OwpWQ2fLiYge0/gL10rk71D7o/Co5Avz6CIZn+XnJPIKabPa38Q6wLgbeeF5U39Cn/R2VqgoGIPd5YOjMJPNU6e4oq59LPaggLqlMFYVyJ3iVycZeukYagHeYijSMqcAddH3TBjS5IMmFG8YMDmF5NHeY/7fKFEQKdfY/ALpLymkrEDy0r/0kliUM3p3DS2Yy5fRd8vodM/H+S5xZKNLWTSyPgzarfZL5fmJtUlLwmXPsP9S3ZDS/BpI5MycstM0bSqK3NDq3nlD888SX0gb+S5Md/Z7EDxqFIH1+bFVq54vuQ4sxUDksd67Q4ffVkFiYiNDf7wbFhQNUPokNYjUS8ZgVLMb5NMEw/DyltytBCiRxc9qTPZtrZUdWRs5Ll+4PbLFt/H7pAUlV8yn26son1F45QLLOHtznbEft4r421HsHHg5rzDq7QHfO7by7zS5BXLdGSbC8VCepSgCjDkxKs3Pkn285lQx3cToYTw9plgcoJiuVxmZN2b2bgoWjjgEZRuFVZiEqIlOYHJxY0t605jDr3cLp+kOsILQX/ciq+w1y7X+9cgz4pvv0uoKvZaG3vjl7IpLkNbf7/aZJEx5aelvE6ugTPjOJdHZ6PcmZhdfoue45cedbvMFtl2DkyRpShNmmDydO4JcmYh8yPHRj90HG2lwdjuGtH02175uGNgntjCc4kQk2XOwAiJLYaZxx2Rc8oP+gdeR7W5w0Ht7hbwNdDzOOKeRyWR2XdNTY0GwZpJDH56gyKm6PKfBCuiJC+kxZeBp7SETNGrRDmwlC8Cujems91nmlPXlFf7stXXNh/uct3nslN+fnZvRJsdgNkSfbGMyRJ8MYjT5yRbfezOiLtNh06DeoXxL2WM2CpVUKA0YTOJfql614pRFb+MJ6J5Ezak9xB111ztg7H8DPxPNU3LIDSAXjCIIZ5Gws/jfRWW1DTZCROp2ilFnHF2u43i2tfJqvFqdybZ6Ktym3MfElXeMdSLCzjZvsIw1BuitoKQCl2xqyHc+dQsVd5V3y+sGFgkZVGc1HR2EwHYTvBLjvDyRDu4/nC8nxD3EjXwsLXdoweXAJBiIovo64MEGKbBRGXqUXnKwfxplSNqp1e4X4eAKEjETfzKj+SOTrhtu1Y0eyqQmj8D+KqZdVU592L/eJWhaOfAxkmcp3z31P4c+EATDv9vZojbhYfnWpfnBcFAypzWuyFORu+p7460o4EWy1hjUXvgo/8WzmoSvlY0GWve87cuYWDHJ0k8A8l7WyYocndPpaMxqoAtAnGoV/6lZxRytnzXzDevn3/49dBQ9/ad+q7Z++kPTN8E94/hs9KIqFD8zYxzx5DkN5FpOUoGWbIb9K9NA6CXDGIGpght5CCWkVX7+QOmKvNWziDgwiZgOMl6BeinZ/SSzpWAVbXbze5jiWmjVfjxwtnb5pQwMDcBWRfysWrl3Z1RMI3AvXx0Oc6qtzlDihH29C59WBFiK8xufmSJH/cgONqOpJK+Ql6CvXRbPORGU9SM4jVXpXnCf6tLHgwoPwXj3kds7Tw1EKQ+0unGSqzJSA5psQ7oQpDZwXoEM494EeVGOEgYo2gtl0aIOei7sxMIaSyTVdf9y0InOJ3wfVuyyNbfNT81eJDXIAEKyU4Wg1AVdWeusGVIqFmr60nS3EfA3wuwbXz1Xs+F0TRa1dCXxO9IHQS5+dU+P6RVXKAeFq67Nvs2IjLZTQOy+4SoSngyvXXimCPRpLUnDUmGK5dVt1iccRy9Ura7nG45mT4B64fL3DjvAvGZmtHngJXVt9BrDpXNzMPsNkWaIyj19zVbv0JaEr2Og0fCBMm3RmzrlnkqYyIBJny9LGlVDBaT7bGsPQDnoPFvSoO72HRAhpnzwBbui5SvNaAehYjI492KKAgXtNb4yqUGfBifjgOFzndy6qrPeyYxHCelkWSH+kr+atO8pbvXomAPeI+GbIQ23YwsYRK+o2Jv5HYq/Kqne6WOokFH0cKrEfXokH7gZFnXgX6fllDZ7gNOXbiSZdqT6jNvLvcDJ9aBBX8nhKnUhBUjnJTo1kbknCsYZ9uDtpnp9Sr20/jY20NnK65p5sxWisV2ugFF8GjPprv+84OcaJLl81QQYKSmMfAGtAafPcZHN4wv5lA845xdieW/X0Q9ua1+ll44qbLhtgUY1mezXfTX1LFpgBgOO9iZzpudTav8xAsl0axFDB5UqTbSUWlfeIAYZTtC/Xr8nsTZ+SHqwQVNCEsR6E966GP1W850WX96vkr7ZP1CZANzY5VFjBYsHKIIH1Qb7wr3biipmhjyd+7xT/N9J2YL9R3rvrAHTbk4BGnX3cLTHAd84iJNhT66BWH5kZk9W0GM+U2ZnDjItnWC4jwZ5X52PnYgg+BShZ3/1jRr0pbRkXzL6YjHbeHk6UHVGKjMMxgznjGVQgh/rTdWRbB7hLQkz1w5OuzIwDCxTaZp57PZz1acyAat7fa4UcBJBkN7JGdePIuV3xXWbeRNRjlPLdv06+3V/76jWz2Bsw/2GtEvsoHIuVfn1l2rxDTxYFHtWniHgeVWh7SggRbTKEX5ObGjuHeFdkz4fe6zHyC3vn2jTAFmGRKADdNnFqJbdizwBuA3RZCUN+Kz77zSMVUuLvpkyfcwUWzXGeBpaib7KXx1SNgcvhmgCbQGVEvBDQegkdMUg+Vx/YPtVNIhNDOyhshunHVSkSf8leczxGR635cthMkqUIBLvbJ3rr1ioZAPyTOZgcRDP66hcL3EGQomrpiUGZ+vYtrGpL5WzUVlpjlws0QjA/ZQNKdOCW9diKysKQRsaDn8kdlKK7P3kp3yiJqKF+xpv8wD7cvNjQpz+MiX47bjudc6QaSSDEHBkWhh0kuhEhrOBqtv8GoeK+UDcJFr3pp8KeqbKKtxtjJ3rQFlfKE81TfNGmPgljDbD+2ns7ywC3tXai/ZHjgu301tTrUW/vXldzMGjzUqfnZ4djvpm8bnuHti+wgrD88U4hjxVr5DMnTu1ueQKrCmp2kVA7WgF691jSVPotgul+oJlhC0KGNfzVMVvD5Gk848zX2gCVAWiVdX7iYS1HWlwm76AQBuO0LpMXLg7LcjuqKi3aBG9FvNdphaFcW90mX1uu80HxK5b8aBeimoKPvLWxpCg+ao7Y+TUMdtWfpl0o+x2tnYGik1esIViB31ze8CBhbNhoK0cMzCl41sxmcq2R7PSE7kRgPQF98y6rrAv6qfpCHHAjSU0MHC/e30kVPor5wLDU8MaAadEIOmNsf0mciObtCN+ARNNOQQT1xU89wd6Nb7l3jrJJJ8I8iq+lXxVH9iSAf9N8W2Si+g44i91TBSAkFLtCSg1G5N7LN97CvS0BD2AIhYVMLgdt9ScxqIVY7cvQw8f7c6b9WFM+xZO/Y6amAKoK0XRCViG7Rbyg2kMb6+63ghvJ8eNcsKN6WGy7gxwUBRxJI3l+fWSVgo1f9HYezhLV57r59G5wUbko7DBCW+PC5GPXrgwOZNHwXAEKC9umCVcyK+1D6uDyp7r2RO2Yn0zVdjUNJCCadA54YQ3S+wwWEez3AafGcxDegQanI52zqa7umryagurPhLWRvDOBBmozScxe/atgJJLPD9143gV45eazc5ei5MXHGTw60qyt+73YPKyfxjd68Gr8tuD6gzmo/LiR8w0PDAFH4c8dFtTcf0sp/JDPyAacNNvc8DIKWUhGomo533zw+U+ETpF9QDDSuXq3iGWYbQykjvYxedxKW3bKpkT+qcqJ+X3fq6UU8a+hmpE1a2HVa4TyUBy3ApCQAfHXxKuSwofL0+S463teElzNaglqtDfgtFGV9FB/3zi2Ef+aqsYUw/rJ6WbWoMNBqZ3GEg++PTMWJddh1Y80ETdo2y5sAC0POWtg6Df6nPRJ6e/Ns+CAGgK5wiKHz3TXrC/SO+Disl6cDltmPwghn5y9L3OPZSkn/nTuM7a/r6epQrwcRHfc8s86IipmTJwCOvbWd24d9o3f8oh+oqabHNHFQer2G7PwLMr8frXbgwMPCZjoZ8U+Re2gctUGROoNgJ1cVhFDxjvoOoQOcyLnQMrwuTvZdu9Bxxo/jV/YzVIrw/jI28pcBGkNMYbEd57AcSwKjuZmlnij2LSPECHu0CJYtpPcHzHYSWm8ajZ24+31PRPMb+RkU7yqlqoC+HhDatWPO/y0A2ooItEi/2GQqv8SQHiol3ieeWpO7d+RNw/QBRWFIpU1UFhiqLe5iZI5cGGzHJ7AsfqnLNcuOPhYA7QwT76rSsfxbwWhHwdelk9LO0NVjH110wJsYPEA3dw22A8fesdJzhNfGG8D4zgWol0eIlzED8yuHp2L8ZoysEOQ7vgQ0KL8qfUlIuXC8LM30jdHEd5ZDplI0YE+HjmXSlq95Or0rBh8sMVEN+6bYLvK7kHdEMGKTHpX5jc3phH98/VAklZ+e0QQPwoAGFfu7cn2A+YOX7rBSDaaMGRcveHBWYHsFQD2PBOYkz2MUO9t7g9spo92XLC2kgORYFIktcv/zTQ0w0pgM9CE9+ereaDzhJyUrFWT1isbp1eLi8BPDtLO37SSR6M0QujL3A90RLf46aAjmp6wkOhgGcl92ACQ92KTqkc5DtDJJxH4nI0hVuEF+4dTlvbR3mDwiOyqzJ/TpRMTMi+8YJ2ZvkXuvZ/3I2a79KZVcO5nycL033qUfTn5lW1jPflBXjqYh0wJc40qHwJ8PGvxTUykDpBJjmNFSlu4E8NcoTXqM21cotJcguXfUrcefbyloW1+V+ERs9ndvyXxBkNg4GHKBVU2OruYauw41NSmjAGb1xtX7gQajlJXKjQV3CEh0ZmoYBAVIuaZIhYtJgYHHHW6r4INi3aHOPVVVXxgA1Mebj1xZf8auSBAWkAe4Ybgn9/XHbaVjXvMsTp8wP5RzyYniwN021wgt1uk21vC+7bu0IXQ2q/zysD6G0w77lCIXwGWZwpiQ0fZJ+ZA1V9T6pIjOtjFspJWWEBMXcSnN5IKJpB+BHZ0rOOQqQyhIlr/KX2+YtabllaKCbNxOX5JWRCpHFPPYS16+dP6qzZy+GOzsM3GoT+aL5V0ypS3q4TTgVq1zl5NkhF1/pUfFZqh6QDjGKuRMPsdDHyjsex/N7u5Qyir1s3EZVb8MGCkVZ0ffzYsgsa4E87BtQWBUIvtZ6WFp2sZtfjIWo/lidYAWmovcByUmE7McH7iP7nQczG+t5uXUObeguF3hp2Rd9VG6kOJcVBGgpYPpsnUKSj8oQdTNNsJeCOEh7/MH3AusGG0ge8FEBP+p5UxaYpA7JteWmFr5nGYy6/R9rYl0IxtAYipQZF99o4x+HHkkVuct3CxcaW8pHUpgKah8/I3kXDr5P+ua75NyN/nOIrt7QbvDLbAWnOleoQw+g235joyiHE+Wdl/hXdEeLY715jb0a1s5XJzf975+0Ax5EpQ9mV5O3MzmZFmAPlhQbQs2zDrPE0ROWeMmshJEnWWOwLETWxhS2+0y2mvk3fIatb0TMG70p2yAMDhbuUJ0yVLSU/jUauMfI08PL3SgW11WCTN7RSPzaKaS0QdeuwvXDTxkh2QHdjBwjM7+IF5AUkd18t2qM5cFSDnLMbN+YrKcOXMgheMJ20rhXVktBAxxbJhqqZ/hlePpicI20wqWklK6ZnI4T1r1Up6CThcYNZeqVz2Y+JK9H/k4t7VeTE6MjuHLUjdx4SrIg726o2py8IGi3P+u3gJ+6nAdstBR0akbuSFD1s9PejnWxfLwqR0Zf+NPDARyKf3PuAk+ZUr3xgU2LsMYBhiFLQq4GnEkB0BKWvv8uB47BjBu+gv7EQwxKlf6O6oOBDAu8/cIuNiqBFjqqD/5Dt8k9p+jR7Xww3q3txyyaw8YPJ6QKzOS3z4R3FkjufRTtOgQDIDh6tbKrT9jw/ma/WvE6DLvPw/xAKIyXbQnusnZD6iaIQQNa5ULpyCubJo65NLrbX/yCI/BzDlumquJ3Nm5ugZkHnTZjltg+6oOEJ5dYb1W2OJtThgtRWhuWiTqACLFiqRU9C2XikYLVvWw0sJ7YNnlEitJZGf0hDA4Cc5m6vV7Ck8OQC2tp1qWZK8GfosyxrUmtHnRKmGg9i4logxehRCdeUTwFkk4UCBHi80C/iR+BxtSEV5rc4ssHg2Jhg8hdO+Mv9v3OUdYQ8l3UWQHhQ2eEiL0WH+E94deCxB/7XXv5Du0GY1jIzBLi8vwAAIO7HTeOm7HmI7Qqu8m/iQf0EQF4ATaKxb6s8XIytHa/ICZVDk6jZMWQNfC6glp5mBlpgAhajclRngvttpKqY58L1004RCAByt2JMXTPrcolybQgqilob5Xxpo3s6nuiKKhoGLDo/3+/JffcleQb2Vz+UIa3BHAsQntjyHvmSzAbawcdg73BcE4ej69/ByNHv9g/uxG580M03yR8WjraAiHYpG2cCgmPGWRchRw2PvsCcA2z6HOGIOqSbTkLd1gkpdi4j+0QEoR3JMiCmX4MUxLDymD2u1QouYJk/zfrlx1qp2KTHe+ZWIk+6reM/+QlyLXsXAM5/S2UstLBHzY+mBATcEh8KCLZBQZnTV/GsHn7SUgCzedVI9mNjUWnvXpDL3rML1sARGtoKN/3OOhod7ojezhfPg5ICRSGoA0AbNcXkK6qbd7v8jpIEUZkE+Nx7gnNLfubDiaN2w6ERS9wAWWDa08kEIwIypWtQzb3rCwvPt3z3nshHVOIhma9lzoTMBiLEnoR7AqTHjE6zxGmUjgGF1Y9oiyiAB8WYgt4lCk6uoTz9suuI7fa65GF443knwKUb0y3qmuBmcjWK2LdnVdGXYLOesmK5nuT3q1/tW/gjz66xWCONtGssQAyxjKY1wAqyVuTLKLlPKG1+GwO5V9KyTq5em5LM0IY5UQDSIS8ol50U4skUCTXUXMm7C39oAP5HK+t7EujuVO6nnBrJiYlY75TH4Fb4op/xKdC4O/5cmr6jYhwxMWP/XKR5pxRyKVrmnA8PDtKje80YN/m22IbtEiknJwIYefdLLXci/kjKbrHOCa07kYmDjPWW0IvfjyiI/WQde1aq2KarFDI/LnsUuJrLT1nwk8mMDDVO9c1VSiOVtX7v6M/5ma/fI3Fa+ab38Bzemw/yT2MqLwMLOSzDfsjGg5D7AZCOoksKrLvsvWsIAN5AySAmC2lXs6ZADSmIUWAYcygh3Qg8hgLXdn0d0Sl1wqiif3jSUWDQXFtBj0lBG7W1w2m7XduGYrIzFdkSEflKEw/StjFgPGXuliHKMS8dZ77qJCMi/W1dLCvfg3bh/5juAjPsHWbDHTB2CA+T4lgfd+MOLZyk+s9x6jjwapPrGi10tWBeUmRVo4FHxWbcwVz6SYywpvMMrjRWfW+H+RPWcTLMr6vfE1NfZ5CdTT3xqVgfUNrYBjj87CE6SWgIrKDKgT/vOZgKv0ZlDTXayBdfxjLjCouXTk95AIVgHabpJnBCh++2umCwcUQJF5mRRtglYX9CupuLFkB7Mgm+saGR5wblfaS8QsFb/8daZA3fztF8VcdKxOuDlYQgbotiXLaa5bOFFN6Ir5BPwXDc3jGy2Ux3dce4GWWp3hC5OszUMz2SpGtrVegtSUdTH0tIms2FrC6z1HhgvmAC/zh4QQqLQBPX2uCZHFtlWGOAGTXjD06+c1mD1SWe7yLD/V5V0GzhMQyanq1k5DTG/QXJgqumPGYMGlfnSF5wQlNMjYlaQffI51U2ahlDzCbA/kYA9QQtYFcMg4gplTy1+SQNk4gQmx79k+5xaOnAM0PuvesskM897DfknRJ1jluaL2FiZQsWTEFKAHF5jPgo1SVLINYBKZeqNfJzls5Y6tL8m7xsjVClDIQQZ6qF/dFCGAXF8FhGF7xHe1F+wIWJlNc50sXvQhfkPEOzQhVC1zLmfPeP7i0D5cvFCgPB7KSPZSrXDsEU4F5dklcQW7ZdnngAG72ENjgbLvnpcsNJZVx7M2wocRtWw2eQeezL6UrwuSDuCAOVnMWUAKR/0xiL47sPU67lj1WKQ2mqIayiuKxn/tlhfz2OsXxG6Hi3uuUOx8dhaZqp7voeFy7KoMpo+/wdPXaBtDLDRDzOsIfMPqUZyQMT3bw880J4NyQVztE/hDCPkDvMbVaWNrSWK+1cI63q5IQqU/kCEMTi1M+fH6VhFoif1SB1t0dSBoFBM35ekliSFABRwTHKT8Y7wB7S7YR2no8B5qqJ0ZKBNVX2Wftnadp1EW3x+cAsZGaxn2r/4mY2f0e2BL0VDOi3ZzpvjfRjpxVVTOHBJVNekjoQ8DnV3krt081qhzPv+78jxAMlkw1UBHXdrPAWllkjGb3X6UijSRqMs9RbuMqIqtA+2HFBnFA43UYHzPTclq9DOmC7NgbyrxOnOl1D+KyHHNgw4mL9xZbMCx9od3uo1SvzUq6Pc5KhoZgtlIFuCAiyXIXDUVS3V4L419iw7ILXhhfVAkRhgWBVnKv6VQRuEDcIXhHIZJZqxhFLdIYCAOT5jkTU5pekVcXS2O+qIpyDd5JmSoayoXolucyZs1USB3RkJosDG1Rf/69ZbsKLOQeV/I4Hvrw66mF9RAobrrHZOyVuVTXYF5oR2dyxPskNwvriLxw1Dxnh2oxTMqeVYswmoiI//QAD6rv/COiwFmkNcppGuifhF7tpk53/jAxi+1ReKSEQFDUg6wpqw4MNIyGZE5Wi6q/dua1nV+8Iq1ZFEpI8mwgSSE9ORZ8u90keXgRaTedNhtHAL+8e+v7csNdxKxbo8pc4sUqQbN+w9eqV9KGgt8rct2OWsoIGvkTaqRn/dndRjdqQjKT+C3x6bhmzzC2bKu9b3UMlaYM3STwG0Vl2IkLPtYBQspu6bzsZS16jXwYc80YYDC+o8rCTILZyljPUdbPXVKgmxnXdU6uCOQrnfn7Vt64/j3JqLAiNanWfHHw3bIOt0MkGuwangcx+Zkm+HE0nBimBIMHt38h7ByA8o+nUtjLoVYNuH3i8ppWJnghWEM53iKfbBGBce9G078vybSYI5pLxzfxaD0/cHjmKSNtAWaxi1IRvBIJ3S519AwAsNeeXXm8b6UMFCdvjppCQrj+S40VRbhXUzYZ7hg+mOY1GG7ORtZl2nWRtASttMJEB58/IdXAQO0XVBkNIhvSb5wDOriSXDkmgfJTb3qj0cRLmyvfVPRBZs/612rPB4b5RIQWzzlWQQmwyf1dAX4V3my5Uvi4VMMncGpMWQbdwaLMu6ptAKpiTVPrIyQ1thjePoED+u7pG0nwXZCk1/20VVPquJSfFWLOQRXGGTyZoh2jWAQUacPJnIbkFWORRl59aFwEptADLFtXwGugbrYV9hrwFP+3dvw6XigKW1lY7on8YshmNteRIqAC7C+3DZO+ECjrtWqv6eRAKLk8sptHSMXTnR+YEYpskKvVbPbJpz7X1eEsuVBUkEYiAUo9D1fw3CUuPyxwsnbJnqAQ4NefxO9eYUgw6Eyu5J6BwlprRvUZbo3RsSIoLeV6TTZh5llk2OmsOypsda+Sf5omRyhlaLhuH5K9G7iNyTnG+wb4Bo91quBu6QK68IRGerdkuMUcWdfBK17OggntynUY+eKNFvyz29wTXcE2JN7pOENKOrOqwFMnQzJpeGaIuimVr2Ly5Ls2cOwrm+1wWtmnJzVkG1f0DXBRnTjq+eqv/I2kKHmwRShNBOnpsnJF0bZloLY13ObMC0klTg5DESYdbtkeqePU7JHjwR4GxUdcHRGAWFLJRMsy1eJi9RJHxfqUnx0jEDorAToNoj4Ank3ZL3uTIDx+v+1mSdXD8LpdOzvU7UQoDAA4epfC7DI2NpNiNG2vgqf74o8HF8kGuapqBtOKu2lcnOSnK2zc1FEmKJ9+rLQvKtMhObdSdojuYq3eFl/CeXFs026Z4Tr1LFYTCTXMnseO2c+24Tr6K+W+er+iJKhvWQizn5sN3ZS2cBMQ4PLqskcoPBExeiL2f9DQlqxIvCpohFzrZrHQ3u/FcykhIYnhbiQ2qE+KKEQTx9Lv/APK6hlLg9EeDr1yvZf/Yx73xoU6g/aHuUHB2jD6iydG43cyNY2STmkT8mEV2A5a5LejAQPuLtTH+oL/yRnj6jqFB4C5rz6tl2dXroYESEzaeh+mauICB0PygDSJD3zX+Cm9uCMYkbqfrP1ne3NDfTpkXEGSkcapYv/508Tx29wyRiwycFbCIoHCsAA2ATryRZ7YAwjtHV+I3E514ItCoGjtPm1PiR5yjZxQFU/x1+97Ulasy227GzM7QCRAHOcdMruireuJ0xCmfLZ904XSsgL9mfeUT9gnFeCfKj6VQM5WQp4C8h3qtfkVKN/qv6NMdcqAyDzyX5vvXRotljEQRwqBHo3B92W/5CFdSQJ4bTpFjZqfv/fj42gWmcL92wTWtX86lnbKvAgMSsmV+LgybpAQ09VeEtLujsxQFt2fOvauD72aGr1iJ7RZyOdr1qXYeCe9B2Isco7b7p5kpv1NVustOmzgFWxzCE77T99hCXENoiipEtg7o3sUhlZczRCW6M95gnEtLHAwiy9B6vhqi2R1gxtg/fa8YylTZ5a/gWQr6QVDD74OTbsxyFcKfgRNPQ1q3t/LEKlr4JQO/tzB9F9noYURzHv9igdgU7/1ZQKCxkB5a6O8sR17Smz1DNYc3w75g16Ys8SsFyfauNwoPZOrCL3LKwN6kChg9OMYqTbRBcALhwnOk0uoMRaR0JgFYidRjPoIsXyu2qFF52dyt8nEkAyR7aQzH/A4vVtB/tK27qLmlsPOu3xGUtQtZABjAxtOgn5lKjXVHqUFFd6anIFqYWjAWDkQlvqLSDOY1zO7VPPoFEiZ07ESXlmOML6UaGLAHj7tNnyWyJ3s8vJ0DCkTo8CbAWVDXiKDf8c+LGqIj2Mtx/y7YGRBBZeEiGJ3pzVLDn3j1nVghRQ3bfMmobatUgEAjZA+R6+585boPERibCvqeX5H+rX8CiHacy0lFPb+dsUVoObzeSlu7Cgt4CEAEVb2Wepty86uUjTWM8GmpSA952qcO0lrf992IWULEgLNqxwRknFkIVTbPzeI498CH+Xnd1xtvh5ZfVuZefgR2BoUCxjyS9Du6bxJROPGWgQuAD3z1Eb4vm0XZbnNKdNzTaS7aXzo6rJiqYJMcHs9Vz7/C0RPPvuiECHvGnovBaiE33ZXXVG0PGa7j5pyGze75RFapUzPKjPtRuJLcPhG9KHPjCexxV6DooaL2xmkyTluDubrkc2jmRC2ClIG50zv3hnlDSIt4HdKn+LPIkRipKIFMpZnDcNguhvCvUsHhDunL/1mffLPeuh7ugBRW/cDF16Wp3rFk3wxjEYXBNHIY5xnOE/Qb+MP8qRRMt80iZoqTYk5yLdpuNdkWn/6n4PWDyyfN2sWQXZW3Juf5nRIBFLPsPy7ujNprHooe+H4o2AqUAHCxNqR8adfOIIH8PSpQXDmSXq8mQfypLBJcn6di9iE7xTrL9hdJkii0ENBRSZHlXaJ0LND2ldWggHoUpmAPdpavRN/K31fQYk9MS3YR4U6Y2RZ5TeALC80mQhMXJhq+bQWtstzBfyi1ryUD8Neagjcd0oH9l5f30nt3QniZHjb8dl+0Qw2Z1YYQj90xChav5OM/FqmnTcYow/v5EBdoIpgKKRIp1+fig+T5+l/rZ55W5ny5CeiLVVNmJevILgI2WG+wcfE4bXplY2vMjqhOGQiutY7iZWJ6Igirx+2zYA+iVztf53XCLlo1TSc3FtQD2/pMg1oFGOH2KoIsxBjJWgTjOIkQmNYFCJpH9zEd1HrHn9JxFomWlnDU39EtSFfxoY/+d2rLm9IYD8RdBVWpzbwr2zGg6zliciVXX/CqsWcZXTuF44Zjh4AWTltLfl6a3dhKzQfmjI3gUH3/ZyKBzQ6f3PS7QMKstf6QKabwpvr8pKv8WKtgv0lsBiKpmw7Vq5zPM1idh7ZJWS34oz+kbfAj3SaxU7dyB5Vts0l0Q+DTgMqxYpYOm7BkeAF8Mdu31qYylrt3tXlz0PxAZ7jAAmRxTC+Ri51gWzj30494SP1rPpseknEZ/Xtcrx72TCbI5OJB5MoyogZMbGQDQ9jJkdYEvfSZeIrRPxcIqtyrLnzpbNi3NcXrAERQMWEirWxE3nnqmsWGeX639UOXFzi6HFYpuKWMvYbXcETni/NKtm3ZqePM5T3SbNf64WMkYv017a3pfHkRRksF8B7Njz0cP0WRS6cGOVXa30MmBsllSz6J54OQLgKZi+XKv5cKADbIfybCrXnB/KD2GsQv2TAaYmxpUiGR0GIszGZGH5jC44PCKwEc3l9CLciViVOplvKC2Ui8hYRk6cpx+9FNBesRCnivATMtP7G6YzhdLXMqQL+bjEXcwuuXmuu86syLWKynRSZFH9+OLJzBFrgq+/hXEXV9sprm4AYo5S87r2uDgNDH6g5jWsqAef4+kolk3kZbkwOiZC90oaTH9qBeNsGsMVkic25J5IXh3EugLBkxLYV2L78H89JMWyyXqvDz/dNK6pRjG3+nxsuzfhQ9MAP2yaU4hZ8+dvtpPrlpD9mBzsZ9O3W+z1PkfifPUJ3nqBbEuydLT1XxLJiPXnoqzfzoIz31JNcX2U/t4IPX8AXLdfOicS2OiRGx2E6W5yH0ywCsHPMIlWVrhT4znfU8Tb0piT+pJswMa6sJDXVscfaTEdhBH6PXLqdwhrs2v6dk+O7p2e4qf5fyog0iecWYgH7UvvtnEnAk0y89KUVvsWenHqV73OmMiC1Hr1lpzCMlwlU7kMwSx1d9WoH9YYaVKrSvM9S2nEYyReS6pgKo6QVoXPlybVbhZl7eJ+2cXnwKZd732gYxTlxqt4mZAgkRjFY1v7lvfeKiErp7Txp+lF15EtKuQ67m+d7dPl+va9gml0O4qd3uVNwXWw8gHdIUi8/YaLVPVJBUC87+4+wSrqiHj0FIOu7Zr0IP04PbqGZ5foxfHlRbqq8Bsj3Dhjf/wrdRgB4v/KYblVPI4DEDD6R+XO4grZ1iX5oR3j4ueqDwbu6bCrIYMitPJW4US6jzU/gbkNUhf521XzRUcmjFBEG6O3rXF30hBvgDM9zOrYFWyi1ydHqgubWDkC3UhMuP74tiiHx35DWdiGWN1vCD9uC594nHW1zOt+ePsyTzFjqLVnQYsA4RsvP6WmGQV2r5QNBsuUOMU2i/+xDUtyaqSH3WyZL2m1VMaVILGHmRZwk5nNh1LBGNi08PdIcyIignSfpa/NoTPg8kqg1s5Ri+/mfo5zv6E0EgKt3/HTJwUlkWDebhs9wfiJSRadxYSzx2obTNE8OlR7iKcwJHJBo504uW3ZRPMrHx2EMSXBDkOd14KlrABsVAHVVxMHyJYN7+RDAblNNS1lFN5kY19t/zZquMAkUU/0gWSqfKKRcC4qa74yQTBNi+s/159l1NOtIXetd6xZuBTkL6TZ3XjPgGp/AzvxUq+bgIqOOr3fi/6gKkCjdM2GjV2DEruhlRqa1/imG//NS5yxCuGW8hmhBcLo70VjK1er/S4CYKLnNYHHAoPYlXOy4n9aEcpnyEQN1frlFZdcxaMFVvw5TDYGL5h44vXeDNddUZlMlUtLUHVO+SW/Ig0XxUSCSdZj/tvP87Yo+Ap7L9vbGbROtyYoJtJa0BJ33W3EcKCgia7q1tra9v028UQgvAuzJNrxbfMnjVpxLLqu1KMMybJr2AlFU48uGkQ1lyi5JAQI0w7ujXsf22j4qDwlrcqVa/FvJkCjryFpQ61eYRonF2rS+/DlnH9G/wWOryKieOUE1HTh/kJsPPeE3KsbTBUoTxgiXT8cSnrbK/jeHuOkVSOFcJYSpfqBLCIOHbr+zbYG46g5+L+c+IxvVzd7sPBqbPfvYGkTBfYhBlZkmRW3RepcXQ6Q1/ZHb/6vlfiiwLOMYfp96JIS7oI/DVx4HuCR76TKO+szWjxvl6Kt6VNG898fYgq5lhzdyExniL8SU8noStrtQRcd68Yi1wbBN7MFMq9CU9DAsIgHQ/FkyrZCseZ41XyJzJXT12i0/R3nBOW87hbH/5lhcYzUlKOjbH/jgRVV4kkS9ARxd1I83qz5qjlkQtbHJ+2H7cbsGUon67tK2dLTCgH2TwMj4nUhPLOySgaAcBY1y8YYdMhs6mBwQ3zhvfhjdt4fIRV2QqWr9Wmyv7UP00zj0VBieGdOrXfcZr2bfDLrBgu+L6CenS7ToUjvT20bwQT93E9c15HgM+XkOGtZz1cmuskq6dLsvvoNWj+h0XPJgrLhwMAQTpgTnB8S2fTiv6z5FmO9K1hCkFYalc74vgHLDOsv52HPfHuIvmlfLHIBpcsXAyeS/gOrAaDPcw+BYJwZMXATlZ0WQrcWd81oCgLRQNSP2iy0yna4YG6BmMg2cSlRzZlWhdW5P/mgWI/JNvuiPgGBfG96/g7zWqN1R0rwCNi56Wi55kRFFC/GsAK7Fhjz3G4RKd10/S/XCNP/CfgQct3avCXCVPw0VgygCxLRhpDPLMo7W3c059eBfRSua2VDioZYv644pBecNklsK4nNDWMNIcP8+J42x4eSbmHWMJuE142MDEt/0cEoy28apeEBoDn8cdziu3XF0tLpcaVnm5p5oHU2s/1JMFWJTyzCExq5F982cpKY8Ed4GoKmfHFbw8wMhwuH2gIt6288XSlBNbwEv5WCwmP9lslU/AGhmvLLiN1SpM63MqaHGigdociFibMQWsyTEK738mpDLoG0KZ5H18xoZ45ZE4xhTsLrKkChvorQGbKx18kifFKmA14bFDsIUHAt1JZq48bzqdTaMnWBAJlO1M73JIs52SHkp9xEgW2Yzle2o94OOwGTaWV5Ie2Mh90DApL3mBOCGKLMJQ6jtr6HS5dxHFjmKzAGO3r7AMUx9bYW2l8tgCpKq0lswtm4LDp0s1pQYX5YN/RnTYueZmmIRWKSha4fW0WEtucMPXr0tyWRkWl1DQvYZkghB1aCvvO9g+eryQ5FtJch/7BZU1z5OEKXQ3Ggs2Hw5k+TQ8B7zFJwbF2BrLGHBPu7ly974LbBCAUf+U0RgDQk2EE+jXZ0YgV+X8oEfvk/q7k4kJtbaTLao5WBXHz4bRax5ceUzMxFQfASmGkcf5TIb+SEthUvB5+lGeoFasHY46+FU5mVtezgkWXLwHW05wO4TmWNGKkTMGpZNGkuQi7UEo6cYOkc1n8nNGowH3j1LQ5q2kHBgNRPy1HY+bg50NiwCm2QToLq4RFUaXbz2D6bK5jvbBVoGlSBvrm2UW5JcpHotErcX2FL4SQDPEAHR/SHD1rTBC4a/VTfBa02Il+8+Gmlc3h46VNOKhfH6/d7fYEmfhvD/gXrzH40nmBUvdTKml/Gw/vsB8RhyMVLbAlmoUFdG6LQcx/nBTO/qdWSavTUaY11QGMw6WPjdtUT0iPFbbduMHehiyyQkMgUs5p0LjAUSHjiHAo/aSPPMweZGpy1U/vWsAQfgviRDmycnqhlz/bxUaZbjRSa1TMaL/TqustZth8I0phvwgAaIlqv2aC+n/dXCs/If+kMxYjj3wi9rFdnNoytcPIxaiaU8Avg0XsCs9Uci+/0Z+ZIruO4VrSDfbvYk78hLSXzDiJK1tOmufEPlEFmw/fhYWXqID3wk7/5vXFlRd78RxxGtmwLDJZ3ct2SkAwXRX3eMumNcL47+cjtFJg7nVZh+o7VR7yTHgG2LH+FeLnGx1dSdPF4rlN5DBh+znxIBFB6NJMFgXu7swVWmB0vrOqxejCP/heL+BKn0kPb0fwByQGIjf46/DI0msqDaDjvt8QPJk0m3gkDEtz0Qc7bIoxhtIiOSKvs85avK5LpSIjjdx811A3NA6vWxihBsJkdaqjaJp5Gj2bLnP4g9bS4lab6grEsVcNJIT+y8LubGjx42u10borYpRqVFp7u56oaYZHr/Sk8xrDt3xthhlTHALoH0VcgrbG4+sr8avQLiMowVaupu+H1lgdcf4hZCajORAlNxod2Xv4ZhVJJ67QNGTT/nx/h2oK9bdxQilR5XanHG9y9/uSHUSJEdMo0Evk/qKgCwWw7acJfCTHzNsMVbT+ptnHBlgxGAHleN97CGmhHv2/XgFsjvvnF5XxWgcR2jv5oSQwN4DmpZoDfWMscNcLIRjtXXFG6XaVzBGJ8HN9jWyIX6D6h6tN9pZQxjfcpX6tan9Ev9I2Sg76+4Qir0RiYelmw18c/5II/oMNj6LgFvXzzq019hM0wLob6pjw3eYUVkX2HwWMlMzTjVVmqvF3/w6KBYYGxWWYjfnpfU/cmjfLQ9F1KslGTkvrjGpekl9ZwGHpw498ZvY6JVV8mr9malMmQ3D1LIAkGZ72qRzhFhiuCuvZ5iCReBufPmaXCa4kaOMci3czLqOT6f/MUX7UMM0vbTO5czwXYY3GWBCqInRqYZcH33fgPATWphaiHYXjbjd3S+fB0iuC1ZLpv2vNvbDmaZ8j2Y31KHgDBhJcT0G+WDFbyCF033eY/LI/dE05uw3yVQcKRfEsUajAGPub0UuKyva1vF/q/S9Hm2Gzon/Vb0g6lXpUcjt6dxX/9UBUdubYLBQ2XsMRC2X32rz4EsJ4xPJyD5VreVvXDzB7nK7ycnfWwy5hQW+86ABYuidA8HrYYVaCxXYfhEB3H2Z2B1nmXlku4BGOZ+RsaTisPgTQU5QKRosNItG/2UNZ/mi9jzIetT4R3im5OEtAdM0st+EAMn/LAH6stQOKS/yC/F9iqyXTYbXdKeO6QZLnibUPNU4MqCMY1leRmYXOJYzsEqGPimKTg/3qC6NdMT/vwiGRjKAakKXHlGppEolijPOCceNEmHXfmByClgEaKN0BChCQX1VoWpgQMk7oPl86ogHww6ADOGOPCmM1O3KaM7GDbQEzHbO9GrtRxEcIyuWfFepAwSzhNHJb0Xl3q4fKFJzOXIcdlINXdOPk/HBxGvysRMXR5kXw8mu1YoeLuPdCK9poJ/EwrVNMyYEuAI+LyF29DWogqpUbodOXLKWh6GBX3GdrryiMkzdpcoK/YGKo8XScrPZ2eBD/xufySsgvw1URVg2IalnXUfTru9OsSMsyDpKa0tZdBatmrI0ONXIvv+1UqrFE96vLOVq6ZkSUYhtpDZI87HQrL0c8oJ4+M7BrJoeEC5ESKt/OIP/NbR68nuRZWAYqLG7fjCC68b89aSlRqW2snKt9puCUsi1k7HvPFNzdixpQ0wkE9TWVnmhCpo7jmuqSPKWRypF1OxAK/YQ40ZJfgo4Zj/FaafObkfeiamALgKt30Ps0s+V7O28DIwzSvvHpyAHDrnvjHn4QLu9g0tFjc1htEdDPT1IHh2xjul+/gLWwWmEkQvVmWStc620wJ9eI76NlFRu6SuNf6LN2UaGvmQiwwZTMkP8bxB+748IanquW2ArcWQ4SArFEipUDiGhRvJ4Kso0dAKhWoevPmkZ0Njo+SVe36L9BzhTqAbdt/k8fqsrwMYiVtBX/v6ZpCdUTOfsh5ZEir+Gt62Mai5p62TimKxsavTD/c8hCIgfPUvLTze+yovVi05VFCbhsE5HT/qif57pUI8ae2Jq02wHbLV21jrFx78pkM6u1zKlsZit0PpPLWycu5+qfhuvzjt98a38woluE2Ok8M80ODyUMn6twgp3bj4LJXQ9VQtIMxMTb79EIi2NPuRNH20al/7kFhOMt1dSZ6Rqu0BL3aHid9FnaN5PS3MVYZEwieFRDtfXVcZ/dchGmM9ll/rFHpQzjOtMhkXBQX2ztkIGx8Z737ejlf7uIwMTE2Sw8wpHh6h23rSpnUZmFjPFE6iSDvyNeXljNg4ZqVlCWnjny/kdv4ykHsVh9+2QSemOSFRgcq50R8gxriejoJzQofo4W6BzCnzAmgCajSuFyb7fLhl7wNExxDJCQXeKxtgdFqS8h8fbOoO8EUdfII5jOHBmhWz/2YCfKUwsAOr76VEksr6HJYItXCCKnpAMfow+CWiJfsx6ej7p7o5uKZa1VMFI7GHVm4aT6mWS956zFAenWnyNkvjTMZrSh2+BJNCELkLxQTYIRHRiAS4unViUrfuU3DCKQUVJ2OTPsrKfmpP1MtVgvo1iTo9UPkzmonYHDMTLBEpoRgD/809Sf6yT34u5UOKLuYiMPgMZKBlqaabv2G2NwxNXeZaTQ+vCaq4IJfqWmqLqSGBa2marveWAk4JJFUMzUwwZgngSQ75A5OieJICQzEn3CmIfMv/RFhSPrYW647ZLFel58OCSWkmg5SXN/566/ImwXTCvBP82rTbTl+O1wwzzE645kQ4acb99pi9uU8crRTiErakMddHRhkBRb1Au8N68ZZf2ezSeyWiBroJ0muoyUOl8xJfuugrKECNglRwIxJ1jVk1xdp3IhcNhFUHo7tqvr4yNMiMtGbmJRkDX0rdnf/hI+/GYgjx4qzsnqwe5IxHQuRylgYwrSCTZTH2vcfSa0oxKW4015ONainTIL4KJA10GqQ9tDaySQCR2nZxFU0QUZorM8faT5U9USk1MKgapcTttEm4YdXaDtjPmuOBwKKWAH4B6uA0n9DdFoh9RdDRtDDLCU8IBBMAH5FaSq5m8IhY6i3SRHfNkccDhrz7zSDtfvVzFksAUOHwXr1tS3BrTvKfeWXx+0VtQUUEMiBCDht1QZpnu58zRkpul8BRkPbvpBcvw2Cuvd29GJ4YC9okIoNjGVsziOmy8MH0Q0pOtSbJ/klFRiMArfocug8o9kQgrY4TOdPd3Re2l6CkDvaBOJ4UEH9HtuKwT2hZLguU9tIkiphJQ2DvNXqtIhVnS5TuBvFm/KlQLuybehBr7Ehz8ncU/tH31nS5WQ5Pd38DjIgSilSKqfUUOTpOpZVHFWoY5cYGpn1GSn0gxaKnbX85EKD45iQL8oJpGh8FzxGvP3Gvug8jVLm+AHCliu31VpaxwTe/kddpg0oBNNrVDrF2+m1OXG5mzRBmXPspo+/cu8GaJPukhPHdsQ1b8HKy1OrQyR5OCo60rD9IDrA7dRSd0zj/sc4x8UmDK7dTdFJg6QFWTqoMV7mCsX/7hm2WGKgfpSSeSPyNKVWMgOTanAk3kV0oEWF0t7Rh+k8v07z/egwPdWbZyfhX1UbFkWGYIdACO7bre0msHFnLrYMi8FwdI43LdrlnmvOGHUdUZ1nbCtLZS4zabYgzpM2T18MX2pg76p+jpwFgmsh7j4sNaF/6RqyhCaZnyjZJvaoYj3OO5roPY1CSe6qFPoOG+YE4kCbo6h+9Yz0XFjkwLMlEJeys3mSbO6niKdfKANOz6yYx25WEvF2I5vu9eRc1ECLELoHgKurRE9sSE8mQdpPNw00I5WnpOsDL6BgOa9p93gLH97LyBcAEU1R6gmY2RD2IZreOZpU+6ynSfJqjH2OT7ZGYghajq+eIMe0di+J37Wg9WlksMG3UK3KViSq4i7CDIq0FqJ0rz4HIe1tHPqn8OAfetBZF/jBUHv5txgkbBwF4SPtuV1zi1pE0pWu3V8mUtMOLOweg7DH4y6HiDBJTs8ctHfBDgaRcdfqNrqimI8NFRWhXIpK1mKvH3hOUrjUIOikuYCSzbWAhB7SuZobZzrDA3rPF9lmjEj2JorN4acBAmoCijjqoAcPsYeXmPT8dtRn1EtTuTuNPypIAVPLn872TyxxI8RmW2NO0PITP/S38NQemfP2MonKjqTu776rIpEorLPDjLEANpLJeKmxDmKCzp6+Fjc7PGMuiel/NT1TMVBfzch26HCqSemg+EcnH/iTW2gQkUfHraCi3IMtfYwXKPVS61tAcEUMrSwvmyFf6QuCzzld7/JbW4wfeL/TJy7Snab/1mKzJ4QgjSoU9q+3AiJBhPcEfTFFRosQmOe406Toa3FzpfsDv0Lq7qHUq88ZsWIpi/oo6lbmyNTVqKtj/w5cfwHX6UE9N01NGP4u83zAIPgCSAp+vmK+65Z46qEGfmmV4VXvpH0yznD9F2RKgVWwgue6T9D2f0lSzoLx/iwzemWypiD4Ky2L3/aT3WfIUPd45S/0AweGJ65lrwjnCsUGvnqNM0+DluF2/XKmoHpIRJfGlauknJvG3JcDnqKwe3ElcRZftROatGXpGH4p9zzQDKHXaLkfs+oD50SrMtkSPuzaLNCglZjzyNAedzLnHy8kJkfWiCvEG7ojNJqLw8fHL3RpWc3WjN4ikFAOvjAF6VQNPWgb5BZ8l7X/xv92TdwLgfPGN0V9yCipOIMn5ANwYMJcfEA0Loy41BVHJOqP6gW0tJvoGHkQjrkklf2IJGhLy8R87uuAAaj4VmL1ruXvPIUi9EDIeV6OmC7bmWaFFvYyJaYucvnHGUclLYFdYeyItbOGrEs3CqkLrbIVcrFd4pOPxiBToqXoMnAH2fizTUwaF4aU4HFVkcG+G8RILZIgGcrsjoABYj2idfRmGJB9+uE+97+kzLytbubEHpI0Z9zUdx6fpA4dxJjFiQQrPEPykCqrLLNg2u0LMRQFZTgExtmBIarAxBxlx3weacx8OwW+TXB7+7jijeee0XGka3JDyp2anw/W3rgcNkuDssExYdFlHBYmAEpxZMOawY5Hi+71DYYRk+1ybuQ+qutpYojRkiwxXhrNIbvOFfYOPhzUJWh3+KcqfTawVtIWHR2ruVLVtgod12Y9vX2sxzhIGzGUaHvcziP4tbeOIhNFUAfMFVVi0ALtn4F0X4ZbrIhaBbkR5LYt7lvi7C75vENTrHW/25xLoIQqxgxOsX3OWNH38TtHDdldbMUxStAE4AcUOgSmJCbl4jMUrItLlgzM7OA4KOq666m3qAE9DCCask6YYWJ9pt46Q0rcJy8euvMziypnVhynFK4GVfwvAOW3m2SN9ul+i/w/KBz7RBumJ+cKejj1ygxOzjKN7gvrLm1QseLPS5DyaCs5geONsvgktxx3v+9ABVOSKg/xmrXIMY6UEChMqvXoFVeaXNvuGoWxWEYNZnpFl6li0t4vRb9cECO2sMfcQCPKMvZ0WOHXSB0PnzQ7kffTF7Bum2gmOwy0b8Piy+Nv1t2xw+imFYozTnZCulmFpIqIg+rs5QVqMdkiBFY3vSNzfxMpDuAZ90lDMhY1+NcEK2kv9s+RMXvQvNZNd3xrDyYpju7eWissJ8IJlw18zBaSIyp9Wi8eey4V9Lfp1IcG5FX6aLhw19SWAMpBJK2Cbt7SqItTxvoyNWaul/sdIxTwEoD9k6A02aqBewRl+L8BU2HxebC6ehC+c56qCxpIrACqb78kwv2t4LuhZ6esw8CMMXjqZZQgyfXCIZrPKI0PlONLPqUm95yg8vIN587XtKY4QhquaiJDgV18Jj/unFTPwV83jeuYxvb2LnWF3cFFnpM7flGhlUpmBNmx4YyLWHrklDpEQg5R44tExlPB8C45ZQl1tsC1JThOM7DSx7kh5nfKYvqpPEg5DXrhB+NHk2HOu0XiPaS36i1Xx/VzdAPXwBZhQKYF25IsyfVTc4JNHKexEDubWf0QR2TzmAy/EknTQeQEd8V4CDInIfHYo/7Qe16X+cvp8AvV0VQ0+dQJVVn/EYWBsCkRT2eJj1lDM70P80aHJ+ibnT+he8m+Osn34HvL3xHreJuGlaI+fCbzp0sRcgYRApX+MNipo+tWmn9bKUJpUBZEDa6u5WZy9w3hZ/xVbMe39d8TJKb3agGUJ/D1xRwziUT6/5pxvOPlkadz9wfj45ZxhjHIPVr7Bz0mngdwKZU82JPJc7rlgxf7vQ+6kdezMv+mwGSfEHis5QlYPZaeCerltQD69ReCF76/SKKrg8jvqYAFiPl+N5/ztv0CSV3PZnP671OpeT5iOr0cqCsQSnaNKFlRUigaZgRzrXlb1mZFJbd6UZOGmKAiM/hmfxrjT0gBu7KQajV7bjx8ZEDQvomCM3aPEUuQOLYtEPu2Y0YxK2MIzRdze+QtKurZkztik3p8FJr3njtl1r/9vGWGi5qwYpX9fNQbVjcqAiJThb7FieS02C11RPZNJz+w7ddUMGsWhJHp7fwPPslxMgHpgPrV/NaVPPeJgAwMkEkfq+Q4yjrM6RZ5dqsQOQfzXkHQRxc+beLRWilnmlsq1/0UFJJ4eNFlOu+Ko4kt9wmmhYsSzw4JJNFS3w3p12d+UWEtveBCEDIY5REpk0QM2BphEDpx0ubmiMt+LRi7vJSMF0deqHjXbqRLYJSL4OhGaxf6Q4Zkw5tiZIHaublW1iZYgVLggneQTgbBJk7M6ju+xB2tyO8PGVjzU6bFwN7Bmo5F1FlYc1L/uzNvRA5Ab2+wEz6FR+MuYKez1Lb/rTyMwG+7I85cL9mrilZoGrCcrwanNC81+m4hTw0UWmLf9QJBhPKZX/AojL2OAcVANcQ383tUjnYI8mO9cwoUtF2ZSRQM05Cq9j+JMA++jloJHDsFyeX24DzyyATQBqTkrw0+BldJEaZHmHrpONzf8bKys9CPSIjVVJaCRJeTYRBKg4K5YxF0E7oPjcYosrffoI6UdbRt/Dp+bPH6jS2VRDbriN7JdivhWgpU7apmux78TDRzYh7yZE0+6UE6vCityiIh1vmW0NtJpq4op/y+er14LjZpQHYwiWA4CwYkTRhZd19sTmbls3OGbYOHmg/NutJwaEAl1fuDbMlxBeZp+6pf+zANv9nO/1hKlIriqvUiuewWMJ8iLFQmA8dCk74kUtS8PKMaXNxopibo3m+AI9gAH97d1P10dXF2ydrPItSECuvFBtQtnzApzIvLCuAdrHQcqHz+nzXGjbMWUa4dF5UZMJburF5k2YBRcj+fTqeBp6sG7q3aIwp/iIlyJoUVBww+wFfUCRs/0BzeITbiDYZIJznblmYw4Iv2cWEZ8xaFtY6KFFgbzQP0M7WPWhJyd43bdtzAnL4nBKRD4k3DRcYVJPJy7eNkNFKndezzWTc48WnKHzYVDtJ+NKVIqFb5jQiR6WFqUjM0ocLQJFEl2xT9lpNN4wRhpn99USg6pga5tHyFZEizjD7Zdju7FUlo8GOJdSViEOAveEdR03fw3lSoH6SEehwhsaM8IH7EjN754AAn2gY4nNx8BuziVO3Rn4DV2J4lDJFYrvyP2JM+Wn3o0ckSN54z+Qthq8NhLN6cPwaz2NkDXRube+kLH9y56jV8ARps1Md+nyjcE0w5lRyzqLj6pxkI19VRZ2mbCxutSmghFtO2mzuOX3hmHn/lwIgsRKQ5chaPbZYsKoQ952+F1L6rxcnVpHY9C3oCbZMIyGwsSdTwHEhO1mf7hLzAlXEfgQ/16mak5FdAx4krS4/nK0ufqZCYqoZ3I82hRbdnYgQE7Gu8guB2spb+sIfeEyWlVpGN35TntgXuw2IIigLWR0zbPMuAJr0pGv5TBkykEqRxbUScJSi2XlTcn8K70InJuLwMCtTJ6i7iosrpqcl10i+kiQKTLj8HiPCds1Lub8FIgeWeBPsAJe2wNDBGwaUPmndDZc/uE4cwGpXxsNXR5TonVQwPmSHsHj5E+OVem4fQzMTrii787ZWXBUJuWCDkiDmqZrn76aA4WpzDXGwX+OsDVb1CaPnn/zbhcni0OawsqnjRcCAt61aTiPsVLQ2bkYYjoMdSWnwUdPQZsnmGAu0P4qpU6td9nAucJQ/vx9IVd5ojDtdOlmOcXleRqSnoOLuBl0e4zZYXMqaksTnaZSOMYCn7LmsQ/rexc54xpWJ9C/2RIVlqCmHVpiwtAkFpyd/bQmDTY1p+l3/Hx01Dq2qj+pg/FmVEhm8LpkeHWnGNn6O1ai/vdyB0Ce5/Ayi3j2njG4+d8vc6ojJdY6H7lMoO3SLM454I5ooyQNzeKr2Nd09imktqVpLQ9J6N3Ci0L8yVo5FTKJxFgiwln1IuuPmuLAoLuYh+tJX0TZ8tTAlqdHqPP0QJe9Pwo4n2c3erp3Co7PgeBnWVOiavFXLvOVppovP867qk55rDbkxM5znZCvZvFG4SP9i8abqWz2g9km89/Tinf4+LzC7JIMu6cdYOI/szrDaAnlx6zGJ20ZdrRh5nxuNqiTaH/81b2bmQ60vIqngmAgoAzvQ76rHn/SHR8oMvtGBZtXi05idcmxXyoV8GMpv8ClFiY17nFocarHPPiHfbmLXp/84aZs3XVylggpTVtCnME3+fwH7nUgSCEOv8UZkCoK8+lTPj0eSFLzlGeS9iWXjnDTUZ5DXDUnHQeW/l84VfP0dI4aiwGxaNat9hoIsVcLDPzsmXEowaLnXJJg1fzGhL/6fYz6BtuuUU/GxWYK/3KuyUhal48fp0w4yOU8vTYzLFj28cIq0mqGVeXJgWt8WBBEI/G8TwimsxGzGFkAFAgWMYLRrfkUc2Bu69ptGT/ZE7jPSZ7xcwOL6cznpCKzqDZWDvmVo+sQMK8uSlJyoNaJZA1Dnlwo6Wb4OqnHtBiZfkh/2AFxHUkI92Db3o8g4yWNGeaPoNFDQexsIlrqPVsTIF+97buddZlMk4sWi9nncY/fqdjrgIj9Y8HNDCGHWZpPm0OtrEhZccJk6kZ5oUVGUBgIb5YTNIJMe+XZg7+E/E+H4wd8KqRqXLdWYGlPnKut77OpwLryMP6uvvYa/NUSgf7wdCfJ4JTwyEmXTkCQA24S3msZCS6JSYFTG2ihye6xrecRlEI8Ev2R6o12ZOjeFyaKxplagiV4Px5DCiEMpqbweAH1hVCJA8jhDobqFxHYs/9gkFZv2um0zg81JRLE7sJqyCKBZVpK95hxhrr/cy1nuodSesrIzypjW8jmwLafKJLn7hVuFv47EDqub5GZt5BbRfP5puODBsNPr+kXjTfojWhYj0e2GAzwEiuJKiLM2/na3vF44VV8rXseOyZnZxqcLlYvzpN7U14Jc0lEyL++0ojvxupmfl1UkJkL3WPg1TCXkccebKvZAOmCkAMI6KZGHfVkzeZSRfr+ivm5aQyEo8pslnaG7NfQ0DQ/Cnls0wcD+C83KD5oh0zQX33+46CYeaeCo9eRfYqqFYk6LMgHEZgciyJpcDDKQlw6nrvbvwJ1UE7rvzVVMFDyQan/ctYgpwWYM4CcpqYGp/GNhq7qIhpM6LFEiHbGKQIQAWt4Wmla6xUqvQe+XVPxV0R3/ZiI+jTJXfgyc5oeWKo+NptpafOWjEehHp9spO2achuTDWlfVaYfmajwdszOLMqPF+Azk3G37WON4+ch+N1DsanwNegdI6mX3/HOWS2D+SYbyWUtl4L55EhvYx2p/a5DKKGkV9IsWLORjIJKnAACK22nfoID+gAPhZ8MAydOfAuetdb9ixENu6qUdTggwj1B4xcT6H+o5354MNF0HnCV1+QhAjG8U1E3XcfohPNsvlC1lLMYHtLX2NPunmWqoZbwFkk/DDzIyInsOgUdgSkjnZgqc+/mV9DaZrtXEok4fHz2Xmr0YYMACgfDA5Rj/cH7SGEWHN58UaM1X3ZvB+7a95Np37hAdWWJoWH/occX3319JYKMQprJJp9col6deUc2L2qODLQxEt7wyv9L0dBXIizv4/8lahVuDh2GTXXK0nJIBOVsgDZXlYMgagHt3JzciEHW7+uCYbADv6loX6fEqf0EiY+s9mqF8PZufHdONCV0ypgD1ANLHQ5Xf0CvD/jk1Dnkj61S3uQoCvJiOSXeVKSnYvyKzBBMpsvdfYmxe5yI+T8gKfl8JRY6pi5elRM3V7yYaMS8qMgP4mZ+c8Yum3LRm1rT7FyM9hyqsZ5f6d5NDcT62Jzv4VzBh265ws6PNdXdUzU6AMwkx9zwLus3N8tgLH3mpaNmqA2AF0j4UfgwdNllp4qoTaSE5Epz8VEKc1cSzIuoGX5TV1BNe1xslP5b2t0+70Jb3xVf7mCBDCROdxfFjWaDA6sULumlyYminPUXB6QMs0gGxMjLzH5nZIBz0fJ5y5DA9oUKap5eOCHABHtyAMBBgtlsPyjo/yBdmdzIWvFMlvk5uyog5qIsK6U/c9m4On3+9aLMtwrUyqF+u9s8g85Dw7kmj34B/kIJEisxZXnnCMkIMS3tzABzXD332ymCOj78sXdECB0D/X5vpr4fT6IiB6kS/3MX72AzV5aEllp8KlDur5C8QjFaMQPxC42EUqnpsgHEVfyNGevyrFw4XLWFA98djeXhc1PqxMSMZeObodt5M6eSCFg5in4tajBNi6OBXIrAeo/VtZfk61D/0Xlj7gFd251HIBgeby98shsOEHkDGRxgnMfKxRZio5o3IaFWAsCWo/z144oIexpA3p57ZbVnpbwNdx19yrkhYfyCXXQXNHrPG0IugZKDiv0lk01qvrCHZVSCZ+0fT3dGYbDIvO69Q5OgwPNEWQG5fJF8a7OrIwvXbQMLyO/UcydZxOz33QTFy69JZ269y0hteVvCcv5lAjJZUctWCrb9ffzACnweHKz9ikU5z/naiTTLC6G5IsIfou1KodYfD3vOZpQTtrALegDqOCvPe5aovGvrJ3XuMf3gBp8dOFFFFlq/NtXEdz+rGchE2A7vtLupfss9XmR2p+Lhey/NT/2YdPf5/cRnQOzEUnt6s+Dd2MSZ7+ZBZy37Sz7E8DOAxc/X3oOjElwc06E3RGFqsszg7zpMyEDK20JA6GUkIK9UnlZa96/RjA3nO1/FVLUFYJGW0UyvOSo9xGZY3ET+zm542ESr8ja1JAW+RHukvyx+JIV2EY4ds9gvbJGcrByRraPozOENn/7Fgew2se07cSD5SOUxFQfjHC1xIqVrrEfgfuJSomq62mSl0LJlbS++EsfAn3Lm6kmhaeWW7wuBLtYISkHDy7zd/+nMWqaWh9nZWqwytHp4YbhHMPLlHxk8D0oL+/H+gr5nF0i/nl+7TzgZdpERmtb/wPcgA+ou/aIpPDAzA7dQP3v9UE8d0PLl9luVcUc1JQWY6ApB3BpDQlui2aGhR+B1rh1HWN4eb9eBVI7uHKVLLacqHsLNhZUokEpNF4grRba4C/HrGyJPMKUgcbZJzWGPqcZz0HhkpWw0lTPc1rhGrvGK0Xr78obg046FKDy8YUWhz2jnXxcIOGtF9wO00//TzsGgONmtmsP3Zp/eDvg19jVQ+oOXj88mMKd6oOVWPldO3GQFYYjq+P5BaOPqJ6Od+oN/aejBFn8RIqC1/rvvhFoLzVYR4wKv6iiNxs3M/ujkH+ICySc0OiNhFc90j/4Qgi06ScO1sR5t8Y/KylCb5ey3b4ywcg6R4MUzvdQw0/s1FKbRr4iFdCYCBwHZ5Qi3/X3jgxSEOXqE+EPs4GJSK5eCExvz7iN1lnSNU+XfPHB1ntX6agfShAOG63kdHwABnjlEw6GPau5NCYwrdehnXillxBnHPxMaA1AliGgpEdBlHBuEaYkrvyJKOdy6Uuf6Ud9gYqfvFLWydU7ZDm/I4BXMfLsDmL+z6kn3ItKHAuW9zWIuYHKDgWbim/jvUrODgsfpPasWpWrzzAV5sBEfd0TwVfeMDKPx7QIj9boGg7Q1q1tlk+B9e8WbSl+MM2j6kDqPl/p4PkILQAoLTF3/f+QL5MQgb1f9c3NxK80YEN2ouA1FfKby5PevYzWiKjyXKEcl2ZlhJ4KcvhVdWiGuojoNHkllCH3JKbJFRu8z42TnwOZG4aN31FS/Y7yAR3fz6edJWmryq1RfendyayE9bwjZeEsLPD3/oTeapEBP0OcHjyui96nLTIbhkkNPx9kapdUiyNdNGadE/qnykik7ayjFpjHTXUIYxv5yjyHmKyhMNVdVMARDFhqGuO44Zykzww+AEmSi0/8EvN4qDSadDKA1+MBW3nkQzcSFvoSOQgTYcxLloskxcy/1yfZgB190FJpVgocbjgXYOA06VQ2v8J7nXlMCbQH2DoPmGdTc6GcbuhclOkwGX3Jo3XaC7C5M9m8KHIbo+wECECDq0MVLgxTlAvIqFqh0UA2UkWe8SoMSqBhHPe7Cii+QZG7r0+uxSEm04qtX6I6Mzr0R8Ea2pwfKnegA+nr2PXO5E5mjWOU5LxpLN6Wp+MBxcWPuivCfrB4Xz8cZ7c4KjYxWEJ0Gd7wu4lKKuMMY41oSvosb2K78OegJfaQ8cH5l17tbotA5aO9X0nt1v6gOYGIVEC+ixvGX6swQu76jS7zODMtpZE+Aq0uC7U91mdzAHJck4YinxV/+kFMkHZf+uVQl8TCiORrnGAbmZWRRXKF6dg8FnyGI2BaGwN0D1jMupzxf1qTKu8XO3dwWqW/tGtycugTi0oKrx6sW+5+WKmAWCva9n/XyQmu+BVC//YXY0vg1tfQ6+lJsJ79z5EC1UEnShZB3MSf0YsxsVGd+XSGrTVJAvhyi9tqQBmCMi7DOLaHTYcpqOki9AIu3li9WU8M3OteW4eJDK3BZtQPfiw4M6ybt/VqgE8m+pxo5LnnKG0ZRKk+OVQZ3wJX95JA7IgOGpxjb97N5YMazBFoPfm3K3BNahn8CCFxqEiZOowcncfqTNZrShRbwPJcrlGt+Gjg5XjLJ9aEvUwzDCFR9TCW5VqPzLV+GALid/k7w0Z6KwtwIzlTz3VkdMcPQtj8FgMaL2VMPaCFfifxAaj8+wEdSP9AFAPjfBQZVY0E8p3Lb7bOdyL70kYPjGCr2w21OjQYOdapUPYKR6JLNY0qCYAlw88q+eR1XZfQODFzBj2bAfj1EguURcw/kBg4kp3ryAyNvaGWaZ9ZcYXDbdhEBDrF3c39i9fq0RqNU/FUaq7XHlafDUoI4j22bsmU1tiKfEt+M1UHJDqV+c2gH6JCXhgHB3L6wpGZig/6u9YNY4yd2XSpfuLJn/r1YUt+kBaNnX+eXWFR3J7A1vxcmejOLxBhAY2P4ImSxItRFUyIHQkwHyaqPolnkq5efAe530WnjJImh7Hcrz9qL88mmt3KJXoRcipNg/Bs7OSk1/Y7uMBiFE5zxqbuMgtE+v97bMnaYcUx9RvTfGfXsCnXHkLd4WVwtaTz6a/qpisL/Xzpllw/8nY5OhWxS1lJj+inUWLrx9lpd95P72o9pYqgCs2OBMI+MjSkzuww6JAkFrdkg0R1lWOwVZbpN+rI1N4xwXDyBb4DTN2py2LzsPgmI9kDcFwdffXucvCZiuY7xyQdFx58xC6vBflZlK3jBTaAgnUD8cBNSpoX1VTmGo3fS0x/mE3Z6G3BooZL5T4fs4nqe8Ia4oQYnbKEoY59956Qe/XrZFwI/h6tpo8E0P+nWxkWA14XC5iTxJh2t6UTzvg4NqNrxqQYLnCP9vPCWGKAt8lbl6peTnui2bYKcfNqMdak5HAXjzt9SSwmxhrBaRc+juFpsHtFBVmVOtTxzz/LLrgMJiWTURkWEbI2OLWLIID1X9Is9fNNrPP5acVgRkOKgYaMHTrAUCabZcwfuOp11ll4m+OPh0Wbi4J2RNXu506xqel12ps6x2tZQtfNLKUh7I2soaEooYrSmW+4Nd6JxzZsMwhTOsLTPNnnG4xhLJdsrNFFM7RNIPnc6SaFhHeRGiFgsC97h+5NA0CiAJhwLjUYfgTj+GFNQ4Jw3RjSR7en0Ets3asJD6uy+WdETBPH0nQ2KJYts76YcSL8xuI+9537GdlOk237Fz+EE8HUUqD6TIwJoDDCQNWRN8T1fQ5UTKMF+C6B2uIJyz82oO9m9v0HQY/u4AiMvG0EpZZVCC5qenRVasaZLjm57VthtRYHOlHcW0kxCcJboDB2By4kJwq3dhu5OsX7yYSjns66IQE+U6ofHayH1NWT2mp1/kHbMEmUQLZcxGoXE3COaN1EXxe07gxAHzI7BpNX2h03k0h9N+JbZGL/N68xpR0Mpd30U+txsM3GJClqOtDAWrocycx9JQNhE7EE67tYEzBZhCXuZpML5oJyavhYIvovTGhMlE9BS83rvjKlBAmvNekoo/Ji38dNWiMd1SjaS2uuugID2llpuN5/7s8UtgFZFnYFiLdRT5m3kTr1YtX8n0/8Sm0GLtQ/4QNK9nbZG+FYXbGbZVqB3xbjFU67pVFTxM+70Y+QdKCShslaVpfct1Md7Os9QvJic388VQPO3VovfMK3hsmWcKXMzIq8UcxpjQMsknH830O2ovm1SERId7GuC9n54zMbRoQ9tEBIttbtX99KX1U0LAbVb84xwMFcqTHgbpXsvGph9vbDszZAvZN2INksQxyb46bN2XzV5nFykkpHY75vrvNwS2sPJK4SM4tpudKDGdY+Sd8YITg7HEKBAdbjLH0FcdAscSXd8sQ32dBE9hlbkCYzUIguumEQbVpqX6YtSXL5//rGh1Bgc0ta6xmHfsm9EbX6qs41BzB2LoRPsZCgOcNA1ftZ6UQ6xQOXJriIId7v+3GMxkEIvrtrULVgp1VfZ+ef7r0jdZXo8qBF/2hHweVkKgN8/bQm2Ot+t8veC2S9dlJjkONmFK8gmFqaKUrkVfK+sUUv0yBY0srHLLU6Fyv6X1CzMan1oqId7sCxs8Q6fcZmDwcxgaJFvxmsmgPWNQcex+4N4UaN6aHbpfFWstLDYA3OoZxTpEX+oD1LjUBntYYIcoXdIWCzQJ0nn48f97JRjcxWP1WZVc76gQbXz+lXvNOW0563zfIkHAIddvmbY+Zxpk7TRu+sXBMkQrVzqyt2+8Ffs6twiprhZ74kCTAC2PryKyedI+17v+65WIFIP08C1nI6vsG8rR0soqbusE0B6DP0PPKobALByzIN6hyznerAArZr5soCda3hXM1lcLibz1mH5LrbldIeugmWCoOfaQ8E4daWoL/u/umKrt22+uAVKrv0LWRj2RV0YSX2kUViehajxgmOE+voP4ROg79nZ6D7TJuQ9fIE2LYs3p2XjZjqec0kp4wOyDONhXR0jJIB76VcV/upXy4ArDKRGqEZIy1adL6eRjGeNqjis0Y59KoDRT0N9B7t8aihyfkSQhzkEUcy2ZjuuJ0s/6f2M7yicVItwGNe8hihmN45rwwd4II1fmMd19J8Yhb/YfnnDINnVtdni1b8Z8q/0HYWqM2v02r7yeZX6rx7p2DjPpe/nn5ZkJSedtWreKa7/puyRADsZ+sZ5G6uWNjsDSSsUctyMquZIbft3oSyeQOnvsmx6/3w3FdR/9NlQAPEL90lAgaYEhzvuRrkAW9xNfvOJwvMgMaIPWV2POVdnJ7Mr6Uwr6RLXQwKIFXvXDBhPzS0tOlp7/UaEiHhzkkgwpCZdlAt2rb670anTUW/btyzqDfW10KaCtgVH+7hGiqMEZ/K7UFFjKAFKTmb+oslAQJ0Mslvos9i8r85NnQc8SoJL6Ole6gBq/H+3dvxCY8+9secmr/yZxodSYyP4r/p4oltST2Q2bvbD3oElMrj0bOfUY+IiLXcrcgRvh0IyJEd0Fd12dxkdLJ6YoiCRYRQqVgSWa6aS2AXsxGNglxThvyjuyROHqmc8x0S0/hpRFSqLEENipoHgoAA8Ksb4TX7qIlvrk37+S1lOzu/nbpWOWalRR/tut5ODTbLGixr9Fl9PW9CT0l8dml7T2u/JVvnXnCvbFy+dtjjiMJRRRbO0wKv84RCudrLyrLxwVjdWRWX8vj26BqJRFqX5rQJVgaA1kPwCLkCeajvWE/5yqxJJEEWDg8MGy9hwYKGIYnlWMAR7SfwMIPeLdf3fYo1q3ba1ggQEj6PFu17LxaEyuixFPq8GpjGATVa9jGQU0KSit/JyiX83svtLW4//4JkjlIqNymkD+YzvXzo+lQmiepxdqU+rQEWwSJ1yNu+K9SpUkVavIq6I9oAzAlNNadXYKo+REkmPh8C/4SniOmmhd5HpQuwOQfOPyWrpEOTRKJzX1XtCpiR9Zx8DeWs2ANoXoEgoHgf7jCZ+Bc7ym7zy+4eYG9F1SPEEPzfvm9j3dnax7GJLWgWhRY5LS0kHDhNOnaL68KgQMdCCYB0e8pt4ylwmiG4vArMxPIueGZpnH9SafIoRCVVQoskeghZFHBujwFcu++l2A7PCJC4NXwRyI0SSt+J55UnlMYsxuO6EnbDnShK3RyXn3BltUBhUJaDO5CyUSbpcePJOCt2X+zqUgoPL59UDoiaNJe3IhumwxfZlqMrgUhO/UTk8gS5cxNq/vEuE8ZdQc12dz/5ujRU1+qVB9dfLv88H8714NMS7RG434bGlCbsldvi618P7yAa4FVgyZH2JP502f/F85kF6Mrgn32BWRiYeijcPlNu2Sfis/EmteRIu/ySeI3yXtQDwf0ux69KsUZxTmaCsKxHZRtgQUCC2XKyJZFz5wYsz/zg/Li8FUITFwEQw722tM4ExYZeezFcpGLoUsRIWwu6SNwzXwiZK82zRfQ+ZRbcbitxeiYwyQckbs4E8bTpwH416L2zdB6M5raOhw4Y66GFEG/lXQfu7jzsRJ5Pr/Cpzeeq7L1bl+o5yJdnthMsOx1oD1U/EUW4UpChFq+bGBYYxdAAB4SS/ubZ36P+wAjMNzv7UPJW7w4f2mc2Bd6WdyD+odSt6XVaihsTyj8ExlUz5vEXQfuS/OX8kVqE5NqYABrkVIFabAWbSePjznOK8EaP16fd/igGhgtGLdaczWH+ZWYaOYJh0WLGUDDugMf64cQ4FtW3be6Wl98vduLEXrQcyI63Egn9CZxySi/tO5M2tkZJXUncNtS3EiP9AGYDTJhrIUmFvDS34pMOne+OyCiNtnRyN5JZeE7zTxN7pChVCjrxpbaGhQw055kXcvllfV4M3SlJA6mbWeRjR88OgpBk7uxQKcLkk8ex5AbFhGPtpchGD1Aa7AUpO7dz5Ni6VNhpvPFU+VbPVhWiP/JnZ7m9tQa2RNat0LSDwpGrECLuISye9oJFEpnJd1PmzcZbqWDNUMcAw6hTiU7TGlkCC4gMZZ9NNPpKCMjmyAeE0lN8Jy0qf8AluUHhyqjTLgTZk9yBxRLnTiQITVkxiuVnpdCUm5t6/k0wcwWoPJpEqNeYwYpBcSJTnPMvAgtkfxD4FVJLM7IUSWmLS/eW1Hk/nLu8vXD9YAoGqP7JCDjBAJmn7POsKcAMO/DlDaAXY1Wzi0ZfoOAEXe8XhLqahV78t4XjdeSpzRTrfjuOkqfNx2sxMAvYrN0dhe8qN+h0ePN2ZD8F4tEC5gUYY708gimK4fAkVsjheY1rt1J5WriSo2Y8NLnMPX/WHxYVdWrzaAuyaoLsAoe/9YIQhF5Z7aTwR9JLVbF2j1ku85FOkEAPPXvxbT5+cdlGWaMNcSfRc02UAVUklkwXaB2GNj2FCwhT0eRqaUraK2JqM/+0riAO90FAmWfh3CqEKSxefd/N/uQ83rAIs6/uZkEMK3AuQykhAj/pNbH1kw5PdvHnmCSPnodQQNqgc5aO40dTnjsp/MeM7oJ3qcyKX53j8FBIAB90PAn1ViMmVFpU/jgCq1oB3bsniN7tVoMWKjXCAtVaTX+GJfDF57Zsbp3Sq80xbLUDxqS7mGRtJoTfsj62fhaIwcwP1ScUPNwnLPV87WG4ANpkepi1t4ZXg5VLVWz/RQ3X0LEX7cwDZ2Ee0Nl/CfosB5RncrPbTpKt1Qz41QrfU+dFkYAHduF7bV/njMHz0M6vYUh4Yiyxyl+Lpg98bkpLWCEAcp++TsW1UwAJCeB/aYOpqugnKjWg0azjfIiKi8eyMY9wgYwno9m8K2apfz6t9nMemstGHoZ9JcIWT61KEp4GXjCOzVTIpYr9s/m+1TwxD2xzDG0LJ1LcYyWdUbdJt163Ig1klD9gi0b/rUZlpKbWK201j2tAWH+MdgYE2Kec5T7aYrD/JpzAuFBlbH6znPlctbMyk7vzw3J77Y7byJoXwXfQImV5bs88HC0OgiJ+2V/Kfb08xo+Q13SsT9HOl59NbI4vkhKH7tNhvuZuvg8plgOVbvsCuCk9lXh7Ejx3HdZjeUtLIa53QhqRgtQd+mG7WzQ6PKCVV/CBXnWnIDbDIsurOdTXVT/W1WAUy327SjzWFRQatOxOR1KOncnlQxp/dwR/a1WpoyW8qQED5cglGsN65p+AwFMLt5UQVgYpinn+Qy/p+ECwWrBJUPdD6oMHywEphhuU+eNkvawDbrrRFBmHDOyJSN++PTFtRK+xY7eTKKhDkCx7lmuUG7N/+VK86BVWHDuBtGLY8SiUORGKxh+7FxfYvoHV+ZzogYWfsowLLf8Bi3ky4PsDunQund8/TBfzgYhPbN8SCnYCepmyeYCGV07sUmDvVEw1GlvuCw1MlxISjwhRZjBOT8s2P73tfcrYtek+6ptRTZlaQnDJ7JLOeeuX/cPJDuzhFoatdqzGUKIT5P9RRYhO3jJEtE4iKJrvM5e7Yo684SfVrSCcbk4A/esgLBCdVRN4n8URBfiK4jvDPl8d1NvG5/B7Ps5ZCny65OBiSdo4TEN+cAbqOY4myitUOB+waaBPZ9OvmXQNmU5irj+gLLPjWP2PhtYrYEm4rcOO10vz5joaOD4wuYpHesYDM0r4CjeQG2OEEInensFhmx4FJdqlS9z0mNdIvEfjtX41VfMiKm8ZKyXujnQEKTNSnT5I6o9NfL+xrsKeLKeThCQQpCjNGxhVyRvWmEKS2joPzUwQv3mwDikmThx/tZ2HwgpNVWZGTRKNa3aT5fRaFSthKC5n1N32AHaPvuS5c5zSvnu9Z2SUVN7BvQcj0Z7VLj1rlAhxecq5z6s2zItqzO7tfZNnmiv7E1bTo7y1ffRoKgfD6X3br4VyDuSlhwIlAsdXXj0CJqrHy/5lihslwoLVwMTT/kgdqSXVZOfq8BDpd5QBLFplp8ZiYmAA3Syk8p2iVNbUkAJG9+W0BeFmuZ6o0L7UmaIhkvCVSrYWQ3l8Ee0VZd6f/CwDVurX4ZPsVYMv7nLJ95aEggpSracRKzIva1aguY8NSIvTxsM4Y1E0Sds5ZlnTwqK7t2WUpR96H393wtFA68fWfc+MI5y9HYpWF/v31It1Ix1UK64mRXUMo9xKCFusFHehWmgw5d/0Xm1LJ5JtP3ACobqyLULa9no6z647+Hp8GJ4e/e92tpWEav5/JGnFO6UatV0GCowB6+KKruJgVpRmPiKE7mevUJyBSJbn3DPvIpMji97AFkMJSRk2BOrI5uDx6tYL3KEZ0bUHOt1NRlmRbkh1Wj82qD7zUJBiTrQBcIpxGG1HCyNn46J2JjptaAbcbmrm3Tgqne8O/r1KytHQsqvhvfCJ19uz/MfSCQm02y5TAJal7aOK01UpLwu+/m8j3cI9+HLk9AyLMghsmat5RsQctdfSo2OPa99TMfBUBK0iYxrrh5q9C4DbgEPdMu9yLU6QCqe1skgPOCMCSesztE0AAjHFPA7nzIVuRjFagU/5hKSsXnYPwRyX6IRExaayGcbUwE2agWlyx49CXuQPTWg0hlQMrDOseZhhAcD1T4vCQiRnnvkLv3py/V0bs4RbUIfXkA0YS+N6U8HY4Zcf8OuO9wgJfD/Y2zuDPp285KGlRFMSGNdLj2jxW3TXkR3DOwqa5JWqT6imBCRSV//gENlBtKqcdgN7RgHydjVO2lU5T4SaVob+L6uOVFnvWvPJt+xEcI36YVZe2qbX62j39wqM8pxmcAtFN86RhxCVwkM9Nj43bWfCbiKKkD4Prx/3jTJ4Cc4xGRX3mcY0cR6u40EMCTn/LDSbgF0Kcp0bZ70y3wVozgvZPJzYkFmXnwFa0oUpVImpuzfUrFF/QnWr4ya/SUDwF2bJ+trl6wlOlGuUKLomjgx4TSrgHsaBXI/dOp1cOlJsOD8YLnY1UCpNvpp0P9mV1ziXUaUeYJsu2zZpTeTmwlIJhy4dK3AkRkmrLwjR1+KoQ8KgIvoFEF5yCy19lLShQtZVpQ0lNiNO3cPF1LdXl3xn0OXQkYHx0nwbYV0+4njFseh4VbIaEcK0xEa/Hkd8mXjrO4CWwnwkiz2PbN+BhtVN5niGBoEgDcjEH/FK3jn2UEMXw+/SEgHbjNburZpiz8yma5UDWffHhsQ45OUJLlvYJQxTdmUw8dm0vpGux4G1RO3yMdxI87TKlKXFVVsp2oc2ESLPghLndCGSmmUOyrH3uYaPgh0sAcAe1ET81ebsbRxVpmIMHZuo3/VlzJ9cGRLKsK9A8cC8jfcb1xLRP4do+MJmdeWc19dKWVk1Pb4pfZvO/+K4GtMQQC1vcFaBO1YpLF1+YG5wzW7Z5B3GOhQ4TJpvxCQV/Xj9RQ62HTQG5FCyxSme2vjbUWSwt8aMx5R6UGMwE3NUFH5M/h0NRj9e3YC07CYemg/I3fvtefePE/fRI1ClKfTExWswBrFMvPuSF6qVD0tRL5UafeVVaXVc6SbySCTnFFDwuhtNAuM1KzO+CbRuXei9J3oNAODbOPvZFR6UX75sTBJHUpPA7v0GWmAW4jGS4fWbsXwJL9452n/NlUSwwiu+HdUbgfx6Rg6MsKzUh50fpsFFN7mDjraR97XwzeFUsHGV52El6wGLlEjXkHHwnidHMDnDV2qVI0qOed6V9oRl9NPMmp8z2z8/Ssr6zR6XKJu5jNSfKS5ehS20v4mbF29/qoIWm0c2mP40dvvpM7fcSascxnUmW76yzD6MPxYTwtyHj9uPHkthSlhEzxO4IIaR2s3RTydoqVeI4xACdXjjwLrq/0MlP79fJsIr3a0imYSn+/Qml/zWr9WM38xkvuqxEwg4cFPHqLUTTQD0Hp5vZszf3GfFjf0OD9BkqK1aAATQmBkexZcL3iwIg8K3EJaBYinWPeaGZJab+qj7blAxpp/wvoRyCFAVFdk03WhF4MGsuYts+5gIuvBC+I/hb7r1xiqK6vDrVCks/sXaSE/Xmi6mUZGt2QaFSQmyePiq3yQ21MLTRlXQBHEvmww+IcWc/CJjjXXzX1olIlsJsishFJWr9DwkV9EpTcJhFK8MwPynnMfbmpkltkHhW4C4PmsWbaanoh3TwzZam3FVkd9DiflM2vfvAMDh4C7az6hkS1zYuOn6QPrxxXxNkFh5NbI1HAjtVtHW83yN4T/9aYeFL/L0LeRfUMVNV8HYVkiWd0SkyYUMI+P3ihL5+61mQ55g/cT73ftNpu/0u7YCjZ8b8nF3oympGll3NTDmsZ1We3WTOaeAs/chp9dT2bJ71X4xAkfGWK/r1vWiJpwO/C0255b+s3t1oyG6wj6bVHsStj9GFoXhzJbfiFC/MD22M4WckpjnYny1010voCDHpUjtNghNAiVJdhKHi8b9xAKABwSvVMqsNXzrgxILyKNd7de6IwH90CKQz07/JGKGK/5cgsh6omXgMsTqCgi890GaUHeQcRbD4Ao8Zyjs6yE1tG1mHXb6Hks6hvdMCLTCh+RKc9gzQKeN4COMgbCWlUMEjSZN/wBacqk1mDPU9rF1p8upg1+aCJKRpj+5WPjeAJJZRy3pAaxc9i/XhE4ZdmxsT3Bqvex4V4hXykANgGh6xBS00feqkqdgp6ZByfjPc8w3O4LJxqjOoel9mzevfStNZUCCAiix/t5LbVmTjX0D/VMQIwlv2l5MfxpsgXuwLsU2JZq71w0rWGcYbZYm0JrmVNiB5rfd0tQRJUmEnUoNeOcX9XxYF1mDUhz5I0pjXr4BX+qL2STze38OtXGP8McxRRe9SvbeYe1iDLtPbOCKo7Iy+Mh+dVL649hM2nd5Ah0v8M+NZejZvEiHlpibbjEzEPbnrqCDgBaDUlS+jSmxvD/slyOSx+/bh7kxv6luX0Bi28oM4RvyBDhVNNvACcBM5OctCYnqDDaO5Vmwv/SjVDgjwTXzsKFovX9uaS1gCYbb5QZNXuForVFU1DPz1M0TJwpL2Q/2b3DSgLV/Ddo0UM17rez4lo+2HHvVVEKGGANlvLxW1qeu4zlZi8PIfKX7CIk/FPE/e+OFYT2gwvkA31Ssrusw5GBBEM/7bi9KTlUF+Ing5cz3bHLuNcyrqTrgmcrGvgFldhr0TDqJZf2qEv9GkZL88kuXIsHYmRLuDiGoaURjEA1uV40cdSPSSNAKxevQGb746ddQbxMTnpO8kKtV0EbB3IzOuE7msW87M0fAAK6ehy8HY8WFP17LjQHZF4XO9Ko5nF8D3leGsgvkvUrAmOhDIj+jVKZnSb92K0I4gjvAslO4tEZKhrr14MJDPyifJt6Bd5Hten8LMMvNRJ6i8cG28SkdhToO4XtBSVUkJKCqhLMYci08g4CdZwF371bCYxy31bcVjJaY16uvV/e5fY7M9JbBoIxFccaAYE5z7JDhclZ14OD8oOCvKSaB9ccbBS9rJoM/AKDVnVThEA6+P5Hrh2TsXV4Ya/1Qr5WUGVCGeyZB40xGVXvYZoOGM/KODl2ZrqQRMsmbXncOIkSGCq/ZYoVmSBz2JNs1qsNRpa9JOI++SX7IWrshvo7joCied77kvAyW32Mg+y9+afczb1WryuViFjmk24j6gtze/0wCRvTonDvJBXZJD1ZBm4FmOlmTbUfEWs+QsTI/H0nq+r+WHj6rEWw/bsxKJhYA5Lvzv9BJ+BMk4FuQI5UZHwRgiOHmYiAWHetfoELyzdSsvPwz0V1bYiWSsu2Scvc7vRBqzj/QnWIu5oo6UBAuwqUyQlXPL2fFRR92WsB4N5YzG4As4cc6QvYuWpJF9BVD+QdzCZFWSWd0XA9JXy5B7ZTo+bjWfjLSAGJqP4X22/iUO0pCofh3FxBmqo+XVuPFGwmcL9mGfL1gTXmy+QK+/lmPfbRx0aTH8oBo2mNeOqsTy5NpKucuRoM/ZCRqoua6e8XclQmWiaJ93ithrCPJwjPSFM7C2Ro5aHdewL6vMsX6HVo4vkYdk9pBruzEYQfIRxHhAf7jxQp1Q5ug5V80L6YwNlkPI/v6gk8AX2PzKOhbI82y8gXVkqQek1zk6vhsmeSzdZlFXxS371KfOTLbiYBbj9Q+ZOtmCnMw+V1FA7N+2K6DrO90VnUjlGkUKRer/UFIOWvf5sOA4riVdfpu9Daxs+iOmoRXLmZl2zxObNhyjBoli4Hs6+TD152JYzZ4yOVU78W7h3NWYLSFdzI4lMYCS6ALTMF3znhZQfGMA5kDAHqJlx+bmMwDkyoLabPjr5qjjvO5UxOA/BBL5f4rKnbOOa5BD5G4cHCIn0+ZQHO8QU2bnjNHA7j0T+28WQRoZ0AkD7QNFM/4ibT7zfI0/eHS1ZkdvoEqqTBZWK4ElZySKjjZX/TfBT5dbdlG17T9RiaIyZ/tTkKkI8xCdTwq6edJAmrf7j34G30wx7bxCn6joR1gwO3UNMFLo0ZZOxLHWorOopdW8zXitJ+RRDX0Ho9w7DB9Y6Mp65vIzCgj4kyU/k6229jODZxw9ZRkjGubMV1qU11E3pwnh1xvJS59LOI/54LMmvQopglzWChx2BpQTi+0v4zJ6awF2H3c/n+q6VvE2NFsa62G5C9HJz6xuVaKKlMeeja0JyBMxpRp2AhDy9xNvsIW9bNHdnmvGJpo1slzF5fd+/MMU+41/xFMCE88ppTweTP8DW3KX++UfXj0s9MNMFicaWLcYs78D3GvP7YxWhHRh939ai+GvR0RgJifKFo35MNw9kM3Ac/Iv5cBU/xE4Lph6/iKkqyYfUffFyYxc+38NBkKtENBI1NG5l/EJX0BNCfvHTjdnKF8HIZ/peHef5WuTTnIWt0F2HjyIiFbezY9w5PCA4amnQ0/KTU9OqUnTfAM06MyCngOaHhAte0FJTLUvTWqHFME5iEo/2V80MDuY+mLq36611HPRyKeY/Ybaxpc55Aoxux2AD9gqHvFbZe3Pfne8LxSSO/r3LwFDhsk+jIBdghqvbGa6V5npqpOZERpaj9xtK3maQniaWVuOYCUxoS80y1OsG9aEaAJvAligW7VLzAWA2HAepLo3oFwWXdvjL+7FsR5zmsa11SO3VFmu1z834XcKQAV5HzwbMVLjj9DGetr6fZKYZSBhvyg/kOZCTIsdAz7RaDcV90zXtJNsQODM5nJh3S/LobJLgzdg2vyogXDdE7GZ0jYavc505c2C5NxGSpbxf3esR3/YDPYERB7bicV3YLs330qD9K/cI6If2ND9P/yugQ83mZ/NUTypPf0G3eHWazMv8/cK8qPKzqw1ZDajmR7ZkEF4/TWnqnG5uYgoLvhjJXVQ6NiFKCWuhM9hSjRIdj2sLPTPIccdbcPbC1ZrFm5rdiu6yVdh6urjdM2AP/Cv4I9klt0WRA+RtYslgDuWpRRCi2TsZPQg2lpPHNBHeVf+w9vZTnz9uz4rOM+G07Fwy6Bo1oGjUyFFW7A2rv+M63CuAc3RHhPRbeTilxx84HkVFyF25hkMIFrHNIMWM/sN98FIE9jzWSEIkXYw51ls3xZ1dA/q/dTg3YmRO/W9c3cP9BXhHw74IEr4cwlnGPBcfXxWkV36K3HRYVQChnahwxHB8/KmMfWH8IkLzMXaD1Q0mQkfZlOV9U/yGLeDVk5+gEXO3/pNPVJF8K+Iq0r731x3aYManEx0a/tExFMMxRpeRE2MHLPWXA6WGW97e2D7qichKRDlr/dlA3tHgDtreH+K+YuLr0ABW2vATOz9TNpGG2eKV+JechRjxZR6NyYdLmTT+PoL84hloqKT3sYkmeIuiHLX0FtP1qjPKtk1FE3BlSNDVznDLvvCTt9iDYURL6eirLYsOO0MjfUQpWwrl4LcUN7Yy0aOZh+48+9bO5JY4oRfzQacNytNNtSyrs+iEHXGsIKh8tGew4y23icZgPMnwUB2GzJGthtj1oH5uvGWaO3dVTtZi6vM2VhsoTed4pi2laur6A82ueFkhpy4AiQrxxYSIhN2jg2ZZmzONjTu8eNK6okL3QgU0zaWgEY7fOIf5ScnhSmYid2gj3djGLUneNW9vgZbJWXfJTPlw37zAMV9SkxZDchrA7RuEpAMJtzKvKGWgHTnE03mHdUHuFx962PzsQ8cnst5KqbwW/QFUq4MsGlTPRAmfmI1zr9vQ5uU1VX6em3M23taZfQsRiaUPlWsaAQRvROQC0s7npTQXZFWtqU/RynKn+ernB6ZFkIs0aJvCydWBv+QlQoO59tUDnudxQWN0VEYE2KrCzlYkJkB8I76uYR0vef5wibMplay+YRLxUJrIyi3T0qPg8an3kT6Yzh5P1IKpesH5db63Fnj4YPnh5e1VQ1xi55OSUgNTTxUxR1p5vSJqZOv7jN1bUGv4nXxwY03VM2Bm2PKCCHpQV6wKoYVG6dMFbc39XbltPcFHD3v1fdBAouMkt/KOLBcP+BeXB5gq2LaEw5BMVaovHxvvYLS0pEducObgvkVvD1rR6+WLYqMRJkdXUNHJ7h2l+UN0raJJkj/4/rBKKzdRVEATKja95Po5fo/m1HQeCl0/jwxwp0urqmz0ieWuIikOaX9QEBgmPYzjfkwx+/3XkSZ8+btU8FSSaq4kAI9+TA8q4y5W7U37nuw/DycOdzdms2dAM1WY+8jtoxxVAxbGy1XWs0udsMQ22uGw1YD6hwCNSNWg0cV11bPevr5rH6jxdN+cufxyeCu7bOZ62hRm5pwnaCqWh7ePdjgWfeZI2G/GyK76IptqV6HsW2mR6agUGxmQJqWoy0IPHTpl/KZ/+vB/oMzrktT/i9OeukxCLy7dGLFWh3jYwt1OUTqEMxMpZgGXa8a4v6tZ1ptikyktOgSetS38VlNYm+QHKNEok0WyZ7Gde2TKjGhooobvcdZ6OaiQiSoHS9eYg7XoLAIfagZ3+Tzs9CvgcU0KXZcUr8mDHFWcsn6mgsU6AjtVDYie5gAXlfKpmyyFTwlSoOLqDC/qsRd2nhPIC7Y5qSb7SxczNgw+33xzCj9Lty1ov/AkKNnigMu8dlqzULPNQTt8MXtcKbi/A7mignfph0xQF/4o2qSuHe85edPkuzem6NfBqohQTn1LwroIYVpwvGBGTKxcR/sHOk379TxqzyF/xkaTCQMcE4+2/i8/Gsccu0kbGDBzN5R6lIRJ8SCHy3y9KDXuKdhc9nv7iHW0y/YpOhSJEYU9CjLvFWYXD37ZkgfICksBdqwPLUAyEQ19PCeGL47zhEuclRFfwsdg88hyyIGcGzgXs8Bwuueh3X30CrOwrXlR4kcvpeoQC/PnkpSIDWIoYxbFg/Y9qIH+WpUV+TMFvJwf1BEPKVG8aZP4H4o0JBaKZ0qNsgid4O5rL5AhLAlZHsFkD4KJnuQfW+GNeizeZGs5TKSlW5iUCST48LiBo98yf3BLZ+/DnHYWGj0BpEvbP0em+k9tj6j6iwCa9a0PXNtolKzGZbI/FY+t/3OUO7kxS0oyqEiMxEGtfJBkRRAFoYGi6jo0X2y7Sc5BSXUeqWdGgvmwEHgusXAwlzPnfFzLbJIk7dN6c/vrKmw1OyT4+1OykFG6IOqK4QOWGiRZTqwKyMXuiWacoRvMHhqVw2aAxfssxDSkoUdKggRtOxST9eQHqwbInLp8WXpnxum31/dQctfq2hg5hMMJCLzLUfyQl9r5VyadWDzpJFpljv6TT0Wt6AObyrfMpIWOksnLzi39G0AW09ICD+Ko2OEC8X/A51/SUYkFZELi5dSG8sDRZhGF7ZhmNrE+WawoKnv46SGaCGFxIjM/l1FMD6bBsMEUggnYECIMXlK2mrqJntOuZucJ8vMAdUXAve5EUONiZNNBWps1bkvNsVNUsvL1P+SrZE8C8LFlYjCMkwfwcJaakwHx5PE2Rz5NxvbEYRkvdny+u71EtsgbBTeokTp2fbHS/91Jl1wgScLAxVLVzihSRDPrWG+ShS5a7i47kkf26SDrB8OI/hsXCD7WzO9j02Fpw2gkFm2D6NvE51VbRf2fSFUpNYZfCX9QtuCUVr5ILQJGdvGVfxf3ieGc+Kfk6NrQHrqWwDMvFI7h5H6LrtG+LAxMOapkIP/RlL6AA48eyVwGV0A+XDarw04UOwD1xVTuFvIyalir5Eg3EZfrmU2sdHsDSYsUEBPldtbrgvfg1/9ijbtxRtGLLq4cq1rV3PJaEwwD1zkVqo91DjP60X8hCTsZchG/6Za5TopntnP1jJ9Z94ENyiVqtzEIcpiEzPuQOTjhuV/RYUGwXuzi0DWEEw2SaBmOFAfeI5m7pOj7mcLOpVbMBgAgvHIgRJsMkQUymf8F7V6wZ2au7kNQNF6BU2WRbp9unsKOFsKMiO5np29dVd/lnR3WgXb3mtHbxIoFwgcixkp2SxmIyor6C3n2U4e/ZWOdahtuc8tI+oHiKrGz7hQfuQipKYtcSsu7SHeeDzeh4oZekYFl/gk8Tb1e0CLrz0emQOO0z5fNQVkiNKrFO77CwIWeVnPpC/CkJDUxRKf9dkAaXGjhAjiL3/Xi9Y1xT/Wxjw00xe0iKbKJQr74/TQGOU4LBJNlt24q46Ktx5wcanEmaJNQ0/TvqU/LbmxbLhy0YOYREiYEG+Uq2X6hR+qgC6v61z6WzGsLsUi99HHGERwaWTO8aAFhheG0K+urBDA0ad43ulcVna51Gl3kbhxd6u4h5c7VoVB0p0P6JQzVM5FgDh2Lv1vj4xRGz+EUa2siSE6BK4xSrc7Ulp/zAEtqBETWwLnN9QX/Z6vUQq3J1HkeDwfmx3lmPkuZiJ2IWKgzY1F+i/uB3UxrjGn7XkWijlH8QvWJKJqJTBFdAiAAN0Hst3zugpm7JkSwKIVIgqASgZOZdj/2cEdY1y+JuEygz4uVnMVHPkBzV+jgfVQU8p1CUHzCcdGQvntdSuQy+qho+AQyJj7ppuFfzuS19sHEdz1i3g7JtDCbhe9yuQKQkcoWRVEYSBU0Y2JlTXzO1nBI4iKuThJ3bveFPzwqG4BiLBS5pE6f1IsQGBbfs9dZOO1XjncAn1xjXEH57QyphhU9mDjxow8+1e+6EgjWcYfaUe7567XYBQEOmFhfxs9JPlaaUDz/vgqxyVSiZ8Na/iSUZTzdADxBLwBxhIPulRiIZvDeiLeGipy8c0iiuL0kxu3VPkAl29aBUM+UNJgZb/SvgpXxmtmCj5JtZNmvkkOcXWjwO0bsjbfyNEr1JiPip/LMXcaqYzNEoM7R8vPp0o5V2W5KsX9dT5V+thW00WRPRVMmAKpRyjfosSbHS4CiwVz2s/V9kHVzLTdCdUQU23etvRV8Y5zhAPeno82syTDrcfdV6l/E/wjLpHxRxEv+r82FpKjBj/IX8XxgGVpADtw+rLb5hNYJ59UXw01sLKHpEpZwr078Ipiw+kjB4SJT1eVR+pYyOQEf6FRQwGSijmkGqtbnPdigIxrLshl286VU39gVUWfHZf0cEFk6loA63/m1lEK9fOYuX3VJDooZS+2fAAB6LcFVxjTZUcv5hHii4WjuCjMf7JqrMmN95FKm4s9uutBkFNAuerdRQG2mpQy/lLVIqNXptTfuA4sV4L8I5P+tlqro1MTqS57kgg9phfZkov9wbFesmNc0S4y1gJMOuThS+RrS94YhORAZXLHiwQX/now2LTyMjO6ILoahc5ZNSDUwFMPf8J9ADorQE+pVuN2XkC0Xihe5bJos7Iz+dDY/L8RcvbE7a5jeHPbjEkM8LOaGzvxgSNzVrak7JB3ajYFVChUTYegaUsijUS0U+JKDFi/HubbP2BbfpeoBhdhwluFx/fg8YtbvHY34fJV9ruijq29OdW/tGHNUIqKnKoHYkDx4XNzuzwmFO6QseTr1Q0yB4VssPKg+INs4IzEkn3NRUmjnP9Tq5fBH4iTecnZe2DaqeKXPZs0m/BSteYWfx4t/GGzoh1M1k88AGlaNXAUlmvrFqJOlTMmYwCglxfIFl/3N7N90nq0hux3OuYNyfLsOm/owY7VPLtgiItABRW8HfhdwG8g+fK0INMRK1emK4YA02jQhQ0a1CKPk21WdTy0AQEu2xoMOSUpEnCYGqd0BfuBv5N/s4MlcZWysngvczztSE0PNddKcuKJErgjghChfN2MhmVEmG2U8zHTHQtD5/ZzSDLCCT5YmzlIfyvncsYAhZJU3IIY0NTTCip4bl+92HUuCIB7ou8lbDe6YQuVGi5nJSNyg2P+ycZVMH4TgKJqw/pvsMDXcsTw+fZLRm62kvTdW5kdTGI79yPL4Lwh5vQXyqqM9FSmJnXw4EWb7gfedkJrlp43wiID7MGVWh3WIRf4s6g69cG2zOKrLd6i23nWATzkH80VYQNIpHSSGDkI6LHXWkNWiTmuJDGeCe4KFafJmg27VNElYwh8DugBcIpKIWv2tXjzw6Wy9zyZOiEXXpOf4vRYgciqUzdiih/sKDO5MGAaX4HtOhN/PHS2ET3bLEzxrY260bkJn5/YdpAlr/i010SDNfF9x/UibsUPr7IuIAopJKhtrHog8k5jfE5MqkQjVv6g5AUP9RdG8gY4sHP6Dxg2PJU/xDwfI3bhShss0I5pvlpV+Ld7x5lvOTwozNUKb0W2eWpXsURkc+3IdAWRy7Uj0FD3UStb9y8H2Qj54o1cTYXtgUMmcPRtfT3KR6XXgtH2YAjnXyWgd269DsCCg+oTYYdDGpGvMe1G+hT91ssDJvU5wweNaIYjKdcI6O3V7NP8j+8K68INKA55XcPZ1/QjIP2qh6NNNV04yG1NlaZDE0ZxfgIZZexmofwvrCIKJdWZfsxfOsu6DZM0ap0tKV16Ss1fnvg6rH++mY2gmgbmGazUHf7Y6WqtAOCg3qH4QBIQAyRhtKb0Ngz+6hf9WymceKfkZPAqcx35z9C1v/saGpqoecPbvA1W9QrWIJ106Lad+M49YajCy7xNbkTsgS2CmD6yKDZ+Baimqe3kO+qIUfE7hUsU8O9lweQOJV0vH7cJcWzN5QWMia2F/Q/8CbJqf5hT3gxyCMNj624nURPzMLguhqfJdl0enrzvghfGfbnNAfVkWuYp2JfhbFCYOcuNTivSHPh0jUNOvzCUBozNioyXUveW6r0pn/yWZSqKGmhQcTvy26wRzwimYIlq6uo8TDNsaIQ4Y3eSrNOJ9FK4xNTSkejG9zvWfRAuXrxsiHSzzpfy29AI75H5c5fvOvBFhinMr3Odrb6T8qjiij3pohbiAERGjk0RLh5pJI23m08dOQaW41/hA2E0knCJt3zhX49klVlY8DtFdQXLSJajD/mRtLd4N8S55xQ6CiANKpnXo4Sap0fW+m0UQ3ouSKdozawXJtaoID/5qmmF5Few8osxuiJoeyULWi99w53ifBqiFWMdFjUe7md2mkPdZq/JfDoceWPEp6Tvv5Vt6iPdzeqaiEHH/qDfclxUN1WMaNPqgLT3FkoI7zZNRG2I90Cv/YYakX/NfZ2FCrvpUB+JoBwuxhwPGzknGD/3oxZ27ZjlGzQNi8fYiJcwb0umsC3/fhml6xCDnbaHlCT8h6RUTTz23isWFXz1XL5p++/dVbqH2TtlwDFfGFE6XJqQGB/n48dZwD1Fu0BFlGlqobU9z6VNdF2+r/xsWO6QR+uObT1TUq9+GdynLt6guEamfmc7PAx6QSuwbMQPk2/sZkQf1se3KxRM3F4Y0uwu2GfmytxQJqovUsS7Hh7uWCdZTXsTKdHUPaEFX5Y2FDuzabNpKve+cBQebjc+0dWMJgh/y3HZa2sXkLu4cgvxvrTq1tpfZzRq2kR0n4bfKMaRG/XB2CfKUHGzGm5uRF1G0hNLNxbPLMWB/F2olqxB6ar+kktMKF214FiooZy1iFDoc5ydKjBIUsfowy39pUJ8IV2/R3To1hH2c+bRz7zvu90j7f9nwiQmw9zGp7u7fYTzZniwNz4MlaPwHlTGt254eHgVlmtwENyHMEZpqlO3jkHBzIBVuiHCCJ0s/A8jFUQ/PqG0t5mj/YAlkwM1V1VKA2nigquSKh/RWBE1KDGGSO3m6/dPaILoDB3pvHTwPAEBp9hXBBiA1ParwSW8PZ3tVaKYklIiZz9pBCR7/MgYeaK8VsJmGz3GhmvfN3wPT8wFoQirsEEZUxnu+yTG+5UCHXXpoY0t12O9/+RGniQP2PjqO1hNFIvukjtdZpNi9NROEQpNpl4IHbT438nyt9U3ps5iwg5ZVYPWrwyh3BvRQKpwUfYSE7Jl3rJ+7GUuD97vtuSMhq/MZNgfpBG5otI/VEx+iN5S3TCBBvpQCX1yzDxZ37q4CXZjtkNMqdTbr+0JbFL3s3dpdOf5Ep5g6LB8RpU0OMQMEuQ4qLXFYAoq6D6VWgSaxQLCWunV1h4P/NVCYd7NnPpQUaVwdYVREpspt4XDemVAFgqxtu8PNC/kg69anLc8Dyd0kjZ/FFLqIaumhqUS8/A3eIdzLsNZAU7U8tf1bw/O42tZPwdqMRo/3oErbLaHmoM8sSncnAlXRW+8637e01yXhZKh8gPkxVXSPNxV9c2nmX1z3NVEayXFxKRlv4QDf7Dg7WgK7iUWni5dVw9VNgxgHSh3dATjbP6HGsYmG7eL6Xu2LcRkODUnJfKi8dnB095SSgIxq2g9X2IuZ8f2MEv7dmUHEpmHTTKsYmVC2HACITYtJpgk5DelfL1WqvXfQ1Qt8S5hSWPa6GSTQNC1ktsmxoGcAvpu5vjQKxcT+AUOA4pQCtxDVtCO5/3jp5V1GMj1SX4t1lJU4ZjeoNKFfTofBx+BB9TNinm9f5WAyYorTHDruVk5AuMTsDYqu/T1sbkVdrTiH2jb2JraJhCSDUA5wkdkmEZ1CtEtGXJ5ceLGvg/aZ58da7NtryNXkT30jjtYPeoSIkJwLn3QbarSC5hKFPq4XCwAOCg3OREB97G+8vegtA9pGXWK1GKExc7srh/4tyMY0RFQ7cj46lFg1a31NdcXyyIGFaO+L1pPraC9p8Z/I/miEkWzWPBtxOA67koPo18mUccVG+y78HCqXX+y15EscC86cfbV0w9iTdooxI6ces+XJK38GyUNsc02GQ97hUxngT0LdhHTGJEt7r/dVvtD5LOjVn5R0SFUvHaQuTUH5p7htdKpe0OkSZJZGaY5H7bHhGminAeGjqZpol/3WRMxAsDNjEQz9TLZ4Wfo9zHaXUklK/anm95tLMsCjM/9U8AG23MyCxLcjhq8v+KC5SKyqnb4SkQ9av8NMBNzHz8RZPc1qxc77venyJCPUtbVQ7GCYUFfc/GQB6KeUFqgz5W83KMz90yXF/WYsteXrCy/eotGPyXLwAVAK5WrmCQaioDDC8kc3ISfSc/P7MJMUQAWtUK3On80d0/DAJCHZPoGN2mRCk4YhdRda9lg3T53iwiH51ksBE2MVeKP8W/lb+HMixk03rQ1eIvWWYFI/Au8HM6A1MGtZ6UjezvmPRCX0+5TSMBIbZ/ygeuPlySfwuYnvOYT0mU37X/1RxHrC1d2kLAWiFn0qVH6Mray/cd9O6StBliptbOs20AIBfw29MEftVK0uwDEUw+Am+O7QM5qSLnBEMI0KQLduNu/S5eNxnZGIVkC0iImiYfkdwanBoe89vSugW3H/d/5qvUQ3E7dZnBdboBLaw4bh4pzAzVET8RB9dicG2qEgBwjJM0YeOaP9Bmu7ZBHJVKRr7+qV+GsPHLwRpj/bSn2LOO5TSoMx4FQCmyw6htHO2L1qFGl5w/UjAqD5GwN64fnQEK5tM55mwChCXV0ZOApWmJIWdqWw8LUNcuVfByPhGEVupWgI+l2HTvkkeTkCAeZt3Uo815ggX50UXrcVJcc+dZBRIm6KsMjJ/2sTZMxBHW/BEYb6hWkusHQoQpw764FNWT1UAs1UqZTkQmQQ1HDB4xKAq6trVN0c7nCoajdFHw2WLiINmxwzdi3YtSMg9tfzHhSUnySsZSsXdWmtcAoCQ/kGnSZP8zc4rp3sdpPa4xyzk/SlxU1EWKApim6eLk5CFSDmHVPd2EoXzUztZVjEjlIge7lz8RN7+Po+hqRGSmA3d8TJspY3i9bmE5pf3BuOfh0r30BpI7AOSx/1RKIc1+z+Ve3ULOuyi6uTFzE0oPmdOiDJSs+Hi7rqg82IaA4GaSgUARAIbYZGAAHLdSP8GwUJG7Mr08ybjmtwEI8SLSk5nlzKv776itOsC/2/4KLuxthmmsE4shKi5xbLPRPdGCkgJ+9h2ORwzryybc1TDLMeYHzIT22pRhJjDTj+U2xMpPGVOBt7HLL6yYfYh92yBBvqWqC+W8OjViET3RpOb85KLaDr4lgSw5C1iz6oZ7REzSTH5MhZLkWCeNOug9UM6MhxqSEWHZnPWDHmwlYWvpDKB1s+X6zizcN5yKFAlT4e/iwov1kJaMg9YYhDqUoNqYJDOXQT0/GTRDUmyugUxH1O3ubT+qdYcqr0La+kVYTkEWAB2SdE5Xa6HhfDMAUY9y3qQ6xYYCf+yHQD7E4XoNzJ5Gk1kUbhGHN8qcylqzBADZmrvaR3jRgtsRJMv5qMe7ZfcamOBHRX3EYojACs6wx2lGF1HFBISJKv/PxOcQjGfXkiT2wodQrVnD10qCrNn4kRg+YoI2jXt+Wti0Ad9Accpnd0Cgp3PBqUC1vBbnXz21yIaQvlgtavlzpc7VrXpihw/Mmc2ZgKenSkRfrpVQgiKz9YsZZtwsImNTgp+VzVZa5DBsMsDNsp5uAQOlb2YRblpJsfZVBC+ARQf9ENpibMjKpIyKq0IpzfXoAbCU4jvXiUa/13couXrJ1Hkph8RkM0gnMPMn97ZNpHxjH6lFhhpVkptBczWIec4ky+aH/PSNqmN4BDIR6E5JwhNV4cnwF8RCeOUbcgbJagQ0ydUlPnUGHlqGbAs30PA5rMETvknrC7QilzjfHYyJDHRkP929TD2xxmHiYNpOCeR6qhjeZ7kBZPeYZf4onZgXDI5RPadksyn0CwlajCBRhhGxmsFh/LC2JBUtFP4rjx0gELPJ3jZFsHkkI6SjdrUJ1bRToFuqL3lj4W5yRGFhdMw9idUPahYoAL5kbUEHL90vBc1H+qWLXAr/XJ6phWmdraZRQ6W1VPxwy924MBFS09zP439tHUISHONvMRsSMVD6Y2Ppu7LCoB1T8FOJvxavMshPulC3yU12XsT9AM4yYPvCbowwfcDJaKst3TJY9FH0fpHghsN8T0tsl309j2V7KYjEyPHBzEgC1YxZmJjJmP/W1WGc/QvXsf+fGd2s8KFThItN1xAorcrI7OedNPd4QRDaEKYsYNoDIyEmn7KlvHtPENe8X6Sn0+gUMnvi0JQUw+tcssLP/FZsoxQQQU/3m65u5+eDHGk1OIJGAvDzszUqGEwQdMvndJQFuCeAf8rQg2YYAYwQfqRL0adrJpBWkrZcH0GP3MVs46BfyfOapkPT4k38gPStVzQeM4Xcq5oE59xLwFWOaDYCtAxskjaxzKVrB+M4wpMyde4Kh0EdMAjfNi3P0gwzkWhi+mwHwXHCNTyVwp6N8UhusXwS7BJ4noeu173ZzBkSiMzN+N66iTOPgbZBqlsjGDlwwAKaQTT6nxbfuNbMVlNZ15vk8H6C8qBT3ra4nyLvccSpT+cBSO89ty2Vew5lHmEGlyrIeQYz+jkFFA61vyNRnKADtT4tTU+3akvEsQM6ggcy5yT+tz+8T2rgc1erZuyITWi3aPYkzu2a7EWSqBJc86BRdylJvX3a8iobC5FlIQydI6ruIp0BNjL/+wT9Xyj2HU+W0xq15RIOwaSqCz/VV2z/9CEcwvEWgonku0KlfHgWBz0hlELBdqO4qPgl180viQ2twZCI/3qd7xhU+i14Jf+vw30D/itht4lM39jXspM8Td5GI0JPDopDoBFWQbEW9YWPQ9IPgh8UsiKxWFFTUBLDPd36/5dKo/Dc5jU6rsLJajBPJFeoRIG1ewmQraHPYgxVOtpsIS7fSs5b0gApz1w7Z5zMdPUSVPFf9pvpeJofnyYfCn8IFk5ud8P9IUJgRU5iv0/NbX6t02181rPC+OmnruPCOZqr997vUVwzIAHENPfQdqwwFqnGUNrRAN+Qj4UPPIOcKO5OTeyA+ZGnFxsBXywW4aaeunSyf3nux4C7xp7Kgc9WLGbx6hu6CG6pV42OBt8AAxE3xCa7ASgYLAumV92gU3IzR5H9IfZiyszEHKxOZOTJ9zhUHolZRCITIwY8ktaDXaDNDTpLakGqzopERqCNaoPRsn7qQiub49v3Jjy3/eW6MbGX0VqFwZFH69FP8SUahHUQee4JHNN/1sXt/cqiAF0j+KTX9zDGhKM2vzC9w0f/SJzzzGbU37YkIP6ytqPfAs8b6z1DtAGJO/xAhCBInp0aTLPVqqFo2Q8z+A2gXUonJOEcikTz3DkcmJaPILX2HfGECPJVReGVFktJmiJSDPjDUgDCWEwITiI/y+B9aDPI10Cq+pAOejDQSdZZ/tQOIPHA2/2TqmXLAoHI6fJCfuuurryvtFp/KU4XoJnRZr/a2H3IzVVFb2rgQ08mQjSuKttbNob9u4c/PklegIcCLwsYXZ85XvA18w/rgsR7juSOGsEJu7vjEMz9WmaCHVrEMhpodYVSgHn2QDsGvBDMcGql+zqPQ87dMq15CZtehQ92pwECIkifVofMda9mo1RzyIsmD3ZhkMowCIsJwRi6thLC2ygL7Np2do5FvZAxY7axUcPg/d8dWOokDr39krbxZrGXdcZbFizUjY/f3yA+Cw/sBGnzeQCnNjiZkBNxTV7UhM8bw8Y0hRbI32QDUpkoaQbSDvCbm1zuAOgMMglGFJqhpwkO5B7NPrF8DrElc3eTfkJ4ArumsipZqW2F1U7a6QZuKbOtQJSwteNYrM/1vKaMIt6XX9VW8fS0jaVmkxC7rc3uRI6DgjaHDUVAgOzgIWWblaYetbEqNJT9HO9+npz1WiBjucLF7XXtGy+VakSOxtAKEKtOEhF1/7BcgGipF0WkfVzo9wYCzPxBlsuXmvAICiDDXp6qDiSJDVhx2mv3vUSe4lGY3BwPQtNhwAl0sZjuBpoXqVXruXadepbT6hyIZba2VJTt6NRNv4BxtsLcUs1PBzggKQ7gXLCEKE7Q0SyjNkE2hlUQOkI9TviPsI0TJTbqPE4FMXojgppejX5pKNBLOF/fMFleFoKhNh6B4QSoyY2VS6BbdckUunjYJpuKNDERQSQrLuHTc+ZslIJuAXgvTq8BYhXJwzFKDkEUD4f6gEOq1yMeLVSoIbvfMyYq4+qmZF8sE3yaVcXL2eWWcBeWFqox8/ZGgxotVJAx5r534S7sfMPhmBcHlAWSLF+KiCjbeXwJPyK6b01dn+BFAw/K86cY7bvvM63J8KQFo8aiEh6At8gFe6z0lJ74/rmDhj+IA3nGGiM3ED3JGgJPU7aYeTTt1safGsMiz8kkJ8aw3g9FbkR6kAg8u33LQR0XpsiJ7LJcNZy4Qg3osY8vXeV68huUeQPEiTT1G5IXauZ2nhGgssLk7pFACjXh8iKR/kGA0uTuaAjIhYYBLIBmFbXPykxL3M7VbeK0KK1XM9kDd3FZMHbfDGNDJzDFuicOJ8Qlj5/M17bL6ie0VRFlw2pcpVHwEvK/EZc0kgFTQkkzdOUvnKTXdkAhEQrafruPOy4jGx4KStvQcufln/z5kcpM2ky9qlOmY488awXpTPcGfsENKaZaEVLs868sUeInIOMcCaNvpYzPh5f7oc9VmrEI6RzKq90v52Kk52kqKdji+hxyYjrGAXA/yTRCIjE0QudLwu175VT7LqRclcdGDXJP5hLduzsRIi9w9mYNH9t5qSk+QWZNOb3iJgJ1hrCHyhEer0JBlH1Alzgr+Jgr6GqYgrlYXsuFCIwvJLC/DNW5dtKtZpYmw5ZHpsSDUSoeyvYF7UVvDfF+yMAwtdMtb8zIRWsmAyfnaKCqv5nyRCy/s5AoieNn5au/tgMCOVJ/l3GlwgZCY1of5rTT+ohmQ4LUPGi/cuwvOri4k0oLYo/fJyGL1XlZPoO36TXumBUxq4QoLV7NDQjO7jA2NAhbl1Db8xdTHjtBWKs4tsC5+n8Ku6j7GxpZ8qahr9FJrkP5ZjpLSvm/RGdtbPMcDQ/KLzyR+UkwF0j9DPmXiA8tk02V7lp+8wKFLIm4psF6qtJeSKqiH1H/7/kZYuY372FhERCX058qm/EJyGcyzK6Bt/CZdkU5qE4KoYTSCme/qVnyffE9pSsgkNPc1NXAytfQfhPYcnNr4ALSCq5DIiSD6GA+mgj7NjMkgnR1JyBr+bpMCVJYF9kFVdzQ/CO5QGdp4h8m5RBVTUZE50+bkrWwie8Qn3nNCqPUko3uS4Wo6GUSNsMMosxgSoEUYuX1adHl45I2EVXVhYfeQ6B1prMBMfmUqex4wcac6uWa03AgpLSUHUQ3uJNzNBVCFHayJlOjhXOneQKstcKDhkhyrfHqro4mFD1ZYvjLJl/QUUq1VjDhIMVOOhLinPFAD7awDWgEJCcHsyJKcJRObZM9DJSVD7xh31VnDPmG4/Pd+jAwKqcEiB8GJu8snEjaF8GUw8wBpWWuuyfS2qjattRfnmH5XrpuV6AWkL9ympxlGDrg1L3fOD/G+NEOReJZYU2LfgHHBzTs1EsxWAW8LvfCck1m0nGYIgwBjjCQVA3jMIY3O5BObUR67m62YkIXaBsHad9fiX+bmsslwPxNhvRCaCCVQqHw038IZDYU1iX1wb0ftz0tf+UOd6IK15XeY5BOMVFpJcr03i7n99PpB2wPzJBEnXTDR//qI1DOVX38RKUqtrNZVpwo9nNWxBiGVht3zRkhEDuYDqLtnr8kX4kCQkPd5kcG6hrrUWHt7FRhqSo9QvoDjnCKX+mEFbWjxV0dd2Vt8Wv7T93Y1otZN4T5soeHIdaV5TMjC/a8p3UDY/6afn6uRD/HlIpFpLCQOqL8mg8reQy7LM6c8QD/xp7RqI4PZvRZjE2qARSV6X3XnUZ9k2BzM1fYaw0nhMNR53mmumoqW0LqJC4MrcZjZ82qrD9lN4sla4htwuuDg79I29if9tlNTwRq0zXnkKulAu4/uIXNYECrN6TW8ZjUWvmnk6qd3BaBcf/dg0Fx7NCfLssY9BIBMEgGLGe8G+C6hBVlckIR0/VYgHCTrXkMQRA3s3lDB6Fkz8Wm7MJUpGLk/4EnM3WqTCEPb3Tu36m2Yep3iaRHOFMndEiLLy9XkczpbSD7GwFdIRjtNNoFq8WMfAlGRptPoc86RgVLoFKKKxIjbvPbWaSc6v6xS1pkVyPwJXRazD9/oiV0ShAePmyOW0Wuki9lyQU54NhdHvHMX7lZtsqXswpOOSCJad32p91bV7v54ho10NqzCUOcBArqA0JD++4i9Ws8YRv1/ywyc7O1luQTEfHJAxqD423IXMlhKyjiwaMktQOjq6zfIHdcv6JeT0lXiG/EJ0gutVHJcR/crHJWZ98jr6JDo8CktWZlY4S/FDnJpf2vgLvb4i7+OjwUfn3ftiCCSNtV7gIvlIEKz26Ppo7BBbfq7T5QTfscptJANQFeRY1/zlZ9rd6dQibCSR5FiM14g+Ek3vq8zd0qFQLq/URGak7FIicBFhj4ySnIDUyIYFQIaSKP6Be4Hfa1FOcaiMTyEF0gIwrS0aK9Y1zJY4/lb1HhGe0MVIrUbv+tETSW8krPZrbEEkBptz8SDEWOvTBUI3sHRaplfpOxe9zFkbV1Gtv6A2FMKdJhAA5E8jiQiv0Nfq5/OyPAGAaSmTp1KZxl6ur1r7y+Rwz/Smh+/abf7Wsq0GD6LelrOKCBuzb6unMnwe6XAg1AuvtdYly3MuorGtGyzNjZ2kJ14P+DtfbwrnOQ+jQ4rwsEP5w73w8RikFLyEpKYVonbBI1KA7SELY6xI8cfN7D+AmxkRxUhx30AvMZ7SihF/YKia19uIWBPrPtdyMi2awhoY3BxJZgZLiAX1Frc6+u0uAvcNHmBgX1tamf19gjvacBTncHdGTv1sb5GHDdvzwV3OK8hhPxss+qEPJzWsrIy/nophiFhxUS90mmqqftOI1eftSq+JiSfNViR/rOihyesfR+0PCjuXrWP0fgD4FvlrhqsZmMGCoQytTEbrqeqIqmGtSHYkKbEPMxnMz7pH0dqfEKG+QRL0ock4k49ZH74WGemt5xM2qPvz/aRUYhMzx0tfMws2GAzsiK0FtbsF08YBC2OkugSVte3NQDh26Lk8pUAbW32uCZrMe+jq0lCOxQkC5b3pd4W1MfX7zg2Zb6gVl02VmWsawGD8QzA/uNPpWEqR2yNSLh8LsJJYDDpxPiHntoqkBBkXK3CPuMu8ddwWEzqD0oNIF+iYZhPaUms6LV8xUHOanDQ1Yo2mluKeMP/eSwxpKHgv2Xw2KiziCmT6ahfcDmiFTZ73Nin/721iRd8PU92PGD5ryaWKtbik71cp36BOwPu7CPxDIOwiawvJm/a4sEvgykTIDlw/0Lhb4rbdXqW2hKhIRjnT+Yc6Go2T9vSuJvtRk+2hW1zSU6oSyI6vTF9J/76THrSvx/x9Q9rHxVvo5gg9MHcr1aFkPTUaDorc0ZIpaC9OP9nkTz3Uul0XkFaGj/WHuAet7OJkyQHezKqKtWYIV1gk0ikKIB96yNhGcBtPbSu0M6p5vdIKkLvPUxn7U2i/DHiK+kz6OEtLNxV7Fdym9XDREQ2i2RFdi9pb7Xyru0VDEIwBlJCdfwexeUQy9oJKWwg2gLxPmJ+XIx8Dp2UiyoNbGvn4I0QeyLShEw385uNtzTGLsCTGLmn14x4O8pcbfFHB/7I7xGlQ467myM0kx9hl0uR9Y2eRFAw73+4W009LPDuJXcYmfn80XIlmMzN94C94mVwk5WOIQAS8KjYBDZhjXRtdCj/0RR7R27r9ZRZ82+OISIwBdDpH9nnD1HI+Bh2f5S1vOharPZy6WFoKaKHuDgl38oWQhOGDTRZEvCeE0x5L8nxVbHehfBZTp+uDNAB+jNZ855mHyrI0LCKCitfis7HJozthn8xJmYxTsnjAlgecFzO4x4U+TMu1hLapQe7aUCgIywkUrUToND1Wk5KUAgledPOxENUVbATzsEg45zYbnkpvQPSCqFwNOequWGhfthWeONFFL33KDTGi9Drl15/2wj5Uke9gp6yO8nslsOe+SsDfMk+dY0YMzlQjKhylobnqAoxY8uGFUrs5EF12XN5cyaZF5X4aGEMIOhFadX0htBatPCjWBvaQgFwsX6J2ajCmS/TCHaLfdcyuFCZDiyc19rffYjlH5W3n7L6VkONPGgBjd1vNw1Dsu3LstmKET5ShYrTLKQCgA7cryqpPnvFIVnSjb0r1vMeMkpH4+fTBcmy58koiy1GQAzZJtEpIfIr1118MwC1lT+zG5TnoRWp8uPrM2V4h0ZzI3YjaUAVNJnj+riGWK+7uHoNO2o572I7Ucz6bhNBHEE5FDHNpSIol+Itr5C9CT6QqmYnsy+JeWg+hDWvvQLQV4SFpwpxN4Wgzy1emMNKh3d8EKr5Lvt3lQKBS8peCnbORlChRmI11Z+OEecGKOGURMzlznv8zYNza1R73hINK3OyS4yAJE9bQ3SBviNvxpDuZzl9pGZT3ON9ikJM8u/Qj1uVI5+TSSor5IY7MV6xqObiEOV/d6afQdEzJYabLSFUw1KnDtYEGTozGmatr/uNlaRL5FiW0r4DUS9zSSViYVFdqXSzbMwP0t2+t2I90ghRTYGVYHbu5tnimbg3RE7iUpec2aNq2lUrgidMCZOcVQSKu4BYjA+WRMRHoZeuPgH1tTfGMCeki3RGp06+9YtmTVjRWloFQLOKeRsDI3pD+FhlO0XJ+sWW+crk8KrjcmzfcQkF2yYnZgpgxmL22MaHfmFsDM7G21AHR5PdC5noURnjbNafiqU0DeMlWnIzYfL5qxgqNypTSkfmsPAOQZzvVWTKjSFyxwrURdog6WwuGEPamKrSqw4e36SzpY+ElKy2wT5delJPg4CFrzbFgFnxL8m13fJarXsU83FMl3IYK70wXDLkO/knMkBMkKLI9IKpOYhP4/hObzG/hN5xzrYCgzORxKLJXa7KZ/PwCJ70z5wepJ3VrmlDCCSDblOzj7fafS7CQSaA1C0JERtqlbguUw5xKm+0X1wcdPoJOOuBMcOOXv1TMiYE8Fa3XD6J7xoN4Yo7bib6bX50wb+ZUmMC35AIc6LmQkaEzFciEA76hIc1ovilTe38paJDMJPSTQw+1wQRiBSnhHjY1TbEqsnVfrvXGolVoPbPYI60PNz+OGg0E4YF9+aaYOJBlMST5HMre1ZmC2WtE72wC6tk9BwlXR/dS4tsoV4eotxKt1aoa301RhGtToRQ1gH+arfOOSR0exLr9IhTTg75PBGB26sMG5a8xxjfRLRAr5KDr1VgHys9vIq37bVj4HWifustRCHdCSZUSMr0iNXxdMkOuOmIq3xa316LA6ISLnQGrfYXSfnqS1/Di/92561t0IVOfGScbBqTNBmoX2uiXKPEQs7xQJ0Y+W7qm4qQeukUvirr4ugu7sM1Dl4AjIeT8RUAlOlLvfY4UApvuhmF1+JAczVHoHJoLJ+MKSUsXPBGaUNOl5dbGG6UchZJPNA60DzGarKdBMCBfwI1laMm9QDPn7jREFU/IViivhMp5hb8Na345Lab7mCT6QBPC6Hafs8mPWs1XXBmGihE3+RHHjQ+YUGvXEuclfh8pRGqNanuSo3zonZHJEMotscmuoHF2ooZAtE3CslSDjQiGVOkeQ0kKrsrdwW9KTcaQPC/THe1kg86p9dlVDra0lu2ZW6KN3trbEIHosjXXQJv8BTCvY3WCpCP9J899cKO5xkDzxRnFZBX2Dga2KOHAAKSPsXDfMWGUi7u4HS4WazI7Q+kTcopeJN6ENLCcUaGmMuVZZX8CACfPFeAMl6kY2t8vA61IHwWLBJwfyKDArrEPAlM/rKphhXd6sUzAn505HhR34guCt3xi+1CWAMWaEsJIfVJSxLsJ2RuoZk0H6on6PW0JrekL2uxc9nY7kvyH0STTdGEIIXwBG6OTBRSpiYGk0M6zcnY5yXb6IEb79P7TmaQUTZbzW46H3WatGxo2KkV73E62QrUdXvb5Vx6H8K+U2r/qB85Oqac4NhDnG/IHxyzmS9nGP41q2/5Am14kKszV6GrJNQjl+oBuuv9q87GgXCz+EiKBr4xAO4+ZBUGIArUYDaw+2ZUHh+IekOfE7pcZpPB/syZouKx1/u3c7R1O/IAbO4nBK0xjC8Hbz/TEeIKUozTjd9eG029R0OeYCbhhcqafboRcsEVjsqNgWyLjMVhKIQylBzrOoWT4CAZm1lXwke3XDHDp4VHCezmIpsDKjzKuB1v3vmWp5c5mIGo2UoNJVFbOkUNfnpXOqTUwaORWeUUhrfxQmPYN1PH7rysBEdx0gf+d1Z6yahv1OUvKg9rux8gObaE8gPApK1YWQaQXT9h9kWb7l9qgPHYgbOWczEiDBxvac1kgP6n8wJXb5BDaIWetTB9v6/1B+yMV6bQ1t5CTbLvtQY3j6/KT0mo3k0yX++lrc/3T2WRZA/l20ZNYm2dqWDmr/zXdfNeP6nqGtlQuI94Gxqg/lLKUlI19iKwfp6gWEJhWX3jPdiyqoYJnRTpJ3Gj2/joTaH0am5bSwDQXWAO5QSqrQEXiJe3z5tpmVmHbOe5opgEn/xf33p4wTQjrbVRCQg3O7fX6AGmpm59TKWV/xhe83S+uYgT/6TETV2Lv4G8Gacigl3xeN2FJ7v4Z+jxw9sj3bUWu5jqGIO4v08wKIj/LBSCDfHtIhsybI7vOkNkxisWnToh+E4dEQoIiICh1bIYPPveW/iESIbYJ2hT3tjnpVHm1nFb3xAQ2p6a1MOfUMt6YFRzZTfFzU0gO7E46DgnO/Ugvn16foNctkROOk+dEMqf3QMKZDTjDSu2BnUEpuzZqakF30OZZqydij+1t8caR0EF26rAwKBT9EVjPVQWs6AL+sDG8pTo1gYzTaZhpIAbX2SzAzRH6hDUKBKfnwfG4CodNImuTTC2z1S3I2tO/d6JT9QcNnr9moNCxWXx5PoA9x/tD0Rca+GyDL5yAJzybYIzQWz+qpa7ywFsZIvNPdBPhJ9VfwBNG2IOpTIho9ZxR4BmvpGIVL3E9wDcJQKh5NaS6iSBhx3fajqkc/e3NdPiKncIvjOqSr9/o9wSYNi0SKr7ORFZSVsfC+raRjtPwAHoUk2W68hjRUHZRvuq1PKc2z0YkfKVQIdr4N5aLJ3gRE4aVHS7VEwAEC/BfdC/hfND65hEd78Sx5fcsgsqUIiPvV35HAM/k9+6aG7Py83mhZ0wwug4cnTlhaHysNNEgq6CMrbt1hMu/qqZQZ5x+174HJVFAGvB/08PffSBqIRMMVKZocSBE1SzoFPgBVLQQTTZP1ePedJiBCjXulI4dtKrtTHVlZPEW1KTxw8j6PXHqXuyvaEthEcpAfCf0jtvAmdjTV5mz8h7k9chdhUiIMVGm4q/sh6vvOZa1XHHHcdYHEEOPB/F8z3nGTua+RKo5cei5ebawQx/z46YuBAFkqjywbpr4eBUmC58eopcIWMKt7OI0rNmB1CrF0EVJBFIUkxvn9KJ21yjRcXeYKS7gTDldEbMcCiW5cHkhKQjJ8g9/Qbp8VxaSdeFPDftmOuFuOR2Mx5OaFRWtzt5z+HRvzql9tDukSj2LUpcfkLFD0GBUI4SXdOEHZrSiUMfnJn0kAenAHM8hKeIACThmmPu9pIGJZihPmVc5ILycT7vrpt34UnOukugho2P6cyP4Zrhg2MhNw3FcQTtnQkyKJxlmT2E0SrW2Xn1jv1Y2+hD8fKzTbAQdz87vABJ0X6Z9H9SAUlYwoknGDOg2VeRW7zMZgiIIKykJaWSEiltTZEMl+3hLdTp7B6VsOx3dI7RCANOS83AFIt/dOj7GSDiU71z6OmA65339Vsh4pvF8u1B8REmeps1st1FbteLNGvKSDwEXQrfIdOJxeNQ2UAZFjohzZuQ6YPE/eprUYghGJpiS7iSDhcK38T9q5t3zRq051LEtPH8w1wTAfvnnzgjre533hmvibj21cwUy2XI+MSvzsaCL2vzgbrERKik4lWV9hbqTu82zC6Z3F7buT+BfprruLUizlUkV3QLVJZ+Mg4UaD9zdw1P1wJyTbrJMtjBGVSA366hWkRWwlrTI4hFjfeZ0ANwJr6ImXpgblmr8P62upS1Z525fp9Nh8zJu43KugMweQCcWUPGoHo3fNyN+jfcPQo8Itl3t+Eo8ynr65Gv28xdmjs6aiqH8VTROci7X54Yo4A+0KdshF5yOKWFfrxn2lf6i/7gCQ1oJi8RsFuwxTPzGXL2QG73n7/pdJGwQkKC3aavvkial6HXcfgPNG9wSy1CTVqnmxo661im2PgbJkaxWcIRFEK7TY6rQPRNsvmrhbx+P5igKQdT01LO4R9PXbmtPHUZxyYyQPhZGggZ1HB6FZGW1B/yYMCIO6Dx1jTZWBO7FwcQXP9RDnZ2gwo6+I+B4eJXgQzWMgDYPiVZJfReVMT5eaNlbbYaNMP91hvoom+SLs/rxiWLaiGmAxJ9pbD8GZTI9Wg2gWFotUlmPO1yk0lYdaUT5LhX5tSBJbWFrvREeRQ9sXBP3SsDsLudp5rAekKoJQW81aZ9x8XDeZdu/CTPjd/7gakUD1MbSXv/HP3qx7f3291BsFdOw54troqnerMYy15wRhgKnrpSxtFJf6+QMyW+ld7iguWgi4/X+6oaK8gexwI62LM4RE7sriL1H5vjxjGqT/jk+CF7E6SbPRkZZbhy1+pl/Y+Zb8r9y5iZDDyC6pDFo46MbPnYh4oGpV3dZricqDr25rWaBwq6PzOynRIx1mjkLmDuGLlqUFI9ar6HdUf+pUgs5qDaQf4sVx4WqMnBtyvFzOod/zQT4d9P1gXCiQBnluG6ohVLm/CyZ5tOMu7abBpPB/2QYJmIFNVM81nXjExoCM9ZBZeRbjjnGdpwdrQOiGSBjNnRQdn8+WQ24FLVM23HBI8p9qlXnuIgYrBuy+9YfwaQEPflkDbC76wmFd0MmIfbuYrwfBi2n2X4hSksYyCnGjtoxbEo4MMsMqtE2cSAowMuHzkUZU5N+59nVm/vo9cYo9bCSIOgFI3IaRVvssckjelQCLSWd/Dfa7z9g2X0wu9LnF4xXZpZ9cr7Rv5ZfbSrMi0LWKe9pXdR/ExmJDAOOEw5wp2cfWt2DW5zc8/N7Omfx6QxSBsBRMNtbaahqjB2wLFynu7FrSZMo0z4kxYQu39gFyuBRTk1NkDdxn1+Ohav3MCv06Fd1ub+OiVdfB2RjrxADXmi/XXv8mqWY8MTqk4ay7gf/ZO6O5BbMDFuGtX6nPCHGOTrCp5qwqzomIjQOjPio+JXUJb85VitEd9ZfaNABxqxW9OgmPTNhdb4naH+j67npEn+65FY/ubM1PhPspGebjrFHQKY338NuKoUD4y2cYTNNGGMKXZNvKSrIeMN+UD144BQxsGJDDDX+cZ7C8DbTsWW8bKRiQlYcoE3Cju+lYhlgAW07T8GybmsxPPXfdiIN9lfi+G9Qe0lSHFMuyUSKcTHTAlGtAkJ51GQeWbyoKSbW4ENdDrkLEB9vqvfzKU7C0WiyDgUDF2hEq2SJtH+nKlYWJksdiwutfuGivyFVlXmDaYl03Sa2iMQxWFHHNimbJeNaSqUdLMFYyuN8far7CTnzCPpgS4qKivYrNSk0Cm8eD+tJgSloGoQ/wkmF6L5VHHKRrxPjVVhCrdAYDw6xR0s76+8gUFGN43Mr7H8lj5rSuCjDNiUQNLgxZwRLaHR+G2WQUHqX6E0ln1fQijXl4fJcmPUsdt9DHKxERlRVlCn6ZeG4ihLsZlvMu5cisVBCnzaW1KxASroAEJg1vb3PhvUTJtK4hPdn4qkQ3aEC3rFnW2/XHuekY2Wrp6UzyT5t4KGsUSeizy012/nbeokig+qEt/VEVYrDaLG7ktSbfKuEd5PoXmYY+ovrIoQ1ngTVVbyhZrYYcy1duWp45vADP40laCSVVzRhWxY7PLXDqrS7xGtBFY1Afmb/zGcI/nUVaS8nHrQgGw+fvvz0dht2rVCgZFOfwoOUaA4JO2uPPIDx90/QS+27rHF8psRlGzGuQDH4J3CD5IG+UL6n8WcZ4GOYcqyuKYh8ddcRxt4m0AmcVUpvcbZ6Yu0tQ9rPOmjJEQswzcpZNG7Q0GzXcePtrF/aLMpn9fW6f5sbb5Ap2hRm8cPqNft1tKsTOJTVaF0jis7k5Xbqj0hWtKajSEFM+TxNdqcUcOdMYvmoNNcMqa5hyG3brIS8DH68ZCmUrF4ZDjjodL3J6k9Tx4dxBPKKZjQNXMJITJ2pSB3SkD+fs5Vc+a0vOeuX4miSDbVD2sICb71Aq8SLDMIobHjUsccjI0rkJErWBO9ghs+/Sof8XSsrmxsxW5DlSwCDlA+hhmb0nGTe4pP4ITjoabzlVZxQNFcXHsPv4s4y29d5T9fCZmMTUMJkO8D9pUUXxOhu1gSdTX2c1dK0QVNvFgrmJfX+QUZt65owjLluqIkKSyKWAs+ikkC+Bl7eEMG2G9lHEawLZFKltdPrBA7gsn+0nZGdVkYKQLpmgOYSTFxY7OLpGlM6BncjETTEOulEtagh+vTq1JG4/tgYXH/J2lULHWdjQmlrCe+KmYZwqS+/OI/DHfHvx0z0pPf/TRasI87/oBegs+M1Ige6UyQN+wmEuw4zIpsasc+74eXpPGlq3SAwEOVk4EMujH0jh8seTlvON/DIS+f6LFu/b+pZKzb9Orl3HQo+pYRYSP3eaO3/U+wedhbGsPMQoZ/93bBtLSKi7V/l7GRXF9s/dVSr3335VJjUNEYlv+hIi+/pmClzqVEW4Qq3+O2F+VsqqiTfKryM0Ave7rw+Q/XN5rnwIhRWqJK/elll07/EwM4pqpIUlkcsH5XoXGo2Jr56IWPXuwKkvRwp8rq7u4wl6Hc1Ncwpew8+OQBZkkAMW8fGtLPaUkt740zgGKZToWXJbUiCBw5BY9kgFBUxNfQBsyZEau9yYVZ7D4AhqH5vCSvhWAzlwXt0k6ctBV/pO0+FE8my63kZg8X68vJPG71E7+s6vABGlXCSLl1cJyKXN/2HjrDWTfDwqO/WUde2FWkQF19C/hoQqA41VTUoj1519zsTrvbk2gkw9AMieElWeXXzMRieNrcoJaHTEcP9wUqxAGmFcvOQNaQmK8qtlOEh1li8KUkakkeWranYgojX57wlPOmuswGFVykg/57+IMvGORlbA0IQ1Esoh6SbG25C9s+wlShx0zgq1nI9C8MrpvhGl42Zgdz4qJQb6W+itDAu/B8TRln9sP29meu+ytB0SvYwCJctoNwWet0hWwYF8jJ4b41if+BnFMHvD+2mCYk8gC1povwu5JHzNi5rFclmly01Cdek12pPvnpzAyLCjBZT8Uq+yYfDlinNb99rk/e9mwMTJDXpDMgeWdz/NdrV7mGZGJs8acv+fgtylFfBPplz29iMZePk0MCpTy08j9weAIbK1o179k0w6msp0H0QHrK2/1ZDH+GFz0uuDrGAcB84nAgJKWKmVzSkZPQZR9rp9ltFZ62cojwKEEq/qaWUyJ8HjlL9y8SIV2vcj8rsRvwGSTyoCFvN1sYIiuf2DPVIbtGdD8SvVXa+XFtwVaUyE+oxnmGQuFHMUEI+yThixz/+OnJgUEknOusLQPRwTF973XRLWKPE4Wu5EjyxdRUHE8b61QBC+2F5McFtnU4cDNauf5K8LDI8DbrReaLOJa6uklkbNTE+fTvo7cWIp+SHId6kjwqV+enkoZ0d1lW/SMutlbjlVJjx/pRmG1dHLkJHgvHcJiemom9ebf2cOfOC+XbmLLOPfPzKDJLDL/TUDS2M2Hdce+T5EZqlZOcJfOthwN9w7naL+9uVGp8YooViexvwwp3V4c9MFAHm2TaVtfPy0RzDdBrHeSYkzN2jDpDVNkkIULHr1IynqJw5kKBFVY/1mUlvEEGziIjyQaO1l51HaZmgpF3kVS0Ak9YqfIlLlf6gWbPH3BHqFfqc/KYR5Su4AbGKVXPkUaUZ+fYCqQsgfAWOdrwaX///dsZEb6Da4K9Jy4ufK7zztcXKdTOzsdpHDiFOZ0O7NWBdOE2CJdJywGXetrjGQ64v+3ZVn2c+2e+r01pS7QRu/89Z82Fi1+f32Ypxbhekfm18FJ7tSNqO7LjDEepwWTCDWW6Skm/PBsFEbr2ojVPOXe0HVIlSUjhIS5NNgZf7YjqSJZ2pTg1+Rk/L2LWUcj7aF+X2wf5c3Yo7tYrOBZYmcUKiVZ5JjYyy++QuW6ZrUoA/dZqi459166O9zmJO893wWqG+EmcQN2/UzpwFMNVlKc2ZHANfQjuuB5ulbaV1hYvWb7LOnnbNFQbv1aAMW8LL58Iq1oJKL5kNO+OLAq+rEs8eYvqJ62ApTNakPqQO3909Y35qATd+ivVcniLkkhwhUkbZWEB2Oyv+tvWPUHjPKZnDvVLVPP7t1h5fXZQqrWVNpbyPRVLuurbiLj3LaQhhZIa+7m4DHsB+LjGSNZ2Rb3Sr1xel1QtuPb0F6oWBdKcip72N4g6PNIi1HjHYeWxgUEM9f61J1hP+9ncmLCCfZaZLh9I5JmMGR8zLSwLxsewNzOJVgnhwW3C6DI/Gsq+GHC/MKICcto1QtNr0DMez17kRgesaA4pMiEKGHBo7rVBKDKnEDH/aWrBDnCaP8YLDgUbjl+YDBPRQQEs8bqNvgayHEG2j95vW2nMG91VfXCokyGw23EkuWjRuS68EGWK5U0s9nOG/oi5dcD4+Bx8jSApJAf961ETMoRj05tUVeUUdK1ozGhShX7ncLfF9/2zQnqIXFdq9wldViDUuDuV4cVe9d4ZOwYkf3DhTeD0atEbhXvsObWjJjF9KI0C6KdkSyHtBLUxOShXM9tj6oEMMzlgXCsJAcQ8cinGGx562iZufCFgxXdYkqcoVVlYUR/MJb/Hf3WrzxY4ZZKCqynXFz6kfFhGdj8/ZxBNu5GztFiRsilubrtOjAoQpi3i9YGCFpAwhw10Q1rTuZV17sxo+9ZeqMDcxf91rHm95MoKMufIpPxpMPFMJ5ijvsNqrMMNKZ+ehPYOz3dN8IqhNX8e4R9799YTwnH6kyhxkdq/nPdNnaC6Dc35qrD5Om/vklUG/AzsguObCRPGF6tSWh+JE5m38uq2D3qiT/yrYhtgUvRQ+aGKKPn2RRvfszqeEybDSAyJUYWb6bfMF47fqJ+11FUMwghovkieLiBuBRJce03fKFOPS1BZupVdY9NCKOt2HaGw5BKOoMYZIMcbAMz3hB6hfzliVxopK93RlUxk1pwGojUkkkf+C6MIG9X6zcjJ01bXLEkdq0HOdDio9a+7fkvwbnFKn3hG9oXPOJHTNHFlxN9sWq8xfylO/hDlfP/XSJWJb+mKJsXsN8WX3MkEmIC2axZzVcXwDcykzs38TjcYYjal1OBy3opNHsebVUBRe5PazuTvnt7bQClS8XcRCezESGx3mfe8Y0g8uVaQVOkeCLNu5WlYgawXNYEamj8WwMl2tIK8YkKx0qxmYOnTW51EjKSnkObEKiDOfGlz5qma0TPC5SrGqEfAjokRZSgRIoruaGUFKnU7xjrxPdFLKnryov3u/4iBF1jPeb3hFH0KRpoLzHe7752mdEra11NXHTk0R7W5Q5U1co169ZQSfE+1yZE6fzide8ww1KicalVqubVyN0xLWKroCCW9+6X/iZlD81LR1JS4LZEHlclpLbmRzX1GSvdoIA7gvlrgfZb+bJ9x00l5A2+3gkxzBYiDwwX7lFgb1aiC0U/A08lGuJNmgmmKOFYfjLeOMM53Dv7YWjLIZBuGF+onyvy9aTEcLf6Tj00tS6VID/x0M9BFGsfNCHXFqUfrRZQL1qc1I3nBC9zjmWnQ8gmpVcCjJiLdCLqgAHoqg+hp4KwEvjLWO9f40MsixRZT7HMhTGodOOFsEICMH8UTumROuo9N0P/6fLYVYJgq8KKj6TqQMpGFYgboJMxXF1yRPqcsBX4hO8kxaNHLJSByzqC+dXKz86oxMNFLZBeVZFoJ6na+xV4SvG17ydiTMb1t+BqsL8fAcz2LWZ8Q2RK7GJbGxlu5vDOmyfvwhdsYhe0lGtPbpi5JpRGfEEE95lJakd4K+sFupnYseZpEDWYVnoQHIFa8ClZnIpN3VN9iuZZ8BCLL4zs272xbwGYfLVDiy6cPbNBnBnYxgQ1AAi9TLmD1tZ+u8PH8BXDjU06tMkA1CcBZBD0/DlvGhuyh8E419+9GbZhuC6SReSVgHc9okk2MtfO3kQlW6PnYRoH9VXZLArsf7w0X434LMM4xBMm0il/XaMwCpPyPh8xQXQphcrriq3O3fUPuuzhLD/q6uzIpGH2e+3aMo3NoPu9TleYXACF1uortPjbdVSmXwnzSA/PUJjsQ9i9Gw3CIN2d/szNQ/0K/DeKBHsv7TDHk/N6QeGLOzzP6DeM6zRLBdbhXucskOL5/AARZVowIgxx6BdgTbY7iIg7P68T8iPGRDJBj9AMzNTFsguO154L2PCdNPNJyTiodmsQf6qO7KzPFU+ySHrMBo6Zwviqgrg36tuI3yPRSUSyTjyyHWzlHcuRmmNYBha8xYXAUyoXZ8TPcKJH84Ow+Cp/fSeETMU+cRE3GgU8rDJiLtBkmqknxf6WhL+3sjwKfrKKtxksmX2RIQo1rlwW2DY5OOqcaXCLErtc4f6bswE+totvtANN8ujtvQ3OWKVwzXQ2HjrTqLPQC9F3aIYspwhDDw/Gsz+ubY/JYs9wbaUoiTbEIbgnUO+UYdxunUGBojueuHIWpzN4r02ZlL8KfmjumzL/gLZO/n8iYyShGffIGhbsQYLrCY87ARJ8vcy0KRO9u7GbUV+WxG76cwj65pu5p5NLrRYVcvzRw6rf4Ybln1bt9xcRSNGyXMuD5cbFal++ZUCAQHcBWZSE17uN7/4ibLillGP44lBDHMSw9FVnKHsqfvfcsuT8TaG0ASxd/gqjM7pVes0ULzPZ1bpT84BmiUfp6BueI0oyhaNgeYFFWUgOeINYbwUsyHS7Qdo3CTJQGbr2WiWsug5FxKegsAEqWAi5o7H/0xAAE5eXeCcHUcuHwXkMjw+qlNkx6Va8i/11N3sJQH/hX0j83Y/2WYS7fszEv++rHDhn4LW45OnKi83Sv1e/cJ/Iuxd0wBKR24tlwJmPngXp6AxWqvU/7m6zkxYfKbPmK2d5uyQ4cggJEHxmVetX1geEDlJ1dluoyxYWE6+LkydJnDC7baNgAvBC05coBJj53EXeCT1RZcfWhtef8g/b//3R+Nm9/PPTIIl8WNa/mn3rCggeXatQoiTFgXHa8FftMh66q7vMoVFQl4h/O8d0sytjam5Kp6iz/FxMSielxmogh86N+wJixkjkuzoIR+s4TcThVB5W/MrJaiNimoZ97tDtn55QkDNYubkVd06N4KsEharqGMGN6XKAIgutNOMCsiezrVy3i6LsqdWlPFDta+nWXZmXULDsu176Z4N/yeODJ/Y+A72wid8AyUkDHg5Qy/bsbmp9IEItVMiw8y3wc/U3rK8zlDTqVErZmVebYaDZZh+HtD1b9rdLokD8WDzCsRTwG9LLkw9pRk363UdJpdqCYd3CpIfiowd52N2F9o16pfo1Xbbt1Z1B55vU3nv39YzqPP4gbSVQQ5UYV2wQL1eiyOPunsGCOfZkIToa13tAWO4kI7Y1z6Hbglj9eQWakJMo5CWwY5uklbVYbvsHmwSRqt3Ad0RHmhhIM1rALebCFNn+6RtulsR5vL7ksVG0Smr3h1xP2Hc3v2KhsvQePIeJy0SdQLZIbDMOFjSxJP3tXXaaRZ7SMS2lfSa5bSPErGkgYDxco55zeYZ8yL77Vdmgrbx+2PNsVef5uq5Js8vgf7CpvZasrd5ccouGgQ8ciBFks9DTWZ5vuOBr89yKBGU9hWOkI4nG0CNkfI7gygpC4nVsZQoh4Ry7OFniAtN5XDjPTRuFtntCT0TXPaynGfUPmG4K2AgMS/S1WnrI/27O44vpqAiz3MSt6CoGHTRDybcnkNDBobRqRcJ+aXcdrZGWYwI6XmxdS4uGdGTKshWIBTScWVtBg4Q71NixDiu/6Si/SDp50JQ8idkGvGfn5jpeRXbO+BAt1mjU2io6Ocf6c+bpH2cJsB/KZXG6dW9vck8HFtXNUBbmbZ1PSXXaFUTiAXLJy83RSu/qCz8jj6YIFBsftlGiYJEA9j5/CHCbjVm0goXZ4PYrxSuMyPWS4IyMPFcARs5cHUhBnaAD6DGy8wYDDBlsSHZozW1Gfv+d4MbABBggD4eAdRdSIasrVSonPRsQJ+5uq6IOHVWIGVWR9ruUludnGmAQtxHym0WOvPqJYZJVPaARwf11vK84lqymYJ2MwY/9kB9ghqGkts0kdcOSokoGDIJ9iswX1HCbrmj6VjZXeRUE8uDynmHuKVEf9yZSRpxndqTX7z6yKrdN3XOB3Rp4p/PqjFnPThROfCuid+QCltdVA3bvfN26M2OFNIoieSHDS8QFI2+SUBId3HjhvU+Y1x0noMadi5ar120OlhlYt1U7RYnuDuq+gBYZOSxZ7kS+KHEMFHrvD9hCMV/91jdDLxoAsFeVr4n7GVtgIy5F+DtU2g86AnuiUydOJAW0dEiPB3OrBS8uX8oMvNZYkPqHcsA+Q4aR85Y+KUCt4Hy1lw9LPwT7B1TSd2ej4bDKh5hJ9HCJgswNl+Iya4FUeyTqp8o4lj5TjepCqtiNaXFlE+bAzNcLah6ZoRdsUEqX6khAuY93uF1SRZZESpUPafbqpGeJUoZaN2CWt/kwCBgJ7WNwTOS4CLD9ae7aOuODrIelFIPxheEhdF5Dwl4jDejA4wJ/N5Wi1pgrZvb6x9xXVe0+VcBODZ27nQkP28dqxscyL0D5fTD87dQP9ExrS1ULnVFkmhjrdTgnFmp21yuEC5szolNzvwZ7QkN/RWNXDv4jmUOf5SS43zfF0flGFMb+lfUoI8WpCFtj69J17JznNMIHuurvs7HbrGsjOI9CMeZ8+WdDSEO4OJKPZsdev/lRIgmJ8Xj1TiTn3VmzsOiLmtlNwLQ2XxCangM1o7+T5tvpjR96GzlFhrp+FX9osTmeSIPJrxW/8mRFz8X+pCrpCPdFLpRgk9BzEVPbH5rRLUX9yRJathYKdAukG9M1WrV8k40zwgklcowLibeuYJevbH0LLJg/AC4DMPaR7bGFfkFYftoX90AXkgoGRnvrzwMct+QYHJ/Pg5gtNyqrJO+z2iOca8QV72z75vSwE/5/nGAptxL4aiunB2TXUJj3GjU4e23Y1aYllwNFe/FIhet9BoKc9h3zWrdrIMOypjEqCz8au6AJ5dqHPCpvZGR+uKBP0tVo9F49de26T6/OJyGem+qF3vf8hoi7aHx9qe2QENJZz3mJ03fmVOo34xIfWB92X52HpylC3xMgRE8BHIds60d5Tbcg65wTmG8BqlXOybM/fENJ+nccvbQO334JrjxbFX2vr8g+0KyJN0ZKoNYiXwv93BK8AbNHINKnwuKHC0ZGsyS38LuA83KlwxpPu33mceMDw2hBoFrgbvyPeb6YxITd24nTmlNe2GihLwqLgdXrsjo1hGwTQ5xu4y00gOx1Zs25J3ZmrRRYrq882QbC9XeG4kkNwqnHEK3z3Coa/F0NilySuaAytCk6g9sR3RxAQFvmdKcQyaLpfGD05NC2Uf37jrEb2ebdoztCStPpFaEtYCbZ0XIKgrkaYIdzuyEWCeSHZZitPJYB9qtrwCM7NsNh0kmsUDU6n/sMpRi50MiENl/+g8zW8d/mSGHoDMMbETbEr9RYqKwTLj8OFY1zmT8Aun6bSZnM+HOFjEL9gKjjnAwZZOyzfFF5To8c3h5xLjKrXgUmQ+DZaErlU1qqndJr7hKRndoUjxl+NagL1P/77H82lUTkpdKVJfcSwny3CQZcFSYW9rkPP1mGqRNmMEvQJy8QoNkEFRfz648ONV8FUSCxax8RQJtjbElTW8PqbpIQhXRz8nhDc5eUeLXSuqg3LweEfET1T1UUnej7pudBaZWScmC4pgj+IlFL0KapIrfmxrf78d3eWLYuexNBG7kNbpOGHrMj3sdBHMHhMzuZNtMw29eKZjyV6omUXIHPu6V/J/s9Cb4RRDK9qo5ng9nEEUZRo9+ySy8Azr4g9BVTs0HGZvMnWyWNvCpN1tTeKKW3iwiU5F2O2PGkq5RbMM7Vz9drKFzNawhfKQbUftSiIRAzkkIEjZ6Cx/d47X+moNwiqRRuUkSmGvnmJYRQgZhcM0B7hMTJWj3Z+cj/go+vulEIjiq8kQZfDG4FcQ+H3m5GiioZNQf5yG4BC1rXB9xjfiVGqshGMPRUzAEFjzVXNnEb5I207yTlfHiDNTgm9E0tJs5V2QGs8906JPzAaxQ9zqMdAvfeHMrPEynC1oFVhx+NViHV1PxTCdCUgGyJSjB/1uJOgxpymVAt/b/H6KOpXhbXeFHevGbqcD8lou5VaJbRkkCJPfyvSS4xasUTSx1c9OOZVdWoP2yq0SkXW1M20OG/MH83KxhfyodgietIOqei4n92hlERNqgpAlm4Da0RGdXUja72eqk5VYMTq9bufNW4rD63DWEyEvRb58a8FgMH3267l+O+GJEIXnA8ES0gg8XLaLdymPCpreCJKZ4zcgaVKj5ZpRtQrKqn9y7Zoi/asp9/v/WJhLooRwRF1NbsJTOZ32MuuJ3IUILOsLya/dcW6i/TWeohpzF9w3Bu3FuvDzeO3Sq1cxDR+jT2hh+ugsAqqDxLz2Rzstn+/6zMk6yiDTk4nnESVdZq9qWKwIytaCiX584KSfdVIhKb7X/9zXMf0JzW+Sf5kJvVa7I6LBOiCu1ksRpdT9MTNVt6l//rpxgBo1xZpC3RFzbEcrepb+kzYYXLZ9JdnUWFmZmgxVTR4VkVgIiF7E2caf5kBU2f+jdup4MQUI35eCkm7kAwpa2Ou0g/TExtg5Q4hEviGgAl3AxWP8DqofmKftdJxuQGe30MGKlRdvIlXFBzE/BZYBgWfAPG7RgV1HRQbwEDfwpHKYNzf4iq3MR/T/v+whb9RLVo9p6wLBh4LRN1LJHzpGMQjP4rmeZT6iGYmVNDqY12VkJrrxSfn0/VOTkqFcrtFalcCtE+HakMvJT8y5iz5iO2fc4Fa0sh/+CExzUpzxk7kUAHQC/o/1rnXmRrBqmve/EHrASb5tcFtRxYwFkHK7wPOzbLCXYdKUu3iiK69HnW0FfkUhJru69gI+MYRnRjiGkTSMMfj0Fq035eu9F5AEDzEXH0JbqGZOZxIn/Xv9gI7QevzECh1xpZ71nD++iqzEAqAVnIKaiaysCFk251VsZcRoJcMIU99kJeQqjH86xU1ewyYp3OBs47TQTv72BWFfHQa+Yt+dPxxJmjN3ZBtLnZD5Lx4qfoQ3vFd1lot+UlrwX28VVQOaily+igG8kKX3y9a1S7e3E0hizYs7XAOQu4xjpUtGuta5ccaNOGD4d6n6sCib5kIPTjjnfZRY8dIJzJiU6lo5LQsBFAe+qn4GqCYqLnWLqSdQ3BPu1jNyc1IO4rm0W1Iwk9kRwCokrT99YCVj6Lkzqa2UEUNrX6hK85ThHxLEN35+fEdMTUEbVVG5FJbYdHXDdz3zHDnVbOLC/Gdpo/b7C1slCmFCd3hTH6ProOiBKI7LYQj8lXUoYjOwutFh9Q14h8+0AYfhMveeK3n9TPVhoNk4WNWB8yNWVrFV8UYVy0qRDk18ecOPloq6l5nhi2yCuy+uueRYZN7HblvfzhxPxWEbI5daBMY8JofLK/ij32ZLZr/KNenp5qchwGfEuOWwlHTDME7bMz66TTWMUub0wV0sjjFDkOLoZxKt+xVcEDiMfyZN7ty5ar6VTNBiLn1CFl9WjdsaPLAWhtaUcJS3iofYVK0HN1L6l0NkYzMprc53TVW1256DJo71ZxicL0/iNzMAu6BOPMO72lylywHQ4U0QnH+WwZsG/a6nPz/SruwwRAAGLShcFqDbZq30yGhW0hzJpoyrdhIYtmQ+C8W/NUROgWbhx/Mf9fiLTUJ1gs7bQW/97YbEgSOnA61MVpDYoSFBly7MbJs05PJtZPprY3XT0Ov7Me6wW2Vobt59cnfnUmIGpTBJY2IcCYjcYc6gMgZGzLqOB91Wj3gGWPmeffWXBL1t88oQHAC+/bvo4J0ZcJv6N89H0R8llNRDB7EWryN/6j1i+/DObPCTLwci73Xfi81/qEYnMovg8QWP4dv4pmGliQzGLax4FvE1/6V1nYSBEw/Z/P7p6ALYziyiLqMW9asoXwnlSYZxyshZKserpduScPAl5UsFDZg756Hq3NM6edG4jHs0kz9eHDdy3G40+wKqigm8ukRIJM4/voq2kAYE3XE+NkN9y+oh4Fwu9hStvi1JTbq8My+wzSGOS4m5c2Zbl6B3ElJetImSlbrX0dxL3z0gV/JHnVTL+vhzVhkcVVO7+/HHK5PV3CG1FLQhbGMubRrDgUFid3hbv/Ajghib+KU9nEh87heBbqYJt3RuJD8QSLQGF78LA0uCfMdDIrlCgUOz9AkSyJ4Nrlf+znusb1Bx3yPbDJTknjDlllZ7hca3lQOHfiPnGRD9W2AEm9r2AcdLhy3x3afbg0OEMx5ejXpBRsAYxg1fuzVfcU8MGo4RAt3/0MshHtSs7fyN5PcaxYfTMJVN/w/tJnscArGcJkO5bi5b6HNtBTLv5I4+zDqraDcaE2IY7uYMlawDRB5VAaNFU48wC19b9+HcgGRQ4/uLPBjX0pvtTkBfMUM+wZc8xACotP0WtivX7RWeLFRx7I4DqJ9IFEEc8cPwLJtpEQsg5rMnSrrHc9RzXlvziBd8yzGYsNrlHR5SrtGWZWQMRc4GvGuUdjatGxWLu2hRu3+2YnpkDFScltwt2EtIgszUtaNeU9zrP/1CWerz4MZjbNrfqrVcf50X04SMW9tiIG2FCp/TwjCQbC74HNt7BERIruTlgbTYX1eJDMa0FYiyMNhd/kAXdK0O4RUHxedPZPWeHlvhHA8/mJ+eyafc6tPmz451Mfq5hHsZE4qA4XH3WMlCqYMP2zT48zUGufDuhOJFFQB8o/cadAnCiZso40dBHCQ0O3gVLZlxKwoH8VIarvielIA1YExt6oHwvNCDXKtJhNfOdRRT9U2pivNpmSbHLUHOgPvZ6liPSNAN63VcV7PjW9NDxEUKAa8kAKoI1MF4g173gyVVFl5f+rnPWN7Phq7gNPC0Ivv/2OT7B4zHBfMIoBCF26cluXrkwLUNfJJ3lQ1RVQQFdfk88OYc48KxyhReobDx2wFmOO5Ur/KOukmnP3bEiB2FbO8/Ei873HWreoaozy+aljTX4TH8wWPeqF0n5v+Da6bFZdho4+KS8f4pVLEhYUn6ERInE6/yzB4EkNhUS5BD0J2hsUqOcMg+kiJjMCkwWu3vhyIon6GdUvlo7KFneTb/zWFngyUs3kfF2rvNXtoK7cOA2/Gt2nu3or3Ou47gPOOWl+OgbDF40HcVnXYu6Bmd6atI6J6RRP3L9esWH4WWXZp5ExTE9UZGN+8N/Gf7mo6Lrh9MUiWSxfG4Te+01RjRYscrs3ZPcXcGgYTS6x5zhSP+9RN/d2stOgGvwbAahBWca0gUUvpeiu66zzINhtyk6xkP5siy4KJfAVLopL5TqoaBEtPeOTXDJhqJUgkSOI3We1N/4w2yp9u5WgEH63JHRDBtqv9R501yo4uP3vDKee0PGC5+Um0+2fjqPOIXM/awf92HL7DUVZo/qztuvgYPPiWUoq398FP+l4weI3HdEDg958Mb7rvoJ+DCpweutjBRjrAW/qQIQx+DvUDV3YV+barwAb0tMMxnip1Wm9j4U8j8loQC0mkjrbeNW/Xs6QXUNWDw8urBQdz/tJ7vAE7dl/RvbL0N7eQIwVyfMBa8qGG4jEgvKQRfmf4pOmAXqcbCVscYKB9zwFQi0Sss5K8awcQluVeXMSIxcetrahnMq+qLLwZRSbbzPP3eIhRC7JB8I9eyufVkhOIyfB1GdVZFbmBIalhrYuvgLu/FkipNVu0vEyLm57CJFPbCgXCEkTHFREeEhTcxYP4LKLwXQIns45D8YkEBf5K6MNnS8HR2TXN2+QIsb4QiqBumNszo+CbJQFglx1xiyGyWGeAxEejX8yNB7ioiFGft7WqxT2H8Os1+lf9pTKf5Hs1sRvnlP39T/4wzuxoJ40k0jOJaNhddj8WTwwwDm782G5RkjSyRne6pH/9fLzlhqWYVQjnI39ywaO4Z9U6DWf9BlNr+LI1tpGaQoKhJl9/TtAOIK2tSGfWoCJ39MgxIQyA8TF6Z9VVx5+8JN/PeqObH9CYZfU1PT3ABk83TqHQxLFlQSdeO0qh50p71SfEH+SewvIX2r8s01pwy5ObU2ul1IJs932ellHsjp58XAcCi/C1FmkIdOwV5BWOpNEJWhEZRn8sAPzE/diN9/gckcvcby/gE3EcdMOH2zHcto2ijy8dqy4/WNXbJa/5LbGms3AmU1jDsFdtwAyaDsY7A4aexpj4aAdVZdjR6cvP69Fxind1Pcl4ASR+CuZRm1difLZf8rv57vRmZRFxFhW6L3yqr4fsMnObfHdhEku67A3AwmzEIITZLnQgJiEXRhKszPwZLPu1yjJ+zHg+LoKAGQVcG1w1X1fjPia/k14Q2EW1h794T1zBu90ZGoUeAUbjFi93ayFsH5hgtmpG5gVDw7F7iaePDSIUU0COtuCoGaQCB2g1YQQmWhWtmvzZrmG0SYaCRw98gcmyjIgi0O9o0WNSeAMnbxA/wPDtm/Bl4o4V4wGxe6c03Vo4ix8AGPP5UITERcSjbxGDnVAUxCeog0DvCqb0+dodxxp1h8nCFmWWLllScqMtnPDqgPfCI4sbyaujT6xvo2cPfFgq9qVB4jzGJwitubWGrlUOnbIZ+MFHJ/PznJHeKmI+K/772/kfuJDGtd+7Yc10W5Lp9hU5dELhbmpBKzgmb/JNU3OuPMBeYjdIZ3BL4Jb0vrvGVNW3YBY9tTy2EKq6as75m66hhvX2BSfu3fyRqJfrMThOeiZAR3DuUAXAvXfsUOy4mJx9g6glierUMw3os93K2LyJhZnAaQrELoF8Zla4ZLheJ0pijL2buo3xFP1iPMPRHPGq5vhDtYBn8NiAZqPAdtwbkD1IymYZsVA8OthvM8JBIdqYuaT6CGtlpjreREVD+FCdSG+iFDW0aXhJ31iqNxpG8oSx9MzTX3gV2kf3aegJzzFMAKImV5UKGOFaW/pJ7uF3EvCG4Yq0ipgfnB35DjctYu4ghfg7lJBkVH5MVqM8LA+8A4z/SgYVrvCeMa4iXP01ywl9cHMIhcgFOOpJP7kPpPAFpZFZBC7RjkzhXK1urkRx1y2mEcS2RK9b4Pj/uPniGk9dkLmDL+ozZRCwR2b+yk4E8J3Rn37QFjbvhv8x29BPrPxARfBRrAJVw9WTky6SHX2ATzgMNm1XzYNTm91rHq8INybZGvFpUey5lL5Eaf8enz+HqAglTbf1DIWkbGTkz/agdrnwQgW48VU2UUG54j3HYDaBwRprgUOXf4W6yZ8AEW12k/Ipg8VGYXZLXkCwmxSgV1V4U6KzcxpgYdjroijAFXLB4Xf0/SL3mIlOKicrJHZGkcJaQYksct3Oh4VdCh8mrzgmrT3vnhh6iKIYWr5ms6OuZiAIbcE/0aHjdstP9oPTKo+GeECZayQFi+7yIZft508W0WaAxvkB54qz//lmhc3oxgn72k2YMPslKlVjXwavDHHYl5cwm25q/OBU/MnoTWarOiQq1XDNw5Xv5NN4nub7RX5s/IzlpjLxjA3lzFGQfhxiakG5Th9hy7gFlX2AJetTu/2ShYK7d5WffGt1OaWWPHDUyH9nUUA5B/qF3al2+MyG+UFceEFbsIBN5j4K7yLMnoJ1uTQQ+MQdEN5KmdGmOERgHqsYurdGmSdwl2yQxKf56spYFGphNaxDd8nNIe5LhZ36dIIKzDNXcxRiTPK2MvdX1FQfuUeiQVsM78oQMzWaPNf6dquoTc3+gpkLSlz+y5sQeXgrR3XpRXC3sDLefwHwp+R+g7/EXlAcDIZ9gXDUAs4XpOhHhUDCHa/ArtfA1hJpQ3taNQAAtasix0bx4GenWVWIuaObErh64RQXGs1YS3jle6etwGiGsSOKWUtGbz4dkA0/t1PxOgGD5nvu161IlEijoS7ArDBZ89eCDOXA89Z850Aa2cnZOAApOqepQBevOwOY60WN4njhbXBeOc7RgUucDvgSuGCD6FNi+gX/0bXlp7dNqdlHFYCZhyUkSTh1jKWAFKiSi1HM0U1Awdcutp5PsxJanfGdYX7wXvrtG998bsiWM3NrHGJjyaKj+XZ+pXc4pgqugis1bVk0F/8HKUCOj/VwCGbxoXuhavqhoQfhd86ubrAhihu0dCSS47+1zcawUM/p4DxfW3J1Dul87+QEjlmhvfhWY0fVqM/7RD49POw+JxYb4vb52TL1tqUyrsEjH6MtEEaXeChwbD6ZDcgy66GNlCajXGdDVnXQq/vCTjk47iyCyV7jaSVrGx6GHdY+Y9uCyW5z6K4nkNKAQi1fk3vKyRudie32XCoKWqhRXl/8v7gZMfTg7Sp+S0+XSLXtYMs2EjZbnKJGbLJbWuNl9d0HR9oCVJ2ms7dn/xOLtj2QwzXOvVuLkumV9bTScA7/mY4O7Tfseh2LKUs0K/MA2RWFagAdh6jRyj4MgdA7fhSYFaDopGZNwLRqKTZYJwiFFQpXHeP4B1e4JzveIkwJ30M59m7/ikmeqAwLuQbXQVWZdAi35wzC/QBpQJb1eGki/a5SxUkSPu5R88hj2CMAvg3KhcLJbg6iqMgQc9Ag8Jd4MznlJZz1Wep86r2veIUVeUNh6XGLu1yQM7+8+3OAw77jAh84gCF0nnPIAbTtRQVN3e/mR3zzy7yvLnbZ1W81P3bF2qrCnTV4w+3u5s+bjJFpgbUZP+k5z6qGRi8yyaipKrsP5rGvmYg6o4QnzJBYhuC6OCBME+dhylNIJ7xcJ6l1stLdNMwC1tIP07m49UynAew9yuoOLUdDLiqfe57pWsQvWl7uvAKOJGjSbOIbAIazp611lP7LDTR0cwc3zPFPW2uVBAOmINtWci2Ol6KszHKdYGreIumKaD60u1F1PCnO1WV+IGTnIkQX+uHrk3FuOfOowHM+HAJbv0HiUfUjZr6eeSPqRDGuaqy1UZINv5Sujlw7AxnQlBLnIuVWejcvhVJNFL6577Z6FaxaRe+X4F6AwQ1fbUoA8qkmVJtkX7NFR+T5h4wM3W2Smqp2Nsjoz40tRepaTDgraL9pdJPihZlnoCKl+Yz7OZokt+fwAlRXBwVWnWc/2c4g+e2FHGG3qLZdpyZFwX/bAxg6AogIfZSoGWiOtxnoApxqLNkPSoITBzvdR8d0ahiGhCZ83OOumORtCxM5EGOM5zGNacgXdxVk/Yit9gBK3ocvtG90a3dJH0Y2chicosa8wHN3T05Cw7rce1OTjGY932ON3h5rgA1FZBpPQYiH1u9tsAQyiJnmbjeXlgDJgc0PYZhkJqzVoR/bjNxKTJPm5CkW6RmEqxsU4fzyoZTW44YQM78/X3GbcFQTs7MCfRcSc+TpGf9325FMSgxVpLknK6iak9wsJqqFyH0ZDA21qPDw9u/61DCD4NExvIYdl6MTq0d2Fw6nzp1tpNncW/bPacMZWjs1zZX7+6R65XcqHfXDfMVZHC+A2QIc0knYug38O7h+JESIMlNuwdWknV+jHJfBBeoFjQWqzfzB21XbO5W3v0YhxPqe1anwqnSgYvLJtf/W9HSQFlnCuLOagOOz0NKCRWXQZEjUei6zDCQnHuMKW26XN1jFuB4uCe9ZofQGz97TAya4GmVggzIEKUnP/Jx+9G0nKOfL0+kabarBItmWMWEac0PLRatJZM3ewOxUvh5Nw8e9jK/nUFhKkortis6dQympxKe4wzOPXJdFdMDs98vFS/PjlhBxw73i1apeAUMaVmzsWop5eZTrVOXGGJAJXaK+E20sAoPbM6XtMDR7kXspbZ7DMHI2i5JhFy2Y2kIMtJnVCR5LsyOXS4McXSFtsbyle2a7TO8Mh+jxsL+2ZgIuHOG+IzKFdHDwg25UUeVCTWGmmOKi1GTrY0B5NUmeXjZesMkkv9+lKrOMdo9VjtXAjAKJtD9WiVHKc97mVaW9NNSfZi634DRY7t+3LnmiV61vYD9RIe0uHitRKkKt/tj/3wivghyGwHf+VEpRNoP2w6wu42/FB3masCTcXVuaXz/LeAzr4g6jExSO7dihStLeG/4bo9Wi0iIgjsxIVw41QcR+m79UEBwXx9ueXhXKsduWq5sy2YXjV9oCxpsAL/OTmvd/bleK4XaqiwwjWabWLN3Gbxsp2z5WUHCbU7LDwNlM7kaT8OVM4gKRa6XvMR4hZyCEmkMhzsm3IXuvbDmhy3bttzQHpA4hAh12r9bOXUAlmpO2pRPR6W3TLe5Mo6Eoi4/QFpWrbqYFvsyNs8SdXYgfqqjWQwfhcTcZT/138cTjfGh/uibTgxuStOsfkDje3UN96qMRsenk4vJu+P7ALigOlVFmrhaYdzwbE/WysfAT/2RPDewvTCEDotaiOUt7yjmiCr9QBBad4SjPfor1Wx7ZQCGBa45l98f/mqE6Xo5bs6fo4BWMJ1BPdoLlwchuVt2vLuyUzTj3YbyQx60JkPnOMHbiJHCmyg7Ufj2t7aVDe9ucE7QaOy12uzYK+vGcyBRdXGj88CReOTVUgsEs5DoDnsvGBG4zru1psDD8asHvUVSn68SkCUV88UjDanmQZ0OgFPEG5vGaf2fIjDXApjVNLjhQV6kdu1mOb7g73UYnlaAak+SHOxsm+OPzTCh+bvjY/DnsDZIOKo9HpU+GCSbQd8oPO0qBMvEWGWvYMCbHcp6b5GVs+z/W1ZTibKg++oNrlhnHBP0BhB0muEyHo657+zC9E9oj9bhbgpNYacazNQHsSYDzxAi/GjzHuO2E7aoMpG/FsOkEapt/rRrgiH1rvb6nglO5RPisnUI9ss+hS71ztW/vqk9ElaoxDBM+d2X2jIDmsceJtGDbRaUxM4oaWM332itNIBeWRZvVDDrRB/HaXf6ksZuvIew9JhMx5H2xd44mEKPfBFjafCuI+d3Uyxdtx6rnP9slz8v8Et3kiXfm+dLXku18iGgQwfE113RtFMTxMP0LSIrNkrKpvUuWnE2jeMX4XoXGZBoIXbsZwhyTMbBqbSOwTtUmxQGtNe3JPfthNpMuXQCQ4/dd1h1YPhkIr3CYRY7OD2Oyir1pWG16R138Av7Te4tgcc6Vzzdg7eZst7NfrrMrk5wZHMG4MnyXu1U6mjYMr/Tu3EsYkLJSU9960uLt3EaAuJfOCTu3Jf9JBJsm9qx8pVggOAiuui2oEn2GB23w15kqZUkxRkdjvaKXjAoikh8tv4hzKFmxuKMmUDqLBgegCi+o6ZYJTsrtGBTSAHGFyWFGcf9+GxgOw2Qs6tBubbdMay0KuTThzGpQVBiw4sKogO4KwehzON3GG2vdxhqT9p9mZkgCw79pUL2w/jTQqu/xT1BT3WWGZmgKvaU3y0sYCcSnWBvQTFYt/BpShv6mu6NAM9JxlzDO/iBVmkdK27b+ppQEdj5ZuLxu+xN5NoZ64skPg6bdDGwSRq8+mY2FLw2Cse9VmFBJFfMnmouthLCec7B5TRklhxUA5QJEqQuUxUv9tn1ZuoG5XDBlDJrrdZnj/ja9a4SrVwR7Wh29Mpv9/y5IHYEVbXl3LT0SCz5Fw4w8ZGRBceGVwEvdZ0nKjnEExCmfaROYs+MRWM0sAJwaf7J+GG6GhXTtan0qUYvtOgspxc6JUtKRMsIqzob+fzXKZHNyEWSnZmqyJdcntgr0VGxKQgZG+xH67e4lX+hptp4FNV0HHfvrkW4fprjUl42+qgPnO/wQ6rxPGwyJ6sNk5OP+SjRIEOMukFpuJw2mDND6DKXSwp6EvBkfv2/Y61wviv1UDRVeckyT46Y17K3U108sHjSsiK29ha+NgPdlLBwyVDkF60a6ywdBLlpKmCv99XSqip/+Q7n8lWkclZ8qheXM6xXBZmDH+6sipnj1kE/rMKNAgSTJaZKppg7qlOrG9FCBUIOw0I0joPoMGm1gq8oCeBeGGHM3Rc4e2tJLlDXv6FwPVdqftXiabhHriXhiQCC/rfhsvmqfzAcdlTagiGPGzPeqb0ZSn5uPsyOXWVVklykqCt5GwulCI1QEWbJi3e8VttUkIfC9Ir8TtSuIfE2fwkMA0SjiIEVJfTI8kQCYqkZmXnIE0srmRC8xspS6VY6OzKuwrcBF7r6pt6jxkJ8YsjNKcd88nKvDrjAQI4yqM40OrSqyom+2V82RWfTB3D3GrZOHtn43+2WcNJybHN6dpyL3uQjb842qFUahpbGaBAETLGYON32AhHnAAZ5UgicQVlLPnyc1c0CQIDOYTISW/NhywVYs+VqnqFUwV3v7MYQ04IsVF5fiHapcGRkqspu63bhLFuBPrw7BsdHlnUMhTAUuKaa42kBt26jMuhXVuxHTcj3K75t/co2RpwpNOIVcNCwcUZlC69LA1OYEHeiUsYZolncMgrOPhx1cVwcuyZPg0tJ/cq8fEX2gQmwCUl+KIIFkXY4bsShjfQA73jVq2WjlCwtJ3pL3gt8QNdPJXOF0m5EZlCPbTZw4FFKyarRRqpUm5wtwYkCZYtoM4s4smJo8ehNmAaSPhz3lB1+Xme5C/3kz5kicmDyhvST5RRsU/9mKi/uG6n6/7fAgVBOpEfKprUAPxgKb2RaExsUS6oMZl90M6BuAY9+OPm7qNULY4jwZNXJYT6w1ZijE0/D6TI2H9GK4l4X070rzG3j2OnRNnFyahT/7v8MK8G1VzBX9nguEKKhlkF+H1xzes91RuecSQz7URLv4uEZbddWi94ykBgfBF1cgUdF8nVF22CuUd0wHYsfwqauZne8+qeGCACjABdfdLXYhD7EVb3ByuECaPHjIQYhSo1Xtx9ZJwGESGcTwCSRKViFG5Sw8o0WdnKIfoyiTXAeEvj1ohmsMv+V/QZAUi4eEUFJpNjpYgzO3BzZM51IYbNeJ/9viBkXXty28OMYRxIW2SbCUy5nCX7NT1nx88NzM1INPUGZ9ul4kX9A1fBLSwSwg16a5P4dStlvnVOY/uASjrTRv5mXd3ESc61kbvvyqZ2fn4b1BxqKTqx6KD/HJoYyF+Zk5I/Iv4Mhck6sHjwrj5KniLLaRFCz8Rj8r19WjvcxwmMXfyYrkQfWHdnkAo/tD4iAOwSZtKshK9Iaegh6AzLtNrvbWORofW4FPtWBaxG3noMvKq6+Vxgl0jUNKCfbDqEKFqwsUEesJ5mZm4vwg3uoowWc/CRtUDww7q2LfhbyxgRLK2HSFmhE/lQI8K/mFDqINBc45HJY9rvjl852qzhRk/+E+Tf79sc4QIWZahAnPJfYtMpuGt/DzkBzNXJWxMH71C0xF4QAFsz3TOW/vCGlC9jKyEyOUCavwHKrYxdgvb7jhN+mb13L7IVWebja8w6m2CaaCRthZDh0lBeUZjt15s6Rh3YyzPAJIFoQJ10eOc6dqLCIGjw7NtHTa4YNY10iT+A9g3BoG8x3TZw6pc509vQKaS9E5C7EIyunobw+bZ6hmwAHCqQOFChZlZAUSC1XPxKU3cW266fnbWMNhFxFJQ1Q6hvLHEYd/Su4jOQysmO+otgB/u4IK6tt8qdtPn0Ru5gf8CnqxfuWbP5Yqytaj2bqnwTl+ufgAECbTWARVFNr3wZJJ3g6uKwXFZgktZrD1LERtHPsq76lJvLYAM8JYM/ZedyZYXnnEGMSBcYq8t7mqic20pG0MSxpFlH9FHSxo6sGHLZ1+2Le8Ly0tdWrs9ocFSqUwqyHvwIuezTs8Uvku3XnBbDoYJLGsnLUlq1es0CvqP/T2lfdd2s4eiFvqk2MsT2izMN+ZMICOt4CizxcF8WxbOaTlg6ZtIuZpgzf01utgDXUbhGbSgwwa3O3RpPvDO9kk5/Lw0QjKWt/8DUi4CmB8wl2KprV5qh6wUtJB0t+WV660pq2sb6HQCGk99lBsCk0Fp2C9IVhBnxL/0/CBYZYvjewveVzLISJz7xY9fzLUZGkeP+PS1ZpfR44/+QklxkWtqwaKBbgCbRqo4Oo7HBwbWktox4/a79oo+o2dg/WziQCoMgA7m1gEexWSrJKb9tR1ogHwsQJ2Kz93eGLxzEXx7oh08eG5E5DjnqnAf0brBCqH1i1zbyduDA6OSrRUMVxUNuQhUG8nrU0aV/TwKBXk6zNcDx3fuQD59KE1CqJ1pvBpE82FHE89LH8Jk1TyfqzCgv3tyIkus6/+Assuh3/RpgS51hAy0RdO+Smpk52HjAsCtcKlk8he8l9K814rkkPdnw1Oa7Ng53nltVLdHfG/bG+ut0G3oDPxN3/tL9bt8YBq71P5gHWZpYJvItEh+HfcbUOzWOjQ0Cpt5Jy1uDj8JurFGuxZUvLca49A6rsHmOrKoasuiF2iYbRN2bvjiezJngaEAKKyUrOmQAVzS69ST/yKLa+tW05T3aqSn7IaVh2Ek9PEavJNFGMrehQPIzL+ILXo71Ct9r/DAvc4T6y08uzSuuQ7S6hutY8o/TkyDYy940f+XpZNjNWaYnrsJ4ZSBOXr4xHEjQbJeIXjXsElUXg/+2bohWgJcOM5OuuZAsp3jFUjh1QRQpVbYWeCedeI9bnpp2aYcOtW+V5DyL51L5vAAERo6h3FsO+CDYAOupsDPpkSbUokaerO2bYLixlNIIAdbnRlPVWk7AB3P9QJ7vor4mLBDcXTF7N4Tc5dJahgR5G/pOoxhV+eXZkRh1QZCWQ21l1fmLnjuYG5adF2uPlrheSFttr5vb4+EwvR+gHs6Q/fkCcTZX5kpmnlSkCgUKX06zUUfWq/bjIM0qXZehcCyQKT5b0abze1WYXPmYJZvZFC5vUDK5jB2vxmwHZSLsB1+klxMogZRNg1Y380DdOeObOr2CAK2Al4eVMcg8HbUmIpGL5kGXIpzvXsjLYxMUL7cvItg5d5IRGhBW/R9kyG5cbCLsGfOEtgKnHPgdk0hdwY6ZqbKZXg3dlVMdPUw1eTZAfgObvNYu/ewaDTK2i0WRyoLmLSEKmRI5ZNTZ9yH6j9MraluJ5aRlQ+iKV2soBw58+6OWrNrNyQmwsvj2+kT3Ahc+hFbwItxfTIb83P+NvZZnjdC9TYF1oaDh0dFpgTA32LTDyrh3kd0lEGT+0jQtE6Yr/OAhD0/+XddQg9lU8KGuy7Tjzrojq3Fha1oIs8m/baX1YdR6mQKRc8FL/6Lih54LLBGKN8bXcktKrkQoAi7V/5k/ziHf9zgMp4gpPavAyKmBVOUvMgMMEdoXOBPtqUbfkdtVSXX1+m6oyyCwhllsctGJH51XZ1VXPNaZ0Vf0VlPwi+4mc3fI9pYCeSARGsC4oeLbkhMuXHDZDlYOYV9AINWEWj+XQ8F397DOJkxZt+tbIkm4npLaXzD5STSMYkZFm68TG88I/D6fZfVY23a8Nn4WcLUelRiB3AS/QyoCQ23tjHbPKj4CVda/1ayLg2S7daJpTiBDVYWHQL19OvxS5jK7mMhBXBX1NbEcBkABrjE6PdX25Fk/p4uBvZPKp5FmVVJI1SPOykVFDM3bTpe4mP1dBw+TTRvLFEwufm2oyNGQKQL9O1dni73+BgBtSs9hZI/SODA6arPyIW4flKG/CVr+8gfww8HmhKH6qjOqsSV42YGc+MWTbmpgMHtRrYx8rlBRVScpL9LkbS+ArgGOnYwce/O2FW//N0L705iw8A1Gca1hQ8BldI70DCZOcWKZYM4O/yEvASHg9ID7p/7OXED4MbaG/3NzJq6P3TOdZr5UTHYSYNV5+IhtYd2FvQgk9W0CbpjBvLXzzp/wh+g09e2qOp9XMWDYSG5nZIXV+7ZQuhpic/5VNZYBS4BM6dmYCv/pyo4vdlTIpM8ozgJEmDAvg1qG87AVxFd6cmoRD8P6dJD2hczRG79GOlnvpe84V6RC0w+88oG6+ePzlnzYm8wO4o8in1zuk77aURR5WtwDfY3hlAm+N8/wnDO0v2QE/Wif+8YLs7+rWvLp9W/qYZ25zPLX/LezPVBvlETIT+x4QuVFZCTx7DGozrqGQQXEuAFDk0LhmuzExdh44X5SbcvDXZ+gLngcG1LRQE86sPJ0mmLt02nujLJCb8ehdotR2RsGhlP8CpTyzzgPGsMZLuQgGkIBCpW6bjr+8jqhVmwvN7VEFrSrDoCBYGlHkkXAsgceSAEQhZcENccZJMmEK9MwI93BFC6s+Xi82C++l4sePr+lKCigBQatKxGDuCfyye6ZV3hoyIvMV8u/2NaIo6G1U8pN2qHb+xP477aPxXRh5Pgt8I2HybkrUybS9Ynt+rXEeMIaCT9DljsL3cv6pvOR5QPOrBf+dHeD3M/iJLN+P1G1feYQRb/Y7ZXOHPfcPBFCqCQbakCUqtybx03jl0mv3ZG4pTMQTxdrudIfaPVQiJYgK3dqYiG4mytzUVPU00KDJHg2mBtPh+lv+ea9DyG9BRDl4cdcs4bA/mqIxVj80hQkBwUT/o/ymWgMiPm/bL+pYGX/VXqWqz4NQRV2ZIugcQxxT5JMoL+HlhPNhoKoXH4vP/Sdk9Kv4jqssGkMIC0Ujvef6sv1lwfaxUilepRABJI986YQQ0KTDKE2YvPu5VLpRk4SfUJ00peGIwGctvDUAzc7G17JqL3rpRCFnXzfYFz/Uh43NOPoJTTz/igdCyaJ731fzsux2hAKmHsIvjDz35XpOuzyjj9NfFGdeY5ijQWZEjTUE6JRJP/mgRUSxdkqkQBi6qC/jxNOYJM80y3T7T2FJpNEjM9354b23I5jNqsFAF0dCOO357QlpnGGoG/1sw8Bv80VqklHk2Id9WPVI/M7yuw1UcSsxK/FWRQptxpHDMSl/fN07bx97th/SlVDsmvkkTznkB4kjVqQKzWapB2GaMIaiyCCtRZ/mgxNCrCOVW8fdMtjmAYt3BdSx1w8jh9nAvZRX6myDXe3UR4ltLsaRmM1dSxhWSUoFlPcuHHkEwvSqtUjmztev+Jmqvr+JKNCUKJetq0E6aBUPO5JEKX4TH39p9tQBVvWgv2gHE+wpWTCC2GGIXBdkIkyDGhgU+9GfEvzXGgnVepyxxKypkoUcEH/5HPI9kXwWcG2Lq8nDLtfQmZnZtbdz7oKeyJBEGJZ3HEUWE1GCvX3Bq2KISPhh/yZomRrOg806YgXPyZ2U/XyzA/hm8As4a5FYiSNJbu/troSSmt/xupQjwNeOvyJP2AnA/R2/pbq9i5gOOK+jpKQNonfiKkPbGRWEV9wbWkODL6h20SMXoGik/7XoZOwGdbXvweSwyACYWNJvRhnFtoPQp3hGXfjKAW+eurB/K7/BPKCtffBtRQR4+eq9gCpPZmliySRMfD4YSVM29uLawO8AHcc99Uex3da4nSVHiMchAwTSPqxOANVuGAnTQFy/j14JDmOdFqqgHsMjy7+fYr7k5O49aBAIcjEAtwEsqIsMV3EVD0VG846LtytzipTyOQQ17htMfDr6UdhA1Dtw9kXipqv+B1Ac/4e8XgEH6UlIiAAYVaQwxdvlzk7LdKnesfE/hIWaH69IwrK3qqEhiLlhrgT8z/h/1uAYocUSeECi7MWm7OIJDsBQw2Zmq4w7MhiPXahyZdUYAJfB4pM/hOPnJTMfkln+QH+FxTDvEY3REH0MBgS9UdAfORKR0vk1u7KmVf/aUAeMhjA9c2wr+Twv9HuMoAABl2MFjZsH7SJK2S28WmlJOKPHkWza7+Wh8Fm/tTy6L+lygADOwWxezdX9Xw1j3c3IJ2GysNtSaUucYidbA+Yf5XXEIjRDFveAy2PBdP/PhnJCMH1vT/LZwXhfFu1ELMbRwhoMNRG9KM35XHUSWaWdVBrAQOiw5YTwG9Q5FaYswnsQNuMHL8ER+sMePKMZSuQxcAtq3SVeLpH+jkpJTaP3q2Ad0XCzYduJ/XHB1xkkqopIiKBw0O+JoBviGS500KnKhlQ9LPxHgsxjEw3ha1qjiXgw3bh0Vto5I6TjA4jHXmcKkO740VJ4V79pB6bAfYVumQx8aHufiF4aEWaM+UHU3XMw3HH33beTHUxidh5jTH9I70qGwMMvNCY+Mvfl0NbJ12SSfoEWDL/nLPthGTzrmocp3yIN2xqKxVaOc0/+DMbinkizY+jKaz0AmS7bICDRc1zySkD4ZDZmazsjNodEjNo2b452DS/2wW9etSi9U+DCa0QxiI4Oc8Jhp355cy74LSAQ4YaA/mUU1VosU2cLFjJeKHy2PpII6m24XyyUvaacv8bLjCyZyGtk3cNqZzZtXBhkjYTPufzS0I5Ln/SZg+vtMU5k0qbcmWExncyTpRvOzIxtD18nkopMDouRJPd3CupolXcI7A5oVefRdwA4EGqRmcqaOWODQBIXrgqbGXR9mUXJyrK2mw917iLejatnfSkBXafhfuhpCPHkSVIx1KgZADTg/wg8OjvNy3ZKlYWyauUfeqVS4EnYLaBEvDmpr9vuawf1dwPp/Lajb/4zk0R1nu4eYt0nBuue2QGS9so57LIM8O0usM0wM+7Io25W8IEE3kMU/qWjSDEVKpTQj7/0uEJq6pENI0C9PJNjACzWCDI6jsBzqiBVTNN3qgEpYCevz43wsTW1kiVZOXFrWcC6FJIbfgIrzPT5CJVeYt3BCwIJgoaPFmkwCtRQN3ZrCAfETBJ8Oa3TFFcT7ldSVTuwJ4RCl7Yr+NLuEWduBXjgIpfNXxvKfaHyxqQ9QEUsk8OozWPPXc/Lf69fmiFl2opocPtJ7FJ7TB0Igp67KQzyQX/A8hPIawap9cpk78q8sF8v+6XwiQ6I3S6m+PDsn6+IP6PBD2VtV/ZIsIHxTJL8/n9YjED8BXWWqxlLTmVrwqJV8iFFFjm+TLr56aiMt4slsZ5TIHuOAUEWsNS8qPVLdSUkhnL3+0k0rwx/CQn2+keW0sAwyfKPx+ZLMx/OU+YDypsaANoAm70ctwxSUcXY6359JAAKAZwo0qJndouevDxYH6KU8XsxpfM5gtovxLmP3Ej8puAzXpWZfntLU9VsUQWYB/3IOl5NagAoTPffFaeqCo/+B8+W2K2D4weQBV6Z19OsbYA3s9zlf6Rdt6AJaoQFNQPTCNx0Nhbi56RXElvVyPE6HKYlGh99xFC0J4xoIY6VfjbQw0RfH2QNm0fW1PqmksNzR7OcxPO47jLXFZbhF5TLQF7HFYFEq2xII/4tHGM5GaflRV6ZVk3CbgE5i8Bisq1NGAac4DW3EnSAO2UPVHIXReyDn07qv6xlkp3fF52JhEykymBjDYJwoh6cqRE8OFJBNHDCrrlnXJuNAnu6I6+15N6uQxuN4KPqGy38lcwbHgAW44w9V0xYmA04o5zw7AewR4K8RZZOjiTqow/VBR/bsaTYB+cLJ8Iqw43b+jmSRsESc8omS24dpsXGAyHsT09NhJTL6VRIFN1j/sGrfK4JzkPeSXpr2gJ3b4+IUIvlTgGSccAYhEazngqDYNpxbWWoB7n3lZRWckUoWpmkAHIPmg36vSt+YH63Aq8H4O/cmtpAjxs1l1L4m3h2iNBKn6FKo1II/WgXF0pKH+suacRRpM67JHNV3u2dDh13zXpLXpKOt95uDwXR+5v37FNz443Ame6ynmOm4tjjh7S2m6rlZokluvGBvDVs/G7WghS6RIw+WXw/Kh9GYMmtiHfrocQoDay2h1EXI+SRqxeuOp1vPG1WlAFM0Lc9bbjzQR8x0tv5X0bQNP6bjbHaxeWnORY/LpzH4ePX8+Yk457cq69ik4BHqPfjiPDlYvg+iyy/MppkFabWZPN/ylCHyvJyTctOMUatYayj/zsLCv7FGoqYI63pdu4NQAXi2H8mx9fhduot/DtRlIFrxvxnzXYSp/VU1rI0SyTxrn5uoTFSq5l000o/JhyEnN7Bu6QJqGpf+oZjXL25pJK0DvubiCvGHRbs8T0k3Et2kmtiHRoufsHsAiumY/F67RrK2FZ4Ne2odYPbnMUbQYeb7GrIwSRdk4v9+EEb2RcCJYqKPPrxj29M9rzxfFv2YxhgKPMkRIkMTGeBShIRKPKUkE9eRT+c1IXojLEPqD+TxZ8vZy/MbzTX2c9L68tS45UsxuPkK1JD1tMQZLFwOlZwxAd53KE14hs5+QNyI7ju1FAzHfccQzPJHhF0jQmtoSQbKGd3nLAE8npcsSklL1KsaDQYkO+v5zegor9iQPoKK+rOAMJ9g8u7ftAYsaqzfxvJgetipqRaACYN96PW7A8he06YI+/orX1EZcFPw0fD4nK/cy/DHMy759+YAR5ZZckkEyAJ2uSOe0psbhSgd70Vwwvzp/zucLN8rpqg6FaGxxYG0Y7E+CfqeW6QP/2SN7IH9hBP54gij2ObCTg8GclcS9NWNq5VPlqNXvVqRmUJvLRNy3tQYITEVvaQFAdmgPJzajujGnT4B1FMn8fliwk8nW/w+h0TwIfgW3FBq+Ji1vL4sNf5t+Jpwt4L+TYhUCeEyfnxnW1rLMrXwaXgoEktS1axgjb7TKDVO9fM/uUazcE7widvkx1pKGN7m800mePwQjsGgoWhTbJG9sLY6BBLlwCJwmyO+LN0QhM/vZlVloZxwvCJ8pC/5hC7TiQ3HybYuQhF5U1lRV3D6WjkT/v1PQ9oOHNCc59Kdzrc7KqEFw0uD7ggzqwzsGVDFig0LLwYTJwQRmah92WhwHqt54FYDzEXdiz0AxZpCSBfmtXw+kj0zLlXId4ZOm4AG1l7v7sjjBizmA+0rmfDp+TwoNu3sfSX6Q0YMtsSwO1ezSOOMHH2oqNe6bfBZIhfxiDxgERClBHiI+Ad71bXmcfFTy+ruwOS646+Ppo8hRuby5gQwz/6eW4ygNbhiUBrdrALy31L/nxSdQGa1yEtkhu05K16OlzHlGLDpdjJJGtLnC6yj8ysASlfmBNTFkRAcde3Dn6UACXGUg/sP0H2++rMgEiuNE4pw0zWcZb2FYLXZQIplbSwXx7f7NUsSPysXBheZRf2aFszR6BzzfNNNhjerDC79NpuaTxXWEtJs7mpRKXuJsEuF7JEUl82V6aCV5gnWA8+i0bvCIn8Ujskn/v4kGetKZRONgIn9xddIdV0VjjTTu9zm+PFr/4RXf5K+PVZcPr07L/D1pycHKZjasIu94HdM/1WkwvaTkMqAZSCBMMe4y6dNvYLvt9emp3iHo8sK965P9HSzPC5eMBuO/WkE5p6OJ9QIrdUM6SYvZmahWi75kR7McqmkyB/oetsq7yDU3VVo8rUKQDJgTAaPohAfLiHbI3ERcZnM3zH2FReHhFu17PiNWMM9Floi7S9E7YBiEs4Ad2IEz2KsKFO+Ba4L0uy5U//MwWrm7TCa8Ud2lPuWxYYI69TOUDLhV3/+vr/UK3hzSyDdd4gHboVX/puFfZJlXqVyrls2NNvNJgh3zx5aEplUOt7UIwNQMfw1NbGLN0OQNSjASTL0fAM+9faLeZE9ge44+oJQjdrLHZ6IPZmgV4gmT/aAW5h1ySsxPQGljkpIDTQnfblp1LpHgXvsw6MgPxfwT2cHFqEGuonDL4KAOUE36w1O1yLhrPAF4MyC4VxRedfXQ/jEx/3/IIw1XqZ7suGAfB+iIPGOs1OPPFfqAutBUTGv1p+Jj93mQwf3ZXufX7XelqlbZ8xvS3QKzcp6Whk5cAp29kpvNQTtBuPjaZ6B6Pd8jYrETUxbJKPD8dHR7fDjfWC5/b/l1RngxdSu/WdyR9LbPwZQbtgphl2QSd5TUvyTzcMMrpsECvd1MtLgeVVjxaVFYD9Ti6x6DR4lizUv6tR6d3nJWPE7TC/2KIjQlP/Qnj3SQNoWMIFgCVJBu4GKPylxgQA7CcdvefwzlzzXKtqzbzyytyiHZEh8cJNJFwpp92FSDWo7Rw3u0hT0ZK4xf/jadQgBoubY4sS4xmcYIf55m07gYjIku9DxzeVX7XOmohqMt6NfQhrKivQAfykVvBfxxELSXQcjWHDe9ATtXaO5/o2lK1KdCSHulkrNLsNN0m2l7Y+d8nl3W3B1PEl7Yi08YnrrMFiumKSvaCf16TuSgtTOTnSiqMQq2+EvG7WJa9rYY48BE+0Lyg4yvn/QqK9SCjgPd0wU9NP/grd4SIwEr27m+DEhbHUnMx6Nzg9IKBSSHdmAfLL7qnrUJ6Lco/SRABl/w+qTxH50ukS8U5Y3ddFX4wBWS9yJezURnjcAiDM2hB1taavem/ApKr4J+ZNfNDqGn6BzCU6+PNHPiX8OUq2bsI/yWToDs+lljwXalbFD1cgZemr/aOiXCWPmxjxUbli90JQnBxHphPO98KNnTC7q3UrMHRNaGpd0QPdmtls+J76HoYauHJYCxKi8OhLtW7+uYIoJnyeGat5C9uykosCyGAVJ1W90+dIH8qWjs8nkxfOsx3PxF+2G8U1h/UORysQQdPzMbgyAshSt7R0z3oEwNOVNXYK2Eezdnwqu95OBcn5ZOOcoxkKdiYaQTq6xY/9ZQbdo951oj1tIei18dy/c/Uw3HvwAyJy5rAT3okDWOvD1fU2SlTMBbCMhMifJohMJjUxeerIVOdjAVEUDJSR8Kpe4mhogQWKaFi35SooefJcg+j9llBdHQrIscLdK6Nkl3n/Q16AXf5z1FJS5veaa0N26QX3Y0AFtCS2mNfyiWNeGAic3S1NqlCkxubbJ6ZdnebXLFbTlh18FnS6UkURpBLGkrXSaiSctM9+AuOCGvWRED2pXYi+ivZff1HBXNsH2Mc/PA88hNDaiBhk4oqoxL2qhaVrv5vpLufxvmhlv5LKRULTO3FpgGS1N5VxirVYs+g9UTtzT1k5je7WGDlB3Cl/L2Lk0+ZPJ/QGGmFjIA/2sFjdh5aWyJoGnFnu1qrNXfAOqeZOxT0ylHyE4ID6YJsbXL/yKZ0cdTpW02q3mpBFVs3WM0ydvEgd7Un8tieZWbTCvXKaBLQFB3Cgt8UmnF8mYEV6EbVg9w7uX3HGofODG2fGLdAbOw4m3PPTqoC9hjUpc2ggnLEqDz0Em9pEN/zlm8LBcUmo0kSr0ZweKAOhimn8OzxQU8DjmH9yYQihbgGrUUziw7CEQypRYHuNxUcxzqG7oqMf8lWoyXSeyV519lEeX6uYdeyZMBw+fKsjbYF3DUweqTmK/Dz8zhE4MFNeflv2EvZMieZFYro7eyFCUWpchxkVYOi7pJRHFFm2qP4h/FXB2s42494TZ3Ld5hQV1mRilgVETJAE9xq3GfrMOkc4CttAjGhvcXLnzAix/vSmoXo6qHT6HrTbuVLuSQ7HUY/xAXQ8iFfcIcc2wnz5I2fnSt5PtiplYo7tcv4JdTNeMAhL0yRnsRCAox4UTtFUmXaTneddDBa/0PCotrl/yXGHl1lnqjGFomAGHyNbcXY+PJ9o9NTZyTfnYLTvNAtGa/pnA9WEOkg0lwmDFmT5yc3tDAXs7cyK877LUzU1YYrP1oRYtqq7n7Kg45MwvCGZrg2Z4unJcw9p1CtwpzsVtJgIyXnzS94JSljw/txy0QEL/1uhg81kvONAhDTQxUiHl3N/HqZAtrDZXvhadVFoNRGO89R+iWHWTrs+XkUwk1T5FV+quR147NQocCgfosFQxKsPPeKjLQXFc3if2xozgdckj4U/GSwvj31xuLSPW4MvjffLNhhT9aPeZzXmlXHNhEyCxyz8Bab2LPv2PEQzh+6RKof/ofA0bSnRsLGaCgl5mfRVGEDcUR662BMFk02ULPRR8YWd5qzbvn77myLhID1NHRzWn58rr4fjN+pjfqKRTBXewW7G/9os05wcVtGmuacyhgAKQDY3PbBbNlWd9hlqL6TzyoMyuhpPhWkcpwd7wj/b4Om+hk3B0ooLkPCkUTw3AeJh44xpz1wXQ6xjASeh2Q/OMotDRSnnV5m7Iyjss4DJFKF7P3H5FFbN25ZoBtVlm4TrRa1Ho4pQBQdJEP06CYELERx2zx0pQH7lwMFT8GBcwkGL62krhGQLh8XGCFoYxySLtzbkZA0XcEwLjRTq1CT7bkK/JnJ/Gxkn26P6kxe0unkdCg85R22H+b6zxF/tWsLjPP9O5iR08xigF0MSUj2z8e0nbYVFpHMhLruaGnvoNbxT14DhBbZ4wppCzgf9xsJaahtsnf5D6okndGA0zgg7XnqoF2rVbTsg79vMd2UAo8lnEZdNoca9mkfvnXPHmk+MjckfK+/IBklDInX4WV+dfGqx8OUK6KSj9yWq4CbpxN0Lg5O5WEDsg8T2bD27HVSJq2n2dRr/7o/+NFwvuepmaT73TFihgCyKM65s9CuT7dTOMaqCFqcVWcHuvWD4jZ5FA40G63YZ0ZUrMLguun++HN/RiqZSusCJe9osNkOaaB2mA9xoIfShULfVjmAyb2llnsKDlJVwjFfIRBcQsMYb1oUKvEcHf3sGNpOunrhSvXkK4oBPWqN+njTjwYql3Ur4QlaKu1dcUxOdwqHStstYmT717gwWuWktvUp4EG5S4xJhU29feTw2geStS4DchN0IOEFG+dTaWhTONh9Yzl32YcENY9hVCPetyNRoaY8l9oWNVLC7JtGlYgZ4sDQxqV+tmF5maQK/OvFNQ8N7QQbREHSske4IqPCmk954/PtESyJjPTVNy+2ZVxh9FADomTCNjXZgttQSh4ZeXSw9q6WVptW3vt8S25aZ7hf4m+d/fLYlI2Rz5BuLd3yotEojym3ZXDszNbDiN/wdkbryQL4xQL8ZuLLEwIvj19uAnokpYhCaw7NJ+3i5kLuRi1xEkn5MzFKZUPNIdqUpMQOEGmstJoQu582bViLvrfRhJiM7O/dhMIiEpeWCLRcZsRPaJ5W7tJlc0WNp25ljOLgeXFPodevKfbjrmRoIhs/YmytUX2e8r8NGahd8X/1EzwRp5iohprGyktjwE/c+SeukAsWJ413eeHSeMJRyAHktRtAhfwakF6akHZpfqinuPsacY/vr8B3+c2mnq/zQEPCFX8hg50qMYCwtj65F0+iIw6jAJNeIWGsuFYgUZ9SHV5f8SwW5odArcKLo2j9fmRGpyTLppfkfDLD1AjE0WwIIWJNdzxWUUUJnpP0kAErmS8DSy5Ww7y3PPKL8QlHlADWsl8RxLQISbB0AZcqFyjuz0dEGKppuLAhF7FOJFsJxnDvTwoLUNrKxDnzVE5oSYDVrjEP1FrJfriFsX0pSYlgggahbmVYuyPHbu3Fi8F0VhPmU6eimZoVAmgf5RI/JngVSS8IfHWGron9aShj8CxNVQHmUKUqb15IJDB0xRNZCUi0fcJArBwowu26mMMfmk/AbqzFzP8no++Se9n5b6asxj89nakWRV1QDqtc793Be9pz+iLwS3TIBiaqdHcAZApiHe8yW0unIVXYV0Rncf4CPes7+1v/WsTND3+H6DUQ/0mhIpZJ1n0m9fhsx18fukQ6Q3hhMgUnhq555y36RGrt7pYJRhqorrQp8xljhvAaIJSf/Yf+pBDWFqlhJOo4nUYdozB2hyTeY1OlQgX2Q8DlvAtYH/eCZ6EokGofoFPfkM52rlaDHmHfthdOZYAWKjwQS9FkFSATZ7qUP2pw3iO2WQkrqIjyjWC+n0NKdpbJyfnpTLdgy/zHjU2d7EYr/HFwq9wstgQgy2C2msdTMEsWUegQxM4roS+84btoY3thmyJnEbbWVnHFWBPh3LuAkAE8vbSAMvx9ub1efoHAYFCe0sHRhRx2KjRIMA0vLouRBX9YvD57oTi0coXtMBJSqJac2XcuwtPZQ0xOKJIdsMPb1QR1FRYaBmjfbcQePG2FZaHiY/Cr0bpb8pO5KxLhYHm0hwZ/o0htWebhXlIPMEK7v/EcQIgPpIVhYPKSh+0Zb+EJBeY0EMDE2iNee3KfBuDvABannu8ohkMcI/2hOvobgHYWdjacg7fCILtN80VriRksfKpzMfLKzdzjNfe6Pqdvv2WeTgh0SKYWko/lgh7Cu2A0TDF93+Ye9Iewqk4rHExnnn7VQkrLIqKvxl6CKKfk48wEnhSDl4zXlYxkOB/WcDz+ZccqW3yl0+op2zxdD4bmG19vNEZvFZ/ybd14SqKxoMABxz9a8JHMQ3PGV0XP5d1OpEQxxduQouP+JvYlMSXWJM51GUJ76UBrdlqTm0ONodJqe845steCiE56HCD+pv65JQMTW2Mddv/OzwYaDVWCJJiO8nwzFk/n16VSfSiqd6bKYxVr5NW6Ww/072abPMqdCxxFmd7IDUPExaxEDcam3J2zy0UEQHe+ytcrNUUYLxdbU9mO/j0knbEFJhOhL7EH6yckyUbn+rR0irMLPc8zqZP6p+eJXascqwle/dt4DNYP2K37YLiyNtYYQgCtR0oIqASCY9ZESKrERaN9eqo0Yx308tg0ohuxAvrhZpniqClOmwKc/20BcXLiDHzukAWhAppbA/mAPevD8to9WNVRP9Rk65m0Yx5vvu3MAtDhKIQaxsTqre8U44ruVvycLBxJaM7A2QipaQ/J7kTH2aFCxlN3oRy0epZP+NGoBHlEP2bh80HDJfPkfzY7UIZuuZy6xwvx0Gc8O5NEF+P3xgIkO4TwPXCH29j0oh/wXepJIIJB164v0U02LYAHI4UHs0qF53+iz9d8MWdaCtXpxWd/XWBnJ3LH4W1SSPWr9f4NPizy50P1XOW7BfFvOtwbj3j+pPPWOyKHnhN7tLFZ2ns/UEh6y07giBW2onUGA6Dpw5Xeb0dR0cqZDzKGx5/sRM919ORr9Oo/PVhJQA8jbbH6/sC3ooihSHwSDAOOUxbNWAVosJbNq+Jeh68Y18OdQc7IcB9F8FlH+E0WJfHR6KyUAF37y0p6PgJ+E7Yxj0izkLVKbY39/2n9Y6e9CSYiLMyvXn0/QMkAzWMABMCkXCCVrvZDOsXznO+au7OTqa/pZau//sT6gxXXc8yParWXmQ+xC2ShErkMn+NHn+aIu2Ca3UdeK3sbdHlk6GpOreGd+wDaNTV+Gc8rPTh74lCwTAfYCfZ1M6TsDrPdAf3xvC7k+GXEPD23X6kYQ6nMXdete4+/rw1pjE32Dr9OrSXk4gr/nw7t8S++2RraB4ApE82vQJSJHHUriy/IfXlcReKIEWyuM2JXMltAjre4XeQCZ0YUdmMH7CcuNOrUpLrdK3eT+jYMrYmV2HbLObvibYLPSZo/Ujj8JfUxTlZ/bURnaVWSs53ln6LRlYWQSV94ESU98s2HgL+hIjNdhpqneIEKXkrMYkKlz/BVUMAfyWWkz7tO9CXXue3629a9xvTjv4+3OIxm/sozO83qNZROr/sDU+5OV+OLx+a3r0pjeROYe/kOHf4LzHXUtxuZSKGLo9dR2vex3hb4c8m08BeC1EbtAED+Yp3fjNrvWWJlNOc+BpWC6Y3SmcUn9H2WrvrggIw6/HAJlORQq7TqTVt8QKc1nZPP7BAIn0ozvMb2RXE5bTeoT570tkwlVjPbqa+fG/mj6uKRnVRvzB17kSzLL6DqE5VhgB5Ql9L39t2XACQp3OITR7lEfX58LQFCTc4ELtNlE30aRIWh/575QYD5KLESGhCASVvIH5WgbDunDemPA6RUU+Uaqqqadg3751IJkW+rVc/4V3erF4fNChCyIueMx712HchYui2Mt0tUc2kel+bWW8RKPvFt1oItuLPZu/KlFPMKTwLmyMYoXH3rWmQ6Rl00lcRG1WdP0SZl/8c4XFAgTCCoKX6y4NyKfCATZc3goTiiEOzvQvwZ6ILuAYOlpQU5KW9wD4SQuUGvxOtQOUNNWNrc2EAK07NWNgj1/OO+NIJZVCwrDRAFNdA7tHSwWutE9vIvXc4l6YWh2FM7x5zXoGU2mIxEWyQ3mVtQ85Za4I1BFXuQmc9pd2VQpph7FYBwjC3mKI1gWW6I/LY7kBjnB+YxFDxLabyM2AxNA2apsJ9syfx+gEkTPgMoSMyay5KZ62giEmRfCbcG1GDjHwY3wFZskbR4+b9rThiSUXD6efi9GLwHYj78c1JAjcV2M+oRHxfDmNwgHanC/zUSxoNWEO1yl8w0frnBiXdKqe5UqfSie4wIUC+EQN2YTyU3f64lEDzVOcBgg0lXY3SXn9kK6cynZFKQQ1JrRdYtQqJ+bmvdeDyeeBr/nwkzHeixzlTPDELFk9e/aNfrFZQuAVRURiDQ3d8OkV8EpAL4f8GXSF/xKvnp/iyWYuZYltQNoSZ+09Lm3BJ/fJsfsJF3escCGFhTd2ka3uadWqXGqHVS217BN+cPVAUAb9MxSFkwkFbXNkVy2va+GsQf5dpOtup8dygmFQKUbIbI6gAE1A0gRzf30y5P01hECACHhjH3tD/46cETtBVUkJsH+Cidp0QpRbM7Xa5HMKHbInURDkx1ilnCG0SmqIu6x1FQCUts0R15P5fgGRh0e7iP7zYU0Gor7wfZUNBzV/7ULGBlLEGzOeG69usuXGq/Wfx9SiQOUszEtlMz0XDYut9wXfG6GW0mF6EN2zvnx5NLT7hK1ACrspytMIpte0dITDcpEV+Z37q6xATKIYuF60ZAtMlnUyoAz1uUUFw2/TZ/Br7fCkPdtlxoahoQxndSn0f8695cwTHrg1vC08XcmPuqKgA6bONIu9g7xWQB2SJvbMuzQ57C2mFM82NMbiLxgqldK1KYwTARHwU1fGxebzskrIS2zkInF8gLPLClSP74BI/fNwJ9rjOPGXFQuT88lPbEMCbRplQ0+GO8i5wPkCQuKWUtErNMxWVGJhTdzvta+dte/2pNHnjqTK+M+eTIW1MvLxUptOTJIZcLH8vztCtRFNv4Ac9ZnxJhMyCTlv9vDoKQQWd44IfflpoimumylNC41aRA34Eg8KITr6+21xIKI4lu05MeapH9ewGLOU0RqU5mb1AvnF/gHFVCMCPPCFPhneTEfAbFaO6250PasrZsHFwn7yC2HYIsUn6le9maTELMeRZAAuX/LSBgb7Ops8dNnjjQWRe1jKaKmpsfw3YUuKPxvqM4l7bxGSvSd3nCWEFy2ZDljoiBY/lEzBKT25BJXklzr1ppPviCYWXnod3KsTgzNyDQnfmReQDzavcGY/s7DNRjTcvqPqVN21MZp51hLMOjY4dqKD4Sv+fwHSO9hQ3Trh897jsxzfxegxCnSpDXFz9+XWNXF85MCINRyJd2cnMWn3+Lyws68FtGfIcYC123Aj5Y2eW/dRHHcCYVVarrwM8Y3ZA8lzTF4zAGPJXB3mc2X4fkzS8c/ropZ6X5b2qcM5m+afafGR/tZlBogXMTOGqBKMIhlMdKd2xw8gRQerQN0xmV72kqpXTWWuIzM2NHuzhvP35u4jMJOvYrWSaakstZ66ZIvbrfyk6e3mKoTmWPSPiP7G4jts37tP4JxKVXfpO/Jkg6QRcJCEg7RKAFFPusAxFzdUkEiKjD+AV1ZkvWBsyFxgvY7yxMGTWZt3BemPHkpekuDFIwyQPtmSnbj28jAnBvEAE2SIxNQ8dpx0sabwpEclxAR1r7Vs0RuytwUDnOdoSUtzfUdTEf9aUx2PfukW7DgNfe/VmeMOffXUFo9L0KhZjeJs/C7TQj7o5EkUy8ZWa/WzVJWfCNFfJFtNlQ5S9gcvHkVxP6x0ukQF9UIhBrJNvJfG8gtvvaqIxzrLJpBkEBs5oMwQNtWLztlpq+Z8/OqE7ErLOXYLz0kxSNnHuA7I2EWfhM14a/xRwRH+Ui/0oSBvNYT0Ji1LWWyqQ6etQwbTA3VmGG0D+BEkbwqRwUECgx2FeLOw7/hWknl2FjV5ebEGPg5xlW5SFZGI3Fst/sJZn4zAsOOn/JdBE2XdpmFnVbiNklKo9AYNfEfmYjqBzcZx3VxibFB8B9xPmpxAFXlm0iYEMKKd66DFfZ4daJJoG3JQPw5OrRLX2gtw18pUni+cTCnLJrkRyBqIF6jjYTRA8v7JEP1ouJwqcwnbAmrYFaHPEs0Pgy9nbPqJqq1roIbu/gQqAT3WNR1KLkiFMt2Aro/wlSEaaXdpudVsATxddC09467GOBU7B+5CfgHb5KpFs2o/VBSrZpPhh6pXL8v/S2el9jfE7JTY/kxg7OPBavhVImcp60n8aYls+ST3UoYAxo1QMWVnvefA66YPzmNp/Tl5Fv66IgbepH/3T5XKPqaET9GVCfqVmD13d0mnSTkKRohzZrf2V4KeT5hxkM6W1JAFfrqrlIfuza6/G6DDskNRwPlJ4yebr0sY8KQwdOMqeNYp+pOPgUwpSe1PLsZh4JnH/nuHtxYATcYfXJmMVJInaogV8P4uZjMEOCYNhBQZ0zw9L7vQ65toBp0pBH/X+FajiTlFmrA2/MLQ3rEI10Iyul9LQonOTYZgGFrBrCVL+QbfW/TsaXdRs+G5moCVJ5q0Tx9exfHf+F50a1VA5yuazqYzyWHAJSNx0+9LrUwF29gh9PL3Kb4Rdy/ZXec+CLp3ZMWNgND65cAK470vgIlMWvyrVgpk3h8xa+js+N0NVbLHBuDAj6uHZoRMIcOg23JPCMmPtH2mE1loNkiDSl9gBP441mPfiLj0fly8THW82NlJH45uRYdbDytXO2t+DsSHNKbZH3qlBqDg2XOg11y3vTW8FbQ524xxC5cyD6FY/w9iTRF3MqSLv5Wr0RXqhJCm2nrma7b/uNMeNZsBnQaQ4ZWTs2cd2+MQN9ywptY2woqqy6YL3TcqnVk25MoEZGVuHPOZ5xwoO/LbTsLsEvppM8vnbmZT6W/U+VBCseOhZGA0PoyHcwHWkIGoAPKd/Kblg+M46h2i5mnSSuexjZhN7Me/3ROhISwkkB7OySNJI3BKfqkZGJg25g7xKMzDLPO0DtvSYMqAK2Lz8uHZ6+4kRyc9YGcpRxJnZspABvD0zufm7hiUuflOOdSb9173XU+f243Etg36Kj2QQ+Jy+XlptjFiBkclIw6/5yDTruupRhBwCDJSNwvN5B4NG+cp+ELYHAReQzXmE8IixxeMrnHUAxw+tgWr9gre/mpdml/Tq1r7dN0If2Qs+w8SCvVzEPpdDYyzHi1zUw46YVIxRdEWfj/lbVSZjXeJqRxuNNhpK82r/eAulyadtxV5+YkQ7QMrtALeKuByKhRgSqjXEd74kqM6VILyArq/t1dgpHuDZU5WFdqnqWQfej3A/BGdcMpsAXj9HQ1rsmg1JGm7NnNmfxAhHLfpGsV0MVz2/RNH6svK3xggvpIQ/V/AMXu63a3LGODjwxiyzEwf9/qu6RgTTZWFuLywqRedT+Iperi0Ok9vMau/+3kN235QLb0bqI7xL1QVDT6Tm4JwnWjj4sGezf+FuHyF3KDUkHNfbvxWHPSnSWni54VTd/w7Ol1BienTmlGfVjL4b7wtR42UjL1K3S15vzPpUTQhlfiawtjP25FRTejXqNH8DTkQzNNbcdiri39Mc75KhQ+9jujLadJOuR8D/fYK5yC98PSTHElDyd54J38W0Q0UEewg3yW3p4VqUzhQd0H9+Xv6BRrFsS7lLTUiQpeFsZ652P/LWGo0Ad+BVaLsJySeVGB7QL/P7+T9ZFoR/UdMjQGMnCK+85yFUH84ghyScQfOS1J3Rkk5oa2ybTYACXMceapWucGHeYn006WZ985VpPn3fuX9ekF1lINzsOzk9iO7InfYx1OQm479DSghGIjIhwc+SWv+/9bYgxkGcJ+T3syB3jELHrTFOU9fEJ1XmqtLS5hFHiB8Wh7QdM+qOUqX54ro8RoDp7+AQ13xhBo4wADbQhTg65fZWGmrOJLCrMNiWTlBKuBiKlPpmgmfBG1jhRxxiQELjWFKWwulwqjyo8T77vsk9WiRi6dTJuvILCuYC46xnbd5CB2zBE3rbWUV1SIClvU2lQlNFDrH3A1efzXNH5S79qJKvegngTZNYPVnfKXIxL7ViCdG3lPNcPPpIie6/y7Qio7axphs+v0buqUhHCN9Wy88WLwq8TxWBz7MSsB+CfoHJ8NNWnn2WRTOd2ffNO8F6HkL+bywMlR0E4KGyh04T2eaaBVP5qYH528HNFbQaE83oSKOlox8yV9RnbjcUV1wG1G/yt/LIEIt9du8YzXJ8U1C7QvagwSJiaAP698FFKfenrxsTYwaCjnMzAxfN1K3xNzD79xZuqk6jn3zaeiZDL4pibpU5t0FZKSsUoNxHtsz9tWnLtGAPjjUhhBL3lsIGY2r20x+RM4Mha0spnXR+m/eCpW0LUwmmrM+PO+hrKIWv+alht92ADaYDcnRTR/fNlt0Ru4t+WpQFbyY4NNQvT8n1HtVgIjme59bhYHUpYEWOgQ1VkYGLynw20cruYDovD0qjjggP5NrZSRgSUN1k+OpfFtLddrBGaPtiv/xQy8secll9SJRkbZ8i1kXxOkAypIi7RKirLFbCpsaWaNAEIpmzCtz0DZCNewQtc57ncVzOGx/LFSqYqC+B8pqtB1E9hsPW3qwsfN66VZoqEuqh80iOVDIrK7MbRt20oHGhkCy2D4K/sEv+7h40uNBoVDiEDyGz36tVfTWqowmjBcBHJe5e/L7rIY6FXamL3prOOvyjupNUBmcrapbsZ/YMpoU8dwNJHZU8kDOYGxqUUsIiepz86EluGbthUYrPXYr2Po43icWxfzjK4HQeNJ6RtLR4kelPVPpl6DDpGiH0xgR1XMdwl/kE5cmn62yu9sXXgtfyCqNL+iklYt24OI9+ZyS+X3YnAaalZiuOu2cwMDWVVmuCnO6PplYFN02jSN3Jkxw0s7oigSzH6a2xVO7TDLjlL5hCV7KF9hzoRHqtPEjlpofiPNJySL4xO3UP6qsGb502UU0SgGTh1mtts2aioDXx121JSaNZ+avcwmfwmrNsXssZllKdlRVwSw+crYax7ZlpbMSDQqD/ZYpq2glC5ZJgJBow/FDxSALRodlH8OSaqFn95u8NE1EzXQJhatVnv9aVDKPlwbHuXOVk5rptNaI03zcDAuDBRWehE3/s5xUVao+6FrB2/8sXeI+AFr6CvcqzgvZ89edzwXdbTqve8bkIwVS0g4/9YkU6pxibJ4wcWH8M/tD2lGAihCzhTZ+xvMK96wg3L1EzQgn9Yn30f31eIRqan/HyrOib0+pi4kHj/d74BR/x/NrgabF7LaMOlbjHK8Snai6/GY6AKOvlST6M7e+EsE6ZXLfP7c3up+WIQHECnE4NHcDByHhjRMDJn5+9iqZViHGs6T/dv7318QXOMStvZxFiZrsikEBobGjesvDWLuUofpYUZw78ZmKfqf227Uaa5kGBsBzCzA6oYUFrf76puii+xWFKVUNj6wwILM0aIaW98XeUPEjJdrMyWbAElr2CU3MfVYrLbuOlnn5F4cEN4zEA+A+Fi3nRAM4SIgkJcdvOuArfT2nUCVjZoa8BPpKY3p5R4d/Tx8byXjTn9S9xuREoJ+P8DsUYTc8SJKLF4fNTK1E9nsAFrzvhC33Y2oTtdpxeyehme9xZ3mzKsZYuNxmq9bqcanv9l+Lq4BSWjQ1lgG1gZdBKh7WfJtaZoj7p8oSbJw/hVZQx4Q4zvyMaBuHZ2ZndQWUH7ZlVg+NpbsbizhWHejkl5/mCuVi3iqRhknfBdMvxO8alTfGnzgGpeNzBiye+/9dZ1qFykGznD+SKgUmLNtXRE7ikJhbcQpb/3RWhy6W7C2eEOyRirxIPXid9Krt77m923YW00NNX4GRCP8DcuYeUTKikI0aBGiGApoB38FwFZ+TE8zgVTmHmY8MjIPpJy84NHNxVZhGug3HawPfqNuNSUq+DmHlBcLzaaFQU8y7aBRWCxfyFw909hYcxYSyO/5J7DxJvKRYuzUQAiuUsSBDBrKjdgtyKEcUwona/TI7fyytk5MIo+rLD4FiHM4wLkK2oYS7kJY72kwdyXkd/EzPndn5+1ocKCnkIP666//xOQRU0gEDnhu/cZ9m+qiJThCH6LJk/bbNPcm2k+3PCZa5ndDfP3AhEttjy1nzitTZsXgCigekAo8v7+gBQ5FYpP5QDGrbB2QDe6Rd5B2vh5l8wVvqp21xOWPIpcyr11Kqa08n7lpvz8lnCcO2vChlNvU3/q+YJG2fok3CeaPWV2Mn/l/noe4BSxw7f41Fzcj0CzBoiS64LEmgS141q0mxa97X1cLJ6snfsmrQnRbKampwpizorHS7xdeYr2U6fapQw0+78HyaWjC8BECt3riEqZTpnX7fYD2RBcXi08F3cOdi2clLuomEM0VkJZt3WSeNk9PSW5ggcDKWbL6H8VN9a24P/94riuv6wJei+bSowm4UrwlkVBIqwj84M0j/XFTvrJD9S4vFPYG1v/mVnACf5zdc+0aTZ4MwRN/qMQXALd5Jelqa6VKpEtpqKLV0YaH61vh3+p0nNVixvFFu7UCu1osVjkAfjHz1BW5dGoQtJ81957EEhHxxvYmafN27hfjSqH1e+oFUhoO1EoBnPPKj0AAQTsxXkQ+hotIYKFWEuqwuKimq8Vj6pw8Trz1hcJNnspN+7eM86n0PRrS53UEoldvjlOKmdn5U301Ge47AIq2ISTb3TUy+GTyF1BPS0SxFVokxY9RME79uxquQkkpx+R1X5Qpx0i1KOMV3oM6/IcvvCHEUOZE3vPe+T6UL0cqpZGEScbHf9pEl5GG+FP0kRRaNsiwg97pt4brqgXiRnRAxvwhsS4WjJS8QcDDdp6MntEOqOV/bVxoVjliqlDaO20EJjgaiUywdXEnKDsvgrQhsE75DsESDOREgoM5QQXCOa/PHqwuKdXVVGopTi5yn4JNm3d2A/pe5QxcMcbijYogo8r56gdkVkfJgDU8SVVqBhGzhdeCWKZMPyI5b7TxNm0LRyHWEUNtrFwPTGn09DIoCgTAnIz1JfQIBQtA80GGlQDmEkFwnDymw/VC0E/EgxF/T7Z6oCb6VRJGRKMxmaj2Fp8dVTqVId5xbfhxiWAkdyP0PwJIEi0oS2Li/y2fsndEDAriXoGgTjAmP13pU3cmz23fLlx4vWT5N1wjCNavVm/EHJZCXsV52XQyv5v9JNxgQpLTInAOFuklgudAVSFO9tVauCsRlZNStMO+u+rzhiuKcrwNPi8ZazUd6WmLy/b0XueDMiqsKCr2nE7aQrM2n2lcvOAXi44ck+zFbZdXRKPEqjh9MQ7SLXYLRHmvXFAG8XRxbD+Nrt1AniP/2tBSNrS0RXS2jvT2IbEy057lF7hXc4hAddWTr4nKr9RJsg5GPEraMelsL5nv7Ls9vrwjsJjuypfT0qJIPKwm/mJ1zfxY3CaFbVsvG3q5keZIsJsBhm5fGcKVHSB6J9zDiV1J1YJt1SzRQg2UPUtcLuyS3svx/nhU0dTTy+ETvhA8H5Ji7YO48GZno+oZ6ZMyQ8Kxe4b/uR//DKhFup4nb8oDJNp1ZGdXhEXxkaWCwSu223QpSjo5ocDq5Lp0cVRO9aUslAt5CJhbf3g3smgMfY+VTxPh6HQP/8lwt7VTefC7orQymRxxNIsrbZ+nn0GjJbQrmUHhIBxXRnGK3mIfpSp39PUlpCvciv5unP6jIpicT9qg3YlFS4cKXgRopX2U1erD1GpO7G7H2FO2Pit1Dt7ylGAsQmyhUIcT6ObWHLuQECVH/cptPjHplbdxA2VOPTIt++RHw/tInZaGK4znG9EUNToOH2a6wNGFZcV77CcnAuV/ukwuVDB4ZqNnXmYOLCY/xPS/+S4cgOwS9ePI+FwpLnOPFyJ3AelMtPNi18kiSz2t+TqshXtocP4KcgTjDGpeDHC32VDG380EI2dCELP9y8sCZDGxfUf0ne9Z1GZ1yYjynTUkLOsSEuwQhwOgABSzwXfmhBQtOMEvEHrC/QILIEw3BSHkdiIHZO4PjA7aKQbPpNPnwnkwM/SYaBUuICn5WdktkNwgt6ynRB+JGRguqMrsITEKOgZBUPICv15DYds5OeEyNTO+5GOf6lTlHAI7ggjbGFgbjyrcORpJUghsQq7Gm8Fta1D24SiwRc/3NUzNaSI9sl4YCJVlL7nLEw/LIY2B7IYt7YAISMKsPviWLzIhk+vwh72rVs7G+EhLCudntcW3taiFWrc8hkrxAAOGWppk7Vhi16KA/eRVlvxdyP5IXoTHTFHYHBG+NSf3oyR0Y2u+DlWLp1J/rWbHxfF7oDZNPdrAsHqeaVZ+v5vbL/N2xFTHa+tJJ2sIu04O2tj476Y7BR0NAtq7y5Ei56YAqpUj0wWU4DaB4JQ0xESXMmOkOoNYD4ndCJMgIkjPUqXM2Ogs7FJ8iW/0G4CtETDEwjptHbiw5cEYnEGVF+dGuvX+mHktr0uh/9DznxcPeXidCDeGSOh9mvVNvR5kBzrXMqcbhGF0wSE4l8d8CTh7HOsnU7Rs7ayLGIYSj5rRqGHl8Cfc06WIRAAwW87+KFMzZPJJgQUJn5+B66PdG9XdeaR8LpDRfDu0215+QYzAPPpHbi3oLu8odTZgViF4YmBLYz1KjLEX9R2rhyHByCXD92RBmEt2NplxmlKxeKwtMohhX++aHgr34xQiyhrw0ZkUvqf4Fo+chv/WaZMNV0hl/MKLRPAgRg3fQpbp/mhyTyocXywIaD98Kfn4juYOiSXAzglAsmnOHKD6JzCDS0bs4RtKMMJaaIimVpKmCjXGU5Ihje+bLR1j8HrR5TsxuYS8lwydK5tRo6av6QPCn4sQ24vw4209HFhsaqfkSVmfUWwDbWLFkx19KW/PLucJF52VU/sohjCOWLCWtp8TGVI+neBFRjKbEz2gjpgCXWwKVkSvpjbLtMCjT6QBd5+J3RznlQJwi0Pmtb+yMPUpicTl/t6KPs4sJBxV4/FbvvEyfpeRaFlICo4JGCkv4N8ht9+2fwnf4+R7xIt9R1jFTN/bDaYztzGBHKJSLN85I6ggPQZjra87EHYh24iALg4da9o5FMP19UyVK92P2cq1wtmCtkGG7+rWy7c42ZULBGWBi29lQVHlkOqLeqfXiZLeqdZ/jwuo0rgjmj2y3hElt9hhU9rOYXoOeIDOhpfoz9eP9VhuOnMlgfIUwTZz+S2MndJWbkJ9ZzLNGfRm3kmr2meg6MWlqe79ErNndmOeQ+348gb+y79Laxe4VvvlYsyxi79G19BmRuFEUSyoP7jqsfx42j3DhWxBH9DUq+6HlSEDKzMZml5ukvVM0LN3N/GAJVJlqr6e/wN91ocv7JFtCyckC33CgazY6OAdnduED+RXzK05O0aznoxihrKaRdk9LAoqtvbhZCEmeafaXFHjA9ZDaJu+m5BIgVfZrb7MQbZiF/cGi6SQjDOTYzfzyXGxbfHw86cPe8H0dMp9w47k+y9Rd4IUyZIHYzvk0TtiRhG8JtxMBVoLzxqYFGGryiFO5Pqpa1qmZ+ts7BvcYs5KKvVU+bVV6I40jb/gqIGVQ67CspVH4sMrEYqClRnDQG6AcjeAe3VgnmNAZV7p57h1Cqv5THl3UGk+2BBHoOSN9oPUKNBx5vZqb76Dd346P2scKPWzdic8wj1GTvyEgrs+oeVazslFHpN60gtTsaljFDHjbsGDEyHb0358Wj1uAk4vrccccMK/YXxWSRBGMAdKIwmJO3OBktmd89TjeW8gpYSzgUgoGimc2ztMTmaiq0qTjF15+OP3RNpwe6MTXojba2RkCCqhBgFT6ptA6U0ntABcAacf9HrqccRuCF++S7T0Hd6WE2Nof0QtA+n9zWk+37ogK56ZSPlrr/zNuu30Wf67ZWorB7ZEezG4en3aPmCXiBeCckEfG0hurGRA9GzeaNhYil+VdK7daVoeMrBLEqfcL68l8aMY0Rjzxt8BJkBvt6me6xFK2DMmn7YqGVZMnKh292Ucf0z/WYbxhfxDw61/nY1SnzWua1eoN/x2vVGBemlpQsN3iaKhWKvj8nVQGR8J5xBvxe2KHvaQ+Zz+EuBGGC6oEcgu4B+n5Hj/VzTo7ARhyxW/ImvfUXdg1j0B10RWl7yfvJayfhHerDePokG1MlpZ/GQ3xeOlj6ZbnOmDQTivvPI9MiB6YsDV2zY+yFRA1ArKKdnPJ0FC7Gx+/KQP/NGepB4FsToH49ab1OGRKgvjDh+EZxZa5u48Sf9LuOgHiD/uulU40o4Lq5uIk71F9YdYIq+JA3XqqB4bQflEVPAae7Gl9nL8b34+v+VR2c8lYcOqXAW2e0DDURxB+Zyxpp6ElZZxcdmsgkksm1H+zBfiY6uvIS8RDAtUCUMkMH4l1yautlv5DoTz467adAEXu1e61jjkn0EKo+1qH8GBuFPTCKW+E+iBRDeM1e4WfxNL1pDU5JnqwhnhI3fCqgmoc/L4+qx/Hd9OX5q8dSJ9SqGn0yM9jvr9R9JwxqvemF7ZBG6uEM+a7FuF58v9Y82xlblyDQyH6QFJxSUgLT5UyRlbPPjTgpaoEn7B1DQ8FW3PhR43l5pUeOd5Kw79QIqMcJSN5iLc2xgVFa/w2coFNqD7pTxhFoTZ2tWGuo9AkzoNcGzC1/3PP3IhbRMVNX4MDKEhaSLMAHxG16jy+ve08IbuiPt7d+au16dGAXBX+8CD7PkuUsLO9Pf2V1KOIqdx7VcsLZK7pD8rIQEDRhM6B8LdGfY2Yp0lkRVd9QpznjZi4NvUHWbWvBPzCah+K43SUwR8/1NKcentiII1u9W4yZ3ayd3ducniaUUSGhEaJdrQtIzW3cqKY8yLyY2KDuJf98pfITaOOtJ45MXSlLvQTj1aJ/MWVc67FKrAFT1D/EGGabyFOEpW0FwZv3GuKxI0JuYi0AWk7qI45/1DBfg8GxR7wQ8xxYqAGJQ7ICyDveP+wbx0G0A1imGnthMR8jmiuiXARqX35BOn67N2U1gA/cLPTNDAYBXWku89Z0MecUHSKC5vmwkxQvWAxQGWDGxE7rSfAFV2fEK3kXTN3G361kSQMjXYh2J3VLYQiLxK1xImz3MC5R+oz0CjsUNzrs4uYUDm72xRfpG88QQzq9EfafrreCdSUxGQXxgOANzuH3qMG5Y+B4rht3LQvn9YzDPDQtUQzWCYWxBNNyXwjfVQhY0OeebGhpG8EwbyS1cjGFXohzgZ/Er7z2FTTo4nIp+4DBbtO59dLJEnAKm1cxukorHSJdgXjm3GGRaDN/Fw2P3Isq7t/hG+kv29qXrHwpSt4XPV8nrYiBW+dPFwsbSwgf/bg8kaihLUsl/lAhoP4i2ufBtXKusr4epzKjdMARgcEQWGt6lvYPhSnx/Bgoc22+l6XRTLQsceXK0duTRoM1nR5s6dAbBJW92lHmQVXh063l836JbSqMAmi1a/wIjGyPLpKCZwDz5CPMDXe2CalXLXssVfeEX0TEfVeHvMH1iCtJ42gBI6n9B/SlRZaRApv/q6JOmwBx9z4659zZhbST1FDN4AmN4xxRT1cKzOi+MWOywAtAhzMsCwfwfUoHHVgsZud4ob+KmHVjXFtEBlSTZucYqivJHB15/gVoCE9VZa2CuscSHdgNFAhzNn7cLY+CjWo52mFnmpke/kuuN0S0u9sh13APS9k5h5SRC6Q/hlPWQNasTck3MOgk21BkjnA8ntuQ/OaHZIj9b5z609awCTLZxrs9QeNo84Tv6Q8aWG46E6Lhcl9tyVM2QA+1fBBQ7WCm94LOJ0pKVk2c+uEgnyIw7vNWXOIrImo61PlLjxGCo+BkXX864QZ79uAW8AMWwB6FDog93Wma7DZZDHi46x/u0y4bfZ2Mzm9vKD6uNfU2qut20shpVMVNdik9mCxqLWZSoWzF0flsC0kzFWU9gzWCEM77bppXrKGXQqs1r3//+KBcFhQXlj8kmfhRpWwtVcVZsi4fjX6+YSsLjdcQpXVvSwFnD6cTsVjRRIlk7Zd085jJhT6cmOxiyAE9wHd28SMaJTdXHHtI5XGerMT3H1wTP5qQxzgsYPZnMshivYgcotR+dJl+79cuG21LmWu5e3lFkk8t8N8zClIuMjhay+blUrKN4IoUS7OZ+z/aSF/+ahng/ItSOsA1yeSA/G7fgjTyWkaptByvRs21Yis7zj0nvZjAAJy00Q/a1Th/6Ur2FQH9hfidy52gkXv5eTk/uTxEvQOkJU3rCMnGCvgqGNpv5xG4MTT54cRYbsZGwq7WHRdSa8J8uMPtIlPsUc6lif/Y4bKUQ0lRRtnsi+CHkjOWMi110hAQBVQIUWlZQbUJeYMLIkOGkcLuzMuKJfX/fHCj44t06xDxSXxXkCwXHX38W+0PsJFbWuQlZI/XkBjWoghNyTxM5trjWR5/CTnw6/ZI78VTX6jNfpjOT7ILFj7TpXQxVCeHmQGA3DNRM/ZCimN+kPNM0HJZlWK8NH+HCh+BNnO2ApAWYA6OFIBPkV2e9VOe1s482FpINXuWytCBkw3H7jj117VksuiNApGDvjUvH1+9qUeLQzmD12bU1WFwi/okNyVAYUNUIC1UB/HLqEgvL5SXuIlOR3J3d4O/zIExbIURc4Ipzy58sFytbvQV046V+WUTbt+aT8SW5yCRaK4bpoFgA90JAiXk4z6ErSmt2ZizBi+23AA2GWp9I0Yc3ACoXW8tCYR8Zs30kVKgHLR/0PbGt/xcGJspAiX8xtPEUPz5ulI3ckTtkjYjjYcthpclEWKH7EUJL0t2jI71HGse34ZUMk/lWl+ahTAJ7fqpW2aqqQugZwcmhepyXn7Ax9AdwFGIKx9Xn+AE2P3IR1T20UEqaQsBJGKsUqh1HO4lMgYeAcqntXsqT9IuVYmYmSYqqOe6Msrh4tI3/ynESPh2FXfadwwcDWr/v3KbV9DmLkUbk9MIrpf43s8yFUShtAvmEkp+9UjIiS8caDeRmVpMe2MCUglRbt4iPuCJt8CHGVKAm61Y2g9/pysxoKb/ojOA2vEppg78+Jko6chw2d+rJvP/PjlQFSP++MzOv9MbpVmRT3iYdXLoj+mV0vm56ZeK7/29lgCXB84UOl+QecypEirVYB0LvddzU9VUoOKfljCrLr2C1MNgUfzqWAHj/be53QFu90rmAAOltVXknvLBZ5flHvsBKAfmAtqXrgfLppAge+N43rYg4sYfkp3riHZRH4A1aj5+CjBDQ4P5Y1ygxVpdmZPEvd9heQ8W1KYhySP0VFAwCxoe2wNm8TAWjefTDmaQGq+DytNxC91ZV6ntF2dr88w5D6pJnXI7kqS+za6L6q09NSYfwvSjx6QhOo0hCVCIyQZG8rzY+BmD76fDI/uDlR+J80rKolLibJNzw+rW6CxwSvBnbakk13F8ml1d3fRso7ujgyaCIxnRBHO8vED5jsDPGMRrqJu6jhOX2FsVlVJf/tS4dxZ5Sp4qTDf40JUkP8TFUys3/5c51ge+G+kO+Cc0RO/Uw73d2RgP7x16+3xQU6FPwmN1kx1vnxt4igR5VNPq1RkQWkQNIhJDT/CEPg+ZUBGxLM3FhlR4FX1lU3sqP9kTtjkfxdRh4sLo9sFxJtN++q71BSONFLRQ+CoahJu74qpc/wzDGbxsQlGMpL6Id1kstbdtVL8iyeBHO8CD6pCTeJ0Yvsf+9WpXHZmJaimcCBEw0Id/B2ZgFd+E53+gBzuMoh7yNQnYPgOdLY5jQtaKde9MGzVPyBE0Lm+PFXsFB3nEkDEvv/KC8a4MuZfJSg+g+/uAWeTpcJOga90PrtzFudk+TQ975j7ryECfkF66rISiznY2B3aVR0Xbf5+xIY2w3auRqBErMKl0uaRs5DNamRloVfQupFTwfMKbG3aHFaJ68m4no7Md8wTqM8Iv/nvdthAhYHlvKtpj9MXery6ya/+xW6kPQQUbcIGM1CukTYsEaPrVlZtCByJcFIqf6y9avzGu+SCp/b+EDQKhNrv0flMEXRe1zjoBxwk9ixTnT7Z/ns7nHeg7hvPEzEQut/bXZjLHVSIqsf3Q6jPB8w6FDlf/OdM/AmsuT090q9KpZr8QlJsuDrJtepn5nRIQ65k1WdkmCThywtlMsVO9OUfuH/DBOer35kgEMD0Kh4CjXR/JTnmstKC/SH3NqlVAdobwQbQyseFAyfpU0DyRexyL1eO2d7sECWVKuuu0PZ80M5cd6ZWGZ1NXpupmS3yjDfXBggIqzC79+hBjq5bNNnj+obYeHzRaVL4IOgcRngCcNxds0pcRLu++a/G3vP/6svcp10TiWMNUKFtPW+qMNXsPG5i/kWXJiEuFWHWAPbsFE6gWyApRB/F/nR2V4jpxR84l9khHJ7QDzMfwetIRlGMMQ+1+24E0jfgEDJy4plw2AWd8yW+2Ey3stk4uYqCPz87JfkEWZKwfdLq9BJOu0GvHodnn/p0TaLHNnPu3MvASSO9yQs5fItFdFu6YvJfR5KhN+QEqvkNvbDRVaWAQLd6tHEO70QeWb/GdlSfUb505LBBrtcPjhGmX3SPLpsDEDjp/OOZa4PF5LACXy8hgcV/u5ZtAvUVTfI3kXnMw/eG6WMKK2ifWPUy/FW+CCbjJo5kuWWO8+OSvWCoQUHBH0j4U8QvjQgtjbUIc0LZrTgKk7OleQGf9JIlRRHlvjXo8t0i/RxW3yfmTaaT16y9SIjs6bRd3tzY/lBf4bq/rs8PiRe+MxW6X0iRopNQ/ZzNwtdQ75Dc10tLXTo+MjbF7vKSMODDStQICYHp/D2TYG4k8YGEkEYyx/fJxr90e3Ue505IR32Z1bNL/TTYPBaMbFoRQPfDt94zX91Bs/EJNzVBoZoP+nqGPrEj1QBHO6xQoe3/+0pyR+J6dccRPxAckDePc769Mu3S3yB7UaZ/JNiNfmGpDYnex/cAT0E3mFQIQSxsmY+x39Q/o+lXasVFFy8Y+fReXwbUanPHLwav5hJM/gPSd8y64bBAG6HiEXOFhuJnHBpilnLA6/BtlX9BLntINtXUCXjDPAWdKv5qBJGaMNx2SJwRQSFcqdneOgEL7bnkZ8jTObGsbyK+JGcdHCzoQcdx6u5nCcBBKFqfaM4Qhs40lSLuwqYKeNShqN0BaLVfrUIQpOzCd337/mz6rr3lp66DyIpIBt4PDS1se3Gm4lU/ZZWRyWoPSfMLRm9a7cuJHxuVO2LhiZXi+Iqokd+J+jfwJRSipl+EK8TeVDePXv1sMxk24RKlBFUlal21473oFpm3DKfczLiwOH5RbTUXKKG+o2/U+pTTWI4gqpgJ6CVFaPv//C3M7/IqHxlR2zdg0/565JBmMc0O+FZQhBUx8Hi03yGQ57NbMKEqBQvnUhviy76OMjr45KlsqKIRousWPtGqCKPr9Pnh0rOhoi72NunFYiFXCoyYdFbLAfvvaSAbglpljgOJy1WFL3bYRmd2gHELsqbaFquPoONYBH1GTIgRrC+r6dLVt43NnDtoEW4J5I/jBV5RgRehx10+Y4V+M/PbfINVJyWoDY2M3w8iISzOuDKx06mtUhD4r+heEZb2ANzB+yVuSoaL7HZMsD6ipjTudqUAv1KBk3qLB1a2lebKmYw0xY7cI8zraU1QlpZqEwMp93iBYehRARojBR9n8ktH9rZjwYFVc7jMU/CVDkip5fKbZmSEThmZNp/WHra1t6jsTGG33+Ergx/vaPrUs8qB9Mn1Zkk7j2vF7HHjKMOrkgNRr+V9qoonQ4qmIryL+mYK4+AaTf9vP5NYqrTVzZgtShoWVCeTKVlk0c+/Odhs+KbVVlK19IVmXHLbGc3tcIsAeoQ8ByHPUeUIii+7Kn5IfCidTqVXyrZlIezsKE93CK4hxsUVkaUDDwCL/d6lDuaFb6Fl8m7t4Z9S8hoBvqhSt9GsE59ThmiOVn/ceQNRxp9eKztjWds3hkNkJC5C9fu5iZ6IQot9CnKfMi4E+yErPiFYWYOWVzjORBjBSrWY2GA/Cku7HpcVlExOrsEEA8OzYB3I32Bq9LHAuIQHleMUvGw1OmVGabLdxthpkRyjcvzNBg2j93xWlv068skf4lYZ23TkXtlm+fGmYRkGzB05FzsL7ElbY4XS+JAe520S2o4r1BzTY7kV36/X9LjWYRTqQyxIRpvamoO7RIX7Ax6nFDu1pEq7F7NGaZWofW1RnaM5hhaAbokBkPa0JSBno1I+XZdPEA5xp2/6ahrVgNeuBI8HwMUvCG9V6/UYzsYzhLJ23fScnlHcMnAy/wv6elf0JRBFHvN2j02NCl61mMYHotiBp92XbGIlF0CXrlKBC0BT/D8xAy0exgfOIHJUnp3h28vW1YaVN/TgWWjxcLrQp+TcfaMGJyuPqeqYBLYDFsqtFJOtEU1RUmpX8LqGynaBu6vpcWly7VRZvm8UVBv3dIg0M3nL/f8udvUFiq7rU/QmWpSmqyFRa4LrAD5REzAUbtYmUoP//DDonOmIr7VfTGhIn5SbJoJFLRlkXlhXr3gdI3zSzL0M7MOR+D/4vJcktVNcxBYrm0IutbBiE+5rYxH7cjwHcoWDKMZpshRLa6lFYWGQ5BGIq8ZkEr8nAkq1dSSPPYZcsMQ9tlcr0/i349wI8AEP9/CVqo0QmRaYiWDGehD9eeIiWRmRBDLGzXyH7lL2fagiiG/xVDm6H6swfqB+BOL2Q56MXDBRB3Ns3dcHm/3blJo1KRzeF2WJMaKqV5hsduLlov8YJa0mv70YQMR2N0/u6Tw/tOSTtjPQhY4I1Kn2bEnCGianIpc2g6l9oOcm0CKr48T6q5rytU6RGkqnJgL5wJyy6gmc+DfQZYsLcoHXGih7+rrErp+J6z4VPauKrpvk0VvpQKrfYrET/wkS6crOM+ABqh0prYv8FgRw9fLDYYpm62/te2hpdSMFPil57IxMqGapV3gbSInYA0OgZDjcKd1Z4HYVYdpnwxah9SrVa7cGvG0L2r2rMbSSpa8Sk2OyYlSAL2WyDBZpWFYDGJFpQUtrXzdAiO8Jlj1ok/AdMpA4qAVqneS4Ee2iZebQhaw0EHfqq6K2w5n2nEmXnR6UmEc3++fuwK+7yf4hqTLu9UbZAASmToAxgSiHKyPJpHq7EBLN/fT/LPrUh2TS1L81j7wxZKN0BjPjRmUPnmwt0wgOc2o+pL3E3/FkKBTMRs9lGWfCnWPNy/sVp4lfFXsV/fDIAAMn7fQgBxuVZyr2npKPPn7YHwc805wP809HBq6tG7c1PazRco99nculHWfCS6/PB8IVZ6kpiWBWPuH1pJYQhpIzOD2z4zhaGvraTcEm3WQ+OSan/z9xHSxCw+8u8BXbb5ufBH3AKhHKWncz8uiFB8C0RB6MGnbMspB17oofNGRXttoBTuNZq1cCIIcZbNCEjC0UVxsjOuDvgBxX9hDFHRVr0YdVQkJ1J5h2/iEXXq1stDsZGpFBVMOHWXTWRBMsPQ1yZ8fQ6yW8XHDckkHQPkIntUdQYuE0ivmTKVh8mGMglj3uE2LAFIqNK3Y94GM6Pxh+rkAg5Sq8s5qStlXlvNNK7Cl+fDLh6zbVR+mcaiC1VhQYBuTkLYw0sETIdI9et87XrmHrzXA/nzqwwtK82JvU6/P9xU3gUvgc+oTkNugWABkGy9oZDN+63NpqHw6MrUKzcm/CD4KT/O/k8URi+DfSi5sio8UPSeUI37Wp5SQZINoNzMkR6w5BbrMUdJJVhQmOJqSJC8jLY0a1EkIzeDOxBk5zl03dAN1/4QVV8VnXlOdjovj7rZeVb58otP4MGkD49IaTVxKfN3GRWzvrcIfIDVMfQnZt2PdN9hTv2I5aUdiPKXoP4y2H9TJ4UjSmFm0g91SW9YKZbCNAV0GF9eJN5czzQCqqPzEbowf4d7WOYek8a78LpmXLRU2m+8I0beYBoZFJluYA97HQwkYBDc857BS/yo1HsA5NdwUzW8Gt1t4iNQDaFfyKa1keP4ueKLSAo38jf/34UTjxKdhqc9gpLc2EYR/8bewn1q2TEHtPyLbPP64oaYNXzmda1W8D9v8/QD/D7N0cQBqT8+uh2Q4ZQKJwK992lGzsdELI1F7hgNBYw0zlnpEFu7caplLvf3uJhPswiZtvBdPfICNK/0oq9xwP6q+woTmgaActK4HU5yY6F2kmTboeW7ABE+/qTadVMcaewgzsAOGoM9GlxA9CzGjoTVW1mk2ZH9K/PMwpXicqcctD/dptZG3prjh1Fkj91ftGVSshnA/xPhRe7In7FLMKX8uGntEk44/l09WucQa6ItRWoCAyYcQTbDeK2TTxW2YduCQqO2ogbrzMsYHwZtyBVvx5srGjR3CN5DyXaKb7ZeX+S+g7YL4jOvxCYoddqbQ+SaGKQklkWFREC7Q92SujO1nBocaohwaL50iQuZYo4FAm9Y+TgMiuhapDbBgiUlHUEqISo795LcU30rr8kRVIf6DfpUMmxNM0+fzW7wffNbITXWKYNjGhk9hAOa7Eeniw+n5YoMpRqPXcDwaeeB555sTDbQJcUO2OkffEe7AqSJhJo9vTHiBjLVp45P+8vkl+v4e9kTZUbJ+x/7ewSZ6Ul/a7UGrdeiNODosO9Mpg1XaUM+73IB7TyzMZ0xyJO0KN/obhnsbCXxvfcl8wtp9j5O+EfkP3MFs15UqekElKoFNuGL2ZqAXGkRsP5JxXc/Zvy4YOtWXigK6fLZU2ll0t8gCB6bbVR/HUOWj9e4J3GRQB1rfOc+ejW3UxJOYulayKHga7lbWYWKZK+RhV+lCXKxO+r/muerL28Emv2yrgpPuW3/N1X2Dt1Miw/Dkr4/sYDvm8buMKDPhrxMaupRNieQVpwax3UiTjh+ySpq6DDuG+x8LlktFzl0RC19SmUPNj/ld622k35+V1ziv6xAQv3UVTxI+lMGOGb7HSzKUXBNV3B+6ZlvC7bdM8BtHfkwr7BJEtqiQ4o5vEabuDM9HDfBXeRdNxm3Sp5xMX7FYGu5I4XykUWdAsi1isFX8ygy2+Gu2j7RXM2kVEjCQfdbacv4P2YLlEDH2yNOW8aLHNgQXbHMZqIDI3BEbsuksakx0TLQul7I+VOqs8kS/LlrKogDaPdOTinUJ4dKXFsgj7FRGyeycZKfYp694LjUrSlIAqcNNx/TK8iahQ1ZrCgOeCP5vfFVsAHW8kqtjtofQeQ9E/2TpXFfk0QUpX4ghhwBT8txNFvGReX6IMBHVeUc2vAkeyZtsa4HNM81G2FXrUBXJDJJSbP7isdf+RkQDIHj0XFAb7drLy3aUu6rnUhW90QS5TwyqqNbBkqQNim8Vqi1jtiCggNMnUXWe07kZOUUy6pL0zwlsD1gE+TSFa1Re3R0mDj1JpfXexyOep5UB6q7oV9F8Lo8VqiTHizEiloyldgfZin6sKq3I8GrFemXpJvC4iFUG6j4x1+CXa3j+YqzpDQCrQmQZ9xERDO86+Rb/ckg0Ip8dGADO7W5NauICBpKXvRzsqZBu4VIZN7PA8m0YE9Wi2uCNaBZZXOlpUXQw05vwHiwm1gXJIbm0oRgSkWu8OZOOu6jI0BKgy49UOWXg4LFG7kJj6b+ZzzstM9Cnp1P/VwrAvqwfYs1PVfOPZw971+kotujwCkVz9T7mWd/GAhvBF8pgFIc1+iCxR3oT+2WdSFi3RuFycysWMRo/dVYHen0cM5awx9lDM/7U2/zusiVx7gDpKVMNThZdLNQiO7/w52dK7f1eVnHixpYwM9F+XZFkZNvuom9alWh83tLsPhnB09iuKVoXeWdS7h6QLDYcmZ1TfjVNA8AG3MfYTRBbgIzznVHEJXQu4uaDUnIHIkYcfplCQ20DwBdBoKLm0k7di7Xup+83dg54t+jI3uIHklJh7ZmnHDXNPnsDnu7RG0taN8FZiiFxFC7faXH7Sej1eSFSbWmOzNeRMuNDmEq9uD7MnPPFmYB1wi32K6sxBKvcoMWZC2EWeQ+d30ZOdNfDfEVVCnc/ykdmOY0j2EOJwt+j/VvbXo6Bj8Sf60lMprmr+VT/9TXII4y8775bgsPpQM07nH8xQIJF/okcxOo5htP5awisUUQQGBFCB4awgBqva3oEMOwRylufV+2BTpUrm9rkf0G6+4niwqJuRPbnika1lqk2qbjloOKt7gN/TJpViHbpgQktDmLjUmd0ExIhTFaiu7412SlrA5gt6/dK2ZdB/pAIQBkZZ75VIi7IvKd0m093sAcQ7AJW1UP3e9bj/Pgo4YTKvUxxGD3X7UtM6/lL/S05H9Rhr8PKYx7a5DFil4llj+8x0lLxshTOKs5bGiS9twfyxP/P0RIa0RUm85QDjJOaWA8bfGv+LhcuZgc9i1ZU1LfziHKyp2W8D0jpqVDS30ix7ZOh+tvo4bkTB1WLFlUeWZr99xfwalgwoioHTGYvaVFI/HgtUaTygWxRgJKKCfM4ZH90+4V46sVZdqjihpqSFZOLPkUywP0vEXK/iYmV+4qSB7yi5IQ3/lXr8115mn58mO4zcXASXGuwmn/BV8cpefkyrEk9yKb6TqGbkrLJhbjAEbRqStNHALzRdlqWpWz6a/THaOkEc7QoBA7QjFMbaVFoUHz3oZt6pPj0oL2I80Z1WfFVKeAaCk++huVxAO9/H1OMom/JMfUw/kZTLrSOCskX5ckEdzHyluCSkjLwSCeLNbbBkjb8xEzy6JR3zje2cXJ29N2r2+SZPYB3sc8FDMYXKPcTTcPTkadit2Yo1K7eOhPKHdN1AAXppklIXY4J/lioJOmIwxjJvphRZ9On5aY7BgnyOdDMSUNBkSTOoNq2j+7lkEt291wJd55ZUd3PRinK9E5t+O8mHDY0M3vLsll+cqLYITAXco1FFbJG9vihZN5KxRrm4M+BzpsH/dfQmWQJ529s8ykoREpPl0CBegnhv9xoDQ+Kpq8cyQ9NHh6eV+xR5TPBUHJN2yTTcSEIfSa1/SSKlGfI2/jwEiezz1zsi3C5nDAmfgN7YwMZUfebc+y40egBOzJB5xwlBRzGuQ0BzFZKxSZRrpzFaHZQ414w4ahMZYgwKQPwRAcmdiIqfuD01YA9zTlMy2AK32KZOQtG2TCwPVmfxiQrsXKxjuDZ1ENhF5Z91/YGvSeO756WjJIobn7qYX++3o6BN0PyNRna/miOU+mQmjV92pNkMdMlEkz5I4VroFYrLY9TgttAIEWuAxSMpCoFwPBaipj/9aZ4x4yCtdRKkw62UgeMS6cGsTQ5zHuDEuzxQRVO5UFyhSsEpYZpQJWXTWk8g4vDJpzGiCEkQdbl6wH0PAqupHjAS0ghoI1hUIYf/xp8n9FNtHRKmfUvT7ULbUm4UimOXC9M3kJnodnfM8ImGe+JU3IQqJJfojvFNBd/6GJstjk1cD1V5+ZVGKGWd7PWZXnWutNDHfmEzePd4B6k3CCoPWRuHuS2NghJMKJfmF9tKoEpX5+BxnwAdjopq/upU5nE1ACx1zGeZi1yBeNepza903JzO5yykQYDSdz+n34DuLXmQw/c1/b+vPh51aXR2CLIyN9wR557znv6cRASeQr4RYB2Z00DxW4iYjnl1ukFpNTaX39C2y+ev5fCUKWKaC61zF0G1vnsx2X0lAZUxwFhbgKG/Kl2EVD7n8+FEvG8oSZPST/LdA+W8Loq5e0zpb82BtJcJaIWAX9KDIpH8QsoEM+OJmF6OBcn3mQAdVjCjkDK070v8g+Ra1nc1FiTLhtMcgtOQvdIut71E89He7Gti++n77BOwVr6B7YTT0ous3VS1V4BiRsBeK4RTWEHvRsqCFokBwdJcq0ooO7hgnIEnd/S7CA1OKL28H7PvyIC0Ci0xAZEnWKEc9vg0B1OiQTkMJR3sAkyXMqYHeJwxMVxYsPDlWcyn+90T37XB4Trbzt3Ljt7Xs4ezxA7Aqm7f7YHzaR+8UPURlCFVmrz3SS/gexzIrmir5eJ2aV1bjlV7mV9rFT4ENEBK27z8ux1sGvctExlnkNs+yqZ0dWWx/OaOx/7cVVKd7ZVIHsK5suIHbWcko+3adf07HswOb/4l4wFIaWo8vJzys5W2kqmzAXHOK9Udjf2lBYH8e5qWRk31Xw/kr+2exWS8/fQ5glrlyGUz/bYsu8Fq1J+lrT80FdQfCi5Hk0CtL8Uiz1eKMOrcSrKI0gd79c4sxkNnWvzeIRk1CfYVw0WWBwZUe9OvPcCnOlSiWfwaOIUSUdgujnHnq9dr/KQbG56CZPbBwkEQ6Va4hXpt667EqDLUKDx8cEUBVvf6cBvIiRNYip1ZWGF4MDSDPC3XUIfV3NFWXVx/3+qTQ1G3X0mW7qVawWFmV0n/tKqZMDKWtiV82dyHNzjfzoIVHAn4tP5L+XlLK9GfufrG2wjwG5J6Efvndsa1zfvn7o8o1bstvH+6EA1WBYC6aI2Bm2/iRuKebu341Nn1aqsqxep6enaPo1uQlsbQwMM3sCMX2Q8hsbCxgu5yEbaZsDhamlO+OFoIGv+fWNwS6nZwxpR5u8fVNlkQANEW7hnZcX0VY5gtdoka79bCCZiiw6Nzsm+PN/p4WW80wm8Lg1sgB61BrNRn1yQRO4JV12qFkez0eueZpcWUvf70Efsl4o/ZGXgi6NXUnZijov301/1M1H6zBL+H1UOWYYi8TdBnlJKi/adI7x6IYMNlS95vl3k22c5dwuiLgk5UIh65B4DI89hHAqQMEqtyxdFn8lYu+tOXxubZitwfkl0MFdyBUjcEfGOD37kHKFvHAw4t5WIUhsWbwhdt+4rLk3X2LbwUmB9mFfSxvoA7VobFdp/gsezrANtrG57kykxOKM7sniBgxQLfB1oONXrh51s6fuF5FexyCqAcIrz9BqGFy10lKzcP4Le0T30tfJIhcr7O/tRzMzJ0Qtu3MGQ74aPf7dFswx/HjcZsw+UETne+SgBztJKTLj3OqyXWp0M+g4RTz1+blmNEg6bO3QcQ137DcyvWTSruZejwNGM9idJ9sh8nfiBThevzBhXQKYgNYaO+pFIojWFynhY4bO0Ab5oK92hWEUxU7SQqFyFFzFyXPc+ZhEXd4h/Rd16eQoDGX7wTa3Mu2KJtwIFXbPuZOyQqdOhVMAmBOsIZlzQNoZoIm0vFl7IA08BuD0h72zgDjFIHZidCP9FbajoS48EeDUDvObuhk9R4njvnI2eeybiUHWDAhKmr4hzzck+xzcZqaHCaHySkNywL0M4KjukouUHnY5Q46REttRPYUJSsvwXEel13GMO0Cfh9IT4wn5Os1m1y4pjWHHR+lR/5Gn65cKg4S+psSKdChGOeK9CfxJz0+eQ4Wl70oF2q1AkdjXgCwzKo0Pu7D2XJ2nGzAZtArEXV/bKIW2HIZNZe8z9nnim9RKQqZGyTNEPUq5o+lMKslJto0CRzcEp9QBd8F1msePvVNjRTUhEchs3UDK6tp4uwcMqJE4DbVCqx81mnOoEELO3FezCykZxNusx4+2cn840AelaWByBQnvMV+5KDO6hW9p/K6E1biMqkb11EghQTE8TbTne8TMEXwNyCkcLR688r5cHWfeRIHJklYQ2FHMCvgSClCaZfriLcE0QrRbjETDS27irKrmrnI32FMXvnEza/TMlfRAvwdJ0LUuZIvBkLM6rOS08ECSSoQbTNuMh/X38AotLwhkazpefZchAxHckIZvB4cLsrGh+PPrh3KAs09wTcHzbjRGAoH0sfwUEgEGPqQaVO7L3kHH1VpXB97MUwFpAsX1B3q9y/cvrj6C53xVuNnj5OFkER2rm+qgHdvID9wqax+IULOVPRveFmES+xEsZ4NHhnx7JgbvhoGdhvt7PVwbhG6fIkY88+peTSYDGCTxGeBlI3xs1qFwmgtWrl3Pd953BMQB2m4P15JCvTGi+Q5VWkRuoR5w57WAVqYRH/zcqxCp5AEpbCkFSXCY3y9YK3fHKkzieKWpXW497EVlMvg+Wpanqjbb2RHU+xhH4aUynMV0Xgr0W50sHDWUf4YdpTex930CKH0E7lCIovaIlMkn0PgwmJR1dwJWqmaoADp2X7pfWcqqzOPKHeHPdRzoHnBvlqd8zhcbqsxMpM+7fdoHTcGfd6S4+k26/wZ61c/L2mb6wUixIMryAy3AOJpjd17aykrioVZelxmQ2kYxn36D5CVqVMvpnfdoiZI9gzjC+43WfAEkbd0IiLbMcuI9ZilUEQs8YjbPw+31yPyyNGG05jLOa+N4A121cjphV3nv0nw6/85fNuPkFjEWRSTuh16sgs5I2vLaXpIvSmTj7nB0dJqY19FQ21Kd98zJhfQjC29Y8ABE544IYUmqDifAqI77NMeH9goFRAzkPY3qc8MSSh98+JZ8Q+k+WNZG/lKXbm1Pcwp6ndqjfVOeGWuVqRyfN6pUFGYGiZiHO64aATDENShGSVSafjSjhTjAPvxxmujGNw9j/AWhWNsdRO11gCUmnyIOF6biyZ9ZGOin1mmTlzcpOSCdAwu4Cxvd9sFiaoVi1GriXiused/OjKeY+8C6I98bC+a1WDw7Gy2GEILO6iHndypvl8RpOk8pE7zKBFo7Xc3BbVpmLjxeYPKWi9K/0O4T0Yt5m/8qfi92k+lDUG2GmoY99OhbDsSOc3GpnKuhPqaBq/PPbJDpCbqp6B0MEchJAFzu9lb4gzHl3WDOnRsGJVoGzQRujPfzJShzUvYdKhVRRTUrLJm3BiP+T4yC0OgmzJ4pv4VL4+YfSHS8xoEsU7hryDujy1CQfpM7c/RixSRAmQxhfpE4dqC4DwPuw0ImHLe+b6s6/SGQgdVea6RnTc5kzTBNnVP3OqSZ6n/QFWZnMKv7rtQbDEPf8AZr82Cul8yht1xo4xuZ1oerkfO4P/I6jHLO0r6c26Toa91qO2qZlwx5ctiDXAlZXjpNgkVvd98kOixwIahw9TMGypDQNdEM329DCFNTStJ+HH5h0oQq2qSOlUCo+k3yCjjs58Drh9dphIFkrEIyBQCaLbTIm/7MA3iNKlnR0vrxWrHtiKhn/KNOvHkS8cywMkn/Nq+DTdfKgq27iVIstB5dfH0IdWVeKzks/wR56MqxiW3KwAcT2TUqxObvLnuh1GhQ+t1dBa7SvJVFi2ezaHIMzPxWhVAQnV94N2FJi6+SuLKgm4go0kJXN1mhOFBXi/jporaguLIg41xjsZgiwwsH9xAOeDY0Q8HSY+7JDmbNOpFm0vIBCwdlrgWXBVcC7NxmQkFB33MyavQkMWv05YhHZv/VGSaAniTQ+TWpvhG8yN6PNt2HAdahNVM1rFLeBEAaEaj3Ro5TvVIzULkgR6Ke7xxWuTzJ17hZmZTSlip1kNzRFwgqlOjyGOVZ4McESZqKRMnjgh2RoncARj317i/plFKxFjn2dxe1Pi26Iu1JUNkGQM3BKKAOizd4YOc+qCe+x7ORTCqcAPowfCuZ2PV0LwLpii3uTkxoo7/r2QTLXbwLL7qJHeraJbe6GxhUdFX/5TnEOVjQCTSOoUMhsFpTtVi5Sa/WSDH+RTKmsdxm+j8YCvnteG5DZfjgx0z8ZWeyv79ytECBqamcnzv3FRyaFPDR4E9W0DHmUSm43sCQKmUMV7YicyDJKOx+3wJ+8obybzvgAJs7PheVprizHeWRy+UAur5NQQeQRyfFAWX1/G0nwk2GWpe71fEZ8qzOZB6TqYT9n2Ggx/VVJqvloy6dQuxkcopfSVTKdIsrRMMcApbeO0ga9ATeemmm0YsNUGRJOgFDCGttAJCJqCqcJNFPJqofnW08jUiKpQh+963vi4XbnSJesteQ5rhaz4e0B+dxmCEyaOT9SYOEkrzR9XRQkzCi4jp2gRsEEjG2rRb0ZKcxM7uPRps2JL1tkKg6XMInZEO6CKRnl7dnGKgEsbrJQfMATIamvVuFTjFf6YjES8cA0XQ6V4mxq/t5J3o5c7hz/fAHX/sd6VxK2Sf6YdlnOXUadKxGXyoMzZvTK1kIsGEmXgCexSo5ebO9OzSYkQkpnLGFMyu202XFUS3yaMmQuwQS/lJroZRWMkgtR+lcFVleSsJaxx8G/wVPYfxHmY+chJ8Ys+cZIzmE94ab0MA2+KfmnJLPS6FkqulTJC/Lte62zl8/c2MwO0evwLL1wfnV1NVvc2fCGDJabOlKtRiQUyWbMi4XO6sB9CAPjBsRInyIN/UsEtCkD0doOzQrQc+e1li0ekL20AFd6asY/h1SEVG5C9Nj0s0VjMta+0SCy2hA/QKl1sKmK0sY4/gfELdb0bAm5X8kgeepmzgZQuJ5F97F75WG4kIXgxuGt9uukUKEMm8+7yf24B7EzQGkZimKCbE8wbOVKuPbcvxhcqkEZDOJlPepQ9922Tp5CsmAZ6XCs6sUFIkh9vSZ76nkyMQRl6B0aatwL9pElGrMUgwQvMC+Gb8YFoA1KYL6s/4pv5tSw73xkDmFHvzrTGmSkA5OuPUtIOryDq1HGMVigarsHCQNAHG43FM7ttZJV4OJuPA1RqPcj5QjhbamhaPXLlN/C75qKA1R/cok3sEv8cRnuaVa/d+NfwMsV/NOzTnKS3xrm6WcdKuVUqH0WEnzc5A5Lvo1gxALl22NxvN4R8oGu8P7aTCjPdCQ+K9p4w3IV6vR/70FrzwO3tEyYmQgvfHAgwp3oFK0/6V+sCcOXwGGEJB5+Axs2tiw3u5dkEcP2daSIZNkw2RGFz53tqLSDnzoYoSwfKHROX8hSqQ4B5Mmba3G6T5uPZ6xWfkc3rmuexFRSe4A2nsGUKQ8ArC+2XP0YXvBTNlLeWDR8jthSJbd8f0RrzYUZQ8ZX+iVRp/ZSWr4r3JmMlQDk1wBzHIzQGqMD2K75RSDFT/Zq+gHVZOHwLr0bspzMbPYnPOKdgraOzoxq1NR5XR2A+DpMComyGNclFVqP7CY3kLUXZ0HrFpR2hMJMnsC/4zkkz+aR0eWNs/TA9H6lTeTDq0vywAZy1nMjMKq0IY0XMP315i1hPq5flacvcrPDghyXMJCPciLkxF84qw00JMYp8ZTtzPccQFkrMjaVyDukRHUWnhT/T8ioTKRNLs75LDFSpEHQU48L5VYvKJ7jGFriuZ+eOFFHv6ct+NGdk40O6kiaN7HOoIR9NZI2YLqKbEK13xX8DWvyor9jnBOw8XVoarLJtwDI1j2h7krk44gtR91ooimpyOWoZpukl2kbgTUK3uBahgev7GmLqs2B1MriT/BxKEJSTG4AxCM7mrmmNdtpvrgMcy9lLQXvcOyuuR+wdP3xp66X7dNXiHLBA6AklZ7HdGNctKpD5xHLbyi85jrvudwqpYsCGOM+o9vqdFg3b95YIiVjegBumQDQZ2OBq2wc8NJTT0of9PiG+zbxwFyhs4s79uZkV6xL71uqwN3LNndQ3lau2PnHJO+U1U8Y5OZbANu+FJvq2M3szxlTKsGfdddUO92iu0KfGi4fTQsgGsCKgZSxWvRt/pISXTt9xq1oxrUV0B6QXmRgbNgc6Vdme7EjDi5DBWObkB7T660KEP+Wx3YTQndy3BAE6mZg1AjoFOVFiqLWOF8F6R66O+kHZSQzSYjv2hGPGULHchEsySGHQEZK4XTipWsCz7CWn3ZNQ4hyczATiFSBqSnuACVA91S9TVNSkCJBZm1v/V5i3WXmsxiOlYzZTS/bbJ7pFOB76W9PpkKZWnGGINvQCKi+cCR/6ktYVUjlShce1ZK2Pqikj3Si+fTDP47VvqlxQnhfYrH5EuKXA3dGAfb3uCFNGWTJIJwU1rkRiwJw80+fQssvJemnC7/Qsu3laTiI+prJaCfbgPDK3o3jITnx+BlldQR1uZFjKuMYJQIrFOvAfMdkYimbw1I3lqp1ocikw9Jgbt1yOEQ1y6ZlNw3TvGAGMCmWIbonr/wZZ8B3fBTpZZOVe5Q1ud/87ZRhP6ihLP9pE9pa2maHEIMzZIHdiTUgg0Js2pXr1nZiSt2YASM2M7ZKdcPBUNa7JyPpYZOuC+CchXv/0ZHqd2wiweigItGQmZTlB5ZGTJsfYp0s4VAXTnH+xCv+KV9t9L6KId5iYqChOBb4hOsDNWO6Hz9pCitXb/ZmUexxp0R6AQISgxGspdHsSUtA+IcF1zZPAwjyHg4I9LeAsvtcodd0SKGazWefViamkMTljbGowiZKmAffxQaw6XVYpO0fuRNakZBI80Uxk/ar7ndsnhFYuHtSx9Q4gArMYf+qbb565PrXVQIMt7zcS8GfRu/AP8SXI16YKZUJAP+IStAZ/dtAYN20SLF2/r4FvpDsJspW52WVtnXvU9w8HcbTrhw3SxKqQZyeiHKI7Y0XPOr1Bb3JcD/6uhF9mt6CKwMtiwTNDvRfGJULKL4C58Z2ZSHCsmNplzilYnfaCcLnwDGtihrPjUkmeHSjEO5kSWoSUQE4jziFGB5H5w6LxalGL4x9fdPfh1V2RFo+/zbtDwDaFkZ50U4EMLhRou2GJiQx0qwWyW2V9Vu2b4Qc8iOveOk5dfSt1A35DaHvvTr7rAIhAvVNJYhWMaqY1ZxLIcrvSgixPA8ateaJKTVjfFy46B+nBggq44W/x/VWl7DeR+C2Gsl3tPp78QJy94N8lYjoC/LZg04PehLnIlFhrC0CAxBq00zOuBHSQX/DnM+LzxE49hYdLgjj6zFDO7ZH1SwMBot1/l+z1h/0LDVFU4IwpZgg1u+fflJcUKulnX8bbLXN/nssm5xtildDPWzgkHor6J16qBb9kCZLrJV6m5/v/muijgoT4r4CjPYKJzrHEgETbYy06E4s04t7ecEGCyxuV4XtGTHF1yZr93K5mOoPAjcL2GFCyV/dFE42j5ElN6CqJaFYcKfjOcWWhbyq2NiMCMOJLh9pgvNCVYuCBRwal+Y2w9hg+kavwvG/jA2wJ/O4P35kELcr4Mvn6AfevKNd9pfmXYF63BKoSn5hGKFdjxzS1kIRHL4qpJ3WUMvTpWSq9ISu4XQWNUstM9KB6H3CpTcQUerPhoEDVTN04AjBXPqWpp0aM7/EEc8qZO1zOOh4oCEbnt6XhLhqs20ersas8WbP1YJZV36BuZxVGJk44NLJww6I1HtcZ3/O0ldCEyguOsFcYTq2+9oQh7lvBmJDs78FBrTtZ3Amr6mE0ks/zQOh/jaMe7BjMeSbn26L7LKy24GROWGYscQzAK37cwPak9sl5XeAZELkNLuxoWjq++2UKYTo2tWEPipIeed5zu5UC5qoK9y1mqsyOr1ZTzPN5XXd/xJiKsYXKJhA7kNqNY1tJHxeYtB/1F9mVI+oGNY3da4U2pxCHhkvFMGv3GUBBXdRxe9ZE0hM8BZNUfax6vOtDl/+uVoGbROEva0G508Lcl5qWFdemBmnBB9KyuuiOTBIPmyA07d9/B4mtgg6PyxIrns/KUxOJ+8uljIh/ohCapsVegBzdKWMsTpviFUcAMpeVDi8nwEUdNxX8BdyCmkY9AVB8BTTwA5nPMGcum/nnaC+AmUogtn5B96QCD00FwIlSoPqnv9/Tt0IpvtcIS4yrFGxAlUG4vxVvBi9uzgbzmQtvDxd0vm3MOigV6b5NuedReo+h5zss4za0j6H5P7wwTFQzKMzKmi6lVJtUA4Km1zbhT7EPFCRk5ZtRAD3zQt+FDltmyfv5amhv57jo8pi24TvNpGFh1oDoPtHUt90GPqvCDXWxipAB8NcMhsa/AQXZrqMoYLMplPz0petPyHq3OxLkYRnMaliVboiOdDsXWYciOYRgHhpz0+RI6vUJoA1qAgiPlBIcjVcQI0hfLFAqNyF2oz8E7Mkk1dmvqPzuhy1jha2bG9URT6PXBm9nmnRiZ2aoaLjrnbyO4V5bi6eaxV57u+Rhiu9eT253gIxYisjl6YMLRoVWYYUd4LAyX2WdTm9dhexlp520zCwSkZ8Hg9HWjY/WZKVjAOtd8e4XFVXEHvz2EclJDMVC3dl9a+ifyHoPUcwkWM9qVCGX/q4dUi+/xtKu2TXjXsUiRWGq7hknV+mLTb9Iyqqm65KDaG1MAFzwVbvZ58b3ai0GxsD8FuvEel01xKbZe8TS84RMF16uPgdTieQZEvcPDoXbe8sI9pITrBFwU5Eltp7pIwyzP51csuGVqeFhJQP17UELLNudTMBBwnOFKzoL2uE3J/N55NFCEuwANbLIWyf6LQ55wT9Gs8666b4FxSDyiH7YIgz3eGikRvnn1EEE1B1XKqOC84j1L9UEwvNkIJBX1lrTrADX/tpWWZ5r70z8qdhriJ8vY9cSCGxQR9XfWFI7yL/27LgDhFm9TMBnQHLw8zZA4xMK75UB7YKlaGbIPXbGMzP3wQN6ozBF2k41TA3LT8z7cihyh5wuhkwfhwhwFM3J3zLOmyDfm1dDb/nAFS5T6NrJlOIZj7vum4pT7X5nhmFf+qM0dUbSj2vf+4MmqXXnsEoJnjNzJj0IIl80etIHtgULzAUOgPu7tO3sz7l87mRIYrj57a0d8kv4NzUb9B0o/gSrEOPyjX87E5eKDm4Zbv4oK1p2uPwBjkcG8UvS1ZKrFtu3u1QYYU7rEqi8dijUw1Kt4Cxgr8Q5NguOyUbderG9f/fu9f7jV8B4P9eauJJoHiQEWQOjVuKHEOJqrZcwPD1hGz1ics7iv/V8/2aTufTQ1uCABE+Hg5tblXHC4i+Dlrntm5z8aW9AzzDqzqw5t/9BCDPgPmsdYWTwdn7m/4TVMLfmMP2wBLCQKScDx/yHAUaaLpViLt4fdd0S8BM5r3KkZLBi9VqtsfWBTuiOqZkxJXNhh9EcVUexjPp1JHHA2OoG8qMuich4TA6Wf/FV6sLNyc9SOUu9q4Ak7pjQTvjXBshwrdl3u8T6RYwRCfHqsoebdPj7Cuugonr+IT5LN1Wyy36KKCthV4Ms9pAj6ngaqBOrQZoDWRlSIQudvVqSC86tpARo8OB869js6tzrdY9iN1PRE4HV1ouPoexp+58kS3vc93SBKL3O/fOtfNG1uQGJTpWTy7/rA+P2sY0xy34c5bIXzLbaohTthODKQZAL0Rj3koWPVK7jb52CklC3adAqGqxb0mQKBpZfc5pJzY4O9n9z47JYotunr4mdZL+qhpK80IeqZnYJhljvfZX2W4JSb0Z6kxgoh1+NDm6RfhEBTZ2OjxalKA3tbEM2qDfWaNZS3JEwy1EDXGVZ5zicisZ/WabH2ALENAIKWV8En3wg52+m9o6Mi5iflj+B4cOoIPjz/X/z1HflJP34Jio1AXI9f69TEGFRv5O0Pt20c0RhzGZgh2EcOc5Y/7Fmr2yF9XB1SvWSSMm/d7e14tXFdVKtIDrj165SvK1k2EGTeNgM1c19bF1gt2XhOwZWsk1V3fAkbt7dUmHRMvD4W9yAYiA+7wKPAxck6SUTZ6tgVna8/UG9ZtBf254KoaI49Bb1fC3nzuS287p/g3jyrMyS0dh9XVhaL0li5fU8XsFZDedoQX9zpeoAdynjFgvBzyIOiLiPSAQV3uSn1vVeaMUBL1F1qLuirTd6Vno2Ws2LDLTVO1I/1GbO917M5pl1bjTmXJgBzsTRt409OF/NkhOV9pInd/ORiXqKVrB48KusbdAOeeTGjQHMxaZOFpg44xgvXyNwgmA3DZNF7Da1upiZCY0GpA5QDYFdgo/anNmbihIgmtAz9ctWkMHR4U7DCBVp4irArjREAciRTvhTFeGSgA/VOy6SuSY3bUIisiWCtfUX9NlfFuTEB7NBrRRyqEtfiL87r0tbUyMYXzNaygFj8o3etrYU76tBIn05DsB1AGclKZcoG7LQzQkd7B/9ezTUoN339MrTayE5q7XOecmBWlOgvD/cTWx9GOb8bcr35Wfy4bXOVK6m4FVBn1NiVMCJO5oub/+aJsNPsRK6Xa6COrDdgZHmBNB4LWC+LIK7oqT7YCByKPdmLBMY4KlDPotMp7QvsxQpoScCEm/MlIoklsFPrTYw0p8/wsA0PuSuJPQk0QFjO8MYlezL6i0i8DMYqu0pU6NjuV3tbGaOzbybiYbkX40smhOo9/UE0p6rjJ1pcxH5IyfKA866hrKRyxLh2ywmKkb5lw+JoUyIL29xIkuOxViU375dmaoUmLXFkcNiza0zp/klL6oWw1iVtSMgxYU/As9eVqbXo6vH3qSAGTVqQ9K5sPugdWu4dKhGFXtV/T9TxeEvlSnBd9EfNHPX2PolXgG9BHRFsCRB218XNfD5f49ZLEetgVZFhzwMddBuxe0SwwczHpsP7uKeN1on9BMvc7qczBH/Gawn3UsOqhSG1OCO0lpDs3vr7AiNa+FN7ahDbSgn0DjBSpdJZy2qHM6yrrcCiz0MhBMreOzVySlBbRpDfr7NE+XbVmk9UM4e0524CN3nZrbpQDA47RRRoN8MbhW0B5q/WJzk/GauHp0IscV3NrGLkzUU9km3wmHx8gBabQ+xgF3CPkjh5TxuUw+voe2n91cejXET70utXNf+MGp2XXSrtVb+FvWftHvZN4resPzdtOfIfABbgqkIBkxQTn1+2NerYQbVNxrS16SWa/NQEO6QsxrFFagEvhFXpBYpt5xPYICkbx8zpGQxN0uFCQVCABq+PC4oRmmHe47H10ITPYryhym3YAOp9//NDnkUEDbjJZImBiqpZxk7XRp78tS9l2cpgKKuLLcYqlErB8NM3arR2PwLIoc2JDnUvuLvDmUzPk7ff1JKxCe/WjxLnldRtolEB0dm3Z+JEJX8G/omUH2Dt805KWuc8D+RWbIqwgjPRVz0Zf6GpSmApddCJJE893hK3KCkrBb4wwleQ2VaRlkLcJfcMzIH/rDxTuJBJD6T9/6mMgRL+ncbvLwayXrXiPmhydevhIZVPe+dOXuC23JYHCGG0IwCFpY9IJvZmZl3qGvZ0FvXlkPo1FcbEEJ12OieYY3LyBpUR9LVvEx+I8q7eCYmVS9Qgt5knOQeM5YzmJh0pm3sM/R2Ha8/pKKdW6VV/q42wkhCUPaVOUIhH1tB5GlAtO4BPSGiKkkWO5rZM6NY5aHobHPnDfjvEDBiTV7QBCWdzRJnaLRFnUBzImMZ8FNs6gkvBq2gnxgAOVULRLT5etEbZlj1z/kngxnq3bHTc0BtnwpjkpPeH1rTUI1IB3GDd7PqUod0DYAFUDQntMJO2XKtodlBdZhvz+ucgMNoaiKgLlmPFicD+6XKq4MWv5T/n+AfsekJ1/Xe7dZbRldIcUEqrerOvwA3g4wEg43qVuOxtXChqfL8F+Hx+uOoNz8JckbokxpUgsKosRM2igpXEhdtoR0yonInTlBm/IbtVKWMOt39vbQF67e9+G5Pq11bIECKjywO0oqTzscYADYI4oCUWF0tkxmC0LYQzjMrmKXgVVfFdhVzJ0sGiAwRNeKuFUt+AF9DlDvjlFyAvXkS+iR/iIns7bHwABN8So+gSD9XlRI7loXbkLO7JJHpDwtb+IGXS3ReA95TC5ZnWwGCShQTlHdvqTljc6NO12fYWOt9kepTMhPkXIJeto8iG6yos9Ba/KeyQpxlK+uVIhUtTuqDZ3yhH5dR44bPlEefmRkJMuMmbNu5vbgQGYDfkVuCOEpHoZgf+1SaWsnPN7xeksylSIFkoPBC1TBdX2roJfOC4ci+B9W5VDtpCJTXBHiprlOAeRoIziCRXV7S3n9D0YLggKya9TamqfVGVs4PJK448D86Pf2o0tvUms+Ewx0nCUiSX/0Zk8tZxsO09/QViCvxImf/C33W85v7igpCwcZ0UWw13e9AHt3dZ1Bj71R/0dR8e7RQTdGeZpysgBQGO9iLT9sCitZ/NCgF35/jQBWGhAG6BJ0EoPAL/TV0YJtizxp9l8LYV8+USjz5fDeH19iEKMBm856Ykk7Q5YpTzpmMhTh0yHNLQ2A1nmctx786YXbIHxRACnNT/ZSniWioCP+WKvGucUTCcUkj/813+Bwl64zYq3pwLtoZBy62OJiqFWhremlwEh8OehSiJ3oiums2dbpYS+XGopuQ1bPOeYZM573atYrvvf6VKCVQLAx9OHVHci9BzCf+Mmb9hwqgGWzp3MDhEiU1I9ZjzhBjBJ/U31lW0WWddcVvzv8MwOY4kEZlspAJRJMXEXojB8NbSxzsat0d7t5UwCXR5J0miQCXWrPqtTNm5jH6Jtr6yz8gptmNLp+Y5XucRMYuU5eWI1A+YGBveJ5HunG9ql1Dp/bo/QuHCHR64OrGPvg3pzUFZwzBg0uz1sgLyMNexY3rHUiK4Xwm1j8J1m1Rb1saXQwv4GYNlckHWnlsxlx3tZZQY8XCoV+2cxk5MgkAA8CVy4HAgCIGfTmxrQZU/0TLxZWHG0XvaGX3UzTXWnajhPAOyKlccXDqnYVU6P/JEiil436JMS+v5iT+dcX+rcqUIj7vJ8nw4hq+IIrcqTOM02a9nP3tfzjOCfcEeqSSpq6l/NawRIGT0DBXb4bPYCjMq0k33bqWWf8fQ09FgYTes8Sgqgx4UIrTcKW1aiY/zreiiFlKB3Im8gzEjPdsbKblCS0BdeWHrCH62iAro9lK1xVisiu4MKgvcgVvIgrnFyQcTxX3dU8pLLDpJQ2l/e0Oa9ZzkSJRBNnndTsFCcd9rs9nhmw4cTp6jXNJSJFXkqB77ooUIwE19DEuy04QlJ9MYgqKmi3RAlT2ZQfZiewUW1RgQM2PLxiYnzXZ7hg2sRCeWzR+GMDFt1BbCHWUAn14gbRntqDY0JUIWcjzAZ0x/NnfE6NaJVSq6OUYOecEcDDEJ5MMF25ZNmOyAN+s85airX4/g0p4dmzdLqA8o/BK6bTQaPS2augJ/aayTNNYhmYBI5fTVRtkfOUne/HxC6cCWmfQGwl/ZXqsp0MVT1ef+sLJrWppR88NhTrIx/7Tup6M5uk4NSxtGzW0FaAHfJV4VxKsd8Es+ujopTYCmYneCDI+8BnclSYKgpsw8Mp5Alrw7dwOSyU7of6tPk8epMBycfrEfrSpz9Q7j5/ek2AdZzheongFgcx++MBagD9x2TRq/fY+H/PyMlW/D2hPDH9MaRJ03yTk/ANJduiu3RIVO4xoeJpFRPHJPGwApS2F58DGyRZQkLE2MpiuBIj2fch1SrXDAfc1Wqryede3W2WYKDXk2A4SRe40qRlWJeRqAGBXgiZbtdsjtdCvEk8tuavhy/D6X7aKk8EvQqf1jIcgLMd5BVvykfPPv6PklcB6uLD9ZVB3zi95CakRk2VdIzJBxH0oV7di4N7+RTeJ1H10yDw+I+lnHnHRvzVKeDCDslbePNQ1jLDuyEV2thX+1yj4KdFnqWMK4ZMapdPWvI5E0/V5hxiiKEM8h1Tv/+ybbJXJrC+ULaAsqwqyZsMo+rc/sWnJrUzZ5My2efadD0IEG+oePIuIjRPqBSXv3tWef/218j5TP/YzqRzc3ALgkZpzSePv/B7UnYK2cq2qw4W8/JVDWBDKw2Co193qZVtAOYl3eO7CQrZOOfXcEyueUB2L71VfmWjj1k5dgyUCb946KIHmhE38+/GBoItqcAwg53dmh7v5fhAXUgxSkwUajQAre8T8I1UwTghgSAK08mrbX7vQGIBzIMiJlEMpOwLvbA/yAst4k1Y3DEZoRTiP7IS8fmGq6lbFKpHl3EeL68V8mc1fHI9eyC3cbD2ucUiBkck7BX9+X8eUHfehWH2Hgv87WIkO9usdYDaWc05YOu2v+zNuezvD0Nhr+7/P/VvGSIwAp8JbRCC/P9q2E+TR3l0PXE9yEg2YrVbla8IZMWF8Cw3RzbAuzkzBGUEKCEGf/a3Z5mMrJeMjrQdasF6VtW9hiQbyOobqsHJuEEr6c2PbeIN1RNXyyrTNUpX+ReFxQLMXNTeV9IjrHu9j6G+SXCNJuUCCi+fnFcz4F0aL4D8V5wnpJ8Jj9EOIJzwRFYpbO/pELMcllOfBeYPC69gXWI/oneRAplXzZg6A9AYGry+g+/AY9UlMyeVTARGowPb7mooarOgG6nLjDRVTgKD+5Y328UbbdO20UNzDkRFHC4+yTHxa8+XVifWIvp7NwpyjL6bL6O2YeUdlzRLWz7wYlCPXYTyIA9/09n/qrO8cKlIUGKl/PcE9uY+WmzEkWvxAwxcRKMTCbmS+wSEmZpgTDt+YisXjgNeNbyUQPX3ElfWmiEd4SXE6Aa1CrrzRUE6sgOKsjzF28Cnh089LvIcwDD5dL8CA27oZ72irZQMKcLbYTyLLgOGUZW+oMXA+9rRD/WCbBQ7f2sDUBTG4KbT9LoesdkRSg8p9ybaQTpgKrD/LpjlkzOnTaflB+FSlPIVDZITOHd4+dnqamMmiO3bdGBssfFcIZ9wtm7zOP91+B6wzX9grjGbi512MX9SaAbUpN/Eff2WaL8o5UsfZ1RcfwjDXquLmREIFKsrjOWeQj/uxbKY9h5NhG7QWICyhXSGHmrg2FCfAVrL85HDqcpCDTcI4+BIWzsGOIINPqantHhVL5/YTcGmFWIMicQBLpbnEy8ilMiRTZLPy4mvjYxM7u685ViwaI3sXinnJBX8Cyo8xHHnk8MlLcFcWGnbupZeqD5zN76bhloy9JiVXPmGrE0LkeWjDonJlBbfEGJt8z6kL+4tJ744bQ2hoIGIdm3R7oOh2NlaWylwzLF3+be/EWtJt28dvTre4epEoOX/F3TD05dY5+gA41YYgndb5yKwLa/rg3BG0JTXAI6Kt+BVNoG2lLRsA/YJjJhJVwS1ecBkb0dVGLou+FxoEPhRWPA7/zW0c3fdxrHkG7/1UtwEfLu++kv0FTupiw6S3e0TVaTkSl9t36YzRa7n5jCIrmywK46GXfpjhj5uqgAiWxu4zGFUJX9wI8AfmaBqex0eHk0PMkyoLFkAgQzKtTrbHEL9ayTH+p65Y/CRzL12A+ZPj6R5ze2h4aOw4iwWehb3MqWxAgce5kADUsbZKJux+rQl1+QDygcSlyar1Ox/QwToilBu4eJb3S479xBY9Js53CBxUAvOvyJ3rVSm8ghCpgRNGYYm8erfSPD6106LsS7PKTSInNcDJkw45bzGFIOE1Wyuho7f1x1xm6GmT7HAm2XNZGEv9eNv9C91rHqz3D2IZYYm8Qupdsyeyec7vw7yRJJEH/7U41tC+h3AuHrAYC9DQ2/xFclDUUsHj8FeDPtCewrn4SgSr5tA8HNvqXGeYCMMGILiCKKSkaFOGoVz7kSUFHsspkOd3jSTwmeg1W9BeWzHKMLjSgbCBTynCjqYg6nJIyjTxNQfU9ofUKBzw0NRwgUJGjGes39xkL/MSP+0q/7i2McfhoDM7gAfwvc2M8CygPuu0bTW1crucoQnOACpM+XbdSiuvW8vX19/yefiyPenqQ+n7mHBLRFxVJjKhm8O3JqZvW8xyw7vzs2VnQRMIOsxW7vPLw8q3BIwr1w9dgqQGYXx4h4XYjW0Ylu13mB92o+qLoVej2sVY7OPLDhgi2sCRxBtn08W3KuLEbYceYT8Z2YRERqA2HFAtK8g3cv2TrNNG4/zeZHjFt+A08rsX2ZY1Fd2/Loc873BouD2vaZtm4jwIY/uBIJRduRaxJbkJ6cOlWL61TkQ5L7chQEztRrqnztDZh6iZKjBqF4qh2AhhjxG6/dn/JdC0Fta9gf5El66pkzmNphbJpjXzsmBh8N/TZ71fvY6OoYfgCKX5ZyPDv6xcc+Z0cO9rIFV++w78eD8vGH45RpacoduOukqaEPZdx5NtVkacmY4VhSJJGVtZIEn0OyYaCKbfwyjy/Y73O+hwoUnxxF3R6XtKVw0ZSox0MKObOH+/wiLo1hhrzUyfgX9JcD1M5Mz5MgGlzOKNHmC0snLyg/7Na9j8LR83h/6u5NNOh8lEwMMZ+TnSc7Sgm3Y6NHa804BjE+O1Oa+8VUztvOBNrAQZ+YlUlBoHR63O9yrmFJnYyZ1NHKpsxAJQ9oKtpu4kgrHE5+dYV4w0FnjRfgOL8xE5epgdQiUwbfPQlKtTvkfrTCbBG+K96z9G7QPDT69yZ3xKiuCovTpvwFxrCzGwYLrM4WD0kiRD107lc4qk4DhSfBeA/nR59jEvOm6OLZBfgPEOb6PstEGyQOkZq/SZ5uOMQR9FusaJBiNpftfx9/zCinH/b1ewogCSXfkSOrJ2NQiIPuIfGfYxVU5OFV2jM8JW4Jh8vR3a/qK1DGHG2uN99gNXmX+xNTcuMj72BaCyV/2D4g7IQsFfAuCUvF0g7vcgkQKiePc5BoDljSMlsDb4hiNbReQ45YxcSBfjFM8cIxRN+NMv8DRDZrobdepeyy1oADSJoVRjn/b8gSzMx9gy0oMfKwMJV5qZIFi9cK/sQOPL2Yd5LVFxSTo/621obA0wOC527AQ2Rb0JCziHdNYvwcpj/+skRkFdyX/uy8KzSY+sU0rfTE5kC094XTO9CIrBY+7GncvEHtRTeDfGkz7rRLeWrAdmk/Qtdmdlo2YSO7A5MCHrw3+rfFKOD9PkDBGbNdD9VMs6gR/cMaHln4bOEVSMqPammDpUQ9KacusbVXZecyYnKC9o4OgxgIpC9fNaU22qSJFNradWbFAa3QUdgUbbkd/4lkBvZ6wFuMdxkHECMeb3M/PEJKIQ9wVAhEBCyKvnAk7zOBEBBRQHoXsruOnoZtqIag/YUujdJiTGOUi3DsBS7aNmXpl9yNaecVD853GTp2EqTJlTVC0frIi9zV4b/E0uZN8S/kbBijggFumOg6gF6OQIW/MRSm5Ik8abvzbmiLsgZQ1fNBtfoj2mxJjTFBQNMkFdivIVodxtmNLa0TmX4zUvzMH5eXigvKQkAiT4DfwS+uI1F8Nbhz297otbm4VaXJLNIT4/epBUTNeRClqkAwU/ny6NaAr+O7yBB5jMILF499doRrR1O2kEWmscF65RQnpyslg1xXHiO657S6M2fd7gIl7sRgrJlbqpTor7KF2icWqDGeb29OwhP2CpDppDAqC/8WkQ1l4Pw3bfRm/3vlsOxBuvlF9sgjduGlbegmoht5dtYwuCX4C/753W0UMwJKvd6/S0EyGw6dC6KgsNsoBYr1ETesWYv4la2JKC/sgo3DZ68LYIhpjmx/uR88bIk6+7eesNaHZv6RI/GOdarru/Y+J7d1Nmla6S4HZQO2w0Zbmz3A+GAaZ9mcpA1Iwl3ZriyW7zTu3WlXiELyNRfFq/kFN0n6bsp+P5YGBAIif8uVn0egnRFLqd5xTlsdJpmYxE1b0wVCnKapE1NXy1BhZjVL7ceSF/X/+7tOppfMJdisVIHLXTMCRAJvkV+lx7Nu5QYlZTmcT7GBUkZusG4pURwXZkHVQ8a48mIm43yax0X7YWkJ4fE5+zYB200OJMULLGv3Y6OUdPlaTrAyiVWk2wfFI5Eaa56rBDtXABobz+xtdsUtgbcl35ncRcNq7wvtociAI9ZW5lsi0yc3XByF/tCM4lHQ9wmuNY45YiVPVja84rPCCwR91itRUpreR48JfrsDjAuYMEzGEe0PVMfUprdQN/ZPxqiJ878tDP/YpOpTS7s5XZj6mVtS0j2e3JkBHY+DUUlBGkc5Cm22d7GPwLiswqs7JZEQyn5gc5jB3tBhWCuP4PWHan0/C3eqnS0z5xKOeub6F5ZkDGO1jDq+/SoBHJRFD9YHDYD+OMXoSNUn+xcr4nGlbEPRsH79ysJH+sguBkUKkI8hiIwKwMaAWg6iaRLyyuVlXJfzQHiAzM5jWhG12j3Ru2ZyIURPeImEHkKOjgoBbfBujF2tttGCMcKICrfiU5VoW/kmWj+XWkLOJhL9I5X3ZMq9GCtPuLpyRjPHm2QF7xspyiklDs++5iTs3Gfxr75qIMKcsoRGrvECyigG/sEeH8v/wIxLD/qD8eKMjXVok8Ix0jFmOKndHktwj4hQI5R5mVjIzoSuGOEFcZTSb4ElcuVbtcWbbyt7/prT3HZBFKUaxC0sZSTy6/GPTkrvWGctFr530EM0YbBlUBa6sUx0/d7A8j2LuEdmBEd51YDGXhbVPpLqCzNBL1mwLRrrJm02k9eh0NQmP3a1Al+Y2HgrZF9KJ2UNh/Dli/uMLyuyhdcwkf2h4gAERD3l2f6NTtZjIWfTX4VMKXiUFzf/jzCrpgpzhx1VpKzpdxvPiHg7ZWP6sgPi13ElcEtIqPIYpp4qGOiGvphQvd0+9SmpJpJxy/gpowzUqqVMDznqpWvCce/gzXxuDO1ioUEmv2dUZrTwgxdpVtXumncNVFMO2RN16sBIUuq51oqQhWJERCwf/ikaJcxMxv7Qb+HmRlOXdv9IryiI19DD6TsYQ7Qs/TN1IpgNfkvXXUy1ZP1JMHrReh7iIKn0dVDvzWIWYttrjjFOqOBbZ/SVp9L6kbXvt/Y8PEVvwA2sbumP0jII28OPr56NSPlG2JS+e6pKwTFJ6VjcVKkgkabU2TpUNwL467NGNulUlKF0SZ9OgjkfWelUZCcjgw7ePSO7jZ3haf6Uio59jiRaRbIWaJ2w8K7A0l51EmKHXKx2KM23euDHayt9c36TYV/aPSqqbwvK40Gc2Ly2d1uFkgGoL9FDH4oINYLyXWJ3GEI4/KNqqhgmczkeDBOPfhAPJtnAuEdhgxoCYAGTVzi8CJHRyL0ydM+WeExn/iuUgBD+Qhxqd5O54ThvmO4R1WprPYyd9Sf8MjsH06CQIIGyd8vJwvIYVrooGu/ep6B0seKKEy39gBLewcHUz6xOcKp4VF5ko7J3EgxhGnNrTK79+CaCuC58DF0bQ3UL7Px5uFvS3uHfNd9LQ6gu0ecEg6tO4TyYtLQe9zmhDjhpAk3Yr25VUDqmpzDcQNi8kNFw5CdzFgY3wwZzdOI2VUigCGZg85PUrxPeESBABGb/6ftqVbkyqDb5shU5wR94NZmKMSgfWHUAU727rzSvddRaY+K+bq5+g6gH0epfxJMvwLNFWarT7iGgcdD4X6TmPOvrdw9ZTRNLE7x4NT62k/qJwkmgbMRoQ8JitLQP11rjj84OQauvwlZ3fhj99J2ADw4PAkNR6J5CFWoIFUednQBaK6HURkWj3BHI64hqZWSZLQ8KxW9yRDYc4KJ+OyxMaIznltZ4+AiLNbCyoxyeC4W22IogUS4pJV6eTUyNkAi9Mcf2z/SdW4Lpgi/zUdfOcMlKqngcxJwCNkmKjAalaDOAiQWes0Fioxd4IwBBrhRNA9A/BjiD2Mb1hCak2l1vqT6w++V12eCTOoRixT8F9VYvupqe0m/OY8/4UWzczLse645gPb6OcDyUi5Kd2ReZ7gOSQ2o+14+xAlasNMDnu8MiZiWcHmM7LxVxP8iRQVJOttFDF31asXnGDLMTp4xvPzoyuVYH0MVDMFvXOlEjbwx1Yf0uEPDytwzPLAht3zbTsO95xEWOkzNe4L7arlKJQOC2NolpTAMqwALqCriPibb6oLWaUfADIK587DVUzAXiEAQbAdZGQ30736qwZLG/XTwcBjAqmQyG/a1UQuyde6r+DG/EN2vQRfQ8Kg+4SgJgAMMxUqjU2gAYAJwzOVIQrnL6ZXV0eqT9PLtLbcVn7AEgTE1D5pZ7IlHcL7dV2NolYCzZaHyOvhF74DRPacYK3/JMZWKnKDTLENsuz4Jq8wocSI4hcntYbfYPLp7T0tGwFvRqafrGolF+FBP0WZWQ8MqjC8nmtaxofMM7W6bIm0PmOhHM9py6LFnSpw8Ne9uTipzftxz6NZFFiY72GRtVVU52Fwgxv7JGwCELpZQKfDbSIV5ApKTXAeNPdoSzwQvUqN0yP/6ZhUyIoivRXEQZ66lt4+JULjwgspJzxEv33SXzoVNtvt+zIEZg1GDhnuRh3NaNfWpBI5QID9ARQ4AOIIjlOKEB4NzXim1WEqJsYsMptG90FA5QWWGCs+zgOc3zZ8s1jyFC9nBNL/wTm4XxJvO3j3kV7JKQD7nAIjxETlpN3Av/i0pjwt5jE2A25F5rRhbLHmvtqrTz6mC7AtDnvJx7/UVl1FXuSBJ4HdB1KbIbb06/w3KWdFps6ZOdhZWqtlVfah1LqjqiNByAeVAz1BFTIQbHU8RgUkttmDFdNLqXM9yyrRPbWAE5o7pqmPYOmOXgdjC9+eNUfDAtlq5lh7JAOTjMjiRrRt+jnrGf333wstgo5S3nP/Ylsz6p+FAhtYGuA8n5u+mV4ta2oDY+Rwc6qOzh9ADxN05cZIZbZWcXoPJTA3g/Cfn4xBnjWapIqwLFIzxNu/GLS3+MMKFAczN9vJ4TY0COJrWoqh9YUXwJKblcaxOV5O0kJWVCVQym8F6EuoIt/peLK3igdQEMrX68V04McsV5EjKbD44iSTKE6sVffr04FB+WJE5Blu9f4Mrqn7FsmMVv/wjE4sllekflXM+guA0ODSOTFZx4BfzNq2/iyn4rEtPzghSAbb/6/JymK8ssYpkSN1geSl1R7U7kifaQ8YGQL7g8kYWij3AMzfhDgThA72F8cuiYw/DdO9w/Uz0f8HCiOfJQoJ04Ke6FKVSI01aWY/PUa+C+eJvaJO/YQjPQscUYw3sgDK3N+itK9OJ+RHR0VWnl7AsMYJx58VU5uBra+AZN8He/NrZg4OwHAplyuIs7vdBCz+4OeLcBs5aLX2xPf73+Z97TCvlFtV/8y+gzaWPUm1VbenoYkbs74/OL0dkblNak1OZj0JN3fTHXiJwFxE9MFVRAf+ZVLscaQNohenAj99Fk4AdXgUYcCAxx8axo6IlM64aRC7vYkKHl2goevf08F6I0sepnQGVAj1t6bZEwxgTWPo7LEeG8CkSmE9ldKsuA8P6Chl8Qm4oNCOoBU2DeblUq008PxxeFhoVhNsAYAWD/JvRv/RRH29sxa5J5Km66wRfGP5Pec46ds0IchpGKVdKxpP8oR1pIgIuGpN2kp3lYIGoXz/FhIbyRjteQVtQmEFCZ84CZvRKyLX/ahw0msJzFghnFcRxMvbmAwqwnr9f04mB5byyJxmtzgQIwC0Do75PCVOn3smiXtrfwR78374Nbh60BYIL0T60QswUb8mlFf9dVTzVwmwiY82/xMVH8IWzczt7d/6DZCrZgifp+G9PgziMvFMwuAbT6gwGQW8/rdHYKFh9tMt5lTOsrPv5fs2kSbhq33aR0kN6cxt0/QXQM2x4qx6Szn76USMdU16Ck+i2eSYqbunnYDMB5Q2OOU6rJI5Cmj25ICW25AzzWB40LlA9xzXvhw4p1+QW+EFOoN8hVI0az6LurWZMTPW/NTwMbPagch+b7CnppBrZlD6CUothZQkxT29qcnQ+pakKft64zKnTiEnE6Ipa+XK3TccWA3hm6ABsvQXJSFD3l55QlFdgiqoqhlkm+A3Xob6TaEvC6MlmVxUmhHJG+QZBEnnTaXvJULDVkqwrbOQOn5bPFNNrLXo9DvjysmPj0MbFUYu2fwICvVg4BiHce//8A4/dbq+QfjWOQNZ5NFaUxdvDPSvaRd2QnmPEV0/6zPFKzAUwP2goXHgo+lgRVQENJ71G4zcjWGpb/zy7ejock7v7iUsnqXKQSFmdt1u8qJN4+oC1QIBqGQUEOXJ0U2oRkk+Lzxqt4iP1BrozlQOo5SQngveH2p7u7yZjvgowDjTjHN+XLnXotTb67bxfLiTJbDF5JHRh3ZXEYAJyHWfyEQPcHKxuigZKyCDDZSQUKusL5WkIt2LmOnSrsFcvvPkC7sqinGhRQeQTSK+tv8IWvNBQjWyVkocG1pYYYXuM5OP4FM0+PEJFPa7QkhIL4xA2IFSeEKFd91lTqaQfKZRQfgS1JP9h5cLTWaldZj0QnPmFoRloxDAu+aluIQBVG2Q0ck05YWrWhw5X95z91SbcN5Txxr6su6+WfWbh04TMZNNFl98Ml1WNzqw92sAF6L+RE1F5VroyJ876Ja+dzcvrV0rtVrrhnz8+vaJS/ZHK0TdWLmucDf2eaXC6XLsTYh37n3kDs+7CTLuSw1LHIyUqKONH1zjNT29h8bQMAa0nJztKw+OxZ0Ija57G3s77ENS9ekGGYOLO6OJgfWUb5GPPtD4X8aidRdd1iRBnoWro8g/79gU5dlPD8gwYTkwgdIdXvhDRQE1Vouw0FwlMMn4myiG39ftlzGrnZSFEptHE2ERESisKqksLsF2cVW9yfV8nHUcov5eKygexJYHwEAyD/15J8sMf5U2UU0CbRhZRL8eb3AehEyF6xCIm+0fodfTpDZifn6Nn3NIZlYV7+IlMwcUHBrxWT+ut9forq1zh7qzXgzks4irH9qB/yukzeBf6O5gKYjM7SdyWbuTvL1j9o8bbvKWUbNPi2CUEN7jU2t6mgHaHyubqVIuYwQq6XDIxFlXrXzmLsDIJYuUNJjS3M3R11pUXt0KxQ7+8GLKL0h56Ql6076bp/+XTnZgGU9BEa2Qtr4fFXSXgFOkSHRLyU98X9N64+TdbrCSN4ceDUZ4dGFoGyFvVIbm9q6Omo0wQ5iCeieTE2lDSWWaRoSdGPY1lLBejlA6V0RAwvkwbb+P+Z44Ucyb9VXb5Ccy5SYO5ZVtoVUhKxT9KwpZDnri+rBOK7XlF4bi4mXVRqurDfkfXjB9ICvUsqH80gWRwg+MX3G4lxG16k+8E3ILmfZRjArwLCb1C3qjPYbboT4EwofCReEpq9YM1duBuJAXFXkIFUcFc2J5vGzyttMCznuZNFRAxeCh7CY+3ddMhLRxX9AycwNyhTM30cBjm4ioRmAJ6bEvyyiUgNBvwzb6ToB8Zq0JAgZ8MRd93LdY+PBh/TN35YM2I1jisAJNalveebGBjUl/pb8gj/Pr4WXGbbgCbzjYeVcLKoMYwuuYPlIYKHq4LsMhai5dJTWMMUo1cOe1ukB9uoVFVjKULR9/gCthL/EsABlanTzQyuI4jcjpsH+o4DDvjvb8HYs2ht+W7NGfFtSl1z3DhGlHHZ3E3m3UhUUVQ+htTsTYjfaBw08tBZ8IjxQYIuxVo43/hfn1fa0xub4sBDjSqj5YQ7qXedlolhNOnhxTBeExLveJEAsyuRAGxGNJ7zU6joZZ7sdEXb8GLGJzJIJShTVevzT5f14LxgJ8M4Uon8hnPEsLGXC5IE6TXhMOxbujodjbkNjNIO43b3l3dwJYxyT6MtAU+g48Rygz/5MfwL/30tcy1oWXijW5Kmpl8bFXY31C+72i7PoN9anaFZut6ToL2zT3EDxNT+DdJntu+hUF+7cu9YoWa/KQvbPbJzOGutQEbYjwt9C1QXcaTxjeMYQaMQQmmLIm/4z/1+fZcItOuJ8EIxof8N97skdQmBHcWDwVMa7TlEm9nfXfcR/9AqJiGZGcVCtxMLP8dfeBZagXlQ39I2WIA+zklqQXNQAP/XUb6HRLpTXsRAA1wRb7bmTl4N1ZrnioqBZBvtR1NJpKTRQgAuAD2YusGd/SxQxPjdU8wbe+LAj3E2g50QX1SJPTUP+lktX6QAM0eBhbb6PuDn0Py4ThR2/9dzhfS0zxRaDA3RFIjLOg11b4aqHOD0D4tEZGFHZVghbf3U4w8Yy6UKu0dJABR0VJgEaS9x12EBAIWjT12Snn8SqKS+FnYatOh3djhMIMkLNPDexXmqZilaNIMbRzF+Xck2YnfkLUQ1/I44hR2KUYI/bAHORN2WTLBBKzAHbOPM3bqSN0n0WeFfB0xZgMuFXOvU9IG4AlFsAcQejnGVdi0+wlJeLStAp5iIUxbR/owVgPJSQVr+jaKQGoAY1nJ/Fl0CuN71r2O+zMVkcME3KQAGp/nu77Wlh825mN0+EnrXCqEdnX5oKyIVQh0WnvUg0USWxFAJ4Wjp7Lmqf/OR1YsxySoH1rEOxMdHsgY6By0HUBVDJKZt1QlgE6IZ2Qa/J4eTi9eMP4GjBbKKj0DEhWPcMLv0Z1PLmCmWwXNuH7FY3oKUo3T92PzVejPXs0dhY2koP2tSAG4OtLsmhjAIc2CD/Lt2n4qrNPAkieX/vYsFGepI1uEudJN6pVHCQ4vb6OJsLs0JGHNyN7wOWQ1o8pfotAEV4xPPgTJxxon32B1iWkvhv0w+7sA3p/55gUyeH/zyI9hFK7yEdm2t19x2Sqxz9+s03HGKhYg2zwH1dDgsRVfgCiGJNOM3ArlF3OZcWTBeZjPXOHjml2F0GqwOQSGfPUW6k/2Thi9xdnPT98T3zM7Izcc66egbsMss5cOMmikO/jdi74H6JUQZFgk5oeoGWNg/0MjfJx6HuhRnsrdKcUk7aQEYKkkVrTGvj4dRmyjZJnrhK5prGZPR3C5440NGx9r0uqy0I47ewgLT3CbeX1P/btxJ/4VME6RqXilXy6zQmRj0K8uv39ZqsEepytns0kenPzVAF/qItKS/9HimTMt3d+dAGJNinbqZlT44wgVAQHq/mzBiYHDIps3Vhb+HfrCHPzisVz4oD6aMbEHlHjjv2t8jj0qJNZ4phcdo52u2+Tfpc95sS4z6RxY02/ZE8NgFo5/u8Al4bLgtEoXar8hdZDWs15zqdi4+VJMu8eP57XT1gDEqmODTm6YwQw4waY8lYU5xKNaxRUxMo6IYnbafVI7I098H8tvUJLqbRP4JDTlkvudcce0SoiHKEfIbO9KTdLd3ladG+KfJTgtZc1U46MFXGgrcSmY/e+opU+QJ64slD7M7jL2deSxDnsuO6bYifhHFY/A/4sKVCX3u9pw8CvPTzDn2haoO/NcpHeLR3uqRQ9CoEuM6W+nUIVU1YqAUU5VUvMaWWwYdsrTa3+cGU28ZLZH6GIM6yfTm5skEF39FdLJYcELvZeoa97fyGnmGr3egFTKvYpyrPjwF36G1khOi2t+LsZoGrJYIHivJ7wdfeO5ZDJ42fRjhhPu5ROOAMkDb8FQscOlFKUzGAnlfbYw4g0oRa9J1RzxW7j6znIlFwFEj3x2ztRbhcDLKxYvBSsfMKDJ3ZfW1t1Qtfww16VAFb5GS0PQRX9WzopZYzye2k21MdT6mlQBTEzWTv6JAvw0txhvUgWF491NfchNIR8n54UZxsvkmmkhaYVwgEHFvWUk2fw41CSraYFrPruWcV3kZZWpEcQwJ5t4uWR/9hOsLw1C10YdaVxBDyNJac3WZT5c+NP6CKjbqPpL5Vhfazk0ZFpqZ4MJlCGKNqKxgfW57I1pRcmhUJE6K8/bWjK+Rg0JB0bnjaZDQR+10WtPpL82yQGoCw5ckyzh5QydH85CNaGWRWYqAghqbbDmtJXotpQ+SiTefdm83BrW8CMjzii2usLNHtgrm+2l/6FC7nVGIKYSdeYfa0SQ3MgTBIRu9ljaeS3c4VDmeNc9ABBCvzbijuc07vGGwkWdwlpxEBvOQsdxF72YaMRupmytKxu7ROZL2R4EajbVIrgeuJzjpxMRAsLp7R+/5zzvX5LybJ9GhQfGPfDMUgMd4en4PKrr2atqpO9ZS88BmcV+CRWNLwa90wlikHleJLJqEaEOHw03+8FN8EdVzY6BeYjARzr0KkB4tv1ru/JwY+5tfrZBJYNsjNbnsnksNjirg+93VgVk+tRlghvBUdBZgtM2IJMUgnFf620Xmp7wpgU8GWAznC5jW+v8JY2uRmh+4u/v1IOvkP7CgYs+jHtNbLAflTPHip66eCcqvIdjsXeUFlcwizWLvYmOh4bfSpEuktnO5bZIPCFh9FWqV70VvbL8br+EjVN6B5AsXvEdIsoEYTdKy0keTnYaJqGtfjIkGz85v4VTupny9bqzpDHpJo9l3+Q8LET0vLb2qBZzAwK6s/dKYd6mjWzAmTFo3w/y10+mUwqG+GOtEsTAvbo9wMeHb8x7hbq5zEodZpXcqddnLsMDoPRRRV2LrvOSbVF1yQeN0kHHib1uQTjr6GHn6mZhDh2mXsBcl3/eqjv8V8mA3SdqLswPxy5l/7dOb7flhD3LZd+AMzlptDNHsbQFC+3t3pJKJ+PcH5y+H58UoRgeNh3jKQTVzBmrchejuuzDpV+Osqa3vIs0kIellWgF7AK4oz4b1bJI4tYdUO0hrpHLtdoP/x0CufJN7YX4g0tHgahly8q8GM47jYx+ao/5s8BEJnpl6W3dpVVoPmuwNKQEYV3HeuQqpaW4HCBPWYTYS5uqmfG0c3YCwFcYMIhVzBeZqiFOrF3nfc/6Tt6oy3MXJSTP+uCuDALkcki3iVWEcGn4zk4A/Vql0BGxg/7z/a4Q97/THnpGkU3UcLrGUTWbMSmIuWA1JP5/JaWwtP8cyeXYbBJP8OZk1nhL8YTnk7Z8EZwWNeseAKHaB49WhAJvE0atOOhphVSWnTZRSq3Rfil/kpCF/IOMc738gXLy1vw1gzDoEJpRlOh6dtKcRQi3emxI6xzZ7SgzSsxHyf4ggVvv0lyGVlO2CoPghPyeuTEEN3gPWlYvwbeN32zkf04Hqya9yGP3fAPtAiUrzzGaQtEj67K8IDPSOI95VnuvYLLOgMSTF/ycGGCbZaV59SSY3dKf4PgKrcdLpi6aKJOe4E6+wffB/WCvN09PD5TDHkJ7/8+m/uhUWZYYGij8QJ40Qacknud71lWXobfoKqgnXlUtOXVJgkbiIYJTqSy2hcFQkFCqxmaJJomKddFT+H02VMwmbbaQCEEdTIsBUWGL+8gnUfRmNdMUdSDrq2U589SRz0QM6NYXnADJQ2gcgmH21WokC7X1xEZKB+gQ0JWHyrPlIAt5eaVX5Q8sErTt4uxzsj6Of0tStzsSKNcYPEWnDj+QErPKnl0SjcUf/YXjX0b2Z5gkNj3MBxwft2vI45Ltm4Og9my1tEIIwsQ9m8LZ91q4II0JLnC52QwwPdZ79ynjQHUo9mO1MJ9zhV1pWyxLPZHk0gCU4SY25cWBk5UoCllcUe4PhsNbetOFjLKV2k++FJWP3lT8JkyZnAOghJDtdoNQ9d2+dpwJeh76yC7UjnJQxBENkh3D1M474UkntfI2frtG7JpsB16NG/yGGpq5/0tuNUB6BIf0HJ2vFCwf1LZIL2zp3ruhIXF2cUyf6SUFdvBTtGaX5ZODt1/2Q9H+lZhicTp/5b3z+mc6UC4NgPuJlBREuVOnJy1b0Im6LTjOXkgIr3Wz1Ics4/NkO+lbX2sQmxadnP4iipaBAAIxV5VpyJZjyF63Qkrmnkw8CDVYXxIDq0rmekaMNZKqoJXm6Pyr0Mthn+dN1NeIAoMX7Hb1yvLYcCIQTOGN5bIGZQAk2wpk0vd4RWz42bu8kLRdi4vl7pwlq1VHz+AQSpyJsQgGbQU8ZBGRkLioQJTemDX0VZ4ORZIUl5x7r0BLSwhtTfovOEhPzXKsIkxykoB93vEqXITzg27NywIB3ev2RrJaKaLAdIlpQkTrgBG9N/DToXbWswGWgaUSxcn9MhqAgYpWAT5KBk49IPsrzh0nZascH6ywS7quCgmSHTu52vsOKewYaJiFQ2rz8Arrv7Wc0znApkBWbUi45uqhSiPhTHkN9DNR0/X0DOi5nw/NELLW3oIDs4Sf1d3VX8tXbovRWhSg4r+XvWfdUNRrC5aiR/UHPcgm1uosXh0G+J5mMc5PVnKNU2XJJ7QAnSJViEb9z54p9vChagD+/4xBUXeSimpzIeVfQd7A3pl9I7UdoD/sxHAz9hivkEijdIoOAeRM1zT1xIfAwiO3gFpC4yitrmNO3q5hLiMzUInHhTTtv+4lk+TcsnPTRhRf6z2AY8ZqAL5AVrM7xW24Krpz2Z6kOzNkJrZXXkRBfvBnrbgMIpJ7ZH7cy/8+Pzhq2TFG0G2cKDB846rjOzj4kTrQQR4CiA4Xqne5FUKwpwhV9EEibH301zzzV7BK0GWZseT630AyN/DvtqWM+uRKGs6LHvmLNbaPOWN5JLViKKUxkSj6SNPemrMtzMvJWO3oLtVHatsH8Xei1ctYVJyqKdnR4tfiD6Ka46S8EcWfgDrvrNpWgWBwR8e4G+EXq3HdAjbsouiDLdoA4GQtdNSSGcBnESWQ6FZ/ovGXhsqkk+/SPwg5wf+jFi0TriuY1N4OnEyYIY91KcT1ZQpMW8zbnKGXDmTwsnDDgns9sRrDMQ7o/Ig7FbchgfcpAhX6NBOyjudVpkbh/DbNEtG9TYlQUqRKDj980GdG532c5RFWKwvmI+h4kUTBXvNqWeh+ntCT7ZktApGzl55YEA8WMhhYPxUIICn2nAsbf74pXIb2akuO7BfAf7/JOa2WC3Ne6WDCOIiQ9/BVhjJQO0FSzjs0MeVOg3XUXglbz39rGFauOay+IpOq/bHF0Bqitp3VCEjrAuH3zms/KcnSbyLD2nMQZd7EzpFEA16fGsrSRMfP1j8wSSwq7gg4BE/q81suK60USUUOeUK/bWXiZ+EGltoS0sM+Blj6CiHnJ99lEeFGFWbBaJv+h4PuzSRCy1shMqgX7FEfaxLW5JnZJsJFWFG7tnlTRD9D/U2l1Rso7oRZ9xbiC8951at9/VdfGtKGOuhc41ms65AN+hpQphaA+qGI/oQZZ/Mf2HDExj8urx8JAe9Aj+bdaMbBh5shrPmGplTFriS2t4yTVBjuNEO4knJdkl+Ge3EE/47VG1Jw+EL9lTG4VkmcfzsdZAoUSNZqWS95AHwbsfTXRW8MYjpFHTQ05sXe06xAb7Wqt0uAQFbYwQ1RFVX34jP3cprrKguuGlmhyPrF6t2JauJXQpqkHr3MBIX/fkv74LU7+TORWjKDsO5XVq2R+Z2HqKD95uJejAiOe4S7/fBDXoCB5ueQN+I//dh8TfEBG669InEusYYuH+ei+/P28PTY33VhP/wvlrdibODTiLlPnrvpQO2CJyTHTWJWoU3r9JJh1fOLnIZkCkaoAEeVtQ34SI6oescMr3mnd0ko5ICQm2gaPXrsKvb1aWra8Sxk8cbBhS5I90GWeuX7RgZXKEFtAETLU/xw+TOmUP0NA5xuOtH6irFLHA5kbpErmyyUh6JDCicqKpVRUXv490I/+drrJdL4NQhmZtej+0RyrJ6JccZP6Xf9JHUZIL12tHbt3jZ3hfdl3yeiUcDBXVBxYDLv1PIdX6CawHBlzPhMRBnrC5Gk1dPK6fTlJtPG+xAVhHeL5EMeIBKTnLVHJascplojvBLbMIf+09ItFONxG49jH+xWIAwUkocJ2plc12rlqUgkirXbxar0NPVKgVFn9cTjdIOiq6pPKZhjyESQ6MNSkGGSHQjHhMPj5uw70bCX8RezCTixZBqI/d5Fk+lc40B92gzRC3udkEgUofru8RReNvc6o37qfqWCTL85HJOlUmZ+AszBE/YpCkQROQK0YqN/TF3as0wGbUk8/59HODgLtzGKRHRfVsyQTGZqc58KN3BOtF4leUJVS3JaJb7ov4KXsn49WgUanTUcikQfK5INqInWy/Nk5wmPVVD618GUzBv5N/rOFRTdaNHSGBlXNXrn1k3SC69qigBXWPmN9b1nT2zbydyz5XdPqwwjLRftjyT1rGGa8ZNH4WlsPzfu9Z1QVx/YbikKZVSs3QGOKf3RBAh2O6VIWw/HLQzBFhS/8AOGwc84SVWpkuNn2OV5ietMVSVfP8MTn0HztnGIBqRk33HYrASk4AUw6nMR2XCcU58cAm6iuuFzQT9BpkyxEg0efWuchvS1WenNVIf8FmUCz72Q4PmZ3dlxvZfOGmyvTlBLIqbl/onJufEtT7Anh56VL8WvTwEh+k7x6rlDu13R/XXk8OjcUVlZXEYHenKs79Nfd5LUBRIzT65j413tYpVGHX7Shs9OVBfuRWMUHKdhggyNtYOnghccvH4LTBMkG4epNWt1v/fSnZ3dZFjj/G5ulbdtbbCByLNRiKSlxexjlW8V7kM1bSklrgRrse8AEJOPqPgz17d4Hyvd54b66MewOmfSdlQ3piuBz5Xe20aXAYSW6xLaCpj03rImylBpqvBgkTyiMUPSsuH4p2truLG53bQYhJ36jF9VG/xkHDfP4kbz94fbO/+ZJ1hw8ZN1/qFjtQFbxSkCMdxrbt62xQemDyHm7R9T8B7zLQEuomtxAy2NlIRZmqoCLka47jtoR6LxDPQ6x7J7aJGqYMX2bnZFHI/xY7doAx2+9TfK1sqrWPGu/K29ndRCrRyoGRxH/Jlln0S0xAeN3YhwGJT+D7y+6co40lTGHYbBi+/BAFKvzzGbCd2KolB5KRYfL8qU93cVHcGmesErnqMsmF3rWOdoIg5o0bDekt/isvkjsJqD9HHsWbxFxFPH4OqTrtAieYXN35JqvMLpJB4sIv+68oBRBn9LCd1TqZAkqah7d7Uv7r77+mg/O9wiOT9MfiTpzxbdjn8ijbX/XUBxa1RdgjVCf2+/vTB81Fxcjn5fAACxnT1ZdwSTyv+f6zH2A5VO9wrumoXApnMn7+/ltKLSgbqtdRlByMwv8LGZcdXeHnDunjQivK2ZdPkgMoLjeAbxDAm6ZFTra5ehq/V4hUWxVb/7nqFfTactI7bMpJAKr1vjig4KqFCRUTJoGKaTM3KOLPpjgoWaj9DBd33XiBRTuTCYh91K9FywoF1FJA1BTyHTOBmxNN1wZhbOlP45/h7Mv6uFMX4eTAD2zEo6zglPIUdtBw+B6+73sDLYYswgmMXtFU375wlj3BV3a+dwWUKNew5v8N/hkr7cOdq9en6TT4hvDCUQAHDG1rr2HHGQPkIqzRthq3d0vOQNdtKmaHRQkW8rRv8abhrshREuRxyj79QjWF6a4oQoa8vFItvqCOa8Rb5Nos58Kb9SehaAk1Qlv+1mgOteNUYRtrDHf8DlJ94tkDoPHcIpUkoQU+wP2464nNPhcAqm0HQQX+myjMrFzYfwZZqSi4zfFWRA+1fmV8S5Q38JdKa7C79844oDqPB+XUDIHYtEoo7Fi+6F/iE3whl8wM49NYSokVgQCs4A6zZ7C6iRa3bOA1Uod656UgsYC3KyoQM6jBNp6VQYsXBYsraea30jnCVjwMTf1rPurp5Jnx4W+eZ787CVa2hiLO7LLlFF6a3j8NpDlIAWmFqPNvOXKa/rhXzGYbzVcPIZLmJAjFp6hxSAZTsajB16AYgC7uZr/dzuJubv/nKuw/pRUuAGwHGJr5J76lWFUW1WmeX3aKCA+MaFjTzrG9s1DQHJLcJl673pCCobF3tdLQpoW619J3gqv7evr+TRBhj7hDcAVJwR3rMyJW/uZ8sThDWqcQheZCSZXrTbGCFkN1oPl/7DXHoKDERhx2rUBXUFK2Mb57+B/IcX8WntDzAWKgMzJvEmsTZv8fj6kpevqY/I/D7QGyR470xTZTj1XViAWPY7saaQ1WF7RQByDpoC3D24gHYPdPCCWNwPpJz1V9J+LCMQVi2RrlAfOtaOlc2jZXO808wwrR8+vms36XsiMpw/+91fF+Z+BsOxoQDkkWE7fTvP7jitfLbpNYgz3ZgTZFAH/NmDKepvJY6rkCKLJP9Y1Vry0yXSa7p5QYfFfzNUrH2Qm6Ku/QQgW+OufcybaKC3VBozEoEZYbYK0QPaicOWhEkr6nM2A4r7cyNeH1DvJUNacOlCNhSVh9QPXqd1kWegSekN1FQ4kReUxOF9EyP+vaSO2KzCb7HEW8wbpEBo5ZlUEBlCMVD25zc0z3jdHHQqsnXIR61jXmrc0J/d8oeP3XWOfdTy574ySSIS48nL+Nr5qjKdjCYZHJG/ITplfqk7ZLIyoZ7/s6knlVyPS29xwTe4xdaG0wUsl3mQGeNd2OB7fj56RDY5bQjpSJjhCxTIoPKncdGEkj5XrcdNlHUjyPTMnlWjWWdxMxmXy4HIfJwQbT2Sw+h2UiAjIaHdcFGhIer/9yLpIPNSA0W5lMzmnPLfOQkGmTCYFpijAAap6m1L/tR6NSL3tR4dRvhzSrEbIVdn5EOR0AnLh07Di5z/IbbnnkWAw6+1OS508EbaLr4qh3Vso+ZN4dDeA75PeXJdebntO8zl2LmV4w/jZF8cWKmWnCGj+srw/MAFRFBp+62w8MG6P1eQGh4DkrJkQrBV1WcTXHnowmqhVoRmzyUQ/bh2lWkyECjOkp5v+2yAFOW9AjjemDDx4H9O1jPqw2IvRbHifsSE82VLBUyKNkmTZYBy0YYyrBJvKLyNuTkKODwt8yXsM4dBUgcAN4GilMd0UToZHCa31WRI4vCGSjDjeHHlzhhmpbHLIS8p/ua7FxdV2SN8eLN7ht8ws2wdxHenoeLorvALByynf+KryH+LC+F/3oInm9cHVuGJX9v5sJK4szbYvtCtsrv3tcm9tj5uf+qyjH8mLD3XCq1Olgvelhx+3IVGkljiLZ0tlDaBrnW/BK8cZALZsuna7KSrMfjWCjVUf20DhoJ+Llnm+1SQCDLGjsHiLlew+QuUTGObM0flXnnHKomyZqkh32AmCJelC4lmsHrmb5Mc//Qj78f5AkD43t8pcSXTrVE/MPWrx/BvbN9Rc0gOb+WNPU9ssZ4qs1ogtTVGxv5irwnVTYY+thzbftkVkVTQ6O79+iOf10eGFlONN1lI4Ba2ZozlTT3+sH4sZQDBrLjzhZpG7hJe5hN5n4hnyzA97wwd3IAJ/agb+cAwq6aQlLA+C5gtk3Cn3G7EcALLmygKjXX6m/NaSlBb4cqiMJQr26ZW0dlCWlIDQ5rhZUU0UMIyvZx3iKXuEpwQ83dukaEBlZZkvEF5xHEEFJAZRb6xex7wlCef7uu9oTDnGqE4BztqDKE4bUFZc++yWGdpM5dj5vSMHRM35x49/mXrMAXvkSXjxlVt+LG1d29p+vSBx38nYgsa4QjQKwJgVnBctJbsDKF/+Ez/Zse2fa0oSrECNITOSis6C7aToqLYFzWeHtfXNfg8H3wM5bnUgkUeV3FJn5K504wwYP2ZZElyCiNn2wn7r31TfB2e23mkmhtTBvQy+GEEi43R+7DVvtBeeteQlAWoAcoogy59opP46q2J5fYSM/JVAt0sbLWeGFpXibOa8nC2cIx8Zm5hdFGM3qqA21qFJHEQmeldyOTq/lEEfKwKFgSEDYI+E6U3ouGJURLWtE7CffH61jDWjb7VMYiHU4Q1MEzNizqESNGEkKqTsfN1nwaua1osQMLEQBooUKzEAiy9v4897LLgmLcW6U0HrMPc1jomt4cvU5ZD7wVBxLP3F5+O7fj/SSdwtI1KwDNQQExZzxlx8bs8NRhvftXqiJCiWcKrmsvq7jfIQmCrDxiUGswCjS5MHS1gNc945T+i+JpF02lbwCYy/3NLYY4fBn1kZREaDvlYl3WJK/22+DHllVt6mlHaXRd03uGuGNZwQSNyJt52Y7g5xqoW3aFZIHldq6s3iFsIo3xzdor+RG7DuZYgiTrzQTjpfr+k+Wb31mHgc1UhZwv/U6af9O7++thKyKY1NNIRp2JDxvsddtf490/aa6hgTaEIzTfN2OkTv3RkdlXxGqqVBze7lC2z1AFGRrSQbvciQdaxuwFxWPSO0vE7IOBxE08NLAPb1Fg57VWreTUAIOpx5mudEBj3wfPzsUmT32xLDoN4B1WxREhPFLCeSASINc+E9zPNZbCkmHjQV9y41hBGe5gqlmh2RdVmUGziBD174e4XzjcxL6TDGKVNCEh2WFYffB+gl92nzbiIKd0aUsh/VmrG/l3Dz8ozeoE0mBPMMHON069LTMqhxDEF7Vc+t0pBQP/x8AJTlvGPONnJufMBUixxlL9adqvH75aXIMRuD3XiwipEeWu+P6mMuPpzPwvnrDag9OP9wySXxVJypuw+hhPRRnVwxVIA0m9TayyqVY5WA2tiRZbyPJgiXvl9DKBPTpDgehRRXLo89gED0aDfo+j6aJbpyT14ygdG/kO4ZNXUmMkHDpuMvEwzjF31VucpydjcFVpepyVuE1qL6ul70SmUeCkjfVPKQRj0E43lFo62qxeypr6oPmVw/B9cJeLSd8Bk7wC7iJhh2fOIX5cfXWzpMfZTgE012QLY2Mgv0uNUZu95TdshV5qtVzCatz7n/ckY+1HGtvMNdkQK9PcBMWNN++QuUGRdpJ8Hi/p6ZALVvzYLQAhDbc9ZHkbkhQesvrVkIJwG3PJYHTp4XXgkivSPCXeDTdn9Lng63G+YxxHw9M05gYHqPsCy3JjY/Un5hviPyBqUGYK7V8LX7jcMzCXfOJsbjaVwKQGidWtaymSpr0pAOkS4bQIvtnAWe42t2PuKxDoW2UT/1zMxE3lltZlnBvMMeix0MnUXFs1FrdWhOJv74fmONh6NBDTvgqrph4XAsJKbJauAbDLA7VI0MZkr1ax5xJXXxqk1nUi1ZtaGhSHxjMDb4AJ/wM8LYZe4Yp5JWg3P6lQsWbs2Bkit1y0D6Rr20QSkyrGt+d8AIJ+lq7EUrDpvdsEZsmf2LKDF+brQSdlqbG6/XacoDQhuOzX9haXTaaAT0wTo2B85wmygcEsfeMahNhUmVuLAIzOsovkaIU2LvKBIufAQFFUhDcD1HgbJeWMM/fgT3AnwYbPEk4Wcdyue41XggWg7pWHLzpEC636irbIcCbD3b+Uu2ZNO8ONo8pxUSZmGKZ/Yxi8296V52AKJcoAvbvyMbjMGPxiPz1yCjAOBEDL8kHkNk8ih3YvLE3VeWSFtx9GRLsaSGttaznDjcX0vij2X98SoC8dlIFm2NloK223Vb0C8rUigxFBAlObC9JmEt9UngMPig63D6OuLy86uymTbDuWUz/98arimCzXyD3iRsxd4P6raISWLOS+GF/ypHbbWgtjWVEZ1Rmuy28xLTDcKw7vw8KlYjlaE3DM1si8r76uVFNoQxOHAqJriOAkZP+8huZjbkkTDz7HDPAZWgIDqB5q7ZrA2MEbfPiFRmnAqQHa2p2JIxqHlcnVDARWOrYvzJMLO9iFIekjbTt9OfJ20ae1F3eLSRFfSEAAX2L7rCOUAa/XBSltwxdx2SIVA4ocxRjb1iS2YgMXll9jdn2T5QZgNEBkopqNVdvDTnxUb+UU7BRdHmrN4zrqCoqMaDtHkZone3G3uAyXYK11bN/q+YzYzjuF7K1DT06upoQen1Vof8MYnAzO4jL9xgsXRqADaQeKFACe5VCGK3q6sursib9ko6XMOcJCQZebs+GhgvGnUefWkrh1tRJvCdlqcsgBTXs01UBX+hrxYF0YvZTeOqcdZESHxvwLOnCqUWRKHZWIamca+9xMxrb7YllAuIU5DWnEWr0wjFjvNH6/y82wCxFGlKEXnTclBX3ZnemXLE/OcEY4VpZTHVJu27MyhC/3Ul0JV+NI3gcwaJkmHbIDGkQ8j94HEfHbRI3Q5XZB0fi+IYUllarlDH33YiAekLN8J0/m+yq0Z4P5ltTWgengu8s6g4mr0xzLKdCm42RM4hDKHofrrC2y8dOnu1n/44rD3We1IKrzZ6menRx3NHeJkZZZq69tfr0E3rbL8qWKbamYxGviU1SpW6QTfDNXIzrpxLvzfJ/zjR0JaSc4vM0mU7jVyk4HmRuSPLvh4SmvQ6EtBxBrD6VuQym2U0ZhowECUEwQ1wqyYB7nWx6IGfkVtmiGv+sZZWp59LrGjylQx1qcI/I4pIjig6B7kiBZdkXe/dDG5lQYKa0BayFzta7lGnasKY2GIVaCNE4G+pvcDIBCmhaFDaSt1VrPmKi9mjFtzpe2G3gddMx910uZdnwg1QEciWgG4C4nkNpLfHdT30Z1UEgX96CkIvevNTI+JLChVDLb2qHYZ15kBLicU8c3fcDBneqHEmV4PGVOQGIsIAmgJJLxbsX8oO9F8zQHr9Ck6QsMjoBsA1wIQW6M1AvUYku0LKbSnyQQMOYZvKVx96P6XQS5+Ynu5L6CzNAipiaI71Egfi/IvosUxxyFxWUmZM7FjwpwyKF2Nwk8ueCLnfWa++grILHh/9ax2hKlFE4MaWXyE8AdUwAsETzb0UNEkPoGml6+0/z/uEqNvGx8V3ed4pQeAcphbc6w30qsHSgkEUu+f9NDGmvIwH1DCb0Bf/7CXqceQfM6rKW5eOzuqaQKqcTcwzuEEPnHH7OHL7qpSlmRKgv2A0vGICpTi20E2XPsqd38Y/+VuToas+FLme/jSv4q7YHTG3XuUtCoknM4E7RNUmbSZe/Tm3DFlNjin1KKaN5UFqNm66/fpZdLdSTiIYrzs0SuRhyg415IpOLi3+uxnKphVjShOH7vAuyJFc3tYvSR8FSIboenMOg9yM/yfQfHGUW0IyjzigqEpuNu6qDSKrDWmm0rJkiV8SvsBeSCUajJnhKep82YaPwM+pxWOdq3sDEVLhbtTx0VhXkkCpawkWw4TRZlO7yJMwwEJLJVmEHvYUn42qLcAlcfTEXpxeAmadI/BwSb9lQaT8LLPBYbbyYZ/lKrrCz9p1Xg+hR6wcCWaBoZ6kZlwyDxdKOZLf42zlabA3ld5e4E4u/jBwXecp/7ve30TlcodsknjpWHFJ/m0EcLeWoWm+6exa6fFSdOAqJ1EfYINbL30ptLnw20f9pAs1hPTwYuiDBtwHTyb+JYdp5wAtySXxD1btZVnJbfzlqkJDMtu4P6sc81ash7u+JQRnVl1ffmH/nLhzzbfnXXQ7DIu+RQmrfJojKpzZS8wLPWSW1dFpZPKx/UiiUn8HAl5uMXzL31ESpu2Gxm49aJlV40aB7LsO4Dq860WlzXbQ8yjYF8XDn6fPovv7BZFDvkxKA9x+v/fA3mZ9H+s/UhsRj2xIdx0L5fqLH/G5FAiqxLilhYGMfMdMFg1siqZ0/OtYIemYSBIaaAYlw+n9ARk4ThDdiYLgvhhUtMWM1vLdTMtKDa8z6YnGQe7j60UBc/DjQT8of8mUSLMq6Z/70rx+ii3h+t/BcaLEhpJA7/u5pskLliUuljUpCxFQ0G4uBTNB1uxI8lCE5VXi1SGcH+Bqr7UfatJY2WKDyNoLFVE2mqKEMMxLNy+3OQ/tEh3nkx17Sq009mMJqP4LZrQ9z/EbItdK18jZ3LWgC6Tg5rRzfpzzt1uDRCUIy2uLjpYFqRPUO5NukJ5FNCFqWg205M5nq893giptPAawG06UW4n4La2InXEJTAZVDKdsTsi9OxGlrxOz7kWHyfZcojpD0WDu3uZC+uzF33pvL6SeT/iFcU6tCpCwtDsjl2HlvEB/HLKEIbyRqyUT9fqbzdVDj+mfJBsUsSgig/NMeDbpg2ql/g+Rqonwm8ajcIOYrrsSqNCdcLZBDobTQYYTHqML51hEeGRxtqlMTl9QAl6yxxQf8PZWAelfhKYVuiC5aOTY/txDyVT5bwJRo++yl5w0jdaIrqUpIkA/7jEaH5RhzY6i/HIhCMsUOgRvRHvmxlyOp55Pq+sTT6Sr1hg0C7anOhtpFNZmK2+5g7m9TFD13Z0MkQTpXK2D3664WLsK8c+9zppalWDoRQ3mxDZCLIdXuzavSGXJjUPEOAmIEao6SJ7q24bbRC2uQTwpVXs5uTTfoad7zM1KAirJMBg9x0ulfrefolPXKcpAayS4vHOOjI1+a8NytxOzuICrLV1yvcOaH5vb4VYI/LgADINM//NAHVObTIktxcnPqmTdpPs9t43gYUCbzhwYdfHW2+zAeFbeVe4CKF7inRdAszohwlQGTj3imnqOaNLeK/nUT6xBP/MF4oiIJDr8EQ/juJTz0xOvsxVsmYkjrFrT6M91Wrz3U/q28a0Yvw+M48ZsvkiYNxLowTA+UfTQeWyl4Zq5Ar1N1gozNROahvDx0tdYnZrqUmuBu2yyxMSpQ+1Uu59Suqw/I1DxyZg2JtjPQ+z5LJLvE1fFr3y2IZkc9g+yBoc7bdp9c+fXX2/3n96Sj5hAqiXGnqRGtUH1XK6FdcCr1nuI5mQ6H/QG+tlIR4eaHxiQDaqrbaQevPb7etzQwp6ZmfMOlk/HhvivCRYvzyIddgQtUkMu/oOBJeg+xqeAybvZxrWsqj2SJu6VnVtg/HhqqXwXjJeeoNvmcXhWbEgZ2epsTSzrYqKmjnx0/6Ga5JKMFN+YmH6eitGAR0/eUFxoKlsvNhC4ACB36Ab/VkRvC33llO4NyKHfwsQ//J6Fy40XPX1NckhNPgIV4/Ule6y9NNsQPJ/HPUjuVEqWCwpYncVgrhg2jABfvlvPnspbe7hesuqvlI2InkADabIRWRfeF45iHwwO3Ul+pwVSR5I/rf4wW2rrHsOh6LcAb98vXyEe8FRGPuJnkOdL+pWV6JL3mxYJu1QEE2rz0Fz8hj8k1mGOlGOujriUK6RRgH8sRRlJCAKYEAJNto/ot5+o8FE+5k59sfBXE2SnolM0HfrYi1zvksECtvDxhXJNGRxSzn2lhxkD38KWN81/sSxhtGAN4lvF7spfpNAkOx1nihN6n1AvZhAp6tMeB2juyqLKs9zEKKUkVwZ0gFz+k9gMrAdColIOOwsSFIr8WA6bd9C62OcT9mkYrVxPfwCb1j/EXjB1DgzMGfF58Nq68l2fDsZnGEqR7IxY2s7Shpt6/b0CV4HQyExQgGMRwRvorKsQgz55LDZouwIZSaAJXybGR8Oh8POIRKw3rnJOxx29fMwmoDG7b0Ivc/4NXOCZmDTJ+OFuzgAiPGZ40FedSnzKpjNWs740McTkXaN/eo9E1PZhsQShDdAYny7aHVn400mRbKfT8m8Fl/tlM06G8kEOjI/hxt7VvVMrMSPlnujslsorUHX6hZ8y8U8CS6eCz+pxL+K60gf7j9ggWkfkrOVEmcRMO4lnsUjrXA1AgWQnuhdb6h4mK4xqL92+LW6T8quqWDsdeqQTJZEOKRRKMgOEPCW5pTPd5JW2AwTa2IZa9OxnJ4tFV+rB4rrmvGS52lHPPB5SzIbfl9KaQHsdcto/mX4raB8e6kL+28E69yr4ikIq8k9O45Bktq89a6OjHA8YSlrA+Lm/dfd2eOj0Kn5/NPbKGmv3CNFb/wWaJqdIoEUva2ABiWiDyZKt/5ccSnfbahhkIaZOBXaLp7XnINLKm13eALKysDH3NGd/ZukdkjTGoLO2t6AWueawtblr5ccgbj2LYLBBhdH4f4jY3jNIUNDgaak5MEdpWbZOdWPCJVZKwPh6CJMSn7mUuUCK3ZgLn9veMtaE84o9LbjiPCtsQoyDbk1KRpcNKCgran1aCs3Zh0cBlMUrMg2STKvMcvlWpiby+TD8V7HJLxsIj0DCrC+mOKc11HJWMNbYHX4HomYkuBJ0jjKFgV2xt6Trfz0yMLb1GRrTdxrqqx0xMEcyHvDLx2iWJSxPlZ+zD5lHTPyElK02i904P8CtJ4WxJSHQpKED3GCHEmhUpdVl8jCVYtnKS9bparBX2xa8gu4mxKbJ1Lsgc+xWzbcNudyPIjlH4lRgX5fF/C3RI6ftwsOpWfpiIKtpdFs/0YQAV2kcFR0lNr6y/S7g+EiFUeOljhtOCw4tyRbRfNtKnVjDahzpEs8VxzzJciR1QyQcxW1unWzmLFD5QmV7cd02NZssQypJcO0arm4zX8oI3Noln6yOwAxAso1dt8AKM/YEeUWTPO5D+og2H05G+U3YStw/ZSD5M738VEwYoMgXc7G2jjAvExcipvvO7QiJhuhrLZtFgmya0b5CUa7AviNFkvadDdAnwHC7fpaHpYFugoris91Vv5DmtKhfNBcIr8Nn+bUI9O7MOAKnEljqh8CKu5NKH6c9BlNdOqIWyNJft3qKcFnjpC/8H+6T1Mp1ay08ETb+Nd2bi/rUwmv57xSbVauZaJ6Kj5JdIENMxX4MDxyB2CcXCk7dJ5anGbHI/f20C6OItjR6KT54eli/5I7StwoD6r72djh7eRxBiXsgMExxeylRihzSFFCvSHhFvgWN8+Mib+SWV0Zzhsvy/nKp6zBKrAKB6RmbEomLBGcJtbL2L0B12QI3Ry0Mt+8VqRTE8+by9fE8foLbRt1gmEOLk7v2jpq2R+IsLoYqGfjPS4r+SsRIXtn9dUufuGdqqjLKxvXR6Mdu9giDi7U2x/bzmy9x+lZUwS34vIiRLbpc8ojLSR4ti4Xqq8ADDiRXZVN2rRWQAcU6mOfd74rLvxyyBpaH3P568KC+w4Y4GjnnoLvB3/HOXcItPGJNFqcnZwjpgMW1peiBpxd+WkfuGgBxuovd/fw4R/5R+7nldsygZGz4j21kVxGUyDIpez/BB+lUL9UgdZ1yeXD1wjZLEUjNVU3ajbj9MNkvrxk6AU4axYNpHV5fEPwkJ3rnA1VZGUl+v4xw1FKgYmv+43vjND/Z5rU+6Mp7uavGwQ5a9UguNQXs0O5Tc+wpa0cuPDv2t5ix0dvult5ZuXwg7rVYCtuBOvSbADoa+lV4K/EszbDL2qgMZ4h6gzVvn2/kvu768s5MZ5UZIMGs1eMLhK/ppgGEE+tSkslNmi3UjxGu7bJaLpeG9yg469iAUZ88pfs36MfmEIrftqWDPDcLHvdE6FDZoZyeoc0IwntWQXaJq+15raFVOak9Ai7mHIpjCrPwHUiw83e0xxxHpN3IOM/jLlSWl3wuxZpHTGIg4k0C4gWCW5FYUrIBLTIb/C2Vg+TWiXSmPHlctIHL5zr3afS/xQSyqQAvS5XC+32aMP5zJTyLRXNfwBzie9gQipHgdkso5j5WuyBrKcVdZPNy78aQZSo0r8wxVu8mOrMgS2SOs897W7gTaoN1S9BLo+saoeEURinFgFnQv5JHvdqU5T+VPxB8EXttoh0deZcE5gniqK/7wkx8ytj8cJi+4FASzMHoWmkiaQspI3ZNi8DxqnIUUWZRauvT9A8BjHZuyb1oeneNRRe1OWKerxw7DxSekB+DQxesdjox3YjJoXVNjR3Eux/c6ERQRbWutpkSwcdqthA0NCsSqfh0jAhVs2tWgru0SgBi5mKH/bW2yCgp2G19N/dvbLAEROmsv0xNmlZykIXLQRzGwdKTqFsP1pVp3HeqIYRC77fYVV1Vi21+ORyjuL6onv03MbQLYEItqAr/k9GPQsqHKMjpBDKgMBc60sLLG+8HiuvoZA7sQ8St5DkKcBHzcNo2ORQM7PsVkf5dxx3BoLHuHQ5jb4P/d3fePzoXSsBa96zEPSJx3sBhHtZIM4wpOgQbOTTRUxLgMdWOABpK+XL383dcccCU9/L6FpB7+rsvEzUxKOOHzOQ67Pb5/noEIRXJ1X1vUAiuqSAncMGKFSIoTvQRGJ4/x6M+NsDhK2W9Omt+Awo2l/tmgYOlyS2SM3VXPNrxRzfWfSmOj7kQ7vbj/ek9ow7pIWJUasdUfSq5cyWwny8ewqPQQ1JIzrv6xSzncHIgFNo+5HLW2GGTPfWaHBzcuTx2WCK8IlBuGk3TUlgUz19jiMhcmciW9Yi/BNQgnNBxJtaMUCZ3vifzabzNsIqmgPgLQUkKf4gUgJe7vunvwMJVOAetHbuDCFmTZo6Yk6BqzubVqDFVoTlVHbuIEqYUOKThYPbXHc92Uhq0GgKD0ajxHA3dQnv2BvD7ubBbb+BeE7AK4cj6a+KNlTS3Lxj82/NdqiVRt5YqvcmCDUADnwF6NdwHFSGxu/Jso+COZ3UGlrWfjqo2E/I2L+iAzrR0jCKgif78yungpEOQrHrciCuSeIWtFX/LlhaLDKYeW6CZdH48R0ZL4ZZ7xUqQSv1jkwFgIG39xrTR12aivRZzD3ZlZLuCI7c+D0EnZW6qOzuasj8npAXbWpRD2Of79wclYEmeQnfJQZ0zCb5NxKE5Zf57VR+VZzSlw574HoZvbObRabaZL+Yz41UUVLZIeHdCDFqAqgACdUc2pBzuzO6yhiciWb4xWFky2BX+BK2unuMzvJ+YEuUPzXOVLJfOyM40U7xDl4ospC8E2DxDiYOHatxaBvUxeSFepAb/iRAomY60FdHKOSeO8B+4nA8stA737OxTKp74dLXOFd0upSO5rLIg9xG3MyVSVfhDxUZQckAJWokL+lMAmG70ZaTG/cp+O7ktTMFUwY8rR7rG2D78i3rM724IgdBk6cDTkd8j7qUJSNzTMtcSHnD0LxvvsTJI6FDqnw7kKFcVOx55W7p+nfouT/Tc/lIuCpXHCxsHinxBszEnxL4w5EZiNL4uWzRfVk8g+I2PAus2lU50KIgIimyxIAO4ZvUNB9QCUk47Du5nmedDX7/OPlSbE5HvBM+6uc4r+B2krF9t1WWwqPNKVgAXmrCOgYaRxeNekerjurXynBIsneNsVHSrFM7WF9FkStmihniA9g7jD0sQithUHUhG0TYYTbNyMCmnGPGKLxQPwOrf/h6LW4K7W0/WOBigRHrP8mr/yqrReWxrrVpmFrtDx3JOk3LRYRyoh6/pzWf6JHmYF8YLPLlqaYyvIVeu2jBl59eJ0P5jeUBE9ShpB5LIBF5S0HSPek51+5/pi0VWV1f42X3QU0hsL6Va2Q4ePf9FGywqUXBG3JX5xiTPCqq00B2DoOQ3T0/l+2Vq/Vapiu1KRJYcJFQSFrd7x6maJDFE8j+lSqnQonMPQXql/KB552UZltxVAMkhWaa8CRhMovTNKJ10QMpTGverSxxPdA0p5y6IELyk7Gj0q00YxFbeCE6p5Qoa+aoa0T96QaM/w9Z+3URb3CuNwg6HmGvVlSbGSc0GG65wMIf81WdizRBmj6x4RHRMFON+6dZ03gfkrZy82c99dZZ7+9zH5VLxD36omf1nzWc1296ryz0SN9RpPuKfvvfVhz268U8IkUofF/eK8YjjYXRUiE6qzMjpXOyJYcq/WoGu/THnQX50X12ODy5dNebzIJdvX9kjPZvCWuI76hNGPkQn3buIzsj2GLJEq3XinBebdClDDgUxDXcwqqXy4+bG9BoWCudwNBXtZIuldgRL3drrQGgqBz5+cYBuM85Jc+H6RMSpOxatmoBCi4b5mU0DKie2rJROAqLetUu/QuoofCx1ZnHu547pg/eIByAkHO1RCwRW5qF5aqvH9tmGuw337Kqv3fia/NLHNf1uiDpYqSs9rHRegftgHr0ng+2bk0ute5AgIu3L7ZNjym/MevP65aquMSzdgCME6QrPtEWEEdyvYQlbG8qk/yWaMUuXhP8EdxETLyzkzY/SI+yCiHe1Kd7iOREwHazKPFLBcIO4Iji7y6W6xAUa6HXjO0dGSFAj/pr7XxqKgaaREr6Fj4Erx7xGRdy0cMZ8jKhb/cHaGhsVF/TQ83DFLRaN4uLkhRE9ZhBxkZuyZbnjiX/+yI/nsOg/wKfb2XQQmVY2BU/hwksJetAdBqlzHvGDuXs1jJRV4dksAdPIWo20cURjSTGjDZBk8JwHV1jd7Ne+1qYEp/+qHrHyXxK3BXFGxdua3wlhFKOWcRmCiVP9Hgq3qXzU6DFtjgVnmnSTJcmXRARMTJEyjm0fW7CRlJ9cl7cS5Y0LONeOGP5ZCuQtsTPsZCkdqqPqtBThu+Y3dJ/9N3nlyr/0bH/pOGhXU6k0UHxLSkkO1CcfywD9bCKRKbE6P+lzY2XdeXs2MbS7aPTPKg4L7EzRO51Gn5BdzgnOoyeM6hsUP5ylQGqAGdmbnOhvXdW5RJLwvHoNu8SdfVF/SFTn02VcxbVNTzH+YXzpoi+JAWy/GAZLQZxjd2Hw0v8Dah81ObGyIGPyqj6jH98FpeyRVEz8IhWAPCKWzJoOGnYf4WjpUQCdIEGUM16PBBbSff3n8YU+hJ1xRGe07WF+Pi7NKR58fu+60c6ilW4FlqogJYNZi7ZfxkGjuH9H563NTYKzbt61ippvlZjPYjIRkBDOyRUfnC+bqyVljqiAPS774Sx/OSyafvwo4vNbLZaOh2KX9YiS31EsnEgsGFeFUYVQUMbE++pKeRZT4VeXfRYsik8sKgxU5YkeNNL/HqluitJ7f6ZoKVuJWbcwXJLYRHlbvR0AZlbtLYrJq9rEHU1ONbez3TEvcvYpHggiRpnESqv4eeaO7rwpTN/+FtdceXHqOq4nWFKAyz9Oo2+ErQ2b0hYTcoj5O1ntQEIyYzyW8B+BoUk+6RKssKBbMPVjPuCkl1M+qo0OeaA2HngtOLp7aeVdpNoDEtCzBD+4+2UHrSANWzEayYsOUxo27fiFbFudh+MQkHV0Q5y2PhqMTBqK5AM9oWxaNUDZ0BeJLnhQNB62EidN4kwWZmpUmWH8DeHPuGxuwsvDu+MPWOXF44/n+hp0KMyg6lWEQqCHdbmG4f3zWTRMaoQXuCeZX5eSn2o08IRpVLY2LxyTysEOl45HOc3rXfCSFKDVGvArkjoDK6VL9V1+9G6utDyo6/ThsRCwDRdVXuj6mskdFNgwqkXRscF0G2hU8oNDbiWtET9vjvOC5EVfGa/YNVd9jIfNDke5ouPWoAcDz6nnDGdVFrwV695a6VuteU2LctfxcOG/ikZGTTud3o6nUyA/AOG5EsELefrb6caBO6CZyJ3+fsPTKfV9hAXIEmVX+VvwzAcTbcGg7UXf9jHWmoLWO92GoBTZGQ3nQwPH3P8r+C4uMuC06Y/N0VT/87nxUOzHcdqxjlOEHPOrSVBpqq2m98THz2Ip8dnCqYDWEePh+CBWyAf4X8I1HSOzpQC7vYMerygvKmgsxt4opuRsK2SZUsDv0ZwMUgunfrb4t0iNr9s2SLWHAugxwLYBmh7pvMcT4XyqmVex7rxBgJ5ly8s0J7J1x6nofE/0kS56oq2UK489dJPkW1woE2x11nSw0VnGrm33ceChhbVPUwuHE/UaFIcWvQOc81K+rR1QKx48icqBxAgeiUo0ZeXiDM6QEo4j5PxKcevC5lH0JsbDYmCtan2dhQjYQd/ofAC4rvCnPnoP0vP1O88VrLqOkYDPAuaw4Ao+hMkEvAYALB3hcczy21NyjxeAS4ka7bwsFhmg2WNswBOL3h4Gl6Z/TA41YXBk9ckzpGMHc1vWjAh53FbDGpuJ8x0XRI8VQysJJDoCXGZgZBHbjp0qvePUPOHhAT504lchnt85ky9xh+yhoqRKlzljB1xR65MxbYf3CYiVpHFPSAlty5OR024fPZ+TFoSs0KkgtVNGuZnE5Igob+bPKB8Yo/ddeEryxL1i5yNZK+D+QnMspFNHEQlAMaVshbhupdRTdAt1GLRzhQJ2U+7K0KzySZOClJT5ZJDRA/yVf7WCyTbPb/n4siy0atMwLVnCyK2z4+aF8j1sg+RDWHItkddLoikhT8l0Q8V69gFKqJ7SyxAESJQWlTS9I0/ndV71M9byzWvIqROzkhQ5pTj+S+79nUenst/wFHBBzj6mHEaL2uh4EJzPij1JPzAk0ngOVytu7Te/IFc4jcXuUwtlbkf1Wk6BWNRMt6oQOAnaiuIaxQV/BTnbkvVXu6YbSgFu3k/GNWnRaVVirtCGRyNfYd/iS3/MpLwQy1S/MDw1PHk84bPof5yv94F0PQCQYWMz9w+7i5XM47HYd3UVbVRAAAtnHZBONyt0c8P+j/+2vFc741cMwXeZZPXP1V+96FowaKRUuVYq5R1PJlJdW37HBRkRyxK9mmGY9dmhNllzTNlY8O0VLGoDbkeSkSwVEfnpE1S4jBJcxC4LDVsKCxwcYHWqaL0DGZTtCx43A6FnOJSmA/p42fxdKQQuYz8Adv9Ye3Hn8tiLtgdJKuc97SEDlgJJRsAaF9Lr6UdBv+diWGTRm5/NN+7GB48lX0VshGBCiHHsiL4BGOQ+6G1UvSOJ4Ifrsk10AjM1d7BrcHpRnMRfK2o+zDBuCd6mZS/WEghtpg2t5ISbni2vcaLxd7dfdPI2K5dx7h3ff/Yk1mIa9z06/UpRp9pg07j4+jaqedhhKRWGUOKhU3V3QXxLFiVSw2HtkkUoDMe9V+L0cB7eZQd89b76Bd5vu0Hn65UCiQgI8BiteIj5hyt5/WP8hHxBqYOc6Y/tPyCWcz6ucRIEnVwRUdINXeBnB36+H+6R62iiy8NVRj6KfiL2lgSeGR9TBsz9hQU+zbb3kCcp1Mkrrsh9Xddj8U/merYEgcN7WqR+IanPh8/Rq4Pv7h72HBwN/MvExfrJw5OUbLeCorYv157CsqIUw57nDcze4XHc1/QqEFtF+TNMm1WuFBIZEBouuioA4InlWgqe3XFy2QGLyeTphi2Qt3GOuT9nMYeoNy6qvvhic28XIMNShs2ffWsnV9XZ32Si8ecD/VpUR0m34uEknJitT1iv78ePMSaWAUNdBWd4Au4Q1wIVC9Y9p5rCu3aKn9nGa/BT+O0GjVntHvYnwNcYMVj09FBLzaOmIp30aJRNAC7Y68eE5UTRXFQMcCeYTyiA/1yL790EPPV5D7TzHB+f82u3c6frMWLIXzAWebyeaiY1aAA7/ndNDa37m+J3y5umyXoUscgXqAVxuLE431rQ9yeI8qlEoTW8FQJRHrcGkc4TN13sYlmfXSr2wnmeDlVGa68HtmLsVvPUkO5Je0Bqx0TEJD2VPLqTS4XzLFA7rUx5vibSrLd1grUI3jtAmIwVR9z+L7Nl7DDoW/AzoLoX/tCdRhIJd1rcErffCveLBFiXCtrFQ9kK1Et3TsBOQZQBiroEC0Rr4Khkm8bj8BleYIcG94JouB97GNry45mlT6SPuYi8TDRiPU/hjJNLTqLnjaMdgMCRxNBpDMGLCtj77jdrIuE2hQdpI3RVAEGwIfzNhGsCdFHfWZCrHoFDdH4ZyZoqqhXG2nyPvTaIVi3yXnoQk0bxqubQnc1aU0NdOLgKwlnGl23FsqDDPubt88Uucajvaio/aFgIxgNsLQRrXgSl0YD5nW7vUIMt1FpkaioK4s8yxxQ1xRq0Kk9M5XyrUKtO3308MW+PeJCXYh0/JrCy0LKSfMKsVoSM51WeDnNMtOemdA+M6vH4QwOVc9Jp+XopaVhZzlah2z0AwoflgZs5mSYBKkWMnS5psuxJJRgAw6vubAyDAkW7Qjq2O9RRsqzjRX1RBuy5N4ljfmKY97LrRROYwpleUSixqk4nMEYpNCE4zNCIcxKWwI9thV1obzAREq+LZz+Xyx7BVvPeoguol6aej/NJNKTxMAxWyQizpswF9EeGCvWaAlyEYDag30iGbSCV8CV/Pb2VrH/vmvLD+czcgbJfpID1So5D3ybz472OL6M/QEBeEpMVusJXVnY1HqUexa0rSFF7ocfMp45NHJ3IJ0tucpcrpNh3fNFUOQTBckrjeXKhJtsHPG877JOfFFH4iLV20NzEa1m1FNw9YVsILoLHoyp47aEWjhSCFz0Nrx/4pJnu+YUrnw4a3Cz/USCg6lllQN5rtC0cJXiRusn+VkPEv0YMSFHHUo9RT5TMRqOHRT8sRyOX/vmeVKCe9QHNT0Kwto/I8SBCz07XZpozXl0zz10E9jRN26VtVih5CXYuTcuw5r3784sgTL7R7IQOsBmogpOsuZB22qCDuVyX/I669+OelL3nxmEBS2NILdaozNfMezkNHRbLX9GFSiiIqt7l+elAisohh+l9Vif1IPxJ3fUhjl3mp7b2+vbMJb8yjyXf8CsJXiz3W6Jj1QZEs+zyRcdY5IpIqbEoo7mDo2gRNlILIWCXVgxxuCCFx8KGqw3zA4Vonoi9dSj7NEuO4SV6BGCO/s3T3yrL+BIkSBpmVS02cF+hi4FzkZaeRFPKoKNdKw3hZ9q3amGx1SSe2tByxQdRGYs/leQ/4tnjRmVHCaSE5OSPQJiXc6TbiF9A8Fa9k6EYcnP2kQ3w0eHQ5mGCY85WSp5ffVKtim5eJeii8HxKTLtXMmLl7BY19vQwxZB4P1eIQh9nT4cOgM/9djmYL1wObvZX2t6bfHdZB2s6skt7ZxMtJdTpV50LreiFErtWn28r1TM3Vcp53YYcydU2tIFGlWOpArupVC8/WHG/J5aClUNH7MbNVgSB8IpEqSFCXVaSsnxMfRHw33WyOC+DEGbteAZ0j4w4YDx3tbvDiMTXOD+jkzr6ySxSMsd3Hxtxnv5Bvx7YWnIP69aHaQQRgXP630VE6EkJbXhjsEw+PC3V//lmlp0wY/5fOUHDCeZheEHAX8Kcs6r9StwJEUcsDwuBBGMKFdHfW9zDuQxYYyLMCAmEmHYCN+hEm3Z6U/wzyDbrRJKhl9/ewb3UaswmmgcSAabaL4SMZiR6JFVf6yW3vu0wwMs1qpqbfI8nMUuMA6Mwjz6tJPT1NJNANmTAyRDUxVYELYdtVBa8SaE5SQLKGzXLt6NTZn28hosY0zx87fj1bIRCWc/j5M5jiDhU7IlEOtvfLvBq2lYrPnWdu2muzZyAniSxwHK06p9kKCXK8/OpFzjt6CC8JQBz5AGr9TcFTweuxIcK+7ED/Io+Jx/E3pCy4gRfAOHye99yDyi3pWly+/uIeFqK/9RII+wb4oSRUdSAP6h4FNLHyAwAci7//4Ap+hJuUY75/N0lSFf6dmqtx8Xu3Wo7LzOFysHoMIkgDm+MaWJRZDmPSaFrA1Zl27z9IU33tWOnsAMyBeuK02tlusBzCszTAPusFfEcAoNP3hzxUPvPdjZThh01VWBI1NOb6jyD1UKIH3FiUOIs1rIvDeHupa3WNcHZqCIuom4qb0r7gaDN5TzcXa3g+8yCQ4+BrcxnaarShIudUGkq9CbHjfzf/vOoSEQeNpETQNq2zKQcs4QKINVwn5ZHKOu2btDuFwzSFHyTFsLW0JhjPo5esI8sh5Fth2Ylo4S2tdpLQn6H19clH8iELLt54Mjyp3yw3BAQ1y8RicqSqiJqC8G4tCNYNEkpa35GCL9enon8smKhyVl/9ad6vXylCo3faT2rqyrspUg6XwLF37UXt6G6bG6Dua4JeK6FPkstKKjaJWVboqwxEo1Op+yLB0EYq+1dMllsy+yvaTV/OC+LH89vsA6MRes1tk0gpYa0vADo2ycLORvZLOqk01aJt9q410TNnJWl1xeEqarySS5qNMVea4X7M6yKX4fEwfH/M5A+rvDmJworqLwFMA5L72UNquxHFTck1OGW22IO0KWqFnrBuyBA+ghcUGG41fOWiGF64xtPCoaBnmMjh7ah7CFFoRTV2wwifJVK5Jqqaz5vuKoqCNrjJHipRg8fJFqPP0StrP3WoemR9h1+HJxOVcdI1F+yiYqGhiVeeD6SSPSzsy8+cRs7+QlMR3QLqp/g0l5U3B1QhtyfawsPxg6V4tJzxd8ks1j3bDgYQrZNv0T+amZsm9i7LZ7x6Q8wWolxdxKCXo8XmYqT67I+E8n/MXR+MyURBHywTdQSo7CPvrFAHLncnbgiBYc7Vg/SytCJI3AfLyKgdHroBVyXDYe/hX5THt55u/0S7bTStszSKjLCIPSRaqI6QC9ECMGdN075paFd7Rci+Y9KiHRn/4ZMwyrtUlmWCiIYN89X1TXYHvx+DtC7wRaLjRlWKSF6fVHjmnXjm+/uX081PyH0YpubvyVblaRzHmU3hDgRdRvPjypAssNOB9O/E8LgE4bZpA6icIPyH+i+PzpylgR9RsmNFvlmaNvvt33LyU6IPq//yfz8KsVVxzS0G32poFGErywW+wyFP61y7bcAm91rkiz+FUOgNVj5VPAh/X4/KSYeMTryknUmqmZKE6JkzUe0cTJ14ksWnTJ2lXHf6gVzdT6ujCZFdXW2fleB7+sCRUceo0Ncu5ds2GitM5INmaRn+tb66YugfCPNVXRk9WGMZePtv8t0IJ3FJZ8vsDn065y/nz41BcXfbO03Fh+xGztTDYML3YKbv94qE/bdsahVeCEfeCICh20v09LXX1IkiEt2E47m9GgG6YkNtKPQXIXEhNKwUTXGo7AdbB2UXs/cEJNNOFsBWtoRQEJHybsRWd78dCXDfrL2U2hTdO3b6AqI36jQ3EbGFUiLxK8/WFaitmjql0fX6IjUYhOf3iYavl5IasYbVXioueHzKzOq83tbpJCFHDDkK85jhcBtIsP0/gCCizQ2YtUCyBFM5/dovwlVGOSNuj9H3Lczy9Q63B9xrJr1sQI0r14oiBHgDlCb6pNwKoAKrkEdijaqF1HynSNSz6OoOEH+V6WLvt74VehzTUSPNcblQWumckXKGU0vMSjnwKUyohCI40TkXwiwAK46nWqjtlvxNhXV/xTG3fePNZOaCo7pG9iutt4Hk7g5oac3qgjJSo9zJg2XRCgzYuqTHLgM46D2ZpMgDhVc6QWGseHBIh936svWutFPwehkDaiCFaXZ88lvbWc4/bpGFFqkj/1SUfkDFNJxs1ZNAg8rpuYQnZUgFgOZNki+SjV+5HU1spd9bTwl4RhZUqaKnP0KgzbLYPIuinzm12QKcG044OHFKRGFvNEbcC65u8Zcc9zB05OlQ+cbmjqpEmYsgLzvWMdX1+crmR+j4YxnCEMlZnuabOIZdnN3b96tjPODO2rk9D+KR8g/hIX2b52G0YwJEtI2WV/hKKrguRT9R0Ooe7GGUbYt0zyKLcHCrfByEbzfSQy9Kl/+uI2pBIAAc5Wr4nyffcswJzStDP0fZv9WWRA5RmpekOZfr0AUhYcX1y+g0DE2ej/R77QVCKlY9FzhJpjND8nlpQ8jq66Y9kYwfMCNkrzL55lr4lHkFa9H2jNYBnjnBvI/T0bOZklhgs9o0FkojwzioocZgM4eOWRxnllqERz0yB+bWobot7TXEAdvSlzO+YmaoC/drrPjr5crLTc96Z87KLaFiaQKEd4417gUxVAq21GSD9vruWOlwduyGF27iRQZhygbaHlL20S5GczMKIOeuAq9M073/hBrYGAwNUwln+s5OECllmwSY0i07eShiQ54YXvzQnkuHwYj1LY6/WGCcTASUGKkzZwFifgZEocVhII/iAlFhJdspboSzjMqrnCALdtrHxuc7KxalK2qGXlLLCrq8qXNRv0/0QYAE6jGa8Abq3aTyCuk2hnF59GNkctV5aT3R20L4fVYVAMUZjYJeev25gbAUGQxYdudV9XTYg9SX8KMDtw6Dn+k8Db1TGyEE5rGbCBqqF9kvMQiHUXcq05uMcISGkVIhHy/wlnNCWVeymHN7Q4lh4M4e5VJXh1rI7GTaKu9mfSBAJf6nfv/BsG64Ep7ei6TwT2edzycwqjedo9/LVqbvhi+S4o3uygt+d2qtjEepqY7yMPgY3ooyxBdt3cirqRYhCxfLI3028FsSEV0bpVIxfr+ufnh5ZZzgAiIjLWwWKHBbs5LpN2u0OmqBGpP35VtWPXEqg/MCeVzEur1JFUzOwCLr+m8DXW+2NcI73cYS9C5dJL+LMEvkSMD+qwc9G5TNTPLJ79XafHFFAtU60YpFa+HqrlK9CHQ/5A7YMH/JdnPO7tPHvOMS9V4yVyk9W01geHGaforKbqGhWG8fwaeWA4/FEz2VfcsmM4MzY1gYq80wXkhYjhMUg/clRO0fZB5yXXcxfdXctgkea3P+wiFu/z6w0FHa0ScIlrdii3t5HhZWBe+z/uQNBXEhKukmqjW7Qqbd4er/MsZJh+ey9jYWxAOwd5QVG/SCPffD2l+iq/SlWs4iO8Or0gz9XpbQ9NzDPB6OLQEG1LYgCliqkDM5dZ5K1sIWimnGU5YHsOh77/5ZjeMJucNp8aSYvGuKjLyq4cpTnhsGqFcsp5bUx3rU/gnJ62sVUPnxR4Kmo5pbGec5LMNX+j84HP+Ia4dE5TkqaArXL4AR2okCOkDUI+PCIUX5QXIuYOs7cqBLpjW65KLqg4vLIQETLOkg1V7OVVkOXM6XB/q+KUYcdjaH0Aq9wgZWtOduLKRb6j/7Yo+iEHFxVIXMNjrvQGbM4p73AEMLfvmVj8XXi7nyWQrKpaEqFZ3Gwc6s7ky+ZIQdFgp6BDMlGQOrjxYG523L297FM05A8ROqUuSq9u9U0EncPBP4EtAj9+By4WNtWF2ZqedtpexyZJIrQZLqB7tAa2aP9nEnxEJZWBliE78PmFsK2vDkAuFRIMgzkL33w9+1pWZAOUVS5JVe8uW5b9xz+7RCzwCf0rY05ewwvgQ9tsO9xrKUMzvyaSuMJDmd2RF/+pvcfUEJ8jl9sHbJO3I5CFhCywDCeI8lm4l/RBgOTpgERxrsDYC/lsSzBw9gInGOaJZ7CwoDO77A44DGLeWP3Rr1vA6+MAnFBON1FSPaptKPkRujoegYKdd9UBByxpWXXwVyZW/BcGMaB8XBmOBSEFy1oBCIg+u6W9UN9U/jadhfIwfmWvDR+o2dEcv1aroHSBes4sBsAgpZhWeane0HuZVna3LGqeLfJIY0Mt3ppxtmaxsjshgg+8eChUNvpz1WE25QPwASs7UeetthMmNixW+uROP26hd4QdDDhvumqXt7SEyLj4xJGNJTzLrW18r4X5P1twCVSGYGCSJkcK0s8cN2gCxocKNun1l/6RI/QhAs9SduaVuR4WlpfjokA63oKI0M9ss5X2weZcO3qCEJ55AHFpkPe9lcKRZ2lgl8CHZse+g0b8hL21QlnwMnL2ASvBevR7MTPgL/uVr1lB9KBdmA9wGEgziH36ojRVTY1smI4toLY55hF9oAl1pfMuixFiRL/Nr7pGmwbp6l0PemtwEVs5MjT/E9dcD2aDuF6Wc56+rc3s1yuwNGXpkpj2cvyJswSakOuu79aeoE5U9vrTDsa5Z4QCfzsSaZFP8vOXJ6eKRCZPrnPfNjeO6iBIRXL5f8X0lg/H3uvWY+osJj3HVDxXPKaKP/n2gHKoWeVCZcrA0sfcbiy7WHT2NgvyBzXTK34sja5K+nwEVWZXvM83YCUsW4SPlSH6dRYZd7QgqnopWPPY2ThjoP9CN+JY7iSCSWsKnKfU68oaAFkBhzwdxPmztoK1B915rMFfXjdtcLiEYwF4vzExvMC9L8XqFl3FpZ+GHuXjeEWwvCzsLzz6FM1Gkr63Qt4JRpXYVJI9umIW8Hlt2xrQXOqP3CO+Rzapgug6JHtKJMXd5AYjOL2x/UloZ3YdoM+4xuGEsVBF2l33yqccZsZCarIF8lxEKD3MUCKRJQ5w9Upjp5J5T8RWB49vXNVMP7msqOVIUKFKJlC/UvAevE9OTPyyosm1iwooS3mk/XkcSbR87IxHUBNgkhjIRiWTU62okVD+VQAr7WuOHb9/uJDZw79Qxc6TB1LEK/+8ttr4ZosnV8K56XBFCrU34mK8SmzPnz2PgpRZS/9dtOwAyrX5xiWU/UOAspmQLlpqB8UiAKZATBTqRDUOruZmZ3cckLffWxFrdW8iSbB+fvBYjIXVZlu17L/zRqf9om+wr/kbXxb0gBwlSKJ6Cy+XkW6iJQ88JgMEGgEy0tPW39twAQmRGORzv5Gx30iNirv++Kiy3+NGinE8fCV+9O25KEHUu0ER5LINWv13VjsOD2lCYCtIeDJFHnWIwLiUIA8tNa7WVJU38zmNIVzzFcfuM0N9RlGzmUcdiPi3Z1spY1FIqj4YR/f/y8IAu/morOgMqV5/mav7vK9UISDwwj6Jn2IOVLyOwBGBlb7qeaYvLmgOJFzwIcxb+j7bNr77IY6/fj9Jbr4S5RgDstS+HwwflWq58YLwmekD6PtRMj8nF3i5VfAH+jqhIwgzD/CAM2DolnsQi1zSerorZVcmnLSMSZCwL7OwUT6rTgGMTyPWQI6YqmIMCiNyYPk5nrz8sGavTwFEl4A2e8Sv57x9FKael6MSjabj8o+0BFO/nW+lnE5cz5nscpYU4jK2cykcY81OKZkp7OYkqHAXiknPSCnJaC5g1O6FY2V351FUSuaNdAvpln/HdppOmU8B4N8zC11S5t0YDaIV47XdeMh9O5Oj5ZqJLsNtqsLZ1/GXjsRqhIr4RnwLzDUCylWZGOgOfp/j3wDjUa49GiAHwKbAnslJJE/esmvfckqLUT9zO/zi09aLHe3VoqTrzg8Ka5nkUB6n3KTvNbYCxu7xUxtg13Ox3FwguGkox6TicoBXQaMpYIR5jjkCfYnTHQdPkSBNON2JPezVwzcEKj5PPMjKtgXpDd6rTSS1DUv4lyWpa2Tq9XCnXx1o+kFafk/EwiXrJKpBzi/MNjcQ0bOiUkM+qSnriT/WE2oGxFcpnlj3eZ+i0ppw5nEgnMIrHUEVfps8cQ2b7LsdXzTW8uhklDb/tSFvnFP4K05kwTTaycKl6Zc1x1+sEoxjQlB47o17oaJf/8K5dwgHD6JdfDve6JgwCrBWBO1TfdCViV5VG3pbWZTenRqRJ1Z/7UA4uWVqfvAPg7amEhLg8BEidVzGgnuMx/6mRzQ7/mJLg3nreYA8mKV3u5Dq7nAUydVu974F1Mg9J13nVaSfLRvS+D5+7jfxh1et3Dur82+Xjg0YXosBeJRWn3Eg15KGWxKldY89Y20jUhgiV4Scuo4XQMiotmGCuoOuaaAPqwwLne3/GJWrVbKZ76I/eUg4t8O+Fe9P29hkg0MC6/WzmGCcxQ9GizOPKmdTQQXKoELYAoP7SYAPBzWehXFvzlbKItPkL1mI92FLsixWhtv7KLDK3G/nHD2ufvBQ+QVe+jXOR49UTvdTtPGUB24f0BNuvdQS//S3U4HksNkjwtR7TyB2Q6/pXQmjZy8icwyEO5wbW4EpZDVTZBQgIAVOsSmH4kEiKqEYP/p85gQRPZ82LbMkYoV8jcOG/ngjjxMEKxgJ/o9OLQRg2lgjV+nsesCMlsFNTqsUXdjYLrTG4bu+NK1TsNHezNvkUUeqBv+EpibFKK32aggkFK5ao098FO/jsd6OKA8FfCKxTjWRkfTuadcJiFMiMcbbPV3vOkwQ30VM/DFm5VPSLXsmqGDD4i8F4+X+XrdSDAhY3rlNe9HgvVRr59jIYjRmWherJL0u7cwinMlCA5DvQk+wVwiv/2KTFxXu1CGn9CzeYjKK9D9jCMVcETTfATJ+XyKMMOFE1FKKFGPESae1ubWkMgduafUqF2A5/+fhgqtNBF3T/CXnbHnKAiQ+y6CAvDthWr0J4mJWya4YFf57pnNwOEcPbAUluxJEPaWgT8/tWMvadLfDmjpLZLomomBdDuHMq5IrD9rnNkoi5mYu70i2k3OCkpw1riUa/nwedvzTDRGjDrKEzaBAKIxRnAErrSz/Yh5wAY9qErDEc+UayVDLb8uu2rt6PbEdESSiE1AT0kJmMZysP+Oz9tECWuWI0S+EO+ACqe4Ig3nFttUxQxjhO4h0OzGPybCfoVdsi6gLCNLQgoeTzaT1ar3fyh/rlEUrYOTLV7Xu7pTBuMmzZJKVuS4KBmzbuxly0Le/MKxWVVJIwqioyEwXQ5HwZNMhblrgum5qIVzuISO38SSWpgExzekzwv22N9RhIDAwEYNvNUUFqi2go4ByT7AJ81AaaKUPCSb5Y36KLDs4OHErsVn4uHU4LAnlDWUkXMhq9Ilqxco37ZmHvkO7eGZU3XJCXK84suwf46XA1OCEdsieyc5R4sGqcqEnmdgwwpf0UE3uR4+crskEFGxE3bMvzFwtAyKnsOp2u412tsYnnecT3IseuBT/GAaklz0niCVHeTyfGIioli/eQUQj+xJafnptFCK0Rdjdn2XnZJ6EkEtBC6LubRZxMoNN4zKIcQFEKyDIOIsArXi58tmcuD9Wcd42+ousuYJNAkLp5KIXpHTSHnyvQnzJIjqB2LJoPa/yG47ty7miEnzippmWDqJCW6qDCvIxsvszI0ZuopBI1GVddYyjch5GUCzUhkpi3owqvK73+8t56gJZFQN6rjMwzs43Z+TSp5t2RXSLSk9Ll80pVzFvbUxgedwQOBzgx0SBywG2dyyjfIs3humIcsOCl8EPb+GrQZzWQpXRsovp5TQecupmtT4nTM7Ta9qr8IIOEPkzbo9BtnCHkL76wk/KpOnvV6LJ9nGJTKbLw7q5Yq2bsLCwUwHfW7i2Bdp8kzo4MrBSyn5zuUlQUXPAb9GBuj8HikhDopHBMBrHovEvSVFyLyKfNWAe2rfBLURzsQ21nYfsb7aNgDqhJ/LLVG0C5i/1ghTq5jLwTwNBG91nNEzW1NNcjxQNXVJ1BnH7qOM7dtzHg5SGSGrUAtpK7BTDDn6XyzpK+5Jvdrre7mAoyG/eWmTLLvpLSBpqu5P2gGYe5up69H65opFntoM/KMZM9oDgb4pgFiwfytYVQFnzyN7Or9UAhfoomNSs9bUwGQD5UsI8K8C9+5w4briRb/dPi5lkx8+mlWEybIrUvj1TFhxN6aq2vSJLtaO+LlVwbSWDakxHV7Kd9nTx2aZJNjmq3NJ4MAdA3WkDFM+JBIx+X5Y2bnd6v78MXhVnD96iJowPNm441KHtqc/7U+ToqxdC2s+gmYBYoRV25ArrIrJa0AVjwKTiNk754FpstIokDVBTUHlpSuOwZkKm9aG3Z9uLOMAOXjzgY/nZFKJ3qWv3yqSrRzsrnWqr5AdzPfGH9coYgb9DT9BI8pQC5sS5+SiQuQ9kHl3Q/fEPRvX3KAlbLZbVx+WUA17brpMsjnsv89UIjSTCUOvgLNkB5zIkaiggJ+zMnK+QbpHQ4NYZFUj/V8N1TzL/LcgZt3gw1cE7k6gVPkQVyhFSa3Q2lo7BBUheZT3+tCxo/PpShTWxNMGHMEDMAy0mCcYT3oboP15qjlj1Nrf2HLe2dK+C2gH3WvqKxp+0yZqsiVZOByyNPifNzm4Saom496QTFbtGC+JPqP1ypBUjzW28JVHq4OgDXWWLG3+dkRhmgH62AlA09/Z6ccV58g6CIV0zCH2dXW4e1hRRJ7gxRzPZZqt/V5S7Tp+gIozYqDlS407/G/+1IaAQlVnM7l8h3nbxV1FHc8CLXaMl3MKKkNi8vI/gCLh3eBmjMQyv3PJU97vRKY7guy1rjuRYaxl/v55reR2ZYW9X69JxQ7C7zqNEhouU7tcNq5AbbUNcUI/oGxrc0IfTbMvdd9biMAnHJEIK760Uc524Rf26EkISfWPSW+aEUAsOruiANqtrYPOh1hpwU/jlzc3jMyqnqLcT4KBSke9pCuAyphurFNiudXrMxZPY8cIbFmM602jtENBh2Y3Qtb/2xKlw2Efc158boKGW8HuDu7yA+Tu7O9X88ym4ZIDD/F8k9IDh+ANCw8XWCmMVfsoV9MtbZ2Vp1M2Gmz/X50WJKWvU3p/CAl2wKR1AAkjGpaI04hZEL808NqtMQBShMM/OvkN1BbX/iU0kKEMTnbJTih3d8Pgud6xq+Z+RKg0CQbJdp0P6V+dehU3kbSn042TvC41PZpQemNo2MqKLk3w6IquaEx2S0D71FeQFpKEsThYTnY3L6jIQFVt4dk5M2lxcbq18vrdcE08DNy2U/Y5h7J9JIJBgd1R/RoxCuKEIKSqtYnG22aFv9cTc5wT/t3lyyK4wh0xZat67tmPAhtfTbol+8QGey7/vrstjX189VP/ky5mdu6P4D5poJVETKU1a60x00acvkULteWELsP5u0/WlRc857A1hgKVHWv9KARlg/fRv9vbxp3lF6gXeg0dZ2UEiASJOKnCPw6HRMerrUD+S+SAgzQVUOgZ6b0BerRvzjz797kZsfk6Ww6bC9Lfd3SLDjI3Y+RtCZFbNSXZfBYe1D60EkH5zt30lzYjLdrPk/btH9Lvy74PzNi4o6B+TEnOH0VHENdFDbsXiMbkAcTIzWkPYMiXndVQZf6JhjtQLwHgoTAr0T88SvAYKcLcpdXzzL2qk0sxf8BCgt+wAgvzz+trv11Ode475IuEtp1/8awsOMOzaXED13qqZUOzzqtJ/6YiwXCg28kODzUAp0MEOZNm6NMZieE0NPxmwkXg5/wYV+N3CTvP16ze9R4HV2R7cLHm/IDtc5uiMTr2kzoES+0gkvTZ4yWCTsvcYyHDjFLDUt5+jifC5yU/2+n9/7AZGx/1d2WFwvX7heVsSgFV6SrIvcMNmbGh3zR9e8PbNTJRmGXZNN5CspJXamCsNqh64el3lZENQ7dKymKXaQZqkMt1LrAYlqhrWeSzsm0WJKafopXJfkO4AvEx1E6Al09JmtnROoUA5gw8py2TLGCRYO6yZ0MgdnA8KXD+iPojpsyWe7NXsdXypstLeCkfZGdediEzN3+p1OI6FnsQ4elD0DV1ubltibHc+QSZU6jqH2a0O/UoJcHtToo76DEE0hf+Oi8bu4b/RxX8mixmW6ozyz73aZ60315U5Lam38cOIBHlib/QhsW4wT6W55f5Cd9JqXnM/5A1Le+Oq8O6CItYBSZo5vcRWXre9V/RLKsATTI/bMUVqyueuOugAIABjAFWMUJUcZgWH5rs/hkUu7iw5pTymTFW//Q/u8/3APlYhk5gAaUEOYkhauerzq2OXshJwgqnX7It2Kc1PfVXacR8tGB9IYMiGPeLMCY9HeeG7JQ1lIyg4Si7FncI6N1p8u7KnboUTs0hGTtK57CTapNbm//lha/tdDMbvrpVDtkZNqLhg6qMe5w3HBzV+7Hc0/2vWG5+MLVuYQc2aG6l05lpRnbUKCMm/MgGNGlc6Ctnn4P1sInUIXW7XLyOWR5s/IgagNiQa4fHLa6IUOiY6u4yQkrDaIXJhESuqVSgRAUxpneCq73p7i5Xat8dfUU+s3y77ZCzjCJESrHZrFHDsAkftKzDvNX/JoQUCdxhJhnqbB+Ymsgz6dG4pTcGNVsYa/e7hYE27R8ELzoSOOD9mFfJHQt66XgFtX1ajOVELs6O8QLHHFbVxEZnGNrCOXorl5p+Z7XE8mRVFCab9rIh//yJdwR4hdUJ9+0BqYCzJggfoZSYIxkAvKJt3JZCHBXbk6orgZI8ZeihKjlCoakc2E4ITfJP2Q8UvNFr0uthT8cW2L1UO6b6BcNo1NqjW0MYfI3c2kPcA3vc8Wg2VDtobjzECxfdYBGqQgsaIzKx/hEW9ZWR/jkb9hzhqx8pnDnVPsRXOhPGogITzojw8krD/cHa/iIi8VgsPXmdik2hwSde+GWEp2yj1i0DhvCS02Jc/57xCgLrUTs3PE9cMY6GfTu3NwHZu4lkWmBv4pEyrtaXQEtMErATTh7VboT2EiligrYExjJ+Y/verne5fet9oAAA5Ky5SC+4yXnrq4Xgo9JT3+oWqaLDP6ah8HPkXl+QD6aaElE9DxF4QWd3m7nPdMQDlg9mcg76V5s8lnDDk0YnhEqvR+LX36xAUovThWsXCBT3Q/1l3qvJPHILUIJs/rHi7871qOyJU7qiwRZg/Mr7oJOQ5M+aLTwWqExB7uUwOoo6s3gfV2fhknx9KgFZc4MdqTcYhL3eMVYCb7wdUEdAIqT9zXTSjDwIseAeVRZ//zGbvp6HzWwFNH7qAfcBDkvBtdwG1SK0qSs7xm7l7lgt/RmM+MkYfqf32BIomFUGp/8gU0JcmmRHOOtcHLt6kqUImz5DtGplRLQ1oSAqZIQHJyhtubqpMnTFcbDfRR2SBvfGSXbK83qWsAYQvMZC+LHZ8jNeGFYZAq/A7EfF48+9/O6hK2/RitAAmVDvDSdrUDVG8lFPk5XfxDnqvd8EaNRcejIvmFqczfhbi244T2pQ1MUerEbKQQ5RBcS13UQIZEhEh2rUnAILBzVsIjLZm9YAuxcBSxF9j0CGyLVdkPGpIz1+7qvewgxKHc2gAXD4uFsk/BmFqvuv0QZY5G+Jfh1E6XMOovdB8hUU6G59UZr2CWT2joBB7qvvsI6kKyNyJbcxCs6k/cQLLVgrX3JX44PV+TPksyrA/hMhk6zWQEYHw29fxxHD4k5YfR57W43UGe6KajgIspK7QBznUOH5mfJagPiULXeoFPvm9D+3LSlKGyPWyiO0x42JtNqX9gBzoiPxHjhay3Xl6+28nwWfVrtrnt7xNCedDNL3dKydcAL5QGMSV00+SpN5w3nZtKjMDqqeg61mYDyXVa07+lYgexVC0vdshzpONhI/g3gnx9Fe9SRpDCIxfrDFtsoHtSd/3/qZRHcTNkYBBu+errrYFItNMGCzikYzwt9icdZDybUn7pP3e7g5oMuuDYzgbgCOrI5g68tlqWwdWszd8h6bcPdZZJHw48ltT6siiIqszUiXEA729chHRweeMfcNue94ztcRRXXyvwSmCMJ5CSvb5rBaeSN/kz3KUWrZkPo5KUktgIHeo/lVgc2jEhkpQKZ+P7DxbzoyWwaeCaT8UBI4ID1w7MRAjkf3m5QR7b8TfCy1n1n0Skc3vfn++4bqY4Ys86qN+V446hH2Uut3+OugiaJWOSPPQjzmu8OoM4kCP7UmaP3Z95f3X8anoXv9vCnspEoYQYsWcB1Ub/T+Ikk7kaOESPT+NOILBjEDIrG6MT01POqzApkJ/h3jsRavYGvNCIWQnhPRa0poxxOcLcDemsanM9/ua5+Lb/Ugm8fwryhS9DB8vZifiZCCqFk4NJLtIcSs5x9gjettuh204sUekUTfGfLQhOxibatWCprsmah5T81j2zLRbJfq8ZUjWm7iyP22DFQMGrMx8cJtJzMfjJzilCafZ/kwmG/wDmC4D3Ls1GzUpPg3oFAJ7gMuCajRrklBWnC0FbhJwUASc5n2ztgHxBjn64rZsv9qOgAknwSZRIW4Y2xSWIz86MZZsAYO9Yi400TDwG/x7+Iz2/PG8Nu4J/OqfIqwbtGD7v0EDgj1FDBuxg6bXn3mdD8FEalJrL7aABQpp6pc79jGujwj/du2cXYuhXOc3dKsuIGVk+faAet5Lto/86bCQU/88POiJYjsldRrodz/L9NPBxiDzh5eXcHuyJl5OhMQmQx47/6Fk9YK0E1hpOCMq+MNxdmM5bR2kU/IMcC06wIZkO7+60biEXXs02prkQb5bYjhnLHpPHpfp88nIQcsaxgX9Hip6wA0My4QNI/r5rP9cA1+4uS3agJ2OFq4w6bVPgHI7Q2sJxML57a9ZFkNaml7CU3FkSKz6Eqp+cNwf3Vn9TZ6QNEqxJC0swpeTTpkTHaB1TqpPR96yDJtaK68Nd750L7Hr3Q1Qp/Tm788LkNF4kyV95QA2gv5iyiDvz2qLAURFvOFcx0gL+LJafVdvVx9aM59gqWyzOybjG2Nnp3E0mffVsMWnmEIZ7dQaEOWI/HsqpB3H1HUdymDbTlnY5tuxUueqjEVspMhv3a/ckPHctWkuaYEZrLsneljivbHyye/lDMAzEJcLN9da5l0kgTXTGDnufrQT/4Ty0cgM4pTrukmBtaJqlKLwr6+Iy3xAmcb1CnBrlvUMWnJizTkCtWM5kZ6Xm9SEdC6R+Dl4+i6cMMG1sPK/XJUvMDao/sIKyKD9CspTH1EdoWLoMT9gRkiqt7No2Y5Zr8ANr8AxxuczSJgZILurm51Pj/ae00SPI9v6U54KlBbBcZHVye3oAZRNr/YqDH08Tyce2T6/iL0C5N4Ug8jA37LbnJZls2ICtE9YJ9V0YLTI9T8boLXNaUCgInfNRGSPp8u1UZW55aAfOqSzbm9WYGBkIxgqQ19l5McYyujzHhCygvymuvokLC+80K4kbj7Fg6IcGgxDjBBYYJm0nQIUOBB8okijPTsdM3s4dJRcZn4cHxXdRSmeB3vy+vB28fGuWwjk9j0G5nPrzyzoJR3uP0QsTOWA11R5yowY0jHPoJ6XL4X1/gVsdMK2PDKNsIvstLdObijpiUMuTv7cx9Pmm85+Q0KeaiKFaG5gNjo8j79vAA8CdNXpskR0E55q6M/ll6dX/C5TIdRkViekcQoti2YUup4CHwiQ9Q6sx+zv262XygKdFy8E2aihpHghWZh37Ec9X8PLWxIVTUIBQ3Nf1/XZ0B9nS8Gs0n8iH6SXH47V/67hxO67HKmX+WTj2HYFD57yiJ7OZWEQKYzcL/KshX3hq0IlmsZYH06hcb97NY7PKZUX0S7Q7G3iWzwO8XTYTcMqO31Fw7Ozl/5uppkg0ypC9HvgOObYLzbHiROJBeR87DSyXwtir6wZkg30hAuFJJt5TgxDlpuGcvVQAMcR6eA7B2Ebx7PT1gEHII7YF/kJQ/xEuthN4QK/UYQLhneQ9pxMamqf4zAKbTye+6zS7EwQCKEtYng4VMUfPcSKLskMxE3my0lO5xpxxwhB123rIyAn8kN66zceGVMlrCstBCABUJOJqZ2YQWRRpVcl9WjbXUOFFEo8BdrsL8kDMhBQPi7NNPEVj5ZyJb+hd1Grl+jOw3wrSFUjB0G5rLp+1H50iZgFPK7sA+UkLAMZYDoN7Sknun/W4rNxllHfSTmZ3EVFrCUsAbQcWbFFL9SncweP0DW+gUhOrhvv5IQ0gJXGtfBp2Z/fmXcR6b4GKYKxwbHVGkGEz4aaSOCz7kGp/AeNXUKo8QW5Te5eXKMVX7dbA9Ukvu0Noan6e/bimlugaFmDwCxjsU9cHpjNNc2pAD26WZ23NbhyGDHkyq9bwyxM0BwFTNROfH84sXR2iIvki9O3wARUCq+q5r26v6AzONWec7NVEeBu5CrLaIlJ76PLaqdv/xqGrFT7NVHWdo5dnM26N5Ar5kPFO62tvNQ6V85luju2ay0iN6I992oJGZVo9p8SEMH4n9cm0cyeNTUmZ36bVdc3d19uuJNZWnqWA+8hISeZ2cVM3f15sIm6KBQuY45qvf3IUW5/OGTRG9gq38ZziknVDpGGY7oK/XxmJQgu0yRhisPL/S5hRQj10kF7FyzDj73WblYjJQpj9rt895rCSp/5PRLbRlM8NeLvcETW+WFZan+o6lofkuvYuVtrksNTeybeLi6J2Hc9IP2oEEsVu6SHYFclgwwdtFngOlOB/vWpKMhgsgH6tU5AY43FwstCYrlGI+rH+a2qA7oDcLkl1e0R0hbOF1sxOpDqjMv+JGnR2CzEu2XGc4HZvlYO3cVrdvvKt2t0HHMtO+21G7N9T9BTdvVrMU4AzEIBVPLVk0VIBxKMH9f/FszD2tcbbA4YCeD/JL/Cto12oVLjL4anOGFNyn0nBnF3X3HzmC3yYw08ozq3eEdb60LOkocWId2TdK3kKbGGmsjcAm21sp0uABVrC5SwhXxnaQIZWY/P6t15T3p2/VXn3aDrXzE9X2+PQvOY7tvbNDDAzvXrnvSCO4KgP7/okkfjmCWHdPHh1oYk3DuV8yi3wgJtpX+8dsuBJO7gUbccRSfQRu8oGccngrYEDFl348kK6KK9MgwGLjeOQYyHUu4OxiTxb2MeWjc4vw4jyv2VTV+zZK/HEG9PFYfQqzWXrYUIatyiCZMbLllBCO41LdyBPr20BOwSg872+ER3rNAjQkydwEOHpjZVwJuOba9PlnxYkCd6YmRH9VLwfN+UWyudNgFeLLnOShJJz8laSl8CdXKyCw2lTR4+ZFdZbY8OFXWJx8lLWXEmqK8zfDjDGcb6ZRm5b4KMC58kwds4p4RP6SR16YGe1yxhfeOisqmQPRj3vKtLC+OhrgTMVGFC/WI84vcxWbfDGTXF8TgcJP6H+kvwDtzThJEtRfTkfHuyr7bJMOzbr/hKUaoOmULVxm+pw9tLkK+7jxyKceZ8LLSTo9esI1vP5os2ArGTaU1WFpxMidNlwKKQzPOQkHyaaITDj235cgiQ/skQokFkseME7lSt4sI4s8LMNt7K2lSE70Frn8t5CN7qomOVSavE0N16qdqtscbTLjbqxVGixs86s/YBcv4G2mW5G1WKBnbX8RUElOHAFISEIlnVOlqu9GMvIep7SiIVpbxaDtSP+HC/rSlt93dCeL/weEb+JA4BXkr37GSKjkrbKmIr6OlobjIWUGy5Hr1Q1/6Cfnnk/n09EIxL7HKsQLCyeT5TagiM8n6pNASi5TFms721YZNVH0NRPzUL71PlcmWI5zI7QZhmKs6HhbaINffNOGdsSSiTEAcxEfSG7PX8jVC6aYYVCR6MAfcJMI+JQWOOmBCtVAhz4nwVXTwdZpT7XeQDcBZmWSd0bXGWRzc3OiHCaRTVy2UGQZ+0G9b/FMyC/PdfNjMruXv5SR6L8cXec4xpGL/JKhKvenkSeIlutI70fJm0FtWPSm7wbG+dczLEHErVr5Ps/mPeM7tdNJsqr1WBhzV0ZHVpXHwoSKsuOHfj12jMDemIk8Yym8zTT1X2tHQWlA+j7n4aSG9YcfNwofW8g3ZEyDNsSy1e6N1oW6FLxj2zxskuM7GlPny4sLJZU9iiHHQd8JYvDrIiA683aMItm0VbqekQjbrMh7V8xt55r8Z02+mFweTwJ9bBekzCTvGH3Ebc9GeOHICSUT1db9eXFg4s3GuGVpIiPPoSyj1pfvDK39lqNC6p3j/OP6kJJBg7fgHF3JzP/AbBnONhH1iYl5z2RUMuL4e4YvrSncbmZc9iR2YKo4qbWKfm6Zna3Ur1e4fb8/Z2tvyAiltMkvV/KCEqQVqJ5bXUAytQDecbOQfj8281NQtHp6xx4RaE6bU6DJ7SRMHXXV8cZhPE9KbeogjzrEKlTXYrewDb1IQXC+OyVAucPt4oLmgFKuuPsdhoBiTBvbpKaVB7DBFvSmIEpfDNd4bIjjDV2Jd+kQbG/BcoHa7WReshpDG3Xe82yCwUtMVVrGb9+x9Ap55k1yStNe+oTlZGQQt5WsauVdlSp3TuRCPw15ip2Uvm/Wn96COadQ993fCAPZJcg/EdB4aVenM5smU+pqvEBabMkX0FUpUj4PEnq8aIrs0BNgvh8XrQs5zXPPGlm/gtMuy0O87Sph6lt/EMgYuK0fAdR4PNUsdJcNoA6BR7/QCSTOoelUp+y4g6S2d3x6rBPJEZZ17WMN3RsmrnbO0Ouk9AU6xUv3uSpxiosY+vLa2UThtE7Mv3AGF0h6p+pMhbYBDepRlouJwNEYL2lLBw9jt4DTYC86FSYkImPzn2Q4PlD1x88i9M6N9kwVku5Yf5/xBpl3BbPjIUaKgRa27iavA9pgzIslyz+nijF3dOXDB5wmkaYa/5S+d3+obQuYU3/AWDFlUvTdKtR3ZBcWYog7VOVfGs57cPEfYVtxT2sbFV+Xijdu6Sswki199/+qGBbMiFQGjgVAy0jQEvjD7BDT5wQr2EUqvFunxVfsUS1u2xNcnWR1DrhqnD0kgX7HXBAAzyfvTlWq8sudVDRgUW37tfC0Y+7US1pr77E1/MWo60gx9Av2xO0yyeUJhMhnH28rmqKluphEmZ48cUWGcsukzDjcsbhln5UlVFyo5T1l3EIXpHiizXplsKPyVKAA7yAHUJ6CmLcTxgvebyy2uvkbCso0K9jN/+OV6c7TTDSuR9/mmOQQuHZKgDnbIaRXhzDtcUt36zmienryRsQ5jH5o3OIveczwujdk3zvE9EoEibFPoclGWLBdH9pACAhQO7v252rmbpgW6jHab7wDtXNHpCOuOdJg62oTYDHfCynQvoQtKAuiWDYTUGR0QM7agMsuEszouC6GMf1Jtu18wOJMTusuqvC0OOiCAq2CovXEQWl+4rXJW6kUyoXzCur81jGGcJK7gNOnR7oeNsYwAX5uSuw3maGK6tPyX4I8EMWpM0vkBQva/I9c85H8RxG4fmKegzV+WG58PwK0a1fCJ9XildkGDhI6FTDW2ZzM+f3QqfZfMZypnuNTBnaO7rgKsMZ9K6fugIZdC0RcbwBhiFBpVflUcwu/rfUUWVvJQlSX2S2nUeeQl4hTssxzqvCC3HA1UGzfDasQ9MQMRAVBaoxyfQ5xUUMc0dtV6QJ/iVqxmETMssZwux0y989cpn8I5ohScz6xhW202IhoIIGTN/vu3MbBPQp9+XgevGLFCVs5G94MCrVnhrnTtupqNrlgwjVrcl6a1yjEdqWP0jAJCywYdLBnEOeQrxBPADxsvArr8dHH/QjITRwIs9v8akkO83000Kej6dCmGBS9uFrfIZ03/cLxJxBhIDGdBOH2dSHBuAL0uR37BWbKbvmcAHwy3u5dn3ZF4c5EXqsC7gb3N64mKYzOSgJEGToo4UCthusHInQZx+8Cm0SJHSdzbsSJqCh/rEsRBD+C3BqqIRrD+ORQtBQnDhMmlYbbYwqtaNHEARQ2PfY/ORZLIBvqnOOyDsyrVnqbK4umMnA42otRpKYBw+jgkLC5A5V5DuanZkc5KkfIJUiritJ6NrHqOH7I6zlUdIAC3jQnt4yELFPPJwY4R4so87GLVCsAbsjBwgP5QqSykEFh4aimMIW1I8pYsZMf6DdbteC+28Ad+j6ojLzWev6lhImtLb82acQjZ8EMu6z2s4OavAugJ3KKQdaFh1j1KGsONsIZjZJyGu9qxH7DI+ekr5S5J/vTLKpdOS4g9r5LG/OowWfpuoereDvzO9UTyEScJP/sAjcvn26BacSanlpgv6QnKTAJ4mxgyQ5DCe2tovZ4e2QQAKWE0nbB/W8YcOKC8Sv3uahJ9zdaP+vSqEXWZun8eDr6kVTHOVBptSNnqLrdaJY9w4p2q/beOq07hWwnWiKEl6/WIArU5XOwIPXK9/sBrjaxJKcQt5Az5L+NOPh9l90fZob0o2UkBphGhpsTdItamEcvHL8Z6z7gtb1lwjpu1zJJ/yYXoiKsyHmly6DQSLjv8jj7NFJ+stkBIdzSo7TbNJxnN2hLuCynZATBS0g0qQUFu56OZQLc3FbQNS+NCE3Cx8tYFMH1UmH9zJuz5UuZ3UyJFOQY30AXSFcte5DwPLLB7ub3LFcXlmcVUjIYsvPlZNfRbPYRwV751sPAdOyUi679sH/5HJ2ZupcVc5RmUQf+pFXs+uWuKATAlKEL/NkJBLmWvUxfwJWh6Vvfl3He16keKxCOsaBkkwCxLkQ8V/7pTZESoMrKMBpV7y9ZvS/vXo1JCzfbrZlAckBCS41bd9M761mPjz8BYiqfBDOQqYQvi0d6sXVSCPTPt/6bN/jnpKRpN8AsOp44iPC8WEjbWQ4Ow5+JKl2DZn04S6I9X6RDe7rR/YlxR3xBiOJU0LMkwd2N1QVAQ9OXTPPF4uggpc/G8pTrpxCVxM6jnNFDWxln/XfIyuLGORREMKOfKGFtq/DLjCdu+oENac1JNxC0ziQhqL6KmMaeZ/KTSuBAvIhpFD7nloJVc29jrpm8me3qkdGud8thy74SrYmG1mwn0WBKe1mdHYYXl0OBk2TmH92GpmA9FJGhI89Skb1QQY3l78xF+/xW/MITbftFRL07fto+dxJyt+228F3Gf2+6zEnsXAxqheyEov3V3sJX3WXg/M/ZGEd2yYiBPqUI+lIcuvP1E7v2IdutSAhDuCLZtXApIZ5UMPbzqStIOTgzrX/WlrU6Ju1JDzWp8xxPL5+0Eoojz7SneMSjpa6iHkK8iLJDhf4I4wZbE1Spsuh6q226sgeZO3gQPdzi0ff3BqeTVzsMKaHmtV/opld0fczKEJuiDfDIjIFSQN0F2oIAbQFz+WHQT8xuB7eLAg2VMg6tEtl4sF76AQMAkDfs4fuatDB+xVH6vZ//vR1ZXM0NIdyJBR3+o9Ynaep3BPwaLrV5gpb61VEcIKhGkT8LiSxVD4ShU5Bivua5JvlicY9HfRKb61BgjSYVHlaW6xruvjtayPUwrjlh6UsQ4YxoP3x0+3miX+5F91XYRWVkjYky/KqQnBtQRbb5EHG2GN983iYWuwRbg1KhjWQ5HfHlo3RZDwzYqsCYMYyxCJ28+mFwfPdtKjiIIxkhIucUpIAM7E394D591XS4FVNvboVhG6g2iMvgDFfH/j0MNPq3rNsJ7ftLCasI9wOy2Q4co4guGKkOihff2ndS/8HkgHfmH2HW431N9eEXA1FXsaacZ77xEIpNvgfb0VQliVIk7Gb/TZqLoXdG6//SSyuuMa371ie468pKMqBc5pSvXqN1CGW3WYWiqZmgyhhUU1Fu88fl/dAb9sf5obdzmswqyGPpfZa5DDCDsAcQUm9N8+26OmFZMxjBfHMgaVCprCSBEbiGfX17YNt4RZO4MBd3NygBJxiRVrY8yyOrmx0qGducgPNmZ5Y4B8T0440BPUNm/vAvetqvN4Vg0hFV27DeRAy7wQy/p2PRW65rvYkOFnY3QmcUZq8AR5cHcCP6ubWOxcMluEwm2P2WxtC0coz2O7rtCi437t8dWBuB71kEq+UcFwQ38Lt31AWpxmc4visutcsu+jXo5ElA1uNwMM/zus5QeqS2N8xHaUYrBlT0QRLurWqizOQ2rfY+ohp/3TTD936bvJ7SXRgri0oS6PtV9pmOCe3gpGekhbozfRq85Alsy18KGxu4z2gQtFqLgp/VRRocrytoqpxF0vPoey9+WlgPrkyoBoapi31FL3ARy1Lu83Y3HmntqBAEKuJAh8FCQdi9K83cYlHSg0+4ZnNCbXjgkhGxJBvIY6t1yMZzdI7qVPI+4bXcKo4798DjdBBbEQq7rgbmrzFWwNzwnTYRsE7MTq7X1vET4Kfi+VkLTvu3VbcMgaUfpRfv+8QoJIVKGmp84CAjJqI1tRF/CIm/83rsabSzXfbx3FWYj0oOKwfd+YJJGUUQbC4uOb4grczRB7Z4QwVaZ96AmX+ISwWW7sVT3AmzILkvbvNoqLnu6vdGk/rSdJGzz3DGWdpP2QaAdQ4IP3qCgD5jZrSxCepS0CXfrbobOCFlmUsZWybD9zCQ2ICH6by1g7qdydRzCWcTfnIoEPv2GLC1SrJhavV1vUs0MyIU7cFGmdm9Flwm5viO7fRsE2z0rexhigV1zDN8grbNeGfxNixHH5PGcuSrnEjDZZKjArvXFVKioPDARfj58VOvVfaw3eAqEcIuK8Uwc8QcwFZRPcpCwJ+G4xIy6+PYdM3fbcSWA6AjM+ne9eg4CzDI0bJykL7U1RRBBtU1XiTB3RNXuS/rW728QRYOW+7WvHSLFXCycf/h/yTuo+K6Jfukc7Erv/+O6C4evPGImwYPLH3GvZZQ7w+yWrtv+1wdtWHhHwzMMpQxmUDSzdX5jmCHxdOvCwasR4xeq+rXRCVL9NcL6V7TzoLdG7rvgk0qg0YdxFigCN6ksngv/jD7BrNeHUp1X36wjYnSVeG+HaLf6ka3swiEHWLEZiSJ+Ec94eQdcwkPF1Ils4HYJhQl/o0VYs/xlwMOyQIuO47LqzPXH8o7ltkN5XkP9aong6U5sndaJua3Jsuy5YMtZirqzJUk57XciPe6L2INwj7nqw2tozkkWaiWLlcCtEtw7K7u8bHEAcPXAH9YEOMbrLPakDwTy5DanVvBg1s8L3jczdeY9XwCvbAScU9YX1zpqHrEa82Mll4vnnp9nvvUO+kdJfM+b9Lat1ELK4cZhFa8GqyBjVNAteFJv2llOh8TizoYpfpMSIBzYj/glU2iZ8IzPBeJjDNoZOlGditLEVYaXuB3LY9xN2o9vLZpaTBEj65h9aUnytPSl+K0LhOApTpeP2fwwtz1qDLZaPU6UbrLTOFTQcCe9vtd9u6zRb5TB3IqHChpPcuI9IgmAsBLFkPvRxcF8D2xLuqhudRiPXNAkOyAffqk9XhNXqXpM9oZJ1jN/05zb2RWf686XloU/xQMpeUd6eboY/hbXv/cabAUb4YUoa7PWKJvnNv1wmrP02nvm9me4RxIHxMiDHIaCU8S423DIxWHxSyUh1OIzfJ7Bq0oy2mrDm7TQG20z20UNqqNvwqZ8aPLwvPejqUs168cY5NBviatl9KNHNS4IoKwVO3GtGb4SqzhZQyW5JXGF/+RTpANPJgO2UMYsX2uYPruezNE9YYzfQoLjyFiUA8bq4jlxNnRew6Li50PRLx0Rm9IYAzPhoOQxV+mlNMp18whw7fx5Q6TSV+mUlOFrxM5YUxvV+ae56rkhgUEyHlnm39LOqmmDYxJc8l44yoS+p2hucafPAyTQnWzFrI7DHlzThLvGqBBuEnV5x2YK4hxp/xvW/oL6WcTn+j+uVbflYHs6rUExXqFIi+L+h0cpTIasmSwtwZ2v9xkm4cRTYUt06ap+Td01+6yL4ZOv/CDlP45qOwBqe0WIDP0mNYeJpjuiMNEHdrw0Y582MJdRwPf1jEkjxzHMYs2B27XxD6GLEyRiPq8FAk9HAmrI94s7ioIKZ3bbolLdC9JtAk0mmVTVzq9+FruNkN0D4tP/Zrj/vexDrlph/6u9/efzCqujp2JDIUbeX204BVE6n8GUGrhmrj7YVvhBH79xfmqWkDaTRl8D1FHAKOEaToQx+hpTrr4aLWQI1yaHQEiphrGZPGP/F1ZPVVZsyd1u+0OYbUg/4jOZmciQ6vbQNt2YwXcUOz+GtBolwwKlbnPfjnzVh/k5k9+GB+Ijtuy0zZ2PiGtqiFkAh6OltvZ0ME0bIhfod3qNnxFb9O5a8Rh8rOt9P5JK6iwk8H3kwbn5M6/MWYP1blLBghrknMiXJQZMfAtOo7lc/t9Hv0IvTEDE04P+3WpW19DiEPBVFmEmSSa/bnsUv3GBLmRD1nPt3e+E/WmN+Fz9Oc4J/nf95Q8hoWoZWrEVW3d0SoE3pz23gAkVmMh9Bl5McXcEUc0CkTeZxKp4OJ3PcJU5ErBwsmaFS7UKhNNfSpRk3tuMprGQ3ql3xfBJQddvUpMgm4X++hdo1Okv2Ik0wPqvWWFoajc3D94oI/pOi2pXWKuYEDnPlmHYRE8pICaU6qCYuDwCB82M5QN9YH/OtVhmIBf7okv8s/R2VsjVtlR8cY/YyLAXxPPJrkfGEc2A113J+djpNqSSpQvjlva0G23ZkpDGuvLbOTH8m3mwGw6qkxVYJBOO1VReh/cBZjgVauHbaqzaASQHvlWHG1wbqoFY3UtsyOv+Tn5BjQxyBghIt5W+Yxt/Eh3TA42et+vbnFpsMxy0p5Yw+tPOxwJd4ihI61TH7DxMSeIu9TM1XoRh0Vhj1T1jSe48t9x83pZMwEWHzndSKnI3BndM/0u/xo6jeIfD+zLx1Cd+Z8l5/f+ExIXvBZBC+uR8M6hQuX9HYOEqp6R4ZYfxfrWPaKpRvmzkXxYyA6a9cgEjHsMKjzijlL9G/XX2mS/OKKNr5JEqSzuRoqkwds52ZGxPY13/moYU6LjevNrGymbaamUiWsr4FszvCZlJqI9VVh55W+7UoqPEZnoq/g+aukxCBJAU6XZ+W87kU4skqKu2D5h4G0Jv4CDbYVmw9pWZvPssKrVg5gD/g48msoSLUDktD1vAYjxHneh5ahR3nGskQga+S795fhIlkSqMoI3NpmqCq60SUcHZGt4pNAsAsZ5IblgnVwZ17Zu5Bu7Kmj3t78TBYRpCZGXJYPijsY8AhsTdSpnBhANGgakR7CKFMwjF648aszcIxrXE7Jbh5EUzFZSBsVez7rQdddiaeIS2NAPXbYKbgpdinn8DPSbl0VE/TErPoYgyH+xeKYcKfItjFozGLMJiqTc8v4XujtKWAWUzpACxrMRuSqT1WCOrwTT/6MQ6OLPKH5AzZGYYVNQoSqJQbyE6zAXV0G2LHRNGOmydqOpA2SSuxYcLeL5lj/Th7L7pJuglb5LXvhh4fFBchIHT3CRWWHz5/zvzrHJZJa4WblN+fMIGmPZ9eBw7KZhJ5GrZlvqNuwHd8yVkSSK7cASYhHed+geX5cZbWjFqaL6wpZuIxX/vpYlv9WcvaZxxaGgg2bN8jie4uU2eNOCfhx+fx6nyfz5nUMj56bbrAXHa+vu599sG/6NkPthM9S+7o2GOlfC0Qk5Qi0V7OFl65dr2JjheJIV1z50vArV3Rw0liRc47ZOvlpMpvp41XTXM1aUgFKh0B0ztGa+wOP7/7JD88dAlPSpDWVoTf8SraMZMcITYOHAregwkIe6DjxGfE7FGE4pXjk+TbizgMMkcIAWCkLB5ejsktNlSlbx7H8G4jb/8cVnnAQoHr1D9z/scC5L2juC/6JaVGjk1l0hpUOm1+6gv7FFI+hFFgulaKT13GFelspPdXcMQLfrZ+jrC77x2TaUFAA4HK9iww256hgeQbi3+7s62TvmyiRhcRM+sqlSaqnMSAKd/eN/eAVAbGgJUH+AkBeptUUFFR9IHQ7yqfe/e+DHX+DqDL4fSbtzY0a84TuEAkM0s5gFJJNZLltkd/bN/cSygXg1JS2vadfD8kRL6RYoHfwA+hgUaUrFOU+TWo/1XHbfgy3S4+PRprjUb0ScKHaL4qhvvx4uZw/Z9Ecw+BTA4fPTC8UYae13kWzg261PauZaLlEekMFdJiaDAtvVQ5hiWiLEY9rYupXoKQs6wSZWsc7e7rMs8MrF6gU62BnZasD0nT3FJH/GR41o3ZrSAQpyqGznNPCV/eJIYHPlirm1JI25+Mrxxyln94RZkc51QGpotcfQLofPY6L9TLtJi3mJgY6yAYB0srp6sXvcXxFdmaYfb3inf3YOyCQYc/1VGk+0b7A3vyLmQDYIeLqcXsRSQ3+p0Lq1P9FvTTmuJbJV53tLWgcYEqrjBE7PAgblCsBZj48wmqOBd0vDfiQWbbMb0ytCiELpanczg8DEFDrx3Ge+1Pqjkih8l+KnbIp26voTq7712gx3a1lNH5/ZelEPsjbjKVcLuZ6UclN0sBA4MnOHzYgQGPvyvrw1Z05Y/kV4RfJqVLdBMjLjHA+lSlucrSqA029YYwAVc0UlCBrJVKS4jbtgofzyCCJylpyCDcUThoq34Fjv6GeELW3YHNRXHTTGgLEbqppLoJK0oDOeu0BZOVwHD4/oPT3ROzR1ZlL+gk7scj7hsbuG8+4IQ5AIsSGCEaPsoP7zTcw8XP4Bt5+3qq4CKF5J/yqR26D2dydMxlG0gqd6OeVce9yzI6JM6MDc+SpdPjKZcV1U8IEite88rxYzUI71wkJmyvcUHQ+gyBiJnmjmMr0J3cO/b6q5WOmCLXCQs+8b+N4Wd9/NXDaHvZND6q81qljiKy9vKZsvrYMMurho6MPRhTScRyFlPhgxs7oxhHfEZP4PVfZ4qmanWnbTt/yiNQW+44ZmU6STHiumqR0wfiyE1O5O9GuOnopyAssLOxwvmRrHCtEUuyzrK6Xry0NQKnwWPRJmVG7EE8tewcZXV+NUMSOv0ng30DGuNl6jGWrU7IJ5Tpego13CO0+fo4+V2BIt0ysRDdQfDe+tRgefTlPMncurokJOk3I6B/MhVV+21MRF1MzsthNuNZfObx7vnqaj4j9m+L8MQ78Uj7wS9C2w+8Yl3aOcRPYrh533HEqDsr/WcnjrYblMYfPRqhmxQmRwZ+piw8ovSlQJ1g+7F4K8OqgjL+xtd1blOsqJdbefZXjXbEiqVabMWKEH44FqqCD/ZyGgqy1/VJP134q5z3E5Yy+Wh4w2CAU7XSr/EYZuYC3RT9Upm0T1CTbbEIrKTwIQQZOeLZ5LLT44Vof0baxfB37i12TKIhNycNVlO2hNwasxM4GijZpkkAqG5oyZLykSjVtS+79EkmAR2TLgMJBZ5cAHl5qqvTyJI0tZmqsWCbhZhbGLtzWZ3XBf+YEdAElyRn0HP8/Y4B/kDF70dQuNTEvBjbWp9htrYnwX+5C03RZiIEq3m3IcVgmLFZtWKANMB1/kbXN2wVAKNHiKlf+nlogB0le+Izo9U8tt7AMvDavJVWDhTQ+D8IZ0wC5Z8yrb90X5NEDMjnT/UGj7I04T7cRsOTQNTfsUOgAdCXIUOjJumqVTbSNV7txEzkXgIMuHvYcSw83PFeqbnHcwhdQrUWbARvFu8FfJOEWJKlbdK5b//tO8t4nSeOKRtVdl3WJUA/hV/HEijBeJGV9eatSmvwQab4Lky0JXq1O8H2pvfpOIrYEc3tjBDfUUFIjB9dQuoqLnGFmVPqyEZ0Fq5NWWbz4JxJcpRpP2wj2s7NmChPRIQjAKJSxdZfJiX803Vyy0fKh6lrHLCjHyv1ii+8s1AIR0ykllAIykZ/1JTYtqQSvA77JtX6KTeA9KvRmei5zDWWI4Q1UzdjQ2GOS/fwTSGkTybF6/OYmmQQJpOwuwtz60dzrmsXXsnuZvVIEmcR3qigoSdW34lCfvhPQNArGOBHD5PbFBpscOSDCyyqzWmyy2zk6/Gk5aqUk3u8L3++7YtuHx/FzvHijDozqgv4yWvzQJ5ujcfuFUKNGJuJ1zQhwKXKj6j2XP75aFkcGn3FImmkYvWebVwS0seKSEH0pgQjvhXqaXf9tbpvFSSxSGUyqgBqAc9iEJjTJvhlcMdeXaODxffjVsj0m6/weU6IpRnwATOPcvTTDpkJTgUaKlchBuVP6FpE8F8yuk/aMJJ99zrJ/QkMZpx0pZjYCv6iX6ILhCxva9Di6SUqPkd54GVpPOd2qNXlPyi6w/3zPWEyxixCJrfp1xGWDSwe6IsmUHVXMwJJvUQr24LsLB7n6ZIySc0VoGDj7qwDfKZfbb54KsUsCBtG4SIYirGbu8ZRo4M8ojj+gbUj4gvTP6pjj9QRPxV9pPZ+ZcRYZK1vwpLoldzkOSdF5SwtkyhyBkBg2Hn6d9Lu5bKvwHVLJE4wNq12CelPbA8m8i609UOTdqOdlb3GoXVOqghGJ7Na1KMzTZJ1IRp+EQypJsDrGjPgDnfWZh7TJIx/ZgFR6udnQfeZjKqpKl6UpV6g+MCuskS7sPcbMPcjvcIY4zkX1XKqigfBW0sEwTWk/uTMgQfZZX2maWSJ6ChEANpseCBH7rc92XxSU7Y4odli+fVhP1ihaBkMdPstEzfikqGE6zZmfHYBTsnBLvPAFXgP8gMVu4ssSe2sAfDpBdTGM2KqIqLxz0TaE4NKQVDbYFzw68LcjUpmKYz/3y+++yWOzAb1HnQuWvfUHDdvF7uTB4xvCe3YR3Rhjty0YsNbq8W3CxgnDNpbkv1uZlki9RrcqtMvVGHS8IIa0TqTWXQbhVzm9RAOE7xXEae+RivHWzaZgVTHL0FjWgGLSbS1QB8fOitzdvGv+p7YJ8vQZEOK1APqffCoXA8UY1iD+185/pWFA/Zxh6HAFtAEE6qAcKr4iqBU5vRCavHYLKjhn2Tz5uIcTBVhRliwq86v2wRIwQRkkppR8lL9DkMyutffy6S8Xs3ustkW/QvpPtn+MFZ0ZIEmQxr00j1VFSzvZiCWim99qqZ5TuZhYLBM1+k5JdxUbd+Y7zvPv5aig+8YKt/xhrLlItCrSPqel2stsct41GQJ1qb9y8ccOSKcoHRLIlfyG2bjjf9IOGMJpLtLmsIm6Z/69QwM21w5CsYLXQ1nEZTP1DqtADBpmKRQIdEYBTE0HGZnh8s5vQBAQvj7ewHPyh3G+oOls2iSyJBv76Qcmta3G8Zx5aKuxsq41PpDEEi3Fl1Sp6wO05VMrI6fowd19pgAGYPAPcHGEUZK6X9vkOM2GNUogLQfhRQmTcBnLw9sNNf0gI0gsbPrsNOuujvpyoDtV4pOIzY1Ojrw/OpxfPJoeNbeNGf8JoDrBZ5o8p/4NvEwOq/KTUN0z1lGRBgzrUNxLEvqBpYvX2p+VBc785b52cH9zqosFp1MC5UkGbJYsyL9vgRzQHpSGBcS25ZPUiYQffmC50IRRl5VfQO6t4EmJrx4rWMc7z2rYeMwQRTdikv2ITsNiOFJg1Qi7mel/t06IwhQ+RwINecvZ+u+I91EfXuRqygxLAwJZUzlIztNhxsCngYMYt3nIrdaRaA2s/DZBweUTQuctc63yqZPmDTguxRgwaaDdS5CLoisaiOSKTG2GT79A8dx9+fTlj0Kb7e9zf5RKqe4AuE+NVcp+h7FsjmetNhuvdghHvJ7iB6Paom8/O/uKxlmgWqUHLoO40Gw7/Cnbpp2jaVRn1fdRxIzafSDr8OV5b+pvQje7LRZEbzpC3D814rq2mWmUeRQfOIDHbxXNf/tk6Fo/eVACWlp5+iDEcgUWQ0NJQ/iy0J0sjU/W64BSLYhKJNx8Nat08Nri8aJ2j07+WUy4FIpiHyZd8V/Ld5+EKOaJS9ETPh0hk+/nNEqOrCjCoFy8k3kxZN1Qo/DwlRqqTpBnGFKorgH8BDpAGuts7OuI1bJN61QBMjVkyFtz07T8JfScfWHCZVEkvCEPgX2kIOjDx1MZwF3oW6JqUHq4gtEfK//B2XzGP2s97kJKl15fmJ22MgjmPVbIr+GaeihWzkpP25nJgLsj1c35g4wjmq7miUFpw3hmgn/U2vo+gdyhM1sOCgQuPTAQwA9cY+Vb2fzzkoasQp3la47ZfcVwKe9lvZnKPeOdntd9rC8xaLSxY7X/k9c/AYmzpCsJBi7kCHFFxp3zCD0YCWkfcV39ijAIV1sou4CepylWfyk/p4rZ74GTj9tCGhkyDfdaqGlTsLIMYoUjr7XiT7d0eIyYQRu9DDpQBNtLGDHXDGfA5GcHLJ2DwA38R6M2d9t5zPb7H928kIqXtZTAILlDwTva4YYEZp1gSAD4Hm8NFJZVoaV0DlDw1M1Lb71Q6qlx51DfVUm7M9xTnfm8ZoGc4IsDyUs/B5JOW4GaTyxGAL/L+Xp3BSM/lBP9KDgp87ipe+T3PK2GmyA2c1f++LF7I7LunaHJgDtBsb9ECPZUrKjsr+tdkkGOxUh1BcI7u+0Hc020pjjwdykketzCqhfJFIhCrFtZMMrDjpbWyIwJmsaev3h5bpmJVM570pHyliihIEHsxn+tPT3JN4kshLssV/IW0zOGLl80GcJbIicfy0YUqejc/lacxxO4AYRhar/XlcH2YS+vJKyc1tOrvf4NRTWYV5fIKk6qpYbwxdabemRkvLzNSB4gt4yz549DOxgjaPqYC7v+Fvflakm3EiRyYDFhyyb4AvxLJIHMitNQmdiXXsAvVky8vVDkzhTK1WrmUg3vqWOevkqFUI1oN/MMgmly3B/oG1xtEpm2IZofFtggyVXqBuxEjqZxEZwxXlp7IRnhfblnPK2/uex7kooWj/UtaeIsGg32PmMDbFlkP0b5RLDyI4Gkt2FDG13eQihzU4AbSk7oPyLK6xD4shwk7BiGSkgwnf/7s+DPhFvOBmqyjuwRTh4G11/63KAnOq0lbm7B+QMEleLqOR0lRXKUnRsrHAiXv8/01AQ2ZLzHNSsY2j4/momihFT8a8HSp9pzXb3pSdCzY3RKNbOp3cV4fkhyTzbB1IdKZkyeAOnXFnnbWG9HRfI5aySBszFXO+9WBRzlE2mVkMyO7mst1VoEsKDS1QrjccDt7/3Gr5nKl94n5CQDLps2IM2qbe0rY2MwZlWfSY0u47jK99cVB1z3wXmgwb+NVm12vm1PcgU+634fDsnxldL+qPY6miRVScV9zKrVnW336ELu1Eg5FuTyzLHczONtq8lOXsi3AePz6b67PZWsrS/xMzdM42BSs1mne7pvkTxmkG2Y/FxCDR+bYAotjgRdgvRNgO88lueynIfIlmMmgmggcv5uGfGS63R7TJXVEF02QAtL8Rny3nX4NwC5DFkLEimwHGHpS/FkbZ8V4t/uz1PttI5hTQHR3MLk93RYKkeTsSdBJ3g6K+rlUarLd7YqJVopF8ovUdLSEe6yTfdsSn21aG+dEw+EYWH/IToeT9SnAM6O6zwulptYxVO37xM3p6pWLpP1bkD1thYfeZOxs3I3hbDAhaVjvakv554nPpNiuNYuU2WGIShFnbZ7Rz5vXsMYO79yC22Yevvb7n+Q6b+M6yd6Q01rjPE2Ry+1UKh83fE+QNrlEHLl27siJmdpUX0f+XumVsUmL2Sit5cdKUKE0Ihb2r5jyBDfmZJ/5z4e3glNvmWMJWbKmnixzlRBhFELxHEJfG1gPH+XRhX9tzhWj23K+sMMa3uCtPJ7yS3wtfy940oER0Jb9slbP5whzoraqO13/27xer/SZNWVJ48c3d926lo+5ft5faHZhO4WerT8/5G3X0y4LzTOWpiPSG/12BHTG9CreRgqdZHTGeTTNjyaiOL3qLDpKnJoUE+J8xX13N1zWOc3Vd8nV4YQZmn7HN6dLsD61bfTen3ATImnIC0JLrREA48xaUHmEOEvViF81kGxleJgVTPEmALu7Pjd9R87MoMlO0rWXKwpvcmnrYgaYKQ2cfNrIeBv1SKLUnVX2aGSiUPs7SiRvD7NCxtkcSd+Il2ch8o9EaDxbwWUUTywItvGDnV03W/t0/kNeBKCcuEBXd3EinibJYSytuOTQFFOhc753LPB57nhtqxFpEsvsY/dWp+ZDdXAMdcDu3U0UPwKe7MYzuim3eXUfu8cY1KBDtiElxY4tMPuxUK2szBnIzT8RqkwlCw3D2ktoTwHeWHlmTg+b3HH0flQJpILlNTS0mEthOa1BmIYxnKQ2Sm5Q0Y3mzNLj3PGrF7SSugIn3RhGCN9aDCkf0XboalkulY2vnaRVlWqHzvSuwPu2GeqSKqhAy5F2tcf0JtHhR1M71sjPcwr1KkLLuDt4Q7NoB7ogyvD/1gXoBz/WmMOiudYf4UAdUxzURPYgVtyjNUBbhSihMLjKXXA2mpg908L109A6qolldaa1pBuXg7WSMSTran3l1sjvoRbplPOo7S4EF4QINjP9pyxo4SXsrJRrSOlFemUeEs6a2aDNAX2M6dChwijmUFPMtRa9+7UYBojzWC1+JvzpTsZaMTNDQOkvyMyYK+gh1AfZk+b6QQZKxgEeqsutNGkAioZfhFfgQ1oTz49NSmBB6atq9TArhXS7em6VylWu9CjPBm2U/0u835lZFaQ7NohXAifPXmSlDfNa7hXWdHGJGpa+gnOVineQepYQekDnIB4QFfYdJiVmSBrylO4wsMKp42iXLzLSj8KTlnZWNKY/Cqeb2qp03lxqKAC4YSGa+MyBfOKJEEf9btq30iI1NcwHciXLpQUx2oFvT4Njup9SESIwn5gV3tEHuACmzJqtyM/8SPe2VByWcKMjMlPpivvMiohlkXYSG9ke2XxxlBYePGQm8SA5qSDifkDF9HgWOT7BW5jIQZl+YEg0b+lScADXbvHk2tTNl1h4xoeJ/i4tdM1xGy0IEFv1KNMBW5A9EJO5TDr04fBmGxbJMNstu/b8Ou2JqKsldU3cZkChQ7Oo4znU0ppc4dCNq9on4tuUEDPWxkVjJWwDQCJE5Z2c6jUaM6EhHnA99Um9Tc5kfRfuCo+8am5kvhmxhrAxbeBjTcVuIaVmah1mHh7yzcPRGA2s/BBYHSf/FNM2msTWW+N6P92txUxFNYP0thubHq/4bL/0A5p/bLdLaN97SiwuA/G8bhqeZZ0mJ10PgPL84QarNuxdRVOuttXuIUgOEv5vSv7naVMhpGl3KhJsMUiVrHecyfx6+enIKaS5D/y35RqhxO/cKkxTJipXAYFXgBMrx8n3ZFuS/e1MFM+6teSPIXii9Zh5KQvJ7Yg9+TjLJ8OWOhaqcR/is7+A2oKKRboCnKBVdTcL79+NrOLckUjgVPUrCK4vkUt3RRhDP4Kw77qSnqkpoP1t7Vlt/uHFBEC2Xj1vr2XqO0TijH+MtcPBUuWOygsFh+uWP/NBu3GyxyMq/01M70CXeW/hb6a614iM+3a/b7POnS0473n5IKRghVuM8mXi4GeCoTPqvDrPzos1P3l+dOi6nmfZcLxMPNLrAMcoc2bzxgOmEl76sN6ujhVSUSk2SZD0DGM4nbKxtNAYduBEdQcbncO8KgVYY7hyPFb4nXQBMLj0dzZjenBVn3rpluw+nSZ7SsIo2+4gj9MqyNIVQYbuBlaklS7AOoVFkhemeB53MWQbBCpjjJbduaHjBNMG2TT/0Hjwt232BplLEZSrIjzB209wnDiQQTJ/uFkfHP5km5o3uFN3SueGy0hQrhmQHV/U+UOCm7mZ1eEv1A6gYwnmfnQudJkDDax0uti5bLfk/bp2QMsVQuYuSL3bcMzh1ZR6eUxnNE+PTH6Oz72cg/CByXneeFrgbJMyL+BmXHaafJT79HFILBxzSO7LN5UoO3MOqURdVNafDlnTqs/0a4/f6mjax7c/ovmv+l+58Pl2fa3fSTxekPjL8xWVeiOL5puUwdJIdeNoNwP2xRbBQVueF55pY63nFhOydTf33EzHfFszXxDM75qUVsqJ0WJakSWyvYZEddEKMlvBBe0O9/oYnGrnJXsDTEdYL75ZCn1qa8U5Iipu0pXpqc1MnjWKKOWVyBTP9hgg0k3gXEdEdcIF0mIUiwgkst599V/ncPktXhgfR7TqMbrC9ONSlxhFD+KrLhmZpgbtTXBDb0ayH9Szea7OVDbbHc9a1T3e0lU7cwp2AQRQcWVFgsGjYALp+Gv6rhw0WrxWgHLoMy+24jTVGkYZjLwWAwIH7Hth6VvzEGEaT82G5zRAjMfcR9f7zdPFWiKYGJ0du+kCh7BzyTLL+kd1/WbtLh1NtAD6vYc14Ioz6QKOjBBB3ifLnn0Qn/RG2sNSjm1Lv9GPjTFQPR5AM2VEXIktStmREyJ/juJTj67jJ1Be/9gnvuDMLXUA1U2eyznDGaaUDN5PHWblzT7bvyRQy11SjWsSdYGxnB/euK1089dlL8QYVfJ39cK9E5AxsDrGx+32XJ+Bvjyd1I8l2RUBEzFgDhekM519r61juNw0nHINI2cwUSCiy8fdinfgi0PE0p3x+ATGrppzgFy/LMLXbV/w9NcaPuRzQyFmyRqvMEsYzKDRuLjakRs4eKJ/dOPDx/uM0ep8pNm6ayTecvGhYxlMCjsJxSE3YdPgucBA0hTj22PePGQiVy+XshmCKinFs0q4M89CSnh9/3TjCEBfhNzscD0maNugnRtlBUO1Tj2ad0gE8WxQM+zDYSnwrB25qdauHM5i8U0SLLt3z+Y6HuNjlEKs/OHVLTBrslFCdZE0ec3BDW85EbjjL1ua1knnv0zsTfZlByUT0lh+zup9FUeQ2hQHW4mhd7q28s6IHw4AOssLaVOia2hCWWBJhi4VLrvg1Zl8UTKGNsjjQ0SOw1ybN3JuPXqZKU+BmXBguS5+dj2/ddIx+18mQCsvCH9iwXcrBabbOG31tQQqMzKQaGLtqYtVRmdXbPdBzBNT4cnAqx3ES2YltEztjfUkdO27rUsIVQWAhRcfcLpMb2HGPYpwRKjQxMXnEFa4z/WBBHajOg0qZ9dTgAkPdPgWkZG6IhJmYSCbC9+FbwwzKDw9xLYR6ncJ393cYGtETs3qM51O+IzoV8hL7O+UQjitt6kstFyN48CAF1PXIoRAWzn0HpA/errBXqabGP3KifX/LwnI18fRfb9sBuo7FfFslGwvFebnmn7tQ32JyK9SK987MLeVzoQnVYk+Wbfu6iC4ZiqhswOJnYovi98QH10iAaina0CJCHvoI3qor9Pl0eVPmatvrJ2VaZN8aGFWg5VDVZp1FCx1kd8vjblGNTt7u886lxFABy5Mb9/kbAjsPmIS9lJIaKw+w1eERhdmoeZHd/aMrFTgRWLfQATfcFmvoxwZPa1iSJajp92jPTEb6CaSWgXaEyNihlsxf2hsFvqpJsUBiStmeUVreFh/ESONGpQp/SJQ6Px4gi4NML1lF1WvfCINSBf8wbZrsYXTK8LurrecEOYaJieFBuW+ow5DY97qAGvsdo6l/v3kt10hTFirzOMt6KKZ/px1h7UJZOcYFegGM+EiGVip8LfEJ7iwqZID6C9Y/GS+DaKcpLv1RmxdBLc7f6k5NUbKbruRki8XQW+quUGWTSrDlADSiM9v/RdkhtSxZS2qjl6EOZILaAp2txhdFznKaTi13xB3OPzvrdl26zjW0vtyrivm0gUs59V37wdJ3sXctHYV/4mMCFD5FaoyO3a9Xzlhm2h519uVUif4Uk9YGBLBTOK8X3mU8/0nrxA+lRD+dD43W64bZYXJzfILCQhpTJLee6BKaqwIbB0Rw4Fu5bVCyI/eI0hwNRcr+2MLe4oSQBjKzVAvNuuZOy+rvoNnmTxPubj4nG7pskcDlj41cwIKu175O4LTfxyp7JgGmy+W0ZNaMmgI4sHoDVGkHel6BIzrR/ZrIsvJ2azObwgkeVIVm4C9MPJXDQnKkOeH3xWPMbHgptWe/EU2fH8JSfCU9Ymf+Q0KoRIlPi7t7DqQzYecsyYd/brt8UU+kb7nHCaAZG2EdAU5WIK+yrg6RVGFjD5kOyblbQdfYq/SdouotAQrFKvBRMN5Cx9bV2XbHHU5wIcfbOwY2RkiaIAnF73MM0z9ocxIiZ0ldyjjokElDVpuNQzORkB9jDrFyx87ySwraaegT1KQ5Kau1HAyqrCj0sMQLyfMAhb04+Vq2TKMKACYrDSkZ6e3E4hhTVpwaGdadxWnFgcPEIDmJV6mh8Mi2umcwC7Y+e8gcDlZ3tx9F4B4dO1gDXD0xZ3/Qr/MzbPJf5Eu+960GrjSW7TRkBbwBOLqDNP6xZoDoqX3g6IDUoT/Ev7hQIysDgY4e32b2BkJ7vCPRqj/pqLPEWRDpHXuYoG/YNZXKVEUDv4cyq5Nh4IqfWoa+3V5DrYv2eGIGTHwxaPQZYhV4TDNhm5wwvMaUQ/7bXF2l6um7AUFvZcsLbZYf2rfKMNy/haulkuAniAMvlb7Agt4Iyxfum7lOjsuCZQPXfIVDGA7OTVgK8bPQma4pYDvKT9q3eGpJ0yTVo/IzF3GpRfQs+K7vU93u8x7G4BQ7cG1ipuU0CpZOart/C3egTliXBvdcG7rQ3hh93iqumUUU+Nqwq3xnr5oTuprI6KIuia5AIZtg2ekrKVUgHWAYk70ewLl6Bdob63BRdtQlE6C/afP4pj3lnN4YRAXLtvqzLjoCRwW49upPdIUUbavaqLDEsGSpXG8NwzkeqvzVXeaC8nRVwws16XYDRlnwP/KYSRdbcMBDU2qO1THDseaYaipiIbU8GThcWYMnOjp7xlcYPUTQRTTWmiIFFeqv4PXiEv8I2vpxxBeMzD+QPM0Q+3s0M4/fAbUnP0Fl2mpPZK/nxWoDQBF0qkytMVgWQhxoN+y0qwmovvTVlPTS1WX9S75zEE4OYSydL4wkPrIzz0hWkcrninI9T5aeSgRBOvigvI3yRlwLu0yB5uQIsK/uAOWl9qSNi3A/7J7isSogmi9mqebvbgnqwKo8NQDsycxflN0SXSRZIpnuHmhI3iBU2sy6NqB7aom189CUA3I6A78dA+U52JdNzd09TxVe/1XPO70JK1qYHO8/0xNGziPcft1k3Mr3B+LYk+xq6ttnMwTnFgzO7eDety5FpWc+MHiXHMINP5KOgmSCHvO748DwRhIKoz3YITwyLF6gQunENXrz7EfJZIOd8X8areimQyq+0BwiANcQrgkO5R1LJ+ett7Fd8ZJgtxrdlbCb63PbaXDe2ZamFcCzaSHgGaB0bBQQNDnTl3pkOCegEdTsyQIxsCXEu6Wl2bsp5YLaab8ZgedQtX/E7g0ug/D1Ks/bdPbQtJgHTI6Z6KDeP/3jjgemFhKsZcwqFGdY2B5qqnPZoIKh8jTVnxXSuH7fD7UMfsKp7cFO6/XvbewLv/nk2oJ8vwG28DU3xfKXnF9ApEUSLYL7nOmBUzynpIcEAOVMgRNrt7yutddu+z9WSaLsk8P5ExpMbSNsxPFbEezEQ259iYCU93Y1dC8OfzknC1Ml8G8UH/FmSCOc9UZkiVJImSoygicG7CzQRynjfn8nm6KVLyYgyrdLkEhh9NiVa9hs8HoPcBBr6saycf8y6zHULhHjGthYjAa7g0gxKjwssVr8uckYpJtbLnRDWzV368X7bCiPDu0JbjaitfN4r87PQvs7kX8z7o4Zry0+SnCUOZzZAHjnAEujVK9LpjUGoj+TizanmtxNOo92rj0uGt4XC5cE6dUqNk8usM7sIx03kl0l23SjQIY0er9xedin/jC5y8lhwkRgXmEVjMqWdPv7LnHTrEaU07VbJKmhhINMuHtGb51ynaVB7pc3fjVfNKi7dhA+PwJ8St2iCRvR0RvaT1IXPmbJBbTJpNjvdE22/JPByNyh/WqZPTZeHOfaXjSm3gAlHjrEZvoQtBNPQgmWXaD8kDSRiIQrV3b1gMWPMq92LCtG8YRmSJ0pFozstUSyMe1R/e3KBpxjRRaLS5+TbiD6FWH6hyR6wADQIOhvNQ0pmFjEVuF8Qq9YtV5XlEQDbD2LYi0s8obco14z4ihK5sVWfYX8haUUNEwJh6KbHLDOyPHQ3jD/AhMDkwi4JSLp8d5bD5m4H+IO96BtO0IF5BycmuzJGHoveq+zQcZX+sDojFhKCEptZIgZz7UoK4bLHFs5SwxPDrX/drKnvv4Ek8m2gOJVpMIrv5JG41bE8BemKCN68wQAKCGZLIw+8s0teSK2wCPU4eRKVZ+XGedDj3/oV8625LtI1RZ4gxEalCzxvYUo88dDofQskjhI2XNSMvmJQVGqjxmcBlbO/5WdWd2jYQlgzZpDKX+au60ASruh4NEm82gPcNBXBiVE2cZmVF9M1UtqcR7src0AXhX45vQPsuRkY5724rV7q4PlkwHQNFrbryTw0Xgq7RgyPs11/ad1+Gg/4cxkyrqi0UE9y1AjzMKkZZaJOH0Nf0CVR61eKWKRgeEnMQ9/oAJA+/rMKTbvGyVYVrZppuBhdJ4/RPFQZZ8QVkGd+NLH61WiozUP2AULrHWJxFYLnuPFdB7ZCrWX9cNJ2wNz8RQmjLT59jfYc29tQwbBGHcKSAhKyCOPnbCN1nRiLf9wueiA7AViSqRCwt2gG+coxOeUY9WWyhoR9i1YGSiSrFuWvRmBn2G+TfBRnBrKR8g+hhm+deTOvI3QUxBOZoPLI6qp9DpvgnhhnAiAtjkd3lVKSEE4LGKza6K6302WjrnLi8JaedzkzPhw4KLG5DHt2B8RoxocXAPD0b+a/AhSH7NsmcovD3U/EJ1nUlYxX5WSljuBxitHv70odQ5RL3G4HTmT4jy+4IfIQ4WcwIQmcb+yacV0dV70CZGC/99aABTqxvEZ7L4k+XhGh4aIoIPT3Krr59opuovS2TmognvoF2NuZQoIuPoT+ice0pwyvxEMn7QMZZVMtdvEBqS0MMCf1fzpARpmA1ggsXCLy+tM0DlRL7hiEO+46PwMm6nJovMu3QYBjMsseDsDfrIHV4Uip2bR7rRFcmVzI0foJi0n3oJz6ETc/Tiezxx4BRnpa2SZeiGP9/JwkkPoMn3vnMxJFpKjq/s+I+QIKdUnNvuBPp99tXizNBgQA3IBG9p2rb9VIn0L87xrvcs13S4iExNxfjOcRrku4hSQ+VDGVToS5jHB7EIpP/vCSHopbrrdMtShH8Vv4UiTSx6YAloiYC9Ta263kZ0vtLp7xye5mYq9Y4GjHzZ1pGTiHcyRV8aoRu1yWfMMuHSn+RRZVUUFsb+djvyVFYA5vDIaG/Cp4OmmgzYvmzUoaOPD04UxmJjCo796gHUL3uy/eG7E67tuFtXDxujn2utWxrzB5m4k+DkxzBLVFcvBXoR13QFsNThPkAJ9QpiFjPfIXytKW2EMHUFsyae7atQQ+BiZYH7WsO+4RU9mPlu8TSmj9A032NyIOO5hYrayMrjsfSIr6V3I/8GVG4EEsBnmx3CtLNHEv/KF7MU2MUCFhOGuQI+OLUkH6uYch3Yam9mUNAt6b2YXLl5EegHqkhfF2yVWIWPoKQoMa2r2mEXMdCeDqjz98C2ESzGXrB8t3oD/WOGMasLcJ5jKslhsn8oK2qNs7J0WJzUtt/BTHB6q0tckL6NsgNtXZvBy3Ee4ee61Gt3/EgQOLp/5JtiVcy0+raRzLUJLj+5OYI6+CusZwXqawwu3Y6ENqX7CYoCtY9rg0rW4unxnz41Yj/dopKiuLWeGnSj3ZEKsi7Ljhd2dy2iCfrpwYbb6IzLlz4hsr0RZJXGS+OCZbqMtuqIWFim2uhNAtmyZ1rFrHu/IiqqzV2wRJuA3mw4N+f+0mkJIyVNes6H17ygMvsxmIHiK5abtcPUwJX3+F7BtNfTgWUai+xFAmnwLjKY6wPmKN5oGReWB7FehiNp5xErzzgrvl7RYOUPPc4uuxP77+koUimKK1yY89bO0NW1jKH8gqEadOsYhVl7PGyYVThIzikFprC6D0Uxtl+uh/fjiO2NV0uaY+uFNRtIHkmTatzDQr46PoB+5CaS616j7ZWui6p4yvzrBxrmuxBbzzQDTF+8bwfWSbcGwSCkHIQvBL7APIba1/HKu7MoRFHxfAyZ4Pg8W9BF1GVJJjqFLlcdB4ZfKrHkNkF6L8r+zO0oflVNm+eD/wRMdLUfNIJ74ATxYsip7MyM1ITifg5N6V3HxLD1oTF2pxSFGQ49KaAl9s9QMST6KPYTPXCTzaQRKjyDSd9NwTSMskziKASOKpZyxVsq3a14gk3MA6pHR1JUytv38twUVoAhHMDgaGSs394N3WIV4nW4NmafEnChMvV0SgPnSwuAxn0YGdqIrE9ylv4EcWwjuiNwp+8DHgvsYRoONOe2eQPTlv5w7aWn36mK5IXYex0G+xSlKzyneig4zLxSg/OlrUr+/WrYUA6VCOuFTcTUL8wsd8i6WRmU+eod9SJf8csUD7NDzIP2/2rP3fgHbFR0qFXt0ALeaKIr6AS+OnAuYjspRkJPyo8m3h8TbvcA8WkoXoaQCVVKnDj1+2oaSRNIvRTigr6Gq/WMMNMbNgz1z+jICKOX9kAOj4ZjeOKa12YuAyeEyzeQ+lhIpxbHOKasdi70P8WXvIBPhnkk7JqgTj/KYJE5AOvK/jdjJwcITk8KKNF2TxIRrEwZ7yhpghxfabga5VNGQkK1vp3Qwzk5Xv+b0I+kdtK/kOtLAa1asZ8fIl7W6wDRXiqoHAHWlADtYSs5M3JofptAO8T3AKRNBrEuujxq5cvulqhRLPnt43uP2z6w8Pqi7F2xW0cbnX7OynB2n7Cds+6RvP6hg382KxX6958tC1Vk/4dt2BbDUj7C1LzNWaEoJrPjeI5oERP0zHqrZfN9BBORfAEaPiKc3c7gVIUrs8O5sNLj5YXC7n9hzcd0HTyqgfAzi3ZLpo+ksUfpzXk9fVt+Pwijslawcdom76YHCjYaKd8lQGOv2Cyeg/6W0cWJAls4PlxRtfDSK1BhQO5vLBFOedyh6uSfSjhkNRCuRdepHZHryYAmtKEY2UyP1zM98RiIxDWZK2SuMNUU1tJW4495wY5DknP3ZdGtLDXkZIYy6hDFl+vSDEySBkIViB1ZeEyVMdjR3KHBguNDNO85OkKHh2UuA0iLrvB8LbQnn1gaLQg5pSenVXNqlG8nLIXUwLFyiT5n1mfUKEItG4qOlUXB26+Rc8IX61M1qASgvajUgWk+aJvoehGZvie9YcDX+sGtkLNuqSY+SEk/ZHVShmn7iCK2SnHDbjf8l1kOMB3PdLZH7AZZN8Tnd4er2NUW1VQ8LVG6Gz2ef/OugPYWfHXe4JJAd2cthqgODp/aiAAdzB78PH21HrF/xh7voOiFct1Z6rUbI7yruMrA5SSsgEIF3YAm8lcQ26BYCMCK6NRhSxnPpxUb8YGc4MzA51lEpYgesfNZo+5RPAkZiN6poT/NXfexGt2zKpinP8Mk8rLl3kc4A8bmcbfWAGaxt6JXIgmpFKd9OgpeyAmreeLVEjkcbK2EPtUVW2Z4SFE2hDw3UJ55Q5J+2OtvyNYu6BAcPowfnsD8Ioh4HhWj2adwI30vnhzXlFwy6lXS3wT83AWOP8X+zlZts+TW4vm754mwleWEEmD/R1iepdW+4WO59E9GDL6LrYsvjZ5qulycLleJsQPt33ISykXCr5uO2EiQq7M4THlSLylkg+0+ik9Y0BIWKkRseOb5yhY6vLG2fUT+aDYfUbY7myegmJXuRYMHCUh6AD6AnBBuXG6h44KefNvPD1Bt8+meFSlUZ97QzTwX51P1G/hWtRgIOFHajIw2DE8QS8L8DfcXUEy/ahrHnF0XHG8mdocVSOIvNXfCQs2tUvrvM7lOW8CPj4gfb9Yod4qbX+yqGnZ2sL6AXB2orMGCQ6XMTUr7dYRYMDmwWYPYWp3uotFf60YTmlPNscL+780Hw4S8dj1cXZLOChj12myOmuMF8VCjkEZwNcXKgkkLFsE9oZLUvjnthADvk0HkVar91uVEBnAsaNRWT1eN8v0G4LUuKP7kbZkahVQinaSDIZx8b1bmACyNk7eek7iZ/YonLYynLPc2qZb7MH+BRbBqWAYyP6k3ig2lvXeBq2OJtzUbvmvv80ozoKPp5BIzxKX1YzOxJdEP4YE0x8tbysYokh9syOV+BskzqsmG6K7zpWxPGXw9MN03zK/NFrOouCDfQNRjY0z6m/7onqFog7lDD26WjmB5AldPbSnKjgn/lz66wpd4Y0WrX+NZlZkB7tXAGLoHopmf/pT6ChvONuYjEJpT+XGNDj4js0BcAL/PNnGv40LVQalosxmt0YJt3USCehMIFlXOISTHVa1wIWJ4XdwM53KENAGc10BRHaeQNcrQmACS7qsOR0+s3oOKIXPDiY0s6SVoFz8Sk/Xp8wtkmKFrfe50bEiSs6eFi4EMSGJlOd0w40Qv3YjRRyZeJGv012rF6753OptzW6ZVVJ9lD1v/5nrmWcK0kQvbwDoEPUlJgppEE/nxXUaMlaivIlvG2dEC8AXjScCL/oseNesmNFFNExEZYqq+H5OQq9eVg+YULg+mNTgzWs1o9FbcHywnB64Yw59xH7Azszv2ewPnVckA5KKfN1S8nwm6niTVuD3ACqKU2E1VwS1mZLFdqB1R5dXFVzDTWl9fNEs1oJDOy17Y+tl3ny6B6+aWdIjDE0/PArrevhoz/eJTqQV7WQFQYEvuAQHNEDmD2hAbpWxQy2dSEkYW7mm/qyPaIrSNUYP3w+uncfFHcU7O9Vk36aRhGFgGZZ1adAxkBMgQSjsv4A2E/XmcPL0jwbvyH72YA+/DzY39WBgvZqXq+hDfqkNCw6JkFUIQR9MyaxL59hPXJvRYFPAU5WACgfjUbJVdSEAxQCJ/CilGREIxlizkAOa3QtPQz58USLSOldRTStp01kWC8Yhdg2t4q0dTAuBDP3txbjgdsDkWQGtF0zQt1GP7i7VCoVwoK98xs0ZqcOzgAvD/i7LJ9quyuOLwK3JcBKeJVHeBpfjlHhcahaebuLt0eTdeTdAT6QEQxyIlCG9Ao6xfaT0LgnjdcMId4OrXGpnh8OkArjec4V3kdr3R5TzH4s2+rnhYBky8eCv2Z2VQMkW80jbk/Yo9jqkVV4+haD0tVuk9bSkc2CtocMxBe5PdzjgqE3xLa7/1/eI6rz89Evs9z8lHgfoDzEppbUict0Tak5EYhkOB44P3B/aNtyaSybFwlyjejKLxrpQ0VQNmGUxF9lKtAivISyZWjWX8Krhbch0jqtcXyaH5E0MZjJ38t1hYvWY3GiASpt2/U7x6I2Ev1x83TC9oy+2bY0lO7w4RRsfShbPol7Ea84T88FLo2VpIwELUTmSydatvqWIe/U2RiElg1OlDvFr1lVobfemEfHlR1oFWt0b+RRg39SU6viy1qXcJ3v5YwxIrwglbCSHCMbswkGhMkLEOFKQPor5qlMKki3e9OY8OGF4bnnAzxdbhpzHN1TVrxZmPy+DV99QSkuwkcUBVYixGZrXE5mI0ti+YIvckNjIroy9soT23ah85I83HtiK35SfuZkxw22k1QU7fyoE65jSslsTlgYhzQwOnsPaYGO/0gFNu+IlLKxv2aPBIbZDpfb+iMmZD4mOqMDfzyCk52oQ/UxatvyDLxwNGlcK0P2JP1VPXDjIBy7vUUh75gvrO9LYWstGi59pIfe67vIo3WfFTX13b9Xonog/i6WazzZuU5R3WVEdvYIibIb9XZB4LYEhoDNemVZCtQD+N5DKgORBkg2PuSpMKV2Vm1G/k356w5L9cMYcbCcs7gp8NbagSffAHQkgEkMXOVcK/2ILysX7flpgazeHKPAxUP6yfRUZP4mUTYFRQnBUNQg8ney3ICAhW8krQ9iZAsT390pGF1q36JQNuUl7MT8kGXPd4sch2xENwPAFthUkYAKjO+8Rmq/Vd6yrloXEVS44a4fZ5yjZ1WausGDWiOxMwbQdAlWQvecGVQC3M7VCKnAKazN4TbZEG2TRz0Kz55kFg6/2V8nuDECf/dinBEgPQbJxtOOwNeX+e5FFsty5+J9+jU0C4suEaXwfEv9RBRxEY+3WPlwu8f8bKDAQ3ANEskaMNaMZSQ9gZuXFmvp+zvEOryRB2opIbKbAJziX4F296QEJAI5/NaLd1Lo6bK9dMgzbycr9wDOLU8aqWKqxymSQR1ZHdA2Dg5boCHArfXTYa/0xba/LpHlha5BHbQKYX/T4daKu8PSVsdICXyy266MYTtYcXkdyfYBA8Kupxqd1HWYHky/wtJTKjQItAaVbnnvaT60YzeRfuELswyIxWQ3J4pGFApwBa05Hwu/0CzB2PdNpUrQIpDwX+ygBZ+P2DhIE/Lfx1Sqq+B4ap7peZG+LAC4FmyNNCfy5oTKrs6lulp2hXwZbF5hqj+HD/80S5MvTdCZFEZcwSRi5GhwYvmI5Pzv3nmzrZOf6LU92vy7+xSbvYAgYzfwmcm0Pl9OlMllVV74KF/fDTtgd/COf/1DiipfrqEYy6aPn7exaJtoM5VKUFybhBxYmFTCWNxY4vBps88Zj3rb2qxkjZBP/VSWYM/Jit0RT3gDOFQquXuM+yD6AskvvLIkcayYQIXtp7D4KNc7qQtC4+yVekn8EMkHRtV0r6lb0tPxxPFKoYC7JtCnTaZq/i7T05Ymp5D35yxQP5Qku74TbQzR7amNKd+Z+sBzO/XHyGxbOFADyxJxapOi6c/w7lHTUwLDJA2Zu1uUiHs3pfU/3U81A0e9s3TVn86FZLYIgrneAftuYW3FmBNkeE8Xkuaj4M3mHS6NGiVTSXLkL3RXgN7XMkXV5VTqKtORFBlU4kuFcQ/XUsL9j3GmzfsOdQ+wi7CIfa6OXUxqsk7mG3zeJPEpaeYLQiBMgsxdULGy7kbs49I0S/wuDDzlXIYpG0vh6GBNJ6I+hXCNzbXgowIAIdiTkN/89XHDgVQ65owdaKM5RZyDIOGj/Tuj5F1ktWpE0jtzc5HgUchwBvZPOdH4X27IJGUSLTCbSFfIQ5wnDyfoEQ5zae573txdMYUcyjWK7JZGEWR0Kt14nEoTvaTaA7bWdw9h5Zjgyr/dWr+iB0Si6ivlr7vSmo9C1rBzb9sw4LiNz0x8KMj6erTgNhVac39/7aR7NqONylvdSZCZurwYSCMucBnbhNfVgbx8kLzDPwFXhEAvYFPeB5IcCoOm38MmZIN/jnwYGaJrA2A2Xd71hByfqZ4S9IWVclUAknNGju8UcObiNQkjDr/kMcmwemLiCyQflevIk0C/tsEJM+zrxA781B9fg59iBSC7E4yZxrZMRKkEZeL5eCHAlICAo8usxjffuwb/SVaqurT6c15XxcGGWMNDBN4eaET4Vsj2TKzp1zcSkDcm+G5nFxeLMyZE/n6KM/rUbUlextRtdMRqfcVtmi+ICNF1CRVz4xwq414OEQtjAj+gX8G4grutMg/X4UadRJr1ec31TGeNSZ8dx06oCt5VHiwH3KzqAEa9sJLRbqCzRkfoNyfrRCuwvnhZAuf8tbiBoPNa5H47UfWqqiV+i7hm6n2hM9WluSr2eWqx4wB6FsSJHA4yDFcPO3tyuQ8mVbWVGkD9HB6rLdo5jUzdHCjMA4YEWTItlTxL/aKxQ+txR+K2y/VqvvCusEYDQKrmQVUmkzuYHS5USDc9IbkKixvo1zwsSMvTE/S7etflLh5MNtTRngrNpJCfupP01MGjNtSh4RCvsmBR/Q80nKcTaj1ysdM0y7b+a50lKXepzNHEVd+q1EhP3S/FmxWcxLm31WloV8TzG/7Qg0pWRfFqSUTI37RusA5aEmT2p5KHrg7uo5VfQcMLlAKyMdACVoMQ0ocDH452SWcLdlL9M+w3HfO5TLnKmkT77fI42v51Dy/tBBzRdwpQZgWnBjtdcckoY9HB82fjJaSg7Q1t2Qm1GCgWgCvWV+d1bB8v6e/P1xP5H/BO1SyRV696XMuUmZHQIYu4sNagin4pPI11tA4StmvhfG9KLQXf6YP66alKpdlzBpmoaHFv9UwWlzM+y501zuBtXa5L24vFpKrmfW7k4tUKfsUa1rVYgIS/qzcsWbDM0zTy+iziYzw/evHJZl6xP7YICPf8TBRuwl+HFTYNo9eg7kWP10t7xyW2INNuJCohxwKA9y64XpEdOpH89IyxBZPHgku+OVeUbPYmCiQmHFNnlrZbBt2yMMMpiJN+o0mAid+6XhjkZqOM3ZU0dSHuQc2wsaaI2FZBVrKazdcLewJqOcKGK4BtYmKhY9qgqpVcwxQ2u91+DJ2wRPrC3wqhjmAVrYD7AAy8S2pUqDQ76VoBTpuqpom7dajWq1N897teKqF6Gb/NKxHfsoVDt6vtWDPvQa8pOrlj+ZT9jZ13vfUNVmCK/XiuPyjFS1rXENwtojg3ZBDEWiluWqTsu6kEifm/eI8wf+5VNsgD54nmzZS7jHC1k5OeJvsro1ujGBjf4HeD7Rib+yhVfgWpdSFVhw+Rlx3nnmbA4ZvunP/YlqLn2EUHSNL+HIZkuMqsjsc44wRIwJOQd1hCbIxI1EWSeYlocIxYEpW5KI3VripfHoGZ2tOUmVPnDcgREjuMEWfYTvJShGeTttyHX7IjQ2EbFyZFrAOt19NaAUFYhLIDujA78aGBFpbb2Ufi14B27t6uN1LjjlNQyn9EWbVDH3cS27Y/pokQ3pa+tPVL9CzL/42T4ZMID2En9ndbQxguY3lRQylcvsWxoWhaA28HbyoviZ7owJlTwax2ZMtlXV37SKV28LtOq5XpAzrsxN+usjlQHpDV7SSLoTMgeKVEyc4FaosyIBqdwdXQI8ugSOtC7qBSyHy9/efuUI+h1BIDeDtCK/sg2VWzoexTkMPCg9MQchdxmOtGDEGpmW5yTlN4ieLQBOaUswLnrhY03aKCQ2HSu5ozKB7dV+WyP+RwJ1hB9MDCgMK+FQ5wtIOKEgzfHWN9OOfWXhnBhLJYd1NgwRAWUh6xH/VVB/cJ5+baOXa+Oiz7N/maLamxvR4MITEBGwhDa5KqDGa9fCHWN2dV0WXK+F4K2XUYjE3Z1qx+LsqCg+5oRqFqHw2B0sh2CpP/sedKx3RaGE4NFwB+J42OFBeGZsikn0YKE/pQ361jCcN241ozqDPiz0QQn90CK6E1nJlCsDNVfSFkmhfP0pf5Q5faQG+RQJ9D+dcL4Fobg8/0ouS7Lz3VeSfokgePKwEM+QJROEODcjENmwlkmTDDb0kGIkTg4fKPDl/yHzBmo7MtSpmwZ96vU5tZkAqW+OMMASDEx5mj9Qc7ABeFf4CB3gO+Me1JQv4nPZHTddMhSLwYkJVOKRS4WLqtBonO0BnvV1EyFa/eky6XBA+JNBLwRUTIMzzv6amqQKXbMfz9s8Fi0mY0cnz+hkf/ovkOWbnpHgcvu0BgNq2IGJH8oV3pBK4X5NIv+i23Ld5MqA/+eWSUIEzwCK0FKgUORSP7qGypQ9s0bMsf+/YLawezwDM5fKuTnmddO81dJOfnSGaILpVNnAYzsTN28NGJM+07Xt+eAzsxNoBP1ErmG5Jbsl7lR8GBTSVYsGijZR4OR6VSm1Te9qLX7vkj59oX/s9dRdi05Jx/zfvu4s8RZ/73DZ8e2GrCs7oFSjsDv4Pzs4lQOVDIW9gx+rm0Wu09lhIjyAZj82bXLf3igE/lxHyB18D21K9LuJDokOMSK9rG92Qim4fVYW+JSM1LF7fmXnf//RQje78G5zJTNO9ksZB8Kika6Kd2pHpw4wMRfx4tS8yvfFVDokvxaJAYwBHB2F+BOebdwlMkrxQKoVYZy3A6csoqF/z33ckzU7dTcuKs5/RVgmaOK6ZFejoJecLeBYen8SKgZui9Nhi4AGs4FuXrs3jhznA8ZOUOyxWi0+AN5JcjnPG+g0LSLIGvPjkNhMF3mhUWdXYz6IschbAYNPbKGfvfSgYJFjhFWTEDEUHelOLhDpFSO2eNR/UueW/X1cr7DW88MWX8PRVV+kYxkT5FDMxV7PmvRv5hRUhHSRA25EsFgAtlIe54Vokb8z0ZLiP6FtYeAta2lW290gRHXs/2l5VKlwMvjIRRhdButNH3M8cISbr1+5dZesypm6GGosX4C2EGw1Zx36bWPRxEttSHbFjNlGFW3U2SDjvG2FRposzlAyjcLGBYy4hNP0V74y32bqdSAhFhqTQ8zr5tgq7F71d4EkBVs0nL7Rbr5qvN8j2wgGCqi9v391jXjlEhcN8BphOgHKQUZmDjQLnqDgBvGhL9R+IFe36ncemKnpGuywXmtSOILtG7gFvtHPi7Qzixo6wJfKwv0o7MQTpZKNALF7MtftfvRQQgGxDlg+qOrs47fVNOQLdHYNT/Qk9SS8Mgmcwd/Cf72T5LxaWIIcn6/+cR9huhhuaLFvxkspw+l0l7KboUpm9KbSW2NWBLXJEETP4iFqNMU8DEcMAJnq/yAWRBc/mbb59NTJsX5k+X3U/PAHarpsXdp6RNjro8iLvtwYhpiKQMng2jdpk2w+1vf6viZ7rVZNZLx/jngW0KEWr04RxKwIendLDorLCp/+P17yboqB7DtumGoL/VggSlot9cISPFs1GwVXtvICYlBWqQGdXSjFrUKYH8MuxSFj3eLSXVaQamOX9urXOT/Jng4i7VrZie4yHngQUGi+jFzbAm3aKCKy8wHtzo22Ich62YLs6PEWGzEFU6PcHU46Gg4dh1kZ7WFsUAsv/NTj/oXw2QpWpErDeT1w7I1DEpJ0oAvgsDEAhivwudpmu+qYrzIDgMqaSXSRE84uOKf/QwtJgmOgNR3BNyCYTPc5VDiDUWlSlV9DT1d/4j3o0miG1Tq0VdLA8P3Wwz7nnXUCPmb7I/rPsfkBNvf8yKPPP7EvT8W3ClM5p7B1OWnrBVsOyi4WjLp5Q9HFwvlPB9HUEIwoVBPv7lBwvbdZNfUwoq3JHdjBjuMCoUL9YrTnqBuQKsyGTlb+sXgx+jSTbXMhikdtzQeqz8bCN7V6VSs2sqscmJsEe7SppE9tVeR2tHVy0m4QLYXJ6UVYTIe64KW0LzMWCiZmisUeaGX01VRCm0PrJmlu82vazCVzS/A/RVtYoGpcM/Q6ZHZUlDa2rD/CfzLajpFZGdK25jcwKJo1sInERqGczgp2k3lT1FZNcJ8Fvd02/Fu21LK+ZXcjj6bg9J0dbAw7ufUcOn9nSOtV/ky5tMhYZGvJjZsOpYywKLeo+NKerH1GxwokjCRXJWzJSEZAu8aFY3+90RTVikMxTSMYEnd58MThPmeZPRaYtkEjh8meWUmNv2WHlZ+7QWJJLZP+bSFjvgzZSsO3cp39YUNwPcsNUXTB1a8WoZSM/bFV+WqYf1KbhwS+DBlrjL20g2RT0VgMEBBS88uu6jku2qLEsa0Epea3x+4Gc0KEKEdUvNEOZP/gu0Ds8IxLeZE74MlA9cCvXhW9Mpq1kI54M2HqiUYErlyc520AMdotvzn0tgnqQN/ykR4kRS8+DWvPw3aNi1i8+NMI3G+8phQUqri90fpixxPor7n9m4errDK++ZYdr7oHK0eySVYwhgaOEwsB4neduUjBU6I23M+DH/bNiAuAt6+OENfUwKRdrl9FCGnw+MShRpC39AtQws4PFxawcjy9gKSOK6XAqO9xvMIh75VkNFBopZDBjoAUeEGNCES9VsPsPKL1xpjQfYB3kwbdvr+I+BxnZtTnmIIVrolsOa2JTR0JMmnlso/oHAitNNMmQl7xV/G67FJ8G4EdXvpTnfCdUFwraRmAC9T+y1JSh+fuxmIMnnoBYU2tSxsP6sPI6zFJ8u7TWNQdSTCAisHjBlVdeutBYAhBYo2e8dUZ938G9cF2/ZntmkHtThGboMs6NVIhYxzvDTzobukyMuqOdSpLaVLz7YQyMcQ8j/HsNrJyJbSC01CR/hhV1EmeqHrpQSEhL93fAvf7NDkAcpNrhzPzdS/lRVlpRI2AA9GMGkkluOBnLucqVSklGptW4i58fJo5SdK8WYF5knryNhhiGlj9wOJMUbyOReX7XNy4TKR20WSl4mXgW58gDq/R0sGV5drrFRhV1tYnYyEYAav7iAXXqpSevZWMA37gXhaoYkbnpK23Aw+C05gdoDq6KQaRvJ+1YmquwRCFew5miixfkKgCEPFPPtYuiFsB0pGmK87zYqLvhhVsZpbTrH8sLvvyGEh0WeDqfJjswA+TI5nG2QtHHfCj5ptSMHBkhJoSFl85VjDWGyjnqMjOJVPnzhQmQtIjKNKwkiDQuT7kagTFMXKsVOq3PNXJj7lr/YRihcGhAIxM2V26/YIJVPvA0S0bWfZqQvBIJH6GtcDO7kfKTO22EwWLLirWvVmjS0siCjugzlDf/vd2kdrlLL8ak59iukWmctu9BvNEgEcLJVa83nXIA7J37TWy4GLMisMSPJi9OtvjDjDMHwFuexGCOXn3FgNx5oV8LGIaBmP6f/tF1pvmVic+uvIlyYapXYRYXJ1866aG6WUAmzoO3y0zQA6r2Mnzs90sVzNF2L+7PWEGwNW7MJSoMA2aeV8ZskGqVerxExksq0TBQNda6In/0ZAvZkoctgRAVfjwXOBdBcHZ6jyhzzWzs1HcNaitOI0F3kETHs0SMsXLQhd8zxOto5HZBzO1wufXO5RwTL1g8kOc3DNsp8xXv6x6kJAaHcOA3m+vxzh/fVU0yZo/PkvYiJwdB2mHx6a2PG/wGG26EvnxVtDBtQJ7BrX1TFlB280aWKeK+SuEhMqvMn7+jxMACyZMrzdXhDtr6yIAJ4qMGUyMTZXD76JE3m7kIvnqgH058OpReaTZE06yZPgtbGp9XFvgWGcdnNiIutZflCIzEcOFSgo1HTYlBa3nQJoQkxlUJXL+XhQL5IZaSTKNpkErnw218ctXQdIH143D6KsxFDDR7N2GsTboHufWRgTGxZnmz74EtGjpNEI49Ie03pPNbFyRYOd3iMzLDQ3w5NbkKnX5Nji10sgQhzCfekVryy575XNac2EwUO0QWhfFArlbDXfM+K6TqXd1wyCA1gTfmsZArnau5pMkT9VSD9u119rKn0MkQWwzcmrRwMBptDNpVzUEsBdCr9eQhgD8i2cyAnMaRhk8H9QFj5QdBh0zoW7bTjgpKLXe21FXu/iTG7SaZcXHDnEh31apuhsnVel+XxjM47ZkDl92VPRkj2fn+7N+ivxO6SvjngKjjyrpC2YnrOmIBxzaq2MsVg0fO5lBMhGLFi6K90jwqqsUtvUEi6Qw/uxL1EJewgq/IbZj2Znw2AX8mE0mniVBEGlLf/aVV1Ip4spIjuLycpaAra8qjrpoMNcFfqydEcqJRTkokHNDM+yIF/aqZhBpt5n3YJcl5qfqXQYGNoeTIGHOSEJJhpphWVuJ5IozU3Fy5/qrUAN6vmlkTSsUwxKOmhqYiGJvC2rwIROQGFmFJBNjBLmpJK4bRqdr1ZoHtkPC0Hk8hlY1DBn9LHN5jYFLZ/5n57+jWo1koofQzJYF6W7kfqumAleNhM4oIM0dFcMrMHHH20VuabWAw0jqcOymPNcOMBFUt/9cQ+AMBNfflZLvYuGPKS+TdPQ4Dk7aTQXTQ78JPGK20UhON+LMhnoMvUnIaKS6muBXWRc/eA4rMGRvaBoVQRrNfeh3BuFt3yXcB//pY8OgPCjPmDjWfIe9AEHUO/vVRlIcgtxVBgYnmRhusCDpA5z3aJF/f0RfMi56bnsWGLKomPqydXs+Njah1bGxjKt2PsTYSUU6QivKdr9KJi8esvWeth2v9GT59VES85Zli49vyZ72GZHVQFLst1z6mYdU5o52DEiIMuRhjMZeN9TV5i0BnOL1rc/n9IJtNVE97SvfwxS8aHwc6ENmjpcXCXZypu3qsxFU3FabFXFqHm9IYWixlJY4KqfcBLQEgBUZ8WF7Mh5vEmY8CjwZeW1QvURkHL1YVunz/KmLQDMaAG/IMigKrUr6jm9x1ADGp0X/0leniQSTZtKCxlVmA9PxlFuqJK4Ar65EWb+ZDTrSZwx0abfVn6gb5SI/QwPx4JaN6jpefkpDy3dNxYq8R8o9ECEEeNPnkc/zeOLoy6VjwuwRRNmjxn3pY3CC3lbIVR+8XdLD2UxfXLzyDgwi6CPWSTFz70S0aPvrzzcAMfeQkvTL+7bSwiUw1nc6tjXcam2KKYZ99JgqLnRmQL5lJTg5cATjG1u2jCOSEGRleVkKkqXwg9Q1iTqhz4uIjSADUjNamrZuvhsVabouGW0HF0wyPX77UIiorpjB2J1xj2CekwlOpbXiXpYpRx4YeL39s/ldOnvcr1JQH5DdT9ZkRdlT5ChRwn1i/fhRDMHbXFRGg0cog4QmFZDrSvQuap9YGRVh74rhfBNffuwY0CgSfKtPy4lPmtXcGFaYpu6LVCu+ziMD57XE1S1slBOo1zO9pHTyBXbUrJ9iGRJ285pQsyUQSLpl5K3wP+kKOtN1ArlU2OZVd/pTnFlxuMDnE7vbS9RaEOFywN8JD9ouxtbJ5xmIYZvXOi151gLli7347PppVBkDBtEfBWeSdp77kmqtgldrahdNloIJ12S2v7a92MDpqCHtn7Pu9ubQlzYvae540z87rFEAfWUYamKlGBicfZQbHfB7hyqE9VSg0OW3MFgXm9A/ozpDsLc8BxnzAO3GWCwdvAcHwUsk8jvaqW2Ze2NUPvXpfnfmWDKikws+jYRCm3N67ewCmvPKqO+QIBZvof/EK0ZEUU+uWh+517Y0qo9abwoRcRL3gAdbgywud/wsVkmgJJfGzxYCNTXypXvoEOQgsQ8Td66Mvk+uz1RPxYm6YWtzZf5E0tsf8hMO/WyI2JeFYuaknVPDgNP2b8E224/EqnWZGfuTNqy6ElyKx1pfpgDmI56wxswxA0n+AupVCsuxddmdpQ1v3tCRL3OUOE1aJmZ1iU5d0LTN3Snuk1yKkj3Hl0ij0msveNOIxvAOlH+29fy4aQoY5WOgzNcawfXuiKrlNsyZ7qWwbkrS8Q1IpNluhSLn19v9qZCd4sk5a1nXS8LEQg8h1qlHYkoSEaz4KUjqIK4fQZzrm3Si5RSjKGLFcGdq4Vo5G6ijLLSUGyepAR1aVDBBn/PG4WvU1Hjl95qFHTpaeczZaBqmjbgVmWdaMc7fuT/bOKKwZGFgjALWkpaRFaIiVde/bGAjkZ7rvS0AED+19Grd3thchUjs/i0PcA5w8VylQ+kt/T5RPFt6z1D6gMyo9IUdwRep0MdPM3VJlIj4VwlqIebeJ+o5PIa+dAHaZ7DoHwGvYO/f1iIkjoEVEjbp+4Vtdol1pgUnpnf45yf6d2b+t0Vk2RXuX3/D+sKyeG0LFCKzDUP5VmTY/HfnWUyfK925vOsF8yeMR0xx1Wy8ZI1WsoOUtX1L/IO4dHsrlpIdJTQwHtoVMMoabrSoQzf9/jVpW1pzjFnwJtLmbC32SBhk5jOxK0oUqm8tEFjfpQGw7IOIggRhLcmKOxX7Yly+m9VBkHgdFO8Won1xAInvGM8DwLfFUAOK4xR/p9wKnfuRtw8bkmokTXM0J4YCNwb1sQBAeWHyqsFGuLay/nJUbL+nF1y/wMPNavsfwqzrQ684mQhEwcgRde5ZUcPyJ6WbxhSuiBOh1KsCWxs8LRYmuBA8cDk7LoT4Md6PClDpMXV+QL+rYNzkzyNAEPyFbmGdg+YRQSFqnEkFeKqFxs1lKog4xhg71JrFKUYBYrc30icp56j2pGCQ7xJR+toDsHJsXVITRHshgWAmFQanFFcmWgGtvzc1gruwUskIOhou1JU8xeoYB+neMU1TWbuiWWCouCabrE+CHeBhzlu6vNuCZMMrWUnkcvcimH6LV4xYCh2y/KH8rZa6joMoEV5Zt2ADC1IUFFZ6Kv0FbEgE7tzRhdLHEZsNmzU9/zJZRmbM93hrXo0+LLDPQu0vVhPD9P7ESJ/1nI+l3/S0WKuzAdD5R/cDkKeKtA26qr4u5MbtVVVU3edsys6SA9wPYk6wPlKSoYQ/fKltJzd7jRvx/cR8jg1qh6dLyN2b4+bOt5IDHQj8QLwYS2RN/3axZNCrPs2RC5fU+dJVdlXHhTt8lP9Pr3ItjUVGKWAar4dAEUana+sjGyGzGGFOP13YgBPY4gH0IzoQykFW9IpSDvhKI76G6Gxfy19mRXyhJ0wfRcXrCRr7ReRs38fZdFo8FASzL2Z0kDEQl1uGdYRHWOI/wPXJDRYr+VyE689bZxLWY4/8C6ZBXfoZGBB30hITjtkMSgPqvmRGZ8yYes4NYGy601mPMSFeJe8AP77iVpfWsiv9AtUPCZsG219W0KF790Em/S3FgTqtcTcpYkebX3M2+0+zjUFGpahQaEiey+I67uXDKMv5slntc4VFkGBXN4Q22E0rtQ/2Nx/Gjsl3a1Hkbg16l6NfCf97FvJ9aHWjbci4n8BX85NTZ16rA7cMSd4/7NC7JH//UK0sOdEgQWKOoLopxLPFY5sq6gpg0Bff0Fr7xmnHMC4aSHic9tfrkAWIgmvX3Hj5jEG0l5O2S7WH3c75LGSAovCA5xn0AFOBZr1kpa5u0M0zczvtJ4ofFhaySfv3BRi8hlTZW3/kFlp74nPCPDgiyk2RCuT08QTjkcAOmYQKViKUQaVImupyFpMJTI0lR6B43AYtLJtjOTUJ1IQMYRJf1qv17Lng+CVWUFH8DpjCNQQNV79QU0Tmmcb35jR7BYs+dT6jcT83X1bYTz73Tnc/z5oo46ec+MuINmN+JdGxah+v"/>
  <p:tag name="MEKKOXML3" val="UCCELiUNiZxDDw/9J6XaV0EyTUBe9APGTWh4qyrNO1uObtertIYbKfvVVirL3+hPlqEW2rwBleusC8L6QZNUdcGU9uK0nsu3cC/jLYrZ4x4kU5VuGBtWJJiEx9d4S1hsUmRkfbFy0uAdhI9hetYrLNfq+PQsSxTeOeMrFG2GPNpI+dbG6LAKVolifafJpsKZgaB8wWr60INcRfD43VVvbSez4sjUy2LrZawVBnQbrsr69ZbgOEevLulxXSrm7nkQaDZFgka8XzenyiO6w+D2FE2I+xl9uqozbEDgcWzVUb0/Ffvdu0QzbVDbchlDxAMX2jyUIDk8OyZACIb0EpKaLML7kYRiIgdEqKnwtOHSO8oiqvSUGNz6ZV50xJhOD0GAO8cD1YiFz+Y6NqZbG0AkopuxzkfiE5xKu7LpX8jqVgcLOyu4NAXS2NcoEyocTPHfTr1aNEmy6fGvdJobBXwfUF1Q9k86QLwGvQJTf2VZwwlZQNVc/mBQdwR4IMUP4WKgJLXk7K78a48oejbxKyH51D6IBzTiInd8FBR/psXuvBVjBWUdjxq9WUp/BjmhxenXrhfII71F7IZZcBR5TGlTNVI5QOGI4jO4Yb8VWYsShKl7vyiBwP6KkiAJRYe9BKerDcVjWk4JOBA4IA5llclygN15/lYGFBpb5kPbLe2fHlHVrB/AKB1CedPy09JXEfw2fJzeGuSMcpsRWPSjKE94YYAY93/WrNJ61j0BFCU1JR3J8IJ+s2ADJ5xi9V204gMcqz50aTo2AWfK7cCe+aY8G8Vq3vaz089+FTifz+nCmqx5SUmSx0EibXmGcPn+e1E9EcjwXYYMnhMA7qYdds5PS3BnU8BezFUAxa7tobsEc6ydOYCr8o6zCTn4t0/ptBPJD+6u3jUmDeS2lIvni87H/K2IDrKzmlenOhLQOmxxWgduSyOhTmITeGoaUSIWYzSYveYy/G1hU0WUV8gyX0SiX5a+MJ1Y1JoWGYp9y2Icc395Lu5nERQyu0TMWc/LJnYgiBYhFSpvnm2QQEI6mpR/WeONI26P9kFqydrXCje9EJ284pIPf3xXs6Wb/aYtLBVida5tYbSh79CgK1e0tzqQf1/hliaIP+aMCQj8v/ZSNFYni9/UUvTcqTV4N/4JvdCWmv/bedWdHqgrkgj2F3yqIBwHl6iH7k3mhpBeHlchRtMJOaPvrZ/gN9jN+N2e+Lw4YR4UAfFOVAwZvixQoT+Ch3wM+i0LzQSCX3acLbyb3xsqni26cTfGuCprKb+7ul08Czr8bwQ1fhxF3zuwtuLfGVuNv25jU1wZyKo9Zf5q9aw5oVTo0agJMWHE+moE55OCi5wudp/ZxzPjPk7gsKhs2A8LZjGmT7+sRO8KQ5y3PYCechltP8a1xCmExCMuT38qWyutlfXtq2Z2iTYGMPZ4O/GiguC4OVsRLsuGEWTO3OG0dgb2Z2p7YmZXB3WACukshvwMkpH0mHKDPYC6EabgYDaDlaXiGcrf8EhbfddkYSjtqExV4YIDzAj+e930B4UldzmsBgn5TIQdhKRuLhl1vOAkyoAq5F7o9TpTD7ORozQCo3qvk0FBU6CSlDPyDhChQz6NQp6r+6sZDC3p39K0LJYgdpSEujYIY3zlY/BBY6KKl+zXC+jIohqXmi9/gD39McayaiRUfx8USNFCnm2A81Q+ynRHD6vEOjEB9H57J6Bf7v0YdzwmFNOvq2IqCSfaTdJWclw7CEAGwJomZBWBpLSJy2UOf7rVqiVX6AIhO2agRTOakEzNDXsMwp/FwDJz8Bqk7yscaUfHX6idqo8W5tqSnPFuMIChzSrU5/RafznQhLpiUai3qhnsXuvcd0k6OC3lZsXlKCeYlLgjH/j5Qzj7vmPCIYvzy67EH9YvOh6DQUgQEQPLKUrx3NN13z8yvk+kMq+CmY4B1wP4+BLczKRP1ltGBUW50weee8C5jMd/M5haMfnQlABRl0YJJGFRVHBTYty11/RURWFTZ/3uAyTShnZ4nGJtwCORFjZ0/kqfzmDWy6LO1jhpSdkzhYI/9uhHK60JYBDS6DY9ibKf8Kl16cmRRyWqbT2BxaMefabAMa6Jm4sjnmRGDcY6geMA5TeCT+aipb7rsUofLT8Ram7RxCQchoF+mP620m5c1c/uBVDpJF1T8xzXinV3G880qYnlkr8e0T9kcodhPKXVSXMp4gQn013tEvLPiWcSrfHYItksXA6hUxMuNfwab9uF/DK+Q+NV8+/0TWXM7IeXOpagZfJOnT5QrmUJeN79/dEsX36ldMpU2hXQWLe6yh86t8Xyii9B7hLXEHR1qIkUw0TWOh8bcnv7Y+2OtoqjzffNHT+m8KQV2wEAWP1HWzf2cf2QR36w77R6vpWxwzj23T9PEIeg4eq12AavHEVyGPN/kHg/x7Ws2OCw4EaFT/PtzWl3rksoP2Dlp8/26u5c//Vu7R7WJcpaRBaYa5nHMo2tt5CBTLDb8Ucr84tchC2PTVmZnRjoiJyesd00eNXJc0aAe/oS9LnzKEfrG22/MkHtqod2l5QwTpXMVmU9rYrzB1Sm3AvmYDbPl2s1GNS46SlI+TJLbuPydqTV070OODpq+FHSXlYw5GuWNv7/NqspROMMWG1qwkhhvvn57n/fIo5e76fzRdDs8xfwfbrCYrxckbBB6gooXCHfvRh6uo0z7H4GfTWxUdCJYEB7rhKPlYXQomKBz6JjHIMtMRR+Nl3AtZsAtimooSET/wBgxdvGkCdzb97PomQdqXPGg4qVYm1em/BV7m4MmA/cgAlaM3XcjHG0Z+T8r3N/cgCOuCsB/ZWrirdMEdEFmChIcXQWY7YBiznMLgdXvunfEg6S0PPbwo1PiXyTvpbzocTKNR76XN00FpOzlPsBHVid5AQCMNTF3JHzqjVbucpOvZZPV/ezHlJTzCEtoUmYkAJNlc00LvTS91m0ZWsgLViGFOClk3GL8ynM+KvTYoSQauNS+jpiVw70WmGHGfkk0Ogtqnv26ky1qyZsQugFotprFJrHx8rmFOr2I1MU3LCJvxmkFjzCzIGuHsTFUtkywOJDaqvgF/QRn6K8uhQ6iso0ambTQ+VmCYHaMd7q+3qKNfDZzS4/pU9mceD/J8fBz7h1Tq9FPnwLpMp0NGM67OpnBMo1dPnyo8yUxzF+6x1a+QJIZcyMqLh4hKWMNL2iMce5OssCV25c0dKxIBgZPMB7LYZIyoe8U49T6MKcVRQMBxTkZ9yhyo4krqiRtWTJtLJI1+kOlVpr8mptR1/A4YPgOB86oFLupkkSXQ8Wtv5ikv53YKERcXG2sr8f3vkKq31DTpEAe9jnNH2cxyb3Z9eMYmRXpHz6vSD/evldE4lkyIJqyeyQLinqZER1WXPjq7+UHIImwQFmuQEpnDrwx8UT8wgXxNYqYiixR2MKUp+JxoJaoom8Z8AlfckZzFdDMHnkZvbj36DkA9IECNexSSl+GMB9r3OeLyEJcIl7/x2ni983KAxpjxf00ULNz3Dkioz7+3fiE6fGwGtc/7AjQUmHd7aikCpODW3X7LaoN1m4PGJCmo2d6SAVb7gO4yMOeVlieexWYXnOGFMGIJYiuh0o3mxsb809oRw2X9JIPIX0MMqHSUgzMUEwTGRnu4NGBNAae9RlQ3MK5iOzFx7P0KWpwBHlhNmiZz0mOhliOUaWIUFGA/azTCEEbX7YuwvolN8XW2ziWaRwxyiIl/pvGcSsnyW5AQvAdy5lVQUmM35KG6Dfx1H5bDVr0VWdQVZf9onXpDHhq8ODP/cmaqBU7o8I2NP1yxkx2B+Qftd67CkI0XrD+nOuubq1uZqXcIqoDPrCExH00jcxST6oLVI2tQHFe0mCQIk6HeOloEPXPVFfSwGq+ZAA86JhDbwk+xCiP2zKRNaOYTyhxPG1VsI4nlU2h+3idhe/DbDi/EK64CM/cEYCCzHYxlGCwqaJ9tOb+/QUuzyAqP0TefhiSejYqh1OwyPQl3cSMQJxQkqPaFXXnfGaOUodFygBgNOF9X18rYerCTbjWbsB0VqrtAQpOittr3LF5ecO8ucwCTELngdVw42pqH7fXTzao0T+R71yDEODOz62uqmhKIJxMs7DmJxNuDiT6W1+4h1yitRp7wbnWj6IDPdx8TQO3J4NXfifEquj7U/y3peV2I2VxygpODaLn6+4B6b4SsxMIWiwmu6Lh6Wz/itLr08kHSnNZFMTS53C9R5cEPxW9RvaIkVTe4yU0KXNdJ463RYuZ+xbJ0ml0O1ROX+SggXfv15AA4BzKRNtusIMdQxd8AM0vmlQ5tfFx12lA8hqoTPtlZ1B1yzRPYqBmHw/0NdM1x9pkDklKW/HD2QuWDmRyZKrv/K0EicgKqMDPc4jTJv+VPq4CMnCTDzax2aCpsBZ3O+/EUFR0Kt5V3KWg+AXddTMOWI+aIUVVmknNM4lYfQukoDPCHiU8uunLrRYd9oFJTejFEqIWuVbK2Djy7Pi2tGbP2KoOTrLJZzGIXokQyiGtAFHZaCAVXBTY+nC8JSn5uDpqz0wIxsWMlW+wSqLxtW1mey2Nfkc16fvtVU8kjujeg1aVjyas0qIoWpAd1HbeBdzgDyQnw+xFXo1Kg+qrWntHfYvBNKzJOdoxt8YLvp65WwVIoFxGFJaVFKgccyKCwe+BY5Vy29yhESNeR+d56LX27XerM9egZzNxRaQmnswRlxs4Lp+GKMqfutmyBwji6i/ulNyEjjcdWukxF4SkLZeqOENDAWTj5lNB5JnnH145qa1yeTZdeHnfVrOQCqL2/u1tOxyHU1eKHlOlTFkdjFa/f+PdAweETiFoRiOHmOIlJ1uLEHBdqlVXcMYoVY3hFOJsppa4lSHNl66ONYUSCYbHP4qRap5x+ha886I7n3CnaBcEYdLTB0Lb9JeorVrGw4dvwiskd3Aa08d8jSQqL4zKwOqdr48uFe3+Z1ZRz8Rp1RTzmPi21iX2R+e0Upp1dhPnZJ5a4AcBKPjcMK1D3AvnSdwX24Jtb0LcfiiFlf3NBuWFh4Nvn3g6CdZuCp1mHb1K3rC/jb853p/JkK9ONeeEBjuclvOsexsdMK1HcAC9yvoDLXdspdR/m9r6xoCp2QIpazIcrgp77gC0pcfxuIjfNE8vfvnHBeKYZEFGKCaZyfC+aAl7BZpq56GIQ6m4DOgtBhbYwK6n9fbvjz4Cbt9e7DGTzw4QOVOBW2dinVndscAs6rXfExsounoeIz1nY2qm+8AGWZ8laGs44nYVjFmXEsun3LD57ZdBlS4C3nZ8kCo4mn51VLfk7p7OYIs/AovKn/qSnLfKC71zDZ4dk+mGb5hSIceE6RMkZOrjP2JANL5nV4qb4aEQ7RRGzMPoHUjDTcZZpFHyeajGEPDhJ756ezeKV6THmqEhSGdjoGaOSGIu/d8bnuO91hdpTCIY9iugKfKCQnwZUi4ppwJv5VRMMCnAVxfTMnXl/0Fy0sVviQJHQifJC88GCMnMmUiLldQh7EPYosWND6ns4v1OvPO11KV/VydwDn6iomfhXTAseFj/W0ge0ptrh/Q3+98W+2tcpAC7iA+kwcUNSPEiotrRhdMmvuRUg9t3GuWQ5fqpvolbPfpqxEer1AwFMqRd0qNW+CthAUyYjBNyrDAn6ParqsM5kGugIMAiaAeRY6p6vG9NSStYkM6rTCRBDmSXkWJWup1xsFgmp6vyNZXtEJ618sq8A4s59r4Cp3INqP9zokxiHKl8SVdGlpm6v8mjCDME5T+8ftPBzc32q4GBfLQFuDPm8tDzzUgvxUkbvuGeQxFADmw2nqN/e+s4UlP20b1WK5mCIN5I9w0V7s81amvkZ0s5quynMlOB+mCvtPbMEtf3n+xSopHrqFUxzxEhf0L5eLODJ2Dal2X+Wt3/ZuSB0seBQfHA41L/33A58frQd6r+6kHIqI9Cr3UOA1RCZW/Zc/ra5k39HzORIZPVeRRRgHLPuHECASTnVB5DnoIDKacVFXn9Lsmp7EVmJFKdVVTZXAlae+FZz0gFsAvGxdO5crEsGBw8feNmlt35fQThw5Hzunq3t6gRTRm9hmrliDIfrq8r7Hf1oAaFiolLVVz7bSl6ivavBzHxRI3GIZ1euTe/x3psoGjP3VKgw5FwE4P1cZnpcMCkgkKrMhC0fPRmwn4ivQacVcw2ESoTch45elraDM0wcqNbnBxEzJwnIaP+ixVqNbo9FqeRjCo7BEYlNONpB53Jd/DJiU+lXpTBgE4aEnHu6zpW0beIeSuCs5ao3ibMLFXOrOgMo5kTM48Wh9F6BVtX+u8e4mCeL11HIjgvTWnM/zBPw5wUtfqZqY1SFyQmu70rg+oKRz+WqZNVJgQsNUJc31noXucQf3936ayJR6c/xELaGp+FtGi/aDnNtvios8RP8Dqch8ZFBHZY1qnbaQ0LeEBCB4ndM1nfVqW+CefcKWkxJvNcNyNMOZrVbvkYjNZ+XeAZB0WOmtc9pObzfJ5gYnuDeJsZGNtlQCpf4OyjkmKauBognOLy2i7YBWVm8RVYNOacaBPG28T5V9eLZT/41LrTPRbX/sSWprfAU8xYQ2nJLmJCcZNjnTnkbtUq5PQvLwUyhV0Ypg8N4C5qaaZ1TkzstfZfTP9fs0gVH5PoUNnqDbSUWmoQZV9Aj8eUQW34rjrHfjn3a9xwm9ADSa+3N0iJBEwkS5q79Qv0gXxlOwSsDUZqcrSK+dO0y9a3SGiCIfDh0yta4TWBfYmtsH8EUv/twbBzzK5jRb9JG5n/+tgw9s9KYZMXB/pQ1YrNahspQBHEdccrFyYygPzFA+/fZI3OuL2kPaI2PH+b7d0irW+5yD4ZUex7MdsrZ19/ROOhtf3kmK8b5mAVFBQW37iRwSzwGSnevSkVUWjYIe8EQd57102OQFGp76457EGz6RwyK7FFSSKZabvU/gXazasdzhiEJjPVRLa1YNzNLEWNVH1i8zOAb/5+HDSuvtMpJ99zdMfULkbLF2M/uL2RHyggWT4LUvQLxDMDseYRGGTfC1EnJKEBUjstgcVWbG8haHYpdPFGvdVwoRc8WULMER53mZ4Om9cO3zyZOtZ1Cy6R2UVdiG6y70qQHQeoVLGAT5Tl1j2TSpOlDidFot1LGboeUa7K8yjV1u+tQBHnUsZYHJnsz4v/11CjVEaYwP0yn7j0wvpV2orU3U3Wu7mSbao1aWBvhRiQCwXiMG5sDJDZK6jdraXkN0ygiNM3sF5XinOmO4h8c+diNcxH/ovqp8OGjWwkGTz0ojZNu+xy98PhJ99ociOhdJMQaO7bOLWie52dvpenKmhXsf5nF5HPdruFj0A29byFGaFz7NTryct3BltCTMEVdw1X/qTceh1sJPfUI6cf+BJGGspVgGr3ZT9WNl1yiELhIdZFarNiGr8Q6EUISQciQkdtGNOTZrk4hmJPdDEj3ooDfn6n1tNnNt7Q05SnS39kytjsWVAuoBupgH1lwJHrmCJ/A6MaqXYoe4k6FiCug6A8NgmikK2peBZUb63EjJo8q2mgS25iyVXj+/OC0Ur2QIre8M1gTUXgLHkvfHG8qjczCQdsfYaUqp118dF73/WPsk4e8Ak+mlkj/10CgcFBGg5eJCT2HPiKsJczXW2NyDoSCCQfE51pRCLCtl5bFt1Yd7HZTLj1NdUY2zD6F4v0WHll9IR/n81mTBLSKUtus2o9BR8/nXbvDg41TXz2uMcULj7iVm+1W+DVO2sx2Fnskgk4QG4nzI/7Tdn0DvBsjpUJvJI4L3ICLRXMKrQz5J9Ty82ED9a80I/3NPGQSYUxCsFfSTgaFt/XusQsopFg6ktH/ebZr0HQF9spNnmY7tHGtZSJPe8wZTPJNpiPGhmV6Yl5DDGa/tq2c+w+ta6JF4K5k62TMMy8PkrBU18GOEJT25TBnPwKh0wHz99JRUHjKQVfojWxYk4zafVKHRFtaL7kfJmBF8FRLeSxo1C/6KVtoj7y3w7MeQLtwb+XthL6wLlaY8IGbO8nLF37t96YUweAg4pe6VyQnYIUV9fqUgDDQtDLpbj3OCnBP5GaLD5yY1Yc5RjpjXZzel0Wxs2nxnQpA5bor1pNvILmcUxfq9TOEOStG6ZBsle/2Ruy5gcrJLDi2PuPYD3PEwSh6XWIvMplU17abL5EdzV09c/N0pQiM+ZB3WiV7c33p/L7/qJJRgFjGn8AprmoVy/i7NYK2Zr4wyfhC0XPBiclhx2ooAaqRn9+1/VP+YlTMaxlqPTNj6qWJLJZjv5Z1FbcLSOSZoaZpgST9DRVITc6oeqW22Za8pP/DyylsnbSsLT0Kyha+1Z0XJBdPQE0mH59sOitVf5EaiDcaApJE1ifvrk0wq+az+boHKywgjuSYLhYuWgkvejidBUM4pXGAaqdgWi5bnwHhA2UTW0D565iJUhhWU3hiHij1dA7EBOMszO2l6P+/RT4d5FR8p2WD3etUWGEFPJPT4DS+p/pdzA8qvYt959mNE13uruiudcvQu3F0JhceMChmLzHyy1cRIxIh0EgvUQzkyBU3jpOfc2RnIkcsrdYBBQobRVm2+51uGXVYYHTZnK8FSdznqtWeo7Hu0WPh/NOIi6gdT8OBfk6OaytcWX1rreRiCjfEvndkV08WbaE6CMNSFHqBvz+wWdOyo7uGjJoKqn2iwr6MIiZyNFrWyOXMU8Q9ItxrXJ+7igd3N9+jV0eK2dpeS8PC70sHLtcRRhjOuGxglvflAjeddsfSYOnK08KRUjzesm50xdS70Rz40wQgHs0+TKHrma/To5fDIfJG90leHKoqzlxmrhSCA+8QTai8VLoqRyOylkHNgutaRvCZXI1qwVM1HPFKY2FQSW2cBEjaT7NIQni4Ic35YzNTTmo0NQjsOcf4GaeEGnjSDPTyzUKWE7jX01oLOPSeyZvv5+ppzBC/dPoKtxk/+gskwCJ8Hk8xc5DTki/VnoYgGTrAqdMcEFCX1KwH9vKC+DCi7mZ6evnEWiZ07utoGoYvfNlk5d7ELGOrjUR3wz1yLE/KInLdDUxD6RpvQ2el7CNgDq9sO9II/5NRoR5/VKyz7TIvlNtbW1FhGGHFAW8vs0JONX5WyTBnNNvaDFyf9rSzwGXUyFOurIT0UZshOj0vcUL1DQiJsEYbCFsdx+FVUdJSWUShABHf/ac3cg226dsHo63cj/NShqFAJKEsX96mPM8o5nZGFZXPYdgZyejIMUn1smlLNBfpGP+YkaVMqVfzpPZIoSR1eQ8juRtKEc8AydZ5FXLg3QakDF28tR6Qf0dnPaegHZPjPZsghoKp/5EXM3OQLC0gVEIFsEVWzgfhy+wj3lompVdYgmlxF9AWegO2pwSMiElOOgne2E0Kqs0lxphjMrfCLthrNxMAOCPd2FAaSNQgJ9lACNlw3K/q8SxTJizbw0a5nU6gZTYCGrM1ofDlzVeV/vbTXiW6mOOfd4X3uJ4yztK4OABqy9puqayBLG6K65gqff7MVCfR50xGubGn0EjrD2NFkdvmj/+Kthhq/Q1aCm2860bmT9kVZldUaAR7yHACmVmyDp0e2i/1I6Q6NYx8+9QkyHi2z30J6n6BqkZHTLRfCJUiFfS3bUKG5O1tl7/l98g6FakKk7sBIs2WyAHCprL+dQE1QUMg481kznYrHMn5QyNtanysgIDDRoVTwyyJlWojZC1J1ZNRX4nFDIcYWe1K6gGiVspWCgEHqoGj2hifaV4UfPbw6XMta6EiAJn/2M4HxtVs4Kd9EyJW32yJ1QcJ7NP6cjNTs0EETTyrGO2tuVY/fL6g/an1eosUwF0hqc6vNsz/TBVmenuvdatE+uDWr4JKJVbWeT+O4V1DulMuvKIdluFndxe5onu5rpA2vvv/rfbwthGf3ALd7R2cOOz+jlgC77Y8Bzi2mIAGQpNCk2Q+ritdmEsbczmuHMFN6R/R+7AEqcFA05sLH+qspsOlGQxjMXc1tqcdpEIYADykhaO6w9v/ZSsLFu3YRc6b/DYXPfCw5nwbHvVL7nhgf0ikjg8gdt+8m2kD5nyVTCG1R06elowQYh2RcLyksgxq95VloTVXoz7nJQmC1LikZ2WVX+vIdfKmnFxkts6H1Yxl49YWxX6cc/cR6jO1LyAoW0eGj67t3S8/79S+qZi1psfbTtppeC9T3JS6C7iOJhDqmF/NuYM1fhFsDZa6I2kq5Oz+MPSubmamr72hK2gXWdyOdCiY1CDpgkQ88hhE4hioBKIdHKrI9ZMBeGSH/yjYhZrAjUy+Y1nDgTR1vtZDlmivnQ58Of5L3jrwo4/7vPJZqC5LTYx4yzU43CR0MPxCmRwC00cDs4lCY7I76P+Pe3juI4NcmmArNj3XPTBRCJ+uUwqas83wVqMgDLDm0seTZ1gR82jXcQX4M3Srn0eXhieNxByycZaRs/jf9APSPMojGq/lZtd2hIewmMCAMovIl4JtpYTUz6n7OYw+4Z+PpYGn5kQecaiSbea54Evv21XB1yOk9S+betnQi++oN9hH9pceDcrauI6LO7KOWu2xL8Nmjp+nzB7V0QFjRVhJJm//1xvDFi7DQsDRLZjdHIBoPmZSA+xwO8x4heD89iB8TYBcNo+Nh0Gtb1HOZQnRtTzBGyHHWicLPFo/Hc2aeL+Q3Hth3ZqddzcGuhXzMbDNfne9chs0I6UPXwXmOAFIzVL3F47jiZVhu4rDHCzWM3GZSHvJj7LIGAY9Nj27BxvRy2rF1UsBsqTLjWHsgYZcHxFfwUT4kTmDxb1xmVcaj+HC1Z0rU49CLKjWlsmpLj2VZ3Sm3LpJdFIlBWUbq48Ct/8adO37KhqaH2qOiqB0nnMG5rm7fAYeh4zgC86CPgcm/Aoy5AhgvMiu3Mf9DtIF+qZjr3lcErsy+Z2lmBckjpoELeQoZMFyg7t9pzNlLv/4H+mnO69D9yPHzf/KcR5G3h9Cx23l6zyvAC+RIbL21IxmOhJSy40IKKrraHAvqOxFbye6s1KKCwdBAssxwcazUV28VfemPLp/FFwN2ducVtMcu9FjQfo6VhXNWUhqveKxTpm/TIZSdAGF2SHaYgIZLWKpcNe3np0Dkne+GuNfV54GFoEgas2mc5y0Dmck+OHMRc5kGywnsQJZNU23DkOOLAkrkzswDzJV3mqlrGnKWITsAHC9bMtKkI3RFHHtQURUUuagRzrzdEO5fGAxcRiEWiqdhUqEVMiSqod/vClY60trglFNbufWJxKGcvZod/nBx36sJcRguNcnHW8keYNOyBA6nENPS5LfUFOgGl3tWNc9CThMGdU4WlbKUQUhBFsUlofFUaTYgCbsZjIDq7hpnd+pA0aDRjStgx8CkmsICDW/EI5IYlGNxTXy57TSKt++V/1ahpAfBsig8Qc7sG87n7SzlTN42mAbkzpuunMVGjuW6CiDdJsr2ZSvY8ABGA82akkURB0gnkYD/Dg+IuV9I+vpplYVSuOQT2UsnErfFmKeRM8yjgfubcc6n6ZrRfX4Tk/Axw/PRiwpn2EldCKdKkZk43HnLTlUJw6jkQSINKF+cCXqX9lZ9Ha2+gzl0Fk386MgEhnfjdxc5cwrMlQQGEf5+/CofaAfDxMycKAsCFgVsK2UCdM8soP4z2p94LOAABBcPPTH0yp6LLCqYMkbwaeUgEG2qnN2+Es4rGXMIxIQHn1LyO1Ipi/hL8R4zPC4F1aCm4dDyjJd/b5v4PVpXxsdLdfS4Nc6uoAb6Yrr6/FdoRU5ujC9fxa9u5cJ6GeZWwpzM/swqUo2U+B3QnRvSD2r9Xfa4HbDIukyXgUuvF/zRefirUfCLOgYWZVoZs2GNhodKXI7iKxPwbM+CryHNE7d6R04ejib+ql6r//JfUi1CoFYNZpFyx6ZwUymn/G3eGjiXMVyLMH/QLDRm6ougzx4rrgzG0yLXbPFDryTBir2B7/jCHqyDy7c94qrvJqcF6U2V4M6sNcB9VBFJsIkDQqqNZJmTxuq5o4EPWi9nVX31KOJfYXWAm51n89iWZm9sEFC2lA0NazEIrVNcRG1lnn84VzRJQUCCszz3VublYHco+ubpest54t+l3xGVk1hfIrHYgSVJ1CnrzTy+DZbIb0yBZTSrrdkyGB20l8QQ4BkLzVlgdILPAIOcP4sW2zpsDg6C8hPzcb8dqcdpcz8NUB51YaNX1ZrCvwmlYKdX7gp/SOsB2BdHU1LViGh4Zxzv4fgJUymj3Ofe3X7AQ9D/NufzEXdGZh5fyRkeIMXzF8HKe6McTpQpFw+aHqzjQs2RI+yYF6vt7vqJOCGjNRCLHpOj+5YidvSNGd8EVxTWtOuFr95BvsvYNDoHEo/RTh8JABPkQ0P3HGaMr8Ul/zNDwc58am/xgDg2DIR3W/aI03rTzC9+ZxAGSJYchiuiwwUTpkPzigaRP8Tf5KbKc7GyKPQN4hUcRxQ/lLYeJgu1GL+wC1zvQVp5LoTysEAElGEtkql7VHzsRs9i5xb40j/OZQYIAlhyw7s5xmoyiDpXEUXrD3V7m2d9XEayk9Qs7wMCU6vfBbHUxXNSMneVmUHmXExrX9+nQDj4nlxX4sUCDNa3CKIouG4wJU6Q2tIOjxK4DK6rcN+E02Ge87lbKcxYKfJOaiB7nmqiQB+nJBBI8cjpZcJu6WjgpCj8tnXLcMKC8CHMpuY0ED85RpNyXDQbEHmjZRcN9KsvoENxUrcN+CpB1YItXpDOczM6hsPAYXDIndRPvTLUSq4JnAM678vPSEn27+d0iv538kLozs9DBZV75EhPsS+Hlo16WgllErjPBu7CHg3ifteNgoQRGXbWivYiMsOQVsFWeDpqlpBy0BgI44nZ6Qe5DlAzt7Eao++8obsAAzYpZIUs6ERqpR4Xj/1ZTFK9KE15ZK9MGV1nh74kXGd6IpbmPg8an2KLmmrRzwoKrzzIpKpRbkH6ieoxMbYRkunyypjAYOHT6ya1KCXmGT/s4XNvgkvlducfGQ0/4SJYvymmBzvQ2CD5EgGJi1r/7YloF5FmcbBHQ+oJvfOJ9ZQCFVdixsUVuWTt0pNkgpKyyFZwGGvRkYpDwDxKMw41lvUx6+ULfOofuowJr9tiYi02uzHUAM9dTVBjxjKUfQUgXtf4oA3gadz4TNmv+BiS1mDFlS3QoeWUpnSXjPDax3ndIISYXtSWVf9etBfTQSdlCFQW80dlIFKrEaiZwoaCkX2fY4ebPJ1Nk1vn0c9GvRo+ypw5jCo20gZ4+Nsj3GKkt/5E24O833RR9Ysrzt4U2OTF5duBodMR4QcX/qhhY7K1Uxpr/F4gAHfFRm8/Av9op9cYOUcVY2Uhhs/0e4vh+wykbtywTHgdLFp+ljwoLr+deHGXX+se+ekkpZbiYAJVg5DoOy6p3r9LVmqzRD1Rjtwda8FVxZbNsb9OMDbT7e9ehhw2fLku6GSJhBp0NiEq5UrtX/ba02tY8qHBXbwFRHJVdEgZAdXo/NneEKrIjQyLHl9ILqr9ftwnZnftaQUw9TxeNpa1Z980vuVlW086JEvlhucyoM0PDUvlkSZk+zixDpIpOQ0x9dE4Efs5sPpyAnma9ozBPCdG33/kA+5hHHfOdTgdrNwUdt4IxfP19Vv+VNJk1bZqNSxmDzhQg8pcYLVKDvO5/GpscYJyraDJ4lxMroOs32f7GHGBIX551aTj1jpzM+V66XyFcxucFVQ7M7KmqlkONpAhTeWeF26hc7HPSe0W/NlPjrNsplRwUgD2wvjHj+HCg48hMf4a46WtE4Fe3Ne38yX4aD5fEdJonJGQeoumi95Xi+N9ojSFxBuuS0Y6GEAmVMNEIoVuAf14yKxbudoYMWBJKYsqtbOUiwelhqwe2ppP4bMxkjjqd/VaEsSGsCNHzbSf13K69hGWokmjTA5MslX47wSuHQjWTV85TnLkPkfL0aqpoQ71wtz/rz6TyIGRo4hBvzbiez8CuOSqv+lwsJyVRZz0JuOGLFF/TcjR9BMPoe3HZ29WlNZj4KhBwpT2Yb/pUmoDBglrJDm8LpeUMuWVvsLCxvBJDiH7KIB+XCGCQLCtzG+o6loL+BZI06Q+oeSPPXtkY5qEzNaER5tnDvXKAOa39/acWZtNrOJeeZRqaXJrbT70sNe6EmeBpsWQKhI5+mtVpKjifdbc2o4L30mIlgIDsqOOIH6m7Y0pkMu/Yd2iZvvXoFHUoaBd4BGmNRQJFgvrJNuDqTT+1TQbrxXYS+iVlw5qMjEibDcHK3RknuYZvDuUbf9NEGw8c7dnTnOolpTrFddNqjUdgic8ls8BLkPrv+3NsEsg1yjjBE6k/tbSwsiv/IEpYENVrZYaGR0XJTUifVls5HtaiCFbn9o3g0V4P2OI6JrqjmVqUF9t+1hH8ERb8t9rpAsvh9dMEbDnk18pU/uoZAkfUIY9T6cc8e5usG5fujTybh2P0rXHzhx967+IRf8AEKJqcVwSHQ6rt6FNtyvcFQgGdyF5JnlSYzTOjrylndeXeXX02+6c0nZGEtJDQsX0qM/7I62od+eGga8Hd6zzVT6lMGGeE38dv8cJK2Umu6BIOz+zM4BdPynfCEyU4wfsblAPYgrkNVuwO/b+3cD8O+4Zkd362qRdhUcI5qN4hdOOONSeGKlrk7ia2xo3z3mp5O9rtwYDAWbvClIyw45qg+sGdZvxENC502y0qR0cRleBPxDABJH1h8dMHpBfBoW1ol0uWN7Lf3lUvibri6k2PJ1JEnDiYoPYrtYMbG8tZSeabr4uwy7uAx1IKz88dK3pw+sAB/2yWYWoIjlNwpSzK11Th27mfEQQ5wIXoz9mRNsysouWOOzDkXGQuw2dyVmC1mMZQoILLK1IJQO6boeQzIGZYleiv82q0PAj4qktnDGEVENzv/2qXSMUbkPrMQXtLxnTA7yr4Ve8WfGaD5wekSCdOeqDKuuAXyvZltSHMvlgJZjANJpjVvpG1l4nhMEA4RbR5PlDHsfyLrm1bj9nNIS/lHw0tvSunfeZfKJMc1DeTndBWvEddoCQNMdpshM3PIdcrgnhVoc7ny35NitOpbEP0h7SUC5BrO34pikFmKEZcVyfgTuI49XvFr2WaE3AEIjqSLGeBYPgL9m6/4Qac9lhWcXr4zA0VQ0NNY0OZnqC8H8C90haNvuqgBcYmWmjcoBw64zXUNbSQ/IVCBmWkaZWyz7aYhN0s/pSrbsXGLzTAQ/A+1Lp/Wjp9+i5zub9bdOmYWBM93zHF8voN3ha0eHzwhY6zFm4QKsrASIc4LkNH4rV3/4LA0SeZ5Z+QMkqQ6CQ82jfKiHRpd9CP/Ep/TUQHoj49gNPu4AfBockQruWZJvRA+oKeXD/t8nv4jcSZCqsp/et6f38phx7WJrmUqkVzlms84KiZ3/5jMsE6K48npoRoQKD1Dfwty8mFZpp7W1JaRD4EhVX6lLQ0gLgDXcYJRVmxVTWRDA/MEwJ09lrDhAZLvVeOKsgQ37DARnnCTRLVclQgAVYpp0sIabF5KZ4rAT0nK6YO5FsWjj/yyBMEZMFkNGjTum/3nivHjWtBQiGyYbpN6UDCTO+HPmnsG+9/983/JL+fdbbwBhbAKlpu085ZEAVrlVabgxNbC6RQXaKo4xEpXrC86xNlJc12h3w61r3QtCzZeGakay/DkyG+/1ONqOGfTyTDCbBjC6WvKHXyZycgDmwDlMUohFd3mpxrfQQddmcAdC8os0IbmCewhnRpvwtX/ICWS+RrJ7n3dukMCrvXjEmjx3eC8TwodvrB0Kcan29qcMlBnj13WN5sRNDwK3ZRlHW6gdUvF4h+Qz9jhaHT/ujM/UmICPc9Z+QPoUqB/UTxQXbZuujf5UwVroJtqaCFnF6bljyK/OTdOAy+xhc5lq0EoWFSRtLJGV/F64H3pSHQyeCTS6jmiOEeZ1cro4ntYBIsCING/SR4ft1BLgxrrw1UOMJKC5akmupo7f6gV5ArcMZbxHLxXYmsMsi0xlZWLjU/l9Feb0y0w3yMYdV3VMFhSBfSxA6Gr0RiFa+fImPBipn35aU9vVHlolA9APRZPtLygND//dA9sHU2YCXBCgYymGrdHGEcBVkPNoXxTNv9Wr8rRaYZd9VKSiRcRQdEk3vLopREHYSVYRxkgpzU2suS3+PIh/zuO+OiUuGH90wI5rGycDMCbLUCCH5nnXe22Q0pWIQrpvONHLH1TktoZjEz1tNo1TKWYU/fEq/I5vjomMbsRKW0gwgAv//aUinixQiZ1FQe6tk8LodnDM70/zFbPA/TvDXHukaoGtTkjL6Bjz/xMXf30nHUbe087OQxNT3qQVysbEtc+G7gMdZ4bin0OgcuqrY4dVTP5zevJ6vAevl+5q+Qwxgbg0kgPKXmxh2Z07oreqnNGyfcATu6H4Hb2q2DzAKwybao6qD0XFTvpmlnOZRjmij0gX4wbMKiulDzeULtbVdFg0AhZD+ZFpbw2lSRs5sCZNKcsBH2JPyN6rQHw62vQUN1gWTb5EErrD4IobErBeMuaKv9s46fjE9NDweizqXFT/1v8MQ1qX6PEhI9bpTIlWyMU1htYaxQ+5D6FXKWNZcsTYyzV+ncecBQpV+uty+UApLKbSHuf0h71raJ8S3xjn+vi9YBTSmVHIn9PP6oA1QMKJgaVSEQjG4vKxYB2BhNmKO7nVIGu7E9YM0Zrjzvaa227XMvGXT+8McjLoq/SNYgFs5gAzdYGrU/XbvM0BaiysRmyGF7XairstCQfEy/mD82vdG7I3oiAU3Z9pLuy7dtCXMw/557hOkDe4Fn56qB0iDGgQB/NX4J0HlARmKjqvP9Wr0+Wx3mG2j+r06zoBJHPMGWTaORpGQJvEliGbdOVO5NeLhjgTKdWRBypsMbUQ4ZQqy1K9yoCNtWgWw38NH+lwSIgd5Zr+JhcJBws6PMvoAoGH0cQIoSgoW9lzw/usmMyLzZYfcEedjGMl5rTYu0539o5Amzeti4y+6IU08VJAbZ9lvbowtw5aUZOFrEwJVh2KxnkYXf3asjda6qOfh74GTeqws76918QY1DqYDnqpKJ4krOTDZo2PtMmEPcYoVlvtTnxKkOyxiKrhaZ9I/O2x3JPSlLqhDviCuWktxYIicWuYfN5k402hnt8qymPIk9agArDyMcH98RhGCG8PSLLN4djHaR1gNZwXaNB2abz9cJOSL954OvWB9ETqU20EZItzgwrBKPlh1cemoKy+hDFauBsGqCuAXQxmgfhbspcvOfrHcKKP6OGWMScAT3l1Eu9aIwB71dLD1sCQtK0k3f0+aWJtMokgPocTlAZoxAxdwEdoCIku8nANcUsysoGAAGEXKaXk9QNv+2uRFfAVn0AUkUETxW4lc+rURLjkHazirWq+HKQtFWM34sb8BB014TSAJKMhQISd1WlIUQUVhCgwC2kejVeSu6zbtVruxnyjcyMCvfW3t8w3wp+aJy2KPJ2dJck6afmkYniVYQFemgo6n8uSZSLfk4G0oOF6m/K5+Jjzw8TG3Wh1AvLaWj8OACHZIfnx+I8B4rmnH96kkrOGJynBu0rHQsCOne/EDTnoRH5ddTJrm6LBIWsEDOzPT4kglrreqKdAXOcevQcr+bx9dzyTM8vONI0TpH42xkT32LMt9sJ+9Fc+qAb7KF1NuRmaEl1PZIriSO94X7B4dUhb0GmBaHjSbrJQTO4THnnpGaGwVSmvDFkXvyHiHPFKBJH0inbsNfItIKv19RuhTF8ey/+UNK2KcXdt4NeBoO1Q1pRDtsu2wyU+8BKXR6tpDQmi989pI7NsItDU3Aa6JKL9V1Y2ilWvaxHjS7nhFIXvRjkANy3dY85yzSV/pfSfyn+T8b5BXXNdaGtlhGHij8JNw93xbM4avbHBxmi/30eGJdiFrBnt4Fl0x7HwqKmeGXIgXWbVwHxLhWQj1TKUI3QHktipGR/xC0cvCerJV6L8jfME6vibHztZN0JM1GlFM8qJ5mAk7v5UrhN6jZ7qjpCCaySGBrk92ccCZRHOqQF+SOyaJedF9zuWfGDrFfFYc3Vx+4vY9pja8lUg0CKOBpVxLwPIE4NaH3qDI9jxUIIKIJMsMRcEQQJcRQy7iXVf8XzgLDPcpIIDPWqFOLslQQySJiPIwfvnRRGwGlXi7ftGmeQlz5YwvfiZqPj0jJdGWGp+VnqJvmrc4cRwrjlbXrU0C/9Vv+xQgn97HGcyBxrlyn9vHZmLI/Jw0YTAYOmqTfEhSmtW1repzIdBnyTXLOU7qFchRz0wsrM0A0eLPaEf0Ssm0V1UIzUlGiq67lUYM963LcIG4+o8vhjn8FDJmRXQzlmLP9dtLwhqWDkgKDvvF39VtgwmXxHEPjnLCowAE3Gvn2CGBT6Iz5fGgBQe6HpT4nigPSj7lryiw0m1XArga53eNqF0pYp7pdosK678/lZBwFSwWIvVPJCIjKCnknqxMnu0AEcayS7kXI6Mb8s5wyuglktHr2q7TAIVIXbqNJNzJWdRBt7KQhOARM8qdVSXravBQ8NCD6KfyTb0C9m8+3ZyY0Mry1wDl5+aRCILzHX9/B301jQ82F+Awr13TDTlD+M6xS4ybk7xOBXUpoGFNso/ASw84NRZVzBEz06Lpjk2ecPJkcgVaDKQWFY/1Nd4w3MbqQmCVNbWKLo2Ydrj9SDUXMT/4bZMIjm8rFBF9Fua0E9IBTxCdkTSTqZnUzUDA4CnF2bdxJfuCfRLCjZtDBfgjhajjMpbqmiYg8rBShC85HIvs43bQGew+LsFCtZ7SXp3Y1HrtisZ0pm2OQxXvsKv6BtjXLE3UbtZJquYfX15ItWDchBRI3nJGIBIuCB6IjKen0KPehkMx76P1Sjgcp7yr5e2jCfyX7EoJFyePyysYZ0rmPFN8Oq6NCKGwahnaezi6Qsccc6KJAGSS0CyqLet5/FIgYkO6C5yIdob1WzTPvlWCXzF+mpa33Mpi93FG7Yc2/U5Xf8S5ew2/+w8FV1Ou5Oy3x+xTW0Haw6O5mlNgjNGbvNTPIILZzSiFCWwe0Ur8zwYPxhK1s9yvNP8r2J6qatmwE0eZwRls/R88nPnldkfVFwBt0Pt99nc4uxboQj7a9VNlYHn3cxAwhkbLLPYFCWoQI+1qNgNhfmeghKtpAPP69gT+IfjNuMjVp2o2sw57KyoYsJXpq6K9f9ys3DtDZyx+7gvCtME742mSbcbaltBJCmHvwFQQZMpGES5G7j4moqVIs5WMyr3J/Zwft0Hb3ADUYX77b7w3z1XuPXTJulp+zdQeqZMA5taaoVAG43nQpK6ZfivjxPN093k35tNgYCcw+aiDoM4WcQ23mwRXYHy9jybb/MPx4JW7qd/hZ2mIYT21ffJ89CuJAujy/HGbSyZKqRPq9sUEAnB1ugs30WXE0CkoWRHDqL5iyir9q/EeeFFcE7JtZknVFChSLo4CfEJiQM+yIF1Gz0wLlAVd19myJ9ghOG5CMX+xzXJVPA4BhI+180XHCGAbYgsM/gEz0scSUD56JsQ4NEGk7D9xG+rxS5otQ/npSeybfyFz/Kh5tWI3st8tynzWPLF0xDD0GR+kJnoJZplVH8JyCRW/bm8N95HMc8XB/wsFeIdSgbaYf1mU7vtuQq8T576GAxxe3XZuAXZhKZsXXcFnZnchFvlJQAoGcPg+uTHfF4kO3pWWpOMVF+0JE8h92BKh0umVdXF0b7s+K63F18/R/Yd2ei8c8IlOqfAptNMh7/90rA5NF9Wp6pgypFwXuh+IT6onqDVqh/MMvs+ze8B26j0X9ZBPK2NGoVJ2gn8pQqQN3ArlXItBe8JOnCfQhiK9ZoNnhpvncuMTJ0Js7VAMzf6yqlDeKy9nvjR4SuoPJbghEdwmNXeFCFQMXb5gV0HQd8sBpb7FUMEtSsjWCj/L0PuESpMUCWLeEEKCtxk47DVftFm1VGezmOKkpLXtZFZe7aLMUjwTWGjKf04Gi6FooX5d/AvsIFUBNmd9K7r32FNtTghGTZbcN0jdfo2oBnglmKcrLh1ZTkeNC/yJNCWClQKOdgF2/W9IRcnawYJkQqBKOzKa+kNVEq4IkSMSNBdN075BJ+6H3L/S+y0WjrYnn85EQJpjJAX/cwwcfvF0KuHJvMRoowU0UwDkBuQHgJcUHFLsU4UVfM8xoc1a9iTzh4on+yvL0bgx95tYS9nLPIkNG11z65+y+ln1QbDzFfpJ2RF1285Ud+MwwSodDvf5XDaq5ZBV3/+LdFNbw1CWeUzul1HvK2U92W4zqIJUZlQULiqVbH+TLBVX1T02Q9CZSnaklvoTxpzVZIAGGCV3sIOAZy/LHRkhUrfDBvMxclp0/ODA545wN0MivtqdQsb4gXi2Oo4UjpHq2FrTSsQNbsUYPomuHASgpLTRnAeF2/i0tWnHmFEAB+k7jpNZKnCW7q4rodNO+HpYFpM4lE4pNDBcajCpyGy4EszIAGWxkie4+wuFecBpg78J52WHJWTbks9gAUjvpDV9LERN5H52pC849epKZCSGZGlckK8CYLl0Dk0/9fk+q8tfetju0+uqGH5s4CUAZqGWvj6q30axCs2dNFNgDVmhEqE6XTEsko3o3FPgfRZTsxWcszoEI1H0XQIAYXimOoa25yOpKAy+lTH/91PkPy/aX4nuvDOTbysfSaZzkamZzLQrPOgzQw3R7Rb5IBuhgHoRfy8uzoTDMRR6Eo8mboTqYnI0aM5b7l7tgMYHgEbsOOOxwD1a2g3l+nKiFsDEkilloJuXjcBPIrcKQ0KysQMbBJeVpzkPnm2fKCV7UpF9p3mSiqrU5R1nzhxHWHgIqTMqFaQLs397fcO4FremCqOBOl32VmldnpF5NzkwbVOiG7sHhFv42H5zs3/L0WKKrqT1LpPNr5oH5uoccFOLn5WP3Rx+JMoA/Z1NXJJcBO/jXCvntg8N1YLTNzc0i2oJyJFVaOxDh9IhZShS1IG2IQVbZBZgLMrD9nKJLoQ7gjSzI4DaB3E391w7XSEn7ua4skmriA6pRK7n+i6SciEclEF3aZjNmLPVfcJN3piAGIXiCXLGsbStuYIJNNfq4fN6sLnTJPvDS98ydtUNs0eglFO7C5WtQnOg9PVRn4Wp+hm4CAg39zu/9CwjYOKlQbvxYLizbQT98wimcJIsTO4SSRI+2IQjuUXt/raeFygH4MhH1DTkgHgCGFboKaqIm/4GrRBs1eF912XgoAccQHbYEE5aeLZ38ihPd9WE+DI6xO89o+h7/S73s8mZKucdm4Atjp45bOGeMdxqWAb3qq/jllW1oGsCZkRLKKSrNTFFsBxGpQrIMg1nRAGnnyPT+pZdmqQiJBPEgJJYfrY3Jn7i0D9ML/jP6z+HC+VX8gYAuTi9GtqaBM+mg6RPBlZrqcIOIMkoXxh3LeWSNeDgfywluWPn6dZwLtZl6CpWRnzljb+ybm1cZEBepeHHxbrx9ZQNbLILERhdm7bdDsWoCqw4PybK/K3O/alCXpdqWKtOjZa/tifS0zdrjU9c8cJZHLeWCmuOgq94k3ohcNLApr4dNVTdcxC74H9hWofxwAsgL/EJi2BIph1NgwtEXVR0DfrhDUEtY+V+lKTRNOBODLD+c7o4KE9mSZdyP5eeQF4zLlQq7Ogp7YTvL7FVNOVffVN2Xw0KIft+TOhkrQBzJ+qDzdcpGqclR9Mm/LoUDQzMPf13RzImhMq6F0u0jc9nU8Auqvshz5MRHaE6x/qA5hUFWoYOe10XCL70DnHrKP8wk1B64FP8WiRI5Y3XYytCP1V8xrbGFPG3IxzHvBcvUu3+T3RlbCH//Ly166CCvaCSmI6KD2ZNX6IdV++BhHHtLfdDHeuHA/I/QgSC4kn54wAtLPBWCpxWRoQYpjieZSIqPjfXJyl+AiLFiKIlQ1qp4p7C01T/Smq24mA4zokYA4kMWWAT4RLGG1JIUthweDi3NxvNJn6tIAh4Y27eApD4gnACLb9z688eEjuo+aECuQul/PSMGs9ciqRD7tNm6T6roiPOLQsqZNIDv06wzuvOcrexhvB2DsggmPtNLlyMf+V52C6K933mQRFjRnKocekVFo7HtFhSH+Mfr/U3yf1cSpnbzG61V5I/QrzuJDOqrmVPxNH4QbwnaMjefU82f1DTBa31VLyInZ+UURNceyrVz9ehUFMra8HTU5NeDf0wP193p9hSNrhKn78EC5P0I7sGAegbPTd+RvuVSrCGkQPC9sFmRQEbEtxvVwDNdJivsgZvzRePVXqyY3QVFPOCH8TB+SzMINA/oiD0+fVoR7ayXII5exZtwKdtygpnnUV10q0gXWwdw+iB/B0FlopFMsu1JIlKwj1F1Z11OWbIlArBr34g4MdSwJ9glzK++Gnj2lPq0BDFCPokzuYNbz6QzvxDzZHwQloE6uivdcVmuziu6ymPwQJPSRX+qIh6pPTsboT5b506fZ0aqYuf1c3D7of3CAU+5indMItS89Ts4tncvTQUsXtVDKQxXLFm9rTcN+Tk2rMoXXNn6Z9o7ykXhqFFdJDFXpgq9PiyR8RxVJuWZ/fnnJbl37QtJXAEe8ESTGPpLk7F0apJxRHjrW5M4+V1D5DwsUDP2vSBFfu+1B6lscEeW4cJ5e0DBV87hBbwdmbh1YGRiJnH9xszx8DgR+BQl8YIpuqfJIH+YMw0+HUot0Wx9wYP9EmWTj1/q0xvh451H0iULHWbPZtjqEV63Sa6mFEXBMwJwfzbuxsGBfQl+fHptoVpxwdSwHoeH729hMBImQjW/7CKFHfesUGjO/pbd97ehmd9Eg4JTASUskz8nAIa/BuCKnSTX2BVd1GsIEvF78/xKDjWTT/BmEwqlbwv8BgRdBvbsFVzEsHdunWyLxbuqEPlciyTwXtcrOn94qspdlNlMPcrrE4MzuDXG/+9eHmd7iRjbQTyZFexJ8Cz6reJrZPm81S+eugQwGgR6UPvTeeWVzN6i3G+VG5Ubgdp9xeCFDYG7IfyZlVHiuK0RJYEJcllZNBbA0eorDXSwuQXyjv8Mw40X5ArYTQyQQbt6/AQNh5D953ywi40Bs9zKNX9z1UcLf5VKdpVQKPvFYKocl9X9coVFICXXtYtsD0LK2yh23OHBHCxn6z/kcHwkt1RSzrA7wHTenzYQzvz/elv7jyOTq3VN30YSdv6R7jJA96RyasjWdZRXvPpkFvix8BkB+gE8i8Dbiqh4VuWqcQ1ZxIbkOqLOgKjtfjo3wWslcbFcKLFWdQdPJBDOC7ot3M2BNrEmjWNCcdX6SD/b59HMA5wSHBqjQ9636XNzHjkKoCSw9dqeGEiFtfI5OXq/FCpFNVzbtrDczsVulbEu6bvucvk+ER72sMJTlbyS4qWz/lSYLHd/6jzUn/jLblqA4vSqqMqsWVtu4yx8qsVsCHrjHNyERNFAyvaKHsdd+jogIukMjedWi4yCpYkAvxIG5sh5rqtt3lyLxVFcfWPctb73fei2YB+5EG38+Zy5N06mnC9nHz3EGFAlmLkURwEPv317wOqteybWh8kN3i86v+H8u+tXE6mcW+rm5ZgQBFpKB7GMH5+s/l0vJgYmJbZpoBKaQ0921rV8XMV4yv89SOa4S3EpJG/WdevGCRsCTR9PrQzC98cxxYg+xdVs/iWdHwbZlvLI1D7cUAC+zva5pJAb3cupQ2WmTjzyYJbrVqV7L6GrCzpe3AGDOPIi7yjOGue0Rf+MpOz6a2rUVQcYhLMVy+0yNqSjIwCal6/GlcmRcbYAbdz6YXLUoBPWgOagSGEDI1XXwBNyt1MpwX87fr1kcGPVq/78OE+9FMiEKOer1TyTGMIa35bywcg1wrtNeRiWOKxpo8y3H4ix5msk1c6JosFLCReIL5bOr4WFyqlWK7MaJfwHXQXfF5qFMyGemCGhGzghUyf/4xt9DBNsY1YI5R3RnkyKhAwCBkTCFdTFEMKhV0E8PKKXAvXo0ETcIJeeaGAIqCU4JXitqWbM1+ZhXn+cZNxyxn+EUvjNGmS/8Xh8/H0ysBtDQyYyVyGJo+7AI2CzV9FTnr7SBKyjS2TjIdc1+5vj7MHX4mQ0YEIB1E6xr0Xx+sYksl2nHzZRakyDwmygPpP6h6p5G/6ly5Kzkzh/X6iK7ud42izQx93QtTKF59qdpAiyMBUVU/dXJgYMutmo/HO+/vUrjnxp55/XjlkFCK3QEZm2VZuLnA0DuPrG2D/MTjtqJRwOTVcwCW+iiGLGBNGzgAg9IHqiiNY5Ic1t4WP7Atoho/URDnqVTF1xnC7v3z1EWz3NcC1WzHP+Af+jM5I0AS5FkuqHuAw+XK5bngqml3RWpPPT1+t3b9INlGyc3p+IUTRN1u6KV8tL0RJC3TpIMX7yX1CJaFQpucVgCKbXNJMyqusMRB/OoEjskck0kpRmfbKVcAKVMFYg9nxS7O0JiI2W01OAdljH4zDGBYmPrqmbOZLywZApuai3J40rEQ2T3d+5W93gZzMNOheih8Xns9+C07K2DZxOlmc5+3t9sRyq01d7GOTcGO4Eiv4cxLs07lw9+CiHeJdOvb1U9u4srTQykk+eU9sgZ7uqjdvp3yd3DNG8ZfxbcDFoA0ofjTVAsRcRyB92iSBNE9E3TVrJ4vgnkUKPeXHrloyr34QWQy1IfZnJYAZEuFaRq27n6rh7pRX+QmRyeclKk2qUv25cwIAMPxYe/LbjzBxJqpC0ctRhNT9DDsX9A0cKsmWFspTdOjYvvs4nuXbsvuPLZPfDsqtSHiCQjFNC0/bO6EmhgANhF1HyT9opUjyMIg84QPSccd5fixW5s27D4/+/py3wdHFuorT6d8NYwD6hRQ1oE7mRVLZJJFWzn+9UVePXw8SsRU9zMaysy7GyhRyS60MoqexB/A8olay+8He8BPTzutmiQpcSK3hKc77BfbiwfewwvZ4klcUJ4sMK2yGAwhI6uEA0ghSf0dOxR6mKzT3UCu4q6U8xwE8uBuQGg0uWsE3OvZf5sLnz/GnKGvutfhQEaT/poY56byCGTZs+KFbzJgHwHipZ+LZ24dLN4gBpeKBPnyHnj25WopbF2xWkSe3AbbHKbypFPIUSSO73jMA+HrYSDhM+Ax1ofd/FovqiZDJJC1zcgp9AOi8AZKG2MoZQx9rMF/uNbRTsUPDdQp3JVZ6XWHDc2Dy/XRz33jbj8GbYcxVwq1uFQB3mTCtzLMsUt5Vsn0xo/DKwdiyDdya3jLcRiN0WLHO1mibPFR+EaoV75edE9zxmzRvNXg4xDtahZHhy/ht5MNnP60Yn5Ijt3D4qTnbixt9ECp+8lhnF5/lnpZBdoKviA2AlF/GjrWmeVKEz6DDOYV6o1hKThskTnGyXHZVxB+5Yw0WQMAyX1MnRM5qxRmk/XZ8rlrvzkppMuHk+TcopNiC4UigcZohCyCoSBtPUQDJ1Xq9THl0yX5E0JWYHweLH2rsZWucpQAQWIqhoeZPwXfF39lhmb4pJSnNCZUWEyecRXtMhvpWLhMfG32FYi4ixy58FBxVjgphEcSRtmvW3VO4YFqzbOgYc+IGNT+2OIOp3RrTfRMgAIYYa06mbhX8ikvjfKJzAcroccUrKJ7Y1zPzX54zsKAuEhCS5n48d2i29jfTKfyTq2rkRWo2fixq7qgLO68G+3VeEu65YlvRSFphpA4BmU/b8zucfu8amWVHRLhCEJQmOT2xjCUs4VFcFu5kDQ7xwJCkufjuugaW7HTY6fVQBQCtKQn9fKyh4/xAx+H5sgWz+jogMgchc585ZFvwWmaVzVDa+1GovubKZ7+kpEOLnRkIGC2lSupyG2bAyDQIXFY3ExC/3AVjkbUlXvlB2LyJK5T85jEhvejg+jPs/dlpV9KtHToIBB/3HcGdHd8rAD9mK1PGzwVjJvc7DN+BRii86CsWkqpUTL3E7KwozDG/CT0s/pCxSlqfsTNPWZ8HWS+ShSYR5NIweOQHjjgG+LqgoCT8d+5ArhNPWx51VETFY2jDpI6owBREqsqU75avQZpSPTI+2ouHjRqM357Zs2inAtu7SdQYBA95839i/QEXhNnP/ol5FB6NU+azNdiCTgFYbFwsjgI52gLAQcpVzEzqoIuBVuK6aVggy8IcSujkFHnfgCt0/xFvCG5GVmUFdPXmGf9ubNmTA/HRhLa031gkz2y4cU1OI0cc3yJyLOJu/rFbugyZlw1GhI+x8UlgJTDuQO8i9fep0sGG/7XNUIBSH6/iVsC1uwe5JXm/HKuJrPmhIHfrd7xBYqk5eKnUsE/K44dj8OJVHX5bDblB6iIOoLY+V3O03m17AHAqQr/+IORRyWxnzunHnVh/Mf+Q/t7D20euMacDv6x7bziuxt4Y+LsKOd2IjebBDiW9hK8Nnc/tEE7YUlcLIkGQuQZ3eznXpo3LZUeIjz+8r1XBNLgQSav7CQE1u5Jg0TueM7AmKcgh8jN+kAllJFYsf00saWWG8gWCh7ryU8s8eyt74nAL7Lmq9MDyU0n91uz+bqSEjgonYcHZt9/+874bIt/kp7m1ZCBxLfW66ycoLudYwdLR6DEZ1n8EpoZ4t2OzfNcqX5OpV7/o7iGt/56paIMIyxJphjYXzWdnDHBy3hquwv7Nwtz/miq/B/brzEfMuxdwLxO3iHtgplETrN3kXrH7vjpXBK7cP79Ezlo+BRWxnWUr9UCx/zCxtlI4DcjV/MJGRyXrH7CWdXcFQp99bo3j3dd8VRmHu9Rtkw01An+mudZfa12rYFoa11AFO9+ajZ+0EPWQZwnlB4ibK9PVtUINKe5AI2Yu8Bn8awKaqT/IEQNiuKEmpylF63D5ZI4uHkzCAgQ8FYrZJ+fv8/hHqAYhURJXrVDDEYz2gKAZWGdVLZIXw6su9INhqU+tsuR49Cs/R6PVGhEv/FyoDxEwQng1tX9YXUPQ0hlGpqOWNYuexNduv+E4aQvJ3MyzQ87w2WaSfNSRJ/61TfdBm1rDKvb5Lwni9cOs7jMbk+IwbnItxbl4spM6z1I9btWx3xEJEFcfjsvgFe4hcbr1s+xV2r4T0nCtSfsxTYbgW0FEbz/onkepyVT5bW3sYvwxzJ1anPd0BIF0cT6hufoWosaQvcMGDbb+hGhW8jeW2swCM+jbl4ONR1SjXPUgfGz5WmJcAPnjGCvoiJg/TYu8RBYHJmY5xQB98UgoDmBWX6lDHJRs1HuKcK+GLnuJoXGWcC9eKq1CE+aCLhJ4N29pa1v5uPlmSw+kSg0yCEnxmzMmEdLhY0ednzVqyCO8MUDLwtFZ2T3vpcF+B8lBaPCfXUMl8OkbQt75Jyai99Y4uVQKsWPEUsnGFeRZo9nXP6kutpC6NQObEi8tJf1aYkCkVdVZAHQ2cXtPtG5yqbHP7LH7PBN7b3Lag/Ov5ScQgobg3r4ieXbEMoqm5Ak+OL6EbdktmsQM/O26iWlJhR3/kFNU4qBjI5HYd4x/Ce/568l+FVhis8c9Cbop0uUZt/SiLH/VW7T14h0srDaqBcoxM/3NDr4CsVgeZBy8gFAlQjpX/FXv29ETDnzFXbGW/WUR6pQo2O8fFTcFyxbThwmKoefR7FllELRn5rh9KA92g4InsSt+kMG2jcfkqYoZQSNgkN7V5+JeBXNl7y3pLU+Rn0w0Fx+YDAzZDZi7dfTMmDYNHnb2JEUY//O7zt/gpFFe6KJ5Jf8A+kokOayjylGmneG+a4XSmVn/xIGKdp/FNhCQotsZMBC1x+TLtZPof7j64e8L2TTIJ6FuYLnz/nuRdi2rH0SiOG93Z4KEzdgXa0nKRCsCOHeKQqv5Ep5MMqdQgOEH1KxG0l3zfn98dbrQ6Xx7H8Z5Kwc/tooraAwCL9KgsUU2sKM2iVzem9udK7d44d0Z0kQCXSUO/cLrdexSEAHNVk5fRmAbHRYsY/cD/dJrbwKiNUD41XcDi9ODizjRKKSSagwxcMrPxKEA2MwQQUm8LboTTNfrDGPlK4hR53RLR1Ij6ZT0ZZL5J7HHQ7aUC7r94T02/L0s5Mh+PJas/PBOnrFA4NAk73ypoksvc3cEkDcV0SZIXJpL8Q03HTqiV58xfo/3uBDAqAdc9zvTjfxn0oqbo3gvBy7o9F3C4mJLJRf/pu3ls44j1fGZEq/oLBiLKJT1U7zcHvBs/T8KouRiuCYnf0hiBfNlOTcxYlK0fLLi7VXWCscGdOutAMt3UPdW3F7aUR+mRw+stxKOlUuHs5/6kEfD++BO7MzZRhHyD0FB0c2S4YLdwZ6gkmWHcADv4RThZmYQLJV83SVOJ74F0Muuz4UkShUB1hs/AfrwDmTA1TSe2xHZVUzeK29ktnANC+J0YSTZLGi2/x369WfxkXv63h5aFsvm9FkrkuU5kQRTQUug8k+EsLh2qNuLhiT8FOtwcRQTZ15ow8uapk7XXwDRqdjHbQRT6/2DWxItX7XS9kTUqbfCF1CQ9s02/TlX4AtgBqI7NkHVr3eRuJC97pOQr7fqc0g6rye5mGPJXDoENIKcpVUrhAU5JeQJZif290Q/qt7h19lIOHbFTlAENyAjFnZRW3nKC7k+meWy5v1Wlea7kF+evB85u2d15CTs4Kn/pvOsqtUc+pAnB+wtNouqyoS0yUawRes0oVG9so65T+gRMn3xDTu4Fl80BvbMKyd6Dp0Z3qrJ5Vxx/n7LuA6SLgSXDZlrGK6KkdcJ6OGdaWys7q8sfzyAnAx+uc/UiwFt7y1Cn6AbwpVFIb0UtT4XCHdLkvXdfmZOjp02+fasH5TjlED0HqwyI+TiuiXLxazahZ9kW9Nl2/vqsYVYuwr6G00+oypE0h4R8k/mFzGgQNUBFaZOhqx0CavN56oQL+T15nfHuYbIJYszx4fWMGNEZzs4ogB3kfQWqU1UMwpppDrMUfDoz7dQi7IXLKXymjYxHEA4iND7fjdfIT/2CaPM1jGGQr40/4+yVnIsknmUheUNCm2WwHJ7227pJipB3cUpYfns8CxB9/nGvAQxPmCiAaKDT+SPXdjRHbCNeQGyIuaLls15jXPpJ1PFI1dp3KymQEucZmGRaKPuHl6o4MY0Q2p+I4B9px8iBqqsQJ1ccydDrXBZ3EjX0OuvfZdGzbSJjrQ6voZETU+6S8P10RCUbDhvVzMuoQ3VDu7LCnREh9PCcDplFGFi+Nyw4Pijx6PsYg3W/VNpql0p72OksAF0iqtQHkZ7zmuiUYMP9FJE5D6we7OIAjcWfbkkerBXXB50SBakgE8W6G6Wo0g7Zt5LOypJSaSKagtO/FeCK7SxDOFdWdPpidT9hwxWBSLh0AjIVARRdcd3x0pWa6WwVOIbLQEW5y+5B9nCNK1CbBVoHX0BAsgQG1DMdKcRtiAJZKgfQRGuv0lkBHWuR27mO84a0dHWqxl4Ht7/I5D4tCevKfm1TYmDtMPxa4japA++0G+L/O/DscuiGi5tpZhTvRRVc2h6h2rMYAXE9ZrOZavwTAaht0FvAvPNj3qeLxZAWCEj6dslMyrh01b+wPGc0Lf1tr5ytJbv9vKIxzDrsM4+GnUF5tsWjkbVRcrKITKfnzDZMfBVNxhh7mwaDIfuchguSpWLPG/5WK98IInlxdTTNJKq1lbe3AcXE7L1E34kUfkJC5CGlOBd+K+09jzsGZFIirfs8xNUq3RCQn5dkfBGjjepuVwO7JgKmezQdURmY6TAaNEXOfdAZeCR3jy9hq30HRycbz7yh3u6gCQneS2kTkYohCZnRykOca3zJJxIy+cWLSuNsVLLTdNp3xQaI3gH5QZgcNH3dsUGMrIEDly+L9q5UrQipd/hxEJlwi/0wir9Aor/GnHwUeIr8+dbdVyzjshnKPRJ94zQW8VvEnC8aPnUJyMkFXb+oRUnyRfkuFhHTxDs9IXMgNr5meR4nNu1iStF499MSUQhHXJ5mAhlw2opRXdOyGxZbjuWbyiv0QCW4iqdHVMwCfUdTxGQRgk9js5Ss9M3VNTNpejS1fxcFy3+n3dRU0mvg8YrpR8dTwxTIzNeYYeJ5QjQ0Yyaq2qytcYLbNTGAlG/26a3oJZhyroysinPT8JlEDEoIJNujfbkJrJdOd6av3wCgszu1l1cXKxvTcD0890+jUwh1JKIaWiSoIMocbSY9BDlhJ0y+fl3g412EgTFCwTVPBIdBpSpQwOpNocc9DLn7Qdihtb954K6sSkLNmozDVuZew7zhVe/KmH+H3SszTWZohNl3Grtk/OqvzexTw3IpqHv2ZboUfebdQsqpvVwJLTqkWCB2LralaPujz6XThAgfoVvqc80rb5gdV3W5G6lEFKxWo90SoajjbgUzlrajG9JdTIOdfD151K1h37bJH4jjKCzZBJp26JpoBP6SSmVaq8WHaLj/TWkDvCWq/AfUaUpW+qbTFwbFk/jtjzgvJB+L3zNC0ymI3J8R+eukkgF71wQ+Mxq/21+LTtz0U5joB9PCoL4zJsTaC45RvE7HYHgNOCChNlx3zvvORNxkAblLFDuZ4Yo3+8b8oavrRFhqDJ3K/R1/7CTsoT3EA1m/KRI4/PnjDAJx7N9ZNAf6TTRqPow5H3hM+nSwVutWp+xXlKZzUbKZ1fSvbhZKieT54o+TU0zo1XbhhJjjUuXsJz0y5xzOnDUl5j/ZNgZQY0ubX9V7k33Fv2EdrcP+PJAT67FrF4/FjLIByzMUQtFCQpWQBfpnLn2OjaR/w6cVNWHo/ZV2ZNyXF3eO6GvrfIBK0cAP/cIriEE4xto12DOiQRL4pIfINJNEK68PYW3tkcRw6GF7pIEgW+KDPxXSMXEKh3sIQSXoKk54JATMaeFJMDCNWkzXUcedHbCPMn7M1rEM/qiOXADT6zQ78fEQOMaAmykDuW1Mw9RpsnjXgEryyAJuQ3g3A3AvU5jrXYlM0SeqYM7ru/9YNXrgRaLQEFjp+XEU1aFkGobTWmg263yAXZeTcJXfrGxCNvaZhzYOAQ/FIFHAIF873qrXvTkvd//uPsvsIXe5rcf3hwsxTOXHdfzdkzwQgjFQyv0EYjs6z4AyjLKUTugC7Jcu6jmBYf+Jk/siFIx3pjBVGrSn5ShOx2oN8K6wa1DPMLVMjaDpKZMZvbe/KTZ7p03POCjL6syKgn3XGJqJhKv4jg/hsH8ompHGIdxEwzGfXgiR/NsKg4FwyAlEPZfQPz2Or8NOIZu083pmfnfnFTsUn1jeOQuNbFRTYRZoqlIyaz1AYX8nrwXMyIG3CXvH0apTkMFq14OOuPfPow9uwPvL9ASJoj2GfOIbrrFGpk/rTyfGtrjGfjz6Jtwa3S/a662ILgDOU0U/kwGE1XhVxKY4IoA7kRX2ll6cySQ8MhLTuH5m42AaP78u1fqRgOQTwJ1ND0GQnaA5rvhdDLYW097xBxC+igVjkSGv+F7HKK9wWwi9zzDoG9jhvxrYo/FOW4olG01loM2GASbERAYDggjBYOPq9bfifc5JQZKsICOfviOCR4mhiOE8NAfxibAIoRnRUPKNIjghGPISzrGTvOmNlOo+72kqD53IcrdPoouIaD499yiutvHUFylkd1TFILzbgIsHBWGTi975rLwVegEqPiaIaUBbmwjVrkQapvXyxA/OypS6vLPsaMzC7Dd1Qr29va9IcavhSbWU0f/CIj+TlDmhWsZGEom2czzBJd835njLBKCWmok5UQrclUeJVKztdeXnuDmfiZiv+3tDdCJkOE2/1TAy0DSH8TzB19Z2gfuzgzEHCVIuzq1Whjlc+6xTIdY7VaZ1nDFoUrWK/l80eIsIB/42fyCtN+7kuh/5vOepPJtQfYWus8UMHcytJUgKGsk18x2Wl7zq7RdQ1ErJhk6AgWfGX8f7/JuJVBpHlntmHMvzLrt0utoTsVu41cZd2HVXzBY4ph4l+znJTynXklz81SoKrM0J6LbQG5s1J6Ux84RO2u6EZWw4EYor2ba3ay3Klc1/phOTL1DjY9tZ3PeUKzIxaKEjF00AKjW06H/ogkAjluoik0p8DYasaT/dbkdSjspbAInSHhA21HET3CIqWV7qIQ0nYNOLQihIJfLWrfeackyNzTAWfPt4Z5plYqc+DkwZ79PLQSygeuet/eeowhohqCLdSU2EMlq55Q8pxcziQKM58sUWi4KVue7Cvwjq27+yioZrChjI/Ws6St51JI3osmXzA/nZqOOozpJlgD6bHpQA+3Qhjmo3vQtZNZJh5NQatLuwGb4w8kmB/kqVGhQTwEs2dCrcDJnYgMnvd84mYSkLGJqDM9u5zNM5X5huwufrOH5MQT+9hCmF+Onh4QjD1+IXheQtZRcg3GUOcck7QagOLzVHC6VwY5HtKhyFeaNYq8hL1U5eCDyKYhR4l+lCZ7y8TRSLBlAZnc7uQe5GqZDmopqdPPNaXip2nPROksFtiteMN2Pf4OqHqOYFlesYJomZMlCUqigcAN0WWdQr5Q88b7KRNBQOeeu3Tct/XzPogiotCFqf9cuFb7knZtWKY05Rp9KC5iLcmsZHoNSEM5UNsz+5/vUA/cc7s7uw320EEwCdZ3tknOgNDMXOO57K8vn1kYoc49BxFWf0HvQKrLkdI48dBaCKBmdA+IEFjCevMjoPlabspqzRtvpb3AWB4ffd+YdgIxK5sEMLOfYyRuc/z1RnrsrlYpJgrFDWWw9StHzTJX7FzTiB3deK6uE6E7yk8fNLxVDLpJlDrmG9ndQdmtvKI23u9poFY4G9WHALrcSkWHACRSuzYbuaa0xmGCnuP2K5WJkRRczxW9YNI9WoVJr3SspFBWqaIk9qINvtx2G+sSvypNYs/J6xb4Py1Py2/qblv64rwJqC0sXUoh6tZzczytGfpPCXi7JsOfyk2naZtbn4whNWEoTS7ZKukPzhTIJZ8JSbD+2vN0OShUf4M4bOfFkYJ77YV5y+iO4EXmt236h6O3jrCx8DpN/2OjgOWp1pkhE8oMo5mkKUGWrI9mFPFeM6S4CvrSh34q16cjrLHa4W3oh5lzTHANslVv/1SXWbKpyrg8te5fN/MFVXU2wek5no3CtyWzlsxtuFweP+Y9aKrYfa4zB98hYYe36qobr2dl/y7epecsynxrNdqCm2c0lAH4evPOMDWwNwdDx1k5bGtTq6r7fvAK8Gc9tSz3qCqeTmbYYeiMed9X2DW1vKRmnIUATyh+yr8EWkUGE9lTgYotqrvzMB0kz95hl40BinUjaeqgzX3zMaxIycc3oLR4eAHTustd6XDze0K8cnJqV1V9e9fEw15lvUIgXl2nbItqo4BA6joxCTsd6qQwELQZDqbV1gGP8ZjOSjbUt5d/Tn4oWA5fnqcKjKu3xIV36NNhnwcb/Uz3u41QrHkmx0/virhvbYQ/0DGEVcPNSMiSFvPo/xbKfSbZ6HOga6i9q4ie8poFlGP1ObknZyjqA2w/lh5Ndg2Zxk+1+1y1blSY1eDZpr8PNPT0kDY7a4Bz19yQufUwc3OZgcB2jw5popJ5GHwP8EOqStetcrMmomEJN4+Ie5DtWzXN/zNSU3n5nLLVbCad0YcFSjpEMrDnQrYU1a3Gl3Ze4oGEDU+iHPf9U0cqQhjOCPdAR1jlXKhWVMptYXb47rKi3zvcxwCgIKlFAs0hurfexxE440Ia2b2iWpsmalC0lxMIn34rWih1FWO8fATX3am9yYhCHz6dhYdMp2QiX4LEd7GeNWZ5Ao9vki8MzbRS3n1D7Y9gBOu2KxGWt4EHN8v+PXZQg4suI26+z2BHB+APTezwNzClAIYPcoVu6jrBSbDVUVMG+6r+n1D5/iW7CDYUzj5yK3KFZy5bGgSsjEv3de4n7DZ5XQffOYn0hSmIYyxOMafyH09+LadLlwkS7HEheEbna4q1NGZzB2aT2VGpymknq15sjlehgXOUW8GJ7wmrcYGnXpwrMmV+E7otokyqfhCM4BOxX3huSs+ME4/rSkLTjRHhN7vuX2oNj9Hyx9lLrsmMAinbIo44RRIZYWAe2JcOvmwI5ObG1FWY7Yf8FzZTUbt9XBrdsZet472gBpUAAF2JU+3WiFGwbF3tViwqnORFrwdb6XyMJRMYGBVDHSRscOQDj09IP8qVledeGKlopaN5jiBqH4Dz6WZdbRjZLs2ytuxvJwXM67+/xloFJMXn5h9bn9NJ5IMyop1Zg7jApA/VqqolfyA4GBhxklqW+Z8bpwIp95LWrxgEtcg6Mxnc40OG489MXlpNTI3MZ3SAav35+NYiMCiVzISiQrqwF2qHbzc58CrcxZ+6h8nbHfgunPCIRSU4LR/o7OBXvrxscVrmnUKxM5QID77EABoAd9cn5vtukS2EfdAUf8w34NMOVKYBwQNYc3T9i5jjG02K3pxZPuylJUX9qC96ajI75RNmb2vpbkg5VWN/rn56rGVfkLC0CSZxsSsgBjepAxAOd7vj5j+5f4d1KlP8AvQLSejY/FMo95ELX1LBj3tseE7iHmLcy9Xe0pJ8ZczzdBgS9y0M5Ci42DOE6URNUpjByn93DQVpqOMNGW0/1SOr5AhCAmj2FwmQmf/YtRpS9FhipJdx9Wy+biHE0hJ2jXrJMW8hkxLs82EkXWHkq3ylRc6qVPBjRzNnsxj0pGN2bh0kS47kNklSSoRvJSoP1TQs+Tt5nocuyN2+bYKJDXdKHWGMAgKRvZ26wifhgr6xSJbg4aa6dAbcBMV86lZHOgqh//Y4CZUJ3sLe/3AzFkQ/WBVVuDMR3h35UgdgIh3pIjDhCAhV60vUqIhpZapWu6ephWK27eSkJ7IzSWV54H76dnMILUs2NQRl4QDRnQFT+RDjCcSgegU62AgZB8yq7NpUbgoXqCZMvbBWZKLckrQ9AlIkXMwN95wrETNAgkRS03APxhjFKwsbnxFwuAorIZCSwKcPFNIBAwfrKtCFUBi+PiQu1am+e6SxwKrw85k9P/zcFOCE3sh4Fm7At5MAyzThq1cr4CvV4e4HTuNzwmfWvo5i/JORCMtaX7XOIcp1qjAnDMeTyo8OedWw2Kiy+jl3DWPvGFNPCWrIh641e6AlLZDXWZtSJK/zQF3t3hDWukF7RWKv5e9Vr3x/pkCUunC9hLKyP3iVrs8Od4jdTB1Q7b4W0xIM/LPDAYZmUhr01V6m5rZvMT0dd8Di4pssQf/gCMObjNJm7SiVPp6m6w/VK4K4q2x/56wTIrU3z8K+R2xHy/n3OyuFWQHOTffLtumU4Jmx0zthYiukBkUKKOaRuaFQv3TIDLSJrvsJ4F8aK9cK07D4JuL8Odgz9LNfby3dT8MFtBRhgrwzUycu6u/NLUprcyGe0/NIVaCPVFgIyC6f43gzea+r0XN8irBvsWhaJ/N3CXDZcxUXPbu5ozDqrznGWHG7fmZ94Eh/iKFRZpjk3IuA4M4BXtAa6dRhZ+v8XP7hjmljabXWhQ+jX2xlEBFZmKCinGTo1FhjN1ekWHKzFvD6PIwR8r7YehkxWHBmjXFnS2/7gy8ZrK2BKB2Df1Tb2SSt9HH1NlD3H6dzm4Oia6VS5asKZKCiNZeVWXCyYLdD2Slgf3p2Mj/LJ81i9rbk2eKnFhjU0979m6utjWNTmdRc3i8sGaqgnbNmWvA8C5wDqR3h6Nc2LDGJ+2x2C3dfC/n2/OEheJNxX02Lci9S/VqNklLRTgSZPJvKPJyKE7Dwsu5jZlqTnruYJwAy7Es76SZyCrnzh+a8g4LuJur61in9/doNYYsZLAVYFAozNeNdvxum0tkzQlZn6aAWFnF0Eq6y5kt7RYFqWMJ+6rSpk/6JKgKsdRN3baifB9140ndv6W0uFp79PWWg3y0F+KuoJiS7hHczG59+Id9fHY/yWgSEslbM2JF1gQsW9XmhSxp+1ekBJwFXJPj9DOZZh6wIsNL7DYmNBiz/jqyoQV7/MRSvZKQ5R3DzT1IVS2lxEOeyZAWumdJLyMUT6P/Eqq90ZrZ46OMuXBk46CwHByrZjPMvFEEHMSbCyahXewZg/5EIh1M/124VPpiWsOT1QO69B/O+F24u94vWEtwgeAmRPapFodiIbmloKchf0CbvwA2x/fHV2gNx8w3AFJjUcW9i7MOuN5Uk1G5n+CS1eN+tswwtp2sTMyzVSFCZC6utePzl0ls0lPfgIALJRYhFR0ZZ24FS+bVF8u2A0yE5N6Up8jyMSSCrYMjZkeiRObNIRlXyjkU4txKyb3/ZQeG4Myo/YRrTm7VwoeTVuvrlRR1F5L/DE29FhwwBicLzYQbdVWau4FGDldncwHJSbg23hBXj+7796SKSqyz1OTZxRiWf1jJjkvE3wt8uM8XGDo/c2dQ5kGaSKn3m7Q5Tc9qE5ApQUTY62EjsCYX1HSV/1MfQMtBYDBOKX5MXXWueEy9RM7mk+APiTjwiudSFyXPYDH8vRHzN2sYKeZBwgTYC3rVUepf1vHshgVv6bXOtyLeT58VhviixqQy1ZoAaERXnehRftsa67D9mkAykmaZai7aNMYaN0tu8NMXvAkIe55Ds7e3rI8fq48jkwChLWvU/RFzgYdVzJuggKE7PEHI2TWeeRMOluLon9PCANB9rHO7z/gB3OQzUBZmDkh9ujLnYcPUZrTjL+L8584X8mJ/gVRpiYHvWPpUBHTZPIXWvGfarvFEaAmw7VtXmlUQp/KXnboZe/QkaueCCGzCyxGVykaRJjbaXqb+NqqaBrjDSa0m/a0v0zJt6gKphT0wajKOdcHQtvuBJ9+cPw3wgf9VI5fSrxC1ioNl8U/ZID+c0kUIhEaZh1ZJlAbtFFVGJoo3NzrI2ZTzfVXZRoWbkDwFeeXoWGVqbqMO/IIulQAKn8JzY5cSlgNtanTtiSIkPm1L0s0LrqPNRh4cVjEvBgSZnRYn0+spo8fIueTvdSdZQ+WwdAEjuMCwfzcl8adA3G//fficZ32FnizIyEqDANrrfG2o7tJuuUNSOgU1rcIk5cyDjh1z9glu4BneXMvQG/O3ftBvkzM+YiQO9dysHZD1YddbIwOTVJ7vq9LwlfJfsYKMXmgavfcoQbGiy+QEmOPb8wBVmjCBZIpTWQVJ67S3UU5cOIrHGz6z8Zg8xexoP/v8F/RuDANa9hU61eu/lPBeNXMB2ArGEp2FAbNBQgmyYtxVbKc7/p/QBEYmjJOp7enoJLGItu6xPFJ5g36lrlJ1O7KgTbBCqAOyzgJlvGUeNlP6mrjEh/v2HbZJCq59Ix/yT8AHOuIJEP12vvT2CuwlZWeaFYpdIGYti6xw+QR0kQOpcl2XVrebPKizXpjtsyEhMgCCw4nAwKmDhZ/Tx7CK5ZQADdN/2/rw5quR18ov69BKCk8lS+z/hfMY5b8QgUH44FDJm61+muMYvOuIOA64ye44CLTOwSug7CxopqfxRh4TgcgL0wLYxs5mL9SQLvQseu0B1nB3ecxxEiCiV+y+jai+jYyGe2BBois4LKTMxvdwgFFlRmlQdToI4dy6Ho8ymqTjQwZfGVc+pf2JBZYdyq+EuYx6SkQ2+A13fMzyoDGcXDlXlrwYzDguf1UhB+Kkr/mbVL4pHomSom3rW97CKVgshT/v42yvvybB3WQhLY6cMkeqONUDaFl8DLr5C/40+Cm178+8Asiz9/2d6WeWwtHln+ip0IUBVckU3sBbieUWfOtgEQvyGnjsctACYEyPpDcIFQZcODqwkomImQTrbIakIV34cYea7UY/7M6vOsU0B0kOCCFox2Fo1y+Z37c+9YUQ8fPmIdaVXeIljdbSQdYB3MNBA2onanBii7t8Y7bi1XCiRwCtOCxtnbJTCxDR0YuLdZaOW+jO7+eEfv7Ndm027+SLTs+HZGjUV/B0D3Eq/y7TkNsZEVK7WJyk4QlqCDObGjlBLTQs99abYzoiAANZFOOkxGj6vlbhtTI5aYeiijszhqXwsj5tKzpoXVIGUGfPU7y5VscKllrisyK/JjDiBy2bFutHQ7xH+v5e6/xIYpkzlNgp/n9jukEWmv+4t8dkrDi516JLG7ePfmIpiUvIqxgH3HiZdnYviix/7sD1gUcDNAp6GiNAbdu8FY5vWXNyO8Xgq/0QNNV1x4IkgCltqsGnOwsDYbnCXRdhfWBYALhV1XP7cSXSY3Wm/jeflcB8sSCFSSFCM4kxdcXEGX04JnZJ0j9+PCJylfR6MBAUfgjqVr3M2lfR1kTUAeRp/ufPF2YRAkxxT5hycAmZ4pFpVMwJKJB0nj5K2wII8lZgUFLC0dHYZnbMxcP/KHkNJhzYGCHsmv3qWcCAGJvaPj7wSOkf30u2IXH/w3eadSt4rA9mQexpJOlyhRjNfo1IwtFZatLQgPaPT+4px7k7Fmy3ld2NrsgZbA220ShbO5ckM6aOjdLMSNlLfyYjXguvDg2qGcGkZ1szee4LaC6+R0KCFR1Kvt+Kgx6BfoyfBpfK9tIY0Jalel+08chfDPu6AwKmeWn92KTzu+Q0vLEJHheVijK9qrzApvE2C11pQD+2T2I4PYmtj4xoTC0NRRM/aWXnX/dcrdbJ0jqChZLZt+9IgCKThTqFNEZYHwYWWGFqR9KUjy/D8DWuWRPo/VYeg/CrJvhu8XAMRPrpCw75n47ntLMOUtjNgnSS8Swx8R/whJzyTtp/5IYScBsQcakU4axBlJeZd6YzHEHs1plibUOz6tDKznElrBM97fdXPf3yIf+2vcFvke2ky3efsYNX++X7YibakAtwOMRdrWb1C0vF4/sbvtgA6KYBcfL5fVgnh7qa0Z6B3Nc2Juubs73NBr1fasoh9LwlWfiGOkKZJrfLfpdaIf81fqnC/KD6OoC0P51wmZZOhXgRwhgfQJLUPSUwEV7JemsKzwv3emu6/m5o6gOqjwnnohZtbMuO3jHmKsx4DKrfi8gG/8hfyfr3TcLjSM2XEPoaRGFyF0rde0PVqNVTK+lkvsMDSjq9G0M0HWsCompxYuaNY3zou33D/Li5ypanBnCnxgcmm+nUN6adbdTYKeWPuasfzypPjsSXCnMaCofsrupvr5LxF1qXGfYlc2ukVkmHBoBdIOc8XA+mQ21qdfYTdCwcWPlk9LJD4ecYE9O2zrWH+ZP2R/OQqYlTolAjpUGQLH6UtycGeqlkd4NAS3PtiWJXhaN5Zp/SOUSGBZ2e+ldgCuy76shtfbI+VdCVwooUWXgiDTgvklhpkzeFnmOA2uCXq8ERNrqUnuvoDcSpG8xqeD0OPHrO2cnhVSHhXlgPwPdhv+4hKov6poab7+uiuEr3xmSGhCSpDHxW90XXkgXxkq1vZrcgBwGaiWibj+wu0lSI0G7iiH9yT6PvLR9VxCEIhGXAc2UxUybnhe7FDCD3oieSGl72MSWlR3U+58YJMmfSnALrYnVg1LmP+9Op9Pfy7ee44MresJtOswcAjeVxXgJ1TdO2oOtPh7ayCAONNpFQTeMJMBxp/xI46jgtZLT2jQqpMeXelwG3NM+ZvnT3ne9E4sWcRxWx2RosyP+c+y5X2zEPnAjaIC2070a4JZ3xegtwoxhVwY5khTXX11d5Qt6G7MfT+omhGScnHY5ZbhLisqAviUwkTug5APRfQJkTFRFU7xpBDCyLz6uJF2o3PaLsekQAK9JYfOnPsuRtdFwzneABpdWq4/4D1IdqfmLdmjpDmHgG5q4Vfy5FWIkIUbY/w9OwZ4nDgyVQGEyPwRZmoBMyH8/A4rMhviBrwpo0a2ZmioXxCnlG2S6Lo6cCrEoY9ndmRK1QYcyqyvxe4DDywz3xkrZo9RvFyY33zV+qf2lRWwR1KKLS+kyC9k33SWfb6XP7wSV9KWasHnBeQa5pF52j67XcCHXl/yRLti9XlvWtzG0FPEa561zOv8+VCIpcM/Mpw1jqCBTSxT8gf6SIHe/Yv74um2ImdOq22K+aSS4rfb+W3SRyOq+I8LvL6iuf8ZOJ7B6vjj9yvRoh3xfnA7mbbVYWdCXwMZBRlxGiLO3mwi7IeRjbKcx/W6PbHHfY2y89a7259qxX77qYxY1d+R03zljQtOBqvNFy7tw1sJsYUyM3CubjDli/YI/tl4KCm3OfONRhz5uQztupi1zLVshv87LL+lrPR+lHh9IVQgu8H47WJwRX3tLOs7sreMnskmzz7OsOmSDSRCtQRgxtCfumQrOV7k2KDUkwVW9g4ho4hETqrmZmgqB/Ris44ocSGqWpBj8BszMwbHUuyxnIrluP+kQtS8DwD9r0KawA7KG0DSoR2HWOmAY0OkS6bISkyuaNndL6WT8+ci74TM5xap0NUwZBBX6ROMaca7SOxUbLUu1+P0R6/u1KdcoqN7S7ihhTOckWo/4MpHzVuEbSxJt73vJWyBxxB4bSD4NwnyS/WTlPna7YWaUkEhd6clj2i0XNYNtC5ec+qFkpub+m2qqdegPBQ2/cBl/PHr9HZYkpeqdMp5/z5/pIBM0CQUgU/Vpn54x1OvPADW0Clcx5TzIcxHLJudJW2tM1Owk3cuKA9vwzd6j+Nr6PnoV/L+HytTYOTh1AUel2BCx0CopjzJ+79QGV1raUVa8JhRZYWMjm7q9tmsAwv3FDk22tZ99PfhZ7e6Rr/LOvTlxpdnSnzu6QrBCtKZ4jE1S/7BfykjMFWLvM9RkS88dSKrCIysUOt7wlwzQ7fMHRtUKicQXgId1Pr9QqJKAlKWkELJWUkMi3UC3nYopr2HwQTos4pjIY1zVIuPBQ/uGjP1j7wmUaKBXmubi2X4ogapYUJqQgVFu1prnhLLiFBw394xdDOSiRGM6mMIembr1Fbwfn051MI29Fansbg7x1qJcMwoUq/G27LhamCysXa7prr91xz0jKALuqfjnBG37nnsVQ/oxZCOTCJIoQinIEd9JuGIbwb5WBWlz1o3eE8309VTKq/wc2QlmoeyN/0tBCvHaLiITQ/LXyUU8AzrlkQMG7W2sA02Df18KgZwy4jNLnUjMKau18Qn1HxEtUXvOUxMP2KykdTBdN9Zby9VrfXCchIIofbs8oFhnCmCP39+kuYewYx7xTmiffKbE4RaGKh9bxyLd1H9StHCd7DU/cAHWzileEZ0FoDY+AGorqatCkAs1pA7WIiUJQVsV1roWpVhSXkBonFCzfGwfP6XORbekkhs3eLRbOvzqYo+EYlrxXLb85V5hC24Rov1/R+wz6fXQl8Ajo7yt2bBIJ8yfqW7vUBDXJdNu5igcugXd27uZIByw+NNabXR75u2G4jHPfGUcv3UKoLA1g5nvV/Hgwox1JHTkQXQwC3mA6qqYNmtRK8KRcvduzD9h33xFbA46e50Y1OPpyhuEJwQKXVa2SoEZsEXa7YTwV9z3PLTaAD6fGj9IQz+JDYPtoCZztAduTW7z8KK12umF6m+HNVGLYtcBBZ4eshfFnmUMhdcdeY2W7f6oAIp44NR8NhjhAu9uYVWVVNHb+MJg9WiLzqWRMAr2S/i7Id+ExcByu9wYwgpcesN2IvOaZM+IyO12EJd09Jeqb42Zb1lYDtMJoe8CJym3oitp4j2zz9j7bGag8MlZPwD3SV4ht9Fd5r61aPLwQ5VFG/SXsBFHIlOyBRBrd8OehRMO9J1jzcsh22jcJcQ6M3YdD9FqAU1Cn3PN/+L/SCQ6yfPeP6d6+nrVt73R8OBY+PGET6vC7Lj08YGeMNp43ejH8W51GmoipzeVmg3a45Vwkbv0JU58AI80dI+x1AiXW5VJSkJwKKCR4JbppaHtZ/aDIf9LVGHuP+BI9N6gGhnakEumEh477z9oQqZi3gYhFs6vQ5IQ/H37sCoPHIOHXjYhDnUXGRdcyjB2BKitUN3JQrxcd0eXB/MBDp2JYPFFniPjJhq6Dj4n9VWx36AMDfYFTAo0yS/KOFsQt8tXQDFkspovil+bH7qsBqdVCnlHRcuwaeQeUS9VDlVuvwCFII2/X3jZ/h499agxIAKTcslbS4aV2fzvKTklItBqrB5pbKjtqhjKrKsVNSsmJilFT7hiQjq+iNxatJk8mOnOCqYviwRyN/yCRtR3DJlkOX0NZLGLQEeQJwCvrQO5Zq+jgnAaHJwuDaqCdQyXIG+b1M/Rntyf78f0WDXWGNnc+abiRQJ0Oz4LrR8VKo1kphhYfMrJX7v7hz69zVi3ekyILfEGMaOq0PnuEt9wiggkq9pp2fI7ANiqgfc1LEw6eLo0B2EJ3seimXQOQbgpr8bAUv48PgFk15LRAMcdbZE356G/Rt90qj+oBYwyzS683RtA3/exIbmjzIWa83LtspvWvBrcVLI1IjUU3XVe4vuIGZ62ZNzjsAs12BvOoCISz+pj3BNd8AfW7xvDujTsVXJNt3mPbEP+2m7uzG0XgLxXDZevL9zjytFsMFrmlnE8RFS9bLO/6Q/uqh8k0fIp3GDg+xBdO8KEqLlbs33EowxmRn0So8Fw17BNhKhpLfMT1xoUOzIN8nmdIBY+nK96joIKCxtCJENrbOf2Xup8YMgCcZUckeR0+PGSEoiCkJ2Gd2X9nns5IoO9jWyapimBwjsaU9Ncc0aFUTS5CXnmz3omc74g1dmzEN72SjRBptMzUvjubWjh+SUv85gX+bkAi+hfZcqia//JmTKH2u8l/hTkWOVVhfMlV6KPnZESkCfy9OtnYM2GaDVNedlT90CeywYsusaAB/Zs9+emrAid9W8vHFO4sMjnec3tH2VKhcntXPgnpbXIeU7t7Pvansdhk8OrhscT7Nq8HM8KEoT9DvnGBTcosxsvg4M9vMXNoABASjjQBalga+mpoY3JQrashS6KtzyMbzeX27YC40xiYRLy3pwaXHp1+8fmJZLJKNL+1SsM/gFn+hy6QV3YsNmdcRo8DosO64+qHVaHUW0EeX4PF2IHWjjk0jHTCpznrepFl8uzWEwZsJHZJ0rhvpb65pl9TdGHN44e2afOYcUX6oJv6qypvPsfcZKDjFUqS+HEPCVzDpIxXn4kpVxXUBGn2TYq2Dn4bbdgMm1YEh4oHE9c8OKkN1Qo7ghiZuKe9rNw9cWjx3Dpk/zjrdjQsiBSgB8ojlMctpWJhFbGSFMH0vrXJzVMObD4fXK4hT+JAJIv6KJwK2/Qs/pazjgu5VAJq1qf2Fqb8tzSma3t6TGAJhq+gYAJkvHPSoNKDj9WVqLcGu0U993eWer9/AlQ3hB8vrfoGzgC2vYWAfLoxFCWMLhx495aDOOv7FVyGukR54HfWE+mTiKyyi1Ik+zQ359Q4PfIEVtHQWB9KuckYrz6zmRv0FsDxNlbqrEMFIrk3Le0JMcFSk0TNL0xxqxbye0mjx/bJAhZzUkATNL9i+91STCOI0rYtAR9h3TLpGRG1iAl7ERltKNVG8DpZYOc92tUx6ZEoe9djaUj7UvPVYvVFL7nkC5+xVEnC+mlYGzi/0mSQPZNNSStaSkmvkHrsQOFjdE2cK6EKS4u1hhmfFCRIqIzkTFyFf0lN3QE5wC2/3GeoYDYjf2lunq9IG+Oww147bEIvcDJx91XWY8bRAmnEjy6Z7twl7ByCWEme7PZst5yePzX5asUUA1uZw39QjOtkz2CfQnjuydIJaK6/1fA6iHSa3sQ2XevgdczAK2L7aUfGZZDxGERUNhWP1XN7vGIxYEO5SHdWLOmiKBzeCrrBLAOWkyKjxvaxWayZ0GgjEE9gBglp7Jgr8gMor+groMnyBfp9oMB+1NjzKxCPrgAp9eOCGX9UeFzoib5DR1pTn8EY/1yyVwpIDZN7l5cZvUkNb2aurTPhXD2Cr0Vf63nVbC4KtLfye6OrCPJFSnQP/p8+q6pIAjisOxyn0x8ELUkU/EvczYPGWj0eQbFrLtblL5AaBXZJoMdrgPyLm3jbC01nQ0BfEsT8CFonAtc6hQFIHI+RCsZrx+d1axBypAlJ/988yJ/gcV3Fk5N/bb2aFolB2fYdkkb9b6z2Xac63cWPgpUW8BjCUo0FFFufSRmvdlrOKnPHFwEavaJLE688rWK8tJmZ/lWE9MqFmdr675pVnPieB1/8ImnBxUyUnbHHv7M948IUp8BPyUK9quu/LTAGjl88BPc8SmW1ieIYG0JuCcQsUb5mX5cLypxktHblPfMGBV/ik4lO13xHcUBp7v8+CXR0UihhLq+6lv66IdIr3WnUMLwvyW6dIj3SDLkB2xLuq8mI+oXMUQiHkbolTaiCWLOgJ8xqGpIOE3Nf8gf4oay2xkwjMppCKS+LlfX8PlC5x1B/184iGVNBLXMpv917BZ0dwDyPG2cYqLxR+IYMs7zQSpuCVx/hGXb8LZ+K9s3hZRtStaqDjHy188uW5IKMM2jt+3VztFWJ06ewn8dZqcScHPtMqDsp8pS51vsLk5lIDKXKl7MlN8TefewKhXoMl41CNCvxUmB0QpqZ1KhO7gMkAEx1IkxNSF5lbW+imBaj0kyAMqk7mPPdyeVLKmlHxKOmsgcO6JWSaxyggxh0ACyx370mUywDFQXlELNTt4xmKnvThFk/VOVHZ6m6TgnH2NWOxCHBxvmNQU61MgoiSi20oLPfwh4GFGf6CDgX1P5/6Yc6fIkribZrceW9KBBpwS2z+wTMTbHZ6DiHcnBPzJ26GDm5QBUdHHWSccnQvoxfV/LZXIVVpm0eXh6i2jplk9fenYrg7rGJooIWhzw6skZ//quW8y1nWBzZ+ormywpbukX0GWYMw92h8W0BDoVq+sy8rNYcU7t/3dKCsLCD2kPyI22awqwwtwEVh9q49Bl5dvDNY1gTCRP5OtpITGVjeHA9FspiI/hOEtSlifZC47nPCZP9APY7GC71TCedgjLlFY07fVFn0HwH7DQYiz4uQI2pu5KaLj9hJpzpFAd21MfeA2xKV6ag1Jgqp/uI7KdKbRQxBSj5C3wj33CRTW2Koq52cgV1sRZ+TTU3GREiVY8bR7N74PQY/Yd+yhapnasEGz6i1abfm6Rybuaj3sFw6brQffAsOGsEaYFg9AEgxLYx2Y9k5VrXM5GN4GGpY/sNKbZH06vOmYnPAHSJ81p4yoSTtHjoggpmeL+LM5A+nO314M2sIE5WjSuKiob7Y8h8A0k/FnINGlT7ZkIUcIvuR02329WOgzySCYkYl0IXRQSCSVsjeL1GJtLZMygoN96e8fXza6S4BlNiVsmB0QvDZ5dkXKxTi6oHZYz40WjM2hodPrOp2VYUasWcBY/2csmNHoL9GXd0DNzFizilAMOgNUQXhy9vsRgO+CdCdsoSVAt6y+K+TNklxnJb2fIY3u1dpr6nBXlLsxPRJ8nDgK7IV+DRm7bX3hNtxPkgkiV0VPJA5YkTIoCTDUS1GgxfxLan+hzPaf2tz86Qy7odvd1ydkG++8ekTul1Wltf48HaaPhcf8FhT7H5fFV3736qMujnX9pLdl1hq2RBlErnIbTmg6qnsF/XFGbgFcnQdiNbhvZpmX0WssVDBwbnyCwHcnjdnAdyDE08LNYSAWKgR92Lvqrama87MJ2ZiZ6oJWSxRCS1okI0YYiAr0lhRSa5PudrRjKBlt6m3UKIIz3iYg+b4m8syfw43tPu1biyAv1UMzumlwX0WaIhczGjebgXtTPoKUxN4bnOMwK4vmpXbzDPwB22goy4Frx7ZdFEGNXe9WheVX2RmQlWyAeZYWzlktgJ8U0dZEd5nMecMBpw81IBnwV3jc1rcpU9C+YSmcqGNaeRoAPXUKWnH4op/m+wTBz72Osb34u9aukBGFi8ezZKrZ7hga2MneGVr8OakUXb05ej4uUpF3ojPTdYjbSuQqXb+InTuqX228dS/BjT8Abk6+OK4qOxVxhpinbigag1MlSa1W6gfzRO7Q54lcl4Vm6mIUq/7eQxRDBjBx/G8xZt8di8D3HZlz8mwlGSbQ6jIJ7r1IEQqfoqlNnZuKTUObjCmby8ofxSM5nOMB891i0q6h6jF0EEeptnM9QnSd66gj3MNoBOY0F8NGuK4gckxBd2ETp8Uy2kS62Ys9xWOKWVo3/cDYG6jvyu+LKdr7RusrYpPgyDOG79MJ3od2YWAX53O42vLI5EThYb6otd8vxylHVszqXcAM/l8MxiQg9KGpQAR8Curz68acSoMLmNFoTOLitbgJWq1gG2S1oKuIznXRrqZaa0Oq52K2shRukY4aIFwWYmMAEuGTnHYJre2uS8cgyh+FhwlY+35JDpOFMhnv/HnKcC2uv5VykIipo0mrUflr5NbJBn8B5q7qZmv55DMIE7dD1Pvae78FweeS5mrCIr2Q3taSRoD5b3mKd5lBhPJtret8tLpUU/3G2zmEtgHI9mzyryg9Nff/ypXZdPUEKtw3bVk5zjOHIi3gV0c3M5crDB7kqdLBelAGfz9+oPFzJH3Zslz2YGNyPI8Mwimm9WgVr0MwkRRF4/Xih/1WaRrb+w9F4NAmre0Ls1gqyNprt9SxQPNjwaceY/YNWKbQrYENWHieK9st3HHR7Mb6J+vVspyurxk0Lc3DciiaX2cLwzuSz1aNZhIEOzUERLWdK37Zmly95xISeUBGZykk9hhBXPOPPNIcN74VxT2wJ6YPYPSpud/aEpVJhLwkRAH9OqPXeZyDo2/W9NwgB3LI8lCm9pymcRtNZ0mllFy9IflCN4kJWzP4hHF0dSQm4QKtbpDCoaZC16XhMMDbp9cM0ENp+wA8JIR8LoF1E4maXVP41/mUBMKHVAR1ZLivVQe7YzChbvOlkfscTVS85DXgDa1pjDp7d3gppOUKjOt3An2yw1iGOrP/FW98a/dJqgo5vHuFtlpKD8qrpglbD5sMaif1UyqTIppzZI5L87bN9MMg4+OLbBB/OStYmrmpfuVsus7N7RlzkbWH7Bw2sdDglPnJEim17Hn3P132jYw3pUYzZL6AV1ro5QwQWU6srmbHiz6PnZ14FdWeNHv1uDHxzoTXAUkkyGDcX1DjCQLkZRu1OtOpCR3Yoho8eI6Y2R48liDXTYv5iS+VAIAyYBvdh8w7x7sEr0qqv1YrE/582e5fWiKll85fg6oV6g4fALLU9l0VtJ/FTVvDTLNQD3Yik0z7VOecLXzHKCpnXbx1MNTs/tVwKEj7XSlXHCiRz7VE7QBH3PklCt0iWx+LQhEJAUnPy0SYeAyDrti2kNOz3VqCcTDbOv5r8HMz0XTTQcdUraOldSNxZtfyqIVNmI2Q7IUdkYE7kX0xKFjaeAH9ce7Yk5jA/QfgYleEtDhTr0/NyBNE6fC9jpObtnPigl2P8niZirazhVvMHFM+pbBcpljIU+/HtJS5yNal/AUHR9HEml4i2wumRFwjie3gxls3DO+dLpK5dKjRd/jJKlaPZpBQ9nhGPr6XCX2Xd3eV6Gu31qZ5j9tnLsKL8sfzIht1nLs/cwBcJDqiOfeLfhwubsm0QDozf7TdpV3FLmz+cZFhDtS07LLwQ8Z6f2isZLS2/y8sK/K/Dd/ct51Y/7/PF0q8Frc6n3ajzcTyoJeltZ7ugdn3R2Eemj2iRK1inHH8JpwzgHwb52vZE3acJXu8O3gOl84Wv0ws0RonVSeiD29XHX5gwRNTe7P/1V7aErKbxZl3IIv+R+0E1pjUUI4esoPWmooEfC297+CDzI/PKC15iEgxkoOXQerYy7yBlwZ1XTOw4z87kfWSbB5KnThXzI5T44LPuKlvg4L0o6AYxOWqr9P8kz7YdRVXi6KPCdcD/eH4AHhLJOwnMJr4HCCbdK2swwRC+i6Na5bFCq5zxdY7czgP9vKgCRMxmNX6qhFIj8JbeVJXT16eRkgFg426FcBwxvLoMsu2SAV/8icnYppkcWFIMEq0q7QWdeGXXyk7XxOAyBU2WI5lxJmoAS0KWN6MwceiQQhhXQCA9yXKlr4EwDiMa3ijr9frEO47WyEWTUiXlvZIm9lwZcegMJNW1VRin/dRCpP8MNq/E9Tam/UsPYsOFrS0orjORpk+Ku5JAUZm+Qe0FmNDFnlud0JddAVxSl0zM/I9cSk3/dxZic4fkHIgN+x3zgQNwOLIA+zlIPHdFHBlKhxJGhtEz0FgPfUAFIlseYGsZ3MAoQtbb6Bjf5ULylCryQQ4lwuw8uWqoRwJAt44doVeLILUYgKUwfJagNUPJ3JpjMskvaTYZCEgt1v/3YRDvbBteFTf6raZcerDZc3XDyeLQxBogdlrOCAgCXNvZUjtbtFloxNDlNx5FqEbeacIkM5SSqRd8b1sDf8n8Y0pCR8kfrDeA4PzRYF5eMpo7FVQ6AaLTsxUT4XhWnsI5dKk1uRFpXml9PMA8lXS1yXrDpXmtgdtqgPdVw7ahi+XJtT1K+FYj0rOo8Le3zAbHRmeUvFXt1qQ5lPOcfYUv+dgpKbUcOJbeSDqRx5GY5AymmiKgTVlMIBSTYlPuT93p7qg4E5wCOWd0D7UIpNJBQu4HAJK3dXjXAGE3O1oB1U1pMhMepxw9O4BI/rBtSaYOkO+gRtu5CKGi+zZ6WUN6mfRWDcQD9scZp4O1rN2BgIU9KOG6LXEYhz8SoxxhIUJkhPjF9nSNYYGlF4YCE/itX3YL3MgQEvYyBfi3V/jkQ2PsuRaHe/5UxDdqckphrW4TGfSILPhPwOFVHp/PUDP/a9I+MqI1vOcR06hmOHbZyThsDhR/EleEptDte9+ijfN5Ppcyfpt10tt0NORQzc2XKycBaoNBSOw5owhInghrp57grj0JEEx9bcs/8xu7Q10sUO88HBrBvWmBZRTKKsnNI3F2Usb8tnezj+m3eqx6bWVbDy+PlNUuxGfOw8rqlIK4lg0y+OtcRQ0BdL5vEtzdGyagX8YYHwT34jchhDkJt+JvxcGj1hNv16ZTpWrez6xnyeeobyV6GP/7S3LQrV2lnqk5S3E6GBhSro42nwdIiQVjBmPXBNF43f/naWuQ4q9fttah3+yWWhbq7SslMxZRgkDlRD+RZiY8PkQ36cZyUM/L2Zxcnto3p5LZ57oPKCWVnNpuaSsk5KbkXYfIOahu/H5CWjS5iIhsOIinkjBjwFlXLGUhFjIQQJ1zgD35BVm5nNqXOhuy0frvKsHJsUNeapkPA/+NbTC3sCV85AwmnbXT5CxNkjnrcZjDDVBQyoPe+3rb01SXeUAZdTiHApFUka2bBVuYwSmovkwVs1hXtlUUhhTvoL6woZj99priqkuBos3T1evQ0SL9ywUQYob2WVirmXzE5Kl7r3NhTXZ6rQHdKygoiFCIy/41DO/gpip04+GWGJcyDdHd2HoE6y7C4HJgopQY3FWfwSsvBszN7G3MgaInNs/hgd7rC+STzYNXtdhsnwnVPe9A8oQwRymHR/eG/vEuwNiG6m25oQl4CEMNzXWTLyYewdKwO525KMNhz5AlMyN946vPeDba4w9q/zGfttOVOtUxW3sMsPYyvIRgzMSSAwyyNCkYvC5l0tt2bR21h5vC908QhmqhMPkT+4HmwnGTB20zuP3nekPiaFSHky+NzqP/DW4TBBY3pOOfdI83myfTdpWZntyuJ6kU+jkTzCaE/FDORKToztnWhDII1FdMbn9ID4koafmxENQ86hQAEEuH2L4WrntY625+sDUD/qMw+BrF3ay5rqu6nI7D+aaq5iERmrY2eyLMWy4WMvzocQQdYDJHdOsa5VC3ASitrWSHIj2uzRG74gcl7GhKYCL+rhtF1MqJUOdBSY/HMYHVrh78G1JvoClnEYGB1bw/nA3TeSTLjjOC2GSRUg8nQnFm2R5hmUHii5TMvxWuVLSusyGsljh1enFcM2XyGwrADIOuca76oWtvAiOZR19rmUOu6WcGuILr50DMiBew400DaEBMpOkdKSvqAAw6UAmTgmzlJu8ZUtzazIEGs/GdOIro3uoJKQ9jfvss0SsSvQke8YlZ8wT9MgicaM5Y6fMQqliX9vevLK2ezkaMbUDYLDgI973lPh927hfmRkaXaoJsI/eYtSF1LvjDK3Ma9KxJRHVgJC3lZrEssA2vGAuk2Y+WgjbU5AZugnIkf+1JBjjyIEFgvHW6lGBP5pqVeOjX26p+p3h/V2XBdefwRYcdi/4tsy8psRnmues4WsSKwEW/jH0psOPkF86/EOE9fqMBg8OBVPIybTyPE8SBd0IvuNXfYCM8Z4CkiWqs9kid78OynN3HV6nw8CybJD0+NqCpwD9GsfT+seBCxtNjhpr4tJRzWERGFfyGF60iDmvsfLirFtyo8DXbra1VvB5n8Ny/arq4/XCNvpZNuW/Jj3+Xy+KKTt082jg8M8BY0mWq6V5rFAEtSLEc4RM+LqA/0X9ycwkrCYyV5BFMyuKmi3joTUYUQhwcC9NBXf2qrZpZjtzHGT7aXv0FFPOX4kmiko+JsInox8Ph14pLbTce3S7vE+zdi8jHB4SauQl6H6l+qWg/M9KrKl4EPC2PTEuN7ab7GelO7jhMjHgUIME/TYcqVY25fS80mrwSFE/9sKTRI2GIFD+3dY1V9w1L4AQE4xF3lK4234W0h9Jj4b8ioJJDtZy1yH+HBabnd823zOe52DheS717Kg8v7UuSsm+IACOaQLj6Lqp+OdYDkdF+AYSgtpT1e3bgkaLVZw3EmYxFhAQ/9JvVJWpbrLTZ34pVLzFhXSNJf6lc+4ieEY8QJr8PBn/nTsUqS16Q3AD4r62QuLbDeOPFNI52DHZdXQHLOjr0XLjuqyXzkhi9HU/9dFJbW3C3lSCUofNT9ps4NyKFmDQRzNRCxhXT6BnSj45v+bEG6eb9h0IBA9F8CxXB/3GkWxnTMsTydmqV3PmYmNen5XzCtl0SorkmkP94SRfy3mRt2hJcJDPt5FZRdcXYdpfJ8rcuHfVTZTWi2ftC2MJixB/wx2L7Br+JKip1Ar6TW7ShLSGXu6tYKHOddwdAOvNgIw7XrBnoQIAamZWRu2/xhhWoIZ4Cu2XnLGKzjkURGz73LG2/11v1dP4wjlfvOTIpgp4GyiSIFXgkNmnfb7f+bRyAF//XDYVZKBph+Q3I6ixSvwWIZo3Uwp2H/oNEZeBeTSf+Q7Mu5QhYMMW3IoT+zVClyBXX6DoUHH+0NZqUdaUxVADWNoqa0ZdA58sClLfh/aKxqeaw50DNb33ltzRsJiH42ejv33awsUP4yn0vjo5kRSZK2wp29ab921gy2iEEWv+BZMP9vSgotisJuYkzSC9Q6qiv+TVDqrpY4JH4e8Dvl1E5CvgszDepyb65ug2E3yhljpsDVSnrt6L9NhY5inaZsrmDNcw4lxezy+850LZUBkT/2lJ9lYjBXHfNKUtAP1ezMzGY6CgvF/R8cIGP4xQi/xRiBdbpx1w0+eBwWyhARsMpww5zSkvyJUG5lFgnOONbsdDRZdOhqDCoPcDqDgXS3WzILbVQdsZasCGKRZzBXy4nP+5dBkegp5lV3MEGeto0puJ8kY5QGB1G2K1eN50zltMJIXf/sTTMwpB6XQwikKrG9oFn9ZFffOH1V4AThMQZKp/P6bCwMXGilqC0RZvWTQER7Ud9XAOvYQ5YtyFzI0IItp0ENlmiwjFH6mGQhjsHsl1OyBlA2uIfpdm06lp2rkNXeH9f8j8qITuLFu0b4rIFiQ+Q4Tuk/+y9J0InSwSSaeM0sReWfQ8KXxbOBM8Ke9/PgbJvc9EfrErfAbTcqIP5s2O/vLnXr/QAglxIz+gM/buEZtolCSyJDuLGiMyix55sXsvUZK+2fNSnvUOd6q/OIPp7zmqIPBt3D5fcnydR2rWKl31EaEUDGk1hFtneK+7jVT9dvNTXe5DsVPUFK9GDRjuw0udiJmuIvvUnGUWhL6MSAdK7Rtwhidk5dsBlkWxO1Mr3IJHHnbokseTIzZibxTy1iD3ZWa79DXjh1aZvySOKY17Tvo3nUhwV04ZKPwDw3USZAlkX+SNRl6A9uQDmgWgfHLe4r5sPPfLAlY7945fLkqIoOFmMjSKThhghV/uF2XV6u40y1cAyAtIIejmEhAT0NY2pxGJWM43VBz/HuVLnMYYO22LdIhTUK6azO71QnPTV/Jn0Vzw2yjSNFwPvYfRET63/YYRfTvv6qB6W4IXu20fdheKJFm78Mlz2YCrbkgnFuoj1QwiBjyq4eh5ejZXdW/idSJXu0c+VBP1dGsUAXpzhUd+8Ul5tVmljmG5291fCPx+T3nvEtv3Pnfala0H4UgFp1HhPBLPPHp1BD0FiakE/MfBBwg7YCyEHl2zClRRctY3gPR1F+NR9cG4ySQMcLnYvtUlyJoBJMv41YNFW27h1JQQ3gQASe1SKxqm2dUBenqCd12XmnwR49IIPM550yhjM9SC2kiI70sigaq/mYTmnzRQ8JW1yPVwv3wvVhNM6C2djps9WxgNIkYF+9F81o9eZQg4myYGQCPmaUMAAQglMPG9aHtf+jMviEDEVZnvRgodpqPk46YwXLsW09c8EQJVYfvYFc2qZHaienaqLqjvOwvsdXX8BFARJcV1+XctJhx9BfXS2XyyVQq3rEBjMWH8z8ptBAWw9fBCDdaGK5Gd51kerrjsKpVNYZ+ysb89h47BPA63l0EcyAzTl2NH/TSin0lpW04/h9s1zwla2eu/hdIWEuxLxatR3NTrEclUcdFFHSog8VHTmbeg5J1bYyDThp+sjLaAPh/g5+70bv9Xf3nPcHuPQOuiApKvoI8/68z2NYai4e3OT4J4KSk4Fln7JopRiLwuhXz2wFh6Rf0ml3m4mmmUd5eDCsbp5TCHn5VJ251SybEXtbmeUXlW80PEZhpYXHA/3OAYRfWPSD8yjBuLtfC5wMVSEJSmsSLWUVQNRCiaxq1KbWg3p7RU6l668SMsunkujVHeCPRZ0QcRHDK9/loSXVFvlx/bv5wLofYVfTmjtrhWRAliQfiJ1VEKLLh//rQWTy7TmjJLCViFFhVvm2VS1Op6PsJxiRMel4aK4zFR2rKnMY6Lhlok0cJc8E6IYFJ/L/cNaxev2DVOen+1tRmzD/6GpgRV+vRBAs6I6insuRQzJ38x3Dm50c+x8YNCzC60TjZdyaIMynI/7NuokOn8P5J6idT0aCu30lS2cHaguczyNhTQWKujOgqMy9BIUwzR8GEvcMjFPDSRrMZlHKyiD0HyMiwsFtgI3f4v98SOXgCSP1kZnrF//ePvV8sDFVrBHtgQ2iCqrNhMBFyyDACDMv2n0/nmLbXwPCUK7hlgxJ2csZInCMwAutmcEPlecUMIT0/WhNqjgaOGwBbD57eUfCH0MH/GjLFcKUV8IYPMLz0h/EQXyN93kALmMNbhCezoo9dWmb+G3ADI5hHVRD8kqCCGhDHUdFoxYOKcSXvgWaHYomp82EL9pDk97qrJXWm2r3LkmpBR2Ko7rX89GL+4swvKNUOPp9k9eVEUuf3hLH+bu6wfE7arRLLhoiM9w7QOJHV5gdgzXLiholZEUyJ5bMsbdruJsangNpnEQTFLRYGWL6UPv/QSErzDEsqs/+h6OdS9D0VQGYXbODJBHt0hnNrYcBi/dJeJvn6Be3vC9VWaI+EFR8Pj573zfNNNV09Mr8brW9EnpaqSDsvcToSncmDSiL5yIIEDj4XWRShEt/VcF/Yk9upnaSZh4MKFDgKmdHUMCQkXPtgq7qYSvwhuoST9Cr0WvNxzEGInHuaSwCQcTcS+6a52uoxA+/fefTtWyqC4J/w686TtMGansizmc9nEq1U82kD5qDJS/LlVbCqgZgzo5Fwb9iDqfqamZ9EKhatbqwheB9H+QTGQpPwL3mEONjhtku+HvfDPhqAK7SdpFP1gEyWweIkHxWVlgYV4F5KFgSX5+Y5Wapvpl64rRSCTdGmGMH6fmGtqbEaWzyNcLvZ/5uD3ExTBMEOqdVesfMzMgekcgzk5wMwMGaJR4W3BuRn/oH+y0F3qQPvk0/GNMqzux44PUjiJeIn3MPYtw3lqtWKVi7Y5hzq3pFegVhowI45idZKzsnreDEbOTJtX/HDdwEXVFwkKU2mgj9KrylW3sw0D+DctKFpee8nRYChC6eT/6ZDHpLgqWa+z2vIryaD1WPBjMZaiD7BUolCcz7AafDoXstsm1yL+wSSbAnEQUWaikMQcOb/ODnl7NJI30dLuRftjEKHxh944p4acgLczOU4TqwVig5Ni0mx1gmPoRPiYQsPoRwu0ciQZOeZskQhKx7yuS2kBYQPHGiwoE4H+kon1+59qzhss57gc9Z2z83FKHPBQOIzM6MjcZZJgeO683qlrsugoSc40lgvVQ3boeFQi8v4Wdypmy4rqn7mX9I+PCWwkmTJE8yxRHhh0KMsBKH8fFul/nkRF8n3DQEKzQDaS41MTFFd/kMZu/uIzFpSkfE40djzJ7xPaEY3gFYgMCUqDN2pWFiFKa4cB4egPWM2q2L3dI3uJKvAuepI044CEdY4F91vsUMy1lEV8W6oNwjNMJonry3PPZTvIzdbe2WBdboAueRCkMAzVxOp7xOd6o7FKLCU5P5tnoRaZaKZWc1IA8rJrQWJrVJ6LQ2LNnCJeaUy5wZmfLTXo7uErvfCN8MR4NCKGMSl0VgsyxEpEjGr3ysPQ2pwo9mbNUDjHDpcBsdPCHPKGWYZLjg821N9AmaZAMKD6jPvUnuteJ/fSWwQxi0Bgcu66k4jQ2fQlqoZRej/4+U3bvW7ZEVpyQkVpEb6GX6WuTfhk2me6+2fTd0IYXRxt6j9IgQQQjVMvyYLEwwydCqk0xi9JJxs+NNix1cgeAUiPba85W5yN0KHmM/WV3ghdNl0hDqZZaYMQwixS1PtRZ2i9uWCU0E6NWOxGc+3HmY0Rq2l95VP8CBQIlxZ8Tj+LWX3du1ugu5MSEYtLdtgnr+MWQz22J8EB7XJ8pxAfrle1VPAkGmjea/EE1mjmLtdLYGurQvfWPAQxE5LWk2kDR+IVlDGRtAvjvPB165ujJaZ6zpxbR36Z+5G2nm7dz1eMzhAWQhKL9ri82jp8ukTvU99ITrqITWt5giTMTHiuFzDNhsoSlK28iKrKjLQ25mepizAHWCvjGWEtRGZg88ASQfBAjt7e9d8R6GHkzkDQg6dF4GD2yX0bAuI4y2FGunhE+dPsTsQckCH1cRUmjSva5JU2iXlhoPNrhdAFKfmQL0M3YqvD8nWiVD3sXxLZFL8fF4khdEwEvIbZBzKOYJsxkk8BospRilbMPVOgKkXTf9QyOCZoSA6qXGQvxqAoUrb+CVIvEVTHdLJmSVh9VDbzKcb8ASzHHcmmNspeldxwgamZB7IcSGBJeceHwssStfQfMDmgteeK3zY8sisSRJI2QXirvNg9I372RJaCtK/Ct8dzkIBzs4jLTMu0jiFYoHEcgM83f3fPX05BQuddj6wFINmRPizSMYlY0qwmIG/wcEpa2Jt/aTy5odWn/ps7FH0oBVNhQ3P5lDzfkvEOG200dJ7AFQuJBvo8/RZ1uuz7akzfbabFXdeURd+oZjnAx22NSFDuFfQbwtsdP+Vtz5VDp+oZetMEaZckky9JPWIge3ZR2RyeTK2WamCOHtSjFGn7lk21u7g3MKO0KjWu5Qu+oZ2LSGOvI7tOHCFMlRaXpozFXl3ESuJbDasIyz3UuH7+PeG3lAI7KR0+AAj/320k8gtz7085obcCyldi3LhMzIjBcWxZdb4TqxBMyagn2780Aieq9Zd46zGkrht60B5OxH5Dmh5MuEJkcKtcqSdvp+4e0r5boSimZv6Xnyq6cMDi+EzwoQ7ZjE/AKHzOjMVzOkWa4omQR9AgUl1ruvaOqpRmI1AQQpTB5OV7vbg3ZW8lVOMmuKvE9comiNGHMcFYnt0pa4xe3tYVSSsCdcAUO/Nxly8EMS+r35m8Z8ItOeZ9QI5hgAhhK+U7RCnlUsTSeFF+KLOb3VCQNJ8sXr2ZT6FjlzvpLnpDNP7hcm/r38R9cw6wxGWfl3pYvA9lFbUhbHu/TBhDrgArI4d+hDWZU9OGTs8VSfCOaEPO28p9O+bNNdYgukea5MtoKZizj76PIhWhsaShJi2e6TN+bVIlJIpqFTmN50M65wqxj7nREA3qrR2eRYGvn1NN6PWlvZWxc6ZAl5FpJoObkyZnkJyhcB67ETT5EK47t8Jc/Y+0ZfBIWonvnN/x80GQmKU0BbFAah4Q8qLhX+yqrcJzSDjLFVBRW8+lGkvCPSEU8UmSmpRt6TJfpcJgWBJ3H7xfqGEjEXBo4gQje1CTploUILK/ahuizTGlqYDhhxPSWcm0chjHkbKj1Of4wjN7YBESpOOwJpxmAWd0i3opdB2gwsaWBNh7jShrtAGY3CPsVGiD7778BL1u24mWfpql1BJZ8RlMz/2MSNrKQAqosAwV1l5Hljk8ZixJ6+ze9q6gVvQg8MH1Z7MP52SyZlMltSJ7SgR0KVP4hn3Ldqjt7WVVA00/0zDNqJ+cYZOkEtXJP4cCBt2z+mbcgNUWuExN28C64nE7+OMUL2TRhzkgzJJ//3u6gleUZwxhh3gPjosHIlCJVrZnmS7bUwrLaeaVUjSi7vDnbVAzS0ORd+ykFtAD+fMT/CKpCHI1oeTEDSzZjD/B5qnL7KoRiJIN0quAP7vcHee1m46t23nJLZ1EcVrym+P0z117rjV6YFVks+/GmixRWk2mMmhx2WT1QEmWYV19rZ6dyVDvM1BH0fRfNQK2UaWfiJzriKpOjjSrpY//tyiw8IErIgnrLzef8SiI9jxR1ndPbnRRNsgTqJSTy79Lxse4AcjfdYpmJuSA0DdznvsfvM0HHlwLmxt6bk7xf2m3TDxllpxXufsl4+dCUPH1qIcw3vycn2SEAjreK3RU+k7IlUogZ1krmWpPpQMlCv8+3OR95QEnu+K7Hg5B/6OMW6pGi6NcscpRsIdFtPCkU9AZ2A82X5VKuOGEjOcY1e+JBoCr3vN/hueD39ApyS5xrGkXdaLSn/u2bSaC/V83rrXOITWrpm9B+TCu97TSxGvK7pLyfmFErlRcENLtIm49Qy59JsfIt1wGG2eUX//mO9etaAQgdck7dNVh0l9zg0+pzbHR4kTehERuCoX7fNkDGSvzsEDRtfS4gx/AaWazzrInWDPQVPcMUWHiO/DLLpL9NziGnxTbqbxN9un1DbJnIan5+QI7X2g/x0hWDQW/X0DYf9SUGcvM8KDNsh+sZSQBbUsOOfWpFrXMHR/XrLG4G6bb4TWWvgKicE4fdHjAnLsmAEn32A4kplRSzNyRIRi254MqwR2QVQRfMy/IAY5xTA3xC3nTaaNT4QxjHDtd+gf3T9LfVu3vpr6v1+HGaGj4OnbVp+kswnFuJwLV1wBbaZMGlqkNJhPgWru9CLh32jABZIWzH6wsADi+SdfJUaNC2NsuOYT8Ax3nu0hy/beJNwk87qWJGX5y264lxjzR1vgMOGuDQguF3eidDAaQomHVEiBJ3RgckkkTCtR+vkufAlrT8XWGwFMPAVg0W5Eqk1Ak43En1zrQOyS2EB4NcZQ9taQeSlXwIMDMwuEsgdnfjhmCEcficA9jY5URhCrWMDxQCnVIrWXdeRCAiH3CgMeL+OleO+b91ANmXp4M3LiU1d/iOZu70Z+BHbqt2jEpfgPK5vW2OKwlmOgS0JvmUjPm97yw+qKoz5D7M0/KFzP0Kt0HC3W4d6Lo0erz3I8nsCy1d75/H8rI3aHFgSr9OPi9XXKLOzdlYMYbdqwU1e5c9ZYji0AM82Ub4Y59czD1xCGV1J6tdBlOxYpAAoSL8Liz0hOt/ip1iPcgwJVFPRxn1OQCOG3xBeosb/gvvXt0XRTBlEVUeCk5qoS25/XvLaVswn5+gPgd5VWBkb/FfkbkgGu4VAQAEMjNuLKMyqweUq7cVmu11qhzynrTEUN8SpR52eZoH+JsVbLQe0KrNJQTTIjLqM+wmGbCNkNOxwhW271jQjP8wab5Xe6vbZ4IIhwu2NJuZnneMKp+jMk9pGvKxIBg5dgntKB84QngTT/sAXpj/NlR+4QQynxb+gRQIBxXCle+TCps0LHO4aNPl7Pus3jMy4I+oUvQO1quq+4ltV49BJJN8AwxQuaRZ4ySCbDRTIPCrc+9yCTXcFlkDFMIFvgXWLsMHBBIJu0IDbZAKbSeEFeWtpu5p1QniTKUMtPUwN4S/iGs6J+Vi9H96ynFzyUsXFLl6lfCtFMPwHKhJo532C6+xAzin2lQlH7VmVeHVlam9zmil22LwvZShz9DQNM+KdmtkhhOykVfpw/icr2XUKB4+6Q7ZHooDfbkcuHaaBBJwLyvQAVzQRdf2UkBoerkCdARwPBXyFfiQjJcvYBMU+7G0S+zh3kDKIcrMHVWvyyY3+Hr957wMxPlWu55N4mPHp+/bnB52nAhOyKI4rSMWG0m+97jLunVz+9RcxmG3jERzuUiMtrDNTkj8KhM5wTw5BoOuWbSbSVcEBPQipyS20iHITCglCw69x1RO7M/rKe6AW6Sz66Np8PuqXYyVEG5j+RPIkXYzQYc+Sr3Tynhax5NTOBF1lYbK9Q9/9gRVZMwlaAHOAYKrr24sUu51yxMQGGZc29tu/z8jszne2nBrfjKOcSJT1nxzbLfxIn9ta56uP4PSsiebxrfjkDGpf0mueG8FiIfD0rYQC2BxKHsLkLJ+UKfGVpQ9c19G1rT4PwYmDBAm+EBREWu9eOcOBn+DIJBBdcIoj8WLTLCRVOBUBzip2OddkRqKV7UA9SsQGRpVKnoj1EnlyebYApPwLpYtBg+p5087qAvaSJPtQxcXKjGs+TCqFnWhEd1YUhtmBM8JAlj8MatBTeVYrXcT+/4n5NX9ULgOREq+DtdpBR1lGEulWXCpv81bPhDNcjHv6hu5N8kfjnd+ii/wzgXNm96+W/lc+8q1Um0ztOxb04gD45wqaf+r8dRoG5JKM1bBMngachhPwfXamcH+hvkS296UnQgumQF9UAS/0N//XKzzHOYWu4ieTh2k+NXr3Ml1WTp0yaMSQ4xsixYybfN4cfHV57GN1oFpjBNB+gnfDqbcpJus5/BQhKgk2nHcZ+RVh0OYBYZJvCUANXKa3KU5ry7X4h1j6WiDV0CQ00RKmRmsQqo7eSTliWjNAXWr5zMp9vg6Ky+TSwiv0FSifc2hhbU9ifKXHVz/wocbf7hcMyOSVzs/Gg/D5h12kWjXDesG3oPf4PuQqWq7ZGoTmg3DC5nFzxSYEzTCHAnplfeQYziLybZ8k9luR1YIM+XgUzaKQuIphiHBKAUE9Gq3Rk/r/L9i+L2wJZROaM47fpUhB1ZD2Y69zWrBYMP1OZtYDdIaFVx40qahzAgGp4johvHsgakQ0IkOHu7dRqYmah58FU8OR4mhCoiZOYjysjWQ/BbGfKWrXhxNxXOopzT2CO/4vgrkOGjDGWrhiStD57UEdJ0hTvWh2/ds+2BMsXF0B7RRJ6/qybyEUmZq4edAAdg/fowegR0Se03H3tsL2JsYv7RwJ5xld5AfQpQ7o/o1gnz5BM9cl3kKxr11wEvbBHiee6P8d6X3y6QPDc9uzZzgHMmOU8wq2cM1ULfQ21ux4tJt2kVDVaQFrFV5z7uMAMXoQTqL5McEdClIUql52d51p583mKHTTDtcK29Y/gPqtIME9Q/3Gdo7vi3FW6J6AsBCA54EVIwMuNdrMsWD4ti3xHPQwsGC6MuoXVxUJ+baoumOWFPjy0vlUw0oXYJUQWgm7NyLZsdF0nPHpsbN8m3QU0PrDiWxizv6Vw9fSvM0mDFXUVYvNqN4jh/wzLC3pYodXcJpVryolOx7Cxc9j48m+CMS8hisaz/2igMCOgDbALeG1pTZG+t4VcKjzEJLjsZVI3y4CjdoXNOb13HZ7teipfd6Q0MqI1ckzwfuiF+gPC48d2GGhC42aiqE9o8Haq2SMtidHlhOCUIPM9kIBFl8eGHP61BK1mnYRhlqk4xWkCEZJU4IkGMQgyxOmfxmXkpZMsDMVauQX4SYWAMxksODIeUDOaEfAPRkKhX7c1FWInqv55qIeGsgeqIKmxYPMRhhIjsy+eL06IPxq3fge//FiLKnU2PjauNumQwH6PypSSRBpQ4eEu7SywguR4L2OOVnrF/EiNWKckGr4czG4eFmks3wrg6uqAQKVIOHpJ2b//9/C1Nms6iD12hU5Eyhhh4ffPaIwH8ts/85GdIO53Ujo6lAZxWLO51EWUUXE83nV/+4opCBBYBj0qf6bRlDi9bnQ5sKDoS4LA7xdDVI5NHrSkxh0uoQyAcO+dwOIaDUlQRlFw7roc+tuFw3WFt5p+CACwvx87vMtdoV86sM1dxcrlCs6xvRdRSeTKxxKWAv+I1ZKibBtRXhxhOQrSF3d7oAoJuNgCNX/4KU/e+WMXDRKaXab58buc+RErPkhybw+m8zWobHqtLG8cmKX3d+XfKtvq8OmmGqDDn6mau0ZcNW9prvCe6fdya08OubXh+BJ92UuUlTc5RmZd57b0WVAttJTjEE54mHzcYrdtq3uLJ7q6cAkCwwSkq9OLTJbGYHyc//CWvb3nf96hI/XQcKTYWnKeukMhK1v1ElIiA9LTYMO62mFx5pLZMr9e9zq/ffGNVnt5Um2cGAH0Z3icfr+hipocPLGayWJaa2HyhNqR5IUEWgplbo5RhbxhkZvhL92wYRVYvbNxYhIg1aD27M06dFiEo2rM/QLHBOSw1HGt3iI1V3os5j7fqQZfTSGzLrGXGWoH+zCJDWZrV46+5aPY7IVlM6fHKQaLUa9+QkE2PenDhmOfAd6PGDLVCJVQAO99gFR+jfH6XQQKeh/MaCmsM5sIZMdJzRkAt9w0IJgNuFmBCNnHrBngE0Ur6/iHtdZh1unn07LO5VAF/6iqAnx9zKLVDtWdNbnVPUrlQVFnTnM+yBUdvb4DhFQKAbEJr04zUCOmnAKnheJFRphaOJ/wLRVq0SN+TfPqB/ZiCF46cps3dXKh9PmOBsxMdKZ1LV097XY+uiFl9GS5easgwBMxU8TPuNOCQzK1/Wl23E7WfbzwtPBrGUIO7wO5zPweTKrySbxzuU0r9PWshJKvFYuMKTV0f5B/El+6sYp5wxTddfM8ArjpvbYsnkHrzwDPis0BuP3ROzM5VR0rLRdnKFHLzlwq0HXVj2SlxbpgJlLbf0F8HQUz2tkSaJrViLLEKZ+nwZ1AGatO9PAFL+LihFij3vMXzJQjKytnUbuDINdebjruocc3ADey8lesqAuwou9cMR/89f01oWPTXia8a6xqVvr7dZfwIuCeMe6W9LUkwXYpsDzFETihO/ZbC2BrfUG+a1/of3duF3NLMBJGNYJJ+Pe/X6bzfdPfMroSqLskFdOHapm0PO96knp88jL6Cw59eBTdLIfBEKp0q5eOnF9S1B9iEtYwzVLHps2kGbCSjBUXMIgksSiu4WHEgokh2VaxCR5nbtIo5MiQ9X8dVmQ6n1wpu7kWSIeaFpEwwN03OuHQKgLn5+YD9O/eCA5x2IPDv9hABJOzxil2tsPBFELR/+I0SFtutzWjBDVqVdz6+NIhe3gRahBape3cE7OQ/Tt/bkDtsQGDqeUdY/WNYQ+VuUZyraaxJZGnz1892LwticQ2Y1alyt/8Qm/VQr3Nx9AyG6dmSoBG9cInoH3KgZDAvISMVO0b4NsmVxoOcn48SKdAS3O3ZFvVb/yrrgigw1eVzdHjPptzvFrjIzkC8+x9LnVzJxhpbKG689oi1KeAMsvE/E0GhNE0YTfUaL7M+MkeI0vMy99A4rT1TUV06FYXmqe2kurU8OynHzH8BDICGEdmTNzUQncTmb0/kzl15Nw7gOYZtbXlm+cF31l/BbIPD5cKItpKvs2V4TBvB9lgaAG3Aj1R7bSHnbxKjEmWKidz5Jodys5NP9g4xmeeXBWdEAtwNm7c/PgAI4uoyC/661a9rPBUJmXDLHHhJpVfhFawko5uQWApE9clNS2OPBgcMeWbGtsssdcTidkZCRbML8sX/3Zw1eLFz+3mHlmu0eSALBQtHhIGQmc069JllbcIC9MLaUlIlbcufRhUgul5u3GPID5+/5ZuyA3VeL52zN9xfXOZwyq3AobDRLX7s0OzAAoyq7yABoJzsSb6BH0tu18NcMbUNinZxh4Sz5m9fWvXkUaS7bSH9vD7j3fCm8TZccAdUY0qtR3BMdl/JkUCTgSP5PmGcNhjODenrh6MTE0G/XvzXaDu0hTNzOgcjC0DfB6jAZl+hc+2sZA7JW7AnSJrjYzaISU2HT+oY4VbVE/7NQ/JGLB2FCL1p4BOJ1HS0yLHbalIwLRfL7AlBcZd55gS0r6qdMArUudaNUw+YhPiZwJiKdbimItPO1eh8fU0NiwbYfu3qfhkmF1Oh1kZ2kauuCk5SCSY+V6GK2Xzr9v007FT2eCWKxHoJw9BQd6SZg7Zf8PU/qf7OZS1qjrqjYz7EaA8vJ1ohGDFAmg/de6nGwJnLRuNQEI4iwIJqu1MTAiSAuJdA6cGAd7dCYfNW4saSvn0cAhKxxdoYYtuEmd4WbemFF0BbBrSnYpz2EU9RKMCgB+1AzS9ybXyT1m+NSqcOBr++k8I3ZX/0+zmH392Z5KdQKGb3WeKZdBPOPloPiBGWIfj1okPwZVpZR7Fxc95ZJ+rezFJjtYi12w83+9tbWQaLG5F/l6X5tpzgxMErh0hq8YbSiehEGa9dXw5T01QOwBoojsyRVKtjpZCFBVkuNdcLyVgVItyCPwfcNJQwi9frzoSu/MdNRWrYaPpU8L3KZYiRpNK5YxjZvav3t3K/9ggoV2tJAdjkoNGRus1Qo4PerO53uia7JFmDlilMQQODiAJTdbRVuQkbW+Kv6hyEt+KGXp80PgtNObGzZCGGoVcuK/rSb3ESYD8V9ZcrMpyMbDT+3+UX4qjhbDnfApDNoLcRruL0X4D6JGyX3AoPsy04g1PplfCUFD9pVOR4rVGfd7veXIr0uVoyNndF8oZ69EJszoGmGzuYVqoZfReo7IMpU2Le/00I+cJkFji/dnW7iaxDFMiyg+qtYfj7FEafXufIb8fb0QTDsGovPC7FmUMP4mC23Xq4hg26MiZbvcKoBouV+n+ABviZZkxdOhTwXj1+QBuahkAdiO9ozB3z5O8GhEUKk4ZGCJJlL0EWjFgSCwcUJo7lz+erzSczwXGn/IjyWVsG/13bw0kNgVfyR91/09swko0i7dNw1eeQPN/5pvBuXnPD/VR2bumt283VSi3WdrEK8eAoJBtKJfILkqrFC8Xns77UBdIliKc1BBKu5peFKZJtsR7MQNP1wEfTxwmodyKum7r6AnwxdgnZ81FrnljIw4pwg7Omiw27a5wgXH1DsWcNh1Ica0TTqgoMbn9Xu8bfKLpnl+srayK5vVo7WqyFI+Kor2/X4eadHoJwYlk4WsPjn0ypvFhupgvaWyGZxSTeQ24rKOv8CURGu6hYw1pW7u0rjgjXkPlDiPCHKceoKZAs9ShC92VEqVkWkZsoWrX2EWUtF+nTrbnOKZiLRimuAPI1tMFqFIO6Ekiob03+Bkh1FGM5kzyYgOk3GVD6qKRlq9ii6lDngHASto0U2JnidVnjJM4zmsHLhbEif2EYGEDahaRXEW4czI1lznknzHAG8L0QNmEFdo0bsIez39VcPmL5C480X0Wd6GqxacFbu+oj40ZAOVk7qNc5MH3tGxnHKzvm1X9tZ1hgPXX7kSgM2jkVhk+UKLVOd55Mtq27qDeO6ulaFRnScQP+ehvbRUACZRThuQQ+tX3j2qB1Vsd9vLStzqLBy8nUkqDUw7pHVtUyz1MYL1xHknkYoz0JQQJ+4Y3Kipell/n+UY1hppmj4hOvdH4s59ZNz91nTrBI0iB0ksCN8hPOMwx88ozEpX11yY711CxjIeE4kdKNpMNBp3HsneIpoM9oUKex0BnzdPJe3gqZ2odqlTJ/R6IYp0YMZ9QQHyPYY+sTErmoRoioFqjQyASGhuLCcUjktJFM1J/5116shBBc/8zb5gVqZDGPisGjt5CifPnwItJpgdIDTy/kPf13lL4apEZLrZl3Om8UhOaRdJVBPMR0+tSUj+sU8u9vhxQ/ZAsE2D+RicduNB11D35AHSQwr4+K+osFp2+Kmm1FQFjDPq9RAW4O1I9M/26HF8uWU9Fb8zSfPeZtxVihaYTi/EIipqLr+ElwK4AuNuXOo4PKJ3k5ciJzEZ6ZFHM2L5EPiwXwbvtNe31FLDxl2SyrLHcEEuyhbLBUVTJi/EOJfr7unhiex08TdDSjv+nF6j55mSJsKIX5N+naDArVmv0Me95KSIjnup+6g4ewbpz0oP0m8XFvzFUesyi047O1UGUTxVyNtjoDuPgW4rMVmRC4Kp+x8NkVMuPi211YzaUSUS2/Xe9jTAVeuYefK8j/k5+v33Ala3K0x5UuwdI7DUUenvAQ8Rel5ntqLBVKH30/6IVDCwutpZjPa8I5AsKIatwsGOlz5K9lXwGODpXeJHZT8UfffA61SrvL35Ww/nxEI9m7KWFdEjiqXwYM96OQ0ccdj3+jDBIlyvhMD9tN6oWIvh9BC21R2xZ0bsH/ZmuTicLMU0rVIRmsmE/0v798T2CKKxlU/NjmPqvm9TsuJuBjtGBsnJCMiXV6Xh/lKSfFWOQmecS1Lg2MaEqpbjAnuaJKKi5GsOHL8c0l53vssC6XuXSqJla5T5JJgkJnjYnWBhX6fICbd78gysCReErkoDBlCm639x6HBF0ZwdwOxi603+4qi8gsYs2SfWLWTRvHJRpu78mDXiOO8DKNIXYtFte1/A8a1ssESaxoQc3RLqDq2iKKNPfDCnX7Y7mLPxxDU2+PbiLofN3QgkB2aDlappie3XkB/TXKl754zKrg0R8Xt2vdUyLzWvn5IaicIb5he9TI+g9VNwXiB3qypepbiBKvG826h5ve2SN3qnRxUXWVe644EGF8XTMw/wjPTbp8ceXrDICqPkbFlG2nea8KcxYhjXghE4QdrMGKUU51AOYdlDkfoe2lOuh0KatTeVZra4IEgeGv0tKmOIRC60o/ffwa/F7zfiWhZSUhcS0JqL9e3zTvKAVZkrvgKE6AUQHTkfWJjn89MDhvhZqbNLfqL5crJSUUWl3bKYEhjKBRHTCSBUzqaX2sU11EelsrXqLZhR8mWbWxQ3rxQ+R2bYMSJ9TLaGm+Y5ngK08KjAEvVWw3fAC3NnZ2iPMjTuAA7QbaonszLglIpmwSy0R/nyG1P5Z6MivJcfcDJgakPc/WoS6J7Q98XZ9ek0fAr6ayT9E79iAvC0iXoXFVQVYeTZHkRXevLwZQqsS+Zg0xnG0/JRSD/GMP+533eXq7AQoPzF3QUq9ddJeRh1Fcky5XySlry3G4PwsY0WG5+IU033HxuRkNGbjNYYHxgZuYjJa37rIIHT+GlSDbCQXGEFXBrCOxIGBssSUhppH6erLAPO3Ox3u7XJA11sorrNLVT3uAP2a2xzHE8kJR0IAu/2DuywHAYMQ60jHG4uA2CeH3rYAwax16PRti7gpK49mUIwmctfRDHxU4OzPyE8gbQrlxmiXbIrQkEy3m+HuLD4xARb+32BWCfJ4Vh4udmQR83A6P5oFARzQ2MK5g3IAT0nO8R4ur2WjWKYL/zQJPadpdLaEx3fiVD0y+/+4LttSrSEXbOHF1vP4FPZDAgsra6/IeHmuQK5W6UDKoCSL7H5waHVtejweLRgSfrLClzqPeVi2BIs0Ff2htRc4i4iYl2mf27Z+9yiGVRlp06RkTcy+Y1w5hpRz+fKrQmtNhARS3/TzCV35iqQMFtAgckfSk0Xhzeksy3EoWkcVmb3RL7s7FbRuD1QDcfxPLMxrQBOLGJSc02wNsWoNpwNdHmz2R9cxZJ/r+RhnCMECl4OCf6KDMb4cu/ZcM/S9z9RwLFA4erDszD+TrRz4xQD09msETa8gW07qOZrtCqKv78x0637Vq4Qt9uIK5ZUe5ggi4jLuZ+9uY6CDRJ620yyMmch251QzKSGldpacFOCjBA4JJq81frRQLQp9rCEZ/nDI5VJtPvKMCdZRQpQNPcrVfCOeVpnYyGMOUu8skJSEa/hlMolnZcwuSpBykmhA40nwfAGvERC7rxAsXpDTFaYxquGdPBFHOWjL8vSFS+/Mdu0GYDJEjujBoowzutzALdvgNyBQHDKz9Rsv9mdNRc+dwsubdF3dQQKxd2q5yFTI80UahWiHh0yN825Ftvn0DaOBMvku8t+CPm6xUnKbldf0LfVBuEHDeOooOg7LSNOFg9+gabXnf7fhXt3TAtoI+PIEWLPnzIAUyIhcu5pMSKr63mnm/BIBZKjVJEqx1VUqWmz1zGaBXJKRdFhwdTrMuPaM3zMEBw1CkEyzEGgUmTVFkcn8r336Cg8Oz0sNhblgGLDJa/I39KHSz4OT5Rk5UjtiJlYrB+jU3YmkF6NWaInbsvgOFT7GYwe7aEeRtW9S4zgkNvfhnyCyF4i8KOG60Rojpghiy0xdHKacp/4maDDG68IIEqVzuQEwojr01HahzMe8sv+XdBQHjCgUnQMNrzZ9k8fak2DjT/tZ7BgfXxvHTrd90JZbpaIlV8WRO91x2m74qDbOUZamE1Y1I+Xtf66i5ueeqod9+lMbkwyPv3YqXAPfRnJlATQOgjEjPu3WkrNUAgWYBmv4+8eW0mukzjpiPyEgNeR3A1HfF+9uf06gtefPsVDMDl+OMz2po8ymBSh0S+zTG4qJ0oCeQXwsu5CmF+y+YKFirm5wqv2yOxuSJioExBjalAaw6Yg2j3s3Rngs3e6GYvP55mPXCD+Za8f6R0kHh+vpGTqxfxAhDf48JndqNJkc5ZbYcdSBwlbRnMIslDEiXwt44eUzjvo1zcDfHGhTUHITQz8uHYaU0KyI8+aDC/vpvjW+U0cYS1H7ErJYnCcyxBnzWATsGSIz9b7bxtB2PPlx+BxWnCsuSsXT3zZBdYBel0Ar/5FKri41YneqtH0QKsXeKz8OaLZtM8bJSk6nBiSa4xB6ZzqJHu7nOmX2UdXS9jrRWqI3xaXgYcFQQlseSgX926G+89w75HxGjQ0VplymhXE9PGok+lV6lcAcXHtrUwIyWDnAgihXDrtcdHmvdu2oeMoYOkskKNXpxQt5xeke7lZGHGiC0H81sUcGA2GSTw+Q48Y4dT+eaHoNuJ2PPhrGzTHa1HErssMP52fYGF91e7zMaZwogxyU4aemKBverl2QncrpJTC8dazS8sZRhy0ckMD8jap88zZv37fj9+1b6KI3tQ18nATRe0NxpC4R+HnFEHGp9a3zNCu/sBdBUMjPwW9y1wLnCyvSUhwd2uqJEUmgS+Fy5/AYQFwl9+tYilMw6aha81Q+lRgAwXO+QBtI+XsLOmDURNOOy7wOhKtzu+2nbgoAGaLp4dpDgx3tqMfJKguEu5Um9FsjtN3HSTDUOCw/Q6mRSGyvJe1D4ROg+Cnb7HH2+iftsmOUYvOLHExZvhpwYi9K8E1jQeTbelUEu/rit/c1OSEYWwknCTuAv2O78VU6WI0dCUanqk/LTpUHGL8h78MgRMKl3tN7wu3zGr9BPi0/RWMbelLIZSW9t227rTj4nucLraC1R4EtkysmT6EJlii6R5V/yX6wIKwtb0KYVnNLtHAHYyQhM8xyFaBLFn985aJyeu9dUODT3PwXxf1pI1TVYMMeoG//Ib5XmiWidQXSqtcSNgKgLRWnoQty2eTgJqptKrRNHtwquR3L+gJT8/wFOYlAlrCA1IVaVGvLC8szGEHkz7RGTioFF2efXeUwhvgm8yROQmXBOzSZQBwkdKMX/B8Mx/cox1PwMayEljpDR/F/gcW7+k+MHfHObYBmANKwphhLz7bnzeuUzGqQh9otLhKSjHn2fzg9vknKvTIOoT7OaovgtlETVkBuC9HMpiylJs71Y2Kszs86n4l+A4+q/m12UmAjloJuVJik7al7psKWqZtOQd9D0vyNDNOxnB3T1UZ387HCdiMpgDzITCeXaP5eo2TfQnYCJczRZlh3R4HW+8EN9jY7RyF2x+AIfMQCmC3tGaJesvRBwkNOu8D38uLRwMlaxeNOWzEYZF9Je1e/GBkWf3MXZgvIoXqZkaifmfIXU3iYZChwL16Mxs5sZC2xFhmUWcMB79+rIrku4+KaFkfZredoWSu8unhPEiSDirB8i/XGxsAsdG/ACap8LB2VsLgxFqxByNRf14bc6s4RFcXyvES8VrU7gsqXII6D1lvfSRD6V2qqndY89+TkztvDl/4q5Cu73FPRWimf1JPHNFgzZ3yKr5S6EwsF2eM3TRxEIpIeZxovefOOxvXH+9qWpxjBjWmEcQqN1ElgCIAfPc9IQkVsFreff17EKcaoFnI1Z4tJAeXjle9P5DqA88PGAechdJLdFZnBXlBuJzHQ69YD+kYH7mkC+l7e059hTCGnnm0FFumVimKIAmFaeFGEsvinhB8GfDaLd0Say0FJnHm7D7z+RggqlqPLH3ykD0Y30ru86TuJ3aOs9ELpOxykEMKPaAvSMW3TvAO5XqfP9iXXq0BhA34mhdBi5O9WSb2KrMp1p6JwGqrEzIOBsIszjxbOVTbTLrSTAr7tFoerpvX0qd7yFqM/c4ZaY742R5kMvxDWc9o/HnqbozUxWASGn6AU/KMDgQNkxzb7S3kWDJ+FSN24ccaVyiYllmlMcplfdo1d81YQ+5vGK5b23Qfs6b6mIykK5KVbs+SPHUSi4f6Q0uEY1AIoaBPXM0eTsUlqPIaLUtP0/MmlBJXVWbvYENgjovYgZMZx6VuJ+KNinlb3PKZPa5jZ+vzA028TsiAyrxdLAdtGVBmzzfMXB3s2uk8gY266EnA1PL6fZMvmzyiT4paJpGYcAhjMah+UNVWfWXEzvBkAQwwSFOQmd4PGkdW5v3P85cB7V/AIYr9aq2sWGto3CX3Fp5rZ/8fnYdtvYkfdHI3/XfSq5HiX3BimM4BfDUOMMIziRemxQZYbSoqgowbIX8JeCODvv/vVpy8rV+bQYz/esqqwFyhqpl6M80sCN/MwrJzLFaGVIDF+E9v7paw8f/76NnuagL5rylHv9MLMNcEHOT+DmZ30f8Ruppx675dctZG/heHzHHLxplwbtoN+tT6cVDAisD188IZqTTXrrovqCSiBxsJuLbw1emsmrrOj8JMwKRoWHj+TjERSkVlEVc1/DTyExXiXCBiGM/BAKWMXUnVlgFym274qWOlhhG1djW/uAynX6m7eCgN+8xwtSL8VcmazrFLi+omcq0Xu4UCrpsxPo69PS/v3si+/7fnicKltpyPnSbtBRTk0uysE54JgnTV5UvlnEEnWrJHppclORFd8IxN3YrNZj+QaHOLIMmfOeiugNYMcQya3rAv67GwhV6Is9JbQ0fx1S3dqKlzk3eKMX3XiRlj5jt4tuPXH0iSVh5AnDG0gSQQUh+rCWRbU7s29U0rjpYlq6i+kQ5bH27OWSXOQUkD4TtRRwqetJvFZWc1kM/fnSKfTBiPPFJjwaWQweKEsRHOjDJTOV/6d6CGV2POGuqKAxUTRzQVgVTUF8oVikC8CQsdBh0JkoMTnMVfEmPvsHnq4S6PV0X3cV4AycuBX/gWxAHSerGftuZqT3pChbn11fOgq8bEW+LsZC9BHZBX/ENVSSe6wa7b61w/ZOXSMdtzqB7/+O+HyLClugZFVIjqqJTTyxk5flTSOcBL3Oxegpb+sMqCQrcb0To8iNq/ZRMm1ow2b1nFedZ4HtW8iOnIUz36Bt1RISXD6hIK8OWZ7ZfAZ8MN7A+8oVVYVArvRmLbn1p2jMPM+ogOrYa3CJnRtV77RnfPLuS6JMU96whUc+w1zgQhPQ8pKb7c8E0U9zoaJaqCu3XyGF0ggYbxdLAAsu8LN6LngkgfNeswMnIz5sCyNceFW3RDAQtHnlRZ2iHHZVxk9vjXZZh/2eXHvWhOJKBo39gLTwAnZu8TclKWPXEvweRJQ9zUtQzS0VZmzksy8JU8Bvw0cz80lGMV758VZH2oJoqoe9NO/ezRLgf92R1FqbmM8jO16Fn6foVXWqNOSkv0aWaViyfqkjqZWzMttUlCf+5DBFCiajnM+83Bc/V2z47nVyhjiEsbZh5MfiAuCjNp7wtemRBc3yvkfhFb4pD+ZOZqesqJNZD4zC6kZ7MIDdtYql1LNaAxYkNqtasKUFEE0qyxyKvy15D13a5zAb9ozMCo+hTfQZbgKbyoIcHlI4IP5JXugV8gNYjPEGK/Ar9t7FMAmHFxQNmn/biXUUmpURk8cQnRhtEWLALXxhKJH5K+TGNj9r3tSL6Cfo9tM2xqhCGpOVlKF2V9TvfX7rC95JUCJl+IJXsfqmnVf4YReSHjixz1TSmOMlYL2yjUBgnXSPh3tU4j26rCMi+m+N7seS9fzC/zvkMx4WNn8VTGjDG41aW5uLiMMV1sA1AxVog40SyZJRYtcCfCbhJuqQ2h2v051Jbg7juDRdan4eyXLrjBB14XaMRaNX2qjsK+rRJWtGx3C3Z8S8fwEnz6SEc8297YEi+Gvo9XmmXMFMCUpXkQAFGIZi0hDvDJy5xoaTPsWic7Czn7iqiAp5ucBZKT9nqAYVK9l8TcP9SNMFiMShfBGSO6ejmqFYyNl1mBwGsmBi8HyRyYCKh1PLG6CGRBvnISc+xdX+mOuHfY3mt8G2Y5YBwmMe+JeHJ6Ls4yHpckkk1Z2DzXyjCM5gPJdNfQRLed6gtx0AOzi3B9Onm/ITtgoj8eZunPTUz/oC6CgtOzannOCACwlwwixCetPECBcOMXmW/K3PEWvCoALQse4hVnepFVylfYfUcVd+lHVHmFMRWWXd/Yj7w+NA+QmjhjxHC5OCQqj4cP1ibOrjgbj5XdUJgHgFc702MR7hPQ3jnsWKROE1lS3UZG9ykPy0RgTTdNmctn4qgrZCVM8gXUl4VU9jVYDZvQylgSYKEu92i5du62YwUo2ZvC57CGJX74BgY2/Fks7mDSqv3KGmfveeSidI+3SZILQUntG58gQZwfC46u2Ee43jHEPwOi6mwGeeynWSQYkKReoGugIrBE2WCSr4pGh9GEtUw/IaTzOR568KZ8jI/I54l2YDoCVBX3ShfUxPnFmHFlonMr3qMpuFiidDaUb8UOkcPmnbXPp387mtle79qkab0yECrymiBlumO3xOeMVSH7ojGJoj3oHK1s67TaO6VXWGH4AjqPIVQkSsXngxbNoXX4RTNziXE/tNfwjk+Lhzl7gnlNFFvsv3gi2J8Bxum2UuVUc5Qp5bgCQzmkvfgduiASA64nG4KkO3gzZVFyLB+Je1oj9/K0pg2cAgkYwd9IyRJ1rGdwdy2yxPh+C8hvuBEA9jVEroLKVgGOvQYcX95DSShqi3Ls4qb337fLln/X55qutxD0WT69siobzse7thJJHTJ2zHjpxILz9xX8r9dm02y/YjcsIZVDC2MoAdL4xid5CUjvC1VxCsmNbc2+TChasiWGIW2L+EuJQfWuOAZ8WR3yZi/hwnAIyWWibofqxcF+ezFFY48rEgGEmksu56E17ZZtHZLaQcBdZPCkU24AkZq4qSYGPiOhE7z2LxYt2eGrhgZsreQfAGBjsnHAu1qOVDUQJ2GmIT/F+rFMkpZa7Z8keaoON5dCV/OzTXd1H602d2+ejnccr39iitDCGr4dnPkK4nKICN5e2UfKwOQvAu45g9x0e4db53BOKdjSDr1z7c2EExWm3SPWHru3VpGTS7MR2aMDfcBncEbSC98KTO80nJfvOTQGj+0nhnBEw+zNpvj+Gv/a09qIZXXdruAGXbOnZv2SsSvcqPUyralGLVkfwQGgtiaJwIANjkDP9BJkBN1UGom2iMuZ68nna3RVzZgKJ0dASoa8EvJkqB436fYTHhI9W0wkQWXWOso1iYCAfpobsSt0sjNRTZSfDgaiBf076h6j4eAvoNkzW4qyIsAEm6p1+rjl1JDiiFvDrYah3v3KDNNLJkbB+ytkjB3ENxdklNMYQfM2Vr3u8K1uRzEqpIEfWMuzyphtz3fT0dm+xDgM5S0hfKo7epXrhboIuzH7xayr1oEAGLwmM3+dOJQdbiV3rLizu7WYRY+AnMgiMmmyPfTg9RLCT5ReEWHOGNMgHvImjaJQwl065Qc68B2Y/P2kY26bgsRMntYmYYkM1EHnbJtZN5zAIKArZApP3eTAH+I06i7o4eoCC0mtsBA6pXcvl/UpKK7bsTcYnD/kIyWrNOmiYJGU9JEkVjB5BZWH+hMOdtJ3vJTY6x6jUh5JXN3PFBNbcHjwWeKqMWntaUxlunElnEVuUZPoMGghtGH1TiYWDzKJNgCtPMdTiK8BfPtfDPvgfFFc6UQMfmFXv7SWDlq9QpSmM7jbctJR+RTo4sCs7vsFBjmldvqtZ6JRyAUri51gh+PeXvAZWgmbWlmm0xpSAmUaGqq8sRaMmnXoKWzPnprGS7TT8T5HEtU1Cg6EumSc01aKJlrCUJ4zrRqwO9fv7Pq8RRQu/l6hgPS4rN0Ud1huNXF3u4d4ejL8pfSdFWN+u2Yt6nx3R9S8RS5qxpsmQO7UN+GOkL/Vf9Yp1n3HbB4gkXlXlEI1svbiNu/vma9Ay1qWu5utBZ+r3iiHImSLFWQoD22k07uFZxtMWo9sZAGYWQrXSPcL+pJCmX64Qn6X1Hjbi6pQ92CjY3u7z8iqVyv/Jq7BTHxIcMmibB6lxTwbY8EYkg9K7HprL37ZQqsVW44WhfbtDB7VhpqumwxeITb+MxXLi0q79Rw5BLp1VU07J/ghHWF58NAXQzLcgWWtB7siTWUL9xhutHM4KYfbX78x5avusrhArp+1vh8fZ51NXH1lTCSe4731XPGM9BEaXoAfJb0YRDSax/5RWwnrNrA47tbnA5yKs0KyEKci6YarJ8Y7MAauJPMBq3T36oLK6cChm4qQ9gPP2wVXcnhW/AKPIE2UDEIlZEosBhOjnsFcHcVlFMdogRU9ZeqeeXVQSlPJuOzxBMP54qcwDd1K9PqltnXT2SwoJjHO4R+3p99zqctUh3KZ90Zmq92Sg9e4yo4m8BFCNfYjAwa1zxFz5T2OtfdXfI8wU1BQbf1gff+j0nmMXgPBRrNZ48l00OK0xhIuWDhgiv1Hc+ICXNQlL7o8N/noG35+VsfKEZkSR0tLdfU5b7yqEP2B3bpHChqUCoLwj+376j5avu+7El6W/nrPlfXL85oZcjBT2d+HB0/6Afo7tuL5UUKZd7XaffN8NLAU/a5+koEgS/N/UmT8jwDh8o2txTxP8uLR6/097tJA76WEBUAGA+Grf+x3fshn8+5tdsXuXel0cS8Ks8puwbV8Fd0Lui5i9Nf4aMeJxibQyVDbffJ50jS5YaQ3t8TjHQQyiDWYYmyM96hcGgiNzt75ubgmlcSY5cwnhaJU7Ja0xF/WxZsN23ZtX3qKwrayWPNMQngOLj+D0+b7Ktl+4eOUhf5FB7EYsW3TupNg4xZ6fQORJFBhdMJfaCXorG7cnMDE7j9VJYQ/dr+QnoecZ1v9OWvayd88FFpF4skPjO5eAk9QNdnrxu5LiHdh/qb8+7SGvT8sENv3BW3j2BOLqyaFKQLZvwzxPnS0Ud/L/GjAB81bSVu7p0OFTxzYL/svqPhFq6thKZjzq3mwPl9o2iljasUtjparFRTdlHZQ6vyI62JdZ5+XSho1y/lyq9cXxQbowAy7LddZXA7ZF0NVsookOX7K0L+9QQPDGyryacIb4s/WsTDPxDfMdlTJSuOYINKQKq1hGRQI2WyFtlNHX9OAoa5VhbwFj+GyDiNgn8vdIVL93Rb4jUZVzY7NYrsPgTL0S/S/rGkozmSNSM+gQK71lxYbQcMoRHezahP9jESx2JBP9pY9WY0oj6vVCY2vvlXawwO7q3MquZoMBeDZ27lul+xmFnDRsafeK6W3QV6mCV8sHuklJURIo4Rov/BknRDCr0cW1dyJqRkQF6ybiwu7OTTB7GQpgH/ql0PIUMmH0kknM9AHCiXDYz1KntLkw4QfOEQL523TUvjtx+ztvnKCB37Tggw9hpLX4fS3SAh+PDYcxX4dc/fpkvAOP6jhyyZQUt3MAbxAhTyEMpvnv8z9RtxKw9QuUycI9ULjesiDp8jKZndgZyZRcrcZaJBaoEOCk/L5tsJaDCqhpAp46ReLoLFvjbE9rdVnqSG0r/siEN72034Avt08ODSHGjPTnnZ2+0sVE5PTEjo+P9b8Fpun6IKcbrx1dK9Q49aCaG39vARG3Hvum4EOU6fjO92OX8vCjhOltrORlyRi7omzWPOfbB9z2T77pPNr7/heX2aQS132usCWoAwbhTIME+W8WXXgy/ldKW6m8ZJ1G/04y6akHTAV+wouROeSGDuaH0ZTHAtQvCNKX+l+bEN+jCO9hkf8UAJkp5HjdgiNZhSUxj0neST3wbq4RYAjMSTN7fxvMMUwh7dr+8diXS/WZW9UK19s7qBk1t6+rmle6sQ/dt3rJ2Mku2jTD6uM5Gc99IKx40MvF6X4GpPuho+kDdCYZn3fNuv+cmOoYcsmCAP3Z6IHt6V9xEj5ZKgBAC7OwA3SD6yrWsTQpofM9xjLDqzAMKRf2tOB+MSodEmfRJ+7NiEwjzYMUF7xwa0WUJGl4R526OA7U6S/Zja3/q0r+BkawPQ1/Ai4nTozJhr7cI589YNGiJThhKEGuUkMKa3sXUAxKfsC2l5tHHsHvYXUsSXx3i2l0z/MoTuI5KDcBllz8jeg/7uHwBLyNuuKoRjwHD/C1GXpCJZthhSko5KL8Vlzq6bTI2hM8fD7tRDbMiI5nOrIkYY+/k9L5gY16iAymZTPl45NMzMwbIbLA0dx6t2zx9DWTsdlp5FKh//G39N7HTsGVNVneCjaQqT7AVhgIJuYrA3fbUJgouWjYC/SeXEDntuVOU6FJ1C+eBejGdVZM6D1NDrf87Qywwnw//GO9SSYc7m9hbpqIXin6UwEET9CSVb6mXWYedlUj5HFpf+QGTaWFaj1AI/F7x3fSln9r6znz0VvDOaeOCCBpXsEZYPESDuehE8mk0j617RXzqpzc/Ta5TsdJz8l/3i2wJJZrb0meOY7Ipt9iuE0EVIoGYiPkRyPjHWCpliVxXfF1q9djYAO1Wlhcxk7iy5kqgK1nsw/n/kiUI5idSgyJrVrWXiu0JOJcKxWVT06tVtnFXZb7iPwzjf0jn5cmApcokFLFDCG1us2T+je4/u8fwDXz8RM12AWAvrY3ontEJYfmtWYO4JViudbSId4WisNWsoP79PGU9ICG9FHwDox0hBl9HeRFC4InBPrMqJrYAwXLg54gwXpVd4otdm/etDIWOcvINlUdl8qa0V5YGThOdAWYAjkH4ZChhxKBeuZPPN/9ZNM1FZ/XvfJie0/mQKt/1p0rSK+MvRxe2tgU2fH994twlZpU3EAG4yhRH8HwZeSs0B3s4PnrqhXUVCpUQrQ/0db0HN4oEvz/kMQalaTNKFe+K9Pnu2UYUJNorzwblew88saCZW+gslmwxXbprCwA8FslBBcT30oGNvPklsVPdjnYRf2+KIsA4HP08TGLtb7d4B7bC+Cceqm52RpBriw+ZJ85aFSSqEVg5K96TrGabLVj9wjdOhSJnsYfZ1UcjclQmRIBLiK/D9wczcW/1Yg4NyHIHSY4FTnIhU9rZFiTHXjTEX+tT6q0h4Gt4LS/z6YAOrHqZk29XRUBeVNKXFXxK2lflugAXrGAYTn+u0PzoMQ2wSo2/n/1jjRm1EGc8G5cqhHeohKhFScoRqZgB8uAoUBxAfEipzZktU8oypkxTFjL8UAUryroTxMRgREuXWsdcs2IXd+VZDb/Jvwsh38Ku7wSzUUpnj8VFIlqKqoJIusOlkOVRh/OcbuuIUkN4OdxMp42GzKf4ErWO8LKWjzJfLa95YzDZ7hrNTm2uAifhgTuUc73rTciLvDCy2mJHLUHY3D9Gz0kPlpR7CmPNQHNs5w1HP0nAIUGmqNA7rR8PdDFc/6zTT8ZU+mPfLIiG44f3F/RmxZ7wryLYSnLSH4DgxOOHZ1hMXliODEI3H5xI3NF5NMTW99hNvbghAfylW3jfeQbBjq0iXNvejLps5nohriQH1WMmX3ZpJc17thNCoBABzAxlG4kVt+vgtJLoLX2ba7KPhl+L1KFUHsBb4T5pNeJAIqPNaq43P8+iFJqa5yFVaUhO6OrOjS3JbVd//9k16JQPnEFFoAd8R9JQGCU25+5Qwg0f9710P5/x75IJ+oezqAvhbUsu38tGwQCl3uCLVguMlGBIYNNMEljDSPGZTlZrwsf49rdy1Vesf9LzWGB+6idsCVm4BclWxITAGvAdnZQGTc6Y9xKV5b8F9O4ENPzLJJMFTYg+Fc8zb1ZtKbsqFK6eCj5RMDeLU5Xsd1VGHQnquSgKEp+XKY4JyRhU8E6nB8qW7YvctNYPCs5niDfOWp1eYKqipsr8tzN7QBhVwg/0hbYHNmAO341ZYthsZSB5ZY2BlnnwjkxxbPppbC2SYT0xyzib5HImpnwhqiu57Y5fd2mf/thCHGwEW3d51BB8h46zwkdYqXKEcmb/WgVoWKjc9PF5+lK02tv65Sf7uVAefyah1d0wxuoKkPhnSucl4i4Fbere6uHhr9glycxbkCVLsNvnlEk8jf8/gmAX4yDUjoTbQlJwKjVYvcdf8B/2ZJn+snNmZ6As2rVApnI0hxUwsaw4zyhTkvqwlTG9nbogSkK2wQ19SmI1SMh77GhwE+bkNuh16MmidFlJp2MpUaWx46sORKmF3tqfnO8wYWz8F++3I8AmWMJGfRSiPz5dPRhUcg81t5WTtDdVEDd0g1NzhbtRyAprmDMZy13DAYowUQiOtJy6gcBzrgnH7pI5g6L7lQWuPsF5oFOGYGsRQYiAxEUuEXrRmZBAZWdTQk/tN4ncoMFPTUNXx+9WGZys07lbRgDbUmc5F1OscnIhOdwHv+O/GwBEGWY4l8zWeeiCNyk7nFIPMOc9GeLIbEmjfb6Gi/QFS7fyTVaaSnuscpv1gxvz44kuIqgwF7o6uU8YezHHS8YVmjoSjzlfM49TXhv6oyOVqlmqt8b+OLaakIoF6sKl1qkeS/pQe4EDm7J0L/PCHmJC4v/NwX0SD2VxMO4FiVPB+q7Lw3UFRblSHS6brCemvtAD/vG2Mqu9TxMG/NNy4LnMLMVQypntvgbN7g+feOOSEaol/PFXVB3uuQMPDn96o3OZV7TpR9cssE9GJRxYYoy9gfupOb+qU7vg3nO/sBVr56pdVWnsEm+29Fba4htPslIUCVXA9WK1dDk7tcdxuUuPz9MBJfxx/Y1z1pznfkBmL1hLrWN5zvNbCwYFhlaqFXd8Mj0O8w51UF7H/p4Ox5sdf74wGN8QX6SHKuTnWunQfpHbf41VMzl16qixzaIhe8X10qjmNe78UuaTOK4oHUWr2xwvd4K1hKxuekFmE2CwXS9KAs9ADcZ+HVyegDg3IP+vnQF4g6pGtUimcS5ohQ3453+17/IV9neNroP5km8fSizcB88Jxm7SNz9YZrCAADrrHXsdobA+Gb6efINjyIsBDtetnwQVzus/CsxibsxXjQH/pL2CtQqb1ZtjlUT3zWtU8kz9Qt5e+SAZwlL+6ggdJWWlBTdl1Y+aMhx1BHu44h/lIG6UUuMOSzzikMxEkhAsKOTHPLXZZvGZJjlyvR+TtrKXZ2IKq8WpWIoED+NEo2Njq9hhpJWqrurl+nAna5twLTdr1+E+wsbijElozLgjynpWXobF5pLCu+0qLuQ9DIOFg1UK88wvtlAcfK+O2V/S98PfYhJSnDo2UEmhLbGU+pVxfwN+xpxw3Z4xQKQJtOvtGhLpe0tg1mSiHLEnoSMGElTDRimy6ZLzBf6TAT4yerK8q8VJ4kOUe+f20jsMk89hRZY2YJtR2Y23iHkhhHIslspu4c+FBgQKk6UlA9PwkZNpbcejljkUeLsC1mD2ClHUOfsIdQ0x/+w1QWZ53cb0soHSOl95cOFc5YQts8djV9fhfSLmJxe23ZI9nAvrk9YaoyinPA37rlYbRok7sUTTDQfRgFepBuav5/0FRH9+smwfxCgVvUzvICDp6+DPnTqn5UO8M6bDznf51hXnda0/sPbVf+G61lXatbHP44kNK+F2HfeUQnGJlm424BpKtiBugo8zCP3F3UhjmuqVy0QSym38bEwOHRkk8c65076t3o2lTf+a701fnTCsOR1p3L2FmFZcWcWA0BVbMPm5PT8OJs8tKbHwLJcctjWTjI7idErTzxsQRAkKl+x4EGSmYK0GkJ6OMT8gsYuPsdXBg7nIGrC05uEAKdGGDR5eP7tMYasxf0prgK7/dCzkrW9uryFt6tVZyRYMAVVufArZ4ECj1KXWctQWHSRtK4Li/wnwYOfFdq4EQPMcyT6mM9/jBSd4j+NiLdG4mOyYlCPkd+IiiAnvnZpU7Alf3PbHMEg7iJqo+QZBJzpn4VhjPrsRaU3YYrnDUKTIaQIa2n3iyNfKlVGMnx4uVvmr0zI6CyLNxJWrsolD+LIRkXov/GhyxWrumMh4SzC/dy+/T9SiXgWaSoaUeqBgUDyq+q+9VjomMM1iLxRzhuNasDts55aTze7wfE3YcqgVTmWLBzUxaOfid4r2rhBil7A46ifaQPEtg4WsSvhdbGqcl+TTCr1rLBqqYqNTttDqwXNMAWLvnS+UaFTREY5VCNKtuLCGL/H6O2q7ctlo2/RnSFjZXjFBHTwn8oOx//A4ShzGwnj6gWYgNQgU6o12tR4BkUFF9WacA4M7hsRy/wGw2oZeX2AXtsSPPcgpavVr18cAyVM/syDahIiJm2l4s8pYnI9IgnX+mMj+rS5AbCT7ri41pxUfn58bGwAK3znUelRc9QiwWXEcJgdf2tOpj1lvTZo2yH2GIqKUpiP1iI3losdnOW4gMh4N5a9MZYzLudVlzB2p2qAWvf6nq6MZ2XSvT4Z6MCPiM92+fx1cmfYDnoAquhB6e8WQB8Locgk4+f8KY7DN1SvYng7uwG4sZejcjcYQL6YvkQy2O3lHh1n1IJ9I9JKFPPxc9f2RKcpqSzDjIEKaMAV2PojZtuKITIHiJM6ASmjuwGab96B8/rUAjxp39UuvDGIj1TAtzW23Vq+4QkzdssIVZZRbpQ5qMX1ZrRaZ0X0sSvSPjunPTEeL/f+8hqW4O60tTie9aDf9Qlo1mPn6x87hBcxcroOn54SBQ5S46QuccXwfQGn6Ak1BjWgnsIr7zPqGuziIReTws/WEbWXvKCdEewBzzyZwELcR4EGN7t+bNLvdXUH8t+gC0e/ii5t16p9gbP9wHhABjFAfrHxm3LxgpgceHCfGwt/EfQDXG5SanIaRjiSRotXVsb73gTYnEjlCjcjGivw+BSs6cUvTahcp1PO7ir0CCVvbAM8YZ71A3aIQqIOz9GapZU8JUs+G59LV+XvqikgB/F8eQQjucoFTZQ5eUBo4Y3qUFNh41trrpQ/D+xvSDmNJBJ5910hJZW3DItqGd1cVO3OdLQWYwBnGgC54ySJUxpdGhQ4sFC9wbXPB9s8tnKrQFEyUKglUcMq/X4PJUctZq/jtaDAqrlEO8WITCWKFqrG7BTa/oJ/ZWi56+aC4zEhis2BxiAHruyY5jFKfV1oaDi6XmChPrq4O9S/q/YszDTzx7viuqT2QIlQuo7BQ7U6dzf6+0uBVAIQ8qH/AbTLFZekfsxGCRI6GfoTpEYxw2FrO/3o+Wa5LqORCQjJEH6j8vhKC2COHCc3p1PXrZsPMFNw5xZmVH4UB/WlsHfMw9XhG1zuGEy2X2NLSiLxC+OUE3chR5GtY+G7y7dwvFocZtjthctJ7j7QOc54LzSKTv14dVERiSC19cfZJOM0MxY4+9/qyzD9EnOfiKxV/IsfoNpegdQq/+3IuVLg5IA65FBTVahvrVYTEXE+GA5ySZObxNVYOk8vMMLgurof8xwOWC8uBLJE9ZqJTYCMTCqihvO+7SKuK7FDfMJh4j6l3adA0V9QVabkoYljhRF9r5wqHfNKhd5Xip3Y7dK76rjT9pVLYD61GwzwpX9LEUziuzuKRwBPC3PNSC9uO3KWHxhyUtcgI1dQbIJ5qvtLCoxljwMfepZdsRtTtRB5Vox580tAiXIhFlG/FwSHuZz7Vu46/6GQGFxFZAn40lA28T0sCCIUMce1SjB+7vlcCh9aX4KGc3TUYGCmlK97ZN4ASgC/FvqKcCoiI7Y/Nw0lxHIjQ/2MlYs8rjLCAIWEQGKILMHujaKdUpxCPqBn/6PnWRhj7OBqDErcn6c9DJHE6Ft8GtTksJQl5YDAe8K34P6fz9NlMoy6xfi690QYaHGl9YU1+SBLOmypt9sRA5C1iGFF8/66h68RIf7ifvC8BYXZVkLMalNNxj+TDiocyuoJKOuEXM8UmV0iZQUmq5Dxp7fFrYhc4QK5rfWFQUryW4Z98M21nPUSmGpvaT0mqJyPRlR7FAnpsb8JI+zcTvIJv0dlk/rNFt8rPia/UztWDXQFykCGIlwOUI8dhNtOcS75+/FQzW6kI5d7ENe1cxE8XVfoRYmOBGmI3mRStvCt0nn+EIorsvtzSiRYiZC0N/HALQ3h8u4ojod6ASV/KBs781kFwe8X/CDwW2onnIgc3Rx7cut2Ay9LcvrVdP5TYxQssi4uLocpHl5qF9m0ThWgabj7houBMu8LDIKtbBGOD3xiEKrVx8nG0yh6+ktf5IWoiPQ89aLaC98w/YW9WyBEp1Ts0wO54v3JfgeLMiVlMNIHM5FIsnmgVGY9cLjiomVZDBe2nd2hJddj8DN+jLJYYboi4JQ3ON3Gb+yYD6pj+B7DBKAGAi7nW+5UAImsaQv0T369EXjLzr+P+WwepRGRUl2r9dVKT5ZW9MPcFkWLf4RJEn5zy78GSwImvgnGrnoB2VSh4HRVRjBwVr75poX3wYXiEGpMhNN/HCdG0B3oNG7Tx/o9K0j4Exsi60PKLeoCJfMhtrwoG9T0Jm0qFIaOsJrU1TzbprnAqy3uyD6gGp9+zBkczPPmR4ZY3iDY+Wv4MuN5eGc54CeAEfXW3aR9idjWrXDPH43fyqtlF9Qjk25iZCu/VNldqrR9W0C+VV1Z7fMZdWUHQnwFpIdCPhXmSVxhZxYLTetAvysHihfQv2QcLZsG0vaqFOz7Te3QQNKpobCP7Wtv2iWIqVS/n5YWuoIIoBUiFqTey5AeAC8Z+OgE5JfuIpwn14PRs/R2mWDQx5LICKYuSiSl0HblSlYdoK8LoFQuKXYy1w5irrFQquqZzSNMC+joDO/S02MKuu54eLx9cu9G3a+5qyneLZc40wkT1UqyeJMKX5jiRwabWR2vEbWqGfe5+isbMexo7rQt9h+MQ7tr4xSnRdkmH2cwEaxAURNS6/4hR1fmWTQGST+z3e7VsFd6h8EVYSBIyJqlpQQz82ema48p77RHq/RySa4Gp23A3/pI1dqoOojP9LApBGucgy8lR4GFuwvzeVVngbksgsXe+7cZ1fxOWTdDRr1LqjlwgSQYl4B4E6PYsq2HkaqJh0FV0enrvj5UD/HHcDLi+uNdyEGO+49ODVuupRmmrXbKEfVGsfEiztgYEM9pPYgENoMXuB6ohPvrZqcy41cTlNWTrcZ9yLP4ID9zwpm8SXxnEl1vtDYbcpZTwE2hxWH865oJgn9X42ZHMQ6d/IdknBpvjO1FsmNAWE2BF9ajkt2jT6Q0oDzAcgWgG9/DTpsKzI8dp4G3PxWM697RLiEILkx2hVFSTsr0s8weoI8TzPqXSgww1DXlW+JMG1FvscCEkWhhbRfiK23wjcYvsSEjJu6eDZuHS0e0fhgmwDxHs3pbkqzQJbSIPrEwyB/BRckQ4rH4O0WiXIMCKlwTFhLbhEY5Y8P9nkIAYjHgEjEw3SxT/dA4JCIf84HvkBDQ7cBfZetUxMf+wUNN/gqu0Eavm15ey6s++UFcskUK/fmsuzsLwi8uAvbcBFN1ZJBjju24HuOvT7BwEbtYcAm3GUhWAeA3XwftwHA/RfftMVUCZpd3INrDfFsj1L3txj/TYaxiv3t44cGR/1Hqklw/QaJHE4X8nyDKwBitHRvBQ6VCM+/UklvNIcgpRdox2BpHcuYop1mh7vDcEDf5vhwm4sBJFHhcc1ZF4yZCyPdwy+R5rClAaklTuUFLhdo1nkY4Gkhyxqx+sEV3wNHsZJoyggvy8DISFe6yr0R5FLXvS24hIEmy9wQ0zk57aOVogNpCekV1Rn1SvYa3grCkS+GWA0YMtu7QxztLCFHH0GPglkaJRIpwPS1+mJ0ZhOPheDZ02CAg0y/W/iQJPikPqjby0ccpsQcThO275fSL61wIazdWxbSMaiWCvZUwUf5WWC0oG7kLhBJvIoOqTmYrXnE6YXhaGQSvC9YOVG0bU8QIfcjbzxnUSLrN+kbunI6pweQ7a5wUPiAKP+b50xRaubo40lk1bBaduZyIGh5vxFR8FOGO3ilsTAmRFUwkBYNXMe1O4CL71uOFiUDue1YJ2dW3r75BOHpU6oeH3NJBf9nzTFNJqzTrI3Q0qRKARNO2InCCFsu+thDTF56UNoPZdoEgLxMhEt7VUdDtzkHRKKWYECyTicy2/ZH+uwHWFi1o/8hQwMP3uDB75w13ixLA0dY+uVe6lJrHxVDN0sTtbmsvcfNms+h5eVdvvOR8J/c3ls1bdJnY5yi/zm/27wbq/I7pM5Nf39f2S+jmYV+4reoXCJwtJ4VKsYxPkz4kfJ3x56tsUHmf/sQwpC3nTlTo9gPUxQYwEscU/pH1Z1F48XCAJ6Rm4xweeGcZRL6xeyIUuSzJbDSWli20CQ3W3ZxMEhm0tkZTAwvoZgOtbsz1U74stFBQ5GAMOswiPmpRrtpF8lA9m2YUOxQMXaRwpRxMx6Qor91j2SRQ2dNXQKKUYKXyLze1K+V+EAgPXzTIqDaWGdvuiC2g6Hpr4lHiM8qjTre+tGc9ow5bfzbWuHPq7Crk4sdHZxW/eonQTXGQbMtu29OWxfb2nnJvZCXkHQTT+O9QTMs7Ntk6yGF99iXVfsNfFoxyLpM2WlAKtd0R0p1tVeAZZc1+9+pxd+TbPs1FszI5eUG+BA7/uU+DQz81yfxRRmm8HW9g7+6p7owe+lakfwsogK6O+4r6Z4PEiWrxCr5bFYP/XX+9qEFivGoj+mS/WOeRjat+UdX7Zy9fIXoeNDdi4d6g/W6JewIjq7EuD//RadT56FPFTJ+vM6gfSKth3m1Mi+GjH/OI1m4ZbiO5xyNxcHKhK1NNdFUeFVp6X6Wx5VOII4XKx/t86KfVYfRtiLFIevQ95ADjzxvkHf+bIzEK19It7x0vS8VDlSKhuYa/N+LjEUiKqDBWQ+TcD10TrSJfsWela/F7IgB3MeK8VuXgR0LfjfFTpR6TbA4qvtpZLGzZP5h3ZfedW+i+AsEktYvMjGS68RLWeCIZxlQP9uk8qWWxDJz9xSGpRuPSo2qPwQfDxO1SA3HpHjeKzEOJog0vVPqx3wc3rSEtBJYp86GQ5SvNoVHEEkhxiKGQUdZrcCrrz1Lpnjw7N23DQl+1eBXmapX1hcQnxGwz/gcie7dY10pFkh5COEwBbcKiwHCdSaF4P6MBpK1IKGAN1PEzNh+Ofa/k9woHbp2PTLjv23/2s1V6Q7c9tEo0RcGRFYCwwzUntPFaezVj03OTtqMrsxoTBSspiZMMEVf9rAHIx5aVgg5v5c9lzafoQp8UbAl722+h2ojqmyIwqSi2TB36D8fpbpqzPu2z5F1tiYetfMV6TH5kIU2+ZVclFrPtvUZSCfi7k9o53o7v8y0HOabu6VWzCWDW7hOb9jH6ic7ixAq4cnkVXRS36A6p1qQYlK/YrGGyvHjwH1vUs3t/q3XROjHUUbWsruoAhfj7VDz2ZaMAxSntKvXMhwF0x1mttAWegIebwb43L2ou3LwT9Dn0hsMjdpe0F/HPTQMvgg9wJNl2eY7WBG0CHdgcee1cDnL79uVixsb+maJKs+ifXswWY2ie5lhKFVLgoRilkJP/YFe4LeljzMlPMtq8oOUmncAFancs6I+B5hClMcXa6FWSn5KDfp7C0VflJmGlCbFnQsR2GH7VqLcwQztfkdzdAYVy9G7hSeaPaHJoRaXki53NyI2B8KaGnkPKj7RPt+llDVF8BmUeLvaE+fArjdLexqWg/VsqARq+eRWK+/OMJgQiLmxSvAaoD19aL9W48ejeNyWNq0jfi1DJb6USmq1ZBdoDbdOpke2OnGTNqIyqLsnL5x+IBK6fpdoFjIUHAUjoxg36HMJIKcSVPrB2euBNFvb98xh7yBBZGtIZ8A5s6kmn5Jm4r9b52GRtQ/z6hJiZvaMrm5OcR6/vR85r4z6qyUuiukXuXLlAFqlqapdjX0Yq2ANVxV5uThhtNPX0N/YeFqXynHB0gywZOcOk/jl98MeR6HYSOyZm/HAjjdrvYQKbXtlb1xYfQb/V50J+6B6BqpyfJwvf2QRHA3de3c19vc9VRcIyQF3l8UFHg7o3IcNLf0eLgLgnIWIRUKgYKpn13ZEQyZ6u3lCZp30cVUsdym2Kgo1QlMDsTe7xA+467e683caLKS7VxLSHR6nxjMsQeJACxpJBMyBTLekl4jWPIUMImzVU8paCbG2TPaPertz7J5YuCzJQQnqACrXOi6RnmBwS29mror57rCeoRk8qq1q7aJQEyEFys7DQryhU6FujYPRjlA2MxPPJzKz2hDbiG+nB3zv1n4Q6M59F77+GVd5UjwraRAwncu60KIlq9geU7x6uNAKaj3X+sn3m+rMpzRXiSv0g4y3LUABxzleLAXT5hwRQlCQ/dqRD7JqZ83Fxtzfp91wMWnZqOdk1pE9gPUNYmU/dn/J4ChRsDzp8IhG9XfBpKOaDU6P4DKU3lvss1ZaOMyYavAkeOgpp7XdUKLyarVK4TNYcc2uHaW7jwiEjhrRhtCWjrki3lbwKaQ9eczcLpsSIdXcNnvAHe6d4EA0+pCcGeR9It8V3uwQFc0XIJm3qmYAWXH7D9/NZClEWs2lYFOz01+sIg7JsQ0bXEgguEn7oXcE3Yl1vj6srkYUO2GPGMzDmGAvIwjCgKOY+DmgnahrQS5UaDkigL4qRTUl4fIrerdQW4fDjWOsdookTyNFp+Oww/ujyRqaPXgy+tSF4vo+ZTLxOyNnBad9Jf5pP0JSQp1XFQSPgdjRHrSF5nNYz1aWExXBBLWEci4rLH+7yvkbynIHSndYCe/RmqWE0QTgLHTCB2JCbQ0HTXi+wRfB26csCy/flnP+4J3cgAnQi1XAdITjBccPgfgw//zdAWF0aNMKYfKaxqWAos1eEPXrqD0SPFNMACrhTu+xTXIQOwDksVNqa8s2YB7mqMeySG5qX/NE7qAiFxVtMu6jNEus72Cfscb4vgZ3rcVQfijRMc9q9RxnRLW28HjUx9PmQ/Nqj4PhbQZHWPb7b8YIWGf06GThVDbGYuteFi7a1+iTvmgNv5vW/ycya0mZDyBdC6VKX78BO6Slq6T056o3W2Ehf32/Fjjs3Ssv4sbMonCIqK/Y1oPmA6VvTmv1DOGjrHIwbtCZC7nsm9Swj9U6CZjTVpqfyQjPlpaD4GTtg31Fb3j/+ndzgaYbpUxuEKctmpKOL3X+T8SY9ZghsCri4bTlFcDsVd21DW07IZn2sUsXtZCiO0bGCWONYVJIrGxBrqtEDlKy49x8g91GyPcA+ggyxDj8IrQv35i5F6hvTxtnm3xh0DhbD5JHtMMOGeYTzi8euCShGaSdDQqXCGhE7nRsQBYWh6Cag3eM8OYGzTb2Hx1r1sn8zEe0n6D9jYBKWYFN49pTD5aPldu4LjqwrW4v+gK+buKSy4RxQHZW5HvGr27vfhhKQ3751KkUi7pqWH+Jz6SMuhYYgrtt6/dBDAdTHsc8nrKv1XN9mCaaggBsxzLrWuXi9BB9N5TyB2f9SdN5bsV88GtSYa1vm8xjLOcSdStlnqwgP7dt4wGy7cGVOHWTC5R17Fh0vxDpuXkrR2apYPk9YiurEaCy/DF/Ch3X1ax5m89ugeurT6sLuPE8vNy4Y+nu10kcTseElqdfQtsTuJ0DMJfkUEurnIv+uTOJcctl1VtnVTGBKCmKSF1YjgEGRwpGtWQ3IutIVX8OXhBKowcfLRXJUdqEadoDeJ/aEG8dwPpyLf6YWNccCrb9rtz/j+PHKTnHPcVOZDrFP2NR8A84JwNt3r8xxgz24MSYYGdBPwsuOAkgzjt+27WbL3A2qUOCJkd3nuMGl1qvuOy4fqa/GbQyxuG5MAXAeYVT6t52lubr1fnTHOsRp/OEzsgVg6dlnqUOvJdCUXXkMQujcw7CxFRMNctbZvTbj94ixd8+yAHZtPpnz3nio0U4qBl+cjIm1Gr+eL0l82P3HtU3qgLQvPQNanz5+4Kp7SGNirbZpwojVTV9uGZVtqOSpUmnjHNAhVr9yDCmEKdPK0OMxbEuzUjMaRbfQi/TQHyb44OaGyLKE3z9n9ZDJ895IJ5tZE9FgbwZ+d1rP6cACsBU/I9BCS2Hlqlf1gJ4wJ3dTO3iL6YYXy/va8pNXPeOhAwPe01adJAdeBiMCNFMqvG0zHropmDQmVEJr679ENLBEgTKcg/cwQ9A385LyIcuhEDiq4u78FywyvUmWXXe1dcv42ZOzgT3HzdD+S70p1gg41DTQWXPxNVw9/FFfrPSaXbEIxfa9yf5qkuvBcji0phXMDvf1r+zShGhBCCsw1R/OM7jMYzdS2zv0cEuF+IV0cfz5LEgeJY7eiF2cBsBJpj6oUxnvLdYHweE+4dGAKMFo8ez62wghzrOR/2bIhHXLMVfzdys4Re7BGelpw3/DXRIMMTnWd4QK48GJ0RnVp7B0X583lO1ZYmsnO7/GTg1uZyJ/s5XGXhm+yewJSm8uT10eCXFaXgIMZJJsdC+CNWMwuSH9yIv0bloU3aAPJfEyZhdIAO0pxR069RfOIGKlTrHNQtglqXhUi4afsALsinllX259CaEbasJf7zcLXHPM3HRGu5+0uQ9kuPRzCr4g9sxmTyvl+2u5xSILRXjZaWdhkDqYTJWK69Qwhj2lBJsGopCdFi5VGyZ6Y9QAgL9KX4paR6k2ALlDujrHEVMXnzfYOvjn9LdCVJNwDJFVoaR2Z6eS/E8p8F7zJDwdm2oNi1rPa0HaJjoidXGEannNDMY021OzbH7u1/PLi83eV3O2H2piGZSYVWlUe6scBXgxFTCZi0q8dHVk5gXizScMoFbgqBup7UnGALCTknt0HxUBhXw0hqVKKTZxEQEZmqVDkRe6BRhd/h8yspeMSNqlfNVzz2nZK58khCHKEYB/9m6zDdXWBMMy1srfIK6+XrTHJcFkP/PSEPgl8IZbGOKPmDG1KrISk0FqCjDFNovM7LBxyWiINbKBGPRCosrSpI0dTWOPE8/x9p7NY2M9SXZhsQO1T6qUHfKewWLNNrL7Mg44EZVkGUlyMs/kSIrNG+FQAsMQwK/3Fhz4HjMxYZm2qJ5p0jX1GZcsgN6hWKNBdfXkCsh7SjtbspPrw/6OX18tgq/2uChXFuQ5YT8lAVLnfs0SVyVtNPK8G67hEzuOjysTIr1wTKUaNW4cbrMj2Eh9bMXGeQSPfag/twb3goMSuV7ThbseAX1tJjv59Cs71jDZj4TMlV0Jvmuj/H/tuU8RTpYYVZnS1ANgvw4fXG8BwXPacFdBp2AlYJUlNPLa5b57CwpSdPZDByuK+yTZPqvzF0PT2LZJC3+x9zyXimWDOV4Dnzg//nADLU+TN172qPP4bAVaGJ/2ZxoeKBR6hX86rb0+AJNQbB2qbtZIjFFRdP17zC2qRXonKq2cUswH5swOE2cVxLrD0VNZCnytbtzreqWrjZVmoHFSP5l5EnKE8bZNZNFWyDEiK1t3C/zZ/SDD6chw2mY76gBpuCuLz7m2y/nUpYp87bfjHwMYp3T0N8BYWsYsBaHKgZUOZM8h4DiUgsg+DLHbFRPaim2qTJeuT3Fgd7Pzx6cOlpxdaQX1rcCczO1f71RJRLEjWvfWe/WpzC2Hp6zqURzC070EWLSKNB3BYe9QsdmEx8UC6BVUDYphC6qXr9pVe1ODyLjYZzrAtDOvTvdCXNRrKuydRAWZdl6YkptqPym9YDXY4I+4FowjUnsJnS/mKwVAAjBkldXBxqMOv5XCYrwDpAjdnz3rO+ihf1A2XQOk0TNU9ihRigq1rSTsVsOGjcSfjLQHvm2EVPi9Xo+d+W111SY83/fub77hrYPQHQSwKtpvzGnMIvC2oczov4TZPi+cYqTXTxLtYv1D7qj+mVVFoPdEWDAhOL4YGveaCH3v9Oot47eni295olKbSjiG3UZTbOdfOJh0sbXvPZ8h9sUVtSrrWMVkk6HVGvlLvM267k8Hldt347PV8MKIRe/YA8A7RN0QiAaz54LSxI1ZmLCmFEaZZhpQq7bTmSJTBjlv+xMy1Ht69HTREvAwvt1Vw5Xd0aTU1oNavhvIYHWQmqHvbks0h+zhK/dx3sJIVxwb//qscV4hpCfJ17onSmxFvYl+hKXmYMvyS/cUSszdYdWXbsq31EWpRUJYnNjGgub9zChP1tAcR20jsIdihU0Hm3CTyA+EKUxDgd3YI/UXx9UgOFSn2JJxYJ/WQd5V0LOXa5eGIvI1CTJw0IjzSh/dmgHYSIVvQQ1fHQmPCujsWhPJXdi51y3rksDEoCaMiUkI4VgsClF2VNfmNSf6IkXchlPsfEkKKU7Zqt3vGcVBM+Oz+tKYtycSfeu7z0RwAnUcgqUtncrnoEkfeEd7HU6/S5zUdkpzCii6TuOT13RaezrnnCSwEGICGQGBkrAz9N+NCY0ni4ReYQVVjxrvIpuXRZmUV3N4zzUaP4Mwwgy5LCm4YIVOW6Lkay5z9OwyVaZlf8ahOixJiKl18bpJv+cJTivTB/mw5aGwUXpHRJ+Zfy7bIkL216lVHDuGE7nJXlXbPHMh0bHzrQc6bZBveANFIFwzqtlUEhvRdZUrh+BtvGmuOyplOr2ea1ofy9LONkgpHd2zCI6YiFIm8dEwgzNuGPraKK9EPMay0ITNK43aTupO6cdzgpZ0a3GOk0gpJgKkyvIyi06sI3yaY2R8Q6+cfFTbiJztaQj605G/O7Sl4t59lMFk7tKfmnym/GV+kC8+d+uWNFOjfljl19zE4dnMjMs+dEkqjoj1BDYtriXQOqNl5riIls9jqareJ3NL5v3XWMgxH51SWVHQJTR64+rgNtib2moTnT/8294GhWfG8hdvN+l4Tvs5FJ05TWLcF8R5BanrsRHvbE6azk1lxhaQqraBK8j67g98Ug+d83Dnnp0MNohpgqxbg7zaHSj8lHnpcMsJTjLFhcbmvLPZeaqAk9Mc2OA5Wm7p28NnWDnliLLnghI151en0wVXoBbQ2mBFfj9gyS0/xCqiw7vDfoe8emeaALFJvcxejzJz4lA+VEFz/2tmxrhzbug6Cary+kqJ2VcdLFdv4gBdCdVRCDAprFgvrfiD0PeoepEzlQOlDDIKKmgJLobUGQH/FyAPWSd/0kUQrcxIUkSpRc0lxifz6pWH1k6SGogjorjqVrIKQ+QxtI4HvPB8obkKTAPc03seA6pylhr4X1W3a8p5bH8weVhgmEcqAahxuS3R9iBgyLIs4IheFiSarpnl5gZY0DIrHgv3CgswsLkug2XS0dtgx2yUJONX2kswybdtMoVhyVX7piH78aOclR9QQte4dD6R8v00hDoCMhtAKzDD9MwS+gMc50c1AYoedLQN2iCNQUFxK2oxehBkPjvb0qV8ImndnBLik6osUDOmtm2OgWrolBFsjCfLxTDy/7Mpr9WSdMv4/1DDJ/t6DBnndWRmQ2h9Rplx2AjWOH6BkV3hEDwxMH2ovRwxTzrMn9KOFC5sy92nLOyCd8eHj8tsX7NI7gkY1RRmUhz56gv7OlG7M1Qy7f/XdSyH1o2I7iketMqaJ5SG4TFwRcbCZdCxvvIAQkvZ7Vi78dmkIrRYM0vxv7ueGorR6SVnjHNuygavNEGR5C4orwpEEdRtqNGlh5TBtCIbKn5rm8uunXp+4qHyDSn0X3bUNlkToIpWcmVfefUIrYYwUyx1OspJDCNxzcTL9QvkKvn0ZMOryvlpwyvoc92Of7vtOjzeLXjI7WEEEHAhh61l/+UcPkdv7VUiLaCJwBi1siDD9Q1R/KC0+f51S705U7YwOK5xIdIgZHELIdiTR6dfuIEh2Cu5EOASPopXUuVNTo5Fv7DW7lt9E/a/L/VzsfSrtEzIgMOocFK6lShcYWQJ6YK7Jj5xU5t7cnUXqFOFzO+/h1kOTsGN64ymit3M4J0mpQC0CdOH+vKLw1m2Lw2aLp/HTRSe+pp4JxgzAHt8ERN2j1os5bjsNKEOE8Hws2hnK/dhnpzJ4cK+XdJKqIFWv4+IbX+VRk8/9MOi32JH7ZXB79LW45/1xWDgs1z90SMFMUfxNVX/KVzbXxklDz/hednBPsvHb0alZqyXtOVczdugWEYF+XpuD/ftaht2CXTfDHfWqp2+QHpZcIhJe/p2mttqcfX/xZWCAJZlzUsT4qMgxiMPP9HZR8uyXekMYyNo1KKmHwAWI3sQymnzxi1LR8hJsBaldJRF0ACPAIaZUW5uP3ar65f8pp70vKb9eIGn/aF0aeVdpfIP5kNSSmgFPKWjnwoUQBydHgj8ZON+A+UXlh1E9LTnFYxkjltr5+Iql9PnlZ7Tsb2NwNXxPsRL9XEZGBcCTPY6V28WlSv1vyPWHgQGMB/ioAnoRLN20LxMrAqEwjEu2N2eX9ps09CRG81Boo8D5mm5fBOOxQX8Cdsf+YrtnrJTHlP1KwUVyaTdZ2iepSA+tcQSWXV34iRnN24takl/6V4tSuOe19SKK3X6DPLhR4XAGjqKXbwYHiy4bivosf0PPUtmoYsNAnjVcWGP9Me0izqoG4pwNgPPddA4+x6wcRAHmHfRLMpz9FBDumGT3jgD2PhEv5Q4GQZo+j5EvL8ywf6s8zPj8G18T1fevejwH2VzkRaB/UYLq0OceO27DhBSgv96u+maXFanqUeghHJRrdZSHaqAEb1UYV5IgmXCsJuysL5GRKnQeXC+O096bbSsOc8v5iMlHr8gqBf5Q0ztO8+5l9Z7qVJTdJJcApDvOqlJYfCOHYbFjacwtpft31F2zHZ66RRvoxRx7jIAkn4iipsRdsARRP9qC4wwGl/ZEHS0wilWM/cVLkZa7xWoqvWIYWAa8BAA55H3gTuvQr+QLQ7TC43LViCbThj27k1W9yY7qxHM3RoF/iNbOl3peTegCNb2eDEcaiz9ZoNYayY8mphfGxZhmxbc6sfz38piLR+WkOhvkrBw3NHsPuVqFund9BzwrpsSspnZz7fo/4iBee5B6/wJEp30HpXazdKH3/QTcomJmlGSdiPrHwN+0tYGgh4wyava+n1KUMpmS5Iws5RjhZ0KtDno8pW2MHN7DmQZvzQaym6CkU8u7oXK0vcQCOq1///DeeXupDpESY4PcPog5naYm0ICoShn6B5tItj5sZ12BrrCDsmkqXdpaHHqjwFJrg7nYBvY6Zgopx0kFTcxlWbz12UEqDdWH2Olq1wf00lpKZrcJQoH+lyOUej1SoygIF2+K7HYTMXsto19A/QRyIsYGDyBTJ2pcNNsA8qrTxwdycEWclM1ffqgt/X4EpE3W4WOL+BTTLtfwxdkK5Fb8F6L4Uzj5i4G1lvDBomUtccDL94A60QYGCSNNZXOxNgutpKiWmv82d5b6otmq69YWpagHW8Yv8GJvStWgSXyFvGu38qXZQmYhNAtZybkbRczZa2hhBn50pcTZ8CH0t1sL+IKoTBe5we+isOUSLNDE2BOnGDYW/vN2bGNFfzEH1cDt4BA0o+xaFFxw7eMl5TABPTFqCiqRGXBetRqz/q/6qjKr2y1xS9cE49/wyGfR6xlFPv6rDCxju4olJZ6W9VPQKPMiBSMbx9mQCE+x/zsmPrnjIoUsHlr/WihnXJY9le66YNr9Pniuw6ivZ/LjJ6MBLMNnaCvPEKEPwLLZ9TqmMOO8+27NvOUJ7fmGHM/oFXZew0jD77JDPBc7WtZhqZvavcBRd8upevfHMePp5uVcYBtQH27f5XuIZ+bWTXDHS/PI10diRJAX6pfRx3/u38uDLw5hUsZikh+n4exG0cm0DjuoVG7hICQIYoD53XZdhIbcnKbrWA6f43Zs9iHGlz9pKc9UH0FJE8T4mq6pRKBc6yFc/QuUPlX/AWk4KytSPxYsWtoZfK7HwtoWc4plQv4mix9arK67wklXOUe+bsgDvjFfljYDYHFRpGHDMW4khR1uwOC4E300GD/9J9eJ17WGvWpZ4LMWE6nWVlOmpohxZw5rYvBg/kQokS4PtwKgi0SHaUGmQF2Qm1Q+p6u1bJJoW5lGvXVgLws7IxqXbQG9nVmydfeVwBTy3sbLSyeCUXhem1kSL4b1Ikxlo66K5skkBZamge80v/Ham4YOcLf8fUDGr0uuA6Evs5BnEF4lG9w0pTmSgbdQFG2m/a7nJNVTgC4a5j/eaU1kmsKvXXs1g8eyHgidoUJxMYsmR4sYO48FYukWebV6ufwSj7PEKLiFd13a6KdBOSb7yUwGjaFkM9l44s5crEPuw0ZhO+ONa2MN4601nya+6O/b8tXqwZDo2ux4ab8T3xTB8JdjFRakbtHQh1d9jjFBNiFlC6B7LqbeXU07/JqpdiL6UfHCfc09vGZCLHq826IRbpjEIMQkY22OWyiNC3uvlIXJFHbkZmEmdNFCmD2hpys4t9Tklcb1ic6jzRz7C6Ys77wnO3iU2E6a0jjEFgAnhVOSOMSicaD4vGdJGFHLmJrSVL/savJFs5LCcwTYhCkEQ1l3bdcO0YqIfUrt7P7nHWFe/EwMzAxDuGB09hyJp11Tt2DHE64+4mdnZ7M2IKri61+o/y0lF5MpDmufE4FGKJh2CxCD6MtBGs+K5jyzvGg4NRbXwx1bAAmEUMuYBBn3j2Hv7h9PAC8fL7B2ytC8pq3WbbkY90WotdZy3tOiQp7CKbgt3zYqp25eMh1UNeV9cH+uKRgtwWP/29RcK47J0DOHl8k0n5dMzt+RlLt4ENe1+6kQ6cXMQxYT5isrxo3KbJXYIVnkH+gX3eCRHDvH/qtjWIp1iylcjT2Okeunw4bbTBgJeQO0pfHbEZsdxvkv/nTiWHVaCcHPPeQR0Y9Pl575BcEvQXhZYuh1yMX1HkQdIGIq2lYPuHpoOBUZFUpX0pSyVdgpAkkZtC/EY5WMBzyCtkNor9j/M2QUb6+BJMXas1NPXb/4IqKIh7HJLCTSZx4uDoRaHtG4wulzZ8YxM/OiN7V2rdYjhkiTbZhdQd/G1dE6hgaujuhs0aw0FFzDm0mjv07C/0sVssmmX2WFVVCy33gOR0JtFYPbi30h0iWiG52+/K20htEIBHMGfWkIT6/xi3iaS1n7nDKizrb0/wx++PQ6J+Gy6bMvWFHsFPRzNfqRY2+SxoP+IwKE+mToIC8ishcnHrwsGYWT6jorbDtzlt/5XQrGRZHrA6+KAfa+oR3kXnWmbaCq42Dil/8luf8uJC9ycdZ4Nd8bF4KtOJqZsLr4aZDoXh4+KKvsaCuQgY7yRwKQDSAa4159Oo7CE+2/J228CirPCyVuYHCwnPCqSa9l8m+sfssN4EBoP26bkRMM1wVwhe6q5MCtBS0j2NgWI3bTtRcIwlo0LYVQfA+5uuQRT9yfy4idaH0DCzwLnhFfvDEQ4D7e5HfeHkdTZJokEsOirDIUZyAbhxUut/fbbiKs5MjNllAQG56FY+r9dxz175mTyoEkkMFCoNT3wxyObTRDHWwXD4DZgYOA5WGZEtl584FFE63Uc+r0NxA4ZP7oZM8/y4kYYAEsqSLQbzXjDeUl6QlHRW6m3FekOSePQEsw/ftpA6SjxTf0GJvUMb9ehamQgErmnuW47ZxrG7Qtrr8UmU+EKDhT339ujjh14NwdQxZLkbiWonOJ5GMh4J+CS0iZxxwm4K5ZYcSYAPN0vGL7CxCVb4y3sCRJS1Q1megdT+H+R3NbHHNKLga5CkkyWljpm18qWqPvD1l30RpTnHvJQRl9PU7835EZUtAoXWxFITS0p1gON3/d08mDzaAvMRE1QyRxlN40Gf3y2ygWR+1ztf+q2Dl8RLcJ8LsDbgcJxG0fcjFlYSzEkIJWAnrvGZudakUKq6AS2hSqNqInqP2QRb6tfwjgGypzo6y92Dr8Aww14m9boRbyzp98lHa62QGt4ycFWsH7A5PBKid5cbbRnkMlZ1H6SC8NYtdeipBYr6CE2oNLOx2celO2sSPE7oqQ9x9lm2XxkBnw/glYoQUUQMXPeK/Vuut4RrITtp881o0HxoZ6G4Ywu7pUNbdcylDynpaE8AmgFE12hU9nqKBB1ERmIizEUdfQOFBDJHvOrUhF0SllzA2XgPQb2B6Fh144mF/QRK1IAhCgqqmb98KnInaxEZaR7lNn710duVpNkzMXdZkCc3xmvF9IQv0T9ueWWInp0oqlDh9MpSj5PDSBPUzXSf3DwBqbEV6IXxxjokz40OBohsF0VLAdx/6ZzT4SwVdKwLJiw045qZ11UsNDapBCpO78/+jOH6JZkRl+N+BLpw+SlODRRHM2RyCPkP8A3Fa1U425gOnILYrgekQU/GXWWWvvGy2wWmDrZvElQnVDXU2aaiDmbHxO06hNWRfSbjGfCxKL9Y+1smS29YZgxdMsrrfYcD5WMbuPwHzEKRrj5scwir4hebjsjDx7DYwc4zvTJ6DqqoFv/7mXla34sTotwZYYNI2R4VhJPojshq4HXUcG2o9+fnCYt9Utud/w7IGJkg++/Zu6WYlP2pDK4IBx+HTRaTedS1MRvWZiwb6VrHGPF8MIXVsKReqZFIGHfCJxDYjYk+V8zyGHiQvVvZ4O4q7jtqZW9bwbhogXPa/c4GHwubpnsP92a7BwGfqdAjqZ8TJrhWpE8dvekYA5yVHnJvERe4IkCpX+b88vOGep941trGO8WlBCbh8r1du2cG6ONI8rcRFeMIvpnjNR+/NLPLI5lC47/NQBWDwjolal/ZOykNehtRJTvw2taNbIUwigRxLelWSUUAnlTnY0Q6q31syAfpSR2eZ7fMfjOFUyg3U6xDeKpyP38OTiCO9og6xWK5y2cNmVCM5FAr55/yMiwe3wVI+ZqQlY2teECtbKiGZRVJfXILAE4gXlZObbhbMcHfyLEreOnAmUK04T/KaBJyW5V50+MQcudlE0bSqOvgWiyuMma4KM5QpBlZc06eBFiB13Dqoq4P47BUve+sZJzNZX8nITIwYTq/23txGIhgFXhxzm/JSIHvewttknYcHWJGfOLJEHiEE740uyWzoqNvu5Tf6Lip7D8CLzkrZBbZ4rtn7TozFew56z4pqfpkFpF99FhjzUm9+iCD6hFI2L/BqDnO9bSmWVc3dj0hdB1mVPDQL85d2Va2mHmfkTD2Y5FqsftqkDSPkt19bRwn9TOJPksKfHslS1zJm9DzOjdgbVABnHFvjar5CWl8MahD5VHqCnoSJjRB5lsNepgqjuwvbqoOycMNboiVNBUOprHJrJUse2g0IQU6sxhH05PhGkNfVyUputO0ajL1gJxAtZJ4mP6cWAphWQgq7XEIGrR7OL/XKRzRWmVRyzVyd53gSBxZ7DyhrId5BH8IvlhXTzjehgQsyH37Vsn9yVdPcR9mjp5qw4JJxQocwqYCEp+dAOs6reDE0ucaRP/zxWJ9woonijdKvoBt2p5yfNx9hXa57Ig556YcX3aQ1mnTdtKdjIx5Q4ODqnVUYCRXeGgk1mCpI+SeN3GANd3wFRwOqAQkpK1yN8D+ee6F0O+gPSOtMWVvj3T/prV1jd3zWy5A/4wY7OzPz+KU56fAuTVJeCtHdrQZnZ4sGgjZchr+Z3S7JSwPNK7jgmnbfQo+UM99nuOdQrsGzcImgvsKJZdZ+cRcgEX2YjHpDqBaHZ0sR4H2df174TKAkxzt1tg6KBu4kRuS2haIajqj/6ysEpXCjsICdc6aK0duuaBEbHRRmHTaRmjW5y9zglxeDVQM4yQS3I+IuwcpvZQMtge/TokQtt5SwduKx2lVeTaGN1KYRNfLS99BNwVUzQGA9krV919gdc5NcG31aBcirL3EztaDGkaFbTOFpm1pO5eWfjywZRSaX7xFl5MW0b9Ptxweu7LYPD2kDXoHbD3TYkDfRs7b9HkN565FD52x+F/O3hFNVG3uZs/atfeg5fufVmAHqnvdW0CiNVLPP2a4yQMmIIMJ6iZbM9lrDABHBfO9Gjm6ol8u+uRrGDtsfr8s1bQodakUWiMaEYclAeG7PNUg0ept0sFduxIwOTW6TfD6svi5RdzzIapHEeGImGIcT//i7LyVIbNRUwFzYPD5sSYB7IG2ANL0kv4O2dxE9i8vg2FDLLeGRYIeEQMOOxh+2u1ARNx/DjOKIhQfJZdgUgYWqw8d1ic9TMGCuFLjF2EfXDsQ/XzXD/xz7m4o3kZgDees/2kf97Rzc6rhKTnj7xLox95T+DwOViQAQgBmlsihAa95SDPQ9EulYAwFcmNzIELwmXewdpoJPhKzu1GodcPg5BaR2zOteZgRL2QMa2o1t/ugv/laCPhsWBcYPbq6I71HbRoI7yG8I4iaRswLjppeQPQq014hBTIwpuqFfr71thA/Whs74dmm9kQZoHwvcrQEJh3WaAKtiMvByQ7VkK9KZh+rlbou6EQP3HHI3dyW7SkZ2aRDrbeI/B0Le5bWZD1Q7fIvGAzymtHEtouqliIzGfvp04S9lUueO7Jf4T5H9J/7+/L1/Ydg6Zt3fkxRV7h3FrS2eIrglSbPiKByLejB0R4GYIJT6PA2Zno5UCxZdI3H8sVnu5PZG6Ir8eowxcep60uHHbPOxJl+NMzMgPmPQ6zCaECaRwjtW2zFrgd94OnfSUUD34yJZh2HGLD2eaYEW8aTWD7RgGunGkay3pXTUDdTILFS6W6WbKyzf0mGmcNIqYkantco3uje3l/dK3Dj5nG53I9u+7Er/UzAjpUMfaGZSJhsEiclIzRsOjWY8DRkI2iU0cwD/3VNJebxWd6FT5yZQ7yXlSJjp4i/s6j5zaENl2QqcuvvCjhoOsywMuqROx1A/KJzZNzcBBEb/MD8rxcEdXVkTF+Ow8+h6imj6+zbguPcgIYO1+o44ExO4HRH7/ODCdENR15NDS9EXnSW1T9rk+hahkrTwwSf9X25OCSiW3MMJcaaIby0g9imz373y8yLeQ2my3x9jL8+JM1rYgchDWIepw23bDggtmG9SjvEieKLicLBlQcRGOXvmOFd4KrLu1kV8L9QekOQRsM6HKdOj//DvCv+OgXXo+CbeXm8AIZyuXId+AfQCOybganc8nAJOlDcAsYs5B3W57nGvD/obISQ1302tA7tz+jGrZl/jkIguNXSLw2BZ+cnIC3Er9v2de17bznJ2RRK9+Qu1D89PQouaZ123UMZv6brB60yWF6AjgUr5/27CzTjjq5KkaW67pH8DBLLlqYGY8PYDsx4vMT/GWyWdbCaZK0JxhOLU8LXL6HQaZ2Rtw3oiBcCKZzNCtEzhNfcSFvSawRtddjg/jDlRyLQtN7QAa3fRkCWLxSmmBemLWaOPMEgLLV2z+jwolURoGxf0jVFiq/zCiDq/0h1YbUvGP64z7WFucmLmfwUgGlYYLtbRCdMG2tAhe/YieXkPKXC3JGVR8mAPoRHf63pJ2bXGO0Q8NMGRA2i+xpydvBh/1TEet9mufi2Zpi9HZDZe9C4dhFj2Jy2RJKluqlsurYWCVQ1sSmJ4kIOTi6IBt/V5sUXweiV8PUW9MhPCL49GCYtPCHB7+pQ0ZH0q/n9c4vgryIk/xhH2s75bHKjS8bOZe+8eaPuv/WDi277+sa0671pcMp7sOiIKkCf14SrKjpio4VtWsRvNTXzZBDZ1Lm5IoQURIyEcsuc0567toe4pkj/ZU4PEHuXMdlqe9iCo+03rp3RpG9+NmriCQKI0oS1aGnV4+CLctK2/eT3pMenBpbwt6qzlXFFxCt+u5vrFnWVk2XRORagL0eWWG2DyyuKZcnbcPQf5iB3uwV4ZJbVhsTAyrXGZso3jvhLk5lQFQGRX37xdmShg26xDPKrf59BjBR3Y9BG7KVdHZk8mW8YfJexn1k4Dlo4+0WxKDC2IVCbq++0eeykmcVWw9/5F34AQQYol3YBp+CIhOoAMXqTzOGWftktJVKp4Nn5PKU2jMmuYqh/VufItqhmoq5VbRu1B6OC+B4EJkq+Bir/J6FH7MbOlUUcZKBWLTNUIbe1R08taqa2x8XKK14X58KYGO1W/0xJdahjNL1OTF5DP42QECTguPlPDeP4WAqN/Y4208igZsO0oVSCOfG65MNE+TU81ag38E4ks3e0e7KX63WHueba8H+zfY1PkjmspXYtHPjkGWmcMgu5n3Rai1bz4W2y0W9Ui+z6hrhacDIMyjd9ohVoKnRPLvxC8L0LlNvLUkE5T8gfBvtJgqpVeIh6y5AR0CBZ1mlBpGZAQHwuc7LGKgXxw1vF6uA6Fr5amIbf4AClgXjCC3IWW101S3zyqiv+X3Tn+NxvsU5jG8PnYSeJImoZKAO4fMGFbMfUR8nl3v1dkO3kAuUhXPoEI128krT7ijCqL3td45aw5LnagAEM3A/7BfUN6ETM72lRTG0pEuWDQLAkGkGLUnPlCjrsjmtY5eYIvQMEirin+ryJOI0Xdv0mAqSpT8781WbCbTDaSjdHoaVMfrGTKpsA6kZTHHmQlIw3EgQOXXhTbjc3FomqvW/cuGGWlCsmVROQuqE7QyMd9ybyhbQe/LVNWPBx5MU9eRqD/6UtXOeFb6w1wKsdzN+ih21z3FyiZEqHa9pFAcd8BO2L6b7UNuqEujB+AcLXougP0TmqtNLbH3HQ1xe+I9+YrzQ79gAXyt0o3kpufezjubG5CL1dAgfZZNl1zhqecWadKv3e1tQxQ5J9huGje587CHXLFVp76TWcMIvtC1rYsmzS0i4AB0f65I4VNwBhFOIB4uNMMEP/kkc1epqEsQBu1PKuB0s7MfI6uIUUy29+vur6X/Ta7+3FfrBzgDhC6JdR1n59okvl7UwKn/g/x5VtQpJPcXNo9I9lYrjNdTFpgXtCurVZk5huhLQPaQf5rvIeNTUfiYkhBc1YzszGZyP4SVaL5a6m+os7llvhYl3zas91HUfFlTeoQvF1BBLItBelZ73XLT9IfyqUoiqkz6FVJCfP1w182peLYCqlTI97ovAOFYeksMbHl1W7FYCjTE612f7r6UX9CmO5Ab7T851c/kiXJIR19nVvTqL8fgHWth25K5bZCd8qTeIyK5NPVluUn7iLK0yIg+6KrDniExsj4mhECjChNktgEC1AOzFd8uPBBPVE6izwzackfbPcByN1nzN/ynZnLV+r6s0oKm4faU1/EeH38OiK2+KdlB1YzUcXtfCnyLrM7QDMtvrDX6R37mvN/NT0G2SUHeUdWupL6w3yw676MNGh4AOa9kXFn+pTvdnJL3uhgNnmKgxDBMCw91xzizSfjSArjELJkuULTA0zOhYWo0UqCvkrUQAjkExQI1UO1TXD+WPxvyTk+3e98+v3DFbTEaFGMVmVNSFOX00xhPHUHzh0N0bxdSMbh9wfn9bpD85c5AouFEigfbSWzmjQvKXJ0scgvupPBwu7MzOyQPMiSMeeM8Rr+9LcNwwaRTD3ESZxkjP2TNewXToBlXo+X/91r+vYNrC2QAt8QCmqvENYQjBTLbDbOt8e6ZEsprOd0pC9lwUQgux51CCrBB0KzfuIqORXQRZh7J5vpFoOmIO2XDxDwa/lKY/zfTc7UqdjF3vW5Y6weo3qA9+idB2dqckUD7miPFHzqfGKamvE+YZVeHHuHfX8oZkO+uT7oh0AEon629SRCUsMez/Jw0C5ymFv+3EwFqOdDjvPNSdXne4kTEtdk52uT8yQAUhejxPKKhyBdAtp17ESLUEhMEoGU1OFN3pgBFax+BKJFelwrmei3pwwVf45rjxLn9nairvROE/iF7QatpfCccyZGMrvU3GsATztwZpbw9MM1ZRnPzgKmweqXiT8Vm0HrSGFeyeq23u+COfm3ofHisEFXBo2+Wr0D6745nsOsgJWMxWb4gbd2f6GpkLJGM6WjHu3YzpLl6nvkfwVySlplQ+lkiJ6a6WQcH53R1MCTL6eaHy1JuZ2ZOmohXSXHJXpI9VMJoJ1xQCEKrZRTckUMHN2rjN60hPmYRzGmwuNiAA4CPLzutdfteuVBbOhTlf8VlXvWRBJrrq1mwYc2Rcp9w9IzqKGGEZ8Mb8SmTFG+6MEoJX3VswdtnB5iwibiaSDkNkjZSZLSJl7kHQuzmSrllgnv1GAoYC69ByTBpXWzDO9Ff4ZZgbt3MxfBx7GI6q3wcn6phJygi3TxJgse0mrAUJhC2Guos2Dwv6wPXRBZdaaejwS/JLQf0W/V31Jd0sNRqmoomo6sdc6mkf1u2l0hHlosTcSjq8Q/132F0NwqfwFHdaxg8ufpzUxcgoXygmUcdnWy7qC3ZYmZr0wFVScc9gGWQTCwquc6fLp+7zXscUYogTWYPtQxQvTogwUlkDJZhjeUGlqlJjn3zjqweKnjoNcirhpalOcDdA80iYmfHrf0JWAqnyxsExQw4A7kmKILUEpRaVDvOEelCekIs0Sekbuw4fRr7dDzkkEqFL+861DhJ1x4n/Uv2NYB9YI78rOFHcfMxjjUGxGWlTeGZf/k3hoTrY3NleLj8XMF7TmIm2lgr2zrs8xXhiaDmG8YheLGh3h91ALdWZ/u0tEIrBCNZjqzM0Qxqu60Ld81BqhBuyFi58yQcpINejSwuHABQsghg7PhT52/OT+wz6YCwEUkNSHcywKrdtlLsVZoTT6Or92itOclnSEqDqTzNKvGfbQ2xHIRsQ8ucgBSafhmfO1cvpYE3Hl01P789WrmE2Hzw+U47k042PF0JzWmpSaxpdY15b9eMN39yecZ/LMkVUTDQ/LsTJGz3sG4zD4RDBk+StH3RiQmIKxj0EGOmTUXwhy47qozHUmwS0eref+xLPjLkw6fdH6uy20Lw5J9iVD4SKt+KETtrZ3gLIHiRO0CG95Cn8b9vJhLELoxPHtTyRVqhobl1E3QMPzDSij4j+b0B2a2qD4SBQv2gsjaH5sZlk1QF0H/gFeif43XOcVGVzOFpbhv3eZ/ICsHlL3N+/42tkUeTSeAJFBd4XnCWp00G4ogyGidMGM+SzwwZGM32nRLX9jgNleWv0s5CS+06u1qo48FxwDNtG9hK52WjyvUxGK+EwlSJW5T1uG46QtuH/DOwHPnwah1ogcLDAOnjxQbbtUPiYSP0BO877DtxL9YS6XeREvQHfE1XF94YXGIwMZbqEJeJwbOCCPCaKuepHOPL7oYMqGvx31tWqH29HyZCS3DswpL297s8hFVy7K4B5EDW05FsCLjp9WY1j/zOLjI1/leKfYOKvKvgaOlUBzN1tVSONoxe//K/kv0li+gjpLsjSSIkh11Aw40TBnJsdrnTyWCjTNwVtcjGe2fC+UjzIhc84ri6lhjfQOS2vC7+St3WTbD90OJfNTNs8yuqsjmwFhNegwIyW7Is5EaAv/mkcxQnUg2aNYh0PnLiD2Ccsy79Z00X5Bwu9L2dcCB9GcL0EeGdAx7gXUWOC1Ewfr3778dzf6fODYdc9zpdWwYc5x+LD+EJHrt2aa1YdH5C3dHZ1JbS5K5nRnWXJ0P8ZUYpsTYV4Isr6CZBJz/ZcvLpgUhRYHoIgAF84lCgbjhDu1NGVkdBVZbLrV9OYrkRrj1uQ5Zeus1NakjXOw7WcZ+Ze7FNye/MBDZryzW1/OS+7BNiaBJC+6B+U+rf6H97VsraAB/qVNLIqrf+ah6weAeZEgG15D6M4N64PkSl0K7ocvwt5XFKergD0R1iz3s+FoG7mMYT4yOvA/ZNAziLO1DLVGPkWNRiprZJHqA2AfZW/ZpUvEYFxfmCIDwhcHEbTapNKYdTgpYcLLF3vBJl/gA7d6l8SVVPwDB/4Tkj0Fw9VvffBojLQdmVi3SlvbNr6IrcLaTyccJBzyhrPxpDdoyjEJ/WRo32j7CXOr7QrRLFcsSg35dq+Txf3dN5nI9WjFk4V1kwwCd3Om9rpl3IoPq6dLdwL8nEQOf2s75GaxsKICki1yNYtuXrl14YNwfgq30NrSiiSRhEsfV4PkqEgWqv1m7ESaWNZn4J90K6zHFmLfdom9abSDZH7j0MDa3uKbh3Agylgs4jwJlKZVv6feEub5xOxy1ruEHQFljfy5RCzXA+ff0rh/6pxKHStQlld5daZkungonhOlaDqg366o8j5h4Z/eZnvWlOs1MkCatOrYcHf7uvSfq3Vq8BeKL8gHOKHljd4UihPMSVZ7ziE3lWZ/nSgdUvnju6fTZi48CdK8x0bfC8+5f2aa6CAO+iyw/85ANhJ6KExWOl2VdZAWiDiaRfmFVH4to8qNo+ns/Sg2ksarsUdP0vc8iNjRVOle0xPNC3KDhCG6zDn7117ZruI5BJXZoG8MjVkb7jM91X9xn55/34b361IOt7ABDq9CDlT3TphpE0zpd6EXLDSpQPzxWdlUPo9NYoY20E3hb5ugYFVgl7Xbzc6dmFV6GQMixqXPhisUiBn9zzLXXZ9zL5PsCB20S8iaefq1lU85k6snOvI5f4xDPHsiSKcP//Mj5GfDA44oy87PhG184OH+ITOl5VMeW3i1m4sUGxmUWOjpVmvxbdshP11dgo+R5IQ1iveY8RM0+DLWmDJmc4uvs1QIDQe4GxHa481BDhdSH3PawpRKj6Q0847uOMDT0vliKRt4j5AACLANkmktyHUiAB6uEYaBJHjr3KEbRDQd4WaesorYZVDdXRCVLJL9rCfxvXApspV8NUDaKPBeB/Yju+4cMSfUgTaIKuP3aXisCs+R8A+ZV2j9zRs3AH5EhizRdbfW6hmJ0sKJZtIoqHAQXrKwFWrNvHQMv3q08mYbkw8NIUOL3u9rv0CQp6DLMBN7mk/8XLbrDefkwJ4Xhyztilqu87+oA/HhVObQyttEE54ZGawqkc/uld22mx4upRu4gPp6A6A1QFUAqJn4QpNFXL1vOQeA9XkMmt9tsvPITStlQRvWdO9aYYUyANzIlJ0C6Li5BBqAwry+3eaRuszz4R/E+nNGdmLU4P1DNE4TXqWQrvyGm5Nvp/Q6u5BAiGiOX4ThBKom/KCiDkx7AJww86/15ejbvZ8ua7DdamBLXgK4z2f2p6ZW8EZ+NKlHgElsnwD4CU+mXkMA4B0t0bjUjkprb8zCUp1x3/aGP579srXT12QLuv+p1Bj1sKWNqQwdL9JEOumLxRU9nPkd2FCnQfIZwncTaIi/M20OnPxUDovZsQcbhsra2Kg+cQMFmkW/uQu+/jyW4nfe3MAJ9kai3VjcuRpMnA3sDMM1f7ZzVfUvI/zeLRRIPUbTQYJcn65dzBtfX7XCU9WTxTUgfCYWgUa5D0MSWyQX/5ooPDZLXkW91/pgwZEE5KuVlDvG6wJxiZjX1/+CGYXOH9RYd5nZTMUIam0fnErJjvhf3YovEwCGlbFo06ZIy+f3JiMBgQUrgeBtPOOY32Lkpuvxyhx6V5x+QG+znS6oFtZ+mSTVZSB1MiUWLEgLU9QI66ZLrIsRQK2Ge3EBYLG0luhh8O2g3dfvqKBdfly9qOn+/0V6B2uHVt6RSoBXd9ZZ0iiyX2113qwIpRLu5fkytt0Vrter/8j8m838lP1qfmSiPh+5aF+gKnFxDp+ger/fBvkt3h26Wm9LJFrGl3HD1AoLXzsLrPgTF1kUOGYkB+pjFK9c300Qg980sA6VAbiJ1/Yhg7qGQd5mkhH2ffcJVj09VEl/VB4h1pvouOOmSwQ7HLZdFA+X1hVU4MQc4mvKr+riTCXT2yE1odaMehD4AfJuu8BXsao3tnxo81nsPKToudIpt5Y1CzR3+WhTh8E7l3rj7l4xypPn0RN0iM8wPLNVmX54fpONT86vW8ZesYCiYVjGuCcLWX/txy0PFu4KBGNTedrbzNNfruO3PQ9USmWfafD8ffvmgcoemdEMJ+khSQKtCdIuCoafFlKsdBa8vui59BPfZYlOCoNlxkPoGIhW6PKpLPzdosoXnghFh20OqChRFyO1ZVOIF8LmOAV5VtKlVY4cOrQ7PXbCYi2nkdk8V89HhsPG6GHPETpXxf8fNqVsE1rIAmmI3/3S2+YyXxkh0ROP1XHubsm8iXNlrPH96F4Rh0uAWZdw8kE6iPw3Q4z1zPuux+sZmi1LQRpqSaDcsX6BhoB4Beg1YUarjYxlY1VMdjXUggmxQxzlX68FUFk6b1Pa8SokNQ36zYnaLhcsbElCf0W8gQUIXb17/WXy982ovaWvM5SSwOol9UnjZ+9pm3BfqfiMG++qJGJr6AvZgyzkYbiMPM1edVTmlR84NF+THF8geBCe2xp9bINY5zW1IuZyx+CaWw0hxLkPRwKtKndoEf3VEhlqWCGBpQg9+5sgF0juMN64jYB719Wihxn20wM1DOCxkl/2izuOP98XZ/bwzK7DAcxr0H0lP4LaHTlXnB0GByYXTKTGCsY9FmH6Rr1plabJ08NfTDkSNDgK2+bfX7MuS/gYe9ag0+k9dVQa6BSnTEigV0UWpMlqNznG6Yyuv23+DUy5ePrBpiim8jufbDVck/7H+CAZVtBiMpUlRx+CWnFN38W0Os3vHaHBOVtf+EVD9sWw8d0edXJBid+uitmn+mjAPsY0W99PzoqdyTtA4QqFiXDK5P+t2FX83AzPldZIQ8ywISft1qLse4VAMUTQvWt059PtY/uUS8MwN64AUV3V68cXpwdH6Zo21RmCNy8cjbjKMSCn/qM4j4KRrMN40EsyRLh+6t1bPNXVtHQsSiR/d4QvTfXrgAtlZFWr/6lQ2mjmxOqDPAD6WrRluTWUoWeuxnWtMH497JStJATNQtkhRkO8CgP0rMiwsrST0rimowhCyo9DcsXbTvIwGDnCQmSyoRaY4IHPVYYJj12VBaIgvfWB71lJEqVJ+ySBoEQuBvb+wQTDGSBp0BklL0sU/Ke+xbcn38Y/q0tzD6vMZ2WwFFBDXQ2Etiolf3vlfC5xIa+fuDiMqpwUY2uEpjEH0lbXOk1b3Ajws6x7u5pJwh0TYK8zM789/1cDwDNSYoJi2GcX3ncqL3SHbp963LgzvmJQzVvxRYPs6gPA/vzp8IdjI+FxFI4eCCMtXvAkt/hkcdzOotYfHKWsO0hivZsTYh7GyqE0x7XFcEpb+29X3CfAr9tb7dCLDFZM2EuhPZJc8jkGbXlCP7VuV6m7/CUhrGW/nL3TT0WncrGCAwqhgA54iYK1/K6lBUSo+plTPcbTqFpfdNd8oEdlxsy05H6JuOFKPpa2joJ0UPcOBNcbhyY+lp+LgTlRVZu0JoW5zHfuvZzZMsifOlRbTGEMgOpOdLE/BkpAO3z94t6dRiOsKomKD6Wnh++sOxyCEZBKNYO4+6bslQU6s53DArKvkT0juq+5aI+QtCvGGjVNf+s2xhUWFLE/tJI36GOEBiUSSyKlmhv0//q+M5FbdNZAS5qp5eE53xB3padzUSpgiwcUpnLmpKVhVe49nBfxi8+7gtetZxsB05cKyMFczk16SXFqmmNn2l9eXHYS7fvNqZQtpRtxxnw0vtXxfhaAdkbU4PeqxGlxT9naD1F5+GGLWIzezLmFORgALU8ETDTE3KhNeOaTxLggKDOTsHa08Bb8wrRXiYsl2jLEJ1jXSBMddIxMnGX+QR3ECf2t3v0zrcdQzsXQkBDD7bbuBe+rkQE5Fng8p5KzrbCXbfcgFqOSxVk3N1vQjtAwTDI7nrkE+tRc8Vn4YrhXJz+oOnLDXDSWvsIf8rl5tNl8TI0KiyFcY2RLUqsSXS2AtSji4ErhrBXPWTOkBjhKpQH2X37TfnB2BeYJkvkOX6DkA41WhR+ewbjP6rZci9VksGXNZz2CrXGv5gEzOXx2END0IGTCES9+QSHz4armo1S2qwBsjPRj1GO3P18r2pOoKoEwqdM+099QK9MnjE9YL8N/SSvjz58pS/dI+CiFRu/tJrhj0LU5OMIDUKeozOL9RQZ+D24K7vxaKik06mBdZrqHyqbP1Te0Nb8qFWuanGc/FrqVOsMwOSj7QEYDkAiALodGY0Cjseye6inUobGw8twaZ97V0Z84ho0Ix0v5m26EnH+jjxmkDuh87pCE7VF8aiTBc5jKJfmlH/xsfVwhycXjTpCCFwTZmTP4gL8f5ZvBKahcSQjS9cPZz1SBsVLs7QGBnP7Ui9KijDv/CXt4eH3jQ7ilPKkgROMI/0mF9kXyKOezY1qTkgLfBhmUWzRPXgSvxpyo4U6LuyW76evOq1ybKZtH0ktALrflEP/csdMQy+mgxG986NVt/0L3N9mqCmC231C2GCxk10onD/gqsotnGB0LkmFXF1qV2RwDPFcex9zX8kOCNKmb6X0w4JYkb4jJzH2uMXX8vFgT7jwd3flD4SZQAERayH5sQW+gEpVYAYrgnHLOYM6oFfsCOevoP3oLmSBoLTFDgqB5ry2QADTujkmdizEV6bYVBT7nhB5K5D1T1RRUEDvOcsvgzLFTgGbqA4PxjCh3ChvIyAtvKYhCexKZLjOZIITM0HgZHfGdNiy8wf1mWzxN6flo6mRV3tClKWLb1kp3/y7cXs8ba9lkHcXCjnt9NHhSPi24lRInBlUoIgxo9Kl3YvviG4J9+HXvRpjqCzy1d/IsWuNeCT4upLpWuK8lYys1sdOMbtpfnVD4LRGKOIzBI18bNyzYw7l24akrFZpJLdlyeGqvjYBl73j7ibmIhZeXVW4fOaMhn+RQ7bisBOo8+7P6TnZe70HdGVct8OfWVrfcJ4BJjVPxwXF/6tAm0R8uHebYcxXbEBAn4ZYdoltnQj7cLhe6C4h3ZbExXL8Wxb6pAef3EXMsYyPe9dqLarjircrHXHClCs6mnqJ/V6vAtRNEQS0fxaBId2ww561X4+18NPle4yHkS3FZuHFaAjz/rPUQWhYuWu/plLCzsLo5DTYUqZ9a5mI66Gp9PRY9GPabjeJBUdyNYQ/kcnrVo9aU7Q75U8OhXRlxoHawFGUdjAatnU3NYjjURzBIpj0zqa8qTSuOSqTBdj5fRyuRH+7aGOiAARdPauEi/nHYkiQQ4WgYdEfTwHPwx6qK3MJnbrc0bNZas+v7o3YdBusUu0RCKFwFG1JoB7zkwaBN/wtahoMcNpLIFYR3bf2MAbM+QH2hlN0ZwlaT3QbqXY9vbccHdNBnSSato2gfaa4RbjDkrhYT8uKDta77hzM/YOjvFdHy15Yl7DCMSyo+i/nQB0hhyTvaVQL4lMeAAkx6fZJHiSpvZeniCfcViAEND08DGIQ74ToHgMi9wU1ctzp0+Fz75LRPjXpvze+5MARtqmfSX16lGfeHQ0+PL1P3c0WBJrMv6CzbVsCXPCdXCietHX5O5IgYc88ak6BbhC/dF/tsKxlzjc3luGLz+G7MizFxxB7iTATgqNv7KtLeDZPfC83WSqTFkv8pv0MVu66hvC7twnaYTQvz80WrHfF1aulwbCjPKfKc0P4DI6+s81P8HQALsP+vNn9+yUTbz9j1YZBj8/C25raWrUDiipPvW0GEosxtkXToU0FIdWc4IRkUD5XmyziHW06WIwFvfrPPqEePwk+UCsrtdfu+wZu6qTSZ28V5tE17Kuz7C2oUsw8I2zrbpG3+u393EVdF0FV+y84o7eDNVYFW6CrUtx4sFyKiqhihTKb0VnW3126Zwov+CZx7YwyJ9scnPWpDRZ/75cKPyiuxzTUf0mz/kcrZZzC+E1Eel30/0beBX5pm0P1J3k/kFSDksxGafo/tZlDSi5lFgzRzGUR3Cpcml/MBk98xqC6I4S5A+kwuGAi7MM8uq7vo2l6CCXGl2uDGBIxR/3+jzVQQC9uvA5fWYMRfsTR2nItCvJVvnVtpz5PHZeCd2TGRKmVoXGzSbWNqj1Nd9rX3sm4EqDgimPQI5kSDshqN3xnoF97SYZ8tYLOGmoTQRbFEKkkqKjDv+kdr9WBYpAwyl+HzmanahE5HLjaX1pyzNC/J4DeqhP91aHcabUhBWvV/V/uiPF/XjbsEEmqEqD0Y7ApnPBvBgYhjnMK/ixuOBDjxHF8CHdmvc6DRnMfB5cYD8ttu4QSBL+v/YXNZkCpeMy+SHxD9p6dKL5HGDA9+OCBtEdMuKnsRVf2+PJVu1/WNPhEtetRlqpJtOeL6qgQUoA1AUzd1YarIi0ImzC6SikIfCubL7llxk76rE3OmO/ioLz825eRahNMiG8vexaCc5MWcwnvHhw4WU5Rf4bpJGlFjqDvEEabTdgznX+jtMZojK9Go1QVK5sowVLKrTt63XVj86y/QuceQPYrX2jMp5vSwhMGv+gulDoTd8PLA1NdeFRiVxJ0hv5Y7K+QxNjxWR0YnRIqKlHFGaTgXiQnO8WnVFroheokgTEYiHwGIkaWRKMZIF0xeDo7GgxOpaSMajpvgGoSpReAaW1cHxpVV+rMdi6r/xYEqG8+TyZObeyXTYL2HTxAezaZBYcn1ShTwjPfE2lGDUnm0tzoM3OwjaKWfBGMNi0TiLYW7fb7mYAeVlQHg2YqpE+MblBRjEftwVuxxdvcq5/ozfaIz2cFNEv+tKfTiY3zwGSrndonIIIT9IPC5qorp4tco09CAJhagpbYQOOi7UZxZRdAJ2HlgAX7nE4yur57euc9a5+EGB2OSScdv7FPsaNmwwa2HYcuTdQBiIqjxIq9DJpevkRinGdrah8EtK/pc4YN5SjyN3ntFmPjmwlzfZeoG7Oqd/GOTLWelSJ3TX/3Mgr5U6FfqarkjGidW0/Z/fA7GUkU1dcGcwDLzoge+heIx2BF5ebFncPiRiOPAtVVVg7zG0wm/anJgWVvGRV4WCK9tuH5P3o9zyT30VvviDapacXWgtpS6bo/dxvRN/IqU7CEE363rvDKwyjX5e4eYAKj02QbqRohzYfxRGaLGuoH2HVlSvok1A+tXz7zWiCiU6350qon9U9Nm41scW7a7Z/eafbzDRIJnM/4y2wk/oYa+fu/qzcsDUXhLxlvcWQwCF+T4nGYukRQpfz5EfA5nUEDuoF3HuRLvl90lZKJuD5xGLvKvNvLcaEg7a9fIbzSK9py9Ch7RS9c+gTMQYW4HjFOMhaWq8a0Vhpz/vgmvVNSaA1gDKqr7K+IM+Vf9XBnDV+U34UnA9y6bGkbCDQXoBM/8IuK7R/yxU0wauMHd7ZwLi052WEp8Fc+OLDHAOOs3w2GxnqGDM5UJgfvz2ITK7x2cvEI28urPtxJO60lf1TPMlDIbxxOFBwIma124X/rO+jcsHkqGfAK5HUIkWgz9pquPyMkn+9k9pMjU+lWTvcPzne/LVYqBs8V8CYtvHKuKqmAc8aBjhLYMi99HSXzIveCqtnFFrseGtNSrAjHY8XoyoVEP9nBEeh/2CYtNscGgtOO5OTbYNtSkM+5+CzVnHq+kqsqk8UqxTU+12Rsf3I5S3Ewb+UXIEaW65qc+TOfdxvQCm4FTjGBJmtwsehHlKYrV2HL3/oO06fsqjNNP5KvM+anzoI9Noe0d6DI6sk2UnxSiDercOgS8320KeCA50HLn0kUd0urIijGl9a1NbdvjrIrvcVc5ufAr0c+lKnxUh9PJKLn8h4Gxox8n0Ucf0eci4Y4chIw4TqcGdZpqhcURD/EQx2073hjOjEr0N4pWudStJZP/yLw0eLwMln/mQPIz8XU7elVzEWdwVPjnnq3SF+6MEsd80lwhaU7fyIk2IFOhMDAJJ5mFoxdEo8r2UYlCU2N2IQ5m49Wg98M7IcvQrKRsjhBCupeh9kmvii50ejoW4zQjlPm0QF66GBOIRKmTrokr80bZnKAVgi0fofy7DmxF+mjwfnHNo0zS/Rij12Veu81c0EQQPObuPny073da3fFvb/jU5C5rXx+sZ1cgGFsCfOL4Lp81Z906Pw5m2bk/y0vVpslFi/JLbrIUiL+Lwej6YgtXFv3R+SsGvIohOxApz4lVowxTKqX+K7nNnw4zg9Cfb6n8DDpIRM52qw5epGXeMBfZAQHuOusTI9pIgMhCSR+dFiix2w5ety14M6OefrIhpU39oMdsm8GWMpckhygPZGnp8oIoKczkXd6YEEAvAhJfMa3YREnX/hh9GFHheW1GchPNYzHAJilD7GsBt2zK6IlCv9CItVOcTLERH4LfYmDtqjlde0YfmHe3NL9zd1r9LJaqbX4dAE/3nyDIPY8Y6+/N6g3W7MEK6fTRd8E05mtJ1OPK8kfI3M2EID7/r4rNTnUbEkmaL/7FtkZQGwVQWBl5XeQ9CHuN2YZBPVZoxt5ZKwV/EdlGiVL5iO4Ewqne8wz7jss4np5a+R9g7aF4V7v3igKtAa2qSUp2rtX9O1pqHU/peMNTFm6muXEL6m9wKgGjG01eCeQyy9cNQnfgxSjBvzDOcnyOkufQayOHFMEq3YyhlG/galGecwghUrGJT5PK0ZGVQKZRjQXYlRVDEsSsdLyj/Zvn6O86kFzZHuty8eSID4GNltVv36OL+bcMXFvPz+cQD8blPa5NvVekko+japXfa5e7uPfNjTdDh662/zhRPKFtUBmhchx/G5S/kYbeBq3OuB8d4BYKHEphqHXHsbU9kmtZJEy366FNccJvPye4NaSOxZDiRedyN+Avn8sjVNCHnYYdwNVGxvPZYpFPfurIzHqqztB6APA5Zg0qHQ0W8sM2OoXR8uB/LND6+vre0vNYx0QzQvN7bD/ow2RkUhUds2HTrRJndCdwERKeCbjolRy99YbTPrxP6SWTR3tB/VeBc/vD6cQc9uk3zvLjKxr8kHtrrTFLKApjB52AEWMVkduCnoz/dYniwjYyNvNP3PCBmxHyguudAdZZvppTQl0VKZhnGomFlXJuxgW5ojVdjmBUEscXOrg5eEPnn0unXq2oDRXjrDATgQjind2Ia0Kg1KbDOv2tZWgIEDMKJeSIp1MQ7WLLtqOB0LiDHpjKRWZmnM9s/kw/N1mVXl5H+NUEWH4B/yPE/RCw30cKzJSpmoBnwDCDePHbbebenE+IU6NiF+Xs0I8L5Ym6OSQ8v6uu6yG1oCVHPqTnY2kd38DaNviNL0QDT3NIT0JYd+5sS/BH0np4n0EScvW+s8JukH019D0wzb65Zj7hSgqI3uACul0BxlwJWW1zbf2dhc/mNFGbxFKpS21rCARykdagmgz0ImIb0Uhdmnyq8D7y7VWZxWZC752/n8J9bV1uiIYamPMjJ8oS7/DFJEh0IjLfbSaHzE+T2Lf4f0ddtNbhFO0jPFoGGPgsSMLYYnzrvcokeQjEMbZPUSp9QJu96Q/uf7olXRq1eXBVZ8OeiHf9XRakSN60a3qlzGeartxZbEI2YW4qig7oG6gJt4AdohFUX1DkmdxTlOWJ3+MKrv5hG96XUu1EzgF37I1hd3XV8md7ruS1vkfc1d985XdqO2wJrx5XwJpcj7U05Q2lH/nRsZgaWLNq6Gy2OT3Kkp5YIcPB8tjTC6R6StxuqL/qnXzyeXi54cqdRHxTw6pGigBp48Eds4+95zajyyMN4BxbioB5bTjO50c83fqIKui/qnx5hCUT2ZEbnzmumD/TSd/uiLQ3J23bGaIkeRvHN2bKJ1tDoYkmrAp4mTEtS5xM13vYtArlMo8WI+KpcJImHSKV7ZdxTZloQCzxtsP4ZhWj5HKVk9kOsVgxjK1wzKIHEkcSABN/Vcoc/E0C6O6WetSQfuSszgFIMxFM7HGf66+ukj3gOUp8eLbezx+hnvSmvrZbMP5xrRRsATvuryNMfhGi68QuDLkNWuQ2uGPxZA5j6KA006DUP1yxGqqs/mSVVjHX3ZdHwR6F/WMJ2n7DU2lSiQU0da+r/jtvRYvtt6Xz1wpNbsv5wZJ3inVquEV7BvQZDmIxh0+sYQYS/ZrGfsZMoUwsomtvXkvW4by5V2I6ruEJ1zJswKe4UKzvu0fEGp2awFyLDJFGOeebTfIy2dqcnhWL2YyOYg1cIl4UUCncog5iQSzExU7CaBfcDC+mn0/IeqpALmGywBWEjoQSCDry0HexmITLbPtDJitFso8IvRB/nLmjFKk0EKSUDjwdEKmSHowtazE3xIEyl66bah/GxkgNyYNROzwgtvR7a48ukwrEjDCfyIzJOHa2bz5o90TWY+w2zFKBGsu9yqbUc6OJLfAAIQMJE2ipSFrJs5kopWNUmKX0+twsGvvVUnZtmPFDrMxqSu/i9xs2d3x+gKGSGH69ZLFasK9Ci73eoP5cbK92bCtrsHwwB9dsSIkZhGOo0WNgGp4ofEePpHjpJddwY36ln/mF5Np8wn7b5eXjZuVgtWIcKymw1CbCUbcSciC3po7JkPJaW/OtrlVScrRxpVIpNHTTE1rYyyJOKw0brWtoicI27e3KtTGsRHPqNJpI9Y4EczQ4QCPTTlywbi8vdW42uar22dyu4v7qLe3ev3B5Dyo4E1NUpZBxnI4ChQf6tjNFV+aWw8e0tG/CjHkXvFf+yXTrqiPzonoN6xjoOquA/O4b6TYkBxDihhdTq8Oh0jdA2ksn0Z1dGCy8HIHTuuWYVqikids2SBus4jBQm9lf+jwL7rtxpgVQTkL4yO4M0wgKcIV8yW8mU01TgfqOux1Ebq88AYZCigt3NyJMJpaixK64lc1NyRYeOmbXRJwQJeVDH79iSghw71Au0fhjLBbNzVJPQZ60l8tG9AsFsnn/8Exv2XS5RRnnYnyyG/ZQMAwnw9VT7noUCUReoGR2HpgsmK4JsuDAlEtoSzkCDLCECnZK0wNnEy1xaGkE7BViu5IGGIe0r4fJZzKmf6Q38FYcHvKjZTMFZw1UOwG0B86p6lTsP3mI1DA93Jp7w2ciEZWWzULqTYZfUNIKcssJZ8D3XFH9DGlAvH1IfhHsbISWdl4HxqJfShSQXfAkOKCQEVPpKvR8mYjaUcbginNJmTKRXrk6YTM6852Grj6ebC2JnNdFtGjLzSZCpEp0M/fiebSAFIEIQZns9lGvD0qB6GYBRS8ZGIuCEcbaj/ON5hpvBtzp2U/Hs0ychVtYxowvQgKvHRP4yR2F28eHopG4yloFJjSzrONOxTbytLmdQw1h6bgstOZiclE/QGIl4AhM+DyR4csxlpfixEBdf8fMNcgCSrNn9FnYhVVsLldyxyIu0iLffpOGIVE81J4cXGKGp+mK5qoQHin/Uejeo/R8wzDtYqDEgCA07oQbfvymLRBaZR0HhxeH/2yxKnqjCvyf/3RNgFbztMS3bqjsCGLS5dvv17Q87wWVFLixcO/mDm7AMZdAfvPYKYQ3CuCVkc8lZFlcO3nnNgzwamIg7pb5HU4+AR4BBVeK9f+SvhZLe+OZanRF+soGHm3CBdtE8a+IRdTpHhL8no+R2vyC/fNZwM18Y2airOGLFAmGHF8Nvz3/R8gdE0iBJJkLSk9B/SnpxovgMVPHM9bxV5c7qqNiQxkJPbY+LTJSVlBcnharVEI9BsLSa/VoKIpvBSHxZ5C37ZBZjC3xCds6b13RbzuQe8LDs2/VcTMUC5mQkqT/Bb8TVQTL/i163LNCpuHXSZGFxx/REt+1qKbLZFY+b2Jsb0ap6dVnXX+DjvykpZUm7AkVLMSBupRwTmCc2GxrOEJ2Nj9+kiQpi6cFvPyhVYK2GW0daWGyFudw1/n5b9KoJycSPw7iVWqF7ReckrswDrk2U1vMNHwjTl9jGZH5pPedRAoX9QEja4x7ogDdiEZkv95rnW40ewPwV892gZHPdww2gQ2If9pq1uEhb26yAC6jUz9+0C5DVoJLUoqV3nLuIXqYSQOnjvODed6/OLDVQzAUo1+S5Hjwlx0A2+a9I0MzkEBOlEnFcWYMMS9OOVOyM3lEwc63aLH5FfQKm7Z6kE1t32+8zxe/saljib0DyUZyUzB+/1wUZXi1LKggyZtwjepE0YvOBh8V/YGOyhnyzL+ONP0n7naJmNF3wLSHpNK6TeYkrf3xMghr+bAqDBiwA19767hSDZsKqbKSs3FbQVKM3B+CRIa0Pp98l4etlteR6263RXoj2QNYVEOR8cLWnDTzXmo4hnIPJiLKfKqc0hq7z7rwElgRku1YQL3hEEHi5d4TjKbd1KSKSYLBL37f4u4PNQcQqr+qC7h5RZLZXsm8+0cLnQie1ppk7ldzFrmOA3Zl7tffsvakDoL0d9sjHhxdUkSY8InCiJ4eK3HfJuPmLnZ4sv2QiVc0UWiR8MqK/v1zNR3jAsAXclCxWl5wXjpSGnjrLcdJ/tFfqKSfVyrB9MRjhX6zynnBkzmGou7dJZa581p49z4WwPp9ERv/HfLjRmFsvuueqlsWWbQA5i+2oyCPPghkAXqrPMZkRlRIVar9hZ6tVHK4bcikQc/NZ+IqW2szMW0jxwe7Dp2Tt0tcjU2uY5CINM2zrJp7xa4LwgIOLMNHWGeBTJdYtmu8yHGalOpuiYVNIcHPoYvOcBdw+E7pvVj0ZkAeTcQyWdg12DNhUx7U+PiJp9xRBwFyfKsZB8rk824phQb1NtJ1iaZppycc6TDauAymjr8wAATRf+xJp5sA0yUzetMKfUpVibo3R2pqnY3X5c+3NYJ07GUWhL7QSWdlqNWr2/APcVFyYhQdDCFz21lF5mZezKEJwi52xh7X/vtISY0YDbhUzMZCBd93X2Xd9zSkuyhGzJqGRwauEuQa0j99KRJj5Azz5qQQ7HZf7FJqOjXBo2XoKL1Y7iu+ktGRRzUTRjKEzPsa+pSljfHEwSq902UHXWZCC636WqFd1Bl+H1wnbijSeudsb5L9tatIZRuJjGn5CjlHhUx9Qj7nwHzAzyDZqQ8ITlje8xHKcQWfjWLCnNzyFMALQqKUe6GTREJqMkFmIbTZBKbhuiBblXROS5em7s8EZO5Fjp5cJq28ZgaJrxUcuPQOP8fMdm4POJBGruArBIkBKPt/3LBSN7yVYLa7HeodDsi/StXQhBeGaw97rpJ1i7/TMGLUASPloHzwmIbrBB1EkhkYHtAGr68RcBvnL3fWBMwZ1vtIJuONXbpvkyjvyTPB+Dhkz13bNrkyDxP8T3wIu7zeyn8KOUpJkyiX6qtHeFewaJvNNbLbGQl6HBtfWCAVGb71lOXShhb0FtrFq9VpVB8BUEpHjdN16QiA+TXonY4tggLNnnEnBHZdo00WljFxT+vcPUjYPrvUx+ZYTr0+29kQf0hUV2f+xiJhCJO+GSt5ZGw6c0urCRjLc++LcDZsx00U8X2x4oUR3evNccrjhngGhuAe00lwGwp9f7a3fKlTYqbgH2bdZc7MSnaYhLVfhQo/NDh/6nKcG5iXrTEeRneRAwg5KFbyWnnjzjE1Aq00YWPhzJWWL8Jul9lRCHqbZHw5HgqIXI5bdKtIECSkijhewdMyeunB/7+cnX5rEP13igjUZUS4RJookv9Y04fgfsKciuLgpgcS35LQQTdkCXKZvY4Ds+O814QO4kTUeFe3IEbs8qycdYY1/9TyJrNYM06JnNQ7+8/fVIEIxdsH4eP4czwaxOPx3pftcE8VQwOOemSrMmv/oazSOL0Gfhsw9e9PfE5GMqMyiCjqOoVDivY7DMlETAgJY5EniLozPcINcqFmHh6eXDHza/f9yIxEX3Vk/qnGe11VQUaOem5AZyJBUARkK8zxHZodgFQ04AD8Wz90Ltl9D6uci2N+1Snv3oVcrnbGncLU38qE+exKl6ZxAjhPclzJTOJiw2msTk68BAEvlCI8UmRsm77Xcj9bKnxjdj7TK9k9UZMXwbyf1MBgflMVGgYGxAIF+JpdWYCMD+7DBT/5wKUjPdvtJQcRk0c+y0IQmlntP3pVW7zR3HjAXFDE00OTfDI0tz2tJefeMLzPDMd4xDNWFifPLgbJSvnjYG4KxtYdCC+t2BBJAEVkZMg8D8fR1yFD0CFSxHAQE4IW1o5hxoUg+e0aENaiXdDRjbrveYaKBlux+JUxkyvbskoybVklQxTMqM5+yqbfiFbxMhA/O5M/UQeW9LuPg0muRY+QsfL1bHgV9tVJ713VjiCE5a2moocHBVoKqtolO8kam0XilZw+WFGMzE6/oLqaHmPHIfFc2GqPu+CPgzIJPVamA0ge03VKesKUhd6q5b35eN/c0+44OrQ8Gzlf7UGukOavV4UZRu25dQe2YFsGYcdvnklEcaCiajnNuKUH2O7ZHxadCPvPE372JvYe9TriDFCt2kFZmuySpnU8oNDzw4xKTzlKyLKE8/kuNnsB+aL1rvlzfC5dQB1KmLCNNmgZPTeE6VrMiubuh+62ZgXV84ADJX+RVICq7g7F9IprMHjYV+kNnyE0q04yPk/nT3V+3qD22dB6wPsDtKAGyxKKscmqrRfVRu7j5E2ANaa0UxyBxq2GMacRYeIi6iY6azXcntWe3P5wtBSUioeOuMoFkd8gfQNAsuBUhPbJjNhsAhHsaq6ONZYmUEFJhASPnXuMgwE/kVcYRdSrq9LNOglZ8rnp4yqK1Pip1sL2+XsSnxrscbKzSUkKioe5ezeBu++3DC24LMqvNYYmTubx4gXvy1HF8dY+0c/hJm7JZqnu9d26YiA0teqh42hZ6cNwszN39ZKVTjyBb67MHJfA/4tXqhQnfwtJpUEz8Sp3mePFdEJAoIsNeNzF/K8ErpbMJMsY55p8STJbqoDlyCDZ/nhYlLWEAMQl6/eTdEc5Lg8KFeamP8AP7Ub77t5lGsnl4c9hVivuCMNen/w6ZM91AUv6K9DBjZL76q/P59/5O/S4yEfs0MCdyjvoEAwxgGkjCwIR+ZM0HgWJAgxmRfmIGpjeAeAmqlW9dyXuLXqQY4y3YkxZHvTFpIbQEqEFvmYvcsYVnzuxmhmymz1agXqnFkjWh71tQ18DV8JqAsZTwHTHgi4/jY38qTBerpdU4vZNj6YO3ChvGDIOaA0dIESsD1rbKD7LrYwHSZ6+4gW4Vw7MVAfWYPspPbl7hxS6b84J4jS3iLZhx5aJDRFfbO9nAlI8+BXaL5ew9CKKMmbGr/lk6ae7T84DSzIBndf/ClIPAw/dbnj+BNNpezEwr7uNUsnuUj9ytnl3HR5YNb/am+CGYYlIL5cotFUCcYVr4XBMrmAyJ2OS0fDPls8090Wm6rR4bgOf5wKhjvwv9AH0Jtt+artPAsN989WedymF3AHUOmOst+vAakuRWr0pyuEC06Cu85ty9Mf9T0aZI+Nry11eF+Zi+PFY3ZXfGg8mMXHN6aD7gGc5hT1j3AGsMnIMv2ryggD0f2XcqAH5aYnGdukDkX0npSzVwq+g2pjDmQG99/7rY+xhOO5wERFN9hxTA4DWZ2u0WOyk3l8SAUwJKCFP/4GEejmNobUyZH9zO+Q4s18Jxy+cPhnFwZVCzGAskbo7t5H/m5qh/v1JFO0uC88FucVG+nH/7fg9j++1NwmKB1CpNXJtnC1ysYdqjmzdPlXfV1v0I9ydA2iHoMK2pjuEYzbNYmDkIpEPQ/wU3mPOxbjIkEMlLUdeR5V9/ru7zxDOZmMW6GwO3A7wfk0jM00T1Kll84INy3NbDxsUQ3OVDJCH4zvnvcGJ37qYDSiIX6cXlyjedcmpvtZWpniqXxyyht9KX6NqrQWrsF4JH10L+wiaSNzhQ0bijXRPadSqRLl/iADhu12Bo2bMjZTRUH7pWg5glWxLBkkG9CYN6doIzG3LzyBFbwvDaQf+TTPxwAobxXDlPAiBeW6nYS+6vPbx9bNnpswKK8Bw+jfIHNVVvOlrUhIpPqwFwmgm0/BSEHtIVfBWd9liWjqwYOiJhfrXwT/3Vtxy7YEdyS7viZzPUkuftoPMa+QuC7oBWKnuTVTL42+sxpUda5nNnS0FjtM8l+MBeNsjy/I2lhYTU8Fmgv52ZkWw2EpwcfyJEBanjH2398VYkXx5ZOv/bl9Wbqj0TLJrMoCg8J517C/vlpmgKh4zCiH80RzoR/CT4+PaRN1rC2qd50Ge37Ows5cXwSbi8nLTJAMgKEjM9gmDvHz5jwLcirsORwpKuOzBGk41veg7dDGQ/wYQ5e05T5xkbWmpSGwLAXFdFDyAO+adX8eSJ4kLumcDM+kTk/ZE4NHhGCh651yrioTQsxLCCBfB4EqhrlGcJRMpIAfyWligjN5jdHwCYeYdE3Uv5dWM1CPjxF9nMKC2hGHdsEQ+nSjJTrKE8aPAK0pGebokEeRNR9349VtCa6SJDrWdGpzMedJ5ZjAtidphK6WFoPolLxOGNM2+dvGP7MKGNXPSguk3m2CYrVdGzSBIT2IVNNeerpeNXU0UPdH+7IbLik3uVxBT6KIUcPCpGP/mas6uKhhh1ZO0OXlv0fE2FAkmLEsOXCG4R/EhtP+rujW8RJ9NYR9xaDYFkgYCOl2ixQwqBG456pl6OUgKWzwpw7uoLGmUQ45Tg3bOY5B83YXfUskSmdNqIZ4rCwY2TTYePxVIcbzjt4sGqHFUDSiO0O+9pXte3jZmA1GGg0PepM4NDbM6NkIFSuSLpBbEtYyp/nUPNY79mlTwaTmAHcd7qzQahNeQL71qGzwHlpvJIHaq/Kh9MLt199BjOnQffZpIk1/tY1MAYJKIQr+z55WwjTlnJVSOEgHMAEabblwttukJ2xRI/7BCdkFLqiA9PElvNBDQDtbK+4jmSFUpsciJtt/B4sn+pCn6Qn8+IKryLKczGfCf/N4GyqqyS/QakN9bPrf/lxnpZdn5nF6/XXnOu22CZOzhAC/WkJiU8Qbs0sDtLSXJEfNWYSFb0zyIH3oKPIYJTdG2sqrdl8xnnBHtgV8yd4sTNiFrLniM67GpNuUAcjp/aofZGMj/mZvHosY1hrY1DP9sSn+nk/kQSmirvINOIg9XORgKtDaHpe9iXgRAuML3oxWQk/FXbXZqu+71deY9CmRNgjjZwO5B8gcHGZMknlfUgJsECQ00W+Vyrvjimq3cZQ+7cB5+srwtK8RGUxb/HpWWqXEThswlmmoO05EXzXbGyombe7llzdCK/Jzb785cxhK/fcPoz/uc6I62mN/ip07ROoW3FyqxMn4BU7711xnFnRz7Ggq3T8YPkMYG2nTiOs9IVBNpO+SSX8Var+v/tilB6iRfcJoZ6EkEVrqncsHsNFOsuFQ8CPS+C2ibNo7emIUPObovsGiBWFvmrKs4VIRVWYSouoj+6raZ+wUeGz5CkaP1x8tRlpPSt6qjmhArNNSF1jX3rDN08z8vliNRDfDVBtj/+un5PzI6IZMiezsEObGuQQPFS7vYinWXwvImJxzZB4tqH9r2oUHdzL/5b6vfvKpBWW/skZUFwHTcduExctmIfIbPpbHpsS8EOvL7VBx2raG5bD0AWncYZgtoStVXhbXFMOBG825DEXEanlMpuA70t/bfPjji0VLXalwx50hTQ0ZYv4o4qi0P46Uw+dLB3xoX90WPQXeVuHaQsun959pj6OvIwnOBIthJaXe8Fsky7qujvD4MPNHI4IJP6yqcexRAFr+B4LCiOzbtFnnu08gjVjNDieTsXftYgAwkxjntE52Dtuj4yBN1hVwb7NmPWyMbv4AgC7c0fsJGPMjSFD/c2t1yJW1g24QAkg4Rd99t2SGLCZ0YxThS8P2b1BhR4K27YJqX5iX6CDsHwYdsc4RAwhJBvzBZ71rFvmBUTxTgdtW9ps7By6YX4svnFH2pr0XLYE5/EaTqt/ommOvJGsTDBXyybDvjHq4/cCgm9pkoCZR9gLWacGqrpNaZoydJqJaWAPe8M8elYVTVeu3NbWdwp7jeJIdX7gA+1Pv3lWPufPgry+Oq2bc9cht3bLUHhl+tiFsP2sS6JKt+gnj8WpsRUmj2xQmeXyTVll3u8UstV04Dqo5wPnXnUc1f3aO6AdDIW5hhG6I2t6Gt1zGhPbQ3e7JzTExDZsjSDNumFR3IpBueYgKlFLh6+KRdhvh2OY5GixKheuuukaAnrwxwR7RzDXWVWyfGyDvPQa48UTRsmCB3EKr4KJcOtMAglAC6dEdFW04FJ96e5hL4YkTjscaMB5pCLWGWNhZhLgjrC+M3sNf0gyZFRR2rboslF+6ubOrn7mGmNmbvKP7SHFXFjk4stQNwCyGj7ZfY4/8NHcEMpTo4oobhJyd9n/L4je39PTJxtKee1Ksd/5JjoTXQmdlV3CPQGw2IYQ8rCoRepGJiEehlFLTCq6UovJgkre3QMUHD98ypxoAzXzEgaa5Sg/brGaHDlZocczMu9FejraeMHgYQZ0FSDTsHRWi8OONtcwFWc9gvoftYt/+6i5rMf17SZ1bm1SK2IPMLgJWzkMe+BqkhicDOvSoSCuVAKewS0tSoDs8DvpUWh83vxO5yfJGlRb1wLEpKwPLY5sRfBdsnhiXlx0qJFoJwL6oJYJVw6KQdkPUhriROcwC1CYEqoTcozEG91jzIQgyAGlhvYfh5+Lvhk3M1Ml6kb1eOYqG3DvaKhqP38tIJ3WyQJ5sl++5a6E+27DSbOXPyZbxvPf5u/bjRRRnEX2PQqJ6x1kosA8XH/WidWuqiVwWQuWia8USipEVSimRSVED87axSWk23B2wvTpHKlDL9tbvnFo6Y7F3jdaqtpzE65KDfbtO+g2tdiXahy99fpoI+yudXrN1LGZ4SybtDLfkWg6n/iKif6TsV1HCFRjnQy7qp7W8oLFIL2a4bNnp6kjARkOHOX1TMFL1qIqgcUchNFO4S21zGfZFEa9vxzWghIfb3+VIMm8P+pfP6Syc9dwHODjfBe6Y2KsYfz6dRIQOgQIGh6Eg7Yq9/y+hC4WZAhoLvtG6jpk0/4Def7TyQgldL1LhdCZIhNRrBZlgOutTf1rXKEjMt9/9+Uj+zQ24+1OuEjZu/0TsAGhUQX1ZdSoh3reF/IizyTYlgOoHiX/i2SU06j/wDCApaNB2OTnPYCnz+BiKG2cQQDXf/GPVvE8O5CX9tArPjYjq5f5itqbYooRD8eP1uJaSCCsRIBQUEPZPLb5SHq7E6bLRIp+piFKJvA1HKNqWDBzzlTLhLZ98CzeQ3MD6es6TYhgbMJzfpub7AMo0lH7s670oKq5ZLglnrNOFfPrcGGgJ4NWBpAqEd3LhSCf3RsH193WsRRA4R8nxri/ypkTvHC0Y63STuJJnCJr5FDOusygEYrwdiDo3M4YIGYMagXChPprZaOO5sGRj6mIhQYf6BNv+Ecnn1K0WZAIXPhwG7TnSBfeAgkWYsCcopdZhNuVdOmyS6mV6VeVLFBzS9DMgby3EOYompukjcO1qECJJKsioxFcoKpVZKn1ecyNyzIIAjQos1MQ3me00fDN+6GF+ciR9jhIlG6rcoA8Zt24zZ3+FnUL6Cfa9UQF58Gl6yfBdQapieRukpvQ8mVlIw743n3GTlKoK9uNoc/v06o8FUWHGS/6Vi+4FYEztEDmhG7Y4zJ0MIoW1zql9WcWzr9Ohl840uDgsQCv1DoZ9d56MAv/5m0c+qSyJ8DqRISs78ngS1MXrkDjDXJ7CUWRn/gcf5xkA+WBobCyK5PZcYHJqb0Nf3T2FMESJ8eFZj6jokPHpuyZSqW7HXL/MbQHJGdyzzSwIx+RyzKdEyr8ZxZJS7l/hcXmWByLFZ4+2bQZd+59OL0ckrXcWGbS643WRdxkpBrXo8IMYRuITSOmI2HKoyN3A8YwOKGexa0+qdoCDSTrZ5aLNLWpz9n7jAO4rVIjC5pcKvrp34Qx+RJbjT9OFxAo7JNGpKXfwoMHycV/V6+W2Fvou2vcWqHZbjsA7JPYqhBGzh6lpz5WGRhVYKdysQKRDraCwRvYcu2cVPSgRl3QqeC/FicdM1U87Ul5Dp7cCxspYqAvnAWqkLBCQFDrZ61deo7pDJDMgJCx+uuPZbr0d79gtehTYkxkMhf2vu4wTU8CWOinNuMBmk2Lnl8lraZ16dfehWUYbyVstyxICFYbnsYThiBp6+VcQO4xjlLIwEtjVAluHeT1jtuVoCRaz0AXNDi0biKP+aR3bEYCfiedz92VqoJCQykPQcuWPqdK2v0mYQjyDIwVwZkm41ax/7SbpjIawf4w4NDI50RUpWwNIE7+EgNMPsBmDAM9ZhEQP6OYltjuu0myLmYq6ZHboDrQJJRSI0sitpeF5/MZR/j6Jtb6qZCcACgRRHEzlfIBYZebSJyETPChtb7btVAoRYkuRFhxIFtScSfyaqmhf8v7DS3vMrmNjt9xwO24tXmxMkqI/G2Eje09xHWu4HkqIpTmc7yluv2RfAGyr55LV10X4q0f3l/OdboPnZKksE+SastlQWxp0el6QV4by/YkPVUjcEqDM1cbvE3u1TBkmcp3kI0ZvkPVup8BV1dRRKOG6Ik0WQbNYcJnzZH2Brv58oBiqQDckLPoXo0Y0yPaCh15e+90op0fqu+zqGcH5eteU7u8hYlDmKf88uDHfgIkhw4lmFisdACg7ug+zcGpW2jgxWHdthvLxxvfavWeUektNVaEGQ3eCoAXD0KFp97h4NCDRjHKdkuYi7Po+EMhYpgWlFwg7AirFZ6cpV9HjthE41ncCTjIoy7YopCgKIEzY2bs58mUJvBONfHsWAWiwZhbOOOk8VjiRshyeRaNRPdlEwV4gD97cVJJHhkSld1A+p+kLwgc5yN+dMziMa7n2yxxFg5NLQ98FbZgZyMgL46ABK2lqF4KPduWtVGtMkBKyrUkD75LVXE85O0OpPz1XoanU0FJcgypakfY7IkweK/2erDNcGwHrmbbQyMfKLqSnVjosJ3rguWMdccCdG83GE3IOBhI4rXyDJO7bOPwtVHcgUgH1fsxrbuB5Ny/EmPbfiJ7HnyhPJ+8YSY07dnvAWnI0IRJV9D2yslVHswdpEHKWMPM5OYJ1em2v3rs4/Ltyd5nJUsTyorY6+j/0kZ2P5WVqciYpb+Dl0cVre8IL60I8QtfMgnn0kBhg9ciTCzv7QmtzFI/xrGgiT1MMeZ+sw3/Qwzaep5LdDEXCwCoctEDDLncEZzPhx8OmtlNUS34wJmbUY/AdyawKWwrgPQoAljTnDKj1+1e1N5jGqYd+le0BIQoMM4meH/nO5dvCtg//bk0rv717CRnMv6VF2qnal5+GtJnDeChmd+HisymbJnniMUf3BXvzuR+1tOQaxqK4tGBF8F4o/jqS6cXuOcx9ySBvL8S+7GVR6CNbgJZj3J/bKdUtP3ClCoD3RtLt6MpZ9OG/Y1h7Mrtr8FJSjRdGA4qgQI3d9oxYL4TsG06BSqPDlzAZylUD9fbfNohUtp/okLMo7XnlMdjeYnOUgXakJRfqCL+falVIJZ9lcWxZyo+3KEktslbnzu1hR3OWAOD6ZFIcKD8w8g9IQUmyOZbhlmU4P64F7Nv8W4w+3fkiVhOzbN+XuHrpSjJc8t1MiuQojdzCq32YmiWCXqT2qc1chQRKHS6TofGVx+qBPdTIGkiHo2XJtNyelaIRHqB3CoTHlT9mvodWHCSqfsukcxkC9YNK/YWjKw2KzIzshzSYjo0lNUmZWzylZYRGkdTfZxjwUTTE1bL4emJXb/MvQ97XzbPbDLgzJSoqrcl5SR0zgjLBDeQmGyIAZVI/+2Jg36ZSpUgFiwBBJp3B3ynTxdmx+QV9vjIvUchEt0El9LnGL5g4+nb8iM6PylmVq4/8GF25XRbYJTD7JLHvZkFKDvcfXA0eskxzix3JRoffeUUKF0zmXStzsC9dyOXJa+1nycQVwvyefp4onpNm7sd+A40X6jPcNqkrJuVh2wEEJdAMu7W4Rif8h/eQPLTyJJaaXjfnM0o7kQSH4fVl8gpexs0213ybVpnPb91BfV/1nJmeKwrkPzxRnE7q+VTAtvfn2DmlLYZ6jHUw2IpE9CnG8iPh5SzDT6Lzs8YKc1bY3pa0T/RZn+mKLYzEJNi8H7X9a9xsPeBPxgViRDd5BZpKuPHkUWDZBR0sK6g7e+ZDvP2t90H5afKUk1EfzwugPumjpFNE7IMe2gD0TEN2+RT8BULDgozTXxV2EkiNHNxNhl9fQALoI8ilovUNtTJk5DTKRFNmFRMZXsRMdQWOjGBgzMzGecYIzY4DBFgpWu82g12qjYsq2X9LLnzSPb1aY6icK5TtClk1TZCrOl1LyTEEF9AnUonNlZTD9EWIafYRWvPWgjo4GYN/gAXsmb4Z0Vx1N1FrQzyVsirrt6liNIM/wncivyc8mIFnoneVB2N1xQtv+1TKRmNtus8398LJeAdepi65S5XemcR4Yyy70e7RoQp6CSgHvOv7Obo10pibwMUMcZ9JKceKnJO3SfTCE4wmH0G4R0xQ6N5tF20KS8F4nJYHdDO3tfxhOaeVPIhA7sEC1O9fSssnRri3cdAadJ7uVyXUtQvCMy5Sl91O/vsDEWIH282/pnPWVrh2PM7weCdJd6shVQY/dSGmF+Dn/lTwiJuDG5sxUo6WVvsl2+YLdnNz6f0AHoHAk6bgrr4g2gtgo0USDnS1SaS8nHOmjU2T2y/Xrteq3gQMotXi9Ryc8rrgPsQlh1ymZmQalWuSiXbkGcJbWKDnKXXqTT1PXmNga9oOaBs/zo5XOWGaVHOk8kJmFG/ADuUDhqTwwfc1s9lJKUWGNzgj72wAXFxU9oQx6Z2TURIASESjix4DE4rOlPlgEryKy01g3KGt4URsFsBCz4VX4d748za0UU6tJKdoxJD6XGs1PWN62LAXq6aD0LoLMFMo+EwekTJB8O47SjzhZvkrW3zWvyTnrJQfVbWFb2h6aWR8eLZHN3xGP/CL4qqAE/NKy4oPyxByoOb9IvFZtwZEkoo3wLCWpdv3STY43MWlwL+UR9Hrqn1Gc+/etCjwmgz1adGuFCdKZ6K9Rg8ZyJdAAqtUOE7+ZEnwOD4h9PWWPIuJlhiqpMWzxWmvDYoiAssETAMIPrDI3yRDcrAPM7hYknzpufXZtbPTGUBLHQylS6Cd6Lnv/BCIU+2+rcrTkT9RETZ1Ww3NzNkhvqfvfRuxA2Zd3VKYiBne6fABTXXuNdUOQ63C5qjamVJj9Jf3USK5OSuJi95+GxWP6Btu+x8lt/9Ngs2BrSxz//OixOsaFDuG3BO+s7hSnWMVh51sKbMKtRV/YlayYKIhuV68sjRz4QFiP7J0vjMPeKZIq14p5XaBGZFyZ3wCIjFu59R7C3spEFoWwptmiJTDEtGi/auSuwmfCRGuZ6P+hvtbZrrFu+v8krIxR7ECko6yAaH4HA9PFltqhPxiOM4ckxQRrtglpsr6ilKwixlYsilE3giWLwz31ZIeUDitQcHyvsMVfy22D/k0u1eyFq5Uyx2oYaGUF/dhTLnxqDSUvQq7Qek76tAtsiHLEEXH5APKsYn1UjM3inq4Nw39MNv68oUj2sQkCggOVyUfa5K+B5ebO0qjSuOmlWDgNai9fCoB0uBkUZ5YR8f+IZmf8TNzd5EQz6LuxjePqLOBQ8ioNJloqaCTeQoNAx9yiL4oa3vN+bkXpuk3su/mjAuY9DLOYJQgGHPAP3xn0OT9TdIojEPmDbpqvgl+Kvm7vPAEEIBiUFs99RXr3FM8+JDarsbCbT1NDqtxn6LNlrxl025ey57GEI0dr+vUENLJdolqu2UuyRFT7+rSSosoyCm3bBJDMghss8aY6HLthIAiVnsfdaDTXSh+pGeVbZE7xnCe4L4l1rhnzf8OkIZbEjzUEU4nJOz/g/CwK4uUVogxDnAiHGJ31FBxKPqfmsL6X3tuNYlHbesQmkfbIa++x+2SY98Gfz9XLSF1CQtgk5QLEWNKOQ+GdrM4mCLyTyjz+Kb8s6F+E0I1Iwm/B1kt2fYgdQqJ54ckJUG4+Bx1tv8baJQGM1yACaRmExhNH3sjQtkQECrGwncwtT1Sg34T/5WUxSuc5j15Z33wm7bDkxPU6HLDu1zZJqTOod7AEE0e1fDRg0c7hgznBqqYIlg1MQ/vcafOqQEMyKYAJW202ucdrtrbGSxPGXgdfcD8OgDqroNrqKEnNIObeXIbadKHH02bT1ViPNDcAWWnqCdL5+ZcA9ghDevW16braDkSXAn6SyYZHRpSQ3aFOkYC+G1usI1BGtWyf4o2Hn34I+2cPJZ37UHPX8qzLp1pyuSPhdWsBK8kCJTwRAicXQaRmDjA0gzaCiaFvVinMTd/WLF9JBV1i7sp2VXkmcqD5L4QwS1khEdHPAhgaep8p2uqsAkKt61+kgl5DNGrT3vZjyEjXIB+V8R12fdPAwaamTQPp29rCIBnSNCokheY3LEauozWazpSmbVb/Q5vfaU3aYxALcUKl1rIxbmyrWUyLrQ8NtUNZeIOvJHk4E/PiX6IrEJNJOcoYPkIlUev8WP9rO02QiDnJNUDWVZ4a0YpTpOU8keDq2qzLJkWhQl5c/JxUmuj8rAJ+t7Zt1o8N4yrnPlAd7LWpkw97ObCdkoyAB/107U/sz0J5db0c+ZSyjM5oe0ihAYEC0sIIPApwZRa9fa/BnBEPzBLR5OygPhWsq0A1Uns82YeZ4HH2QnUt7pjW64WZ0zQ16SsAHbXX6e1FsDOy5zxsw2iM/03lYEVQG6T8ER0k5aBLDKoppcJULxaNePU9oo+fC6aKnaq/q7k0GWvqo9IcR08goZxWipguzhevoQQSrswCKd2EE0tC+8+C9K9BVwIeHQ/ni2P7laUd73gjplAycqcepY8ZtdtCsIIZuzTIR1ljsoDkN33O4IL2iLZfJztegCDOwtfo/t6/WQjR+UMui9rIIOKl4w6VZRTIg+uXo19rcUG1/RP0L+vJtojNMeiycUvBybr7wBOIb6WGS9a90E003edMH2SNBraH6kfI0gVgjt3dVz0vP15FYuOv45p93Jr4IX2Mn3TCyUpAW7/ORDygtu53KFZa3CQYSX+MX/lZYW0bnH+Nmhzdg1z5X4EV0yLviPgY5H53zkgFtl/K3xchlQvxTkLSx6RRIs+KQYow9tM6tdRo2eG4KhL1Jp+0AjLv23ICo9zilYjSDxKqsqNe5gL38pJ9/mqX2JtKEuvAkLfiDGyx9C8FthFHWkzGxpIeevfnT+yMsMhVO78iL01ABZxeNzgn7/QBnvY25yhJkiSM31gAWnrw1GJ2KvVmgugNQJKxDq2g99uG653TrfwPcC5nVW7o0DNWOHyVdCaacqE8iu9kn7sITeA3c/noWGvWv1fVqxXYxGvdi2Ud4EHisRFrWP2xPxu+DAYDlbeMGBSXcX3XvC/0VdgEn4cl7r7bFxCsrsDXH8KDOceIAu0ssrZ2z2oMYsXxHEUIGDTQvI9vX3yV1V7sF1Q3UHCEKsasass2R/aKkcXBxR8FvymAeyCly/Fn2U2Eu04q56FyekRgRUlOwSVH8xNEtvsxnDInbzUxVSPZO8XA9a0CFAvi2hYFx/T94SpkoJLGXHojF9uEZMndqmR+F4fZHWua4aAs0fNxp4NZWZ3Ozj5gDsdXS4VZmvOkJPAHqU/mBRsvU1Z2U175OkjBRR39ctS6yMnbVN4Miir73MA6QWRAbfYnznKE/fq1bXcc4GrDD9ysvwjsJa6hmEL7I0/1vSt7zUgdYI2k50t1TtYK/MUZSx92NxpUbTXMETiUOL7PMofA+nLXWqg/AAzXOjVS1SOb4hkW43lUMMkdzRymxjY4Qv0n3cizuWmOd6VPdaoD494BKSQmmNnhgFn17u5Elq3PiQHT5o9XPrVJHHZ+jn2bi2WIqQQTY+yBjwkJEIuFiUAFAoWbxPl/UQ+HfGtCbeuVeoZCpSOz8j94Jefoem6BvEgQFlAUoiAucObRKiX/OK8Og7Mw3wpNv7jaPciF4tIEyQ8bMCRXeVcWc2G8dbq0qSrsiV99Kzv0iy6nryDNgMFoO+yqBXOaFzYWsx0iyWcySikIGD0I3a9a64K2I+lJaN0je10Wu94N8ikUmcfRiltgxpS4zD211O63AFgdpepoa+GQt9HzpkboaBnHxaVDRxC5iV7BN2cPzzeO9e/7njnl0iIiuGVYxKzG8kjIa5P6vpPCOOwRloG8eJqSesOcJcrn+ULcnau8PugICb8Jj8Wn/q3HnmreY4B5Up/zWjPd+CcSyE5EiLxM59TTbDMgQXknd1KgB4PQeQtAWczz/yu5K80uoVnO1yRhALjUagMJlBAPcRt1wOTszUiEUO3+6nRaYrb37FpK+YoXFxVPjgXVjW6wolK0FBMgkKX7iLpTl3i4bOBYPnR7pa+KViiOEMf1cPOk4iSPCAYoewjqRo+xRMlJoJQERZSiX1cBoZt5T75zh5siCbpCYzWG1WDTsgsgR3LJ/2Hd1eFO36wRPIE1gU2KmHsHBEAd06zcL0Fdmy1NA2klneiP7sGAlR1vA1ZWqVDKBh41Se49CX0fzf6+tW89T3oqJdYCitPaxVb4X5j/r97egOtBktAeOvPSpi38hOJjL4r7da2O9gD1CEJILAudI9X3VBaDuTnmA5zauVIO2eQIGQd2DZVQrOe7YuqZih+VhjEcIDtJIAtwq/58H+mUqNOaTphRNW8Gi5BYkHodtlF0UPStg6SegGg9ujEAvl++Lg+HwbKqybNNCJDv1ws+o1jVBJdB9jIh/YYhbQzdNs7SQcH0Y++2P4ATDj0JamfZ93hcgERe6b9kZzcuE0glC7Kvchg8tn4N2CCH8BPfBbTfsKaegeBrs954i5se96fSf5PmdaVQGpHa90I+UFyZ+eBqzuAlkheWnXXlt0FDQx3BIXzaiOgAJ5Iknuk5ajnol+VwnUs5yKsuShDhUdmSU1WaPNw8L4pJHuxY+rJ6WYCblEBVfsGtg8dLSMxZ846qcfzEbYxif97QT4wNYlKkEA4JYewHiVRKAec+Wo1A4SLmVp9M9GZ7CYgQ+2cc7G2SSS8sd/aYRweB/CoFq3rXu4ifM7VCz6nEHLpnDP0VBGwtTyN/qXbM/qYK/lJA4BmDbBXCtr2nOjVpasxiZc02WzubGB6UGVTSsnNyRGfeeh4r1SgLBrxmXRAiuKQ+LwoccZ+qySj8hcjdre5wP7RsrVCCBDLId4uvAeAc/ZuvDW322KoHRSHqmQXrazUYErpVKPNFqcOrihStzX8RGNioTL2jch5fCjD2ggUG/N3PMGG7bO94ElzHy6E48uWo9rtZZ66XzNCJcN+nYiIVlwUOXJGUSWTfQ7YEZCQb1nzY9tqqypmZmlBmQ8cjr6S4OaKzEUPiirLaBjJycqIVq7VstguGAkByBBgSSh4vnPgbQKlaehPAPaxEo4klgQRtbhUnoIzZnoWh4O8JDFwkW8K62xV9LbbpKfqatSMb6gb40oF1hLtJ7NC3hFj0GwoNVcK2KekeLDmlYHsvzChCwJcL9xp7/GXXE7M7TPiQgeUdAXRxeSO8ttvPOli1niaobCCXitubZjBufgUH6w5n9y8KoAgb0Zs3+se1ctYQb/Urbh6Tl7ulWn06reQd8BOKnNBm6XVVnMEKmb1Zjx9BgIctn7fPhAquBT69cc/nQJFwbwsLkBZvqBfXwam5NIA/5gVzfMCMSy3uLNVB//rfpME/0+kXukgGowK6Tt6dl1UrBNILfBuV7DLip7QTdHceNTWXtsxj0p/YIRY1Xnn+nryfa/nwtIt6rq4vxpSXzs/jJRWLzv0ZMaTNyIUkLV/YAS925YBu6X1l/BkDED1Dwu9XLgnYv70EXovGPE5Wvr0OAD20v7swbWydOH55z63ZxR0xlq27ZeuATLOiOxqT/8+eUU6p+hAiIlHo5srhKF1NMJpcHjNoj/BWebjIesrjnD29S8pjRLXdwAcUel9IaD/yXi5nWcebJhnOwtRXCEEbAtvkP3dPp4aCb29zU7QBquen2hMwlXbdDmOIMDxb6wrjGAmHu/+oqn+eMwp6jNZb2UcUFyrHFHy/Ml32w272SSmO2s3L9L223mN9VnEjzwUZeQeDiY4AAPgT/k9jqhRwH+nvGpHd1Cbdz4uZ89fHWSBFyPogAWSyp63Q/MHaCSiIH2MLvMkAQWoKLlkn6u1utEpw/ZVSFQ0YnL75r12ZiQ0wYB2Tzt2PyZwC9CI8FL7quYVcoAB/8KzZdd9X8SDAICTLePdH2MEK+hn3liwBJJ01T67TXmP5jkJCkkuqhuuxzfbKxt6oVUHvJmUZTckEx7+3Oz7VGfv+OGxzwzizzpLt3HSlixtlty2Xd61QigCkDc8ytDa4D5NT7YkiBhKdf15udn+bXPKExmQbo+UTz4exQkF1GY4hTT5lENZ2WLPLUaWmPHdK71mpZxdLH2BD57wUUxw854NbnI6RYOF8wjT+VdsgaZZ4yFgX0RmQV8t57WMPP/qJE9HW3U0XSog7FDMEPGhlAHO3gACUGxfpijPV5C1deg4FEM/pSUW5/BwbGBQWVOiLiDPDBWJbLVvWWcDeeuBA5cMHOSo3LPqeuEnkDpxmh802uJGkVME6m3vK7YsuKOsvHBoDN+1PwkCP1zepPm6+LpqISBKfuNSFDGqaKvT3+G4tI33sPWG6McuCNXhrY1tURnY1f6yugwf58GRk7/aonUoMrLqWCDDhRR33Y54W9wo7T4JuEJWAAcJV5/NvK/lrSMt/A5542rW9HtIhJm923K6eVUfXic02LOWN8Bhuy9KQFrRgIchtmCVsmwtGCkmjCl1x9iXmnzn3ewNKRP0TdIEVSxKUbflg74mHeH9Z1lFKWE2eDIt8U32AOawnCKmIfNziTuucNJ0qmtNAaNUC5PiwwhWKNwFlsXB18q7OOWslq4I72mficTRHDP+Lj50M+wFxnQL3D2JfqMMfyCWHpDIoXzZz5/vusbG7nFJKvgx5b8auuKq/5lDBfP4dWMgiIzUcCjKxONB7IvlgRICRM5Tadb+2xH+FUfYmHMt4+F8jA6FtIm61b6DK+fvW0poDTIpqSqta3ZrfPoELlR+WvpRsGIMPyYF/3SCr44pwaX//eYS5vDgnJZisXdcAvQLUsU+w71sOydxlHJoG6osojercBPKjtpGPfncVJNRjp8MQPTcXMRL0fGsZm/9sPqqK+UbdVyVlxty84VFHsfnsDVvLD2XPrHCLcU54H2gnhuh35vmKuJXIdLcWETw4ol79pAf8TPAVcnMApQ12OjuZYQnTiRM9+FPFR/iRwaWuhXmRFN0zvG8MmcE3jV0zMsOm3WB79BrtvhnRp5HAlb3TIPfOva6OvM32NY7kiXCvsu4PXBiQ56qYm500MOJWlJnacjD+r2Cg9n3UECb2vxTxuVKkx5KVUzec7ddso2H8rb7kABzPPmauoAbq2mo5CIBnWDqJpiO4LwB1y5XlVexFkI0ooWfmjm38Md2OhFwp9qQCjA1r6sC04DlaNoLbbteZ/eCjrBjJWyEtTF/PPzILnELw9Czj4uZPsSjrOAZkoyhxGAAhXJ7Rr7Y/SBvgMx5DHG3NxPTjqyLwp8LUAjBwNHiICFAfjOT0PPwpzedZ+j+AlzPe29oAn+HuCf74SxPoUpn9M7W3PJUH1hi/2bNmxAx2AgiOh/SjrmdjE/zbcxdL8JXz0m0rIIVDfyCwAvMX/XSjWXkp1ZcrJfzP5lto/ISBHrnnTpwGkB3nkp5aCGByqtozBcHuChPi3c1OKG+MeiV7S/XwusfqOAYEqM5s7ffBuVCpCWI6p9KIaD/Drcc3M4KVOo/54D3F5UVbz75yXggIoInkXQoivGho9Oz1mqTcVmpWpgNDXwL9OviupJd8dS58yMZxzXkUZzm43dw1KAYieKo/VsU1X+xdjzPc5Wo+Fa03jMlWbTn8c+2LYL/SGsZqZ8RF2dNzdfBFSZPRx17A78+BFpetUkqcHB/NuigwLXvi6WA2PhDF3kOQoP2/p1Tf4DApVdHjDMJJWrxKQztEwnpzdodxl/RO+I4yD8n+XhjxTj2kyo744v7xUM2/doLGU/aCMEwV+mTZGDu1wzTYWIxp6m9py2lA/+GKrhyMlVjWCeyhO8R8xQ75EciEs2+fUVAA9+BYbBZaJ7obPIRPxabAL6r0bZDZ0UdLj4uSIEuZcQbPwBUm6Xs/nP2UPe7v3ghW4rEo8rI8N3KYG2t9lIlWQ+3mrC5GxkfWLbQlF4v1Zo1ECEvgjjEPTflSXztnTa1Dtoc4KwQKpXbDVIpLEL56LUoaqNhFM/D/186+6RXjlmVxWmAdRkdjBOUMOeIuDggztO6iLjcx0E7CgEGD+9TiE5zfMeEWHt3toj1RfYNL8b15G+CA7lpYT4zBdxlmlWVzXxGvwKMHX2CaB58UsSBUTC6Us+JWA4LVbD5/ODGAz9bqMk1cMNgxixjHRWDYCz7/sCot5zenUZYbywuMsfguE/Bf6mmq8elRyrfKlOydXwPGt6XQsjdsWibotPSbTwBB1a3KjovucoApZZDv7CXQxohozZtg4eSqG0UBbYMD6u0mPiigcXIONtHHtnIe4vVM7BmQTR1fOI/LSAg65ipqQvZIf5tN83vNVKto/K62TEwm8Z192O/SMYiwEmWL2TrvYWP6dOUdrDWM8sI0BJfAyRICvP9piE7tRMcwDc2dixD643/XJ+X182UcJyXkeAFSdUy226CGnkhWVaQv40F9ziJxFVBAJI8OQJiQDwgPnGMM01/UUy3ZcVi/UsGWeuLNFV3Ri3YXMt9mKFuidE4zVJNueG6U0/D33Jcrs+r0x0DwZa9dTYY3+1lC1YEzMG18UQuqP0e+zxakgcPypvfq4cPo6HlfRRQsrWylUQdUYRvoAZUgpk7cIm2KLVcrJoNiOtieXMQJCGAZadVHAZwIy1Y1kjCKjc8av51BEopQiZ/WOH2PRjL0Sfzy6oyjQKfQXDHCrKWqEuGR1IcfZ4ROn82kuTnqW7WZGIv/GDHXQmpWQl2sqCdzqUq+pMp5CMq5KQ8x4JPVMCq3gFJun+h1NdBhJZn2u5FImCxbHUolnzJwiMmcz5zemKeeihV8m3QNNmYj78GChyylciwvzW5YoXO3TDSXAJw4lmdKInPrPW17NVSzvo7Roeh8QWPy/2mVoPzXbHGODh7GeSiRIth383ab+EP1UOqDumR6wH1x+q4JGH26iTXqr4rBj84GUz+DBRnCn7v2COzb4RLbFIoW6pCk2SXyYuZMIUmnUYevAAtN1JlOPW86PHTRrjZGzhEOmTxgq1Lj1njz28X3jOzQfEHWXAHUi+whgm7VghkuIWC+r2DWIERCAlp1OAQf1QAy78TN6QdQEWhTJJHjlAmfGkJf2D4ZhEXh/tE6UYU9NiKTFIXsJIWoTn13ZTq5MwpwnblVMGr2uQOJVDa1srlO5Pxok9fi5i+U1rHXKmHPQgbYyVxeFHb401cQxUnMKOuAK6AxDnQEQdWloKh8VaXFmALfQVGyT6SXPVRImH0FkJlkWTMQmVG5Wl/tF2A7IYK7FVOMXj8OeyDoAb2Mrk12b4+8l36FbHbN01uuBhyAfpRX3y30cl4i0ShH8ISW6WtitO7+1SbpS1A2ewYLs2g6t1Ienu54trR/4mVgW197ohBgFZRPnB6PN0c2g1TpgcucmYKTKoJSEh1He7hfW+wgMn/wTZ6oTGo1cWOptls0nRDfkajKwfiSZiUIA/0Jjodh57tIrQOQbb2EOAtsxI867d9jHork0QDfpxvTkwKMqTvGv2trYm4MQ4KS/AmyX0vEucxi0ox1zdlmITXz7YQHJMZrCKtbmdUxv74Jf5flhGvu0QOM443lDSM4zKF08KO6GK68GK+wGClLFrgjB7a9LatG/V5SrJTFUGSLyY7nTbokpR0DvzuL8KuvDwGR+7xhmzjWi+9qfBdEqaM95kSLR+UbM3YTqwRECSon1Sqhsunljd4D8TJ/OjzQ1uby/tfu2e3lUksOz4lWlRu8eEpHIA7SHEhNuXQlTwChWza4Am79g6tXpWmttKs6+4dc6N6LUBvshxane2lF4i1+xyBctY9rKCJf7XtB7XLR+0Jf7669FARSuwgWQDp6CTriBHrzhwflgZMUvFmpK4GYqbt+qmgmZUAwK+yxkz89mLvuwonmKD4+xe3P8hdX0ypz9h76C6XwUtVzRD7VC/VlaJ6Q+6/2l7i7o6fih38sUOHVvxSUWks4YpXrZhAAfkxFTihnoelxxG92X8IN6vU9Zz9wPAUj0ngbiYER8tMCbpBeI0tP59bFpa9UkgCbnucArj2bfzbGGp5l6fuUwse9K2SaAbq1DuU7DIWFqdwpzJD0GF+FGHQE+YtAT/C6NM58lkKbRFzc2AmldLMBaIocaBkL7cms4BN2cr+6FpnXhsOjO9cSg+V+pV85UOJgVxXK/mHMBYORa0POakJkYEGCbOPsSeLWIPd4x6586WQboYl/adTHte9w1xd9pxAVNzxvIYrjGJYHQJda3RcvUmmvGL7eD+c62X8a4P+eAEou8rl9rfebKdma2EL+2wQmlgfcMOfWV23b0bFECMbXwR/ic5CgwMOfdPGnRntCrig6EjKck7AdCNsLNkxrftkS4ACtJuAlOSlvIazg3O8X2qYMEkvOKN2vXjooFOqjGCHzN27cqcr8//VPaZI92RLTHbj8kmNbvyVbbqr3I4JL334yp3cZbB0VvlNi/sEIyzv24bqmBCcCJS0nVxd1YvYX6iSXhXG4G55Oe9qPoGPFAvq+AR48RZV2gx34XOgxdBcs/UDGofU/JPiKRj/iQ03nNZMpoAUYjYy1sd6nefhxR1BXb8L9bSa2FT1WrlHL1EiYvn+tS8CzFbDorseWmnLonju3q57i9p+OiZAorrevoggy1Pxe907+ZRdYfkU6jw6jN8f1PY/odQzvnQXfXN/+7H9PwLdSA5J+tJ8xAE/oRdv//oqg7i7k1I4bqEpBeurKYMUXJJYSj0oROO8TEdkBK63znEFZBM6v6XuSsG1oeZNxdePCu+38exEUHnVqsGwt60jxe2rCxu6OsT1HMu/vSztoRr/6NM/kQFJeOQKxmPu0vT/Uaj+Q+p5itMH8MwhV4V4RPXfRgfOsYX8jUdZQfIiN01zzeUFXOySXMJQAmuiuIJipIj06PlmeefRr2GhsnAAh9OwJXI7w/Szbq6xuBgYvtJB+fpr4KllX7frWmb21Cy4OmSXQJJBCZ6C0FIsTgWfrREysrDsahVrR/UCHE0QMj/BbyOo0Mv6QtE/P+YsmrsMFht3BoRazT4x/ukMquCnCLuIFLuLtapHMV74trUQGMKH5oK4klERIRKgtNRbWzVFntLKahDam/DbSZf1BJpH5XzdpFBUmL8q1+z0TAjOwsQwJnmp84GlLD4JUgAcEvPbiOUUFK/TeztzB17fVmiqOUUtu7bU+f0qF8H3ncCEWZk9wtGCTgNH8Er/M1W6+34j41dpGxfgpGhnfoevLuhAIBC7O06kZBASoNv75GFywYnfyQGHsfxlgH2iusq6QKJvSt0HSI3VG5HuW3VLUWoJGqB+kJwRAwucKVmphGzY3gNhjBPZfDq8lFEUJDaDHaCgtY98nJGAY/iumuBUcV6g8FkT6GQlBuVmLUTW/0WhVwD/UtPi7oDc7VXQmmdMrAWTr1f65CIT+irRoH5jSewflFKwqemD1FfyZVovAx53gh3v377MzD0VdIIPHihm1EtoVAkldob0meB5PeR+tAEQSfpP33F5+HEhf3BuEdGKckEhRAQ6+wDQfJvlmpg+l2L5Z4pY/qMaVU4K1TiwhuwAPZ5yUj/D7YEWHEyd1aiq+BwbSFCPIHlVTuN1X4e0Hdr5MaAh5YJXu40FLd0pFwsbHW/9a03cPF7FEqd+P5VjW9AtThGUMlcV7/cFrWmaKuWapd3/S+LqoG4ysGCpQ/jYpU0MJIKQgAF9lFOTGNa4MZwgrCmWUL8QAzId8cY3EUyDOgUhhDCPrqbJ/o91FCkLP7Qd0ojAFlQtqDmlJ5seUOkAZ5iyT6TrggFG2sPxUoIUfxK7xHChFITjbJ4LU8InTXQggqn19uUTYlWx+ecJB+R3/yiBPqnkOETqEalfYkd+x40W9EW/9wpreUv2eRESetEoxkqimmf2awGMM2CJlg7ybxzNyTpjRua9QTiA6jKuqyEF8W8Ru197smUyDd9XUqS3pABmKPKKVBISCl6OYKc/BjEUhhreHRfg5kH32lmTiwT0j07asZMwa2I7coqgIb2FLA8Ik10kHwz5gcQVxDJk7pjuRGlA+GCusUvk7Xu4m9JiaWBUOMIZjO3pCSxPv8TJOWIVajqk7WDYUriEGzhDFJycgyVM7kdIkhSuUH9MOG5W6cmI3EgRbWjpDp0Oip+PiIxcq6OIgC4o8i8tzVpTRRfo5rmeDXwzYebekb0IUHsH8of1XbftYjVZtaTGj9B44I9eZHxMdeQfOO1sLkVgYcveebdc3Gioy7jfl+ita2E4JeYl56At+ZyMPhn8jz1vQjtdS0EWb+t3+6L8MrcVfyM/kf/RIS87NM8XxRX7y6qnuOzfm+GD0uAoj+zNS9Bt5+fOyKUKeunN91lhwgjSWb3EpOz+iTpHSCwMDc+rDH133itoCOEzyeOHxJxBUfFG3tMyRDCO7VVsT+LDVp+OeZ467AfObrqN0E8J66z7keZmfvxMcxzn4hc7hgbwyuQvGo7S6VUxXPDfG8ycBSmJuX3k8NpMAiIb9RsRQBLSb6YIbdE+7fXtYiayaa2m2w2ZOGHOpB5ayXeXPaxz0AzLbkW9mPiR7ZiRJHYSqv+OJgU8DGTEEYy12HlaF3J9HJWfeOAyh1+yQuFy1wLdZLFX4VueOpc0Mv+HmSV9WqxAZvTacp4iHe/IW57rLtdyqpg/0wi4g4+/3rfpoOvOvBf+wGIu2E4Mgmh0/k2KIVLLeJU/duR54x0dNRuil53cEEzoOylri8PyDjzzPFpVlt58tmehZjp+jsGJWpBYKWC9sn//5+BU0BrR1I70flmmH2BOVJihHos1iSRbYjLnp4vJUZ7Ufvd/n1exy/D3dAJIlPMFYO9geJEHUopF1mlh4LTexZI9/lJlbvVfhhvwif1/436PwZXI90TiUWgRCt7laFKL+utcyEaNQYXRUncH4hwoleYktcsIELLclZ7eEaUfmIJukJoBzzfZ8KMyTcGWJlyxY7gR/n5DOBs9I8F8opOC/MNTW7x7djLxWTOv8LWFqHGl7QDqvjHkGGanQ4NkXATtHYT5r/OcVVhlsfwSor5D7nnoe/C8O73TisRQ9oKjAAq43kEci10DTQU6HVICzzgSMpNsVOz7fB/EMSjyp1bucwsQlg8e7X59f55oy1uLvkrigaWEFeWLTcheBzru+R0iKUoH0h9wI9kLIpGIvvEx73HXl74C3n+uFAYNOM0pdxUCnOQeeloOdDSQps9KJfkihaAlU1eDpR9zrKDG/r0hpmN7nriWuag1Kq9sQNLk5Gb6kCb4ZWpo2ini6AkVtwsEbcBIF1zUCr4ldRdAwLEZbBmvhe0qNfggXMUyUQ8B+IWeSa6zlYi2Ycj/9XNIyQeNrs8fG0ITgL1M0jM8XcuU9S8uqVgTJi3yA7bh3rS8ue+N25+3+KSAQRXGWQj7Ni8dm45sD32sRLkqHHgGieUlJCLOifXgM6AVTt7l+tapbQZfjL9pqR6VRi4wHsWjnknDHj1EZTkWFdsSDKb/vr5hLW1JQ3pgrhsjOkzh8vg0breRvCPlV0nIvSW4h3QOmww7lMiOC8elCpQe+u9V6Z0waFSab7ilrgdMQ+EYh6xlWuuktqy5txgRki1oeWTGMkXt6UMfPv1V5EKPA6r1mFcGdJ/d/n9/uj1L4TwpVawlwriNtDDn5nwo9hOmN749JG8p0GbybT7gqnjdroIBfnRYUSiOqHYR8pslJ8bAUkusByffx83xwowza39M8ueIyzqFIeqCsmoGfwFr66+YRV0HfzPsmK5xd7ohT+KNEms087hwqmb1t9gVrB27k+mnJXua+N/MdpOk08nqkiclqX1T5aUmjQv6BGzT8z0krKyrqGg8WMBmiYyvdxG5SmwOSontrazowtss7Voiiej4RsCAQDJe6LW8/M9fPWbxcbx5gMOC5T0ea3ORFNn8qWdB3kXrdwHUvr7k+LLMfvCuG7tkoE6AHHRacoRFC40DchByEIWTlQEVASSuytg1G4meMDfCFfe0OP5wQbkAB4096jCj/SUXG05ABMY5lpYLYzqa9OyUmnTV2D7EHPSbopNYFmfCSMbSlHl/TtrK8uM9bHw6q3So8eUHWKQgqjXehi6UxCedQ1I8HTwWN+hoV72d9XMAUYtpMYeCuP8gJCT4lVCnQyawBdZUqT8B/kC+9yDqkr9aGO35AWApdv+M9Ry1MIfOzRWjmmBNoPrR7z8N9qz1Ma5WBRJmYdZyCKORLrw0be8RlLo/j/Ktj7i9h5dV9cpWNOLuTbKtc2p6gx/WWQn6dD3UKf04mW0xE++9nsbIhuMJ65EAP8Z31wqo/hrpwfLkI77UC3FPB5GeqoybdkoTo6n6AEGBnVPdEUTC8m8bwcv49Hyc609YlK06O4mpxz/Kd715fVWwHoK8ixvZSNuE2874tgkG4Dvn+2Baay6rf12TvHepFn1PaBv+kMMpbOgeTRADm80wpBVqS9BkPMAaWmrTgGihKC0L0+TlgDZJwoZQfgcxNlhdH6YVltnMmOVL73khHZwK/9IKifUOJb3lZzGoxxp/g3gxAaiEzzEh82ZIPKubheVYPHVBO7vHjRDZdf/B9ZPKYg8HKEcHxUZutwY/35DN36Rtqag8vU4ylI6uiOkVa7y1rgfVrOS3RI/yoQxDVZzfV2bITL0Hqs3QfSbDOGSGFqsGIY2M7sYZZVmu9sNdHa6AUebcRhhukU0kWbuD5MTWdRHSxWj80v/u+FkfBvpWfZiza4ChnBKsHXBCzQ1gGQuFB1lYcT8nXxk5NbtqZJpwRuA6LqdIzB97Ca99HEc1z9noO54/Ooeii0vElw0T4HvQbvjnw1n4PnYCBfUPzxO4c7wH2No9RVQ3TlCZaenUSXqasRWBJX8ncx1O0tT84N79ocUw9aJboqCmSVTvjt4l7Rau4PQFySTqBovT6idKWDwv7tuVhFgohIOwwzHUWzBtFldC9aVqNWfxz2qJXINjgE8p5FLwzs81ThEIYIrhM9goCTql/MEdDjpfgXhjTtpPxE3jq3928wkFjnEgwXnsDlq+E5czeYdkm5woE2I4oKtZ6F0Wl7F+gPV1Q8wJ4w15VVp12cP+vieOty3F5jFeHj9RGjHIpiDZxHyjeKood4Xq+0i5k5FuNbGtfGKAqU4DiZ75GnQCt3R2WH+v1KLcl1N/5KF7eZl7GD+7GAiWXkWISzzd53vZouq2prZXYQh5n2GAi3mY+xeHEj/XBg5CbPo1ZCGP2o4ZByIj+JtRMteKGD2iWLb1zZB78QvF0fiwEb+AlSBO/z2jYCo86GsQsWLFgM/OlD/hmMcCEtST6vqcNYOhz6spboFfNONCUkC5fzwvk19ATF4NJigfflPSq+EMi7ePdP7wxYKQC55/YvKWqGrVOnsZ1wk6qZ6Cc09Tni6n/DKI0VplLGrDPGDIRkZ70d01S+lhdE4mtX+4OApCoZfU+4bQFJ7/dEWSfmBJIY8nBBz6tmWLv1McJwF7/+J7xeE6DcsEtRssCRmmOqanHDefUDZ7yvn6bXxa26cGo1W3N0sTPugZwO5XajUmUzHSocynx+WZKKCSnMvL6DT0CBqnF0i03axfoo67vvnvKJ5e7IJqZbhiRHg9LPro1tLLbZn56CpcEZiOJMcULsRXOBLlMtB9ePr9IMWlniFaWPVRtr3S4QX9YmfwklyaXC9VCBnp8cQai4oPnErPE47uPnVKh0118ZRUUqKrHdIvwEliRmuYnmCmggFNfW51b/52O0JQaL3x6tVZjiE4bHWaut5ceGCaUCws/vxvcaG2y+dF7Qx8UMjBIUAkRGsllAaGrTN56Hz/naNA+DNDwu/00NOWs+nciqM7fPjCzBX12E01LDNXZ9zyCYghQlnnOUD9ajKIiPmKKTihYxrBkcxtjmEywFb8Vy/pb18OR84cuwANBwgsJd1yPhRZQ0NvdDHJJ/zx6yDOVcVUn6MmPPKWoCMaUPy88Fp87cHiAL9VQGxLTOcnjh/gQe0BQx95wOkNmZVG/JKttjIn1FMDPvpkNFd+xwFYKp37LWECImp/FA7qAI/Akpilucairb88VOKvWe9T+5ZuPw7m+Ty8XIiIr/tO0A0joXVyhHPvOfDs18gguKXYDauTx6WmhcvN1a6Y+Qt3o8tD8fqStz/fZnnsXXYTXCn+E51PtzR7UL3vE1Quyyh8m14nHWy9vZcq55k4ByijeqBVG9lELsRcskEYmP01hxZBvQ/d9isqfRQ3lgwyN7pmXaYoqzBj1wg0vw/69lroa5tI+C1VDHSTt6o740Qzs/1toZOb2Psu2V6SU3JZrnVQ2k4ho0AcctkrgQm4SXpvbYK1J2cDY1On8CPQdISCiVM2hGceaORpo5oR/wFtvrJwZS9MFjR1QhFt832T0V9s4CNf47iZjN1ZDcFjZd70v8TRBe4AwpNQ3oKhGI7WhRds8AeenqGKH9G03Thuazue23IFk4H0l9XzQihCWOwp7pfzXW3FhnuVgT5btq7ven6Ph67vE5rWP6gFHA8TLiBEhWuTT43tHoqLueX4qv9N6Y/iLm55F8HL8YzA/h/xhB3Z8x931rcvqOE81RgS4aNmoi0y83a93bKyJHETtE+EpnBVkcYiwYXEwzdAdR7TYoYcm4DMjHWzlUTsw7shqmhYtT1i3qtcV3BPyxZcEdMskgd5NeBBL0sCeKqZkVCJ7OAtmYSANOViTGWNqv+jjDLVQVQjSw+MoP2jDdqN3rfjRAh+EPMYddxqOGg/vH5kHWW19ilZVDeEcmDrsoFzZCaYLGNt/6h9Te8a7WE/vToM8YNvez0Te8ye97kuagRL90iZqgQL385p4Yx3tIY5vGP9Z6RplTk0xCB0EQFXL3uMEqAY/Mk5xjygt5/W42LTLmKu3j276rqB0LagcDAzKnfJoxPKcHm+nWFBkCvY23RBHQkibISnFJBZR8mexgW++eKEObN0di47hGkTuuxtUKrQCECXxXvgl/XymfkqZEFMZnLgMcU8XDnPwzlmhJAWJCf86c8B3jYiY2nRRlO9ufJHVont6S0mcFo/c4QL2dFluyHsLmFyWbS7GKn0FJ9SFCkdgOp8dxESXhrMJlzvIFA1u4ww8/HFyUz2Q0Sj26eYq/8gN51jvtdjcechXZ/xcw034eOSH+6p1Xb72pfbs1lGXahhgEnZgjIquNoyGOCmxUHx6v31zZ+gWXOYqLtTx0xIfprrScxf424OMkHRCqkQP1BMPqz8+h7JAt+DHz1SQMg9nrMJ5fAxlunvQnF2hEGBz5LZsNTCfQ2LfPqXR4it30yqcTaSpFbb6B5yvWR8dLjEwrTcUAx1aMkMwQ4NMcEZIsfOUmNgzfJagfmXCdT+oFxX04Q4vjFR/JiTZEN58mcVQKXfr542VPPL9qJe4SdBlsQZARg20+H9BaDEoHEBz4kZB7GrkHP5oCvu7kETVVPDhmkUgXfsZaECItvw7worFjTcttXR5AzmEEsvqbzNhVhXfJyZKUOrVbnTy5JzEZlrxDrcEVeCEQGYlLTmDP326yvmwQq26SE8aiWI+kAQlczdFmU2yVZ/cfnQ7D87f6C0d4yR6RT2KhIpmm7G/Pn3/2WBxWUCTMkGkXlA5oz3SOnNbsix8wISqU0T76PsoQsD+jlFm71nwQvCveWk7es73ywKQ7AMgihWvXyyC2T50Ny5Tm2w8Vh4tcI+hv4qkcycEwwhCGhKWtfgI/l/zhgbpcRXeaum6YCVqje6TUDyYdua++8YVBpLYXzJFexIqUEI3EJ9WmgdAXMJBhPKGZP4mDXnnK5PLuVWmRursgbkmw0x29OeQXjZgNMZlsQKP+4JiQ5RJkCsoUydTpQK5UMk+h9N7NSChRd2zGZEgbMA/baihjey+fLOgM9g9CGfEYXfnuFVN6jlM8aIo32YGGDZRjl59VBRSUGSLJ63s8OToYP99ZSEzT+JTXUhKZVVMp9QAtmAfdo5g5JeML/9whiA9IIPRwmk/BSc9HAQoUy9tNHaJQgXLwg6lAjaJfz0VmD2JpIXpfMzfo47+KXu6qT2/1bg823BDH2jYrM5x7BG5yV1wKlR6vABpLxpOFtMhDP4EWtoZDmkTKRYgKpbe2o3VCRlaH5KbdNA4Ua+JT864XmkPZEenSkVjLeYgEW+hLS2NuuOCQ5KIWVaLEG07vBNDflfJh6Q6jSs0m114ITcPYf+iUd01ZZ0p9jCdL1QGqE8tyE0GrfyhzFQ1Q+RyJK2CuqLoguEA3CLqMfVVUivUHaIfDwhkBEG5YKKVZuZOZQBUGh7K+Pc3AGzg8jrM8pQ0piz1a2MjE3Ct28Uof9aw1V1onFsQKnQY5CfBnmMllTXybiLpZ31r5Pqo7clEm2Q2hR5tVgsvTLCP+GFWcMeydxluBquNCnbGl48gtxe23RUDAqQD91trGPGfrtsATYrHVpe5Q8Ux3fy7vNF7S38MqhpBx+vtudV4Sa1xn+V8C5FLQnLGV4VaFZQc+UP92kRPtintRwMZDmxNE7iflnWxx334fkWMpEtFJZNKoPhhbLkpJbmBV1RrolHt45mnermxi5KnhAhYWr+Rgq80fHK9gyQlwlvGoB+IwjuKyjCyFkwaJqh1Cws0gVz4TmbXycTLsseY01KPbon1R1goY8ZHlIoaD68YBbbYwJmTN87TBeU+E8r5s8Wym6pxIeX8sedChfBitLspDYSy+O185lYXpqghouOknV8LU6H8pfrw6zgvUmEsA6BwIhMRSowukY/A4H+A++FBK7zf15Uq+4OnO/bVTA8uOA9uLIFAKX9MXbv4CnknIbDmB39UNz+hY2hYWti/Y8fRZ3DKKRB9jIQyXmanFcMWzrzfpaF9cVePQBOKc6nL/g/mbLG36ADlSTIwyWxMOBHPhM41qkb/U1gCdc93hbxBgkZLfp4wPhSWIgMu1NSxAA7B6xydFBYh5insP6SxXp3EZBlXKPOUd7zmtInY+5i0ROzVBVL+54KuuJRwRqAzeZpSTBw9awiKEb5iF54sJWknsr86lGfQ8OuidqpRWD6Agrjvou47dBWmXoCTvNt/lCSjGVrnqTpS9jlrf0vB+70fvPdJ903O/rbUhrECOrw+mle7RS3fgEGG0mcnaKc2ajijM7puavXw+g9551kXUy4tVEC2XY3zImCXiNGQ+7h4zRaR25kmjLhWFGcCWvB4Cc8OWsMSquwf79SVrtze7KKhPGNbvbhBPJBTOOF5g65JPSRpfQ7eVrB3L3L5IRjHFCZe96cfWiMlRz7yd0PWywuxXW77+QJawQjhzPmKoM1lpJGu0YgDpoZyZL+Yi0d7KIQhThBwia69tbQ8Ua17dKkaOHQ6nVXJee/O7P8cBo00fYDX0EFiILWt17T2WTe7bpsaggWzJe68H2HONin7ces4XDQ/dcqx7C4c0HgktaAerT9Ck/2qvcKj5KviljHq7GKoDn2Ux0DJzcybAGb4FvUSnDtjtYRIpFha5dU+NjIMtEy+4xA1Q0c738C9SMZYMeXhCtepeV7OxLEqPioy/Ee85W4e9rqytnWQMhjqIsISWb4nj6A/LpJ09wcM/t1iY49lTvVA2Ipg3V4hE5MlhP1fD4S5uLyI6dbDw/gnEMFiF8xnfd9E2ovcT25B9LIxuzdx+XXZ+J11dlSfIIx5xbbVC26rEGv4kCtt8TrJ4bYGec8AKOYiYS/Acfd0HBfD55WXe9T/L54jcqny0cNrCxrKNKnpsAkPJc/N/tGH8FiCx3Dl2sWWI/AfIRz3+Tx6IJRw9F1h+TcP+8kkGZcE7bGN1ob8bjzJ1VX87jIXJbXzFY6zrXi8wsphUs4lL++hXHN1fSKcTk2yiBfQfA0pi8Yr19s5rilUDuEAQxkQmu9XSlVypZUH0GX0d/PJVXqz2FcnTJ4jWmyBYNQTINedpTg5vydMsv9rih3q92tRTDbS8Ykgi1NWiW0fVS5cQq+hBTGw6HK4wGasfRLGAhv4XyrxsSUB1/0An8GJ6gRvvkTFrgcv6SLd7vY7UmrbvBeEDfxUFU66tHqsv+qAIQn56yMy/+CBVbmAIFwihWUpXgDslCkwdFCTvHvnzwhsnX37aQVjuQIDEI7eA84rNRalorRlJ+jdwl8dsGNO3YqW3A2eLI8zdOCa0dwcWpepfpVTu1y8vhlTJIR3DdWHjN8EAniyB1xXJxBdO6Az0NvZ2N3OTCdu4llE7XNGTXYTlRvmu+zPazsgUVCcS3qBaoP7V+6bZC2gbY1hc+UfWR48HNDMSQtD5nDcTbHgfMA5+aKDKsoYV5Qu6KopTHcRakQT5XvPAwOL2Ixn5fj3eAbN1NSVYLdvybxJryOmJmHwNlkRi5sTY7aoj+928zmI83afKCQGGQ6Fr9g+w1x/zAqN7d16opB3gHy4foujYvSDvrGC+z6cMk6cU0OCTGduLtr/1TZFtf4duTaUhCRto5nHv8DjLVPHOp2nf6Dtym+KcCK06FkG+vl9RcdrshfYCtt5UIqqFliUY5G7+Mj9a7laWLp8mVdgu+hzJM4hd31m+Bukmxkg/RqbngrhKjTwNrPNW221qa4s7Sxdk37XyAKPfDFKHrbCPYZaxkSU8HHcXmtE8XOyDoUqx75K4dvXx7CET+vbHSG1TPlTVHME6ckE1jxBCkVe3MPqVZjDuzid9UNwbUF7unV75f5FHz0Lgfw3tJcqArwH60rC+9EDwOM54y+U9Q1F5qbab2orcpua4ewEmtLQG3yzcvCSiTiZGnfSyXAuu7ysCrk6exXwMCcHaLWmLc9oDwt1xiNT1rywKEx6nPk23IuRgxS1lClMEEIVpiTvT/1ZwIiz8IG3I8IAY/2gp7S6d2yyDnMCdOv+zuOWeIDYS+x3YvwCLEv9R+Z0kDc9Ycb00Ll6J4V+G5/p4mil/+eC5olt3Pos4h9oB2EVBK5wNJb41l+cijVFEY68+hpAAiGm3lIxne/LadaAp1So9maciGa4/LAEMNaE1LZhbnGTr5o3z1fN0UYXev3eV2asHn/G851wmVRCAWcF9frVph7lQlIrEr/LzPccmvuijoqvHZsmRuNd7sVeZ90eEkgNLJ1TR8RdE0QfxGyar+rQYYSZQr1y2MO4kvTIUmzL3dsa8lG6zUTNbqHs5zoa1PV5Rh4V45ZbN78xqKt3Bsyqbuk17wq/7zIOFSJorDHnmfxTEFaqx4XhvMVsKI5w26po/6rBAGml3OgUDgNv9Cmmy8QEo8AdcclKuHIAUaRwD4cHpTEmrcjgifqbegXc0mSNh9+uRDB8tlb3zaDXEnvEui83kd8qn0fwQ9RFgFTiKRpJHRnyjJBcztDnw1fC5bLf4scgdxp8KC+lFGkjIcPHP9oKDMV5ja2j4qy3uij1HwB8CYGZDExZIT9BMz1SjT/09nShgdJzW0nT70hv110N3hwlDWCco5tGP0pTybcMsKH4ddxH/+JoaBgtbNBh/FftsuAARgrMUN1RAUTMRodXJo0YuWoS4Oops6WUsRUiM/9bgFXNc7w3SzPAqz360TP+rxJ5Y7zwMjJp29yrdkC7xOl9ocOUsLStnDAC4tf8fWt+Rn48dzuGbOL+nMsoMrSfEt82ijbKuiLanAeFHLKB5dqX86LZR3IB/yzfGUGl7udtReR8GruFHcFP2lzP0b/NZh+f/KuZNz195ZTTFIXZf7M/yCbtZP6WDbPoW5DpM62SjE6hee/rId9QZp0m0QLBqasTq8dBOteex+JjQc5CVhDUWyj/Kxf+s7kL8RuOmgpGjg8w/6lgd1fnS3bEdKFyvwHc7YgawFCDgV5e2K5ESiU5oJ8qcaZsnMyA2J4JfP8fD6tSs30apFv44AopxvJbmBrc4xnN2HtdiiUF9iko0RQ5gdxjD0pGPthv9fElImo9LEsN1dNuPTVjpmDVpVFN5XCoAoB9Bm6dCDeMTqMCbS18x0QXDkg5vxO0mCJirzvGyXy2OOkpz+v7fy7b0EXT7Vpa+ULSYFq1C7f12JWvQaXkq2Qe8Agovm3Sh+fRNC8Yp+Cqn5GVHPGBnskw45G+sqkVHD4l+dPGBMwMGZka8yOoUOayLFvkaSW6gqNNxQiTBU1UWLdsNTgr+xaKouyNPG60mwbrTioAtmcdozM1ixwmuccbfqjoWEpSIfclDXivMwRiwbLLqpNY8hPErLL9GFLYgiMak8gbd5lMzr+Quv9HAhmKNnx3NRgDMqQqKaHrZioW4OeA/DuF9TcoiPuD7msazZb1xYWmxQar+2CZElPZhn3u3AfunRWFnA4EGJlz4cZ+TuvLnkLvPm5eEP2n+Vysop43C1C8RfuK25eTUUXeGgBeMpspzbrCNZuwY5UkJv8tfvGORQgiHcOhAYpoHSAmoLIw88HzVVqwJpJmBvdunPPztRvp0l/SqB6j7OB+5JtWbjS5+UOo0hck7lq0b0jEaTnVWtuV7C2EWDkuEXir93nPLd319iZT4TKuFipGQfpFiDqP1mHvWXQRNMRiP2NtxCVTFJXLuPh1mYFmPUCM6VD9CycRgFoR/lcTguuQjyhhYECRrPv6dVsmzpx2N4sByXg0L9ffgFTAU4pATL9/y42eZmED6avB7N/4mNaej154Og6oHl9uCoyKbmJ4gRqqaKhx3Ee0I9fPDVwFCeRvjjLOP8xgc4o9zBdo3o908wkfZXt+a1DV6NLYY5Pj4BWPygOe1sZLOHgqgmCno8Hp+uVBNH7xFmDdU8cGjUyIWSXS75ASAq3CWKwGFWw7yYM+U8Vfvy9pvqmDXz/6f/p2FOZ+x4QXDAsh1Ybi87St7zbOafkkNJZWwRiufS+pgs46LCsj0gDFJ9C4DPwZcihRYUSlC1w1lIF8uutbQ/1aMTELIizbybTghKk0bf+BdH2MjLp4wV7VCzp5H8FAUxMM9XaYLDrfkmiO3Fx0Im3U8pQgykYoqMcCSKaAQqofMvC68d+ChSw+jGXtHlvcz0yfbBNaritqyYUcRHIuQbdVaE7dtQzkr6JDPrQqCP9m4OspifzEnnxDSM+l4DoEnRrgF3hMjAao1vgSRSwDlN+QQFvY6bQuIWgq6ZHjmaE8MqYdAu1jCjk7ZYYFg6VxlLifVmPRbK7D6ztNajjvVMt2L/NAX+GlEHp9ytG4YAkCvjxAMG0lnrsmFy+zLEb1Fr3LcSu+fo0XzQldoRVEazlS33unWquPOjdISKtmfHEmJFfTZiDAa9OxqMbdLQRN2cDtgB46hsPEkO+u8Xyo5xJeJqNgvcYiVj524rXpx5hAAo6rcQq80QoHYvTtks9yllZYjRV21w8817nkqBejuBN1am4KxaqPuMRQfEu01AaPR2EjG3HwUIAwE+h/M1Z4QSidZOCAGSTpS7pCuRlmt6Q1Lp5knyjZh7e9WbVL3cnmbjr6ou6E+fZD4UPJkDwt9+sgLFFvBD5r0kNd5yywbaZNF2O+tdgNkk+z5hlc720jsbQlNNAdQ13Lqn5jDRZBMVx6/bfX1x6t0lSApB+zRgorRvrCRNydRJHIuEhN8eyq/VG64LC+hmeMYcOmpOr4hNgrOrMfx2d1ltdfS6WWGnBDv34491sj9Y99PzUafhzGXNt7Y4EJEMiVhvS6mRZDHfKDXFiGrjV4Krt0yZ4hXWSh1ILj8gX0ZtFcewBfPW1jiiZpvOQqGb2Ul/fH8U6ZVIiWD28d3Nl1tfNoBZjrrHCPdWUVkP6bCVUTMccFyVvLymkdrGiAyOR1WurdJzPIXN5Hr0u7X4TILXRXU4PMBibMzUnfQenGXqY/a67LfSB1xgkWSlTBsmuiseN5tA6tf0TReYCytPgOZFjPyzXLd0no7WJyi+tUtpmdSwFUcnlhBwsrmozowSzxyzKacdFs/oKPIgdT+OAI2fkEGjhlh6h5R4m463FootDJLsazpqMCbZm0C8PT7/T2BYhoVBMhnI8QhdIxzYQbFh/I8Fn8NAaOEE8isR8JeHdiCx+qpAwtyvs0vXJ9VoWqmj85x9GWjWplVOD5K2ZDx6qluqD9rxODA/s3G/eMk6wbA8q9h6mSkklKqtxBJKRAqll81yogsSuNZTOHcbsGu+HfFxVHwrwVXGRRSBgv5Mz3nn2zmFqagwxuTXcPfC2GyN61dJz9ys8taPRXDFRFJKitOnX7X9GPlkVjT1wu1I2ul8/gvfRqENTiwYuUdVwtkpzG6UeP1rT2EjreLTrx9rFT/mkWS9ULtrNx3VDEnOdRLv97zlyYR3ZNJTbYj5UtVTyQtMncUkS1YlF/nqZVEUeaxKfM+/PN/bKJzSt2E+pxH5OEy32Amz3gzqCAANIfwwZjIhzoqlQAjKAOP59Mh7370GQMYk4+4MTuq6V2TW/C8+zUso9jEaWQLZvx7ldQPMKT3/f1yJnQniANOAVamT4q0QnTotv3THsDTNK1ae/SyXKMvicZT4RwlEkUyFG3CxyXwRgjO+AJtlSF5QUFMQdsXM2PNmxB51ycS79vhUFeAhte0bzwx988hcYRW+zjCt2Zq3k7babWxWnje3r1QNPZWhPuV0yVqm/M4TUhx+NX2l955JFh1gGQk0pOm9jaW/1ULT6gDv8PrrFus5upSayRlfE+2XToFiaDGZgncCVTtdWafLG6o+TNgI0ZzahxUgtBA3A7K7jzTv7PwWmU4MA7UDNmB/W/bL8SjcqfJOSJf/cUgAdsJF07RXfnKrVPUpTMCeX/6CaxIDEvSGOmWqPZPRT2WiRPczA3+gcy7o9mCWoI30jgBK88xZGFjAN9ci6+JGvP8TO+qiRNpSi8METpmpiGiWm27xN1+t+jUYLOHPl4ocQJa9Ha4Elbc8KSvI+7eTEGRbJhzbOez0QQFjBN3dkMkoYX3cNOQ+g9UVV6i91MQIsehSW5sK6t+pmB+KKybrCcNxgmzIYIMcTUIZdNaQ3eDo29SnOBSwzythWjoVCE6Pvl33XgKxgbt43ovqops2M719AIvyHZ3HhuyMbo2dqJPJsJjawfgkinG/iDK0h4pSdFqdrjbMMRr/D/V4stF1HHyYJjmDWrby/L1O2PAbsJP+weVN+8ikkkOqR5o6h/S+0m/mUmhsbf1kmEChShCa+gR2dMAkAvZSuBW/5GeEkkoDL/D7cYypSp4UTtkxi4YRYqguGwzs7HCPTb7QQotzSn5ywTTrVT7vkHsmwUb/BaaQDvsj4GgrGlSNRRMJkuaKdWYomGvVyPggS4u4GQskaMmv0nV3QGoODiPB8FZg/8740WUgO/2K8u/21Wt9igyxTRFh/qJ4ONG/3GeKzTF5khgZaAEtT7qYayM2xZ/bPVZJToitVRfiU+JWQsfYTDRC1CP9SrvvRL8NTNxbZVt7Rn7wOpKYnVwjQPjhheHayZLx+UOD61lvbjc7JXQqjseOPR3KtQ0bebDTIBi5scLtFmq5RcPLpm5BqgbIIWlotUx3iKpi4tK6JgPOOTXg5dhdbxMbomVnJUhBncDNMOWNYabu4/jvY8zfcmHlbGbjKG77EnWEieCxjKADtN7VySna/INVbL2jhhyqAGXIskZ5rNkzQm0naaYPEuWdcc2hrQ5X9x/huXLNr6vJDDi3hQKNOgN/xlDq0D7J4jAD50ZJqyECFRF3Qd8FNPRL6iwbENT+r54T01oQfXs115yYxkfSvRatdUdkGBjngS5JDhxkqs2UM3WShY7h1ao0AAJsmOKs+YrUJTt//0n7hOGJ168dLlSAB1q2CLC5tZWNzhSUG18luEIFHwLvbg7uaozynLbP7dAywLoPrHl1OAFshEgV8gBBwPlV/7FLd0RrpelKfJcdNvIoxpvxWQx4qgOZfZuafiTBspT9dyJw+GBbZhrgTn9moAzL+s2B/SHc9mXSCZyrtuSdiyH/KZeKuYH+HeYEo2t08BpZS6iaVNABGW3hzw5uWgD0scLlx/qr+nT+Fp8moEMsRW11Z68k7ZyXA0HQCyXcAFydr50ZyAGfBaV74dEYaTIKQ9Hxw/A/Ukpc9jjlVJ6mMHwvzIBkg7M4w7db1nj7MTAO9ZoDAILlMTNmz4asDZhkAmLRATQBIoHcCiQ0ix1m5UeAkuIE4OG/3gX2h5+KWUCZGEGhCoOmbAA0omtZctIAtfGecD+0toDxoH9RV9ljNIHT85oWj0ObVKkZpjNRuuPvuNN6C0Ctauoj1EKrxwG+pAQps+IYOU1eZ2y2vvCOKb4hvbKohJTFeQJLoCro5PKrVVm+OrwHn6NvCJarTZhi87XzG5ON/t6eNH6tYP9HS/A0osZTjiv6hS8BCwWUY6+DOxRpOtNwQwoHsAtv3mtlLQ3FkBwFjboxaFu3NHJfduREW9SvHI+I/vXRM+ZYQouoiqnFV5kDut9sp7sjtHR7WiWCSl6uCxtkG4WWY42Pnh1pU+lDIyF2sOAYVF62LFiRilasVK6qodZtQfY6V87/b8ThqbgatAFzIKHx8M8epxJlqGv20oIPaz0+Hqth94prmWG967ZTEmoZgwky8+wAGR7bUmYSzgmfymqQiY4+dX8kewcP+bvAOjSwYTFjZ8DaB2UPRh/yj8TTfY0+fRWsKsJCM/W1UFW0RQJKEYJpWaFefSzwQQV3noD1nYp5YRyoTsN9h7efNlcfkocC4IhKHkzyLDTB+TNHZ4oV4fid7QxjfqXoskDtJd+5ieb7ki1qYt/lTHY1QiHqxRLeax536OllJjXy3dq7ssW2G0iH+3ToLMuZDK93tLKvE3m87B0l+Ee6z5+d9zuF4JYSieA40FE2pRmGbDxUpJ3lOAcg+Gxvq/DyV0PLHFbcKiL2ytaG5oOKmVKqqt7yokd+g7xLWMAYmLhKOQr/CcsyQOR/M54DAc/LXxdAuWx091ZwJ1oJ32OGutpWoFj3oAoUywdCTHOcCGi8IZIswEIz6PJ2+varCUJvZIXHbnONY71SLtL7wkYJ1P5l5ldmFK4WpBVfWOm4yJi5izCHxfZp9/QsYdr3q95Ixjzq0udc455q4il5MpN93B8xAxWQ1AXRW8OWlp3nWwRNYZP/lRTmrgrnxhu9IJetsT/33+2LtE+lm1+KD1KX/wPa49n6fgV1VSB+beqs3hoQW0lQ+Lscf32VCI3q8Cy5OjovUMYHPpVLJC4iTplWhExK19rENqc8a+UG0yEqovmLgNn7kxpN7QQa2MuyZmSmCBFBA6Ap5fJnDmS6EFLoO+GfmIqWmq0addShrZ1kXaL6TtItl9O8pUD2C96UH2Kxinoog6VqTXwuIlf7vZxqmYlwPYRrwRtFdi1MmveYruSRJzDwVMGu1jt+0/6h1mEfsKv5FSnH9Ubti/TL8Odivg6Yg+ZU5XafFkhBLrigHm54ymkNftqqOeX95WXM43oYP9szOxQ8msbO4zJ8bSnpM22e69rgEjulw50Qb+y3cvev3hMNoZBvSiOX7tRcAJeFvzcbPxK1cz3d5KEDEYs7E2HFpr/X4Gqxg0fcRp8NoA740pLdKI9bi5ePHIEUgdA0rVtFmgoOotkvtTQ5rcaUu92rrpWAGUO8CP9ffWqCVzaw1jWan1xJT93lF3Wdt1R1JDxe0+HQs9hWfuznkjxudk98TADqnQ5SAsv3yvWcn8biogbuoHvwihAgXI/MdIv2gG06YPvu/vf2uIYez7rWxDyITz+Zwh8Bvzre7qRXPrEHA3v/DjLBPNNZ6vh8wl6mTQ9jtpUukh/lk3pWRr2a3kPS4BltATfZUzTXHE5AoioUjFkIfvICtXxERkaS6CYwojeFGSLThgCCdAcFOzNmDE3w46Om+0ep4xGTUfj0tPBTCi6KaaTzHb8PrDhUZ3ZjnoCoPT/FidvKf8Zx4e8CuhCwPKAHxk9yNz9p6v0G3zFyndj8MMUdgKbuQC61zk9LRt76VUlNyZeths1ZPuwpXyYvHRNPLl06p/MPWZXiJRTYrwOG/Ja9SUdOi7NjeYP0tkVS+tJ53t6fOFwFwtB8MqRvBjbXvRR5VKOaAo/SMGADeJ150eneyZs+g3wTNprNfOiMqHgcj4QZP1qu4vmYtO+uqGsyhluQe7Ael5oP7m7P2j4H44ScUdVLsEOIdyqUK/B0F6Spa9ejYvWRWFgGHBBpbJE1qx2ZlEpRhGd6ZEm9LxfC9H+IIozOrKS1yOe0wROxWxyKGlz76W3ZpEiA5H8eFeQz0R+HGdqcTdmsc4vVxmsdxB8wFe6HZyocwwvh5E30SWCQv4/J1kGfq5yhzpymX9/anleEk4Xy8zPbsEWtNKOKiNKsfysfU+QgdGM/roVutaeseIbFy0YHFDZBVOeD2787v63rnPlvhbqD8JklKUM4/ibgMFyE/DxD8Yno6SOtfIIi03XQw7iDl8dwsNDNEiEDbg8LyF46B3ak4qUKVnM7uafWz7TwSiM6hPE8/gxUIplxUDYL/lOm6pi1ipYWnCsZ29oXah1v+mng9V2lB79gHgX905sh6kbIUzEcggwea1SGRi4pAYPDCMz94rR7GvisrVUqlZT1yDhJhrPe3f5CpfHarVNMclGxMaXMdyUEdZ+BOrhBG1Sj50kOVN7OCOIkz/hp6SI7KbJCYNPVocOqTJQfET+p10dlSkipJEDiRtmodSVrkPhFu2JKEjoOy4npbtBJ4ZZzoNtd0EkPe3dB0xl3ydqXAbflV7D/nj3bcp1xa9+PBnSZZok+bZfrweJlTH2OsWp2oR0eMO9LHRp2ZCUKGLUTgDOvcsRi6MhPFxkNZfLX0y0F92o9rkKS/e9DwBTLFqcDa9AVdXEemK+qC5RTYz1eHYk2FJiwhdHpp9X0rXrw53TdZGmqWueUrmOc9wbC/fmv6xct248F66nw/E1N38UGep8AmmhVprlvzgPMiS3kWi5p2JJgDyECsxvt0CkVIZljnoA3YU892gJ1d0G3LQTBFwnL+S1UaozfS/WySSRRTzzyqS/cJIUNIlLFaymvNJugF0cyGoC6iGniFT0drXBj8Z9gCvpZ+QIFWmPA172xagzSyX0uSNuBDEyTTErJxs0DBFbjIkLSC9mXpLeeRcqOjx3ov64QL9PJap3IawxthVxopI3gzqfbh0gfcbHDQQaxpA3E7xMV9OVXFv60QvJdqJyjVrbLGFCUgoy6ZPW7lrLfv13M9EAgNWieO0FLu6aOkz1Hlur2tiOKh4y16fY5Kzgawg0YeiZM+xC10jy1+WAUkcaCDlEbhzJzLWIIyoJMr+whusHubhqoQ0+bKnn7B9eTLLJPxMOy8CZT+ayGMTWSBa1aoA9ArNbP7tB1pSlc4Qs/Mg845Yr5G7aGK8LAMEJvKEv/tYNma5VGcxV657dmXc/onnfhnU9KEc1mPZ0wSzw5dwX3EfkeQmnhh4q8Kbi0pz+3+gol3p3MxJA0sEDTZSCh7ud4O6DgNclxoFvHUvBOvmLP3YYgcOe5P+7JZUBS/CGatoAt76zfbnX7pKdKOHtV5gTxf3FqVuRRFOraZsVaenAsr6SEoirati2fYo2hBK9pxl4XGZ3fvByHYhAOupuDSDXvywihL+Fvcmg1KH1IZ3plEe2IDV9D7k3GBS2VPOU13BOKumAmnCAO0yJBTkxjuRtNUqrfCGXKWgjEdR1Itqj2/0ACn6ISTC5uRrduPMY4Cumd7FJpF4FDdNUPyUCHKEEK4HesqyjqH63oxBza/cNJHJqAh4/IfIOrQ9O79AdzIvwLxISDYInpnFVkgREUpaKuIs5bgq5YlAQuWEUd0lv/nsofBeKOBjk/ZPlt7GlIk1B9pccopD16fIoyDDEvo9goCD0xxiL7C/V5vyaDuDeidDCSZO4bXpsuThzYBTUq+PMO3I+YwQIuEpvztZnUdvgHrkNJNfxkNVCXxmhg0eugczdVL9tQq4FinyqFtOwjzw5OwEINiyRNVt3agGytvlPl9BCdRKmwJ9TbhSHx3IchEfDZoyT1lJueA82EsUbgUPqEKFmzfaok4oCHL12GcN8kZ5ykDtKnTc92lJV56M/rWokV6cXHbKSiSB0vb9vv5IPLDDsPKNCe0/8aNYl+gO8DNYgRgDDvll/rYBicEIXulEBTOFUIM9mcHDPXjpGnL9zq87NJapmkIi4YekVICEsmRdgKSzvEjUaNNkc4a/5nkQl92q5lIkZLai8EIPigNyHpQj5uNHN2X1rcO/8rHOjooFQVX1mDS3uUTCbAJ/xCUchMqbBQ0RA+UIjwqCk6ap8KTFl3ZmoW9+oiTDVyF+GMbT6m9evHE8cg1RZ7eAZB4RJhjEc0IdTnOZEhVcmpmZ9BBe5WswT+Nf5UeuAiodzeadsDgpmqJFy0NI2f5hlD5jtaPdwM5Yx3bJRZLefq+RsNN48P0Bdebg16I0McgKOpFxxeS478vCNcJiqZUV/MA5Xt6auUWa1D11WlSc/3KQF7nOcoCLN8qpawR33BhwYyX3G4jswHIXNKRnmdaNvMMDdqS+RHVc4Z6q4Bo2UpHu01DJh3EwKmBSYfo0nmfvlJkZfRcuL9piIpangu8mWSHwCPArDOolUsqo2A2WLFZb2MVQG0lPxHqGHmXSv6j8tE1ZxuwoHUOlF9QirWaReVW14oLGvuWzOmKYgKEOHPpYZPiC0K0+RugsNFQO/EOhT6JjBSoWzVLlLtG51d42DbkftwEcf4r9bfw8c9rjJoQmwNaprY0Kl/YYlTftvxnh7X8766HfTaRLe4l+Nr2FXkT8aOEMULIq0mBJ39CuWeTQJ20YHqiXNULeCYjpap44Xk1c//BROCUD8cHVYQ9Rc6Zz7cd2glSck1Ecm4gprrx5KFwZ7phxUa4Z0jZNaXSbfS3inDXD2XGXynHmNOm3GDJhyzXyQkUbFlWTZ70T/8/Z+i6ljmtnqp14smVuA0g5/+OcaJi7lzH78gfdnW+zj5gTNMgaMhhGqGLO8bw3nvcFJsLH2n0GEzq/DheyqYHozhQlAxotJXZ+3Sam101kfEdPUtxvXJ0h3Ph7P+Yvxjyvr1Cte4eMS76wa0CVR8i5E+MU6bUYCPVt5Epi/jk2hf3lwwP3DBmGq8M2tS3jMNkJVhyXiR+8Keu66IMYUyH2wXdcwO+YbqqTwhAmq+kpW1cTY8ZJzePVByaexC0czdVyn7FWdbdN+gxbrLYlr1f7LXN0zHEuDNKNaX8C4ZFIROBX7qlWmQRgWDP7LxslK/ywng36vl9hPr7HoeE3FgmJ8wzJPtwOwVuoUucFj04PV6FmQb70ZVlWdeBaWaK6/7nO3VfsaBlabBqY1pcFUzp0Xvd0pfAhM92i/WG9iRiu4A1o7KQv5xdrapa/3WOkQpic1Y1+YPrTPcfBWF9E30yKTPDtpjWnl86mpsH/Fz4Jsse91fhECikMJ4f3Q4VM0g70UE2mVlLcE9/ELIiHm6iBSeIV3xPFYxxVJNtk2MbtfcQSLVmrIyfxNXU6C1KqK9vWHqM6bUDj3ELcKLb0Zhtz/A+bRnOrIfD9fhs6mUqWAW5417peihce1syePWySswePAsOS4NBWu2wqmqAsqlfgXvL05d5R7Wt7b6WQyW8lg3m0TL3sYhpnKZ+4CmnTH6lN+Y/fjbOSc2GPiIZE2KbgWRlqi+oFZzwSqbF7+i4vYbH6ZOTOImUaTDlClsN+eERN05ScgWK95yMiGdbzO7Dh2UFyK0cId5UEC+o1n//nkhA+0LVtUTZkws99K4XikM6OpfOlZ1j9liO4VFKUuBNHDwBMtU77/qSxK/9p/i0JuEMZ2+payGuOX8qoPj0PR3iZ86omwShjoK6v3pClLts+e0r6rmVzx5yygzsCks3+CWpKDSAo0iZPE+X1Iy+0/p7Sh2HJ5AYzBF+xJXbsw3N46HTpYKmdr5o0g3jC+K3csfM8uqAbscX5bjwVFA0+vqj4PuL/93HyGFjLgoaOZmO8CG69q0XLf9lODIS2QbPmkbEM/GaQvCi9woOM5oRJYegro8aqYY+zXd9K0iHSrrfoodv03/buUqvRPSpBA6yi5/2bz4AeayCb3N6VTl2Af5A3W54WrPItE+nTvtLkm7+WDcPPjzudy1HHmBEy+zbIKEpvWFv1gTidEyXiLdbRX6K7YFUmXdcVNLtVYIeEk/YvpDnIJgQXpCuVHMy6DFhD/i82IvpR++ThBlML2io16MVcU2VW/C1CNAEZUhu5MRHlBoZ5yFpYvJ71kYTNuv7N8TntKs+6vBfbc3P+9vHw0oCsV0DLJQZt1+HIDvDaZspUpCXS1Xdl57ZFBVkbvVDA2lxBsKcYkEEepxMWW9KZwbHrrAPJNd4cJwIIDRrPfojlgFxJkDu5/1+nSfqoPm+8WuBJpdXxWRFymDpDyWYmiu5meQ07ZAIKmxwRKTLIZBg/ZZwyYgBMdxa/RjIPPVnd9vnom13fI4fIDdkudMhYQwrVhQyN5nWLz0X9WWUXeE3afRUo+FDzYhzAj8cYvbe1pzi++iCcDTrgmDXrNvg7wemwXNmtcpOKFNQnpZ9CGvl1YF9To1gupT8s831GjlpZ1HNZjKMps+6RzshCZEu98jSzHyJDDBgfso8QeIaGkakUiAcnwhMwjge3QOfCnJrTb9tjz9AnlltxS3Jv0CUxaEwZHnZT1CEH9zEJMg2X5rq1aaPZJn4Vwt54atEXO+sI6Fc37Lm2/K9meQsckLdRE6KRhsKhVTpD4QD+yZZAt/fIZNprKZnxyx4gYbMWDvL+KFAlSsuMA2b+xlgqdO/BHKhabHRzu6G8O88JDpYN8KN4O4HMXG3x7nTkBFKY7p3MaI3uChjEU8y/neVxV47x3mVQ1YxT7o0Vy8OK11O9QwSD5KDNbC5ZWcRrzyT/iq06FDGuJbdymQa5j1eKBGx1ATjJe0MkIcOGifDRuqzxWAvTPiwFNN9wp9h1v9uwhO+rm+6kkaaMR5QOYxkGRPRy//VNuz8FmByCS5dWiDTNJ+uWpQtuK09G6BtVvdJQ7XoCq9qzZY6vpbT5WSilfg9zhw4Hf9QSlwyQA5wSLTGINRdv7lnJCvJSYCDRDbyLJqKZ1yOEEG7uTG0eWNetXwymzYj8ui8md/MlIMNrKB8sKnF+HH23O95CtT7jX0ruZ5cIFvWPI+JUtWmERJShk6b6hzB9nsWoso4QElMbPKJWZ4f6yjU1pfKJWRfwoyE8wtGPfKYTS5xOq1tfpUL290C+Xo1yMML+dHCpX2CqP2eiJK0Ep5PtIyEMfdulvrcEvKHgVRc+uo4EO1YMSd3Wi5mJfg24ZoNdkmjXZI9UkjqPtJkGaArFuzT1R1Bm5xVyV2aou/yVN0H0Aoc6lvQ2vgJIy8M5U1eFj85EyrbfooicMsbGazU0GGM1U3PENuHRnVIoUVXzH9LDdWxpmZgr6//j0HapOAUyV9MTUmol9L9FBBeeE+dcHFhnF+XvTX+FrDYImpJlhUTdoxEvBK5joeOTQIvRMe1XBCivsOXH+kfIhIawzfruVjF486Hx51zOo7Q/sIHWE7iA5rEx0LYNu7xPwYkgm/HdrOOP+ILCoFibxZ47CuhPUKQ2iCe90ICXwfsarZOMta/o8mMpzehwdk/svI8vE7Ml7WYOetl5fl3/u783AjOe7OsnTM2wNoCu3Pdgf349rB702sgIc69VgxlbtFkvNwrDwAokuXi/bdgrCDLw2I8CHTIBUPnJkg2RivZhfgvVDOTb8T86o4lJSe5rbGQhShddZK3DPbe/XjdK985AK2o7L69rBLWi4sQKIdGV4VGi7SY15eb3XQTizwzuo1wsYW1K244w3DAQTaMQqsUdhIWVdWMKgBpZliXqtVg1zfzw8NsY6QJ6cYVe/dCN9SfgYZ/3j53i1rYGH3/xatk/aAkJN3NMZu1dY69P8RdvgWehZaG+yCHhbq+GEUBJTJQs5wBY5/3t56UDRIga3DipcElKZ2tV0C7WAGSQRIP9+LWBch74al/40nYzkMsrlve/x5CUMQaPoqHwHzNRgT7VQt35PQO7ENLcjCgKRT6gtLKWlS5TmJRIlI5lGXIm66h0r1QJK5X08KYFG4GBxqoUMX+udWy6s3wNNX/3fS00ryWYvpHuwGbWNLVi2ZKtqq3H70MRBtIsvqmVNCz38EhsdEgigFTfXI8yUG1k9V++U+Ubb3FpObgh5+E1+enEuZ/i2+Lxje8og4LRUNkYoue3tQ2iJ8y2Oz/dpE+z9VD1Jh/USkAKax2yvi/nH/A2vkjGqwytKD5iqPCAUv+RJE7JbUjUXzQY7ygei7dE+gpwnkT6Xv3ddakNj1lQBCO3XMtHY5bo9spMMTRPpj3aiR5zGzICnKYU0EaWEYmAQUtva+vVd69iNXnmt/hDs0oFS03tmcLec2xloZz++UEfuC0FAva/okjLjkZu3vQoGAPX15jN+y1v603rIZ4WcZgGCCZoupXadJ61bEGXJC91/vrMmbZgd6fhkny9MhQOY+ziBokbiWMf/gjYDTGFsCRBnelgeHslylJ9y1W+LcugsfCrb11KG1ufofHOETbnnxcSYyjveIl99vL790NJsveQmFqMeoQiPJ8fW4qUPCfqlE5XXgxR3IAOQd//yl58Ncb6Tzv5JrvMXd8jZ6NFz2wInqS2YmekBlD8BSFmP33uQkSz5YFYfk/oxkYfA5TMOMMnVzNoWcihbCTAzYxqinfPOl8EoONXV/PG5nIafKWhlWw+cuUY1e9OS4kGMD2BzBUZ4jhANdQhsCiSV3K3ryKhMrWhozwplk/MlwzMF+MtM9UphoC62iqDsixjvvO+mkNCxHeOJErrN0ED8h5zM00lGRpuOzjBTaNrozjRSqtfzfnxvlHvQNHD0i5gUOGyUwf89CTreFYTcxk+IyTljz4f+6Qp3B0N0USIdnGXKSsCwrhHPSVOb7AkyFQxnNoLSDVhWeYsArC9AxMbTerDYZixGe1Rp/DZwxjl5wDswrEorES3U8EL2QcknQk3bQf3H0fOW6EdZSax1XdQia4/NsVnZfROSk53vaIlZoAduQCgq6NDQPpS//88P6Z3qXcUiSYcRwnlGjn37lIWUrc5wZm6R9vHkk2vUQWaU17P3uYjBPdLbWbVcHkj9QhNAtM+qO55NvKLylHhqANjb/NPAccBuXV1CxVfTTsB3+Wl1dfJ/Rg2Fl4eQO8tbvUnsUo9ACCZKy7AeAHe87HmOfqJjCvUcUt9UFihQ9uUv/PtkGeOdUTHYHlcrV8xy7fN2WqUmvQCtXUUAqD1ljGEvT/Gbcj+iypsfqmjCJQ9OX0MxqB5HSZiKU/h3JN1IvEfeooouvlkJN8XZgFNqmz7EdLAVXwrkY3N8n8Hg/a845UtfWQ+ToyDSHME6HU/yyTOsCNoJMt+Jg4fN77Ag1vWdr5zAa0gaN8RebFg1u5n1Ia4UrpDWB6njfKrXxA6MIcbx0ZZvudqGfj1NNf8CgXi4WWYSNDSFrxaGvixISzC7XovwMl3wam6g9ViBnhEKHhSkoWOq6ILXIdD6I/ldRsCZBojhMaQ020rcciPUXxYDaZ2xoO/XNLie3siWOMYZqIHuqPxr7D8WG5e32mRmTyoO5+Oi9CDLFJ15MMTaFcCsq+Ccwh3phhixyjvNfeBddvQXx3W2G/E5BysmmPC4vqTTntAmV3LYyRqsnWkdtsdkZSSsJfVeidNexrlbfz+Xmsm27Kav/4dRV9qsgctm88UUSXc8UE90AQk8BTslar1XnWPFEYxAZ8rScEffhJ8mDOm4S5d1/SSomGcuOMpvgQAEGmHzjJiwUBdcb3/FgIhIXIuNBjOcxVCaucrhIkAMDoy8gl1KMqKXPk6mB9EzoyKGoiCK+s5IxLUar3FJ0f3/2jKD/fLtgGSmfok6B+zGQarhI052z4JQb+SAMLS5Vuy35q4Q+sloUr1m29DfAusNs4N/wBev/ejmq9RXz4/xYOVlgDKH0ZDJ6oETQecwIijgHCru+BEyO6JRpRlG3L3+62u02bOr3ZWAdAJemmj7+Swe3daSLc1zkeo8KYPLVOKtSsVUucrVQgK0uKeEU1+4QGUGsUqweC4wCOei+/IKzFiHE8U/PZjDORNDSiN0AVehAC9De9v5rNo417wDOjBivZvAzdkD0gJr2M3goP4i6+jk7feogeijV7t5qj6/lGgnZtuZFZR9i3TOHGKVAPEvLdt8WotAD5wX0D4F6BMOOo9Rb/taL4g3z9gBgejaPOfU+2/NhK5cnfJxIefvhnL+/QgEg9s6hwgTY3uaf/Euh1AvubeyloPjfsGW80+hxvGsKSnwSlgIIMmc/UQ6j+CmTy186xaigKfDZRTAaK0cF/M2znZdhcVLni3B42Zqe2JbdbOMdGgFRlpnSYcHMqJjDupdmjshC5dzIeLOwD3Hq1RAKsi0RZ2zZqXk4XL22gymk51YiTyr1azPoRvKr3KyZb4NzRFJ3b+M8MekatKi3MPaCVltAxKkwEoeb89bslMvQgJYCaJYiwe3Z3+knoWrbFxGzE22vJrZk3QKi4JXy8UjLwTe0mbW0tCEkFmMAQc9rRwbFOS8egbLuc4LIO2C7NdgrZXuhikHBhrewNsRVz1el0YTb2PDYpQtIczpNMZ2rsndLTN8P9sQdDeH5daoa+P/ISIZ26zdIhv4WUmtGfN0dulG/qgPTAqlv/oJCFPp7ipq6kfFp4CEp0Ke9/Agai2KVC9pTe00czYPb7+x0zQkxfXNI4oVarHq1ZtsHCVNJ2dYxKQIl4iiak+UYjGCrsE1ri30gHzqUuRtBCld3Pn2wLOtUtl66gTSGFkUhkiBM0Tr+JbbQyFI00/ZNPrBOQoW614xK0cYA7iftaTIAAuQGDb8ZhBGzg28wxz9MEeHk4KP09x/BdcKpdrFDqNL+xvFn0lYYRyaCDd7F0X34BHrxrgTLCXgx4HHvAvWSDJhxsFJq3NgKsA8u0ueOtMiRupNDhafG2RW9dcQytAzoiEMjhJ6us1jlUhnSRj6IaxmoTQ5+YoACNuGrKslRgnim1sSCKf2MK4KWMuZBa3Y0N2PLaiZt1BSCeYMVAPyhGgtEfXtW49DXVL3ohUnPD6JrFIldBjZLp2G4wY6Dd0fiQ4SNohxCQYxMAbH/Php0JluT99qvKxNzLv2XRxd+uLPb05aL2cKLqXhBpai3/hs/e7LsfWbh3u3Xp/HzRvHvRaK3DjI+CJQXFC8Q8FyhL7uxqN7jirv+Evy9Rkj7gDVP1J/LdV7CxEtyxjTRC6p5SCssC9Cgn1ELg0e8QHHuaXNgTPZ2bjKYKuxoCPn1ilfnlTiSToeUec/Y4Di4e/OIeHcEsT281A7bh+i3lDUYWzeeabvwnzBl1CZjuXMSZTy66ptyGqYxs6Yo/jcvZpKPWOPccQ08M/OfEpiqUybKQwgZYhmjX329pUI261EhSCeEiuabnU7b/bzjHQW9egeh8msdCC7O+DhIZbT9qz2ftvNc2e+FySJYxdQBgQ+cNFPPeQUo2kIonePEctvhVB++bgbYw2TX1uirSQs7zWVrK9FOJElRJRUCtnO4qFXZQmIalQxfKLrcl60jMhFXaEIN/EjlKudAaUf3x1fCFmlc26T2HrQNt+7+CZiF5HoaTbJ2fZfabDentfA7RdokHzW7kueCFPy6RYf/x9tuu0lkL3bHvs4tXQu4DHWH6ixCCZPnqGbO+dwhoiVA8u57pnwj2bdA+lb2b6SG8ETBA7MNDMbAWWnipOMNTfhWma/XJT8Ir1tLrlAqDqQ6zQKZi6MPcgmsg306NW2T/jhYj3Jm8/YIXzOlibmRgojxwsEi+zaCjkUItIooWPWvxnspsQzrd/rTNMO3GK+smLjaWw7OmZEneMqVlzWprVF5G7Oj6quCuLQKywzEl8bKMivC4kv/NU7zzgM6TSUPaK2uplNjpNk8O1yZLf8tS7Y42caLI4iV4etZX7OiR1d+uealt/yESnmak4IKl6cGZNM9YuzxJP3PZ6uzS5lfAZHBkMa7tDZPq4on72VMB8MooyuTBK4Ly8+DwU2hRfAnL8JBxTE8A3v4ES1/bQQHogDiQ3QSi9w8KySOUUq2EUET1EYBhNBsunYFhyGMGxzv/FcGAhTDwkjbZmVTnxiVogxAfer2dBcz5KDx2LAhZc8Id/kc6yS3hC/1PpxeLoeWSZX8k8lPNISQbdvpPJFYYrW8raXYyz7K63h3TMBr7un6HoijxaRh2issW7VvnDMUWg90oTbud8+rjLqYri0NZZiHK7vFiq9qPvQAENLg6WwoqqeDQz+ftfDbLZNF1dOCdqVmA6kr1fKDEyuHQ9fe7tkBMby8e9dFs45BYBZUEwA1jcAbgDKsY+/jF9L+fZXZBLZ1ofCWh6DtJCJpzd7Mzyu/bKNjZKjtsz2UTFtQzY9cU8kYfOkwkJxcaf7wEvDdVGYlmtW+0XCp53Odcc6yQqS2/mKpurkL9v79Lu19oElsnREU1BI5TH3dTN1Qgf3oMKyy0QXiEABgTWDJ8y4+lIZTkNxiBsOoyNldfoL6vDzaGuryGZZuWkYpjlkHZZZ9r0GxIsjKntDzMcT/EHeaxKNtrnJedZm4wrplP8+INczlxak5o3OHrHFYRMCeVIyksBKHe802hVtHj+mcEwEYwTEtSm7mmB9FJSQmDeu62oCmHwyObxqqJ3MAS/UYCT2UmP9BPhecIHMYnQ7qlMqMsWvej+zltsfoQlCoPvC9Ixh8o8TLKDNMFig3UlcrHk3O+ppx6w9fcNcbCbPsh9s5B4PSLuqgNzHwxUlZBZoHmJ1qzR1gaPS/ADCZl114HHbNYKSbHaMHVmjbCoACHoNyqQ1VwgeiQnhMqQNyxv17Zx2uT/9trkvrJL1euwvs9am1K3+TlSX6RwHcfjUKP73nBD7Brl8gMDMlrkBl4JTzeJS54lseLVc2CV7Wh0nT9G2IPSOBjLC1ipR35Cy7he0ASvL0fnmg7ep9jRLtzQQ+VSfz5SWCOfsGQT8r8GT5CXJxXE8yu1R43It4GBwYos6pf0DFrheBQvZreH1/W+zcapm0x2SeBOZRT1WM3XN+8rS2m2Bbmhjr4p2HmT/ys5Jj58XDJDsKqiAvyNJK07cJ3bK0OttFhVpaf60zg4jcpmv5VBLGqKX+xOy5etYIr7FWSrCu7IHT4jcI5nSmqo+mSNvF4sLM7nQBV4L0eA/+LUXJGV3tM1FA5XmBFg09gyxw7nDIUuapd5RTlsY3b253dlLnm1hgTi+xVHyKDJj5sqytjY/K7Nf7npTPBw9jPEIXc4UfjteyuKPCx2Linj9mvgIExAr6q2Faq+rzvn3WSA5JFhfRpbDAkZU5HbVIfwDIy3aQ4LryXs6orIkHmhaBJ1nnvpWg2CC7LA5rcgTV5YEvW445+iUgcpEuCEivxa22fuMlzEfpoPrvew8CaqnJTtKuIJEhGMAW/G/PwOlq5/p0vETIK/UwVcW7Zo8cM7xteaa/SMmnvtDx1qX1Iy+LqR9tZymS5x44Ok9GlOei/n1Oi3Olrno87yO2Quwy+3/MKlEzMzOmqIV0EZOrWjuFyeOig3upXDC+cVOS6n3RL/N49MQE9+taBIYmnnz7PN8QHu1Lz92ukjx6xIZMJN5eqgbG2zvbB4Y23CUVRkvWRgh2ZbCeHx4v1xWszMia21LrvM1uaNVInv8J7yZs5BNjneaC5a9CjlpqYHNbfL8IreNewpOYbAYc+SqkcqaiQFHyijAIkenFmnvKpUhN9n73okEyizFVM05NvFQO40b8tTyp7XN5Eq72u6kmWicDXwH2elzrcdqTcggcUOV89onDVSq84S19k0NkrcEnXRskoGwzLCwyPSLCf/mSUmz++4dqKqZ17/HrARdh2+Qdlg/WnMUSq4FYDSt85uXfOc5w+JIh1GoDYxmY+p2jk+soVKRvQ3AmvhECk4A4qeH3y3G9VxBHBbbfbpoQro8Y2kOgOeGcRtVG+3eU6kKIJbquUUtwtpqlqVEl2niZ19X6BYI7/7bTgw+NORPdygHCsYO5Xi3XK/uHewIB1PhPzsHxBMx7MX+eWbiP/ojgBmsuMwWFfZpzeC8DeES6XoCGgXBMVLzM7I0C1UmU8QGLecRoQDDJDrpUcSfH7ZhgEyRGjHXGK6gffdaoOH7nrS7qnQ4DznARuz8CvSdo9EwTOEiRN2iobN3LNiLI4fcg3rw6gKj8J43PpJcnvOSA2CViEECy2XkOiHt+D+ffv3Z0AEThdaUOQrKazxwoL/06FtIMYsOf+tKNf+ap61C9ASiI1VsOOVl7gpNYUwvP2awNWDVGMh1H0/CJzl7DaWMSHlrNylXQjbVofPJ5NVUxshV7CnHfAMym5GBgrwV29DqY64jZTD/hb3pHpPYrjOX5xDZSFMe+rqZ6oGHvmWztazI9AY/2085WhJjI/SlxVmBPkDydUCDIljdhRdD6+7NVFWpync+++u7hhwtSDrWRraGPxPV8hS6cl88s+yhsQNLM4BLJUMtcUTjD6wHzeo+G0u3NO9+Lv/VPeJXa01FSzR3GXyaF7pNcrulwNww0CR85s118Ho9AnwBgEdAXFTLdQMgcvVT2JGs2AmDW2lHwfyMK1nc+GdYnlfF8Gbq42PqJhzptdtA+vnHgXh/W8tureYUWuthYkD4PIZqS+cduQOoykpIBXa2nNhSR+vk+XUlapeZNWZxbOJMVqVX9aJ8k/UX5T7X9gfo8YOWEy799CJYqhLPzNrdRxwCa7vo/rJfw+0SJ3zPGkm6Ulzg61kuv36vLaSh67CoSJL6lk9nBctKHNX2ffcYOnAmyBJ+VbXPr95cqOTgFVDW9FuHmvwpmA9e2geHGphQEfyRI8YLJ4voKQC/aaeDUnP0t/FqK4an1ZxDL3rrTUGuiU9dnv0R/TyYIERXdYLm/A1nJ3xGYqlSXKln2cG3GcQnYHU1Exor4SnwgNGV8631cmXouz3DtvxEFUGJaae7hH6WfFmwGDQ9QOJA/NlRtJrL7C08Vc9NloOK1UOqPxSD51n5FUbq+8jI5pDSwdgbbtN4+g3qcoWyEGAlVSeEQ0RdMcoxZ8tUVxYVTXKEkhAMVHJlv7K92Fxu+o2XQVl7pUTo+hnTFSbNkPM+TjPJKMneZpv4dgPRlH2fZj7MZ9/gy1qzFJwFl/4wFVDNtKR99HxOUhldmNIamlCOr6iuqFqI+DaZJ2EQaYiFibid641HKbs3FClXj8/1tfrKpYDmMuloQpauEZ9ISbVdoTCrNBdWqjHauzZVvRcH3Jv1+CR1gzKrjrZHwCNmwWKFxcPXb74B37KvKdX0b5c7aynDaLbkQKiBizd41LApxQxGEpLtqjyC7doBvKRbSiZmAtfom6+0oE5iyvkUUrS+A9Gx/IeBzOqGjpXWcz3L8hzH30egzxrEvctcHZEEvTRY/dCSV64xGulgbo9HKuYWImIp1r2N+XvCwqbtHIgqkeQNUW6z/ffEt2XZkvC93S8li4e2/kz0M7U9T85isnUCIPfwq02VTI2Up9AM0MalU+Tj9GXbNZOt7j/pP1xiJDUuJfybnqqc0l8x0LMHmcgyblgBB03IPsyz1mCSSFvhmtHUlrVJA1WP9o3lFOItE+EAf7ePZh2hJho0Kv6NBrIAk2GA8W8RB9x/UkCazPrrVrgDiKzlfumeWCq+LVuXlR0QWtCfG7JdqQhOCERMDqM1QiWLI5uuNB//8EqTC0ZSDVauBhK6pNfLcPOhw7sS1RWhExreYb89LCXPo0x4/DKIPOwnOPeQMUXSTX/+1SBXSBHsFg88utrchW0P57aX+VM8+JsiOx0L4gBmE7zbE/MjS+OC65XPp8r9SM4odE/1xG+fOmbwQAsXASQPOk5GeLL0AQa4NDFMiZ37+DT+Kd4Jnos/WomfG8ywCwXrlLm0Vo7uyfKzoVtWTbxhkUD1pUIrof1Hv0nULaFNTpU+ubhjrxGqi1PY6oiPjTnnDz2YPYbALzhmURiSYCtNlNMfYHff5UbNdZggfAqRD7Dj2yqddYSeWL492JhCNfSej2WIhoZvOooAS4xxriyu8OCXLj85KEYjsc14o9qmdX6v7vNNpm4WzZUryEKkpGlf325B8Qgrvl9TCb1e5GFiz35cuXuBd3p08W9N+VLitgWJmlqNh3a8zuT4zq4H8hYouG5fDfea/JY+Vb4kyk4VSNzscnIvzt9mqv3gF+WgvP+MFEmVafnJRtlVOHipVic0SZeWQJpT+9aCPn2ww5JYcN9YmhUyTZJ/bpLBeFB2acKDVTDQbEGh2ArHHf6bbIp7xqbvSdUgwjgMBWB1nYhGaPZD3vlgMeeBekKvRfS5q9z7xboHds7fwXu/+7g2JkYUCEjapwp6SwcXQRI33Dm35ZOFeXv+fOCfnaeziyv9LVoyRj0gBkYiWZe6Nr+eErzSua8GoPaq4BeB6C5bnlseUQML/wgbeNWtrMTG2/E/KTRhN7lGHQQuY4tcOp00+4wx0VmStx9cy/vEIDxcIVFMPPfD5Akc7QPsl/jCBAXk/rCfNBkDzaS8SdUGZh25abgMHC0fSJWUB+IUjlYllU25+54/371HG5Vazh/vsl0xbUHsnsh8jlwznkGXPqdVSWNays3SSm/cJVd5PBq9Gyj2cfjuR9uAFhy1xVyjmCgU1F4KprKFT3kIiKsDWfkDG9LOsJsBehmzNdLC+WGRP7SRdiHfAAHpqaI2EGls7guU/rO6CcTlrycB8MemJoV0ZuDDB2PDOzIZ135uKsQQGjyVeDtzSNjxL7wKrwu4TdtlAs4/cBTK2u+gPXtRne4QTBWu/LpSZ4sN0906+B0J1ZHoTBvo82Vv7S6le0fY+hR7fMwiRaLzJOqMBtowwsn3YoI8TklkRe8xn3olRTM6jsfVoVmQQAYJH78fq35/hfJKFVvQpsz27WnCRHvFsKy9kEJmarpMnDcyxW98+89ESd6PmVCpUK9zx+/sl0JbuLlUzy4lR51IbirYgyUK7ck6wIIz7RjXlc7+wwi2hH1eaQPun6yCnAmNFKjHX016YVUxh1csDlJ41NwgYqyyjiSwZgYqb4ZAsIaqHQm7EIeKR28qB7sklO4637+uyO6chsCA0ECyfGqnnUDjXAi3PMV8ufUcESXxpnkNwJe/WNS0QJzy86cw5+5xXepc6pV7ZLnRxiBsFilxHWfjw3MmmSKJZ0lt+7lP7DwikGHEdIyRSQZzdzo9BuOMDazjvjcwrvauVNh1/bAkm7GB6e6KRNxxnCtbofjABzj4TIqesBHamdWZ+TCkvWDOSzSUw0CR2m0fmPr9T4ky4GLBm4ddRHTHGLKxVXYFHcDfi0I/PMYEDjloNuOnzoebOZOIQHfQShpcxrPr2pcrz4CkcwRIdYEJjvv+R9OGtDxd23sYIWAB6IB5xC8tQ+imfnD+Nd/hIjbVp6y1QSDn6uC/4tQozRIZaWY9oWx1GdIJ9nUPRY/xxdZvevl/EILqggx5kxEIC+w3sBoEKOHV+nRR/ZTEUC7ld+tZ1S6vABxNJfaRd3kj5iH0b3MgykL519+BqeasCosAphRQscu120Z3CWXNCDpK4gjzZX58heSm847QDBulrRtY9B378w5PU0psqJd3G7ksgoausiAbJzDJrBvn37fMg7HzIchvT63soxp9AbPD/hwby6M1GxtPhnByZE2MalsGopu63mu1hxPPtkSbzoI5ltrxZ+AdSZBgu8FXCV+sMVE7wGoVolZIOM//nbS+pOirdbhJCyO1OWG2BkSWy9pTX35Ea/KhPY6DuCgGgm1xsV0TM8BQ4I2l5pDnV9dW7W5aVpPqCuNXKBOBT4jb75PosK0ej+lyJ5IWAeplrfKe/0Hf7w8AmxB94qZaT/ysd3gWE2SgKbVJl5/2lolsshidmT2w/9FlqGwvPm/3fbnnk8et4EdsV0JMM4XPYdcBuD+5uLFolGoaS/S/IIq/3O3HSYZZOcs/TIo+/wLHZjxAkqzBPhNFuXJ6qQazedwCk/xmgEzdmodCzOavl2EmaBpzHxDflKJ9rne9kIqKE+w5VlwC5y7fiKjXHOXzrmutrBbvzwwljv8fJp808+NCk5PZbXAHj5vm5Hp/JqASMOCfXjBaGYYeVM4J/R6lwp9ZvqyE3cuq7Lx2o/hRiPuJqiRrKEOzz7YSsjKB+GT1SYwOId54gSthlrdEQAOHBgU3Ehy79d7KxULBFUwTAjEZaFJ0sgUqV8Qrx4x5bEBoIP8g/kDWo67BJBdN346+6UEILtqFPYRw6IohdRKL4AxHrXe3DU8mLVmjhNn5rRCntRhvxZfdxXXtNRNG9xwDE7BBsUNbgqog2cJ8ZJkdC+bV+JSk2WGAa1IzGDD4+91bYx9SiDQ6zPkZGMycBX3+Lt4e3Bz03d0TifTULk7ZXH9Ip5A6WDYn61NueyO0LSUGTWqJ+q3qo3UZgFknpDc1K0LyJrlm2wGFFY+V7jyFtSUl/uQD7LMq2Jk07SRgkIXtN8WW5uJQX1U/Y5/QyulodB5Jer2bGlsWpdzp0xgOcvf8cETy9K07bpiiHdW4FuuvEpKuSwZFduyqRENPruC+5QvePK0ZkLzyXZbqtb2fGNM9ZJwg7Gr2jkyaJFtWajT/Bj1v+zA47ZTjcPKxh5Z/FhDp/5Dvy5cxzzCYKncGr0xA5Jf+EOasA/bLT2oNSGA2jOy7DGL3r9PHSk9StXyXBOPmUlR6vUlc8yX16j7PnNQ/HroE1F9MGHgxSbADuh3BJ1W7PLBnsM7QAZ2KbtkJO0G1DWwliJGXVHg88IETFQ56dztlHJkWqPx+O+YOiekjnrJb0R2b7pEE1nOlloEvc+JNxqmIvEK0cJpA/JxyAKRvZT1VMh7KO48y4dJJZUahRngHCk/hE53k92VuREFsB4mlwhA7sop7G6aoqelobIJWCB5Njf+1s76D0Ib7BzgbBfsIRuTbdrgNxaMrITKsjtestcGEZ1BgrGSZmgPrUZG8/SHyf7Khj3JBwZv3pkXBv34a+ezbJVauiRfugjGRj9/hy2abZ+SpxBthJtnaaNEKVZJyWNvXM8DJ+eTkXwHZ5Q0t5XJNaETkcfQPJ9nlo9ecYJdOph12+MddUgTDsg1DQOcTcwI4GL9KsWAtFbdCYtTb5AcxR/PBjSzBl2j7UimDchyITtvVPX0yalk1/DIax/ZQRu04e4BzJSd160l+EWlLDVSfXmghGcFjC+JFRgHV4mxRGs8h5xbrhFryUTdZXbW3dYjycGFBpwqQ95ZVD8vHxZsTXtz8S0oy27Z1EWBImKWBBip2tJMSAIaR9cYr5ynJdgVQyfPWdNJ44rQnyVlT5KAmF+BWSmGSkbiGigpWEnAr0KOSG7xq9Qff/PbytFjEwbZk6VXYD0KcbOowRIcXvEhf2cN8Ht/Bg5kPqA4yim5JSpXdl34w3WThjU//B34i60KQpo8y6nKxQLtENm7uI/XvUZ1l3jlNqY/hkaeVfQYj+JRkJFW4ojirh+BmIxrFYNkPni/UHCaYKcva7dcyHu6Fx1DHyRxkikd6Lv8pEf0PrX416XGgD8lKltTz7XhQNf45XLqPYTSJYh2Ftm5aiFT5XyIMfyBl+2P3B0vAcpD9epYsnNeHGqeTi3Yy3ZNgdgm/7/q2T1CSQCD514IL/rR9V+rwPRZ5Dc1Jhz3ruo0tYCzIxjrxGhvZzqYLXqvvblZ8WpebMp5vZgN16buDruWfqbrNCacQJQhBvHAqWKa2xWtSUXgZGY8PohxQNEHqMFvkD2KuhkFdgTycCAzTJnZIgKd1iZwnpL7ROth5fuEDB05vUSmBsOAotzpe298waiZZCR2Nd1EGr/evqdutHcu5Pu8LYeb1t7n6/imM843UO/PRjkxbbP0V4aTDJN/0PqW1OLFr4s5ATVrK6jh10V4+rP+sL6kWXmbDhfmcqqZfvPrkTW52oq/BUapQrsATvo1M2KlhdenN6sEGCZRblsKIO0QvEGxY/qoWRMRiRW9dONns7Cq13ykqMQ0WolzKOxpDyXQPUaoLDG65G8c7NQz8t0q3wF5gsO7zaV1fryhLrX6V9U3PMaPNvOSJx49UkM8cNuWRJb7jRpZKnrc4qFpOouSQ9M2hxcQPIOLFl+Y8/TuRy7+t1ijGnsrLA/IMIn7hXWqbIpW6PCto//7nicHbTHOWAVuMNYSLvuf7na+cXrsr5UhJD0tBhL5jTa7eu9bN30PQsRqR0kq+WCphB25FBpYQYWuwqfDdiSSe+0i93+Utrd8uIoerSUcpzeTeQfKbXCKXbdqUUfkIjpWykjOZ0VX2zdgk/OOTuLejd3uVlV9bFFCc+OZc2kGtHjKZXIxSbXGP8F0Y9QPZX/zveqsRMBEJvUyRwkYM6LRuS25/ORo405AeH/SSY1uYzCHkWsQnv5bTsguW8KsvbZUERLg5jdjZ/A5Sjdy9i27n06tj0ON5Ak9D+MRzIOzOoh2GNwGHjNjOvK52RRfY7E2jvftbi2XC6E/N5ZDATB3SucocCq1CRWVgRztcTiD8OcL1iWtbiRqDsl5kOE3HY/m3pvnDcJwlR6RedvedAa7QDHxgTdPTjcH5AGc+Yv+JITESVzIhpmFycmukiHMdful93R15m3jJLlkLyGXkKySi9nr4Z+Az64domakIaoOtQVRRQJm8MFDB1bGAsVgIy/FvNIXqf/DXWv4CactnIWYXfSfpKkhuwKrWcu2T/MX/jFFWQxUYzBW5l0OxuvWDqJ4AusnaMBSf0CtGQxoTNWKo1bo3PbiGKK0GHer+JHCiegefcMij5AYus4BUvFLxsBJ3FfOSUkjEg6Jo7ouzA7ggRd3dBUaP6QlJWphBZStrlcwJPlAOh+VaD1cZnE7b92qOMV8fsJ/ZDRvOYFyqQoEAzznoQSlFvCVygqJAFISBjneXWGMB3A8DGOn2Nx+1Bd0ZYlQVoH2AJnUFpFxIu0We4/2cp11JBnJrPka3oOON9m16fFMHqNRpU4LEmzb19H/BRn6f4CLs7mX+HubzzPQllcaIN3Sp7WutFfyvi/jPqAzwLIi7bW7WXOZNnPny01O8X66qMDQbzRQWFDMR81xq10k8NHgLZ2JqOWW/cSzQ3wY6HIE+PqW4OUv6AdtYwPsYTzmF0o70nP9aUX9Ps0P+5OmKV5kuw0+Q4DcXgg5SlOmifrKvWKRQPV57FmecW+zUN/Hn7Fi1S86Ir01JfpQN6fsgotsq8aWc6vC9bYBslP749NVcNgJ9xaMQ+6QUv/ssbp1wfODdXArguO5PSEkR1RRC+uajpiVWhRbrbT3b5N0NY53V5JCecYCicteGdB2kTc2AjG2PSZ2w5w36pE5FVODtTsR6PgUD8f28dlKU33UY8JDRI0D1FPE4ZzoLjzxZI+KQflEB5EUnW66+ifAXrhsn+P3O1VLNUUV4GCwd5msn3/OC6dY8Ot/MoNLdfM2wULKOEapVwNxJo2KEZkiDpnQk67Q+4ldvSkkU7SKhhuG5zaeaLcgf5nqmsumvdlBjXBQm4eqrY3QYg6ZxkGiV+jnRzrHqsqFpdnZ2oSmRbLPXqj+naW90P75DZ65pXJsMdSKULnlz+4awNHayps7RPs5sK87ZvYzIckklTKmzJfLeVNuQFLv//quoxNKe8Lf+HifmBK+kwPzYr7uxWOK2JmCy707gF0fUkfOmxeurmYrk8FuH+eI6EX7G9UGvJ08yFj6UUSyn64OYZRitTRSjjdSFJWFVUPJ3rwqAt9k3yOtNkZPrKiEurpOQ8xsn1CIEM5zfZNXkdHDaCPf1qQT9GU+GaRPOf7UZ3dSFQCWz8D56bI0x3u2Ki0G83T8a3kVLC7B5idUGFNZ6R6g7R41o9IuZBLXvIyYV6r+QjLv4VvXDPdaGfO0KMTS0BW4g69FIVSG8EFkaWyz1ultjQC/+AOuOjGh+jNWfGu+UA/slnHDURRTvrWm+luXBqKiK2RIu6N6hmd4E+dwyq8aAY73ZJOs0fCXCsVSkBvfkc+xUG3Whape+eXci50uCJZuG6IOrSvov7mpNqhlPZSoLOgR48bKwz7JcEljcpApfJjvIfJhw5xbuyIf5nUr6lkxoBpdtSH+CtQS4Z0z7/e/3fT9HmJwJMogvzTwjn/7NEADWXOrR8h1RCgJU7EMomY9GL08T+kmwH25eYiaJlSOk/gZ88hsK/DJRONfBkIyEZ5FDCGWD/WvtTwv+U3Pt8SKMeXaz4mq5nMjT90wycvF3tnCKtZTek6+Y4nMdEb6e3JKSs6cjlf0ilvgHjYbFVIV2jXgWnI7sUzXAmTij3M2zQ5oDDBww4vw+NjzI404msaemVxsKoqswq8ArMKFxNeiXX70K04CkOoNI8ZZpHQS5u0QdgBthaExbXOaUi0qPeycxI4axaSxS7dXPqjBVN4flbC09m5HV0MgsffjzO/Uh74qnTWeAITHdoqdkQJ92/Li9Cc31QNAyWrW5Kkg4QYar2VYsLlovbPVuDRa28rM4gy3RG/mxQKuGqCVkhv3AbTTK9mfypI6dwCBTctNOmXHQ0gRn8uTTX/zWzGMLkeykcxFLPE8N27tQUWxYe9qAuxj8jNmTMmJbaOEbvPxFtDcraZqg4Wz9v35KcM58C1DDS/WETDYWCmhG4L1kN6qFOiHyVCfDTbaRNoMKZDHmwqbPVoBPWIWMLl9uUJCcYyVulc6E/OYIPn3+CEVjoPwttg7kb2TkY1Ycmm3Ga39eUllw3jn4BERpFA+Dp6w7EXZQ4k8exfHHodxCaNYmwXgu+7L4gVviSjHrW53rfVVAj45DUttMm8huWkWzYO+6x3oKlHBATZ2Y7C1rGDrM2R4tpLt/UEfvWfWXPhlcXpyasEgQAtMwPJUN89p1UQHNNYrC15tATRyyyGX5bJWyqwBzpBcih/yQZcmRLbKI9xdR/HlAzYkUAMplP1emU8q7HK2S08s1xxTRUOvz4dXV12FIa4QACp97AMyUoQzftlKtRV9DQ8le0YZGQGehsY5b6ddW1Q8Kn7L8KE2V2Hpijal/lXO2MvgPGNw95H1vQNOLmc0ugTRy4rFTmiBjcgyZW8M6ORG3Rp63qxjWqljK+Dk45cIlD7OhXS9pIOSmlYRBSQoz6ni7u+xC4vBE1CKWp41e8BYNjb2DPwBQ2EUJ2598Oxd434X8qGnnYowdA6W630x4KEhYptBie1aXliHB/p4B4/5xdFX5Ub7NddXHsgSed2X+xCW+0YG0dw+oF5/V5ro1zZX/UDp/t3UgHsSt1AxjQJ+m9d1LOyMo6UtfGg46sC66lYPm2ShHhfz2QttYIi8K78X5K6Ubg6A2DvIRzCacFs/reEw1tMRjUeUHqeorcl05tkn6FhS9ttZfcDCqs0TMI8V9GqZyJUjJmwdgCUCiQdlqqSPhXO8AEjRLNFt+KpsXxozbTvm0Y5S5+uqua/d8ZOyNmvBdlbZ24Il3N8aiXgqqz2UgdKXJQshHbILjIMPaClpFNKW2zMHQ9WmpLSChUFje/I9X2B4+YcPPOStW6NF5idkO8RcGX9iUfH5cc+Th/y5VSJld5mx/kVR7fCdikbPFOx5/kqj/JEjrSjdI5LSpskVJReF+qGZ9vY+0VQOIQn+oKklkYdIWvvpY6cWFZXb+2dJbxdXYRSy1hJHR1m0kK3wp8piQj0BV9tl8RATqSU6BiRDAfrQowiwTGdWECROZV4Q1Wf+/IUsOW/EXHZsfdktBewXa04KprvWRAhGRF3TGER4tdBD8QHSb8qCfYYmpimB2IzpvQOfTxbx2+Tc8p8CskAHq4bszd6QKGXgaYC3Nsxxvf/dahJCYHVNf+m6XcQYMHFbPdMuRb2/cCY42h1dTsbvPEBK+rhHWsC5ycMzXGAtm89d7iS4Q42p2875no3N9NnZmR4G6AwBcv6tIiZKKZRwpUl32s7INQxlSwnsP4ahuHSvrQSnFhHorywzXrK6ff9dB61KmE4uSZqb791rFLRah9HBYMkJHFTElC0G7a35IaUod2y/r8rsbZkAdPInqn3bX1lpBgP3rVGOf/0BtVwXotvqRDKzS4TpWumT+oAmBHjR9++Wf6CbaBGRBxmM1Upt/Pb3FmMKMJMa/oJH1fjyeD+LWV9/BQ2bXwXBXWy/sYfzhGAe/KX+swJwbaMmXQGXz6J3ULS8hLHgM659FnvqUm9sfovoQDzt4BKtOSkd26W6sZNtCwFA+ewDMFizr/n2albsb9Ivomg2/tlVguqqeoKdBjWeZ9KbNHUb/q0oVrCubsi+xgDTXh38EA2iDa8RtMSGEQe6x5f3vqsOlrVTS4OPUNqtNkt1VJFUgn7UYrr+25QrnobBR2oIZkppxKRaujI12x//3EBEOyA6vXBYKCjsVq7FrCmkgT0Oj3H3pzOMI/wIraWyJzcooo/VW9sSAGvr8iLjt/WsqqxnfYMFQiQxZxto2VfAX9kdvsC0QtmaISX9Q85cXqunTVNU/9QMALol/uO7oWFS21BR4RLE1jpwmxl3zaPh+zIALmlMSbaHcemTxGcL/F5FqtUKBkfcJ9YSVkPFwcHxx6K0zGg6374O6z21cNraAw+xtdYbPkvcYaelxP6rDY067U4qNfqidYEdBq27G1YmMk7aWwC3ePdAR2iHP2wKp68+kJVYv0yxadJIngQgT9TXsCZ/BX62p+W9M+HUxiKFhxhm72aGSzYe6ruvY5lJYbd7ioQFnpNk1+0bSBWAOGwLO2n7k/as979T1yGsWsK8npUMMNFa9NdjUzrnIdj8X/acfK+/ccHWP6vq9xGTKR8gUOLEBb97ydQnnlikH7Z5/EsX9vEfEeTd/fl4hSBjfals+UAiaamxnGNcdtCi+Ojjj7qw7giE0lR6e8cgK+W0UtxdBuKMu87Xd49Uf+GvxUdbZ+4MyxwCys68mqELJXBOT5+m8/OlHh0ImXBuyBo7w9MZ6HeXgZEr8WFl5nXt1Et5eiToOcsnwnk5467wZ2Efqd8+SrhpCbATuQizQWCNO1CzGezXcENVeR6iVKXE49DTyLYllq4bHIBb2drWWlT4DPrbe48t+i3Y4WbgFLQi0zg+VkrkMFH9A0WjnoYuilkkhssnlCHR1LUMVWpE1dF9NA6NlQKQ4lWytpGKcW7ri+KMm/7FAjEh862ZPin4rLj+DgzLECzgjksY7U0FlJta/Fs02qZTvoCr2xug6knfRS9QTmPb7pRoWGTL3gsRO02dWIMvFRxo5L2L+yPP57ItHhCureAfBK37ug8JEfTWShS2xVQqqw07A6COB/1AYMSg4gGBHJelsvkoz8MnaVPxuhTYWxdx4BhtglK1/eUcei3FjHfAMelNZFXDHRUIWpyZf8K+a8Pp6zdb2A6x8voSz1VcI/Uv5CVMI88Vykczylc+gbJWAYhD4dKtXBGhr0ykz0sS22ZAOtt8TfLRfK80cDxzPSoQ0CGa9DNsWpFmnfgT0snEitxeu/nK7EN6DNir126amYrfGzc6hJwRII5l9oHbAtLAGpUjUhHe4UWlI04bH61V6BOMhIhI/aEVqVvdFxqC1NtJUcNYY/F+FrJo6eV4Dob/AaE7oEAAP0Aivg/qdU081s5srVzd/zHrdXL3HD0ZBVlpUNFBkHqheF4/f9Lr6TfqgXMxDXWAXzdwS+EgpE1PMrsLh8o6ujRgIHdpy5MDcBk9bFPeIvbldDvyHp3KCaZ4DlDxGcGGK8IhkAqAyfXbRXgpCr/6S+siL83246bPSnRdphYS8nfBL8yGI/zlbTw/rUD0w9Ec+Akl/0cosNkhT3z4O6O1xfdk1BbVE/rrCObDjX7Iwmq2OoLWiuZ8lfAFJYE0J4X1W87IMnFvABqgmahVXh6UZ8K8+lZxhQnwgt/Z4FXhk+4JwO7CpCctRebKHt7jU966XJEKRLozdNwgPYFRvO2mPsaGMtc+iMiU/Htl2nZM1FSqwvIKt65DNg0Yar8WxkiMscUjflTyO8jA+GjDhIOXWKFqrvjJLdiUGzkwTpeII3cNFLaF+FFQeIZuqebmuMT10I55142Gdxutt3z+LBkkgde1hafDO+4/xzSHmQTmM2KKFaNWGCt9cVqYNqQBWSV1KBEz6QHlsfT4D0xUSf9j7SaclmU4UC+FSN1PultoeNDK0gnbaA0uB5+GQVubFYymwELibePBimqqA+pSB/8MQJc0X9qHDVMde1Orl7tTmTupiCASVwU1tswOKToZEm6Tuoa9ZrFK32QJIgD8kMRCVtiIptzJWQ4JtYPp7JBbd7GqfySW8CWuwHFOGOS6YdWRsJAb3WmnBUe6aBxSHSWeT8jqZS8IookOfXHfUSWy8xH4kkGIinOpkaX4wnAQgEMSnqrQ8xJEwkpJX41eJA2QyHzFztHMdEwTqY9Wjl4aMP1aQnWFyQaiKC7gfJ5iFOvkkJDGNJU/BOvJyD5tnF2ufoXto4x3yLYXFHvFZTbAT5CrwN0bGuMj7WXznfOsq8AxhztCUj1Z9Eawn+Gpf/clknMRSGxXodaOblnDgb4K5Btt3JoT4LjGaY/mzniloTL/d+eU7UM9EPCMAP2Ke93HT0aVZs3Dx9skEhH5ujibjspSqyCsGO70VR3BwwICIiBl8Lt1GIoibfe4l+g5jTeYccYKHQxieRVX9zN/JuZSAmOLQPZEeq+abqUNBMwuNLUfpNv+iKEspdvI2260A/rIGPSnTPGJExrunLv1P2floTpP8wc6rCwuHNMIn0fGOk/6+VyoWzFV8Cdl8IuWCoNHrUON6PBKVXzlNJgJ2dawmEkB+7+91aq/PaxWeuS91TCl+DxzknzvaEIGgOwhwaNdK1x6cCkhmZQcDFeAM+IMQXRt57PMxSTDylbvrDXQJoF+nmsdsQ51n6/ZXgjQ3W9h396u9lwi1n9OgWIs2Vfs/x0qurywQu5BxTFYSLETgqDNd3DCkGcWJ8fbV9fyB+Y518mnKE0zdKTKSJfoX+RiwoyBIciXFWcNRblTfydIvuG9BX//EGyuSbEUcmB8XSSiIAjy8SvjV6dWQ42xf8FgD2eEgLU1HpGvCqozwemaZbmKCFo+abnyGLzUZFuUWHSqALkIcB3jOK3y4ToSD+zcZ4NzA6srtrRFEDn2vPawcrndiHAJIJjdq2Gp+mo17kNnvxOvcbzbd8eAb17cwrsAosbQexZewwEq6w4uUr0umRMIFw4PMZPG4WzW9kWCese3L+grr6MP2ce5QgtzPAG9z2uyT1FFarl2sOCzmBJQ/jWyg2w5N/IcEtf5iHH9f2aw1d7+Cqh49rdl4o6QWISFbTTDD5E8xN58t0wOA7PyiIBBYgQotxYZwO+A97gT/vkbU1cMH6In0leZ8/AtpWaBhYMkDGhCvDieEG4TOHBUMV8RSLroabZbxalpi02Gmo7zwnB1XR6ERo9x3InMNqviAq+EcmTgdJojfhVMRdAK/JYJPpR3NOE6gdy9hKd+Wc5NlmSNwg9+hExRdO32bKTgIZ++0aTtSJKrj8+UCoHUOsAd85lAuX5X/rnaolvlAtTPcRgx6hSbRNSv3suJQv35kH2DNGK4MHk4glCKdSua0d5b/x61e00+V2VGuYLIPOsGHVXhp0kdOOrVa38opwp8roXln91inbNFfg4n8Ztw8je2jcFHKAMYNstWmp0IVGGPDdjaKwAysgLudiqSIdXQmdkG7Zwc4N8LhbtvaVvUtkKBvclSXBdsJWwDajrVMAy2Qtab/LF8K50FcWta+El94FwKHL0NGEkuUrs1ed2j6l7zTIKZLhYhn6zA2FC07ts7OTJ00q0KJle1Izobw3BBazJHteSAAe2psfySW3eK46SkVn4LurcAoNQ8RiaFflw+mLLmUCzdqiBBaIf6z4KfuPwNjrc9TRWKOJrfnBl563invHhiKkdxVyB8xA97TuuOFnT0tc6+oZe0xrGfOIrthvBn6ngHwvS9cNxRziksPhc77BVMtKUljg3s2XT4qRpJEqk/qaQKHodoQbcbS8qRJCSbFHtH0MPQ5oJx64UHL8ZKLrsMymhyDHIYl3zHO35zDf3njTfav/o+ZEbAc1yNN7ugYr/OSJX6CcDk8qyt9Tgcx2qYAiFRQUJebsIMkwkMohwOKo31Fb7RbqiQGrIaEhtPBJJz62QMiTA6OxgiecU4jwC/U+cT6r61vvgCxHwcmeVD51+G2anqOVi1sZFSSsPqsm9YPBZy9KW4dFFoW8QxfQ5+SGIkQqKcsn9x34eFQmfNRX9KNpjrvNfEekp88PJpQ4/t0lN8CpP3aRmiSKQCoiiwbjwmG2ocZoAmmrqVyKVCHIA+UwjCc3No5BEnKiG7cyJ+kplbPnFvtHRQS3yhcyyrvv3kdCA5eyBPzwIq1V0DttnjckEop9DiLn/6TcjH2WuQDAT5UwvNUsESrmJlBznr3EegP661wqnyHe3Wbl7ExDNp3PUdFWUrt2YLPr89Pxxvap7JXE8rXJ/1LyvUpt8fjm8LsFNn6uWcTLSZjlHaaepc8TAqWLIKAWdhGmV7fQgYjENN4edaZY6uq5sgnXiNPp1vOtmRP8lTvcCAQpgvXqM8ARapsEyDaX1sNzWz2lebQ7UC+C7fB67I7dsy9LMYDFMAjvNAt7oM2SAnjgxckJ/Ha7OQy+VRXXeQCrScXBhDW8cMRtlOCfq3xnyFrTyXSVVSmcQFOnXwM3XamUz7WM3XefiXuGyW6t9JDt6JffBkP1oF+nSoaeWJCEqmjO7ttpOVfxYmzGhBCIqhFcw8cLI+UyE0knz0ao4dsia8IQKhlq3z4gx7xB8yXBihJDTBWTBzhWvUto+d7427/lSziQIJapvSvnCBUoxjCu2hcgZrnFqizuY4EZfj71h8ui3vx1jHUmfQLKzNVYm+TTPwEjpk6/MkmgwmAuRP+ISL3++DgbuPVktlgi0YHEvq3PFylJaMQcftb2y8z/C9jUE+PiEafFMczV76trSdyniScJEKZWS7nlLhq3m2Rp0ucbCWL1GkEkUXOc4/lzqKY8HVZkF59PXB5y7bBPC3n9hoOZefspWxXAUR7zY91LZ/+3nhlqiK/IZRZCkbBIuprvBW2r0yKzh0qo2TLHSw1DKunuSISI8EmLYJIBQZaavIbXp9/YkYFG0OZwV/SC+0oVoIEjPP+yHJie8BkKviSJXh/i/oi6+fgWNin7mcf+WD5zfabTpjGzKRkuXqZ0JHaoWZFjyptH9NqU6W7+9B1qmOdZ21Ztv/LEO/vettLjeSrt2lArKwxWLr9oKmv8zG1IrlCMz8w5SZA/LMQRIXWNxaiOEHTe8CFjb+zjjFAfeeRQWV0KSkDstFEsDplk2t26OSGuU4pEdtAQnj4JqYTMZd6bxH4YkXZ0B5JkP3ta+eoaPm64QcwiNuaXDkGONuEtWHHpHvx+ZdZi3MuT7BuReBOtcK1/jWveMS+8nO4urSr6pxhQouP7Nkk+0W5XG/+Y12LaePHVpUnS0k50AGZVfl8bEHNxILfTyxlgnFgRQGrvxNI4k8qcmaNs5geChYGALaG1E64fXfe8+ZwjjVvUC9atBi4D0+SQIaB60Xk9jpJsNkq/PpHMD36puh8NLRwj8LmEKDPLyeeJYj3TqXi7TSnjC4kbLpukcMwSeH8Cbn/Wuy5au8oZynHciagUvw+MmWtaxsNbOiqRjdZZoph6w7US8MZWmkgKGwR6kVvAwNBBenV/OoC/UmHwCr63ZyYXbhDrFUl+3iVMWiIbCRxRfxau6MPvHCJHlEerEth/5TQVaSNNnGh4wQDb10YofgpJSH6fses5JQaHF6mFBS64qYsK4GWtxXIricvh1Jr4M6m8hJcbBAfiHi62Nj3K5BBziegdwuasEnAgVwgFP78sxXsFLSyRmGiq07FP7R4NOO4AlCrU9Or/Eihy8+rdFtbN3feLPdyiwwwflf6W2WJCbzimGrD7eZ+I2hZHb+7MmZg4N9GGw2gKH/aklnBGbvPn1HMb8eMTvpdBAT2o8YnxKyCOhTiKBYOrAxokeQnvfwW3Os77D23BJXM7b8qsmMPX3D0PNRVMEtRnJs6+7Io+1Xky3IkYeeOufe+ZEyRmeYGwV47y78DwczA6JV5tSM7m+WsNZSm8nPdMrOT7hcKxFC5X6i49kbDU9BPGp8ZrBJmxhA1SyCVKBMhKiGjiiToYhePug9nYCFPrHfY5ClI3QCpAEle1tNrKGZjrwJj6uYx7OIWJ2XLPX5yA4H+prinuYgBq3rWzdmWHGAqJz1/5iJAVypAx6NoG96L1qhWwD8eEf8ysQrrmQFLs790fn3OVB95CbZxbWtx2UjKiuGc/PZwL5sVayabNclT94EI5sq9Ye5ccbc1eW74hOTsqhYcrvR7WMfTF+IMWU4J45Dgqq6hDjFiXmeiR6+q1zzae1PbAaLBGNgyWjAOHcjB48EdjlsaYJrlpzg9ZQvieVkruOT6I1uzR2WIBBvzPEA/Ye4PuilyL6qkt2VXSWsF8+Vvk8BXNzibwbptUfE7LJuYw68LPVzfcWpg5Tmp69BLGnZZv2i2KaCjWDp9kn1Uoc2Me3B/cFy8euhcXFnX4Yj1F6xJCBFpaq6fboKDUReQS+AZhx5nauDo9+OhI3gAqbt2Xu1cKlKXlT9Waa3F0N3oHjnAjdC/BRxLEXwF1wXNWtnv0xr2tfeck+AQkxTTpv+R2njATnbZ0+D/DHDg18Wp8GEIocHqKtS7AYygr8szCtUCZC3pnvDK7FqAkKFTYf7xLE0UPgF/7hVpLA3v63lBQIj0ZWJaZCvIXYYMUqJWsoCLWh/P/3IwTmi3pux/w82ejZGkMIGrFb//nW+onh0UsS5BU1Mnvjl9StWlqT6fCNk9rVFtnEKqKpoWMZ5DYXoDxISmBFExsERvtYMwrQdvLMX+u6dDIr6Vg7HYdjcEOKMCX1mBdx4zmwxfKl804xfjy/eNgEEJdMdHLXup0JeewMB9kFE4s1bOBWkAsbUzKUYrIv1SiAJfZyAn837jQZDnciIQBwrMgsl6gNAlpT4i397agNgz+Kll5gi9obaDpNwuKbVtH4VNbfBiQ3bvFkHClVVREbSVsEDUCLt8ZOsHmOirEJXAnjJl332gZqos2bf8ZrWqVyHYWuzj6i0zXN/nuvyFD6A6G72AMzHrDNZSBy5ro1D62w4Xz/nMGzi0OCrt90egTkT0nIdJhn8ZrA7/4eTsvWIlYXiHmgGpvUqZLzvGYJDM3JpAf37MbSiw3dWz5rjvePyuAmVC9n1LU8ZKMsj9+FE2rRDB4HW3CfmntuwkE0MdqkzXWAtSchJPH/qQDVruyXaJj8VAhwhCRXFqN+87/Qwh6cXkKdl8x6ERc2lSgEfVuids/X1+mfOPpHXVXi+z2MRuP2Io0/LIfcTIlDOOreRnl7rktMhk/k8Jd9NDk1NSJCV7X2lDhEa3GdrYG1KUh1BYRoc3a4SAYd2CulgSNs8mjcTmmsyi4cqBrQTEyF3sukRIaErsrnMNdmDqxRM6WvjnRu8rYoZ81BXxtoL0B3MzWoZGyPqaLfuo9/ay+6yiH5+as6z18xxTItfSiacmuFQsbeIXx8dx2HGP40cB7bOnBgweqtllunJjDoOkg66WDT28uYkrGcLEJmEZVC8ATKXRCnF41e0x+70T/3fjDUehUWyDrbuA7HE6bHloz99NqlOmstmJRet46FUo4QZshrEnpffOU1I6XtPSQsAv8IXeV4hrhJziQ5sWsavQyKEf558OX2M4AWXME3ytiy7YuhNcTmeUJ1sCb0IBgVh1fbu8qBvoMDxmFChTmc1IFk+PaEx/BG3ekniyOp0pupngaxRySC5CyElSsrcf57nApNpAwHnYWIOlp620c+zFPGDeqFK32Ty3EC2M/YKUjaqgFr2V5MHS9LFvveLJ+FoOn+uoeqnweEhzgX1MgClWjrDt602BAh7xEbrMbwCoWWWPgy7WiMplfj5GTtRLzc5ZgPxNii5RmzKuR+U/rGjLrL8G8ISWpvMgByUU+hCeDCHtL2kMaomUB7AqTrhEbF9J/vcUmXlQxm8QdHLW4griREyjPHzeInlh/6fFkm5vlX+30XwofCYCdX3chPKcJnORp3BPUF6b5D5aBHAKH0BiivUwRGpwA0vKnpFZeiG5FZ2sHu9QbYzIuzMOok6+jPz2TLMwlDNh0CFEPs92LK+eoEhuq7tCHfv3Q8c7BBo4Mh+mwbWW7lCHjuvJpTfAzsP8hepPdlL5xVofadVhN8UYHsB+ipw1FJqvgv/gll4xrxm7K1Btd+lUmAzG0vNwNLhi+7uRQxPOsayn1qSWBw+qmwQqGwfv0SM1rrETqfY5I8whnBEYn+aPZm6bjZRp34sTAKbEQYwH0taXE11VeyX+bGaabAaL9MSMk01QnRkJlMotgkoH0MpR9tU3z05ajl4RiPTurLG4/w9HXXMIURPV7aSVy0n3xgQ3b6hW8IHGnOfycRtVOQka4hC33Q2JFIpE3AkuBW332W3PhazEvoyoszTkt+JEfJLNXuigF4kYMBSCHvonY4utpIAf5eXsx38NTRaJt5I/3GHeLDRht0Bv/Hpdzw6IximZsI0e7PQ2i2j6Cp76ABV6epLWa7v4TzAmyUWZxBMIl/iRb1Sb1bwMdRdD9SWBp6miZ0uh6BTSSHnRQYYXm/farTItMPr5U4ENF/bPYzN+GUdzh8aDjAmhuNx/rfn1qNP37g6qKRHiDwatUEtWvm16T7P4kh/Uhzhxyzxq8zuolP586Hs8kbnBrg2UqEZ0xefB7JErvrhR2WmtC8ZlyfSbtD8HMlzOlYjoCI02QQ1R70r1r4vMdqOOhWd9RZeTs/ravKRtLsUMsV22tZehrGy/cfuGsp5jEmHDEvefnkiwobl2B3Ls7PUI2MEoSRYYxGa4IqwCqG9HywHldfFHJVPtDXr/zR4kTGnA0bJ2x2ZfQ0NC0tOlRo6Xj50jV9lnNyHk0pdUhhMu9rQbNa/ubuv5aZESmCB/6bXwS8xPjbzR8TZ+m3Kt+CUGeNmlMeqq+Hs8nHGqUJAqojiQiH+7qHzCFlI6Df7trkcHdHkEBgXKI1KJ5ZB/7FdtF9+pdGIybinshfsDZYwgwktTm50ciuE9XLMuvdUyiDimJuK5c582YGhv5dlIrdNr7c/oriJA/yXCs6XDDES3yji8CIEyYJEazn/oL8b/ScQKo7Ng+j8eRwEfL/9RKv1sUTHtD5szvYTKgmxO5FFuKYTZ5zxc7Tp2AQJd5fyU/Agk4pXnOIWLsgzPPiP0/FOsPm2tm0Ht06+c+eZB2o0cknLDAY4kBYm+vbVxR/89aPO1i1IzuXEiPgAvkZqpYyGq3Fgqf+FcBN98P5pxLeBBPDA6v25DBOEHZuy2+Y5EX74VV0DkzpGCCzUEbB4GfVKK3hMAe0N2TkXGaKTu44qqI8aL3+/juN9NPHqwvJOefdJOo2KLHbrcXSZ2O9w1KWYM38bQVAOSR3S69HGUGydPt1muqLKqw3ng/apPOy+zCt3tv7TqYCsDTbUwv5KY6chFnY+yTAzJhixrB1uxIxKH1ASuybyN/2s6l27fsruBRDBtnt7CzraR++ega3Brv/BTZQpXFzLE/MqUt+LTh0dQBNusvnGwJLz158ljnXpNWCjCYwBQJP/pxmFS0NdIFfnpDuuz0H7kgkAcRswucFoddoDlBmG1q9LzEPfn+xLveEt7/JEbBJwXZARBNfidnNpF995K6NlVMoral1j5NX6JjnxVZJ+eNFmO+rYgpUOr4S7Fi/WX6/ilgiqcrJjU9wPyJ4b7iFNWNDN+xuta0xRj++NNNjYr20+EU53XgEIdy3x9zpAdE5KThndvP1MXgBJu0HzKGfCP/CAKRzH65sb0urWIMKHeGwhcvlGgMAjf3/IDbh+DUKHM/TM1SVCuWrtyQkyYNpw3LrdXwqnu42lTJgctEFuDprFK+sFMvsABQSicHsrsEIp1OJ8BNdyh/49zvdVIcKKYIsqKs4CDweQr2sNXv5EBT7NXFVyJBY5kTYFU+L8Vzvuayl+tpTLE9QxL2C90hstMySZ8jamtkGIjRV4mGDXupC9djuET9/3UDgMPucJWX9nouz6pVIi3Wz67bKWKGipEG56O3uxxoO/mWhPVuNpBsCOoeaLbPZMu2Itk37QJcyyhRCue5mJ680jkVeAX4QMdvca4AJce2247XiSMcHv6SXDxO40EWs2pAjxfifq7ZBE6z4878T55p5zBKldgcJ3xsF58C6c5j08DrI6gRE7FYLIZ4ALbYJxk8U/RfhQrtUzrwN8XZNAjoh2TdA1G0XLQVphtPNbSGCWwPjI076BG7fOR7395jL3eqoGg+HzJncixwj3jd+bdSIwCQYi+fffre8/W4m9EzWVnUNIiPROmeiHZUcCoehfq7hiblQuTL603l5BxUpEAiqI/8dMb2qF+Yvw02HYyOdqkgb+SbJYkYZNYYmLh/rd990Ks072G/v9R0Asa5Sb7AgEmLC7rgvtoHP+4JfgmpQCNrEzBbqiovSiN3O0vdbf23HwTKsMEjKesHXekygOiL2PwmDYP/k88I8YnbjRBszX83JsocRmyAoBW7/SP+447+AsSPltBBJr2B0boc3vkK/pv+QaLbbvPmfcfCieHKfERHKPkRYSPn89sO3gZO8fI2nHfFJBFr0dOWtfpLElMqu7kcVr7+NKno5L186ydJYwhOiiG9ciw3WqLKqyXoduwEy6//SbGc0D/OyYEdo6neMlTK0nCBuLgDICZgQzEUmVDiv5ia9f4VeXKos+TnU4djouARKDJXKWeUnSRAm66sScpbZb78RqG0Wn8aRmnuJD8XDURXrBrHznUhdzYSPtt0r9FHpKKqCzqB8zl5XMQsgNhJDJys86eUOuDR7vTrqDSJ+Rtvq8PdSb8Ix2b80eJzrdFLagy+d8w5tKcOELLzQ2RX+i7GxHga17iIxpsk64pqPJhexn+nxCc0xqbfWEdw8JklWlBC7C+Vbv9LseuZBmytxG62cTPo+LfaDrmkv1R5j/qNcUsTpUAUgAPLR6gMo8FrpFjxJwQB6XNSdn4qRG6/MAD9bzCtGc4K/RDsWr8X8UeVNLdM1ctLF+Q5B61MpfeBn3IEN060QWEKYxell0CMfKJzj1j2yKsMt4tOl88bQ96C5T905vpOON+dKo4qr1EsQwuT1gOiph3ZhGcSuFwpP+Z9T+Wu29plUY7vYosL5uBk3hQnu3t64Whp9rnnTMKNcxyMUqlyZlV/K4yGfC/SW2Z7KPdmwg0PB5ttJcUIHdl2VFs5uHa7j4xDR16DmcqbIR5Vuif5ukJUQQry5kuZwujk/wM+DyX8tLl+KgipxTrH3bSJi2dfVzDqusJ4TyjuLs1jWGVCUqwK2dhbEpoycTCMl50IgQYBWcgwRayh/oOH8/X7xmLj9x7NaoRawisUGr7EXqz5+Qf2hZOqq3oUzuoxRXI1GbqHq4PBJNadleHL4eWO/Es+LNTExO0ccnSAUgonkkIyujHwlbie6LI3XfvDXvxGX+S7pgeRa+Fe2FEmUaX/5RPhfbxR1w/Zs0eRc1jAIkPKM27/9BJIdcgvdj9JubPPG2rQkrI/YAOWooxL8/2Nzbby9ln4aipE8nHOZZEfVdyPrnIg5FTUzqQhEzIinDUMrejuuW05MqC/55dlYvianGTVWz4UNk5FUTwmDgeOIBj8QFv6ByaRWkALdtQQd05Eb57ARq1nnFWBVM7t+A2chulGLeldKD0Xs9Fw5GL9qkpGdnvIgFj3w1Vjj5mxfHUeBu55ymrE0yJvSkOXGRPq50RtegrAenJyR2E5SLGFC0vLj9Ow1M/ctd6b/tCx6R18pBBy/uhoq/Ws4EJoDBfwScMsE4N+LRVQsY7cUI8Hw4lbL16ke4iMNikPVqnBud6XjvuIuuCWobOZMCnP/EE8iRGTeAX1iABvn7s/zV/U8bje2RINc13QdaOeE0txRF21UT0vhVkHIaaqLiiPAYxVgDfoBc0/cQ3md+rqlXSdMDdseALkhaKKUlDByXCN4M5B5ArJ7KlATjcSm2U/JQsrpuVm/NidDhNMkhhN2queVgfN73lZHehWfz9pd7Im9imBwJpyx5fRQ2OQHHBQDiZDDHnGaWSWssqsjIrvCogYvihKqBD1J68/kojLCCgrUXTB8Eo3mgZ/g2oLsyUuZmBH1KOaby45fDtgJKMewP/tZXy10QA4gLZuLJVSITCY93a+oY21lyYmmsm25Yz72vuNHjVMfYsPHXC+cLth9cbwpv61HBO9qXHMMVYACD7envZ8plO68oYwuOSONeb2i5WRtR68QTr56GheT7qa+o2JuEM/gUzTurTKEUQRwMAXqCklaVp5yx7h5UgMSz0SjL2OCP+3roRju37oPB65B0+jYl1WUeewvdCv2oF/yWDpXVjEa5L7C288mvQwAaC1MP0nU9h1w51XYBd50Wm06eL7PL/dCGaEkmfvi5JWlzOs8y8IUjl/qhQe0Y2tinHZ7ckiGUeMLrkZ1u0kNjNwf7Fh19pKtarcufQgF7Vto8THMt4eOREhu8d7PsJ0uDaS3jUS88Q24WVuEkcPmIDTb1QhNXTc2LRSoM+UNY0B4Z4z7FjS1u+8CJb1c0QAq0KPNzy7xT8dTm/sgMtGkQ9wve+DYY/USgoZYh9gKEUcr0SIze/yRG7Esk3sX4NLaKDFq7nf3Y6wM5iaRIrWmerjuB2XOuXw1xy/7UgZXpvqg+ydrICEPqe8rs5YuvzDniXke+haXvVP8FHWuAFyeyK3aAlFMg7ptu1vQoeUvXsBdccWahI/stHlV5o0pIKPYsx1p8TbnoXBujIksDAe49T2jtRsKydFKyFEXpMuJYyCLJ1ljcnXgo7VEVW0oJmXD67IcnzuvsWhmhuAeJOrgnGMkHjTFbHm4z80ZYiRwxvkgQzqTraoFcr9QMBWWLgF1yjbVc4jEBnunNYt7COYYXEYvVB3OTHG86Hc72fgADURVWrQ5CPej5G/6z58MiiphIBGXYeXggx/IqFyI8dBLbeEGllkXXJb+cf7lc0ep5+7UZwhs0heigAuXgdSWtvIUFfAItNhJleXkyIKmmK6lbrVSEiI7LnZAQw6eZXfzK8QvC6ZrBCDtpyl85tPpo6AifV5BbXPgxznXukCojXuxUznV561GeVuwwvs4t13Ya6UqWhD2PYHEUcKGpURcKbBX020aJ0xGqyWwqNhF7r+ibU4UBqVgUbDx6X/SNro5Pld5dIMBUY/rmcCcTSG7rH8hJZdGfPXQHhJZfPs4AfGwA0XhQi6FJGHXAKrsDuTCwqXVe+f+5U2tQxUkTPATuBgdt6USFyfTHKGoq0toZjfaNzoYpfCZdz0kGORiFQulcUGf2lG7Sci7zqpWNI7H7mswb/FFqTLW3Tl3jSKQZdfZ2TDb4Zz5MoqiD5hV2MZDvYP1Dvx0WM/MT5vWztSMI5l/B2shwGhFYfvTNFs3uWlT1I637YffaehkI4jpy7KkVH8HGHg6elXeCo8PAkpA7p0vK8mxJoKBROzv1XXd0G3NqVQOks6cEjsL0IlK0sOmLwAkFG3b+5r8u1QChcF4IniT/tPFWvMehnyW2J1rtxBFKr+iF4ON3sCut6Dk482KSOHsulez8O8UOoAh32oqqWo9KpdrqI02pI/P29Mas5yjYhee54et2C7YU1ZGgklM8PU1LU6zDXLrbSdbV9xnbuKOH1USfC8B1K54A9YEOPdRT43cNvUqs6FCJWjMKHgisWralzBfDUD1jLb/L4d2lXqKWpA+AKGM2v1VJzFwsf0JCJScToZJEwPdIiMi+XT59KBO9ifUtFENZEBiHyG1XXkJTPneQZsevzuPBbkDOmIAC8OHtjO6m9eMU/nXs83705wYfOc+iGMxBp/U7jGJ9cXhj7Uk+yQUY+2GeisZcbVA5UPD+8Ki88RWv4X5tgR4vsBB3jZSfm619DO3V9ofo64f+d1WvGmeFIBNxzr6s3xxlRwzMKvwb/mbq9qy+kc921CPgGqxsj7U68j0n54jC5eAxoES9aTObf+2gYBp7HjOxsUMDpHKgo+IzYJQ37DH4nXU7a5IbFBrzM0rqfF3+IWt1hwZA2+e6j6cXDhAJSK+TqSZ4OrK+Byv/NESVVfYnsQu2opI99bl0COVqLDaiB7ja/MUQ2fYeY7x8PXviGFstWWeK3xsXjeEqfvHobPCzJh+SJ8M50/dEHmxaOqw8GaIJ/RLfvvkg+XjXTrIuw1oO1dsm7VnHYLjUjz8qbAaRleHPHXkmDEggni8Xvj21nhdBBwYSxpQiuJgYXlVES/YKuWQrFREdZaAoEjR2h6ZUNDECB0AiSOHuGxzHGxuE1vRyY5xHAzaqBifSL9QgJ+sfnAaHM0EXltU052QJLJ56Y3zNjrtIs5h2x9CXM9ghh8No4z7o3mqnQmSoEH7jDgCEG7/+x+plKQD5hbrnbHgFf/LoqnyWF8MVBZADeh8fySwjzI6ny9U6PYRPXB3X7Zz3/nM+WHCvqv4QwuUh5mgu+6yv/o2SAX45XtotkYz6NNKfEXE7TJAsUOPBlHh88qskVtNz0GDQ5cfhMyrPBFBuX44MMrKGimS/9w2/YSLw7rSG12XbcXhbWGP7BPhxo0CAJBgg9N60sWr2Xt2lHEZYInBihkVf0J+OBpClTVZjbhXCsxQWyJw4KBu/EoDwi2/NxVOx8vQpld4cZt7HuYhHMSfrWx9N5rIkY42ltl+Ok1vLNVGtk7/cCRI9GlXWsjkded323WuCF4w43ynzY0q3cbSB0lTGC7Eit0uwjQ3sey0vIIr/XoegAKH/2P8eV2ZlyoJIy1W4J5lRu6bsoWiO5o3XoBGVyToy38Zud9s9uh8i3xPyMbL6zO3DJMxnFf69QdLVkOubw+NZ5HytYYGGTwvVkS3p4juEX88qq9aKfe6NqoNqmj1Dpn6jvDcCCxYwyOb/Ijz/L4OvQf6TDCWb6KUHlpnNhJ44GM/kzbnbCwAMGNVA6nzqGOhR2wooZYNIII9VdV3kvvEE5GsAvTFEv/bXhpAqkKG7miTmt4OPsQrmqKtriPMB3/BC0qfE0SKqgWbWKC3l2JCqDKUf/XXNkPjiYWNzGvRF750PdRVFUy08KYWoJ4YYwam1LtKPUfY4PenaID11lJCKNuBL/0lPUczQ7Xr8RxROMOlTum1Uz6+JO6/IvodlYHjUbvGAv+WjnCAASnWMf+kkwAenU0wlltsV+oKi6Opj6dQmR6sNcTEHIAK1uJhfBJqNtgrTwIoXQwOLpjRJheubCeVOSRfN3PIkKO/CUAIQFH5pQb6Y5O/vksUCrKy+gLms7UaQd8TN+ZRwwoihXHw/JZF69kQXcbtchEvhGMU56QE34Q+LERP8pf0hLrCnOLlfApnMMvnFzMJPwJDIW5cM1ZeTuFKUxtndsAE7Q+NU1p6AJgKuQH5FD1SjohSSRzoF1AKpQxcoP1RCzOUn4NEK/IuSD8G4dqVa0fMVL5/G+Q0r/ymUb8RZgsH7+cNqjm4ALr4xNsqsqoD0r3kPNhr02/iQ1H1y1tvVxFMNOrrrW5q8RnyAFZ/zBj15cb/ErB7+c/IS+r/uAetUU8lZ2bxRCwy4jBDjCFQaTJHmjcMcZRNrNTBjc2Oe/hh7O/iZbkYza+1UIxO8+PksulvgGK7r7mrOhJFnAinS+BbULnDQhEqCStT+i69n8BvNTX0fv8sgXilwaHPzx8rS+IwGf6BhB+rbPbSswT5B39IzmTp0ExU+I2/88YujKwNRgqvneXZl6gLHr6mQorba5YPlA4bKVSECo5L0or0q+xDAooHm1eN02XhMWNstjhZMkJ4rw48b7lfzD4NkADEI/622IjUcSqFaKnJS8qyJnkBwlhjniabh67cQMC3f1OVEVdReyxBNYLHD9Kbdifb1IA0ISm8AW+RchPk3m/V9/C4k59N69vKZqyrpSacT1vbaXRv2FBho2yAhop2MgaQ00HhZwRDRyTLyP3zD7NytihIs2VyXrowyAW2awQB7T8dX06qaGtkagPj8D+3xKCEWGzp8bNEQ+VkeJheCw4wUcae8/JilkQorHY7W2tQ9NT81IJS3K2sN71dahs9U9eLCbj9pOxNM2g2o1Hew8ACBPV7mTzAfMuN93SvDLjlwhQlVygiUU40FQMbz3c5FkqzvSogxZDWwX8Cs1Djg56LZ+zBiHjoIK9i7gne2Y5DKtAML+P+ONRY++ceRerJ/NWszyz3xSPIw+p5SguD6ZmPhbyJ7/WMbQ2XkAJCK8zfXgL/slf4zBL/0s6RYNyjuyevpYjBxj3nqRoPHAln/1tkOKc7uyktUYrEZQ7ARTaNXZ1XQCOCrcVPrGAoKWX9APVO8iRvz7CmeaiWiR5ryXRaJZmUorzvPAThDvAuEvxe7Fq8pirhfS+s4GyBvLaVsTfOYUNAs0iJuMwxAFan6O+5DrJe6WVH6+zU7H+ODXFmuVXf6FnWcG4SH2kY5wf7DSZSp19mx1jSPaSG0bIrIDqQFlFRCVD+KPlHoJ0FRXRvA2gE4d0Ee4sfqj1WP3un8KfJGskCzSOqN439EoakS19ewJBOn60b3wbt6S83WCUqgIfOKWCdes9Jtr9R8fvzPzlOe6D19zZJMKjztRUYFfivjhnsj+yqvPh6PKnadxjPJFQgrL16yMZYN1uDfOj5Dduw7LEkJPCsC6FH2pTCbLaY0hhYrXPNH308uSe4Y3+c1f0SZQMNElMJDlSOEV79OG+eC1d3m2Yu5aY9XeOgKhxIgWyCXYyXpxfDm7k20IS7PhjXfq28PX92dpsgAuGeRbyp69HZMFccIstSpYk0xzZC/xq2iqbF4fEK9P2J+nAi1KiiwKX2K1XzeBGOdp4e9HesA02CsZHw6PecM9RD46KLhzxvpmsKxMCCVuXJzni+i/NlhrMuSW1reoMsWYFeOFy1IA7MZ4EE4m/n6tECfxYpGm0mPJscSbf15kAlz92GukUKWdErHtBiHtieUtsK1QseAgYMz1dk8z7wFUb5mm8zWOqQ7mLVhA/xsj9t8fiFIo6vlkG2jLicSgS1GIbJlBOeH2Lu5D6tfdJasfEKlT3311GpJcGtp7IYctMkI8Qc2J7zPe6LMZd0TUQFkTNdz3UnnHP+Zza0oBMocCzdXk40uqjdXrExdA8oZ5zAG1cNsd1bAwXKRm9WP5XWQMCxEjadPPwkx321RzjMYF87PoyKXJbS8aE2AAuqyC0RuvVjXXMFVSfn9y8e75YuInnPHDotWKIr4AmN/xlaGs1PGfGNk/btEwe/PduWKAkG7AoRHUSjGwSSanMJzp2N1B/tY88r6lX+lyqPYxqhB+up4kiRicbsxTSduFvWshO0itR+e95lROe0/YGQYuSjXgCx/F4J4D3FN/ZDefXCBEWp06mCLj7u3MEgMuOuH1XMwaUbwVM9rb4t1LsYp5O8sxHukzH6GLPUsgA/YJCP8X69ojYUp/0/NMiS0rG15iarjfdb8Ed0dc9EPhY2olQtz/atwCD4AVaGG/oAp886R7TjFNGXC7bQpCQelQGGj23UNmmhZzFVD5dNCIY7kZkenbSZL2ilnDBwTNe7wLaftwZsiqm0YnAuPJkCXbo6O7refvEtAS067V4qx1vENUp/FLYBbrDZh8u6cYM5m7YbnFdQ2FPVYqK8mBhQXo4QY378nIEuX56aZ4cRVWvNP5qYXXYp3C/kACCDU8K3WicZMTFzUUyd3o+iVe1C6yhkiFapNujTB67TzhDav3LIJem0N6s8fSHYB+sJsOYoxNjrvL7IFiMDLghUh3H6IdMF28GruopHJ3n7nvtmXMlDNgh88/gn/Y+HtPJh0WIqPLDg8w11UT0lPZsBOKLuqmn6wJEdX8HtKdoExeqQmyEuK7UIUasvD68ICGF7Jrll2lXCL9WJuGwmOX76QCIscOiGblAG9w6uC5TraCQGIGYXHFLp5ET4nfmZXs45ijZWW7jqAs2vrmg7xGl2HbfmW63BjDxjqJtHhM3mu1VQUb3YDp5bzab5KayF3V4Zt90ow10TfY+Nc0i7nJxWA0JxdXGm/7UcPzlLkvoOwXLxaRtgocBhmdgCp9llil5cYvSHPzn6CJuV77krFMpb5ErvsfZtCOJBVqojAhbLiChxaV4dewk+ha+PFTdYhriRiZ7mbA0MsiOpYRoPBeaC4COJUIQmgkzDf6j6/Q6ElXZ5lbJcqBeJ8xrz3/l9IxagO06XaPS1+Glv1R65OOvRYhSU/kC73uOGj6FVaTAfD1bVTYitItHCblDCrmo2vC0hbMMGY5ODb2NphIxHXV/bk73VLz4yvr60s0AltiHXpIQx7wxixX7I8Mhh02AYofFxVnGs1nV6UUjJ+IFPoQyNt+JFZMjWbuyDeSsaxiNSXlMsxMQdUyeMBobmIbr4TH4bCksbHdpGdxaA9IYn5AIWlsUB4siTCfxOg/Y7qdoFE/odF4vEBRZdmd0paDzhx0NN3uA55+jxX8r3rtUTw72gcjNeiSCtYB6Bp4wTApukOM11JBopJMD//K33m5jkgcFR/FUR0+aAszy/urn/qRy9R7MqE3QgTcb4mS7gQwayVkGAResX+u0tud2U8STuoqLv2BPB0PSO9nF+MlMthKlQCsQIzbtmdi/LS4WlB5vtQgiTEG/FbGvEMINywmGwvYpXcOsQz4tb0xYECG7V/Undl5WLcqEX/2bqN1Ao+JgS+7dB3HI5LeKubyS5oLqXxPOsS+Ycm8DDDDAQThmB5EdcSZiCNvaM27CZAhVLsmGU3w54tGAGjf6WSsSGpCiAYq9mXXXhwpSBmPcgjL0riHJfBo4McnogLW2s/RiIlqj2e0UGC1igB8Kmb5Jd6xgMVSjBmOa/99oOND1szjEtncVvmtTkrWinVnp4oTjYFSrYijZX5UlFwbYNjy79Hmc0fXVPIDAwZC+UYXJ94/e4n64GvLhQlukm44Y92nV3Iaj/te6IFvWyMWobRM9++/6Qws8ijEHL1+P0FksCPd67R3+CDv6UzmlvqCBRvXm87bcgILmh8akH5rlc1kTZOnBumfFxgPIW/OtXBz90exKnTLW4FFdZkpxnYOIfFXL/w4/9Ia/EpAObcUZLMj1YyLWeFv6nCErrXTu2JDAUpumGWs/8g7GDc4n7v+Cwi1EaJgWWY0iEiYAnk+/cvO1mmvoK5D1W780gov3yg9QR9KW5AbCCOtQvA9RE+EoLOh/MA0mCdA7JaRHfp1YdHdJybGfmOpg4OFUglD4Heqc1V884AaB5NLfu/VQr37T+0PdIex9/eyLQbsSvCRWkKvRmKBPkSKAK8APPN8fCkHc7hteuGWGz3WSYxrOccHreBMfljbb22R+whypmoXL3MvlveH9H7cHOR2Zxv7KHWK6DKt6g/RZMuTnkChHKtSu457wXtepQgw1M12WwzYpcQJfluRiaaRtdtb+IFgo+yniAdCjnZzXDKNsGBY6F0fH9bNW3SVMsPivnxs6QxDU/6uckEvjErTRTc6yiAeoSk0QPYKuzuEkSU8YE8Hm0ou9Mh7W+8G/T6hoHcBFKJRo67+VGgb8aYbaYzckgjCyJrEADLcsd2/QlVQ7ei7seXQXgM9+I6rCWZvHQnfl8osmEWnzFGifJNlA7tLOOaDP5S54fiWJaMwaoCSjXSu8fDZF2AmqaEsLgS4Cc621VQ7OAaKTtWhzr1PMCZOMmtATimO70YaXxtIr92RgMTaRhY6o6va5ipPc77/OT4WZZla3bVs1/oMXGg7NP5YYgOwDaGNWAH4kjNfq88hvGo0FFslPIBAliXkaouZnMMzGMG299LO/twukWG97N/VkvIEtjAPxikYYnhRieRxeRnkiHNfaay68OxsZ8/HNXvN8Iyu4cIwZHtY5F5g1LpYeF6kTG+yfOH0fj68bhwUNjwqUkkuCcXdI7BL6KebsJuINSYmDiqZvQSJSpxMHLGEoEcCtVbHXEn8rTjw7sADQNrcEev7rojYo4q6ZMgh1FCRR6B2nCXC36P5VZEG4uvZnPmafwdkdZv2VaUNz1UkchScEJgbrLjvMTEs8ZuJUqjY4mKJqgrneHwqbG2XdVv/Pty8okjH5rtZ6kW2viYlzjkAxFdowMilL2FzYtI87KsRc0VngVAmGPildaNUG9VQgPGOQiLsI9DrvH07J7wdq0t1yKGl9Fp0PU7Li/QVDCPkTKL0UJhtDkQej3wKkIyi/iRyBvM8OBvhOuFZeTwUyaWqfP3ffMi0oxlCUD83jyIobbbLtdL18HetSAzaE6BzFHzBe4vIykGA2JK5DDHAECCScPMb4Wx2KPxep0roDsh7v7pO7Yly5HsqreOosPk7kecDxNT9P/4+pFNVE95HLx6NqS+Eb/BhIiVN0HdZ0J7gXBwACTNMc/eWvPAlcfetWDfi7Csc3h+7uYMOvcsC8+AgygeS6VKaPZQ4MAtvSl9FcTbFBzB59fOm1FBHhU9XVL4x7i8O8pkOCV2OHpgZ1TeyCq++9fz/TbHXJegTVxDiCGM1qcKZeM9CAVyz6yOozV7T+fesj8hzBfnKySJ3UWTqQTKxA7q+AieQzJsRxrVoNcxYZrFmCtc53n14MTsH+HQquDykP2lzer5SiKpi4orMVF3YfYXGuOXz3Y8tKpKNlwWbxSqL13q9FHQsimpjLWNo4MqYEksN9xPELShwhYOXhFGbro6XsqPdXmLXsT/qtdZhP6a+o5oE4+MjKzpOR5kOZsm9ABl+5MENb76m+Dmvp4hW4ZojZNjPDDfBHl4DexkWBl1ST16S7Eq0lRVTreCz+D4q3mos85ggLCBv43LMx+D+30YIsDf6lcK3kFS5QukLDdKqLTij3GfqukKNGKe5/dj0ZDwtm03sItBWBxHOb++cjt0RhC5oFOT9xS0KhsoJhPWSq6+6EIT2eXKp75XDZ+RUwCYtU1zyeFS+WVg6jgnpl7fGXEXsQtveno3ZgMr4vgu/CEQwWkX3b0mKVAKEpfjxkZGCm7l50JW9DygSYKvFU7ZF/2NYAltaEmHlA4bNF8ZfuWRymLhSbN3P0KTVNyli1jGl3Sm8AT2DpKxs4loB45KA/AQq2+gLZb3lrC0/+dpkOq7ck17OkqxIfp2N+BVdbWLrDM6dLyK8rN0InLbxCjN4eZsEEwfxewNIghwXLzajtrDYvTMmD3qOJUeWjZvxIK20rRIy//LmH28rVyGl8bbHQMM8t05bdo2W1SrQfZwXoLTuzBq682HHmjV1LciSQDBSevm9TMLgMsh/g6dWfHm/xb1b95FNL69BKvrodusBWohWM1gWZzX5gwaIxNV9/aWrOSmz0HpHHE9c1Bx80co8UQTdHxbNAghQJ2p+6Z8eHgTBm7fi1ff/VFMOOpKtx5Jn0PLe5VBMpyOyppYqUd37PhvLCSicaPJ4AOvUo/dgv3NMCE9RzcQfoIXdH+7hM591+x7rM7aqtVUP2JHPuzA3+QQYtlryl/2uVjOPvapkYXoZy2rwpZa5lE4PrjOEY/TQZMOAtR0S4gpdFeKCmMO+z81FEsDWtlQMv6djhQ9Q8eJWEJDktn+Yd6xep0MG6Lml64jrznHhIKX/IRhV7LyOorqHY+/VDrrWuvsObwe7yHVFw9omNHOc7zBRir5qL7qwbDQ+tj2FJAZdfpZq+qD/xogMzXw+bOtFQ7mkkq4dzrrtAx+uR9VJHv2xFw+sAtVFL5/BOquERn9/B/vOF83O5SUUk9yYzWbI6y+U0HiZ5kFmDmVrzY/TRWSHzD9fUkSHkndlN8O+oWdVsNY9RAavp7Qci3v4qCC02eEn2lmq6CaLiAf8SydNUzDJeRVd4T8XZxlJw7jXnjNEGHUndBQMWjDOHm8Mt/iruB2pZPMYuXjVdHFWBjpNi6U/xItqr7xpQdal4NY5kc3q9rGAW2cuQpe4lkFUw7eY9BAoXGadCN4C3W11Iwbv7c8krIvch6QYY3IQPM3B1OBE67Pja88fUTTJrYuao1kzc5/V2EZW8QASwUCkvovYZT6fSjUKwQQoeMScFVhS7sRs52wP0hcp4inv2INHN36mpBrc0ShWtVoc4fLSW9tim0sxP6CLFrxZPbLNSRP907msEnG/hHWOF4gFlxkk51nx6vP7b4DKprCYdJGYsbGxy0WhrAcg35b24TlbLufUNyprJufB6KamM9/l0RlzubMnkNFuLEF6y/dSOso14AN6NB87UK2Iq1IOMMOolY3lJZpxg+bC/h8bTu3t7hp/CuFNBbAad4o7L06ncf0ef5NqV70ju5IcW87v/Us5nsJb0OkH9abLjuCc83vuWl9XyAidWQFiBPZe4EtneG6F1/gRZuG49qjycLWYwrem14fcQNz7uJCmuQ1iETKocZ4m/MDAm7tgL9fIqa3HYe3xVMov7+izCaxSdaiFN5/11yhcaXIxGhgtl14sutjpgJ+LKeBKsFHqSHZyA76r6klqPtUx0v8RF743zljoNdkbZyEi12OWLis/gOkzgaF6hYgT9kXZF3D1bJ4pyW3HS7mXypsFtI/rBPkU9afzqXC73BQUbhfJTP+8hu6V1PPwo781OrzLR6lrxzDhr1zkEizw9gbgI9/ECsghEJzgrg/flJgHhB/Coae4sIcU7e91gsbCrv2DElQSgqb3K8CJtJ0tvzsLBxjQfkkTOP5TKRkcpQHvzm1ZgCf5USjqcO++IsSpWcqNmShK/eZuBfvB+kIsb5WsiE4QsyLuOxvheLRah/wy3sE2t//aKeihYBjB9D752W7X2egDaZNw4j7Z9/f+8gtsMiGsHG6D/aD2vyMGQaMbiM+sVlbVxiUbx4Ra8BO6pDIrqOV49c+b+3S0NGvQlvUCA0+gOonicLeqDiXHy1Yx3AmVga4u+6C9a/jCNrpGJTEkFi/f2LNsbA8Fkuzv5aCcBi6Pj71eRHsyke3gXaH/U8Qs+DWxm86uK9RFO0pNbWUk+4r/o6bDkYmC8VW+lUttpG05adIZgjtoYiOKay0oYcfsYsicmcqFX0guwl3uIaFL9vOnhGMT5x2KXS86yXj/VDOUTsjhez83xowiTozXalSPzxrU6UvszlsnoNJ+7to/+Lht/fWcEslDc900qQV0fWmYh1/1ghDw38YXa3t5OjYIAz1382qTmR7dz9oF5IHieoSpM0pg7Q9Us3b2wEP41gNSnGzqsBuHPAXlP01koCQTvI0CO/4QSPJbt0M4Q0X5RlBPbjn4QJYweUGACtX/J0lGskjv+Cf6eRTAZ94H1VS+KMmYOepJvWFQt6guPiED3q3eFTGJFbVMbHWZOs4FhSnnr5uL1kSGFQR5EsO77+e5+GBCwJ1M5VTpqIMXIsFV7mMvN4jx9W3K2D99BuhenKUMqkbGAWoqUSaDcG28l/5/nWeiO/s8op0H57lumM9hzRQD6H/kK2TrM6J4n0mGRNofRFoNryY7JYkTbYVm17W9myGBtPl99HpqmfYau+3ycdUKTfpf3rCd8cZIdjmUkhYfgbuxIz6CAdYTeOLjXTP4bmp9J7eOE3a+7Ar3bOPRvoOFftSyJBFp8gqiguusxoYy4EYx2ApspqfsZstfSNNir9zwAGsutM+uKpybh0hENDPJaFXm9xJpQu/dnenrc1YaGKcuOBhT0tG63A1t1b0e6SEl9PilAmGIGLT/sJO8T5EYaBhZr41/M6buMhSsRAXAJccEpfFQFvLZwbHNuC/Gi1URNXgQGqbchdZni8DFzqVxGvL6RiDOjHpjtxTvN7x4W9GxUqZ+3XCBnC65FH6sRBSYQmUwSmzdJANWUXMYkQDbjN1Wt3qcVJSyFl+XZmJfXJgWcA1UIM3QSEYHI2KhhOkcPe7CrQJDobKYDUZBWEHSkz271Z3NEvVXwP1KFphO5BwcCQLrLvWb2xo/bOHIwGF9zQY75YiSH2uVRmGdS4O5r+o67aNXzZTet5giDzoNmsKljpzdAb9vF4+T91UjTixd33B9lTHKS9Zgt5xlWr8uXTfJ2TXvSG8cjTwoLkaB5DrIFzhDKbKF0eelo4ylpCkK0W80CNtbppSvRpDFRrqMEVVbdQqkLUVwB+gyK+//5PPTjHsA2bFy1oXRAHHVKxQWum5i6a7j81uvC7iFXZxUiMZHsAwFDVKw0OUiEU3P42/UpUppMUj0bFgFKZdGH1i5VZwF0bT12/PA1U8c58ikcFxdhnWbRvIWnHsdTzct8Ru8f9gV2SX6UhWpxmzxcRH956oAu5nMhHxiBv+kxnD6rGU7f3vJTf4oFqghZSFLEQhMORixeP++XJXzJiyejY55jtNXkFoCfe8gpzcTWinefHnCuQzbNa7PkMs0EGk3qv1aUtrIYt7E1YUYVd2nZPFF0NfSih7m3IRaCGAyOAOOUgfsloXCsMUeKOG1fGroIINc3pQcJB8hVqf5Tic/m9FcvW7u0ryrr+baX08TJ6caAKMy+/R9mnjrg3wpkPlNOqbOu4V5WjMLZl2rY8Od4sBXPqr9hcruKXBnPNJSePmEbqXhFX93HbczG+Tn/rdxYKVk43kKccFzJJezKbtj+V+glpvShVsg9cVt4gch6RHw4zXU2sSQv5dy/73aMcBn1lT4VmoE0n1CBvPUJdIYru3OYcN1W6J8Az2LIun8NaJ4r2Ju3WFLzJRGAkqQjOWoqIcvQqYhBnJBqR8nw1LDKNV3kT8rkVwUSUGRKXDqGrz8m9HKQ3K+nFCCv1E7W0NDmbeiClaBQf3vT+x4/NLW+X0IYU1zVL1i1xpKfOjkyH+OwbtIgawtpVaigqctnfz9TlZMRGcFB/6yNBcs0Xj/y3B/qgC0q5P3Xrauql91qjJUaLTGauvXCZr/tsvSfE+eh77bRt49Tv1PXdGbF1tffwT4yYZy6/RXrXihRcEPWI+Kc0+eYltNuIcnRYediMaKKA3K3/0AgtHqN0BGLLvDl4caHsBkNF2OSD5JfYx37GvigS2ISYlgIGfhFwZE/uuTdzp7YTXTOl7l1InOlw6IpFopgBEq9bvHnoR8tXcQGDIXKLgrjrERZL16b/cZl7xMcBldBWZNclYupadcksbEa/q46ugiQclmP3AsRbXxwCuRGuD/gqZyIjwBb/GAau4zBjgrD2gDvSPFa4jvAn/iB+oJHfN8s+lGYGxZHo965rHGI56KJlW4B8H7xL+tnDUOLbN9w63lIVw6jnAts/BeZCqrnJ1tiuILuM72klHUQgM+LtbsPdwBI03nyc1ArURsMonWTMhsiRjGcvyZzTFEED8nyPd8g3WU36wPeuAZ51Ljox7W8npMscqcv1IKP1mZqZAFkJDFW6BHu/xU9XABmI6D/IQ3DJNINE5PNivsAMD2P0/KJmJT/JaDwkDsevGEWxuuj0oI+r4zXTxt1/Vd3SR6+X/pYLoojYy+vREPZEN/ahr1I7RqPCFpv75IuhwjLd4k0nyTIdtoDEzVi5qHgq2Z+z+iJlEW6uDxwoUa6aJHNzlzE1Puzl45wbJqTBUCBoQyK1Y8Lzex14SSVDQx2ko7D2QGDGydvsMsClxPgr92w+5MsFdvNl939J6fv4o4GqzZ1n4IsqeCJrgTa8hga4hodG/RcdZ6c22o8AW8UorGVnGgCzOkuOZLGODXMHF8ilgeNy6XBLn5xIUi75juF6y5Gmi18Jjnf4rcAv/iMZyfAoMRFWsZXMt/2QqxdPWXN/V8CFIL1U+Bged4mVyGNxs4SmTz561dqDqFt6LRerAo9UFgEvM1M7D3RzV/xLFdhbIKmEO4JZCWeOc62FZaKV6RhoPpOu92gdzwvxW4aN6BEvhmqSH4255yhpM8mLR7qtnyGjTUVuNDnB5vneZpdsrNI0d+ln+OuphMzyx2IJdPJ9BHw+B3rs0HmkAwk/5B2nlhDe24IK3WSdXjSaF+BdDL5YJxVANEiya8H5oFzyW5SW+j2cwpksrcLmMhG+Rn+zIWZ+y5XLQWSd/0cpaYJeSabGr7aC8vhERN9pNYxxAAXJS7GHCVKXhfnYvV4kqtZOKoMdxDnEVGAtLdY2XsJtIhkAoYVyi7jxyJLiyp6USTvMBrl1JZrglzUuKffAO0ppC+jq5J28uAWCxIsckBmjTiy3NG6m0fGcCERajE6CmfTD13xd07kx9ju6czGWTBCzp6C/7126NKc2/gdwyJhAZ1M0iCCB482nJaB4Ec3wKGlyMO+aWkT2g4XL2fIy6iGAPb6TOh5bnzBNRGDWztH52HijmVWrQ49Am+XE6oMG9v+3Eb3dMlebPJMMynsSoX/s76FpNwlNtlwZco+aWJ74P8mppDWuWgVqx/JAuy9J65l2PULCvg/fmtoaipQMxMlC6r77/sNWNRVb0uYsjtL/gICi+phYx8CvgWPV3ePQkkpPP/UXZleGzn1FB7DSsz2Qkyijj6RTBSijuvrQuIQ6m1Bn1YJt6XY5DVv1b14QfjiwZe03vzOew28lu805i2fOU7dq907ZaZBdn1xK1LaAXhaEDRV1nCP0PZ4o/9g9L9VgD0Gmksc6VSa291uOKsfJp/6maMPL0m2qZmmUISqHcSGZf6DxlHD6j/eDodM+OdjTS5/nUq+X368zVhooXZeAg7e2IX/NaRd8X5yWrhmnhgfRCZArQ7UlA3n4KNSIba7X9lwi4xH/rxQveWMMcfjv9T/PyfAUlTf4bgy6dSxkyL/b4dC/rDfyrGpY5ThQT1LBx1BfEIj61mw58yiepMuktYTt6WqOWEpDl7v+y2lhz6LzMSkFqQVqXaSXBczpC+6F+z/nx+pI/Dzj3mmyMir49ZjZ3msRwIbFGcnXrrWhu822JySL7Da9b5OyzvrSoQoLgu/hv/VrLXto1NHU4RRjlgv1TU1a5CR1kxPPqDWiI3VIJpHncjoWeN9dhKVQkCMvNV9+K+2dWRpgNwGPPNk0xYDKD7nazhPMvvn3vqxW7YC9Pcu5/HJZLsIlcHCuTrG/+KNRmekoh4pVgYXN9kgwawBTpf31n1VPQY9CPOWYzMf0LXDCONWY71lJMrjBORlUv98f/9XZG3yl553PGkZPZ62LEJkrTdV6iRteel570dYUQzpWro2kUqiwWx9iUeg1sMU/efC9BkETa7frydLDJ2tZCpxH06LZpAAhn/CmoLw+4TlgSzdD31ovJK1olTbfzQ1FHxTTTaukB7RGEtVfsyjnb3R6sD31cwKEb+kD618JbOis0Gjx3KBNWYprCbPW4ASZ0/YVBPaz6mZPa+hv7FHkmQIn4PdF2B19xqv0Ea8rSKCI2v/JGEBpqV2VpiAD4WHeuyw3SYkhtxNygTPap3ndK2D8cMjXBvfFqrJofQ1iNX5b7A2V9OwdL3bu56sSEpN93mrmjdAFAKtUSrMA5sJPEzOz1hpOEKMXV/t1dpoKkDrk8myt6X4ppEVg0u6P03qMZJJV6h68Irrd/rFVGmoTu1p16CjM4k8KqCiERYpZBJsWwAVqjq1y2YNOyMnLLn81AgZCDba4oqERGwUZi6sT8kx5zbNRW0u96Rp92g88cli6kIe7DVEHeXISNIiqjLwqgFAVolv9im7a+h2h2u7qRqsLq1myBZpNjk7wzhGJEK/clUI4bcPcizpYoBCPqJkE8mlXrwibKCdd7QRzG1daiKexRl7E/KxqMBW82KhLkxBbJouu3W91oBAk0iispArU05gI57r4qClVCMTzD5l23ODeHG9y+7xfne7uVlPQhFO/fldOTXFlILs2VF1drBMVPocEBH+oCw9x9tqQJ2VPRyiStuf5PurX3131x/47nij7bw85PYm2vSg03OClaGMHPrSTZGOIbPcIPpOVNN7jjuNKHlHd8LTtX3GMPUeSvJ/exXQMrSyk73KI+4cCkYxASFdd2NoUWJHwT34nWcUsghwOmr5ZNJipv8B1DnmC/LRjjh19PgLNJEWfkqig4r1QUULUUzG4LPwUEN3eqc++6teNOqTVKstN2ha1ilZLuYP0441/f9DE357w4JBb+QFWH/wQ/fEO5AprfELDMG6hhlhQAaVR57W9Gupjsrodc6m+kmgNkRsdHKzNOwX2d6B4u1mwx2qCIIbgWzDoqku2qxtDh0fAzQym9tlz67yOZ4HEVnwGXrNYoKisXuVMUrmE9tpomxQGz9hgw7xTyT7Vhq6GfOvCgheyAjmv0k+3SaiN7j0fV+C+xwAH70P/DrFPrtHtKJJsUSJHiSo8zciQaAgKOf3ERvEVWeq0OdmgRGDdSAIK/UxPrjWYCUjmH5pwqKY37kArqZYxZPD0VVhR5IfdBOdEVAwugIG4eZRsao2+5VHMvUBwjCy+QPcUO+DCGdCXAOIYJLXkuE6TkdNyusqcEFVVK8C6Ocifhns5FN/KQE39xFUQVqUCjwk1EXh3RZ9uovZ0jzjRulZi6ZX5yiFxK9Ms5b1hnYmQOv67wDJoypPdJnFv+EhtpCOhgOVvmX/RIC2eOBlhE4+iw8lLlYC7keF87jnMjbMe6Utyc4LFL1R3onC2EqbID4qN53oTBBHewGZwYoQ/XbQl7oj5OmTa7tVpsNgWfKrScnR8uoHT3LTXTQcgo3DRy0e/dQXk6gWtPl0Gd7v6ifoVq/WTILTgMHlGNF5uvKiiBe33unCempHh4+p8smeDpnvLEpRHBRMdX4Kbwd4DJUCXtKcZdQZxKUCuziHWz0v20kp6Gy9Xns0S4OvCWeSPYtdTQvZrj49dZgmplNCx7ls3kjmSOvgXG56qJPWYcvpL4vMx2ptbo7ykdWzwcqlSZGe27Y1kEhFSf0i9tbyPKA7i3DSe+vK43dEOsJPkgDdZXtz/ZaDq2l/00QhIey63n89NGkGZ7DdXPbJFgtCyEikCPFJmW0wgonBovn1aJBwwUG5pr5wCBrAYVD2rrvrj03ijmyj5BT772yBZvP57soJ+5kxXYX11zewfCA1lCWQF5WgiIjUeagRz0rn8cfBaYj2EoCApFrRrElm1YOgt/5RZFNF9QPxiUUDrAiTYwmMR2lgAPVfh2sGF7Ju3VxvWu5zrJbOPnscZXNifW/BKo/G9cXMvajUMXSuewT8D5D+AGxpRUbd7bjUztuS5t8fgncYCszzmI5ZTimv5y/ZvzQFqoQUrU6Q/23h96CuzTvi4Pdn3zQaXkkKsOTPFkASRBDC5HmR+fJpRjMfDxb+j9HX2Xg18I2VW6GP4mbYKKLJUPuyghrHAmBBuaZMTG54H2JgBelW7cMtlAbDVrLQn9EpN10tDlHDkKFVe06XrUz0A/zmXJW3lxhGsNcFuc8Rv9igZhNN5PGjamrfI8PEvslthhyvJKZCyVBZw+UXo5gjQxcGX18RodyOKgm14Ta80ETKKm3+DFg6YgBpy0HH+rc6FdG8lJPOnivWvPag4DsuXq/pR0TuRjKxxnOydEVO4QUnPcHM3Kyedbd0Wp2QsIu+diz4w41TL4RJcgHGCx+XQfe2IKgboouR1TOCuUBn1BiFbj2mcPcacrO5u4z6spxtAT2/n6O8HPqZz+sSkFhegLiTdRvcHRO/184fmdFWfwtz1rey7xc6XJYCxI4kYVtXSOjBVvUsyi5gAgBfX6RQV6SXUWGBwO7bdNo8/kCDFVT7+soQ8uqXvpaWx+t0YynAc4BR3PABf7KYWCjWTQPkmFR/vrBDZ0+tDRH/VqcyBEWp2EJrHJiFpaaGn32iTL0XjBtFj0hTFcL3/hTmUGhQOR7XEnSo8Yc11QRLFJO2ucpj8e/g6uuIBtU6jQmBlSiCb0b8nJrFQwvrKzvMxH+jSawEv6/CJGC9fj6w6UxxxJ+K1IbxXU4ZWaM/GSAOIjcAfNwnEvYLPDU3/rYbNhzSTd/my4I2P5l2gBVpE/K0RRoPnbwZGX4hc694A2vxcaXtGAis5AxLQ4TKvHrXKMNYnhCmgDNseG49kpADqAnh98OezH/kOhxTc+O9/UYYfPqkTntpOQF1UeQFfmg8N/iQBER4U2pp9CanXyqFsQ20hY+PM0OtxsrflGybBrOu1HZwo8k1cqX2yPi9+iufZoF7Z7NksDSZgyCVPBcoCRhgH0x1M1rQ79OpFPbkc2cfa83jx4CynpAkTK0rKN7BblcyzDCh7p8Z4svv2luU3fIwf6unmVTPEkD5MOTDzs8CT7UwbwOgTddKvx+1UQf54frTnaL7FIzrOYRgDYjUr2oaMHEOkfxm7YrtKaAGDu8th0cmn+HrbUB95PtKSFUMMSLDUM+D8y3qOZjOqDHAHNiA7Japg9to0TGaqBW7f040U0lK8S6tgcxZmRD2hrmPv/VCtIYfLfnfkGlmjvqfcA24vTjY2A3UMc370rhTyLOZrJKGhlYQtMwyr+wqEx7J5mdk4WPr2zsxHkbjHn1RijZkfZElzjminSOlGwtQpDQ4ZhXrtcSLetj2hktQ5HKrdrRxU/VLq3lzyBDnpkU+MGq9n1VUlPihUDe+nO2PJoBLXfIXcx1Tn288n+Mg4u/WjH6pxC+tyE6nqnH3m+E3Mbo98jZXHkKbnGcJDvidbAXM23lmG8yS6wCVmDrW2tAVNVj9J6KTJSVZSaopl7wozwWjc4+qwyOFLoT3H24DlwJN890HRhXn+iOnM8cfNLmrrBULBfTYCOCh8Yg7hVuYmod5VJjwecYu98xyOPSqmDgFqvMLgueeitM5S9C3yXQv+ISRKu48c6NuRozVG2EyjSuJ68isu14bmiKiI7a+0xvRH/4xq40l6PJa+J+VwTIxpk/FPDUYtB1lZ+nIpO9GoPY20ZCo3osKNnr2qYUCyBT+WRZmg2X5u/aHnAFyDpHLbiZgYUStNeoZPvIcdeBx1SBEcUko2GUUgh+jyevh1brmLfWNYzOHcsH91ompWRzHJHctIujBRKEml3IixDx/X3yGOVMME44WdMAjdfgwrVNGGDJotC+0niq0UzAjmAX4bi93uV5kCaMTxF3LTcsVtvTt6C1n8+wByC35X5OIi3HSFtM1uem1abzUGwxA1aumowJKXWpZj6HnOU74SLGTWH4usMzJDlUx59JFeDtswJoQ5+ij9lJ2PQu1y8dvIVVjxasbx/p7c3OwBqsCq1lEz9cxgQuT6ZB1pFdohq6mxy2AzicwCCLdkEJnQmGqkGetefa2I5juwLMnnnII4KHV4H3ZtBLK4tXLKKJIxOSRmgMyy8gsxYZ0qiBPs/1CSgeJ83TRtgt4yLBvlsOJauIiumB+YAGDQZEZio9DVAl8NdnC0lr68W4nESZnq2TZnjlgByiBgDIrBtGtWN5eXzASu+CZqHKuYBuwqsiB9x+tQuLSWP4+JYDUkDI5f5i1XV/lC1A6/wIqdUuKNNhs8ZiVxgaZaHb++FE5Jh9c5TaoSTX9Y582TFLJqJaFl2Gw5EMMkTh5fZnW5UfnJhGYLmxiaGKhrMUDdMP+Nmzz5SZo9xX3tuNct2c2fD39WhvRBUfcZvw/4lnGAqQNa9GOQABVvttb/NfgK3ppfxgzmfFzGED67sVG/OFifuN6ivrCNN5eNy21o5s+J3IyTmCf1nKrVZps5iIFyLLqCq8u6tYIA9t3rBrXsgOOrE/qEgdc3lu5Im3fQCHd9YYOOFIom+8md2SavXD3J6g3neqvwvDdm7P6DCQtQ7kFNL6oJXijx8knRX5bKF7ho4nzdqWaQuqq/816gZCuIDUAyQ+jK5pbCIwDw6CKd/ij0RfimeGdsBQJ84iNYYLVm/ec791/zF33Ddesvrln5rWAnKchajEetWzUNmFZt7K1l+8eAI9aw03iNQtBNDt13vArKYYtUS3BUarxhatJGzmz0yyMPGLG43owEfaKLkFjQVgB79ckdYer0DmpTVB3OHjr0NGvRynFOBk3das0eXKCnNHQ5mEDuiutpgNNQU1tsCo2PXvYkperKcIb1JQC62d43C6m5MiE6lXfdfh8NN5A8V9PRE7+5EqRJmNu3ARdmUmnldXJNSFoojNypyxaXZk9PQPRdzb+6mxrWanRiFG7PdlqFi30wNCS99OSwI/B4QsEhYAaenJETx2+1sxeOwvRM/Zn1Xz+YwpmlWlXyMKkgOr8F9QR3zKbcW3/TeguYadO3wNz80KEjYCBR40zp/fGFKUn5+38qqrayw9cpaiFuiT1Cek2PY4sdXX6pTfQOcNfufzPE3lCwUw8HnJqbe4v94M//0Ve+jmjSjYsAw/ukfV9JRJMFnBpzcsfj4zcfTDUKBVhf/aqoe2dDV5b00jx6Ofvla/LcFYPDtcnwgzqGq4q1x5hZW97rM6Zoatk9jF8uLEhgTq1ypLlERCohoYs1LFO2joTb61lfencgu2WYCwTIN3MqLqjSXN+sGhiGYvIM81fWwQZIqdYeUfJvg7CFgGPttdMAXGZxLnaQH1DJ+rGV/mgHor/yTwAxgwSM9dDC8cFgNQkKndOdX0h+coxBQViUJZycgdWPLwaw22aDtl7tS8RO2eMbmVW5NT2KjMSQSkUYTbkA5FYgxOSIZnleaj5RG2+ubkFDXjvpbtEOzzJnghA6VVNeBCdY7ymmnqHPPVtWlage9kcXo2Yj30yoYIj1ITpQox6NgSY2+XZYjdvaR8t68FPT386//D00DJlRfEkO/4FmARhIfj7AGKPhFRcTNez22AkikijSqia9Vyi6ZuXpNijsqiCnH4rhvtoSeEhA0P3I02vOasFzmdMkrge8d9rep3AiCHmpYwHIfhQ+XHTgkjuWXz5WiEfJrwuShjuumfCpFlMvx7DAKjqP5LHnCHjS5kjeyqYtm1psWM7thFWW/rTkQmYpIPJ4zi4Fvde0i6QfZmbtWw4KMiUdEFNsfiRq+mj3S8W8Ig1+DVcDPaIvsNm1JTGRJQWfuO6KBqZjlGwSrtRMjfpET8+zQRI1NiwNABA8dwTHVqvDMlvZGSlFA/sld0kZwCz1+o01SjW5NC8wuQvdb24+C93A06sMbs7Rd9vw5zyXI6vB17FRAZjjaFzu7n+PuPRTq6k8Y5aXgOxdTkXnQbM4GpX5GYRZnbwJpYkklXApMugf4GsqPcWjWSOeIkp8NsMAjxzw9JEeoqF/vyHy1jHnnTR+LP/C0x1MEwfX27SURQpMRJHb7i9aqXYY7E0evQJFtemH/h2R4W8ZA1aLswLHfk03vn/78CyKwLtg+qt2y29VujzBEhRfoqEpU6OWHPWssKJBm30bIiBjOGlTLVbWfalzHzYsbLU/SA4ILZewk2JhwXVnyDEGf3PsFPW56bZE3Iu1n3m3Xi7DYthujDRRNrrVZ0yonUS9hgZdnCxnHH0NKwOYw3uDuaVeGE2Q08qlrTpJI7vjKDxKLKka2Dxy7U7t2cdRWcNEiiQKdGm8eAMVdMvQD77/g0oYYhwty4DY0G2phKNj2RfODfyV18Fy7w6pwGSqNeUzLsCx1K5TS8W0L10a1WTPNJr2BTGZjPb41Omr/XOX9PceaiqeGkV3Qh+iOjAj7gf6Fjqv4CPO3yByuYnk0YDGyGBhpSJklxj+EeN8SjVvig8ACHXdQszKHpUbtVYh8inDOIfn+QOa/7s1DUR/NTO5Su6cJXgSuVS0VQBS3Fo3YQ4YWk0nTWH552Ve9r9b1mugNaOjLRpMHoUIgbhsp8ygBlR7Rx1XUB6EbCQ0OJmPmxNS+UcvyuhnbG0uBpR3my4TnxjioqAhgSILsjODQqEEI7QiptR8hUpiAjN1HDvCMuiq7nLXfpPvtaCvPHmqYoRi+li/NYKgj0T1ghH0pl484Rne57YNHWcM3w+y7OGA3ndnXLAOuM4KZ6eYoBV1XaEsyvAfKg7THEFxrB4slhIoMztjWitPTLaSc3VWxoTmUsh8yCj9HUEfaxgn4L0pjL5ZD0q+z93JdMjxpfDNgr0+e2HJ0W+ypr4zrwrhCkEdn17x7ljgKdbVnxtZn2ED+psHNyQPyHUZJxBcSqdtUatR+RsI0izIOtpa8ivxKC6yl20Fr11bFPHDbxc08I9vMEFrajvpOsQ6m1A1E248cOxkIrSjz7fB6zaOTp5qGLvi8MXOWGTDaTNHW8J3DTu+pl+tYAKNY7QovLOfYWncffCLnltQjnieBaew5C9wrirWyHNFMZOi8r8Iec3X09RaLnmORWm0zez8unstI5HolaeSGCIJ+1nYj1hYL0YKt/HvGdCuv33wdjwX2auaS6O28NhwIWa7gE2eB2PvIeKxEbHq/K+ZJPaZCP2RBiWJQfZ914WyJZRP72dLemGZ7hR1VREd1LugqPtye7ubittHLDWy0ibRWnJfuClTXKFsNMwsbe8EdPicXtl9BxFXDCu/s6/gCvk9ZdJSlKGrub9umusn1ctH2SRq6qMINHmFUG/Y7gXBfxD7wjLUPDLLkHgdIV4FPRdFTpRVMqx4JzDEdQOZg859FlUe24n+Pd4B4whG9VXTcEgSjJ9psR1dOtyWmby+9Cr7Bvf2ytRvo2kGJrXqcU64OI/4rkFuTFzIyNlT0FlZQ+6euG+hzWA3EoSVuigjK4c5hmC9E+590WUa6b9N6On6pOpLFNQvGAbYq9XKGO+OF4GPh7JvgXxOuEvg0AqB34dlqzUbEJ19LyaKGKrR8bm6LAYzGKenKTUn0ZJuGCCvUDa4KxBrddB6xZy7gqd0hxZzBJIPwz4XVH6biyuOnc6b6auSTTPtoljrMbBXapbfjcnz5/fN7dnXCMDZyiEHXV99cihJtYzSKOhpSJO3/7NmbJQnBo0pkHq56v7AjnMBRGlrIbJ/eAu4cm41jXMPp3EAy0PPL7f08x7NivgtuU8QZLPhGITcsZv98L2tdsLeqqoxzjWXa5jIxHPqd7Ne6DeeHNYHGT0DmQYpxNBt2wzRynAVZx3bz9/Rq2R+8YW7A6cIwjJafeECzHCDZUp6j6vMxhiohKyPCRlCAf1vgVFir7RJp6nUbTE46KBTALryWwQPHb4xKL9Sa7Lpsr7M3uQPpK7He1hM/4fpSBKhREchAneCJVkR5w1GMCckkP1Z/HF/Zj56VuBfXwpNJFgtyxYEOJ2i+BVadZtZN3wcC0xXDs13hEVOZeqdCIsT8X5dT5j4U2cGhy/1THhIwo2gILNlOyFAbwkyaYqX/Ip09C5afPDEF5USvbruXCx8AUwVuMghEHJoOKe/exbn2++vgc3qDUtvQ8Lur8P5CO5qfMoLaWGWEBVoSgSOn8/pcgBfG1dL8IfyVuaKCaf4cmOfvq/jVQkCXEgRsraUxOfEWjhrWQU0QluCYBstE4jMK3UyC2ojbhMvrpcxJ9l1LtN5RnfKSf38e4I7aCnsEXIIf8HudqX4MZosuJhbnVPVpPIgWdwFTb8GdEERLk3BQ9GZGAfDGpqN51R8/jW36W1PRBtUSIhLX5LmzHAZkS5ZgM5z6+HpLqt5GHDLUDwFYInVDXGOvKM2ZQp8FSI9ub940eDgVI+dRViFDyDx0d3ywXUVz0QaeIsaaMz0FuD/p+ny45dI9TI9J8xxYUSMh650TsYJTXmK8HXuecaWlxY14A2z4ewUm5KhAhOPCS+wHGb7sDHID03X+uorBfuYMIa96VkT4yTULMajZwoG4ZMCr1vIyWmE9QHSJ03nMK8tTV+p5p5voyjaEmTvie9cxua3WfFUXcOyDD4uPqhy+r89/SAVk8n88g8eD+Bd78JhA0apnMGOtDigwTFiyT5tz36BI28UM5YMtLVCU5mfxm3RxGawUgRlIHTeZAzWT7k3lGHP2VEP+dxdUAm61KZbuLmqPDSPCFEgFEHylrhBwRdUxHM5WdfL28jRONhIM3rwgKR7r+id2Tk8clHDRdZCwr8ISCQF4s6Szkxl+2O4lllowzft3jXvFr0JRUp0ZyJX9cjkYEiINzuwVtDlSMgbnWvq5UasWgDg/x1d6uA9evCPo8Q00DgFlUFiGnAsgKSdkC5OUVy8vLmrRiDzTgPEjmeNtvlBr/pdlNGNQ8DiDE3RhMurOn3tFhaRrvB8hi/5yvozdpMyyQcDS+4x1/9zhZaLvkSJavg5ocjFzdfM6SNgP2TMLxXh6rz1972xf4TmJgcyn6WAkqHj3X06YhMz92lZSbWbRjcOZNtT58AROAnARq9ok+AIY0aCyIesEK+rd6nIbuyQEGqGc5ENq/LfUm1bfQUXbfCuUHL9KZRREhiSyDx3k89M82gJNNn0vLbC8XjToEtCnGOC3joiaWS0GUVTaq/KRkSOdRpUZtZC4VBmaONCE81rWLAv2yhYSBBFH29kU4AO9R945E5Ixw4djN1ZXK200DLS1P2xZcLf8rIoPSZ7Bm97TB54qCQXUnhXR/XEc9YO9reCZVKYblUulSP+cDw8XH2NJhtC8P0ngQ3UgxmOc3S1RhpeGJUt2UisTxdlLeUxgu1kTqe5bSDyWLBqOjPPXLfGW3AhZfib+AwdwpH4a1Ic2pwHQq7aPdRRPKfWwVj9kuXnhkzThFWC/bS+t8+0OZUzb42Jn2CU738Ps1ccr86S2LpJ4xZ7+GOxsfcR/VTHLmMIfjwT4y8gNsrDFvizoOXVDo2IaiKJpu9/NhQPARM1KNtq3o9jEK0vO11P/lQ7c+Jc2rvvyjPAUEYWfmnB/ejzOjp0UQiwvIsCR/MOamXh2673IK//6qRYtzIZNIQubSuF3C9lc1RwPuOA/hG6zdhzXLPp1pM5USbQmBoh2l3fyZxY4ZUR6+Pc+N18+q6/O/veKY8pz56vTYqtEwP6uhINO13A+wsFlIqcxAyNwA/20K9IbqMENMTcP416Z9cLFx3YgWlq22WDnaAesiuYj9UTn/k9auTXgYaPVmslgPeFOWr1Jx3TywadpbCS7xPdZ4ayaPQjGcUf3z4osboazVIE6Q8y+Q/vFqAzaLrZoTuF5tBIqhO4669rKsyQA9wo3bp5jSMZQD9HmzGfFeD4/dvrck5HZlLjEzqun/7GMkbRoW1lB+Et/FTkE2xSZwcnxODeKFV/pb3Y8I9jXlr52CWDnZ26aFrezhokS/CDnWHvXDhfniU6Lbmt2pU+jP/UPO0TbnyvZloPgsHUJ3ldt4ygV8dpQlqqHv864tpn2QmQy7fI0oHlsLI5OdVc3nPcgBP/s1llzplZr87ZehDrENKCj9ieE7bQalsYKwYzTISnuWc2ix0fPTYq5ZGwyacqUbZc1f7NnsuJ3jhqSparXndzOVqaKNF37hpzFic0fOai0GnCRp80O6887E6SBeh5sS7Qxnkx1rHNMKlTTvfVrH0I3n1Osh/QxntvJeg896O2Y5NelGlhyy1kihQ/7xDrPYJjkk+NwCwBTdrm2bg8EijTr+rK8CCHz5mYUs0OG03fTP4F2Rvfxw3f5VVpRpT8uuI5hza0mZKjW6hQrxSLBYXWlwE6erq9fXBIn5jCt4FEaLuJme9DkcCeqwzvN5F6yY9SkF6AuzLZ26G2CgEmEtge26AFSDQKSOb3gkqM3uIsE+XMkPMv6/dG3PpGitaZtE6LilFZfPmW1sHcnEIHHDcPt7hJwJ5aoGfELlS4w1G47czpDx/BW+LsBPD2gagskFrAAhNJoDCzsREm5lRmg71f28aBKdh5xXh19Gqe8gfcvOjvXUDUN2bCW7Vf5P+/HmxMtRERzQYVYYlDR1w+A8SS0onxU4ZWI+DI0C5mmDi7W4xwHD2OGPi6h8ny4R8FoAd2ot0t+Fp/zS39bU63nPdnJGNXJAwepFlwBP0LAQlvLLwrinRlXuqJhprI+Cu8RMBbvc6VgiBS7A6VcKXI4/XQy0sTMSs4TP0e76LgHz96E+EGSgfwHdw0QoXCfM9KYFJF90vj1Xrm1gor+44DldVxpl+UtH9LrUToXbZm/77Uc/yf2PgNFqyV8FwpxMSuKxIxsVov9ZYdauuGkUYLFPxo/i/YDRhhiTDzt7bqt6W22jLt/DU3NH0dRy64BwwBgsJL5bz+eKnND5Qq7CnJFnPVYHtf4v3KezYMGWxMlDppCZxxzJnuBtCztevzFR/C/4/AKWdcOVewXjssEiulf7kblnE7H1ehvOTUoQWuSy9qu3JqKClvdnDn8TIIrH1P/CPAhgBdpWbIYszi4XI86iYipbI4Yas/qJxLLzvFQmvhwAbFp8ZTXHL4xefWbNbbx2ASp6gL0+bttrmq7pUyHqFxykmn8chos7PNTy0JoA0o/UcmdyXIgtxP9BbKD1ic7X5zn2KGqi5lG40a+X/9nhHXwVuWCFO9LPd1vm5Ch9YLTW9mrq801EupdAPylyDuLIAhYvuPoA92TTt9ELl5drG/C6mZxGBnvv5bntSH/QqYWUKxgLU4BpozVoVi9GW8a8R2hYjPqehMm5krmxKfOO4w5nmLZ3HQPUrQz9EdkbxW3llneMB2xgZs/yLfeT6gmIcfAKRB3kgaFhq6SNrJERDDk+1CiqD5zKqUruZtSo6r2bIV2m6lK+2jFbzm3cbFz9dn1T/JEFlDBQvahtJ1VWBY3D4XNMFiT1XNDqQdqNgLgpT1+OGpGtJFhyS81CBEzDpjH9MMOmsuIsBnz84XV2V5fnINoNtOFTbiE82IIgvSU3SNbS9kLIIkL3NysJCjUMaJmSwhLY+lulRhwgqi6Ga/HISPO4Gpnt602/iu3fmv4/ukuxrMb9ik2t9b/x2E5yfL0jpI8PkbyP4GKXy1EaP3ocHL1FD/FXto0Sb3QwHTpaFPTEpwZiqBXkVFOOT/4fTIRAo1BYUvgP6U2AB5doR6z/Zkedop7+LQfNZhWxHvK2HBOrUpqm/HrxZFz5cH8o3q8nOd6Gcs+1H5FGR22ZUVsKmUJkkc5Wak2egGcAcdIQhDUGTMfLf2R9cKvtlMfrz6YHL2yImJWDlVNzcQ/SRnR77U7dHl/Kq/3Cgi9wY6mjNSoaAK5ezvaljlpUf14ubRrtXlbWaQMsP0CdlQa9le+dIUfuZtyoDuWzu7Q6gtHpeoIiKNC9LVybVGtAiE0EQSzTsL625iB+jTy+24TEbXLhZzpe2848lXZvHb7d75KFxsuw26SqdEnq/tckaU75zode/zyJiAyczGPI+4Jw0HHc97gFzQtdTz4ogA1N7WzyOmt2ZKM+SMDDuT7hlTVWmjYTrGFDskOMKgK6L06PryuFtA0Yj1j7igqwohSaDrNkZr2lNUHtl3fvKuSHuJVJUSgsanobXH1gZJPGgzfaSrUT+dxyQyjNGeiNlDnz3h9EmKfYuehbjf81KwMoIW2AsOUV4rDIiArXNQp1+fDVEdLHTHdKAMHRiXFPioaVeT61FNYVBCHSMukgPiTeKH4oizJ7TmNhNDRHYrB4yICJAOxNCk21S7j8yhyGilTxSmbZ4kcQCGmLuQxrYai1UWffPJd4nRZMk51WGZCHm91EgyT8C4rtyvPaEwkWCDzDdlWPB/gyiVowsNds5XBdku8kVpKu4GhkBv6DL5Eaf2InYPdXRKAWQBthS8YHV8TP5mMe8A6fZn0zqKgSC2pX4T6LSHqNjql7iePC5LPvW3pJIWsgklA8/CrjflpOf5MicGvx09UA7dqc+I6NJOX89uQlWkynGOP3d0YprBiUVfQWkJSgTpKJGbmnQVxdEF2tAX+GPySJ1iRwZr1t/QClinmQEZ05Irar3mZoFVHM0Hcz6h+rWyQtOTXEYNkitfbrcpxN+G4s6eX4Bb6RCvYxeFiAolXVFZRkHTN29MC0f2VKt4UY/UYiYu/ut2XSn4RLTxjRTv+TNVfrPuZkCl2vv9FSPuD3hThc7sKk7uRCkZLfmOzK6x6r5rg1FhilHDQ9N9L/xvDR/J31F8zCbSCnqEVo08bQ25QPir8syqgWoPS09TEsTF8gUcq3L/ibiK5S7i8ljOKLggxg2gN5LXBm4TRlWeqV4bOXIUVhyialulj2nN//7/yUezWziq+ModqJzbT59f3ufbrCLCwYMmJPuEaFXPWzGG5j3FW2T6dDQLV+dIVXZw0wXKAW8UWbeB0UxekLlHGz9jYywcRmaDGeIBznP8S8sHIaU9ExUa0P+iuIhiJ+vFU6oGs7ks1R5ZAQDK+oIoXfnNs8Kiy2gRgSic/yuopdNzMNF7Fd62ngM7ZhAohlcfNMJ5DBpXkPY1iUmksbwAVBz75I+geIGfHzjpkDHdBciXPmFKQPqvOurMgN4LXxAKKj0+Gbxif6jcYlcNAJWlSRTpYAMhjKYj8BWcxIIiDoGXzUwGEp2rZGTcWSRlYyBOCruBvhGYjbg1V857pHYt89FsGrbPjYUbUecC4VeyUAerWND+v7EilO/mDQjldHXec56mslYk7XjgQ9dLI6Qwj5MsQbuqYmlBmFkXwJD9PTjbRmqZOfOlmfABejChrVdCYDb7QxzkBHb8krSfU1VSng7LjNFnZ7niTh4bJFCcXJ5wbr9RNY2hJMaBZVu3rLY6dpnH1R6CI/0SexCfCUBp5AfiVCVb+Rc3bmO6HlDuP0WARgWRwFtRka/aj2dFH7vZMxZC6UG217zoc5qAg2bPQKdKkbvn55S6KnI1Nw4IBkD9JaHEgIn1sMSssruropsE3Xn7qzZQT6Ns5sfT5JA+ToCcC0BfzEEGPTdAzLIaYqML/Uyj3/0Kauriprl3/DD+dXovcoLwE+mHjmjVC/wxn9VnT2xrYnVVKY1zsfiy4Wx43PbzVJnQmMkpWloA7CYdUUVGEgSXyb/SXCYEdVtmtt8cZpzEhF6EghibQ9WwTkl7/i+nVKgWc38+HszE1HNnj+qD63nwy2adcWasPmOo33Y0rkWgmpnSqhl54IsCHb8UeqS0j1feI8dj5gmhy7zll6v+mECai8pH3FFxg4sUC/SmzjdBjZUCDkccgvBCp4wvx76hmsBZ1/WA9vC9YgVvvpLPcmpDki3sl15dJhAYNl8SZrxYGx7psl/5jkNtUu1wX/pEBxhteH5E3n+IzmP0jD8YOjl45rAVn/HMbCP/icDVQti2O6YXRPijJ7vNUZM0sfBfoLMPzs8wcS3YPIyVf21OZEUv3e+lxLR7JlnKUp/UMyPiBbBbh6GVqiVv2aW+CIdNvmFrgY+q3IPUJQRfc1+I4tQSX6x6DK6nVA5D1A4SYEXCFr/sKKGOfQyDCleH/iOxaXv/A4xYzW8finenynwrlqBlLGxhyIbuvCbi+dPhFf7+0e5td8+SCx2wfGKxPS00j+LK/+lzo+pJzjott5/IM4qs5VnZ8PaftmKkt6n0VhUYc5wlUkcXpfEJYlLImBRLvugaqU5USlint+5uoswh9JAIY8zFfPl7XlbNhvm8Xc0tRXEAW/2nTFFR5EuuvbG4hSBVpiO223qA+zC4cGDE9vgz+0tLd1stxNTQxYVikNMK9YiCTr6fPZ0Lr6zyy+ijvctwvLiMFKLRs5vTskSJDgKh+e7wfVsVs/gFusGK2TnHPz7sjAGZ4toMP2KPSYHuCoBW8OjaNthItyI8xBajlbe2ZQfD7gDuzJpJufJ1r2U5t3Uwwr9CjBZ/MkkrdU6U3TrEjhJLoxz2dstKQKiEMdfQeiV/tMsAzpRGw4WyawPiZkLkaF+vEKrDHuxW0rjBf6dASkcR5ZUjA5yQ9wH/kIsiFOUQjPYdYt/cOkaxOYE7qS+Bfmo8AfFI3FUeAqx5MwmpmNU14hxzSbMpNgPOFzTAFsbhdDvj1avPnsrhjxpsNIp4w6RdtI+O/klgPR5+yLs1WO5KY6xniJW9PL9iDR3cf2QUPPv8V/7kdAESzBnHwB3lGA7tak73CAz2OUFSxtG9htz7bkAm7JTjrxAJtH79bl/tbauGVKf9DPmj1A6gtCJ3Vub2d7/Uk5ul1O+/ls1ZYsniyItwgiEXSYsB399OW/hTqE3u57vZAgPaLuL8ijsaOGM0srA9ujOYN8kUt4MM9C7PMuuyECndE4q/SzrgL3YQbJHLEopbNbCjAEcPwB9MQx9+sJDW33NPsvTklKqWB6ynKwQ+oF23Gtz7Qn4VLnBjUnt7bK/Wic++RVnAkc8FwnTjqwnCB4KLAgk4zGvcTHFSP6asvMLyIDa5K4stp2oz+yv3fH2Wf2cklmTESc3sSb2fMJrkDLbguxTX7BukEu1ni4ciSe6ZcTpjaPuB2MgTvwJJS5xkUl4THUKf+lOTOMYW0DGuO78iayWlgL5Nd6cJPjn9nYje55Kjmdddp+8aziiU9U4ZkCrJDHaqixnIR9McMymLaZvJ5JoSEk8a64feYC/P9WyO/h1E69L+pkcXuoaRpnxSpepd0sFK3Jva796xO2kQd3Uzf9dQoxylZBNqvJBR6fhQMuPieTKVov7glyup2eCA1vQEzs+31IFwrbNTEbqWjtdf6rc4syUYSFEbI1RZhnVd9yhykdHXd9sdqJpyp3gxkiRg6h2Ieabn3gw7c9KuaaXMHup9SSs3sBWBLCdgZe432G0WkjYukSV05ZXho162nXl0JvhErbzD3JnNuU9YS9zsXWb/rxoWjSFMYf4Bh1ckEcng2pYOhtcSkTMP9TvzhP9Uj6U3PGv8lgQE6ZNjDqcOLT0Mgh/uafLqHqsKc1Idf7ko5j1x1UV9AZOXpFx/nKJluHgkLgixrK80LIxfyxg/Tpjz7uTG3Zr/y6rey79VEDA7ClezrcXfWzl5TV/ypxNdMijw387K52EWhNe1CDbZKU26ZP6FyixErgiezrZm40d3uJk4EAhf+B+8kSgMf/YlNELMWflBUhQ8oO/j7FgBtFcZGhwIaXjkZaPlsqHSXYvIEbL+lgiiAeS8XYcg/jKGa6tK4yrcW2w84LGLRIJD2VdWBXD4xzRoRYnbE+klEBwug4NiTDXD0wr/l0tLpGxGWhYobtcNqhWjl41ti7gmAD3uGyt+4YGH8t5oyDU15VJxklB8ImYtPWcIRfbAkYTsQv5x3le6FKKjDg9c/FEA8SlezgXEyj+H+iwtJzclzdd8CdiZiRJ8kPMPY0vAj0BygcwkCwgNjjWBLK1eoREEqm3gAp9H4zTQMBGYzvh3s4JgbCbRUmCTLPf51IAjNpX913ZneGJmKJ8j416toa5lLukPG8/Rr8UyTjh/KkXSuUqWqYcysjz/zfuuzWntyjETPO8PUxFRYNashyGoKCadxE9YOFa2okVf8+N1lKZUp+L5yNhyPtaAeQN5uxlqi0/8r/si52No1VyibIy18/TK0MDgC0ADOr9Uw4d/bncrrkkceHJDGCKMvIFCoWmHM0cpl4P9g7jqpfmDXnhxM5W2sBNUGviU3zbIRjHjwVNnsQfydNFa2Wsnem9GdA6o21klhDgMBozfdxa+vvcdmifJpdtGUEM4ZQ5Qo05Hvh3cyq4lrAUmiufVeXMNGkR4oZ+CCwD33EOXSlktFRnPJ+lI3TaTlqZp010ydvxb2WvuTisTq/VFk25kA0eBrBjd8gVusBKaSHuzUytfDSyLrKRfal64fbeNzBu++qRnSUtZedv4KQ/CbLw9RHtg6t0hlOmpye5apHq6WrcKBO6Q6abu1gS1Tk4q5ZTV9qQ9qxZ0CPHCiBu/u7nH33pZXeBEJgYd8wsdKs/s3lQVit4dHOgEwJ1quQ4ITnAZRCs0ArafJPODPHz7+/3aZWgMK270KWN2c5OBO5p9N/bIeyjgZKkT8j5ZDGMVul1ATuKs6hNV9pnzDp37Q7kvk1R0cL9ISocYMwsCO7rK6H9an9xCfLUVH1o3eV619/LCBse6sud0JsplLZnjDzmzTXLVD77k3B9QfDMx+3//qkZWCR4nvVacBkONC9M3vRbOG9wInn4MQWKSBfw7f0w6VmFGbWati7/UUzIzyi239wnIoyE988WgR8ZnmgYm0q+kwfxTDG/gwc6FakOOTD8hDG40KzxXmNMepz/R2XplaMUD+jFtFk+pRwy4Npn4gM7V2FFSm173pJXooLmH/9pHZrAHMIn6lJ4a/iDO4rlUbgS9rGDqYh4c3Ox3xMwHKi9/BAUjF8nHskeqDXFtl0ct63eWposZAF2vumxKHbJZySX6k3OBPeDf9rAZUXnsbt8gj8ew17rUVZIennxbMD60nBP1fEO2MNQCPAoA+/D5nnFjILSzsjKPbifelNGr/2tpw7LL9cg1KB67RYZWuswTmv7jEaFwAhkjmyXv3bucyWM6O4vlwR/6A7+WcRQQvsWRDbea0mGmB8GK8b6LYvIjETrOunkIT1daNwWVm7Cl4On73rpqbnmJWsoAHJq7aP0KS+htZdEE2ne52BoWMSslPudQtChXCNvkreDAsBkOAbclUDsMRfa03hDrlGkhQgovrzoUqx/4OjnJ+5tasdSUOr6GA3jmil7b1LclrGl6pDbokSFSNGq8Im5MGIvqFsxVWJZ1f0Zgva36GyR1ZvipiWgkWUdd9OfWGdiDE15kGbRWywjwydYqYk3Q0CX0ay4ISY/t4Jd7XjDewIBoS+WGdaDM1xwp8PKWFhoCb/FV1ovj6T+jO9uoOeW2DTFsXMXcwdW7eYT20plyMBWCORUcjjxD+HC7fweU+8drNRpi/vK1EIsEq3hrW+Jz8/spMelvNIeXvS3xeaZwK3kZZkxFSTkCGqWaEdJTTPv/EUWgyV6hy6O7fK+j1JLqUHt7PcwtpWUe2VSzsSXKk8Zj8e1NRJ0P2goagYagTDwc/35jg3iNWbPQk2dL+MelLjrMT2fIb+joBeTmvhTuY8LuB+lgFDeYt3fh2VLWHxnDTrKno4UmXp9pYGpJDYjCMxpa9Y986Q442+E5tPppD40A4+tNmCVpeVbAG8cszQwXmSIsZ44NLONAgtv0AJEZFEYPn4Jsr54bfMVbmNodhZ8aNdKSiCH/9DvIcwycwzwENwsJJuwXkr9mDd2DT28jdPfxhwdNdeevjUJdRUnBIg7QireZUT/h8Sb6hl9vbaiaU54dOOyg2e90wKow9VR4388bKnM3lqKg3H+dQpLDtBJl9N+8t7JKwjR4C9svit1t6APjU3pkSaGS9AcOyibVj6QJWhhlMWL0o5KAgTIZhtjSasZcXl5iKyhENp7kWzb6FiSDPSzhOPB6I2oqWqrHZLH9CwJ70wpXXwLR7abrOgqik0agw2lZy4IOOdQiNGccNRbT21VdiEB95fupDA9sUPVuS2kYOo/zTboYSyfkCaVrD7RU+osX4Jcd+CXjAc4GQw9vDRtIQrNDrn2ZfKTBKgSN8QIAVb3EYcFbcxyTt3YucOWp+F7dMPh3npGsl+w+ylcGkQk8hrnbQjyLqZv12w+wF8u80gmrwuwPxTMKpL8mMpb47xohdyabhk1hrpq6beAaQGch3Ji5DA1cxfJi+3tHS0isFkcyPrN6fkOOTrKn3IGtiHXz4Z0ifLsRVvX2LmgtlZ3qp6R/Wu2nN5fCN/Azmy16ub9+62rceXVMXdVLkizylKuhF757Mui9kBDjFjXXLyj0L9XjH2O/HVQhEqnCDOGqOsRrHZD5JAUuvURmJSDMQGFRD/AzSyP/Y8vM3vnXEJr8sit85BXpc1xS5VgXdlC6GBtMBpSc+wvfGlQBxq64DNkDMsydUH0V0yErlogr+D8XLx2a2V8FeXm0TJMfrWxJCSEe6W2IrwVjMhYZQysfNR01I3jXDrHZCYGCLHjYjw/QNy4gWP8wyVvHQ/kpuaxRCX9+qDj9iTa/BPvFfEER+39c7KcMF22DL+hUKo4jge0//XbPya3vDBQKfaAZnGn9L11LbnGpgPUCnP1G3uaGCMiOIeZrLL+YVz120o81LQPfoQBUrLrFIJ5eqWB5IPGwGSoYFumiNHN25mKnygALd/WTIPNmi+FKIz6afyWM7xp8Z2tJ3OxWkO4m2KB0ufxiDNTA/GH/eMegUDvLZEiiZSjUpBc67aofNS3mtjbk/8Opw0PQnmdjg+VpvKjfHMSAHJvV+15ZNa+DuGZItDs8M+YlsnfD6s+wgrGpTLROUJhYyKTXPKom8Z2tRwt2yPdnJJRifrrwmRNXxxtP0SyGh1amBbcRtPbXT03mT5scOWjydcQ9+aGPKtYxvoeKMaDm6WpPjt3DjkW7p9aGFqca0CR6YtSyAKTNP4PHr/AXYhcM4MMitGQbjrKACq4d4L39F6ena5doKi55DFZ9eEK0o0AWFRPnF9pQwVFJZ3SjMr/9NSVZej3kauKYgjI5SBqE+aYXsqkmv6mWxOWUO6mucPFDXLkuRzq7+nZQA4yR+AOi9axE08cOkB6Hw23nP/IWzxdubrS4qvjZ6i/sC2IWq+i9DS2Rul3iGE2IYBppwADxRxeDLdc9wZz8PTF3NmkP+9WvMEjEjgwV+/bWsSZqyfll1arbDEXkfSwKxwnvcIFG0i2iYDOSep/Z5XnPNpR/ZLxcLzry5ppaZIDh5XGlzpZkLNTAELSX25XuSZPVWauVPXQgctly+kbK+SWvrSDA+UWR7G3DfwaFH5JDmnsqvQtse6gQH5o5IN95Kkv35adP+4w0Zom86pDZekUoeGUc/06x8DHDUzIAyf9RwUZcnvPyTbC/RGmOcTE4quY1cqvMPto6d78boWCbqUWhXkwBpgdvt5gAxgjTF35oXgl9j8zF2puUvlxABmAaG2Y1keN6o2x5C9yPB3dkXt7BPnFHsdpZSK1ime7GH0HjDBHkS5gWVJpKucF1ORWy+ps68TX6+mjlQSgo7JlztFdR3zDeraQrbiWuqYL5ii8mH8KjcfGuT2mJc4W2wXhLHvD0QyR+gDjOngZD0Imoo2VB+Xoq3t4O2b3HG2mlO3GxhlN0S8W7+U43KcMPV5IVlC2DJKSlfzzX/M4OqbjY4tntoMOMlAJAIvieXAEgQnZkbRqsEb+lKMwhQUw0PPdjt58Ev6JgpJXQtuK/UJ8y+Hva+dggvJdY1EKHxq4kWfM7LJrrcINcoozjKyrTwWaLuvGb6gu2bFJzc/nOROiOzIf+ttgBryyq1stM8ZjFkdJOClay/t4oHVyjpnlsIkFqyypMARLMq63CthhoyE1Ngboi68kH8S+/lNObAd/XlOMK2Eo03aApH67b4XQB67VT1miY0//wuC7IvH8XS114Nj2bDXQVSRYjZEF/70CdpCaLNRK4wlHmXZWgb6jvyoGHNDxr9ZIQ0tXcfhuFpeHu9Ja2v89I3Serx5jli/GutM8AVM0pALG0bgk4FJCV4TjwXDN5Ic7hhnIhZLLkND3hDcO83f35V0bJz0oKqlNIT/IqrUONERzj1IzkTu64/79p3U8gaBdh+3m7PObBytOnptpJ+Itfo+IKG6I4tjhXUL+oq+A8YXUPTzDXmXvvYi4lzyTrgyAP8tq+o1SxTpMQG82o9jnNhdto8eoLeIkTr6aL2/UuCOn51nO2CLSzBpWqrEPgj4tgbovB+YyfYn9TXp7Zh8Q4gUz78jxOk+IGjnjO9b4vRZ0mKtA0kawuPAgLrxC00uixOXLwZFFn78nkzWfkUvitPKeZepSZTjXLnBUzDWM4p/CpCiyxrnaG1gTQSZd8ASvMjMBd2lp7XtEtBFDDwo//9teTe62s6JdrAflEuGnyD2SzK/DO7cmVvi+e3ZXqlk2G/MmuLkf+G6oOlh0Q8mHFqZjXgWF7nAprPbcXq09mFaPAS/r9gc+4dZjcQWeS4Gvc20lMoWdbqLoIKHhMXMh994JrKtRO0dfm++9L8K9dY/kMClp83QtrAOiszupdYPKgzr6VurbwT23fkYdt1GWLeS9+zG3nUgIgOHwttxr6d2bIJ33uYJAOG/4IwJvoFebqLeVEzQVJNhLbu8fPZ1u9piWxHzRdwsXxJGKTsQ3b6GEQX8Im/LIwOfNO9QO0zhNK2Ytc5XLo0+nGiL0vETiuSL9q16MyXIs+kfKF4DHUpBQDg1wKpKDnF5AsvosPLV8/9RcluDhNIivpuKaLlni3VS3ZIP2mfYl+biv21VCtXdrGfKxvaQYAL8hb/rQD8veXrjYkTilDRHNAWF48p+XWyt4uGK3bK9W7pc47e7hHbHiiNY0wFelpAdARjgZqOkCLpRPL6/bKDevynX+KiDBxGwv9irUMdQ8him5vDHtlLhqyY0Uy1NdMJkCdardxv+4Yjkw70bRHxKVEL7N8/OjQC+GKT+mvTsvZhbcpId82bn5S+07a/2OO3+keOvpXv/YtEJGYlDSRAC2jWhPtH8Ib1kvcVd3pEWZyu2WygMvQX3gBSlMCcE341slheNog9NKB8zU7a+W0KuQNAP6wpbWPJtHmKKR5z94eO93RnCeQ6uv/5UzzYfHjli7X/XWdHPZPz/iauXrwt44zAujg3mmlUB4HQEz/lG/bY/TyIkhMVkanDbSteA/Oi8LQQB3qrwRA72j4nLeHbeoghcYMfxesaZz/3gFYgW8ftcO9L9GMJI2XYDc2/ILnOg7IRTVp4Xq7f6bOcTlkqciPGt4iK1e2DRWkDxcDyCDM63O8kBs/oPZpc7mOB6IoeRBR/t22sbCGuIiqF/r1ZnLJE0YNqYwX9dsGGZy2BJvOBxxuJukgRsIdseEsQkGaKl6jkaiz79p0M3eRRoHFR8SUxTXlzdXF+8Z9cZJeKIOXtGofJ2rRiK3bJ3QU9TNYqqT/uGImx50ZbaG4zqkUOhsPHFEwzS9KpXTVCmB/TBkaxFjjookU74EBVCyQLPFJIW68Wq7tnhbun8X/mB8dpqRKM+iH/AWZxbUwmPDOUrPaMpMS+1iidfjUc8UcKWcj/dcoFvZPzDx3H6tm1Mt5qS+O81AsrSXhStFqk4y45xoJwbdFhxv3GkRxhDw7JRHTjDihKa40FiSz6Aowih4Kswt63IlqoYECNz8IM5YAhzqMNXqcBo7Z1X4MAJD8KPrj1whpzRwllQnIcvK/5ngXtFTshMnhwtSmrlhnBp4M6eVxuxvO7AnZPbiIkuBTbj/rvb8jQtT/0EcAEZl1iydj+vnH2zKhTWDTEf1/PGYUSkYHV2T8d8j4EY+h0hPB3EqzwIDcvaZQw/8YLn1xc4E8OmAneY+DQSYfcQFXQLhOMRuaU4iFyCQH9bz025Dkw+10bqrxSu4+WNtFD4RDYWnNzPPX0iiS+lzwIKBfLZNUVzc73gGxyvHVTT3d2v4uaBhMsz8U09fwawXfQcecm5RbQUvnympvg1uxgJWTCx5Vu7Fkjsw3Qp1g3OxkA7ieUtRjE7N2efIAsetH/m1cIJ4i/4oJnvOJQtvHy4YdByibReyfHHr6DOZ8mnl732YcRP1QimCuhbMAU8rMjT860i5cqKaIW18WXCrXA1oGVsv9NRB8ROjSpj7urbkvbyZR+Z9FIEwEQ08exVKmm/KaeedaMwVf5AKO3n6xQ+VgyBFc0DWMpF+DrBkiOD8qi/3cDgu4HFYYSnEk9w2jlIJopXdQuVmkm8xmxIopoNfZjcHNtyae1QsOLi6czDL/d9RalXrA7gKJnQ0kA4BSHAlFTel0rOnBExe8WQ8/0mf1cH5Pd4avih4YnuBAo96J48APQOYfBSqNrjvofIr1RHaoJzG+1nWKfG8ixdKifk+4SVv4PCJqIObUtt1Lq950MUu9DBEPs45ryZTy160IyOgx0ty2A/ipId0Fal+YfY2buZ0LfFQ7jVrynzi+2ZVQNPNYQ5F3+t+beMBFznJFz6/74ztI20SPrxrEd8ENpMVzJkHrz5tTBpt3YmXqJTlwBQHTu9ZUftOPqSHEX/5YFv3hhLHYs5qWS15dgltK6LyvGrr3ORa6Fz/fburVG3+X1w7qgS0IEQ9i0N3hbvr6+Lo5N8746iYzF1CMm78O6q4fGTAMHccuENLXnmA+WsyGLtuRi5d+FJclj+YcsuuCEehdPIqy25Ef/vHj2d9dXRN0kRGOX+9vqBh4hj9eWS4Xw+zONtfbSfvBongCQhgAkHHcT4zHjC5lVP2vu5TMns1TABnweFQer9fyd7hMWXKiITn0bGei5h9+e0K5SePX2BVC/yUVTJcWu/E9awBgG21Xd/7JO9Aye6ajtee7imTk0MX8/UvkU8qNNvA06wWSAJzTTFsn8QBZgyWeBObwk6M86otl8cHeoFIXF52+hKwLYgACPrXggoe3v/gAPoNXsQzexdLJJhGS2MHAzIq6ZBJ5y/3cvyj810ogxBKy6qM0sFA1LiDZQCVmj1R7QK/sfgva5svGOWs9lVqrk23lC2zDJpgPt2GDE4RZFgCxskjj1yI3Iwa71m87zR80iexjeUuYoA5/qAJNQBmcE9wTQlI7xO00LsyLly0xoZpQ/LXfHVYf7xNbCFaVjyVvYmTfUAZIUOyVm2+bf0LFn4HnWc7aKlyFq/WSFLq/5zwMQ6opQl+d0mkjKT5n1hPEvEztv7ebLympZFdLJsGE07U82pH1QcxcEN7h/9R+pUBhdeoZIqc4Vom68y2jSBWJmP0CS2Ue8rpC9EfSbLjrOdeLyQElWNKlKnw1P9b4kV4eIWVu3cC6L0SCxt5xJOWbkt8D8RWj0NCP3OzMYrOCVaeGyCA+w3qBU0pq3UKM1H97euTPdp6iRHmSYy6EwsbHHH7th4NYHiiqy4KztZy5UBb7KmxAsd55f9bBJDkvOx1ikjnUxUp9w4dzV325Ym8QCA4vZwXmVuG5gUh2ncRZy6GHMwEZc9grtNSwBPBMUDS/+/0VbEdAd/vo3bJueXFKFCqaSNph0istvf9OOHvHsONOKNlbTO3fMXTtcmXzd2c/KwEl6odYKMTRq3wj2zkWAHO58aAq5XKrkGl21dRHfn1xoS7Vnlger6NpfDYi98GCYRZHSFzOYxaKTlxJ9qfc2sB5+d6x7Fl09a6hSZBiVKxDKvig+H0JhNkCz+px2g01+4fOD4TeFqWdP+MDchiCEBzkBtN3DQmOjM1suT4Q2h1hoK1JzUCFk2fqMVTsjEjXksPft+9mhpw/4RJBnE72RfCe8YIFE9H/2G+C/Rag3Cn8ParV0+llGHdtorpMhRxETLxLgDvKRC5brz4KVN71Iwl0sMjGpnxwHleDgV6AB8hiHAAzv903afb/keH3UHRS1kANSy6EFMdUC7JaUvKsl/BoBPyal5EqlWUolET7ef+r4zrjWh9MqaVWFaHFUOfbyA/MwQax+4mJPrGby7wdnA6gTImrsI7KYIMlbBjBLHW4FpMPz/C3gbnzwyc/J5T9TaQvPPndfxUD3T3IDhLLYSZEv7Qb8hUVrtAvTHine3PopIDiHOGuD5+zKIpBcc1qpq+/DIblq59bjjwpe93KCVHydtrteFJsmVp/z+iAfI6h4Av4hGYP3s5raV9fPlPYKQ4SgKqPdf1TdG/FgjUkIa/zKBnNotFMjbn50/84IP8iq+dn8IZwOALciq376XLE2ecLZSHoX5rRz98p6dbq5dU7O7FNPRXxLXvS8W43mpEaUUZbXmJq1XOxM/UerRe4HA4ag7lqanzWuUwu2Xzzp8ZBTxrxMHL+A789oA8vk37zEgBXwa5X7402HVCykeh5lkO+4wUSlekCV1RVf+XJoj98i3glYdSdQLX/l6PcnyQlOY9ec5fXBEiMcAWpyUEg/bkDjv+gOWAdGfV5tL1sS1dUXiHCD05Yguz1OtnNh/fdhCnFvjTdRhWs87o3mdrjLxc64ns+0/4F7XM/SDjcjYtXJUE9kiBhQUx+oMhejXkOUaryZ2D6Cy1/T6BYeef7fgUx39ON7dZOfNE3KtfuATnpaCcMeBvCn3+8oG1npiMRZ8g6cnTXW9K0ZGdgqFV5C0F0WkqFJnKwnGHVQZ5QbFFcb1GN5c/CUNXDwk2JRnb5YZd+7mX+G8K0dmPP3iJTQrbAsjFYduZEjd3NQK7vl6vv6cBzaqoKeLO0+Yt6uuKywBaEU9HsmRCYe5OR7NE7BnWUSJxf07eaUcEXXe4znknZtI5NloXoD3hJvolSLkfcw+UI/BV5KsnXPRo+5mXWnsv4bwTTa+Z5r6cEd0X5evewXQ618iwrlAfTAl9tMX9FFVVkYrJsPgO8r3SMQDEn4LRhiwn+zyvrU6QVhwS+cjkzK5tXK8Sz9osS3fpBQMHE9gUR9xlzl0okVxBPQRlIBkG0ClDAIYKYqZX46t6ijcE5kj+HamQC0gomzNzaZZ88HDjxt/7Q16oMUxO7uAtUdF4/8cLnmXT+2JB0FH8iOs7mjElGl3pOIVQpzb2mILJjeIWo0Pa4lkapeP0bUmS9K60DU3I4WYFobg+RndgUb0DTdDbf6mxP3KFVQVgkRF8bO2sVXX0GX+zLFlRpGjVN/51j1QF8OcbHL76ll4ijx63HwO+2YOMHRfoe2MVBV9+6ZSwKUfrFW96A+yyBDIQ5ncZvjc/YU+j8uX4q4bXSVHHO7Ru+m7rvsNz1Xnl6R18XX5uP5iiSpyj7ImdDpl3cf7TVZUwM+1w9GAb7+xQWjAzHgQi9j3pwNvA3HdvWXcKlZ9c0p8C5cIBFlpUT3HW5x/4/8Jwgq04RCjPiYDFhiy73RjsoyTXVbAw7HjbemWynLvm9ScHMG7tEoNQ/lkoL7jAUbyjX2bqPERh33NDxihX7k8ZLnlcx4ZhDLRuGhw/9qjSWFgFOEuAj1bekXIWFSUV6HQgMn1XtSJmqIkfw0KK9fFCYDzemyHhkPFHgzniqep8qbWmh9QpY1ccUBnGoomdXk1Gom5Xej6Qf/2w95VUQsDQwgB79FI08hfFDZppSR0b7N4pBVEZ2OTEFSVIjapdcW9IvigeBC2O7bdbFzhLTpGA3Jo4KEEfSz3w6awd6m1GIQtgoRQ3tQaPIZ7JNYpdWZXpGtTu11s+IqGJwtRX5KE7V6OtBD4RiejZ5mNSWUGvFrPC53mcGsNrod6cW0MKuUNorU1FZ6XAP4cRDuq/WkYUQaq+cwRpQ15bhuovg8BBXN1l3EaYiMeJVp5YKoLUxhJiQCUnCd8fksT77gNNxYSAVlnWoKXn1I+Mj0GOlV3Md8UN1wC+9JO+GUGArTezdUeKzFiYAXNBFmKhVMNdNnw1tsF//rld/JV8ZlWgGJ4SOgNPWME9hphSIeY36qQc50APZSvAWKDd5iyR5FzYUxz8J/0Tg5IxvBcW6C3qFaMFHA+q05fFuyeNA0TKzTD1dUejN5MAWDqDmvZnZ9AMPZW/P+gcjF0/QT4x2foYh2VTIEUM5J77GtV7A6Wi2rzZ2PxbHLORxHFicOFfI9Nz6oKcMAtmgCwaE4b5Lu/SlaWls+bLfojlRvRsPGwXOU57eeMV0mpmQpeFkkwYeDsoQN6ZqZ9DmMbP3M9uPcUlxAtK/uZmOYHdvHRIP1667WAHawLlHdNINBu4u9t2Q5A/ByMrj1JDVwHXuDN1bXN9u4XOn4dgyykGrpG8NAZpeSkeBbdzyzzay/mLn+m1UzuEqi9bMIPe3sMUj5hEr92oCrAUdtm+QOzx0yl8Drm44kul9W5TXF7FTNLm0omlXnw7dRueBXSfOSgwyjZ1iHZquVkG/Zba0GaGX/vyg0KZUWSCPdQYaPaR/s2/RHgCwaEAzDjuZRZffPjsDwmwanhIe33v/QUPHHack3pP0vc37ePq4O3lT2yMq8wGIYGKWpcw+rxr22s+wIy/P/Or2fByjGX2oupv1bEzrH6/12mf4Dezvrh7EQYUrtyxw9vFpEOO8lCM/gFjrThUNrPjIYvgTK9krcXM6pBlmyE2ST8rxO+qDLuc+dIQpwHQceGOD3bHRU4xYRvGdZags6kLnImEIcsBVoWF25+MtixivG3HoaJ1gVXW0GahaCki+jCNDtyNRuzoJz2ta3rauEw0MN1n3jQI/Flgu/7BkW4aPw2NrJVh/i1j7FsfzflyzbzXF0LiR+FKsn7Ek9wLM6+nt3GO5ltlNeZWo4+kj5hjz+F+3J9XuRzVV8qt0xs3PIIGpFT5JDixm+M+XMxlOjiSkFP695nPQ3oNuv/7o3+N/2HMfjZcQkPeMipqP41ShtNd/pjFbMdOyky1/ZcVQLMoJ6n02lhwLUCMt5DbSRvS/WcDKUYvEr4kU5VPAdoV0/a9o4k9/Y7I6ltOHN8/G0t1Rzq5NamVBvUtlHxWBywXKx5we+puNdrkCOfM+qN3jHRQVepHTJoGdoLM3WHIZdgqsRub24Vp2gdDt1oELuE48UGAJOtwdLQtnHmSsVcGLDQOipy18Bs9gyMOge+Ya5fz8vZoFe6PdIeyADrZm56mQ1eFfxtZY/cBzNCoxsLwUgXkXYuMUz2uXFjrJDFH7zhRwjqO4qqWyBI4pFSskjjHqi8VF3E0XBRPDQl/pQ7jq9EQabed5eOSvgYVZ4e5wTZaNZggQGFAPpcuf4Cb5guoIdh32T1fs1FZA4QmkHM/qJiFqwr9ETlb66KA0kSD8XFEUZt28awi/Jg/qDHrU7y1irhAPKej4SHkQAkYDIz2TyonBiMiW9JqZRBwqapdiLUGV7fXdet9+D9EomTuHoHA8lTZ46XcSfhgqTN9j4NjuEAozCRpfBTH/ny5qulscwcJkXc7y9cemPOldGoYP6INClP3c1NRaYSn2QK2zPGIR9qlckW7PzPTv7YnN06RDy+P9ntQI5p5ZTpaluRuDBlQdPlR2DR00Td7TQRd1vZz/M2avQwk2oro3CzxkWthodNGLgDHPZM5g4GtL0isi5TFhZL/LECrZ4kbU1LgtKOYJpU7GbPbg9rd9uoEnotPYAHXMMEBRJSxZZhtv4xVpWVFS3F7tURJJZLqaIBZxaxKG3dz4uWU2ZAb7UR6sPB9IqBV/otL/kPHDES3WZQRj6GtKVoogldyPzECFnfhwuzOyCQ8dLsrNuWYOnqG/qeejFOaEt6vmDYKLSt9Xhmf66w0sqHhmZi0E/gDBci9Ej2zwnK4trfbEb/yeqVcXdcPUjoNjQqEZkAA7q3PWAQ63z4+lsHvIWxWfJNDihNuvzFC4nrwGj7bXvc9vCrvTGbHlYxWhr8Ie2RU+oC3k2md2BukC1GuF13TEMS9uaEq3YR6cZIldkxsCiZaEKo0NCkC0eIVY71SgreSiDG5g4qXfPOCoIsHkvtLVfIOGDskSc6QJd3a2d8JGzwvvsRirDd+uXDHFVxTD/6vQVj6doee+aC1XqGZHiOFVg+PknYebvnz6F1oTm7kVYIoy3TgfvvivAwHKCHNTlGsThFoRRxjnW1tBpBz/fL5A67NLpfj27gWp8N2Bk9ali//YWI9y3PRU/aUZrthJgqX1opmpwDM5KhqNC2nqd2puHIEW2kjJQGsl/P3UbrAZVhbLZy029z4UN/1xPq9skuAwxjjez6E3Q1nkt/S78J6N7LP4TO4FVg0Iy9MSxqUJVOA9LJctBNtf5Ncn7tHCUvLPY4eIrvpAWRi0Fji0IKpnxoYUlx6GYs/prz/WBjAr9v/4Z7IqZ9U3zB7b4bAPLO9961AIFd2hvOzJvZ2G0ifNoGxQFH7nfg1j7FflnQ5CCnbuiAdco16b+oTFxov0ECcf1CwhCuH0UsvwZNJ7Fj1l+yeZhsF5Wlxf+m9DkeAkmt5GsNH0lduf9cEAICHgMnu2Q2+R4jcItR95gczpK9Sco5LsXA73ZPWFALwXSDFsVjMsV3yx+xHi8i7O2dnFzsIDEx2DKIegBpjiMoajn7TXifPXMUe5uAz+87soK9Ebj7/NofiZqrKrZtnCtsoIN325trjeNSZehcgC5N5MKc6iEM7Cu1yRtFpqB6n7GcPXlGe2ipa0+FddJ75DLzj6qY8bcYqoqGY9W4Nhg3kxRRUU904E+JTE9yWt/LZolBCXlPn/AGIHvBEpjqTZO2Cc9Q1uIPxohelz1BAMqQ5AZ2OdrmjzxTyvZf/A3iLbEf2zo3fS7Dikn3w4iFKXQfkeaGy2saGhsK3O6AAxv5vhR6/GAn6YOzW7BiXADflYfpXJbNAc+RyCCHyczfVG8aNeL51mqT18o2J2hsapKXaUNpzLStnD3bBrIdeBxgO70fERzwgcjrOulx3U6OfWn/IqI8ZU3xkMmIVoDEKzPx6axuCjFw9pItlOgV/bzWJTCUxm7sbO4rQw0e49kEiu9NeBvLgYTkSul9N4RgB2p1jPlOHHLH6LX6Bjv86+lY7EPxOUhpRcJonGGbp72YiRUmruyUEcTYRKNeRRw1W51j8/3pGBjNuYK7kg5MnYIqBkEG0onshdT5wxaLe4SP6fcOoa9PzPz2CWCVYY5p39auerjuf/kefFTQCkK0+PVRpNmy71c8M5caQFNohDM/gULGPcInVccEwbNpVbT18biASIDoiTZpKto5Blzshi0aN1q3j32r/T7+ZTTlyanY8p17mTcNuNeDYWyBeZm1xsjfqcCkOPcqrSNqrN49mpz7T1/MH7PYAk/KXTRAJBFefBX1avZKK+dRLoI48BvtGYEpj8dIUWWAyR+bxmEd8wF1YjDAIjL6qs8yracTn/qfKlNY7SQ6OFenNa4rYDrZmT4k+4uqBxdHJTgZkDVMURx7ZsWo/+yhXTH3TyyhWOY3iRpzOvD3awx+mMwiTxh3qXXp0l+rAl5sZxEJgVuCgMdofUSBK5LIT1lPGeYav+WaWoxrcA4iEH8vITrDXMxwT8MEc+6QTnFh+c30b3VxpyMfgQPbY9oW+YuG0O08kA43KPnE4XVss5GI+7Q9N1FCa4X3DqzSIPjGUcO1W0EndcNvhxhxk1feiaKKS/pXrEeNXyNgAyhmGo9ch0rj5hECKACuhEcXX0YFhyncQn6TXYR0wiGAS/H0/DF6EQKnD1CNa4sz4YYzwC/SWBEEVXy5R0zAShXrI5ireqo3rJ1SZ+CevX8FBBXw4EmNSuLE6UZQARKpfwQ4PI++K66xONdWps4H1NUS1bRGXwPtmChVvaQkajztFPItcHH0Awc35uFQTyCqzvHm/0C3Q4gjhOPR1bUb0RvUmLcGNifaO74eUryFY4TbVrBRiDbLFumZpiQnNPI3OLYjF94j7rtJbVMC/J5Q6gDaymC8MAF6b9A/QvKgSOPUjgzrGh7dAWasVqvgc1SdwNebVkMaxYmQyWasfNyDOdstGLz18Dl0Hd1YiCOQIOBZO4hcQNni2V9cn7dFAlvfoLtK2Vr9Nz6k1prQG+KdXEKWIIJhLZHc7ww4DZpNb2zhzC6Y+Sm9jg4S1wv6WY7jdqY5F9x/7K5geiDgQuOuGOecWoqbsSqCz8ShTiFZ14W+r5BmfwsKH68LpZDSRbnPkDzmQTmFOuvqOHHDHs9ZBQml7mObSfvWhjIpxVPJK2b7kgq6K7bYTjV0bA2dJqo1c5q8CnSWI5BOfM89HHTv3geIq44VBjz4tYOrDP4hunmBcsSvcFu01xNA0KMgfgQ0toTwxAlMeeVUZkhTMmtV0IZiFsUACvz0Bvh1EEFsiYjzrDHSr5Xf8oLzpGXiaxdNGYJLRcjXkc0iaPs4JyqKgDLVvFk1LPzKitYFgpxsn/gnmpgqZLpWnkxZf97vUkLJAfxhiNDGDlJnHRU1sIFSrDKnqd2bwQX0F875m1n870eBOWv0IbHWWVOJj8J7ssZMyjS04tGeRMPcWUBKX32O17d+hHgsAfQt8/OHCnDjKO1rkx2J/nV9Fvht2GdtIFmnpVCFqYcBY1dX1rQ9GTntmTlNRcv5iGJSu+aARM0iBAQF+V1wCXezhmbNHrZnt/VNiNFxKRrDDjtPX9fCgEE3Eju5rp2fMp/hwenwYEG6OiW7hiwPJQ+0/nfD3rxCVQITUVL5KJ91k/9KNXJ2UZQ7jq06SeN1CyDrxnOo72i66voAGZ5gJ8Y4tNFPQ7eFqRE6uHMxHv6CPVyo8BWckTvst3CGrBj8D82B1ARWF63Y1yQ3lE2ay7KmUXM75bpX71INjXDhFQpjczjyPwtcnv5RcngfvDAuDhJXMRb10cBT9+Q1HqymJqGFuyvXsosc8rDCnskXT0PZLz0PPybadGhHnLUgwKPHtxinWUqn80skL8B9SEzS/QUIREhth4kT8dj609+9BiY1OdfYnT0u/QRGqn7jY4ciLU2SGlxZRpihe7nFuH8drW6Kxvsh51Q61RILzTPiz/H5yz/U57nzexlnFurWDKV5yqaDLvRS2du+tLKerTP0UdtQnfIC/mloOJ0keZyPoEpXAx0Aag5LDRUo8t3Kz6SyQhGvqnOxzt5W0XDt4g9qN+UeWO/F+ozXVeWtwo4Adgyq+vV98ujG/5Tqm2ZBZA6koZ6lbjOGhu3Fmk6g1Lu6L/pqi8gu3hJ4bL35/vWhGa9XMWHfwBhelhRY7x1rP58dmsjTHvoHsdqqMnO2jeNLAfVccfVHQkJNgAEFu1DO72jZPgTx1wCBcbNUsl+ErZMSwGCBpXnXMycc/36GIkpQjJruNvpyvSLRxnrB24n6GXUVV1RuZ/6MKfowziCD2mEbXE7Xub5nlDS2c9qtkvFdxqW03hlI9GyfcsID+TZv4NRdI2fzQEr7YhCNLduTsXKaMkeY4jIgjQhYtOuGwHGhAo8pA9uaE9o0hBQpYLarZzkdbKYsaCBTj1hBFxOMoAP+rPS0HLlI6VEUAChd8l4InmtvuseGVcFDqVlkJ8YLF6nAg7ROuKv6gO3kcCD/86FgrYJekMBlFyKrPP5ZnJrQ5mZmoKJd5wJBjrX1BWNfGDcispGtVBruxj7Bf/h31oq07enkkCRO5V8DDYSh6DyAk/LMfgJqOLPRNPWzJbozdvVt8sASbQZvt/YdTb2y8p7jSNzA8WjKx0afttp0pcWzaF9YSSGIROxBm0ss294roMhLKn4slX+yuTbrnxJiBG40CZVpzmuvQHAP7i+hqTk/x7JDFkT6zAtKeAUqc0/eg1RfhSI2ZTCpCdtCbQJdrk5ucEnvVmAzyRamNkSmJQYT2qHWw89Xg8Ynq3S+sTBtfA6DJY592eLxHe8v+RdWGfJHAMLcujvOO6DAKroSC54jWyAQUBzM4WH7m0I8rk/ffP00WNvI2TKgie8qUyWxvq2jNuIYNTTOQqmKo2dsYsGlV8KXSHEGzlvhAUkF3FUCq2hBs5h/K5fm49Uny5PT9dbrdZ6En0CP/vTKBVkfJPHMnYMphY987jw9wyGy4vOiABu2kB4w1pG5mLJXHWs024ay/9okrtEMpHMfZ51/q1OfbTit8ofV3txCvOYz24H6m/nUkkdX31yGfvx/tMbX4TBEnfEnQCzmB3kAMfZtjZFOI/s/XGke8GK9bvz6v7sHWfUaEEaGqNCl8b6ZWJpsdX0xt+PxnaLOUetNzpBPc321IoYefNKtqiUyY7yfPvgI8VLFmuAE44bTTBjNdZ7qvt6GmqdwXQDjI7vKKZ6jSZOaNk7mrqWDNNGdACs3T5t7TsRMO5MEx7jLa2/vwQN9su31dHw8H29UJ5KDiC+cXQfYqipWW6UF4XXDzWFCI0MB+175U+nWt4yuAuCL7Km+O45X8UGeUvMPl/l/fUaxrxhpZsaxDZbIUBOqup6Br0a9agpLJx1LspRPsvHhRD3W5bTf9eHT8Y5Sp7FBQbfei0BrT6VqEUddOJximCtWGdD+/GRWJ4IBRhhcrKHA6pP1U0LJZiJjl+Um3PrEtjkxoQhs8IccfsFTesM3zIQ4hqd1z1x6g3UoAlAC31FQOeA5DiZaLSB7UbwQdMLahsHqa/qAZkRpCRA8U3ULKBZPrsYq4I0JSuN3idY4c6lS4bmJNdpU0F43VW0M7YN7Ub4k/B3g2uMVFEljvR36Q08pI8bL16Uuz9211BZ9lY1rwfaf7FUjILTO0jL3u5BAjeISkDgmKJ80t01azZh8B/KKP8cn85NAWi3ZuroJWrqIkB/ckopqRLs6YGeP0ICpSFJ+DPq5pNVM2BcwmEHZVTvaj6H1yDKipay2NC2piPmi3EdJGrLpf44pVxfum08sxnnu/7R5O6uyTz+Y+rAEnCmzZLc5BlalYzJSoisk81YnugfVyZQULSHQjCHCWpi72LcZ0XP98eIdRCgBPZywdWn9x1g5Ue3keeqnKRN9eFhfyUxT3ELBlcVWtQyXE2RvbERFNIPAsLMsyAwXU29IaP2R6zwSXb8ypH4+AA9Fw3FZnYHb7XT+1MWhYoll105m2Nj59/Wla6O/XS8r36sRYzVpFoGZ2t9yyi49jrZWdYlwJfZ0AI27iJzvxEIXTvD+Db32QUgt2ORE4TRPnbulBDNmI3Thzb46s2DyRtsHs0xVWljpLBSeeyz55c2XVy0FN3uDlSPKy3DRtTmzw4U1j8H/nFHHJMpqzsTIMBw+a39wgmGN6k+I6g3mGKnPFxXi79FFgjwoowyzB3388KCZgPh2brFOgLrjxOJ4DDo2IoiR3XYs7JpX+q4H6AQedIatMQMQ1Mj1zkIn1i0pzsyteCPz7a06KdE1Y8g6+J8hh1b1tQAq7hlhuKjGdwqUUNg7GZYOc4Hw6X8YAKKjD/VvhT0gYFS5j5p/SLwy7WRI/xQFo126IS4n3OB8f9STGh+XV3GCvzdXOPzg1oMBqy5Cyu6YXJPuslE550HJAwDdVSIwkKnnS41UXsWXkiRV0jeh1ifd/EiJtvQWzz2q9WJw8VLF7+ybaeff5zkYIL6zXpo7PIAtvc70Lp16E98WqW60vBySwuIedw9CReorxPR3kOTqCvtr+8URz8Wa+O1eblzU4t8XLc2blTVMbO8CVuUtBkSo9DrHOPGrAuYhGYZ+cv6cde2E48RCDkp0ljUArNES4Dv95QyvNCrJWsQD+lePc7U2lvPx5ywdvRpHgi1IUSyTJQKPGRw8XJuHWwOlY/+8H6AsaSwj0Z1dBQJ+3+Xp4VpRH7E5bofcBLRF0FG1t7JKiDAuLAZHSsMGVwFojUE51bMQSswNpEPatOSNgDtkC3bUuK8NIW9BtiI7d5dR4JkGbqFswwgOmHCCuVT3wLw2qtATMrPLSdEc6gzWUAZW99Dsi6Eyv8AoUjfZU53DkxrN2JnAZjplMNxW/t8Ukh4li7XMB7WyBTAQgJOqkQtq+lpvWkVzvf3/LyQD6baJJAJhjbrLjruGjE/q3yF5Am7EyO6YVCvic8nkqHU01Kk126unbbZhr2Emrg2K0YeWZK1ArtvsnQa2CgKsUqrvROvM2D9tV1rHjV+ziyVkBjbQIibsBeU3sxA3PpLsM0hqmIs051peUg24Dx2Rv4VQ3BxJRNGAKlcBaXqSZFUKAkBt9kpguf1KmP1IRM8X8RLKmJgm0t5vU0n5wnjcKwmZeHWAQ1RanT3zQjxzlOIaP6MCDvGYe1eA78qiU0L/MnxhAbaNC4lvTfV6HEmb7J7cWxNCOkM72pmoN6K3i168Xr1FcJrmAkSMHgvXe70K35Rnoq9vET0YcAx1hjw1B/O+1rJvdXsx5NQs1gRw4LqudRzWKRoirAEVV06rk9gDuKIHQ25apNS2SAtlEVAlxDOG5zJHs/94UbVlw0bSscEOorskNL5V79IqJYB2hvzr6De2WjBoJ6G/7pvC6ulkVJnUCsfr2bqVUjWUwYPThDohqt9qMXtTa0498uHD5f6y8z0YohOE4kBtGPsm0W6XKPUM+3PS1c5s1c3TXwX16b5myLoj21BVH9+qzQO6tmAht6673Tm9Xo7W6OXoCbsihTcuV4DjvWgfy+OQlY94ykABE+tmDlNd3pMFKt62Za6W4iAvxKObvzPpbD7aP1QHcOQ5aph8/Fa5ONWu6nbye5IA/nACuzRi9LOQzCAn/CKo0F4nPSXGGysUtoyMwTCZf08hCc3oI8ptCrkydgVygh5wP69xnnf1khf1pgMqw5LKWh61IjtiYGgDxhrgkYaOcFrLQckBHkQ2IQii7F9Cd5PAekRuEOiCFytc5dL+8oRoWNodiAg8OAMveUB0RNb4FUzrKs/2HzjVxM4AnF+avuRwsPlypKsVWByejV2H7SiDYkkGO0g3Bc6m1d1r/43I9fojT2w6lSg9Rdjsu/C4oNaXDl+Rh61bZxaeY6XVspbDgdC5leP7AzxUMXb4ODplxTr+ERSMuw/eTW9jh5XxozCY9R70X14jXeYOPMuRGQaZ18kGmKFXCZfw2/BLPHzbdOwkoESpt15thquFk0pMGxGVcWjHWn0eWxZ6WrEoFHdOCr6Gby8QwlY7uDde7RiKsU+gg9Rzd1V8tFA8rI0drZpEnyTOkpqrcVUzgZ7G9oH24qGcdUOXmGL0A5NHpC47EUJKTnujL19g/8M212aFye9DTSvSethwff9fQa+7o3up685PhzaS/u8mWl2MAFruu4j/h/upnt1Y15xmGVuXwFlQA5n7h1EOBkea1K2wCwZttVB0WvvWJiJbIdQqX1QHBoKw9hN9qdONYvNbhxNdO8w+Y5+PAJi05ZIFK2NkJTzU414NYldT7nWXstLjEvbA7GRA119+rNCQs65q7N1A1FtItX8XXRHlY3o5NqIzLOL4X/kGj3JtsBsr9TtizOax4Dkke1SCmUR32iRcfa2cV6nrKPXk9HsFuGyFAe4FeAxZRfSFtW55WJolrxK0eeieN65Ozn4S2fJcAp9o/G2XFviboEKQ59Lz4n0/X+iNBbzfq18NLEaV0uFrBbkFZYN94R6AbC7ZV8qGfxD38JO3Og5Pf7P+nf2DujYGe6p/AAJ8r8NVKNEtmSUeXikF7LMAVyleDvaJRvMO0jtArE70z/2gE0Yaq9rfYYvaacDk2usEkCghqwsCdG9ba0yywZ7iA/4JyhY76TMwlZaaKe8f18t47UtYw0WgdArEyu6dvrKFYv648ECAy0uCd5WzBa8jQEZtfLwi0BlSSl2ChI6LGZe/yp6W8LcnCF5ms23bOYOTAB1y8bN16nmlUWNqBBq9fw5MMX57vfyHnJvWNnwuR00s2I+U3PfJOBFIl5fEvgT3m3q/ZRA5u64JaP/A1Cb9dSN5xPtVQRXjDXM8LhU17ov+YfvPep97C41hxNLXROvtVKrMYjAmXETzHKbYJKk5LWzrYYXkIf01z8M5s8o6gLkL0YMLcbCXLVjUPi3s1b/rdcre/luQHhGRbirj0Dk02oiAac/1AUGwEEQ3PFC6YUQCYuYaf2P4e+wxG9OA5YpqA6imClale5CBDA+kdihxLCeWcmj5i959oioGCErxAO+vP/Wuq9MTa8p5czzGhJ/NgDbkirdqyynYqKwXKCG02UThpyOUyrEG0axaI6fiqzoXgK+UYaP8Px2nNChL6irqizElcW71WjrDcP/hEBpRcSVCbfTHh23AxDDdNSWuGu+A2MxfvvQgTanmFa9TsfbjOF2DR7o33NKAibJK112X08e6nuYGxbrcGC8pnmtyyFg2G9yrLNaBCON41+qQhwAoWbpzm0g920v5Yut6QrfzDSDJZKyJTVqFVl/xbTNUoQYngDPpZYuswxHqW7a8j6ccB+azP+o7NcRh4AvTKFtwHetvRJ3v+PDpHOkUidByrr00siWk2nYg+XGZxXyP9fgzZf/H7bII3og56aT6vbhznIrxb4rU0gbXNd0zywZva6jAxjUE/+YnNQjZUTQeAMWhfXB336M85wKcAk3V7DnaK5Y7oDodspNfgrhrhLxO5QAWchGLMBU6GHgdIIpS2kt8ZHUTe87KG99BwoROX8RBmpuLqC2qUtC0TZiS3Ofh96h3pK8Lzg2YP/w2LZVE6VqRMiXJFLTCS3GHlodPNtpzyWPi7ucSYl0aPcXAxwQGSTAQOMRzSntvkHUZqqzmBeYFld5ANiJ5DdRDo5IaGs/Tr5q9ZTgE+yvyG5O6+81FwKmVerKqpeupcfHzdepNTd3tnez22ssL0Uvnkdcr5soVm/Xvr8PxzBGIecWGwyy/A29ldVjhn1tDH0f2T/OXjGa46wHhyZFOvPnLlHvHvBCzbtyY/8D7C0dNTh141zF/UBI07e2WMMuMbw0To2VXUaWJ2FqDoUijiFIO8YbbQ+T9sv52JQcpH/SEnHO8yoTuvASq3eHTNPEYzdke9HJ0ekGTii8jS/KZ25ezg09cjti7JHOzOLWNvohZB4EmLvI2KO2/Ts5IRALYhudONOa1nVB5La3txaYj1Vb6m03k22vP7Ommbo7IlAtv8w+QR7BszK7ZSf1cD/wX98m/sU6ZjpoPN+n/nFwwIdrK3fmrgYThg3mgttxQ3CUAku2cmkEFrmVZE+Up3DFijhkygGydcUsFGaOiBGFGKR5RyEK/pHbTSQlZh6R2YUA9zagxmCkkXnVQp9KWDfc/IVTEXkXivB/Kqv6Lbst8mxBU+xG/ZjPpl9JC3ojYpJhQm4RO9SA/ulNIcrHmJh29u/ElnDTmLyVvcnCQZvlxlCHoxScy7iMdG7juu77cFdhQ2YvmXTfWNtq0UvEo0fH6ICI16HANLbWlENc7mfEJ05gcyWmU5dp34sz9w7fMu1V8V9Zlcvz86+o3JfagnJHer17cV7hIutBEekzxIYTaMvAecra+slmctUZRnqBzQfUKG0Keur4TXq28n1nzhdUxtpT7H5AEs0At37MYOIeVfHzUd0IrnU+PURkLXB00zQ3O7cnXHfuI/wORIsnqSNJk+WfEDd2oKnTsh2H8u5GTLuEEdVRFMcMlGjZ8cKlDC0pJ1oScO9MuGrJt9jng9EqdSTjO4xbuEIsFKme3Ze3uGmv5Q8kwRUuO1I9/TlwNwmqaJavm75QheZhTpD8BOWXR5B6dX0G72rmR2sJb6AufRFxG3s6ZH3fbHxJnPPG/lfzIU+CxbhlurcG2AUSp+vnJ7sbhOK1nZIryj0BcKvs4O6LVR8zChlSDdkwg/87Lrv/xL43aCtlaxtidi2OE28plj7bFW0r08vpNwNePBzQccgEimePDMu8knGMWnnuH3skZF3FNt9y7zvHHGeEgjOwewWwakL5AGPlDTeY52fdxk4N06JxyKrByqGZysxmlxkESFiNK1Hcjd+Ig0npnY6E25AKMa/ZzAH7vZKxK3VrDeEhtb25CxT92WEQddtYPslQB4rx4qyet/hc8bfEsksJPE/Qv0IR7f5U+aorpU45VIOheELG9DEsRs2dViOjWsht5g7VQG0dYXq4n3zT+xgdThaN5xtKnU70r/zqqKte5d/bzpyzq67FszevzkWKGa663EyNqL3IAqIchhgyYi1Dk5GwXYebF9w6sbRoaKkpQOGspOmxrJ4Ru1lvAsi6LILjR29nwZyzr7lQ92SeH6EapzDFkgG/lbKNKOFC0FbYUm/28zckGG1iV8Ws323XhF7MvYKpkS3gnQ+nHxpeSD0GLEV9XtQTCEZQ9GP5XMQTaYD/P6XNY4LOIbsC5Eop6aXlS2ReUbj8z+JRnyvJ9SjsnAraJy4AfdRgWtTryhDDmZE9p90F+Qhy3WMrHuCZVIt0Tru4/Syia/chlFPLCWlNH77QcbhQ2CL4NGoJjkbw2YlkVcByh1yTNUaUHrt4TFPjPoo1iwW1ZnqDRpy5cnDdZBjXL5LQbOqt0TrNDs+d5JxqJ9kRs1q1+paqppUsWFS3zYbNjPH3j+tF0PrV1AQdvjtE7zbkL1LIsEZpN4JEDB3PsJlTP3HnC2PEam3ruydcA8EYhneFpnjbs/oFd0CWTepKLUes+Sgd0NIRrYFD2pXTNAolln8s+BFfjInRSciAusgVajtT8Dn/5Bn6kvCa82LYhW62tTUZN3hZ5CaesnmG2o0FjkbbxGB5Knrqe9W5K4EjNaWdNLEk719vjq1nMZLpfND5g9KFkGqIHhwKtYlxQCysRMhvO3YLje6HH3wH8K+VeVon699Ty9kM3oTPpWM34Jmu7qoGNaaq64/k3PuGMTB6Nb48RD03M1gWlbwmMCQCH4TZAly5/EIz37ZLmIk0C5to0EfDLUE46+YkLKEZ9GvYVfqEHI6qo5fA4z6bKJYql4wAkihu7WuAplmQASeJg4Rkm9qm4Dm9eGbpXN/wKKkJH02ViPBhgPEQDdmZDkS/AVTGwLTYntM13Ve/6rHNQKg1NM+07mmcVBwr3WkMHWwhUFQkHlGYBvOQcn/heafOkhmFjwMfc4aC+xExVyaYGs/c29ziNEjQZoMyeUxkTi+mOJnYyxT8i9ARl7ZLmd2/Es/eDgNSUS+CgwrxIE1GJqcIOVz5JThhm/tkgHujIJgSUKJg5MKWK9Vapgke7HmLn11PWrK0HQmtzKXatZDnRcF6IH0aS/RuFvP/KZnNRMVpcCKyc1AbFQk6dGuFdULcmM6z0oCVVerXCoLTHJQMKknXWNcuLvFnjXGD+Y8jA3LfbdhdvTc3Lzj3lhd76b3TrQ7PUfplKmvYMfn+1eMWho7A8P7uKdim+3JTRBMilAigS6CUo4GSB3sUa+vf1ir5pVF6Oo3Lx3vdof/8iLySkMSW7pjayiz8SgFa8bVvnOMfwFAtnY6J3wDfsU8slirg0fM5uJjKYH88UoDNOH7r50dSzLcY3cAz/tLLdRu06+L8ws9zVNRRSGsx39QmiP5aIOyYheWZhIZQE2B2fanVJPXxU+KGN0VuJZgp/bpnYg1BmC0x9Q27Zqude3xugChiT/J196B0WL73oXqD9rL6qzZQVxoCcPsrbux082c5gap0yXDGUO/PUU+UEXRfw881jrvl9wcwUyuMehv/I8YfIrL41AKmDnaDrAx7u19+9plv9iq6mFgdbAB7JDV7W4JwFcbbpvdMXYoHNIc2Z4eM2D601BoIBxQx2RA/o+do3gtHLMydUW09vE6CkIvllQPjHHKDnSF7/T9jWBr2nofAtYye8kzxqYJkJC1zUbpARMA7vbzbl45EeUnt5EYAUFTHOput4t/To/UwV+LwBygE27FLWRum9jVEONScokBuoow+bvDUjLrP8fwqcg7+/sAR/bHYj/xtUrjDGBxVGllRBSRPtlJubKFNu0fkXAN3tSmBWxSPftRE5O+BONyz0LLIQG+p4IWdWpkqC/ct5f3S1iPsF8OXatMnpsG6DLIrnd1F5yxNCMLoegNAurOa3xHLPmKtb+PJ/izyWJpeh0NdZWv7f/Jy6HDnXqHtwi7GkEONee5VIduGoeWpJmeCTUDM0fDnK7/70H9XeilqNuXtXXAAWXIKBBmMdRuWS7kZqYIn1/h/tDvELFsBummvW3F07XANfWYUuowfJn4JuO6nyl65fHh+94mFh7Pim03BuoYpCf6Ly7YSa7psN/NEIveeQXZCNldSu3LkuiJVcsj2YTa6xs1Qj2wWnRfYBtGz6+JSycKJ9Yz+4EjQ3lmlvPdXsPFyu8mSNsMYt8SU5PSv7nWTzRdf+adLIhYxiU5/IPOnzIv9etGOPSR41yNZxyirwtnVOxqzrXl19oW4OSx3mQDydONIJVIRNxyjn4FrxfRaFPj9HvdJ2a+fImmLFUoAky41sVWWMY3ewPLepdNr7a5exwF65V/GAwqkF9VDmq/YjWxB89uKQMfQpXNPCNHjCCaiPBWlFopbdfe3HsQ++gD+CpUpvts32jl+Qo9Vb56o8Xg1/v+GMX2q8ILllILQSM2DGp2FCp8TKK1FA3pDxZhd0qBTlz3/LfCHe9tkrCwWDWogYkyIAhVWudBYpHw52o7awwdW7af1sHP5ChKoTNpAJkl8yCt9Mp51SZ+05sEuy8tk8Werxf2WsJlNR7kov/8eg58aWpDYNDFMQK7e+2tzgvozYL3mbcavWy8FJq8lYgqi46UMEKiAIUplM55nC8dzqwLvoH8fJcNak8TgljSsdCRRYwYZAGBNFqTY3tKfawfZ48KGFPlX0uuegIgK0uY8UX06SrnUtyRCCz+6vPYuW759r+ai1G9SNgMVY6mZJ5VZGSnQDW/yUF0k6v/qu9zW0fgwi0XeS248LSrbO+RbBQY3ggWjRZls/cFVRySi2DO6cqx3fDMBXFXT6PPXkEPYOjVV97A2bhmsRmTfjxML06CHmXD6zovyh6rY6woZqQEdfXumFrcDwqOmcpwdnskq7qoFRgO7ZpJkL3Es7E85sEaXE/td3OmTsfYm15lZFO2tuDjeqcvoKs33HzxfI4RmxgB2zImUk4+u88o461oVqFH0qVUr2A3eFhqzcGzXiQ3K5Qdt6/H3MbuSZ46Tobl5eJkQRDBLgYDJV7sOhdNwIjT5zkOH/p5EDXCOSG6BPvMYs5CM6DeesnRTfJRD7zfPHfdQuYw2roPk4mJarxeCQk2Zc4aG/VwcvBvfkXcHOPmlxin3YCOppnjPJkVdKl/gztazcGl6H697t6m5JMakKjNeVUP+QT7F738yRbMIlO0/co2Vdw7EmvCTkUw0IsL2VdTAZXm5tZ4z1fYFPWZcABqg+3cjbUwzrovlOGI6ppw4NEoLd9gX6hmMiysgPXOjWikTlQxv7r6BttLyUrB7N3On4J/9XzdTcT06tyf7wJptAPoM7comgR0j98Y/0Fvqz+GbnsBLBwcHNcpTyZB6yR8NlgPOfDpn4Jae2dE26NVFOHXHGMkBN3iIGI2heuAEmPThfPCJxK2uJSNwSWdEeUWNRgmUrY8ZL3+2fxquvD8u+t3rEEw6+wXrioRgLB6qZJVNe188a5gCk/BT1ms+fNCr///FbKFxGtfv5WH18gpKDVFpmo3Jpjnl9RMAu6SgrGJMiS733F161sQzhqaBOdT6h/hVt5rAtnXnndYxb7NTAP8vblmVjMayz1VDSDyfJmq4M+k17QFmm/wd+DrZ+pu/NDTkm1r3bsW+PMWNg4Q1sb654IcpZJXs1apNVvvm9ATh0w6Bd7RgpVVLVTHzOL9R3BoHwNzGr+ytoJ5gf+VlRTMSfEK6xvgQGDhBYTVL/uesPWf87g2rz6us0ayGakcArx+9lw+SxjpIOyjj/jB0QHaDhgPqzVTpqv9WfBbHa8iqRRQPg4I8JE9iBRxlNLQxKS7CfGOIA6scySaeS2yMOy3Dj+0lUHRp44hHp4gDg/uOUN5Gj2DWD+B4HCZA67bykOz57zoG1hjpoLreSDYiQksnebpQECswKmgxuCfx4GdqYN9D8NcxHuR3VIe4SNr5UF4ffHkRw1jq8BNxAhjCPQNJNlkZFc+onk1q5PJlWvfWKtC2IVT5SNEbzYMCnGDoBv3EWrarg+BrOw6tmDz0xrKreyuh3nimbXEJcEIWqSgM/QX89u1iKJ7Ul88A0SK1suG1Y1kdrvfKERjH0ak7JagU2fzqtfUjBy8ICK4rpRYbVBt2tSWpZzUCN9w9A0pgzN+O9Z3z1zw8oE4Nxt/2ySLojzSyZDtDWK9FvqC0wNjD1MneNC9QHXMrgnPlj2QcxOt4SIpQnCLYa5Jtp3d86+6fHKipa3Pslh+6TfShSCB2C2V3rKHEAXbeLJR+cXfLur56G0ZCMNKFRta6fmWcfoozGkLuC+O9zcaA1N3sMKImcX8EhoGy/utN6ODgomkRd9NZyaJTtsZjURhjRsq9xJHPUhpoqL68GJcZZM0y93e0ZRtFAtcUnkdOvkjj0PEj5SxQjK7VNTnI4fSbblshDygvMltQoiC+/6qvcU7JCn0D5U5B5S+YJn7gFKUik1zQgq2d/EUZ/o/K1slJfMowWL0MHeHbRSx8OgWcv+60IzwXnTbktPPCWdkJWLv0dupl00izOJU2LP/g4Yhk/p0CnMvqKYiAmCf70yoxHMX8l33WOUM+RZT1fxiP8ONW1xz+8T4dhoH0Ylo6CwkoB6e1/k1eEd8+IIASH8PU6Hz0Q+eiDF8+cfiCt44CzF/Q50N+ENzl3SG+s3rSidauRayR4ZhBqlxyP9qdmGLkDZFQuyeaeE313VYHEQNU0x2vPx21b5SguQQHl9/HzJDiIGFEpJD7iBZtSU8xuJfpW9jJ7xcizzNb4xMUTB8qpUcdJz05ma/0reTvkgVZgJ6VLkVySRWf3XktA0BuRGEWb8ZS3D0/jidGSRC8dXqsvs4diFl8kSH02HSf+gZLkCBA5Qb7fAR96goxsNo+3mxXiOpJwpUVyrQPTZ/l+RcE/YXIQ5YsKSvaaEMXJNoqkFicAaUPXyQ/99Qh87EYI1Cvb306UuGWIBiV6g9MPFZCXSmHhRsq8R8GsvRxAnz4d5QNBnYOBFKHXBK3suWPfwAdEXY1CghcgHQHuM7Sehc2AlJnPUCUiVcBxFM77lYCr8QvP1/81OYPgetSeng7f3hko1nRhRan6t3dFc5/hOyrAYaFHZHBbahyM9hcPgZV2k9g2CtScMetRqeayyNfKfcno/5zCCXYSFFibbvGwpX/j3HqikoYwOs09MHKOHAHgAVt48c/7vx4rri2SKJRhmuuKUCfET7WQvw5Aec+TUxgWaDVM2Rm5OFPuTin8GaDMDmYg7Pz5nRdHYKY1PXOUem5e3CkhBA5UgmpCpX5kUoBzFFrcVI9jpU+OAgAX+zUzNWiyOM6+xTARchuVD8ZGAKhxyJY2gsPz1RrRoxkj0+CaBtwk3CSnOyz+y3KzarGmhWfQZLwdKVAsqCA33GktNQShvKZ21xoTpkVvmuRUwR4aSzZdEcLjIKwF+ASCetaLiGTHEqw+YYu9RWn3OpgtPWwomraZjiDVTm68TBeW0h3dzA0Ol4y1HoTjlFhkacpA/L85bXoUhN1MDqeBpDpdP1Jzsi7Q5lFA1u00iD+Jn8cBOKDlOjTKAOgWbqcTCljDUo7vgqWGtLEW5esAm9ErE9ozL9TIp8zxClHZila4mLyw2STkWplE/vEDCTaezB4KUMkgO5LCFZkUZ7BZL1IThX5V663PA3PH5TJ8Vy86Cfjq8MkIZdSGNJuHlfUul+mWMSLrebzCEmrWB8HhzonQsOmgMsvbN7xU74n8YUtmNWmFvqCsMbIE3OvURxg/9ZHHkMHI3VoGkBM1HN78fUzA2V+VlJTjXzbBioGwF+Mu8qf0K4h6SoggkEFPpV2duH2mSaj0tuoxGxpMuzIRQP8q0Q05N1Ls+xrlOwAeQRUn2GvdsnY0RRw3VWOVpdf4pPgC/JqoqxsVoeW2XPlp68xZQRgH7F8hMgqQY5fHRCyH+kywbQgPfx1Yg1xHA/T4OoVCMg96IlIv9FupDItv6u1FiNeJU659d2aYyfDxG8Sivfim9/cIqPtSzSRtSqlcfw02Pzj8WuDmLOdZxDbjHIjv1Ys902bJ0bhLv//2vgmngxErAN+8DZ5WYWJc228PHYqOOFeHmCCoJhu+P5MFKoXJC/M3cOt1NE+xY3NqpeeY7Eaa1mbQM0ItJAV1/3KNA0mOE3qMN/EygTbJUv24Kor/EPpEMokAiLHHc1fK8Uh7KTSk661zoZ2I9PiyP7Mx4X5a8aCPTQxoIuzFjGBeuj0+f0ZkhJgEEbzegcUssTEwnzgQSphm3AYnC/Fiq5nYC9jjGSCwcXMLi6KWaYMKk2kSBGIqIG+HVcPDLqH12JmdWEt3O8Bn9nWpnbrK7zkARNDTMQFl/jB8rZooQyB6HryhSKwG8Q1KKvLBYBuhnvQzqYL4BjtvuWVhdt/iPOapzw2asnbINGu3d11OgMuFG6w3b7WZ06SlCDe8m+lgKhw8BTU2YKKsxmcMtI/d4Pw8C6qAvC7Af5eIUCOyHhsJfI4wI8AM4leieRlUsYKeZDZibnLjl7r0r+NXOMosEilXf1Ysirmbn6U96sj5tjWghmWDYHgRLOorv2izgvNXUjMJY0dfYwmZDiRCDL5W2YlKxBJ7FM9Mhxuze0p/A7xjlHaebl745mzVb+9wwUSIsAUF8awWUhXo7NT0HwBSfTLCBsZSJ8HH930WavX3rvJw6vtU2Nkaeg+HaNQG1L8oL5AYwW72Sq7y/Ihinv3InWhyXiWdpGkBbVsIJhJsptUID0LhsQ9yF+FGt0oY0kp8b/GbpjNh7IH5oI5ybR8g0c4Zylo7cNFXmHZK3ZUhUFx1jDAcdo8r1M8hhTeP94vUWOh/7WO55cmAcqg0Npe7HZ08dLKb04lQBGW1hBd+AFkZYcujzG8fWhT5llFcccL+ZFEsB4cj0M1HGTW4nv1Ng8sKkbyFIbznY8mBDiIbPsO5sxL96MUjxKdm7tDd26gqFyjt30/olbyDIrdijOgyoV2STrKAUMkXLq6YIBB9JDox27867BSrRdPA7rxqo8fX9suJdM28IlMvzdm3te5faZayXGeUhWKTyX3VLtVVZwDNjHa/djWURVODZq2+z7eoxIeojXayTa3rqe1OoLWRAUo59PQIt2EV8+bir4sx11WEDKL/yjhO0cHnE5Kpnti5kFmHybXAR0vOG4JUJbnVBzh2UbEgYIphW0rgwNsukRYX7pqYgnSDVzihvgXQZyDeCe64kNWh5Pd5fgRu6afMxSGUDy/MblIgctFRZ1Bjt8MuGCJT7OK3ies0S9Uc5CFACyHYbS1Rj/CqW3bJk4nl1J+Lz0wSmebNarjLkS3oFpPz/cFFYaH19DlfWTVa04YGKkWVVpOzYvKr3yinBV1Ut/VKLGfUHvYPJywCom+ENoptSqAc0beRhge8E7YFLtANEJNIUkHmNx3Zp+Z2QGtWCsctK96Z4QOCy0adrhA1Tubilhfy5Q1fwfGJtuwEc00HjnaAww0OaVYyEj2lhtDQGIE1k2T+1vTDNcR/RNYntPgQhK/DfDIeEi0aeWieGr8ZvOQtMZOAndHvnI01HwNs9BmUVjWCSxnUyYSi0LVAGykkTpKTK0J4O1GDvuVDfUSBONBbWHMWX0CGMRbSLWRRQhE80PJVoJk9D837xcNxRqxQxWgn+GwaMIPpcbiYKbtuNc36uaTZrWXZTQyGWqzeUMuCmPxpVjzxl0iCSXcP/zm0qzJZW29ekD8+0d0sxxqEm9CUxGx29oYCWqowJ/mUNV1uYQWpcOlvSz4uc/21KaIQJ44bfgb55snSZko60XrQn5eZ1J6WU5HGsVbKv0XaV/cwMYXmd1LmbWmhRoH37K6FzfWeHqXch200KegbbVlzGTppU7AN1DcIZZgr/GyrgSKb+nznKYlhJyaFmGVVzCrJhE3oR0c0f5FmgHY6HMNIZyOMbiBGcCFgZIODLNTCAfmohuWJmI8xeNDXBC7N+4X0V03Xqd2hTpA3Ywbi06C8cQvhZuxVevID0qXr3m1hwURhTr8WcK/Xxa0dnasgFcRR2/tVAzMZx5TZPOZq/S6DKYk5mB6PLlaVf/j4J2kNq1A0nzwAjevcXesEuNdQss8vS/LfhCbPUn/+HS8JbQWhylxqUZw0tHjT7NDLm958uZbEUPYHYfj2H9agkDKi7SeGNYLru+0hIpYGd7BBIn6UiziMb5zHIbbA5OAA/yOJbBFIan8y2sFkSqu70Gm38Xj1gBTa1oIAdqilzQvLTNdyBIHYErP6C4PODoVwL6XCbzKTnTClE669AKXFgrcziccv6p3rTz5C1thpf6sLoCRWzJVzvqCXVf89B7eKZMUT0DZqs8eaZjxuR9YYaZlam1BgVYcB+B9a8ftPbvzzMtCotAEVTI3M63VbTsKyBuKyYlN2wC6tAtLkZjobV2paqxkpv41Cp6B1xfjEK/RM3tlVfexa504uaXJFnXay03kP/HHpvoXg7YW/i6cXDFrXsaKdQF9qqD6XFPBQxe4gie/lxhxFSHc+6OAlFChq2Kd0WISbQGvMiYi861pkRM8r/C/cSLLQxdr5mkoIYkzH+m7yHaNqPjNgZz3og6xkTJl6CVj+bOhCQzLJ5fbfE4dwigXOjbbgb3+7MhOeiYdpF7QFPpWE4eBalCow3L3uBO9l1i34ROXF+MEQxBp053fT91YqXARddmKC5m0RdITpAKjPM8HV/rE0bnsKNJcdX8WTCy6nQmjqs5+eNQckJm3Vx2GvD8V0h5pYEHnuZ8uAFJYmqP/kkTzt99NzRIvjoTU39IOZNaU0caQcdGjTqH9625BdcYmJg4zLLe3CWIMlq5FURJzZHAaZ4Y1z1Tnslas+yLnGzIv1XL3S5ihPvIhcE5ggIqnc+hGwCis5X2XiHN//wc8460OL8FkjsojoBNSracwB0VEywpUIwnqULxyEnVUj1jkgnz7pVCeRS/7CVqLcddP2XeFyWLRCYk7bAg5ShG/wjqJE7VvOHtFoz+0/xSgUCe5T3YkC6ujux+TzBSjhA+Dhd5rEwhS/w+6rFpIdL/Aks1aC3ZuvWsN02jRiDPmusy2iVjHhKWglipABPGoDLIO7T8GHXv4xTTxcm9Xx0fpVV5aUA2DsG1ptj5zODSrzr6vMAs/8zbGM/a4wyU4RsjzJZ2MW2b87iMPqPrMYZZ0OZ/4qbMRc0iFfeSmPbu4ChmUyDv9j+vkHn4ml0uR3jGrkAjt/zir1nhI2Htq9Cn174In2KCHllxUdTXOOkOboydKb8QU85OJCRtFxTMY//BeQERGjnjk+ErjJ6du0X5YZgGNJjmhi//KpyIDcf45yxPSjzDcw+ilfME2QlziW2hQggViCAdupu0iocrHkLM65cnMQ6QO7VM2eUzrCfLMnBF7roDM3UKR/oJU1R8EYVIxRW5DGFLTczN8MoAHjL5X4axXudhgQ7bKcRaF6e6nv9wytHGCv3eUlQ4FQFyU0b0h7IhXSINpW+RKw9JFrjKG7xhG9pYuIEMXZtO3/Mat7ZNS8VAI52BMczk0LKE3PgyakrR8CTESKqsSJ2oK9ca98+idiY06DayqIVuA2sPVhwWMZXItI9wLWVnBZx7LM6wU+PbrTxwQUtDfKZR9VB/fzCmf8iq9riNWctbPlAefBhf937Nj9ns+Uh77yz1vsYrhR3ncep5Ah4cq5Zl1moFks2W73jbasMaomtEuLNadXJ6QrM81qNdZ4WpEssT3wpkUF8txC7esaH8bBqnyDnT+8KN9ffjc+30cFpEM6PC0ARy6jhtRInfYD4ck+yvNYJAiQ+F0DKZdsOmyv5E2GribcYUCIvqBFgskYg4wrSCvKM+4vJxV8U1dG5UYXAH+rjPb9oaerGOAhOw1AVHykyZJ4+EfLyQdgz6M9qljvm/sWROWfWcuhY2yTPt/pu+IuWwruX536MFcDwkHrzWH/c9DAO6yLM8ZU0yBJC7T24XwtPdimmaXNTI1N5VWW0hbhXFBp8Y2fWctw+oI71fs5s5rB36mB9LlyblizV8HkkO19rgR86ASvxWlqn+1aGgbwv7mKzKY1GbVuHxG1L5DalfWJCai7PAs/MZRL2dNg7+JsIvaADIckkUEIGPH50FHT2e/mkb8KqBFqOBgb4+pcyUfj+cG0eeU/AoQ/y+cAeniZnjoMS2pOfWDNXi4I/6Ush1oaMNyTsQNNx4WYskkbvAsQ8GfLWjhQeg4Qr6+/1AjuRDuD1Feytt3QTgAxGaJn0wVBv07o1+YlS7d/n4Rn4AqJ/0zzX6Xj6L//rx23rs7bayPLy/WJbawyD3eNcbBodB7/EW9sT1lNRv3KoCN+yQAAl8TmiUm4O6gMlA2DcSjLbzmqDuO68o9lL2fwQFJkeuyAEMlJh6SkoWDl4P5PJoMMeDe8JvgzrY2M9PCSjn78o74T1a8fha6mLiQEyTaxcdFl+w6E7lgZHNGy54M4W7IEAu28Z18LETonaRhNVmsp2nti1ApBDGQhSHJIv/ZVDMG75rDoDtHFhihKQA9kolfoKvYA1whW8+QEcRFdNbfc+Y9vRMjmJSteB4DI5XR9+4Lq5xHpDg3m+a9HcvMycjrJ5+vZFh08284txhD6//dDTwLlG0I5XeaqDWVzjEtXNmHctL8JrCbh1Dip8vpI6omuH0tbzQKLKUXeZz80wJ1KasxpEgOR01WJDGKlQZpQvEsNGHoeTyWYfP26RmfK+Wdowvp7KM3ih6YPT63otfQG+t1C/SlPoE3xDTfJpLZcRy3yPEqP000cZyvYs5Hbjx5o0WwpVFcWZ5w4mAvjnwnpMe3OUpCvOan50GeGIJcC7CcTgjLUI5Kn04Ng1TIdCzBq2xPqcbbG9I5y2WxNHOIojGLhT0K85S40SNFZaHjiZWZx22lNU1sAPvUqjnuuYJOZ2YRR3cpdEm186UFlowdyRcfH9G+8CRD1u/NPwYFrAHqIwrbSmWKQhLiwDw59hgHQrR8uY4yVKzoqRFetigRkcMr7vsPVz4BTgGslUNtqFpPbVHG3lzE+tXNXUH12knA0LWYKvu1tP3O05LmDAs5elmzz/kTfm5DLuCoUMrYtWHmCGfIN2AiDHRbeUMNOXUynb/rFrRk2UsJKKER1usLLo59q/irseUZBJyOPNjXTkBmNqTRb5mvLTUnD56VH2l9jroIvLk6RNcOu/X/95Paq7V4IU7Rn0k7mqNt1yAjPYJrHnfZbnxcAAljt02jjdZqYTbKetlxD1kEdrFj8eyni+2rHcWmb2K2xZ75+fcQWQvXbf2ZT8lsVKo497VQ+no8za5rzyi1bPlxmvLHPtTeHpVQaEnOLOzpL9FpPz5Lc8YzJ/KsRVGd2ZqPlrks322myrDkPZj4vUd09trahCFq+h2Gttd5hULPBPTbrzgvZAQ7OmMEHbWu/4DgbLBKFZarKQY8tOM1MJ68R7+n3DR5aiaGMDjQvEBf4KyzJ/qhFzWAKi24JuJ7/tEEOTHq5uL/+pu/wOw8yI099WNjpu5tCEXPcfAYQNnXu0Gz6vBvkUKahl3mr6NW77IsSMTFluSIN9fURwsLVAYO6m3r41MxLGeKO+C9A/BywUAW9QP3khhmi/ZeAdSRXH9M6PxN2AJIJh/g1Ty8YNSx4tlLN1Rg0JSDOIlml6D5s0ucMakTX/A7TB++S5DSRZFv12FEbOmUujFZGVOPHCMJQTC6qjMOgNuvFFl6DivGk3QqUo52s3EN5LV3jlD+Nl9lvefB7TSKv+Sqscr21LsM+97Kg4BuZgh1J9fhyo0zoE1PVfFYAgo+aTNnTddZkiZXbV18b1XGoXfSxwPV71CjEtBN8QUs53VO3R926YpNo2ANeW1Z5yulDseNw2CeBKB6yEFoUDPJn9spH3ECTAtWMIJ0km+fYTMqtXwiIeMbHxycLKiXIvDMm6uQ6YNeh4RLkMXn0GPoRqwmohC3W9KY/R2prY4qhYO/ny43O5q3yqGBcCE5qpdM8Q5QJSX8nk0ntQu+JkEV2LekFXon2sd8HCQO5/LImCw9MvsGYaYqxqXFWuGHQEAjkL9fCB/TiBS8xIgGlVhht/Yiud3KTMxlhszlmVBsk0hvV7moU9OXgG19d3a8ksKZAwL34IIChBzBso8garXpHGXkoyZyaDh3gcN4ZXO7u6cFztpnwXqxXrjH7bihfjaPez7Jh4aS7V5B2jB2ARIldDwO+yvPcrQXXVKNLIrCLLgiMPYe5U3xLwrCVbdMoaxrf+UzIQkcdT/RSiSNtRnQPAbewKWHs0hcs6Zmuk/H0HS1koMqNn+QjHaY3QFrX3hIZWLgK6kZKKAJTb8xNQcFJUVsPcfXmaWJH9J4m4wy+O+v7NhyWmq8hXtwx9GiFgII6s4EMVQ+Sp02LXzyNHldGMh9mJQZp3sZEJad2WttfEIz1Fw5sULs7oK0vxh6MvVw3qe9mGCwnxMyQlfhxedcY1CoDMX10Nq7peWKQVNu1PQwOVhbA9ukMOSH3d/KxUOEKN8IIuVXj2FB/tjJrODkedkkZwb8H1JVs9liGu6qsi3hCA9PBIyFDbAYEoAshkdqR5wj6zfr49rKzH+jg9NMnHoqzG/JoewLJ10yt/47jk2WOZZG3jeZ89NRxVVWI4dPZrZNd9Qmc0fOogYMTteyEDUXp3fDsfV35nENejRcxCH7y+93waf6BSPRJ4GBK/0ONpSbBVGBqnuAF8iRm1YJBFp+TX/tmxDn9nHxNKN+rvbVj3fdM0JhIWvDCmat/Cgeo0t5DoVszli4JeV9hqplDct0AKNh4qDZABX/sPcvToUWC/mkm2mnoIbY4JjNLD5qjt8kaL2qZArKmVBglSAc82WWyBvhycV7+B7h+hi2IDmWw7hg82rkb7c03ugMiTXotygbiEgdVzOyECyonHuwF0S7vmXvyQaQkw9LCC64XOs/Ps+gHrwShjM8hHoVL0qCrC74aqPuMaHgKlWZ/JEI1eiSdr2THE+Vis80hDaIdfJGeWZsGQuzVr6TA7RgDafUSuztIMM7pzluH++eifi7xd/O88sc7VqEx7DhoORDuCY63eqYrg/twTULmkGojW/HkRR7B3mkeiUCQ+IjjUcWdGh38A5T2mgH/YnLASk5OpGRs7Wu+N2HA6XMNdCIsknJWiyMMGLItiv+5JsNkt5yv5b6Xgou4ZINjLpCFtE34jcOpwn0Yw/8KN/1KkxrOCXRCHGv9IgIBuaT4qhHNdtrEQZZZUvxNuNS1B/hM5hNFcnsI0Rq2ttecgUpgNyqbl1MtCkfu6tBPokdMIr4mlGv+aMI8XqCY+agzp6aUkMPmwPCb5f6GKpruHrWi0xcE9R3h9rdaxp2klcwThTfD8Fw39e4QVX3mRqHcFc7r76StKk1QUjq1De1q2VQ084FCMXYiYdGH06di5zAXymynAOAm2jxTuxuwzTT71Oz9d8DsHHXJ9gNLAJitiCkCX6lz9cQbsglV0Wph/vr/yJ+n4/wWb0SehLYtNGyD1Hirqozt3gr2uFSo2dw78LhpveyvvA5e75rderaRghKHwY04x38s5pwZtFttJYFXYdDxayGkYbHxyGFJgbHZBBaiSZRybmAJJP5WJxbYNH6A2MS5dTWrWL7zoblxmuhp4O9KWVQbVdZwuzFqpl0Ps45ne9aUuCpeVx+zhpyMubZn+QJ8CTW4KkDLO4oza5ZfIojYEWENcPYlcIZgM8kYHGKWhI5dtyGHQFYMrTznmyWjvqsZaZykZ0aP7CNctA3XtHqjwxYAJ/ZqsZI1PFCNMa368V0maG+qtbNYn0+IQ8QMknXIoXzGMCSNwSi0hLbx9MT5PjS0kW+C8HoIec0Xn4GDsQxvpV6BWltZQqw/18SrI9Zki3kVXFeZSSBvml8P36ccDyjupKhX5QCTzz0Wuh4uvWjoZcdwPeymkM1aP2OHJehbBym8O7ZH6CZPQGXgOumCrhhk6fOUqogVnCvqairtEGV9CcVjMpC3Zec/XECVBYSZ5VN7uqU68h9k9S/5X7UWePmUaYFT8682HaqJdxKFU7mEtCS+lHLcfyO70YIMhLvL8183p8rnh1QX0uSu3Rm3AoA9gtwkvZUkitksXvjLk+kluvkwEF192By1ibxBqWoB6qHVV0nsLGBz+GZW6neR0vCzbeeuajIECfNSP9G6ENctcM1N2y7cGx8R/gYIgjtUL0T6MIhBGtzTAbWfAhCkzlZCMaPkNW21sejtmW1z9N5pX1ZLsI5DtuLQQoqkaZbqoSyGW2FZztxF32HFpCBgbSvsc64/EjFQ7lJyN9SLJ1Ndkxfz+pQgNth5mQKiNgJDQiMVDUwXEHPcSqOkXsJKTZt3+h8fL6+j0M8eCCsPJpm8KE1n8WDjt6E1BDSMaAeRE2aPJkqgMD7FkeNbqe77KQ/f3z0Fvw+xd5VyCknkjCya6VJQnt/FxwSYmPzPdBgRoykBqC1EdgTEAfDSkAdYmRorucPAozUtVr236IpsyI4rIHL4j0IdjjKOQnX/kHoZHcqGofPoYsUaYOqfDQwnR+fZozc3oAFhUCjyf6Z+uwg4bS9uyZprU3nu8yFMJDG/xNeYIVD6fCgDM0/JoBxxVCOb9Zx207b9hEVslrA+cAnkK4j+8Jw3I9K9O7lwqdSbKuEmWfA4Lvc0uTIhpUyakikFjTuhFjF1pJJaqfiJ9txd5xOtKVSPIpJZ1OUwYFbg8WNF1asUF2UNehIbNAP+4+98RVWqA4amhLODOAYxEpK5NEieWaJtkdxFRpHGStLCo/pH/bohkLbTIO/Ad/dACzUPdYuFsb+mVqVKTiEEtYIZaNGMyNoJ7BpKVFy8t8tcOfg/w3Yp6iJy2HTd2+XrbY76TPiZQPOpmERs6M02JkQ/DCoKthkuU58HRsp4FZejjZBIX7UoQ8+t9PiR515/ASLsoDOGONkVdXHeB+HqH6DIDRkAiXVO1+xUzlsIkWSz1pAdDjUA/Aii3LKtmrCTaL/RPmx1naQ3W8AqTokyPJTjnN4ujRhruy7SDeNRJ2cv3Mu+PoWg+foHYwy84r1QUG5YzbLwhVHgzMlD1dVVacpYPp3k5ONDv1OlumSp+voXQlLzzcn24HiECNZGGkeyuaZSGuW8yqKJMltk6U9XuUo8QWn+dsbe79jk4Rgxp60DUEAzK8akptCYmhY45i/gRIb7rGQDUpNK5DVGBj6NRX7rANm90HKozFDbEK4BWTOi+PLrh2r7JZrrFrgQTzn0Lc5icXlnxt/xbNU3V+wHjJ5fTDCQapWUaMIBx1ivXqzp66JYq5G9QMC3W+Ht5OTk+YhwAiclh+Qjf3XZ04TOFbYLPFQ4TWsSq+ilgnxKDGOjnnpmnjdkZqV8rqbQAH0dgs9KV1ILzQGR3mJ0LK5r0bU9w6GtarNAxSZXW2qTeBNLRV7i22VtnlHOtdRpVtw8vb7LWJGx1ggZxu/wUVtf9YYHf/CyjWHDaSVzAy1cxC897I2DGix9Vketw7PP46uBlziWtdjFbR6cPCVbNnIT9FbAhvLnQxWosiWP6kkPqTBoYo0ezLt4CYdhcpj6dmNZ5oecg2awxGggpqSxt9OnHBlPvilfd6jaoHLL51cUshCDb6MtBSVWFLZgQvUj75G0HkwzpGniADBWvLnS3xjO5CyIsF7eRvxiWx358WQliKyCyBITS0N8gcYaV80+M4BWxHC3LgC8CjfNyADUP/dsrsvar2SFu6T8cG656EPQ73qKpob7WSP+eEu9RPgcyv/svDSYO1zHFLiXxwi3GsqwipJiQfv65fuxHbGX2XDsq4CdtDe0qJ44YC+mWfQomYBbEQVq1GWJlb8XmVBSoq4OJ2dhY/9lHAH+2XiMybTvZvzWzYxAyMr9QhrrYwMxN8ROFWDXFOZzGAnAohOLoQ8Z1W2T5lovErM0qGYYS1ss2m91s0uqjICSLOz69+LRmOHjQ7nFG9CQEEbLr/fFw+qkcnlkcE/HE21H3P3xlEArjrXIHYpo7g63kFy7O6IRkj6IvpPsGjKxzD8joNwH7MIx+KAwTQ4z+manPJWQEtWJyAHbn58iI2buF/C9daZ4ORkcSQ+5OW+EhR6M2cAnmJZdmrV9Cwja9Q/j+V1+Arr5u7wUbYHncbYI8BzvbAsrlsYfp8/9Nxjmt3rvIoEOAbivCzkeZr4rto0grTV8a8ekHyafXHijXGISsSGQTtZMfp5xYNo7x1GzF3Gj325wYXhVcXG0sfcgtQxu5Wt38EWXfY9ueyUgsCIQUcg+fqT7GAtQwWQPmmGrHIYSi1b5WgWlWUIuJWRtficp3wHTPhx3/s4u6lO/Pv8IfQouZ8gg1Z04sSMYSt7ZXPWoyaCrV+cZLS2P1bYE/7PDl6x9quYO4GZkAG1SdkBj6YA8tw4A6M9QFhzKPaK6S7Oqiwp9fr3R72VVV2v04Gp0dVJaDIOe0sK+B/KYadp0DFfBXZBIsb/WR+hM60oWP16Kz/0+zvaI/64yeOn4yx3Pm8iyd4dMhUx2T2L5PvsNEJowlmSrM3pdVoyenhAn1T7EWZnv7gHRBC2bdpdXI1r5C0lvPgn7WvYJL4C0r9zD8aHf7Qz9p/lKF+Z2V/N+p3EeDSVmMPyvj0CxV4wSdZYz+l6C8AhI3sbOz81zvSpBxxVOa9bLV9Z8JcwY2D9xwnnKis4n30mLMTnRYvkvznZ5lJpr7Ru3Bkapj07OcOju7M4BaiLxxwz+ZPAtXZuLH1lQSr0NL58065OZ7FgarneN5CIELHr0qgwpEclVZaO1UY0uv9r24qouNU1G6lDUq7f5gmftPz8nxzgNJhCgBaTIfcD3a0dH5v6/Pn563v8SxgiusMF3stdmUDGgQt6rZuHNK/875svS7YpGaQ0WL72mefIlLJme3Cn1JLixbmKHbkJbLs1WNMMyoRHGH6R4oA6pqfdAGiC1XYosPBvq08vvdITsRGDjrzFUJcNhY8+UxIF04lfGQHrC3z7DVu3lg/4+sLMAIs0gmdHx2MqkiA6pU3LaedlOs5NB0kBJ9XC7aa1V51ESN6P2ddP3PvPVX7hSSgBu6SRULmCtd++R9k4gSMaACq69ZW0Lz+Eelb92ap9VXA9Ney7KaRzOh4i5dSaw3djljTBB89WXy2VfGiS5TtnzBrlVCNUnLS+WaDM/mZmbYWb3S3ruT71i7nwQdI1zCOAuWut/FpzytjM4mXYxnoT7I7ltn0kR1JNctGCXBoQV71rg1V/JJkQr58363cP8sRcAoOtldGIZIxvDEBW3JIzFtVy8EJdU/I6o9O5B4kW4WpzyR0vyVnoaKL+stuf+mItj6BPETGbBkB4KwG4uRH6CiYYRMh0o3ZKahR3uFfB5L1gsn7PbuF4sPVdER1cwST6F1drizLsk3eJovOKafHrjjaBmVMREWvNx1A8hbYeCUFVreknEJ9kIwBCQu9IKrkVtfGRCYf5dCSSNKo/fGq7iA70t1DbBOqtuR/8bp/haRSkVZaXuWzClsJZHMPQ8ZvbZ+J66HuB3pKMo7ln4vS+q3OtjK3f16wBbX4vOzQ3XSFZinh24ypRnRS9OGLPjDFayg4IymSDfLzg60dEOLZu/kfXiXqN7rea8VMfnDnV1nRxMRqvxzB/6ib0BFHXkjZ6Rz+XGpR6/juJxcWP5yPugsGq/EL4+5PEPFbIbCD4SCGd5+p5qV87so5KBTg3hEXZ76al707tT5BWrBUwjWsYg3xd/YpNp+p7o3+xdNFaqJPPVmxCK0nxDBiFdzuLRdTKqRXe6UFOZY2XVAAIHR0yrrFq0bNOdaobaWNfDN/T3kjYsgcBLRSeJd2d3eB+UbN1IJeNCZruW7Z3CWeL7oFpfSG3b7MBtbtYf0a1pGKnhpNX33QOKGufZ31xKpQgNsKx2CqZWs7zqmQbXylUdgYfJEf3daTbCBoYuuqVz6H892aikjtW6GfpkFvuO6sZUf6s5G9eB4AXJKkolSzpuzCEIRnQqR2enOoeI1qqAxdLQZL+VbbfROra9ps04QbVkarmAj+HDL259AVw7JpvcqC1XJcBy3NFo7bjY54Ag/reTqz9yfUG9OfScAS94Fg1aC0AzAtoEhyqqYZVT5WT0vk5/FaABan30ywsu/R8Vg37U3SmoNKd/UfDO/japumNkpQXeQ4e5LDriv0mSry713urBInWdfikUDmzRKzaXAsTUjG3r68cq4BWWgBeM9OOO4fyqfDa6DM1IbFIEFC6kPHVtsoHulxKilWQapAOJAlhIvzUqhnphDa+3jrENsa4Ui3Tl3CVrI/V+h/0ESr55hB5/6fbk2erd06jV6ZcboCZhSFBlGvvI8V127zyI4tco/DYB1DfyYVBCXQIu/i4i+YL2Kg/fLax2JvWF61ZIFpgo7Jp0lRBM0bBLsUfG3fhfCwh3srQwOP2KVucU0ChgViQ1xvvWG2YuvxYi3Z+q35UisKmLhVnhHf979yteDg2p1RlnRbopulO0ElF3+3kkgnTLJJhbDCp7XjruMNTYCyckbF6FeVqwRTpw7+iFB6cBJJ5ltB/z4FZ4IiTlp5ZLfvHGaVRJxJP1/QWMJtVP/gzw81y00/iV3DTuGKXeSMrPgjoJlX8F8Up+ik0w0atdsnh2TfPNRZP0zep0IzCahRs/bvzBkuVTo+lWEuAXtxek4o2sfuNJshKJYyjhjCmWOlfM4oYFwc4fnKZf4QiCarfdOOB50gt/4xBbaaTIo8Qnjnrcdgzd+K1/2evkt8BgivdCT2ExjeQtF82kfulKtlv6U+pm1n749VyiJHdJ/GHAjk44lZaj5Ncf00Bmb23obqtyA3Fd9e4nYsih0ZHn4i5x+Yq5g5M1KlMA1ZjqWR/+I0BQe6PaoXyAK9KWrhRSnNnXkB54ZoBUtkcz/qmTUSTzlxadV3JT1EIRW9c60f4H12j824LlyImRRpSrX/HcanaBheCw03BTuB8upWNcfLEFOkUEA1V2pzdCWH4tsbuxw721Iin91pgiSbrFt7NI1RUQp3T/TV9a0jXmjoR5ynQDHFp9SRylPP9imyCmxV/wIABT2xXLTbtIwKQ+E0qEDbYEepfMsDRk3pILuT1p3kfOne6xYCDB8+ss0VN7yAw7FLqYig1ZB8oDpO5sP+Nf8i4PFnms6rEg5ImsClg2EHcosIW7H1FCBzJiMRcx5r/nvxjstyhX8iiQgoserrA6SMdkhpIEnm9JAn4HqT13ja9qDBenOdImbxO05vOeG46PcOgW7S+hxICod+uuTM/n5BfISbSF/iNXL+RWVcvafdwA6/I7qvoOMrU74XPfgbLNlcUW61eUX6LzMj2H0pCmr/WA+Ug+zM5IdBVUn9aT5YrhQknWepQZGHM+9+6lg2SKPseo4eiWuiFyGi52PTbv1k5l/W2kSAh203Vrf+Bll5oAeqXxf1euP3+HvfYj3eNVDKl1G/3DEM4L3+E/3SCNGXsHjUoU+EhLaKB5QBCTAPfQddAqrZKVkhQ/53ygidf8T4MYrhj5pyxIbasL8Dxg+E5q0jLk81x/ZRuY56RSPNdg9IVDfwnYBnwawRKzPiziYWqBJdlH8hsIDFBNwjky2HSzDeQyrz0/ScgTLdqDtl/kU5Y3sDEc0fiNvRkjohYiRp8R8hqIWBqqV4fiHpD2JySyHpXpOTEwHR04MuV3wgOoVxj34BxUFDT5hMUJZCVFKqsD1j3KZ1MS4zVi+fP/DOgpYvVm+4MB+1ZCrljSgmd9+7EXNLaezOGrJ1Bm+5wyTqUw5J5fEd+8iQ0deeyMB29ELDvi6m+3pY0+QpQWXNL4CDOzTHnVHvi6VsHT56CRle6mlFrdqsiiUgKMwkK6S43huv8ES1eFqhr4leq3zIuEw3XxviMk+8VtAs4Fkvit92EUw2plsKVk5rUrzmMwA4kriYwKDUX4D15auOvTRNfDKMyVHBj3sr6PfQphrq2j88tHIrZYiQSFFZR6ywJwrHxTqmCc29SjArUpGqg5PdLMh/kH2cu9wzm5BatATxzsEcw9odcqHoVg2gRaqUP1Gi2aSFjBy2/FazRu2+I1S9D+o95kG5QOFatm5c86kAcvzaOg+EKSxNct3K5vF3MoKov136bK3GaBXjpsjylTZv8UiUGhqARyOrYyAssME6ZVfphXLlIuOspNHBm6DtshcUTAiJlH8fUJb+oRACgNsjrL2ErziEA7XgTuNu6gIT6FkwcunDjNXfk8l3XQ9HTR5Kjz7dzt6A4dhGxoAfOIUErONXvfcjKFtiaz6vGWRO1dM53J/Sl46pqKflFkkFpurdfWNYX+LtSUAwvBfTpYTE7XwerTfJ9hrVOkJSx4OsYlqudxwFoekbVkNvd6TQKRgdCo3XCBw+TDZQcFY5S1Tyft+RKW5wVYwzu13DDbGTS5MSu78CiJI53n60b7oHwWy6duWZvQEXkovZHaQGt1w7EQ/ZuIUyJX8SQLlh9rfW5cPhZ5YojyrQwr6CTFolsckdpU0XNb6uZJkwQrGGzFOVGyuGgx/arEAVRB/+foPlrxnBjac0xcYTKAIKziiui4RKVM10p/KMCOyLs13EH3vjHwwzhpE9RzKoOcRZWNeVwmy60b50VhCqqd6s1yWRsoAx7jdrVgIQAdESecW6OCIXCf7+sZjbTqXo8pjvoEIW0GX6TYyEOIrkfSPH05a1UxzCWEiVXt7RFuON49TZwKk1Oe084mCeBkcn647Ir31sau4eibt9UHIgL3U8oa2qXh72jtdrzlEbrwRpkTNJrTXwE+MN2x0+HnDRDavWCmH5S6y29au5iKN53IHu3u2AZXFJskDoiDuQJe9su2F4513vledKuwR+cZe34yoXI8TbDQ69u079+wN+8vLg82w+T733HdY5WFCCcULPEibxQ64CIUoQTluZHu9s99kfv4dJ4JIJl+d0OZnTB2uBOpFHoynTKPZr0kBoZO/EFhQkQn3PncDJcIskz2ZOMGHG54bFAtKHCtK6QZV2MvYLZk+b7CNJG3ecAC+1OHRMwGxYubDMMRHFKxLjHPfVrTFFSpIJ7QQisb17jP+fu4Er/V0cbwKW3zWZ+cCSi1EyzToO439tp1Dn8mSjKp5IHYML7F0JOxyE/fDrlmQpBP8Byevz63R3lGVvM+ujM2j8QmCX2O1BYXrpis2aBidxX2Vhn6JrmJQvSPzuQsOLEW3nDQ7Y4B+gWZywKUl705mJC9dgmNBNoGFTIBkUsftLW7I/dEGKEpD8b3Y5THQPQjocxXj6n4T1tjC3gDDqmbYxjshIeeXr6wDEa6gSicEJULXjfw4wm7UAfrJUeK+1Tbxe7sDYIMISq8IDiRHaWFxahaf9SfGt9JcADJn4biAChHEcVdYCH4ChCsXA5XF/ML8CoXEart6h/SQTAbfV+vkMMQ/njkYpBkiZN+JykGaks/LZpaO3cFcyaJfSoeIeZxUZzKgSRz8N8g4mxkVedQtc21f1Fn1obQVKspdScM1qJ83hS6F16ApdAEfPrnW6tCr4hGLbEFsocMG2TFgiDDtes80KfEq8EgkHlirs8hFngjRMgQTyPop0GLnpPlV5Q7+if3BaUid50HtSfToHgVN0mPtHg75MpMkWj0QQA83t4oiRnfQO5Hy96QtJ+vynEFLxAmGicLaE+Nttl1e2ziFpEFy9EJDbFZ9OVtjzW/552/rn9jHVSuppiafHumI99+xLtEyqde23czCN8TmgTdoCdOlixTn7NRHV8eqtZU1Ax5YxD5anwyJUwgMnYxjaAq7QK3ulnNusmlTxGHZHmdnnu93Wn1pDhIkiMN0STqaFzA+EgLl55a2vPFGWpip3ijORk5jAWUXw8OKZ9Vn4c7jqRf+LNB1hXPz2sptI/it8jnT9O95Z+N7plKzB6vCOKtIiN/rCRfEdnH/EuyPSVPCZZuh9m0RUm7bUX+yeMAnaILS4RcnHqhG0x0l9uibdqTfKf8O4fNFNQ8RnLrNRIuwGpgrzcGOrmQnreTU4/TTC//1YwPTSwDsgkO0IKGpdpukdsxNYN63dYxJKOp5EVFN2ypSWc/dwmjI4wXf0/qDlEeDhDdYqY+Uq6++gSlSP+wVesJt9Yv7lfKUVzVdUfk36CeMeCbDmedXed/5tvmzogVg/GrGj9DtI2xDTlx0XjS6twthfE1yd5cacEBj7WJq797BP0VKJViudTY+8NH7Kb72SUQxYTUCo+ZobwvTMjCu+xNmA785KaYxyRwZRvU7AChJ31THaoFGOXvV1vTy76Ve78SjjKIiqHBvqN3y0ioK2r7MHQVvDRdvF31JyIjTcc1hclxn3DnRv+gyqB6VpVL7WfYP8GBRev3dc6VdPNng4DLmZJQyHSHpNb1ps4+0BhndhPB3Gi1OOysiI4odXmr4hLPXJgynx1Af7x6llZsvPAxvsv7OHwod0dE2wWtY+WeRlJtrfISrdISeJ4tF2juLNbU63dd0TfLKKp+saIvJc+kw1+ChonEaH/w2GARTjzsNmsPLNa3FQL+C1ZRzNe4YUi+DRL6aAXcjaJ8t/N49h4ft57s7UwPj1v9gH8Sxav6DhcTXAEsHJ64P4YGhVDLjeyw6ww50waYg0BixQouM5E2f7P9ozhHgtVSWLwtncEznorkKYEhKKKVD4OxvhIWxRw59hB6fHMsQ44zOAu29YxIwLY/0MHPq2FdfBLEvQU4nXrszdHK5rOEBsVgyo2liRH8NSzSo/PPstmd2DYAxcUN6adVwSkyfmB/mpPWwWg6xJnTMa7xpMaGi3LJmvVCtCAOgkplO1BV0DpEsSt7mqWODuRnEovBvrZzXF9uIKlsujDzcFTYNrGTTtuqJnMqKMX68WWWp6fbD76cDUfsehe9jflkM/kLW9jhyDtGSFKLrkbDG/u9pqTHJt3Kw3XgDFHMdGKXR7Hhl5nZ7VyiL9eblyglbjx8qs1tqJx9tsTbFOQn1DbSyL7V/QKlPj+ccILP/5O9WwaHFqT9dNx3PwG2Um6jAFe0FQqnZ9vzdCCF/MwCfqSY60POyWWnfUs/APg4SK+o09lrfn1tHcPdHCAgW7eU1nF87uMAreu/G6bPXo9ie16iBhWb8KdkrP+fwRBMkFbgVnAdxpZVVE2GOjCgH83U3Ds79QwaT15CL5EQkRBvwJafcFCZADZi3XHScVtqrIzEKHNLQBTPIIfMMVN7SjRGz5HFAIiE1pv0K9N9Ixe8woe0zBtILTY8vbr9vRhjvEJltcdCnVceO9YsCNeAmJKtDMiK0fP/ICbQtqnJaeWno884ls+xMfIr36qCuR+VBUe0gNgsL0QEpUsLtvzKRjg2qg7WaFXhJxWfsdctdamnWuLdOsJPQ0ctXjh6sEmVvU5LubfJZ4kdJSv9UiNnPPP3dzrfOsVVKIzgNCPOcC6vVZjKOUAFsAKm6WP6FtnuFfbssqu0Zy49DJXe6DuuxmQVarskkbjisYU4s9Ibvhqbx/Ih1gaNT3MyaZYuPNdRtETEyx4x/vKuDfoCCsCGt5XT5cSfRYqTM9bRS5/cKn7Ir7I0I8Abm7Krn3TPNnG4qfz6zzyAb4A4RL4DBgigj4UpAzZ7+ESf+MhMppEMr2uP0lWUPdMy1sWO22UFCnjJIZ2kid0f1UGppBD8IBkpSBfKLrZ8//QXv2N84XHQAy+Az88T2Hba0kk/EV2e7BwdG8jfXwkXWwl2nX/hm0OaYtwQTk4mF3AJ81dtJ/8q1HDiwrhyfKhoCkIcGAfHR9YjiUhhBlVUJj69M+dx/bEDBrBOmbhIuF/qH+1lEyVjXIbjdEMY4F+CoUQlCgyHfAdtl8ifQdHnbuc2S93LNizspKvY74eDS2gNGKgOn1176Qj8ztcZX/KmEM1aC3i+CByBGZHnbFVVHfm5alBewtiEifj2/+467tAEE7lBcJcesqVGWC1I4oij2LVlSLLnFrDlcA5gfNQlFUtx1fBLwRWGlBOeFcv9zeILWNhLNAhUSbXQ9L0OqGzArK36csjPzFi41y50Nhr1AxApo9Pz/NMsqAuCNSZbcPDkHpAdCpTCJ4qMsHD3N+pk32jTLeytcrDJLyN55kjG2xCZ2+6oF3bRZAA7VwmHimr8dT5ju5eKicXbdKKlLGP53YzEJKRZaAd4vlJdHx342LXFd/xNnQVH9U7WUzOBKqLt8oURU/T3ozTyqEWSfDxUhxXYU3isW9TA+tqFI14upRzXY6ti1d9Pz60ZNTMxz/PmDLLSOe+piCPLp+XXVThx8BLwDzXooVthufdbTvz3YFKexi4T/HPeF4D6jcNatciRMzhp++jQTuscfhyY+xAUP7tnBO"/>
  <p:tag name="MEKKOXML4" val="SlGnD3oofLBj1X+yMrf7eI69lEhpTthi70dEL0KNJy5rRlscWTc3EVqclGvHP6IyqdP78DwaybR/tPITZxfA8El2a/3Zunvw1+txiQ1NvPSKtu7y3z5PXtVczqw8/vLcgDE+msQQN8OobEhcDWbHdWsQMt3T5wGbExt/7Sk0YtHpG1wn+w5DJ979MuXEOUEPvVIAhCCCCYQ8Au6MGCYpl9yERjFmEsaaLL7fAIAUMRlk+k8S8pIJuS72TACwVj+jLpsosnA+HAK5JaZvoo4V4saF/71ONkpLEZFj2QM+xnzvmioFp8E4mcCeRKY0ff/KqFtVWxjZ9hcjihU/LRL+oHiwnHEvp4+rvYZMk4nzHMi0YWCvQq8ah6I5yj+kTDLFepMiTDn5zpsPcVXaRqMalkca0hQy8DjLMSOWFORxCwfeox/hP6XG8MiTCJjygu8BU1PvCVnAzNlg7TiTDfUzqilFwlY86kTdbEuJ+Hx0tKcv4CaVfzO6tv1TB2FZFAW4W69Hsao2zDkiu86eIgGhIEOTM8i0g0zERyiSuOQXvaVt5qHGMQy95lhydJsxjzyHUGB8dzgeSZY9FPVXDi/Acy5Xlav8Hn2HZmO7O5q/PZpDR6yzxyWPKXwgX6jn36EghYVHgnfNlSeNUu0vZNRLm60RgQSeWelUwfGjCg2fvUZPiHOW7pKyWzmpxR5UncD5Vf9+FypcUkvIlpKrGnUTnKkMKcWuzD0/d/rONiEFluNrqfLEkURf+TtbLxV5Ggc15CRrlRpHfqJwdCLK01P2VaB8n6jA+1Ivm6dueWoo1huoh5MslRSYeXTXT7WVgYZgrMSDiheFYF34x+109hG983qAF5R7uuklAub55/pmDd/dG4+JYEOr6cG0lTyPHCESDLK+JVK8pADeewZkNfP13lBGJUJxnEQkZd41WjUFmupLwOQRygGMiuDBr52P10aTC+ZJWk7jrg6TuUDFxvUTms7iQY97YIEy3t+7XjCF9m9QZFYMumeDONOl+hCVBPzSoRQrOH1w4qYSpEHtkzKMrrmfq8xk3nEQz+8Z825BSqgu/zdMsDItrMWMlXq4exqP0p89Iybb2pQG55XkjeXdR+4jZ/xdf8raVfYdDi7utD0HQMUfwPIePjcAmfoskCstsQQZS7iz7o6f2ewLDkJOMVO8ubG9uynMBM8xzDoDY7/PXQ0zqBiUNbiJZFTmHIhYoohIMYsdWnLscUktg77+nzChrR1tdRCOHwNNWDvrsoQBYc3X+IkU6xGSyB4Wf4C9KH0XRnp4q2ecgS17ld2yKCXW0N9R38uDRu3X1jzK8fBijbC5gu1u0v8NxY8XKkhEiMgSp03TKiR3nspzFRXp3Rm+9ifiRRg4lHBOQ/TJMTXKl9Jis9XIXJDtafgFFmxOlFr0TOO4WiQKxnKRWzE0WXta9Vkv0r1w2XG5n+J9IwRVX+fOCNGBEHHoYU/mY8oOhicozTEtZ2NW8VHdK00guCAmlDutc4kO+zPv0Bt4G8+8Qf1JdZCqMmBDHTdk+icW/fw3MwLJgVcuzxv4bpeB8O6gZrP4lPpT50XZwki2h8kpARKkPRAV6m0lPH+Klfy2Bye3z7ewsUUAbMrXSqS1c0AxYHiRpDgfrkNSfx1X8JgXAN1bmdszfQulMaUIU0K5cTBI50tIs6BT8WlUT1gSeMaJa7mjOilyfnlcs1giBNGjyb5JW4yehOY9+ZVDGizSuQ6KdopKM+a8mmkK9e3CVHr60rG/bmeMjqRPAGjJR3QBd9f6MU1Z5101/lDfajAqPqJ5sZLFM4KY0Nftw9zGBMpz7os0Gu1YT6u5z0ByOCzs5QTRRNrNr/HWbChaEMMvlrURcHvriY0ilEXSgemHeipG9AzSYmXxthx2W28V5cq1sRMlz1f+UlHR1lMmhySLLaxB75qNbT+8v5TelwpSfw6qzBdR44tCIcuYpqtwbBxmqgvipTeg0o5o39ImYzDFjlbKe93DRIVwgaX2RrT3PVGVgph0gVHc3UotyikKL45MrPDADtTRFFvYdWiv5XA1X2nc6QRfsvi9tCZWzzhuUqwKixiXBLm0URkuAal10Zm0IIW5kRKl40aVLCxXrr2CiBd7T7ECJESINDWU3JyYHgQblUNusa3UxZlivwjGUHBQQH1lm9PY66O5uCa6YL35JV1GOzIChgjKsMOZcDiP49gXG0u9KIFkWQJyh3AeQ7VRfNifpkWU+xF7X6A5/lCkcQ8LyBSoaHojAkRCcDv/w+1+DqQywV623QXcuzqM0jQPeDQATy/vmEP8VMV15mIJl8c2ASR5T/slmYMa7/PK8lcR0mH68d7jokTL9y2aWOkaH+0584p9jJGYEHTOlxWGrOgzOdggo4t7UASbHH7+2gGfVXxXoG35t12s5O2422/vA64h781ZgmqN9qjikboFdBjeGq2/xP4zJcniiPHKDnv0sGWLBWCcqtsMqM+Hf7L1bGn4Hh1ju4KxZ/u9ZMBZScH74O1YZy8krj31DI2krxxZpsAiO8SCm57gKDhCom5fUUeIY5YuNVVrIoxRT7nQI38JtB6b4C1zQYmg5/YVpIHvepg6MGzf2WZ98O0vlO5cF0EqZfUVb3ADm9wnD4kyngd4d8l0g7kGJSpCwVIBC/KHVOLJtJuW3zxRzrf0zbl9/HGt4kqvxgYeKtOgjG9sK9rV0ue01iUr1X8S0K9q30fWZ8JyiqaSfbpO1UF93hWt/90tqfjz0jZ4KY8YceYiNZUVHA5+P0gpYuOOkzaqA4lr92GfUHsb3gPZnY5hPcbZv2VmZm2uAnB7evC49kwFk3nzZdP2GKdU0BsVOO4WgPQXvKS+78/qmHuoZDe1njUzHqyg/Xun2wltu3tqk9JGqXtulLDQw1F5Tm3L2Hlq/g4Liaa6r9GhzjC2rsQXNPhaBzi3dMfVOjZ5EHChKPb8ksQQ8LiHZ7MdGAbIwdJ98l1c/+iaumzJ5Fr6yaS9MHXQmxPu3qa37FNzzgbSpIkjYwnDtKxNGxmiBnQUAbaiNklWQn0KB/E/4ybXp70dH8vYlkS3xGJFkYdqYakZM1FmGxlnwYSJRPZ50OMFg+U7Vc6H/e6cHKW0iXrdCNfqz5RvzF+bzn8HqLzyvlTheLILQfISHgbDHU5msVVFuEI5VVP3BrmZhSQUuIGpEEgLPOuBtvXb0zwDqeAb4S3En/nM731r3mfI+L6A2Oi1nooqNxrQ+vju4i2CMSbj/gaTAGsZbtI+gLa7v/imMGouJWXahEKOZZJ7gH2W6VxF6WfBFXT10cXXtsKeDUxbnCeHj9iu/eHkAZNuMivhwwPqw+KaVEql8UFJ0TAnmzwwEbrc7JuWWzXGd7encThRdolFOU2u2yw+h+DwaWxa9hLJwjv8WdyFJxIdC53/h0mjDJXyr1i022PT91qdxAKXAH0ILU1bRhib3vgQZyXmDi1xQDudwvXfbD4UaTBZCDeX9tIBgIczA0sCtwKuESphEXErgRjm9s51reGmCtNZEI+k21Q6pnD/piME7WHCsWAI3szra43o2LMzUWqBiB3/aojuShBntInMTzxo16EOGMJJUSOwQU3rEkP3Rswoyjy57vghthn/q8U+0UEVeDM0nrpaULrw9pJPMjNAWX09V5OOMAdbs9llZ5lMmwoYsWNUSFI7SUwhzt2PjgRpS6juuGV+99s5jDKkODMP9tpFS/i0NVAK2Ea+1xCyWzqrp/SgcXNPIeTgnKo0H+usZGjqEkfJRVE/eTolJRmD0Jd+IZG3PFYfr7vxoQlUGW+wUD/w4MotIJkXlaZbQiQ0/OsHAQtBFtpRUWulzPXyRkWmRFd3vaOQ7qJGB6ocG8se6hjMOiZFzgPaE/+9gAmfn7wBSqgv7bQI3rs9EeZEW/aj18iDdiZt9+VyAiTpOWy8T2kopbxddy4nFmyyTQV/XJA6OtTLOk0rRPBED+u/NQop/ZlNe0aiytjk2eVBzUjlVyb/Onxnq0LEg+A6e5x5kxQI4i3gVKn1HKR8xCkROBLxGMlT+rVnXuOlBIbp1MDcVh+QRH8MFJrwjTD0X5r9GGs/YDD9cBBezijd5RjKANoOwhEA9fjMYwtEym+nBv+410y31T2Nn6bOnUm3WGQRC/PsFneHRWLtr1JTjB9B0Hehsn0x8N9lU4jRDPtlO3W72ifJiQVrk48osb4OKlTuLOUgS/raTGxvlE96tBgxHyEnz6oklp7wxvMh2R9cWP2bxcNNGHt6/SHO/7Xe65hGxZNVa9wJqa3avN5IW3sMID6xXhTmpigivJryhw7qQl4bc+Y9qDDgIPPVxh1E1ButyMrqzrfhak1lAu14q7dEZHv8bbcfO6TV3xDFMVS6t1dicO3STm7K2gWfvCNxTqN0U9XD8BlYMfaHLnfQoIyFUrDgNpyOGBOP+b51zuKQFS++7U4+xarzwL3Vo6tYeJsx9ifn+GSVHl5OKPRDKviWYa0MDAHhEXpLXyxVBB3Y0HEQXqbhuz7BQUJFkQQ0Aql8rqBIc458kGe1YqtgCs3BhjWtWtqr59mXjGNrOfh8hdQsS74PMwgn8PBK1E/3vLGHn50moX9JUyRFBvMLLcEsJzbXyHJagl5H1y/otqlCQBSubuLZZDZCUMSIuEM+3H/w7OVFyvlly1CrdIxFDsVO68cGuu1oZJRRCkJ4g7PJRmUbZWJxkJ00BhLIi0qtETc2m4cFuKhlbBWSaIVJJHhIJVe16y+naE6zy/0yaxBlDJhp+qUtdn19iHGgrvhQeHDebtCp6VmKbiFRqh5uj81lYvkLcW2xxV44d/+beg0r5UNfSWmSg+2xLS6s6bKKf0XAX2ZK1/3BKFsF/upV+Y5IWmklqX0Gy6JswuFACiL1sJQcghr1s5/yvsljfCDbMur0ZA/tJva0sb+ViQWpc1Fld40pH804SrPMJWJHRlg8kLBV7/pNtbE/XW0z+jB3DQyCfyZilI4TD/0nnIp0nuqtxTdcRJDcdHl+Hlp7JFDhOXqyC63quJKf8ZA9YiNp6m1q0nz83FMlg+b9oIefYK56FyjLbdFhgfQLAX5ZtZLFpECpnHxyFuPqGGiNoU8tken3kgH0VFODRCRuDXgMgQ3nu0Syx3QDmwxCoJWC/76NUK1IvjFYMsmioHpDciJ0YP86MnyMyPRY6NnqQ2dDNOR//nLFLR5Lnk4zY3SZ4jAg/pnwi/RaNFU3XKOoLJWg0q0973p+MwVmMcxHp/lO32pOfzhRDj/Ze1MEyLC6tp0RvTdd0P1T7HhkcavCOsXW+pwfNHTBGOuAWRnrVaIqDqk0c2qV8Pj78oFePJZfZbmolZ0jMqbYi/CF2hSyJaaz9Ex8Tcf15CfA22UaZu9dJzJ9p0GpqVTcNEEArKAsaxmg6doDZBjlG76/OiYWakHh9mIHXjH0hvU4IUJgjH25S2cdGq+ZaQVu5YxDGv1lgcBssaeZSXc9/tLEChXs7KK9DREPDsyI7bZV/pnrNoG6dY5HAtuW+iOIc4LTxGZdIMw3RCVN7xQTt5t/OAXZFuBhBulMHBHnjRHBsS3e7XrSONHd+BVURvK+e2Vw9L55hngR0ii2oKQ+0/MkAwxrSFla7kvH97W4guvcpCuh1xbnZ9QmhpmfRnZR1r4h/qeogBQ38MDKPQcpbshiC2wJ5BlIBUPSMkc//znpZvahLMhjxYm43o3Vn7k23RjjpF4G87rbNkI/5jwUxBLDSYY3Lfm2WK5krTD4AWs4NuzSsWRMAIofVL027lZO0ypkeUfJs+iVcrOcagr0SD3WlP10kf2w3GDeMS2KtPE8MY9mi8p3pObkqBtNEVUHc36eRfASRHSbCcZ/fiukS4A2wPX2HAZUI7kIhjbe6tltFu1zEiZEdxhKM4CX0sW5hzfi/3M7u+aMld7Cn8/UgVesgN5fVXwcF/N4NXB6NlbQNyVVE/BPGHxsYZaDxljxLyKK5IToj12w1QkYXbIcHg/mznyOGFfygN81XJ8e1foalteyhqVE1qxt3nVylJ6QXncUWP/UNvnmKosj6j9wUpGLe8I62QaAMF9DOcWQMJ1ljPSqWAx4MzocyL3qKpFlSDhHEUQUrUibaksuqAC3AkcjoOiqgTh2GbuXBa6kc9kaH4rgOuRZnyXOOOON5Tv6ETrNwmszKakiEtHBY4X5e+HOs7KPOZ2NknFH5NCEjJKZ941Nwg/FI2ynUbUw5YfkvYIUnrUgyeqEQc0uz/kfdXABw93lxH79nSEnykSMI00u5Sq1pl+wTg+2Y6V4065cTzsSJY9yshq6eIZgEP7llbI57oeIsT5HVYWx5K8VdIaZ/q+rObavEAcw4/NmueE3OKJCIiAJ/osjPhnvQhcoAOciTVYgIb2xYIfVQG5QW8DAXlx58jzBJGRG79kSCrmJ8TYuTxcGiZcLXVNd1jJQrE34rsPx+cdnM3/zQFDGLgZs5TZ9YKcPxqNyVyKZrdLqHQ7nodGQDxMsnZuXR2NYpA+0HWoHTkshTFyYNUg8Bpv6ArFMUuSgIFeq6G7Jl51z7GDA1g1X9H232oCOuC7IVgCeo+EixJi3aJGJZDOUO07EWYYd5VUGbHJ2tfHzl768LCNeb98W6LPoQ01RWl+K5kyu2RsCwdrXkV2W84q3jbGoJR5a2ySTZceZSn/B+DxDTE37g7TrkAs+Grr2Ac7f6bOUkvTXg5WGNq5b7mk9Ls2sibAyWDxknOTj9IO9DLB4vtR6HXNh9I3h7UEzlPPhRD+Ydcu6/i3raL0C7dqQmPcBmcqgoEpSzO5d1XUr9Cb3dCd76u+4H1rbVCQvGkxXLk/3ax9SNY2CJgUcb9BIUK+j8m0XbJTruzg7qp8d1GXcb9b50xquq30YN5Cy+gza+/ALfbUvLdrkUeVL96L7FbMbyBLx7TbVb2eqfFIOCZfzu+JMNi2s5m7sno18QeiBqoUWOHLbxrPnHr2arIDZiB9jCVZFiOwd9flOHlh7Pz5CFeiIApSIDn+rwlvgDHpJBZ5M/M9XYxoGqZtSlb4IYwF7vZTxXJVHB3REFBsf48AB3lHGDSSDzBv3qB7YHOz1FnQWfxaIGDEnP2mHcPiX60q6RNufSpG8JEAfsPNtRQvEQWU1tEyFTyiJ8vmG536Y14Evtb748i0yoFdVGsN0DMIJJnBWcu6aDppdlWRXdRS3GHdpvKHjIfFcZwrKPdU5Q1MCLr+17uizkf61HSjZait6azWVHd7JEQETRU5rg1o01SAVwiF8a9SUBR7OQUQC9dPoIglfb81vcd4zUBwvVCORMfC8wZs6kvd+Hg+1K8BTutiVSgMtIEPJlcE+3hv5Z2Cog/1r/RTnwpNWuzsqaO/AJnD0LWfXTrrOPubIxNeSxJgAN7R2DrCfxKskyuDWbzMHbx4OMcXI3VXWt9f5EF8p7BNZGup8gzMSpo+vWM3DNdcBzd+JGfKwvFOjaBtwyEmvFK6KZJvD3iNcLc9mtb4P9bAZEaPntCmCIRq5qCg6yjfcfRuzs8K8BIF5AUYKn6T3u5n3zn9PbJhZgeGhG34pyqcBJPVGromN0S0WRVfQ4Gzhza7ZhafwfhsW/Ci29tOAXnx97QCFaBiWAqWR5OcWHEjl6sSatiBLUVRQx1D7V6iApYlACqc+gBTJd9dMGzdZQTDJwS/g8xd0EFJDXSyI2z7Aj9lUVES10r/EviV8c7bxVGiQkZcH0I2tY/9Ju4xVP6hjzSXpzjHRMFltCxpVylWoWxxJz17Y50SOnBM/0bbiZgW4HgNEyqijJuLRzyAkdRjg8rCuJHMcw8aBZs+2ToRtI3SwnxHzAEkfQEWpzywNpwZFs13ozbFzgWRx4LyBFzQqUBS+gwKFi9lKqFg/JgRikLKqn5Bpgy/DxMkCbCnIo3Lx+l9PHnFUEL3Yh34UieDNF34fWQU/8ZO0vo7JPhDEA+2qkBAWNeOvyx0U80TsfXYB19kpcJccfxSD1jzBxd/2tM3QdKyL77QmZlKAg1rVUOZzIF0rhpr7X4ng+chzkmKb6kqsIPuqfFc2o6S/Bk1jz6Oeh71sDj4gLk5xcXO9kz4MM1VdiFq4yucWscqSslYuksmj7QW1ozgNVZXGbvZz44X5Epy1coAGmKcXqoshRh0XkEfSRx0/04jPto1AbgYuMRy+Q3qy8sjum04VTciBEYAiDb2rCcj0mNt0+eMiUZcLAmWxdVTb6hrdv0X6WymbYgBNnR5Eu+qvjDnBEXdrcs/9bh799LL4nfsDHkEuExQj/PdHoxzVDzkoyiHujx5oBdxRT42Ah+SRWxsdJUV58EONVXaI0pVfS4H5NRudbE0k5x3W4DWTmDFr1Hq9decOfe8JdJzJHYXnv7SJ4rnCv8vSJSxmvCXz/FeAFiEncXfpzzeNfY0WAgKwIz+usoAHU7qJXMAVfulACeci5kZW+4xyRQY/coMC0qTylwhT8bK+0lgEOWyxTF0aZZdCkhTTEZ/10AxbH78o46Rx0c8+exNEwgFB9XW3yZyAm9qW0eAIBRGFEOs7HMKNcc5TmN+bLkypN9caOz2fKUfuM31jvsqFJ5oZ6ppiDMbagXmUHAXYOVwzucpZb4GpQ7595bzwxFdpyAMtGd9MxfFgDpqY9zZ4fdG9pjaozCyhaCbv7PNAkGRHKz5i8c9bPEW2I+o2F0ofC1wg/4w42FOJmo/1YppPG7nhlnbaW95FfU5xZ8GtpSvpnkjM7bpn4LajKXBpr2fh/baQc/vtfG8SXl3v6bPamPzWTyaR3L3IAda438eNkpcixZZ1y5Cpjb//o67iQhwlXXO5lX4Drvrn8BS/OIDkyHLrY5jWGd0mKlO/BhTKU/1NUHFDOOd9crP+FFpaNOBew9he6/6LUIeq4DA/9KcGhC2ZX2+qQFbu7JAAHsUpHwM7Bo6VuBLQzvD8V+iME6ugt0tJo6AOUfx5ATnIIvnSyL3dNMZicMmq3YzgRL1/l66Hhl721PRxS52LhJiXSd6Q/77VyYd880KeXpYFk7uTfU5UvPFRwnTANQ4XXAvRhJT4AW3wdpN7WCOr4mstBrZCt7qgMroZad1CS/zDnpb8N2JnYbBHt19KV9+xUYfs72HgRdSWdlZ6zEMjseR58Wxshsn7HdsJspaFoFbNqKw1N3S4d4DNsOb5lA9iYT6EVxyxJhS+PzsKu5ESIm4n2BaFwNv8oTTNsab2wGY8RVpDDi3zEeosowZFeVeVE+Nt1RlfUxQidE/YT0BCTdrCdLS+UGYHnajuVR1E9nk1pdB2te2KXzu6iiQ1aWL7taqaBANu+OvA2mQIPOtLC+wiSaGRGCwXlbXHbaeMZRGxaFS125C41OTvyz8Wzad2oR9BrbIWR4eaBsQ01OgYgVv2rAzAKh13aZXA9+U9e4dvWBdII0A03l48Ulsf5HRpA16/Dyp6zwJqb4SmZH3TS+GPR3BmJDRyR7lGMvE3gSe8dHA3kUJBDlrkJIRrKKwp1EMmeG9cNx3GC37RVZv8nfTvcgkW3jp5QDhKgxYp3xAAwiCe1m5ZydTdsh6eJ0rlxxylIjCb4iuRKpMlT3UkQP/pzOVLRaErXfuwJWYKMPrNCGN/EJS4hobu4YUmY9KorpZuC4/z6s4xrvMx5cYCqpGrj64yZ3EB/Y36MVPTc3dsoMJ76FUMMp3xVx9c/q4e/sPMWKrvUPD6qL5QC7lE4IFP04JhtVua55HZBwfo6Hd6s6hQ20UYxw4sWCUvi7ciYVR5hwZFVv1VU6dU6BAh8jJh8gPkl2vTGkKwET06qk/ky2PlA/hli7o+rYAwBx3pVKPYo5nkOEDs3pUJpXeQRDZ0jWi3zjfpSf4EXkDhphl/9a3dpn73Eswkocekq6ep0Vcuw9d67yWql+bNkc4akSl7ulWV/+XleRhmB7wixUg0y75CI/s1Q9Uh8Mk/6OxD24aQJI4TwZQMvFrZTPBS/71swXuzl9b3dKZNJOpc7JwO6kUHmU2nWQ2A5viJs38Cxxy8lxSXgxXZkYcz9KrBmCd2FW7DWvITSYTVs02foPlLLIiot28AMlvcJE+0mnPD2Uk4m09knw2CwBZ3zVCe17LVucUtrnEtEyBiOWhfNGSTorzNOp+7/e5ViCwIwluosHeqSfJ7QIkT6y7Vq7eRToAZHY7qn40pYz4GyBM3e5hB8ids/eFnf3HwQDj1o49L6eunXAtcRRw1ocnFsMlNIS/nJGkYNffduSEj6iXHCH1dadgh2sMDgGQymfyIYqwcV+uj68F6UKJmIQnoz2XPwjyUsQHIyvhKarOanSmmDRTBXsuVITPk0XqP7L88cNfLBmb5F215Dyac2ZdAXevWTpn9PSVJJI2a+4AD/r7iggkfZ9gQl872hT9QimR6eMllD0E9m6rJr6f8vmJGr28v54citQRgmoR3y24MstmBwo4qpKi0V2PN+NcR45g8rkrCVB8cGqByhPVq1orE3dyF+qzo/LmjoCE5U1JBAutImbi3YGQqiCaMnr5j3mexBGSt/lEMt0AibmTJf02Nh8HwzLkYMTkUOfl9Ak6p+uBBx8Aq1f8hhWrUL5xQDQp7GJNId67c1Y0u3u+szqeE4ZTvvIU+6xJG/Q7Tn1m/eZQFfG5CYtq3lmqhuprD1F//yqRGhiSJ5B+Ccuid1HguSlOjux3fJXX34LlTEZrmGX8nAKNEvFkEFSJyAkvnPjvgslC1VW28kM1/6IUMju8JdkUoYRruaimzFccR8UDt8FhHaR8BSlxsMGNkoqfUicWrAg7GUBe/9KxAPxcmGE6BZNen6rLFp5XVlHj/r9i/Xld5YGhURXLIz2pTKLbil05Y2XbFvhqoItEjDEiuIW/E+T2roD2wYRIsW7z9l7bns679GYagl4YLnKtQPn2ZNBUKlyIvZg/CxWi1vYC+vpbZg+XN6+BKEPKMqCQfXpIlX+V9FOr6aDYVuywc0JSI5Eori5rEV3CXzv7XuApTN215bklMoipI4ZHnbGrhWIhOzypSKNtdW0D0kYaF5Q6mo6Pjlyr3vNAsvgA3G2dqgSsteubQIEb6Z32DDqVGGxbP/zayPdubF5I9yZNfVXgW+a6Bm4UVfPKycxKs8nV0Ay48hdf65LTqFD2tISYANu3KsXwJQGBID2KQrxv3k6wrKH1VXO5ZJI54sdIWrupUh7vWCMuSvORL7HcKDo7/xzFCLT0DWl6qZ+kTx5ioy54OweSL+/ZzP7nx2e35MatJ/DMRbmsUI4uwX2CoEYOtbQT1BKR8065FNqgvzOGy5eJxQwyVHBi/qOjrYr+84fca27fd4BzGUT7TPTph9U2Q7gMsHLB6JrnrmM6WS1wJQg+fgJK8tt9NcxWNLPQbPY5JvNMSxFj5T/2K/BHXc8FvACiY/Hb7j64c4DClXfowHkHdzh3wRDKC/pH6SsIDw+7ONswuGREvxsSPwiO2PD+iZ7TLktX/B2uVYHVTaw2IA4JtO1OwxCQ1kEBQbuV4vRb5V6n0Vi2GAHmodgmRPm7NXRo3WI6c5GXCh4tFqSk1aWjU10aQVaY6ETIYR99B8rYTye0Gwt3IXHfuT3oKfD+VsKZVzyzGWwPxWS2FFdVUvdwnHYKfzcBVxLw1N6RnqKrEmNw3EJ7UFndmHiLoZy4ADDSdVd8is5oOnVYhJ3BtOHmPLyCujiI28V0MqN+Yj31Ky60mHcIXogVeoT8ge6OA+SCFSP92MrdtKF+YxgE8tEx7yoNeXXOrgaKTGDsnqhKkB+1w5RPpgZu7vxg48y3IqFKpye+cRqxfJlKXzRY341nG/GR9Uv4ogndO//vjOmvgouQaiju0oKlFvX9gOQJuuJatl0BZ3/76B76fRXyfXBR+CUt3FzFsDFAeCYRt9Y28qYguoFaQg/8cDWGVlB3mOlBJXV0A6F3GAOvj3BH7OXe/rzOaHWy/x1QTdhI+wncCXl3tmPR0s023mx/nbnwOvSKE5DwoJqqe3uTMBMPe35k6cfRtpeHf5BryKOvxDvPL1l7XkIdgKAKlekWxBaiZsedY4EkK/USHZAYHA0X0y7ItYj/iRDX4qxiCfnBbAxXHs5WiSlMSaK4h2wVATkbr16uvWsyQKKyN/hj0ri03t4mp7LnsqUdUSZofmfJwnesXDYf2LvsX/SrqsuZ+BCNRDLe3cYKolk8zBe2SS1ULdkSRLMrOZxmwQuEUzYc5ioi3n8cRa8UZCd5b4nr4mURUNoOH6XA31YClSHIui+fkBAp1T/WQ48sGZJyY9/cUJlUhI1xfBxrWaEVNckIxg2fhSlPQ7ZCkDkBHJwY8wPnRvQx0hgf6VeVJAEmh+HSiGmGST3C1I1nglYhzXPBor8AyeyCAoP0XJOp4Kzfwwc5HnOq+3E+6HwDhoxj4ZpNqJbuBlruWporv4DsoHixu2MHMcTidTBQmMtncxePZfF+629uNX4v5wajI2MzOIn+xdng6urHS7lhjYQ6akPOkCC64yPcCp9YRBHsa9SQ83TsVOKwB9Z3NlDEa9gM5Ejrv60sd5UG2VONM5Xiys86MN4BLVxm34imTLmOR3znf8NyDb8nDMgKgbYXRYyLzJrRPt1QANYHkf66nMpJOTQ8RdWAZu0Tqq3Gn2vxL+fn7MjwcGfLymEEVbU/1ZMqt8aaT7FZQhKbtrbMLK5hTj9buCaXoFmFFGVQyOCwfHJv/u9SeRhfc+30ybR5J/mbn/fxm4YP0H43THziFDurWpJ9bWyT4VkYGq/OkrqddE5RJOUZgbgyZY2rWBPDpz3uTwERTpbNnEL2avccGD5Im2VvVBwUl824bXo+NKhy/FQL6QovkRZqafc13w+YM7QFZPqsJM/M+ofIZWPTpf+JMCSlXka39sgNsKrG/S3hUbQYPNs63j74m1zUPCGj8teC3xozLnfqESs5JEh2MlHlicNc1gX5ljIb/gWzUUV7lfxvF7lW+IovlUBq99r5ph+Poiasxj/2qmDaB4A0rJuk9Q3SLU2BnFnCzSzmZ/IlTzh/UZN5xGcr6N/asLud9jg8i/wA/C31xl1RJLErfmvEMBbP+dZH5GvdjslrvzWUjeYT65+suAOW1UIJej7EiatbfG+XVfQQEg0FpUnCmam/rG7w2DUUWFMiWQYBlXgFRl+qgC9pXbPhg7ae3Ml+YjtOxAO2eJe/+MLvDfPwxQPFudOusi4L4T77jy4tX47eXP97nuJgoEtp8gNgWfYHfV00mpMC9eljWkB8bEGDlHOwVYHt3/65B4+AZ9J0K+OVjMlY4FkW85c+xD8wFxyy9s5bUYWBWqqtDQRNDU3vncLB8ciQnRd2f8G+dATzzjVyg6s/pb3a0CSAtYHLwYUwYVIXzjuySThAR+LjIHGJluLm264P14mye6sDs4mfgwU7ZoyZwzclMvnCYfC7caKygXbyCjfU2j4E/A2Dkz3b1WVFxp4swIh3W1kfFV1oWNeyVBYAJ7dTi+9hKw+IDET6LieQU+78/fPXH6lgevyBfsg7GbAbRYCPQD/02KDIo951g4H+6njf74mt9iYTubm8bX0jz9M2SAxZg6HbOt3X8Tp9lz9lGZW+XWpPyeQqd7l5iFIh85YWkIY6Lr3IzQuazoLerLN3H733uDPxnTYqvZOxlfT882aYAeH/C9l/pzkb4NB4eYBBQ8WUsy1yMpSwPuaSVR4DedlppsfEcCjSOCAr9ZgboIGxc0EiDnWPNeLkhIGuGIm+zCw3IVmuA31Sti7DPmnW+KtGdEoVz3VHmg5llKU/dD1+T+hNJFG89Oy0fiJY4KxPXoXuAF8P4E23XekLD4AfFSg5S6r8zBE5Opto/FlDSsw1Uqi4ytOco7kVpk2ks1ylcxDJn/3f7f11fA7Vbgk16MTEh9c2Ele4aHljuFqqqDNXjhib4xupy6qUyjvtcoES0XuVdJzwIzn6/WVwIaM0vsA4MiN6RA4U5BbLyagFuZSko0cvViFjdVh/kq3WaVdCW+tVnOULSFneOGKdOyb8y5IjbePUP29M9b5fhuU/gzZ44CDzL5DlYBgtNUuxYCAL/iXSm25Fa1Zb1zTiHN7+MBxrksJ4PneyWtd0dASjsw0O6z/UCHVh7T3pvtAuWpOxYs8DZTqTnwhQ9HXBzcgJ2YkDVXqNDSuKfn8IHQKdM1XkIZlZg4VaQebrdNjJmF+3DDWpu5X9D0VdGrpnrx8mboL6NRel1gWh1OeckgqDA2i2mDspGJuYagDLGVqii3+R6BjgoqdsWayQtRWvA9ki8IdNKqpamA5qmzG2/eavEJEzpONT5ZhlQ5+ZbLBXVttu5UobyL8ddSGP7ebBIsaRJIEIFzhcQIOc22LnwarN95PXt5JGnFXjN57EXExuFbPCqUWNNdiUq/3/lw+vvQuyzL3ycNxyEk1Jqk2wXIPAGoSXIBxFp/5vFDYmXrXiI170pWAEKLHrE4tjbj6aPTGT/nWTSvIVf2z0JLXjHmYTRCRNU75+hYn7rqbc/yWumHP6m8Pluqj0NbhmGhatxNKScv+i2Teuvzou+3rHkIf5Lb5oElSOzmncvG2Eo8ZkWFR6xsrX4MCpTnim3a2bGnv91z7C/b7hHMX99Gpv3cgOo+eGMqxaZOff/r4Sto2pQmGbPldphTxh5ruMS13IHNWFOIiKgZ3Tu9q7iIxlZoS1jlxIdXgLgoRp7qBCVdv74U9+PYtbktkSbD1RdGj6mSs6Ti+NPlG51U++3VEVYcqWRzj8399HZpFkNHSsLwO/w3JkosgOP89Opx3rjU6f8HhBbUjy1QsLY7v7NFV/1wx17i9eWvNtiIbE807cPtdh7dHkXPjgH90EEN8ggsslqlTnaSCigEhh9JsFH3c2ojNmXF7ytmsWQU7FNRs1SvM2bJJqdADZsfn6ApCCuxlePlpcIi2hggGnrueT58H7n5af0gzRxNnNvVS1w4c2zXsDPfC1LCXw89llqnNQ8o/j0VQas97V5Tje6zs4TQUiS2hBt2axXS4t8smMC5X04tyJqO2qwrvisblFd1h+22KXC4ec8XQka4YtjWnPRVO4WPRsNcQcrZpx+jshJ9Vw4qCICXohlolmFPU0S4uX18FLD4ZsNq5JVBK5Pdo1R1j86wTLwVwORgHp+wvexgZGQajq/ZSIslJFRdZaHjjHx8K4vx8XWQj6cm9ezG7GHNXDhr0EfGWm/LdYSc/vmyKsP3TfXQS4lAL+qgvhPgyUZFjbTU3pi1mcwKNsYjfPr3zR6ek8Huzf4X7bppiXf7v6C/ccc8gBpH6RgcUZTjoWzAIUoOPwX2i2Pc0uyUkDncLvjTF9bqpcD8A6WsrFBtyflckJApR1/Xn6ump0RcWrI/u1fYdJEgdPDY6SkcqX+jGD7Nusei2rDqOvcdTpSddyz1iKlFQdiYQO2hOQ2ki5nFCG0pKIb2Y5MUCukrpk2jnfw4ezB3f4tQehpOAN9uAmt6ZiND/QDW9j2Ba1vIc52U7KRAxGhaOYuYzBDbsSAYvSyZdFTYuKXHs0Ed+tSjePPNvEH47bF/1/2S5NklCbknAJsZeyclUQNUhI0JO689lfYep7erdTj4CeNjts8bc18u+StYgXQIuhEaOUdKFzZRo8VLQ76TpMvrHkin6fl/Akw9qeh9ACx77cYRshQsxOnUS+TgZOyFlpSFoAE4d/N4EsJ0qdTPHiQJASO91GqMdQwAzyNWsz0DEGvMWCZyHwzrcJiys8NEzKjnT3152Z88xHc3mREUm6Om4pJo6Z7LMvTFr7HaoGSLwam252olYIyKYslgZy2ng79nizG0dXpKsWrFojPfXIuIgMvekG/rRr39lu7roa2ur4JAXUUzpF40JR7hS9/KV+21qeLJah6Nq2xOeXTeGb3aj6AUWjh+KOyruxnWMSWg/aEFkeH/VDUGA0RDsoGyhSyRnk+9pO9mvWpNQkiTkBjq0WeSvRmYmZ+w+49P6LbUPhBwJjbnlD4fjTo2UZoUDxqqfvydq6S/s5BhQOihL7GdeDUttfTsHfZEgx/JNBz4FLI5bOE3+9xlQw60cYhNmO8icem36zunBh/XWNPdjBGQna/I6y463fcmambWZ1jPJ4Op6i7w3FPkchdorDf+SjKqc66kxMF9qOjqUrCy+rxmxeQZ67c8yNxDxALFG2oIEWQfONneGD7W8WqqO/gcWvamOt1YAeek2WRTuFVGmmh3c4RDDgDIYyn/4Ls8yyv1xkaCkiGMeQ/9IL+dP7ZDScseiP8Jl3zxrseR9AcCiaVOa/k7SPyDQF6zIKbjOsjytFBeE5fGRaiY5DkfBJL08tsOfzOtP8rF5ZZLfseddZeX1SxuBSDkmWn3JN6E3fWuQrdYDc3np0xtp0n2jkZMlpVW8KMdBXKvDdM+CLfxMnBBVhhhtMRM9gJeK7+PoJCTDQd7zw+0sJ+JBbeSkppbMj1vN81nkOADNU3Aq7O4CHSmr6ra7ECWKv7vRsdXgAiI+pjmmtmwo3GwLNQOA3WIE8kXEG1mAbmee5ko04Q0kQ4VIuafsTHcPVgYw0s38zjrmJuHY7wE6uib5FM3PHRLrf3bwsPEr9xrHUOx+uwbRkhrzXZg/HgaojhjGBAUxzJC1TOTU9ZjKMudQxnunNvOasBEFEPPWeVJ3dmrq/XgyAO4ExEE/AiWJll2fPyn45SkqeOErbfqCVlqR6Tqpx6i2nezbOOc5mA9AeV3gbKqdhiUaXzIPDz/rjO+doyj5cCdOnba8hwQcRCXOzcLstHwyHTCZm676NVj28TNFADzqBsqRyRMxCY8dG8j8ae3OBEVvOe3tK8uX+EImr13TBS/U5R86Gn46yhmeT3bkEyu8a4Sr24HCB/ylhRCywGnN5TF4eB3xBqG/N5H6EnYbjIL7VK7nAli3lP2MhkA+7tz97qDb57Bn+MvvYM/fWUS4r1OaIXKBkdGnRyCoQB5pqjSOVi4iY6xa+TrjfJHl4Xy88xmZcdAlXh0BwzPdm6rgs3Cv5drBP+Ziq9tYfxdNq4Nd9ea1DCnSFqt1FH9i4Qzw7ngaRyvejZOt/HkHB6xK/cLUJ8X7H+jTM67PquwJ1j/bQgSrxkBdlvrWwOqWdn53PO5GuBaje1TqFG5hfyEVBE3B1+AAnPg2e7fAaCL6EqttA0RGO03T2c964Tr2C9mRPVjbi2Zatedyc5kCeZ/WSzf1zQ4EomO8cbnS9TWhm/zeBnKzy5znbWylCui8MCnk+4v8HVofSYuBWh42kKHmlpFHSV8CX/37VTtlCWJD+8ftvrRLzb/S9cY2tkY99KD5PW+zJjiaWRd9wCIMlrnLLI7F3bcagQ/TH0bOXKk6XbcfcHBHGsSCEnPzBUgi8BxUrUy5pyUwmpSrCbRIv0VfYVIsh0RIseH+s79ungPg5vniYeQglTd2CV565ByDF5pDAf4+rwg3nYRqtqMO4bY6Hk+ze4Hs0r5dR2zOFaCP6c7YDC+WDrmTqIoeDTjT1CelxEjKGZCPrsZlKxIcMHvLZQbfyvXMQaJ66OJ77r6vtWZ5s1Iy/LyqjYsWheSlkJDG49RklXqMqafpb7QZWT7B0pb/+LYEfwCq3WxjD90vB1nsT3lbKA2vUovUA67Vqp+maHj3Fuw/Q0CERMEwoeqOCbFAYzz3ikFrvPi5Gf8njXgssH4kgxdL/q1xChoHl+3ttnETrJQw9j4ndnYOWty8lv8qc105+p5CuMLz2vaGBf02SZ8hvu+WU6eZJTlJg2MbByxPm5hKoVwY6k8+bKv2+zYP05bH4hk2eCL9ChatRFxVmSeLRj68cKq6glXTPDqipsNKNyysdEoMxqTdY/QljJMHdmZc2sUWzNoipjYAe0UgN0sKNXpuzPAre0cPT2Jz0Azj659lTeFrvFsLCYMK0t7IBLXJC9wFAI7/c2B3Ql9le+sf/iv9MFgUfiIw1xoEIY7TvAdxwh9I0wE4ExT12z6eeEOikNn4idTq+KnQly+sx/rqldhnr3DDUfdpi3znwOlVWMsS/GeYgRQUz4vtJviSzS/6gT20MWf6M4W16JpEsymCvZMdXO31aejm1Et6gk4rraKMA1TSHzEHzBfUC+u3KjH75xwk7Z/Rq3DnTRtm6syAgBSHPpl5bzWKw5wcBULeEiHvdpaXEvR3tHybzrKZVpde2WzwUnf0RNVlvZB4kIZBTaXvvZIPMAF5AmFmSXNy2gxE3zT1BVF7qUM+K9mIdkWMo56uJSflXH/t1giYLpPdcCgFgeNkOJG/NClL4kgHSqxjIOoRllc1gii7RwbG5jQ4boM6EWURDrxU28fpUI0Uq4IHaiCTdwHbLeYNDcmnNfj+6ccpivJFd2cqvjFkExtQMhJ4uB6dFYIdUK1YBfqMyW0Wp6qmUBMv7QgiiJmJowbXNqbzVywc5xrN+lQg4XvgQ3RmYsROf3h4qiE6k1IIo4XiBoSaMXHYOSjSHQVkYusnePZdyIVSYgGi5N2lG6uDi+oEe+k7qwKG2LSJVo85zQ63g+F49ryGlsE7iCBYdfASF34gMSIuShj4Pplr1AxJ6x7pD/OgrSldpZGVMZP4gxg6V2HSquWPCadBquUQJbMSDjDuVfloX7TYW4HoBJ4N09EKD/qXZ90VlTlB31Z/7ou14UOuz4Qg4HRO+3pNZQw/hFFA7aS2zaDKXVhWyCXgIgCotZD59TUq+/zNtX0oN1LSxrXlVdQt4BrBh6ek3KeFbgXPIYZLLDSqExvf5QV/9jgLMbwUfpI6BhGnkgrAvj3OWeVF64NUA7VMyB+D5pLCuiX7JTzLzBkunCHrz3VQxQhUw1H07J4OBenH8K4sxRlTgqTHFa4x/EaYiT4KZYHEnXrCEppvCik9uOEQQK7LcoN1g16j8wtZanj/YkUQGra7+PGPMBOvEZGY5DeGzjqY65Y59+gVn6DYIflzjBieJdTEVcQQPKPcZZdAlzid3BfcCH8alH2XFKA0UTwomItB1RYC4CvTalgtjgWzgk1QXeW6mc7qjAnpJaM7KnFhRP1kra3ga/xAlDOrwwsyO1VJLMLQTV2p2pdKpg7ol8rfTz4StgqNxK8VJzza0iTearMSfyy2gE2dImRXQB9o37DoYNI3iTRE5OKof427OG66cLTFS1q1JS8zm0J1GP/YeER24l8iXG1YPzXxAJdGbiBhjkVHm/tfxNwpgJaWPOIuq6i1vMvEy1PTs9fayndA65uKtQwEVkAhMFf3myqTdNLP34WD2dFTC9RY06YJdhodQv5UfM/hai7heT70PepheNUAkasQKLbE20SAzuk8n5rCwPt3AuJSiAJ9Olsu7MS02JQkmOwnv+ReHoJJw790QiqkcQ0Dv1zThQrHnJhuYQABUefBPGWr8tTkUXg3q81YFRSGobRC7gQc2g0i+nBViVjiV7iZZF/ac478tvWebRQCuiBRRACZ125RbE415f4P/QxQwXLhOoeo1pAmoW/BKF3ZaxkdLa9rJiX7qrw88/BmTpT/yUQWfIgSXNH4lPjEdRSP8su4P2d7B2RqmNnSwabeoJPLfiVRZzIrUvUljx3CrCbFAFX8Uf5xJ069OQddmtdnI4RDkjUV8DSWC9luuBxbySnx3xKv7S4PWckMNJVmodWRht2xILxxkNjrG1GxjF9QwUr57M6fHjlOVtNCiy9CSJvJh0vS1mYodj/F9UcyIdDI55OieNMz5qrErt4KuCIaCYiHu2yUKCiOpgZcMGGL5/UkvxHWQZqoftOfoBXxWH5ZKzE26/A0nZWAvBCBI7sDRz3B2EnxHM27O/zLaJ7qODre+HOMm7Lz5FSgmJBCssDiv3Jafg/QF5m4Rcx7J6HAaMT6S64U/aULNvPPkkAViUtaUeY1cko3EL8XCLGEVTbw0B0phpWkUsAJpiRTzmndXanNGuWOTS2T3a3qRrcr8waPF6QZ9ArWVKXoXROtsFsPCuUvt8kcQR+LvnN+Kr/QLUsIbL6PkDe/w9jtBJhSSGmL3KxIEDrqEnFlR32DAgohwY16lrGdA3YSVnT8NVQe1FJvC/x1LXkHhdCOQPLAGACUN48O2ce/OpbwJUWkRPuqQo9zILBSz4tgInSRW8Ij5SHdCcYy2ZI2iNuh98jXbbYK/uwMQOUAACIMTJq3GOCZuqvvKOoEvTNLemQJsVrwxwRadPRTlKfB8V8L8CmdIpESphjBu8oBeMlkqIu22t3aGqFU24+RljBUf6qUs0kfHMeaUpya3JeTQbA5buD8FCfkZGon2d7bTtWvB0lPI6av4BqlxVHHP5Gxg4umTEXGfAy2d/jzbQDzlrOlnX7IFU9m0WRxulz5pebfUZFxaEtjy65jLmZn1ydbeTE9ASJS13FRSWBobEXuXyUUmptrh1semoBjRZR2A5ur682O9ZN6skN5D7/aycvI8HWSuCG0BxNMfYO6MLZW+MQJMOvGH0HlyfI321UAf6S2aI4b7JfuLrEobICcb8PZRdgCvMTaqWoRUUXQ9hsbxV+Syr8syro9MPdc1mCBVsb9cLv2B30oxIYKB8SjSG3GtpqoCoq2SlEWb6xZFCHZHA9Q7bk/6Ht2V11Vumryl2dZ3ELYDsChrFgXt1O+BlezRBdjXCPkZt94XD7TmYt4OMEtaurNAZamsAHb5AgKHj/Txw7cPqO4+na8oFnJygtcaRUqcJ2l9o6lVRKk0pkkfy5Jybunoua/HGDouPyfE63P1ujB5jmTVEj7WWHmRoptirLLUqwp/RDNVMIl/lrsNpIbJJ0UiILB0a/4cT8qd/S0TkiC/SqQxkj74a9wvgaMPgjWoytIRV60pwjIYK23hZsnFcEZgxzhMsZJQBiBEqHQU9ec1CMsK8gliFjFfyWT3KXaRcK4ZUwPsCLWyZ6AqTZ1Uh2VRyYQWpq321aUNjptuvub84nbdtjwIPJIwsN1JvTPxA91sQGp06cvSeicej3nqjMfJb7uIIgm5ImonFdfoLBNPNJSS2NbaKWREEh2G8e7Nb1VOtHl1pg1owc6+LcE8oyPj4y8A2Ub8iaqLnCk6g9v9GBi6VAuU89QuuI1LiFgdSsT6T9pgk3C5uP+rxbcP1LO2IwZIEMw1V44IKlqph0uhq+p8c/X1qOxRKX+WnYO78w7sEEC/oMWVzz80LUU3lXijuouSBJTMqL2fEMA2xzlkb+2XifPW8h2n+qPdh/uNr/GLx/+4oH/zF4NyYoSSPEVM4eiO2hXTGQO7no/8FUFGwORFVhIyR6AoE93Jj8F3m0v2hjVTmJ8dcDwu0VJZ8TRbODfF2KEyM2AAm1pvtccYUBmeg3d0M88qgFNcWQpctk/7AXX9oqryVpc+5aVBxwwk5oG3UDPsM2emXWj0v4Ga6qL+WXIF358MutIBWJHxAhe/OSnGxNM7dGzony/u+shNCFqk0alsPCH3xtDhfnZCt96RDXYgGsiyL1tLTZxDI0PYzZ29kzJIRqNdIz4VKIy579cpeB5d/HCuxnOjyvExcRYxcXFsx7Wzazpy2qlgWUCJLyOgNSSwbcZEjQGVT/k01hM2MDtKOqZF7fBwR5ESjpjtoDEA8hGrUWmMQepK4Z7LWPPTP8ziDtyNrGyEeTEASUlX8xTULk6/RaVsRURu8tdqte0lBmC8yx6IsFwer/3aOxAGnDFR15uo7A8WrxSzFQT3QpV/vOH2U+8BI2uPqmQmDF/8RxfUh347JF31iFMlfS1Uuh4FNT5Hjfo0blIGLQKEcqis4CO3b8rtDP6e4X1elUpPzcJmXkfwhwu2q1YNEQmHdJ8cY6pmmhV4Howqk+eu6CLumoDiP2lyswuSWZkrMXygUvvs3J6N21gu2G1/KwOhyBjUWdDxANgZanTlCM4cUblhiT8U3pajsAUgoUtdio5eqPS+2dx5lpqpc7tvBPcyVx7sf+m+hEJp6DbmsyNsldE2M6MttywTCOsSw2azIu1wet20lrt12VSAuN4z5rAf5B/nAlY4IrPiCBvxAjpphpMD+ZoCOWpobhmDlbx3tM/b1o3FdMZBwXnvIOXZlo1tyqr19wA9um957lG18GIP0YOxBP1Rx6JyUSp3Y7jLdX0aD6MaofPioOgbyQqjNXvST1v0mPqh0BjJP6OzxabCEl6iOELFS0fwITqnSrijSNkqEr2xHE0Hx2Xr5ScEAlYZp3fXpyWGK2NttgyW5j2Xluok7e277Eaz4hr92/RDY08owXwq4b6nOvT2/dKDviLbVatkbY0cglOufw6va9fDReMtaaSRgT6Jo1Jl8e9iT5xsxFNqGhU9lBNr8hDyRvOvryPE8l7i5wOORFmiGgyX6v6WYC01oSFltgg2q52iaf4kkv3FT3a6/BCtlDCqVwLp8GIkf3obJ5Acg+hsN+TJqRGgdRatPz8tqxQZOre2Xi/pI5QzXVK5+RYGTfZXnuFqwYSlRL2rif9FHyie0ZLqpx424is4CM73ojmIVDehmj0fkyZATgwngQgcvYTDkKZ6mqVnai5nkfCOvcXYiwbsV/2LeH+PETWil1CVuRNpjDy1iVGNHe+3FbpPoeYk15vl8xRYDVq/SAR9SbSrkeAgKrZt4AZ/goK/QYO1yo/Ips4r6995AuZ9l1tDT3I2xEBOX5czbiZLelsV/t6YOk4cvprSG8WTR2cZ+oD/oe/9jRtrH6SixUzXdmJYaEwKslDr2Xc0xBjj7BqlphULt5LHMSmgRofVnY6tLPfFxr32FjaKbkhhpgs5k5qB6Od92xIi4wkBRaBBW76/ZrXVA3NVWpWt+mi9oEgNZfHp31txvelVmwUp2pshlrzd8Xcs/e7y+LI9SEMA9XdUp58l4QC69FJbG9mD+Zc9Na/GXwJCi8igzt5cbsnrwKaUL9bLgBHVTP+8ohJgTShFvuQf5rCHqYm3VWT5bKTztcmwVS93v+7pVp5v0xSkBfl1wy8LpHrLR+WcfGeeE83QKq92kCgpXLE8/zaEdoDFefuUvdlQloZlUgMPJRlC4rho6Ch/9V2Kivf4BxVK/Pbb6df67lcqkpogSRDSLDG9gDYFqiXE/J1RxQ35hX1U2Ccz/mxkLpQTRUss3TGmOR/QDTR0xYYhBoLS8pwgfuit9SFKQlznm/hPbJjHm9ukwbqiz5dFT0xry85ViAFgSOPkSOWzq9FCEIB8iqOIMcdexea5DjYsU0Jo0YzP9G8PP0CxsC+29IYB/FiMpso5w3r4vGMbbKsUs1J7wTt0GsMbtYnB/YA1JK3Xg20Y2OOJj8vdukG2FMOuJqeIExi0rvUiIZyN+P6TUgzwz/RhLIUJSBRdLUiKAGmgraOL3i/xxQDaVLNpIJICEjyymgGwdnK31gtb938xUxAupfyQoaTad7S1CpSDxGNrUKBDljOuWdklGuIc3vG8dweXyc/H/VwlXRZdaIoKFSl5wvozoMPfS8gNhzN25RXnOXwfLmP2tOxUrXP7Pd/VvIHQuaeQEKSCdVmsR556pXhlwuAf7237csirdFpCUiDd3VXOeZndWYXgaAVS6d2laARzTv07p/V78FsKBGcoj1owgYj49wSs8m8107y2enNwUpIDahqCxeUOoXzMxY5dBDvcuuRH1A0Smpv58Kxa5Eghm5jsruzA4waMHYwgzhHdd4+mxF/Tn1nyDUUgH5VRbCRs7ed6nbxLw8MQkwE2FgOX3lVjhHuxVACxhP/M8Bu536xLJf04JpeutCjnkes8c+oGYiofOljlYTZFQEPw4S4egt8mmBCKVpGhvsrM3kx/uqBj1mXpeNeXEkvuLhcCopCGG//zVIt099N8i1D7GPVyk7jz1U+XdrUlc0RRadkXer+c6z2kSbaVlvKPbQ0rhY93JlufTTLLHeD7njEChFF2Z+ofkTh818sSSi1KwXZZR5COdq0gSatIo2z1CFaRD7lOmSWxgMXnmdYB4q5D24znsZIdZuMqsatjpANKLTrWtCMawDg/IL0ucYddxzuM06fgHmEdqJtQZAQwDnEDFB/S/9TKFBIB6Th4YgDOlQ0gkHP73HHj5BA8EQQBf41/UkcYdxyBJsKKcRUC66NEBrI1ppsXZefmKvT5+u5NNMv47OxmEovrki11FcuLayvz2QjuCOvtKnoudcuMx770p2ZW9auqp37NrE94Z1AD3PGSc7TLJaRocgdDSdc0RbS7P3YbEJzZ5kAxZbxGxMKV4aQ7T/TPDByj/ObWuc/gTHuZOFgKseXKhqQediXvtGoDR8zFSS9ajCGqjdS51AhuAA2aeJNEGdxnZauPIv4useB3c6BbJtOVXV99BeDspcTP+NlZmWdfm82hKBkiAIP2uski7QS/K5W1X1n9EulrtKTYDvIudgyU/dmP8JMk0j48FmcQiyvRlS9dGz7yNVcwfGDkSLxOlZ4IBgOR3Pyxs16J+nDHXCO0hK5jBQgYW6NIdVBEhNe8wHB4iR5jHeAIQgXhsSXIgFv0WhpZLnukoitnLx6Xc+UabT4Z2QPO33Hu85DkBMt4YfwyFuVFjoEsRN6Mpp9AIQQzIRT00Lg3J6FinKxeCD8+CvyTV8/14zF8Uxfpy7tSn0tr1hEOtD4PWeSf0pHtvGWR6uKbI79jX9SsQtN78NoQd1TxyhThoF/r7x07vJOEpY1OCHNk3DLio3FHAjiK9XHXBloDlewhXTaPPpZ+elUabw/xGoI/34l/jgNdE5w/dfeyGeQAgDAJv7B6uiW4rfxUbJqUNAjGs/YYaDgB39m3d9bu1g/VhnY2h7Fa71Q20b6q9YptJ8QeIeDI90sUa/mGbJAOkRBJ2qkiH/gcKfME2ELZ3OB2t+JGiGyn1trEkyMZaUJXrCfzvghL7ta9/iXMB36pAPNK5KcoYHOKW/u8SMxp2gUVLLpd5S1Xzld1eetkPal3V++FIcaw15Glq1cWyRAKC7pFtPoK7QdiBzF3oFXYNKrlkxoURusVsjeAnGsRhC/EPn0ISfO+aVx6UCuE81cyhwRLwTOvmQGMmYpN4ok+Q/nkvPIY6/BbwcNTsEgAKrfEmN2kFC0b1zSCU2/0e0ko4evhzMwAhW7Mb6vIdo01ZjmSsaBKYC/VIlpzY5tHKDmJK+3VvCbwpSxnLxe+sOAfLL0+V4X/K11dCm88yLcAPhKKmCrGeayzF5JX7PlW5XTLzwiu4AGkr/qDey9bB2rhdBDkR1PRMSik0jTzH2U8dnRhsSnvwAek6zd2Z3jiH20aKDoh3NxN1fnsUiuj/1yF714wvEP/uOtBb3NoVwpMhZwSV3FIktbEqGlWXQnE2bnasPcGRgXG7+LCsuTpHlC1fWHE+yuXTNifkkFnXjPwva15SRtHBmCInEuzeNm/RcL861/dFvqT+cPbLiXHS4QdaXiq+2awzmadVsMJB38yHDqH5aRpCvhMwDiQZ3SWjVChOi7wVexcRiP2h/M6a5cWvZfT3wZuVpI8ponR4YPlqLH5OO9J3gyN591yg9GkefW9gE7RB44o0thwPh8G7T8bzM+XW5ZH0DHT6gRwkl6tzHeoU7xfuVC2AMxob63Ch9Xfy5+u5Nrfhve9lftf2dX4UuI4kJkT2zgOOZNxrPzb7oz6T4EvVMXN2mELApajoDCnkVc+DpeZB8WpCRgHJVc1C3zoOn3d7ewh6BLJ35Lly6QB1HQm374/KZTAAEqoFhei6klmqKL6n7iiGZY020IR+hKQbzYeGBueKA9eqhmWBX1AUc5DPcDtf9/jG1TZQeeqpQUxdqAlff3Mwoxe2vf5FvZz2qL9Juo/exGRZAB9eZ10Hz7EyjOWJoLAKMacpm6PlEV9PQ6uGgOw/SxEZGdqrqOpCHZOeY/+QG9o6Unwn2cYqpUH/92gdb7hPxJfPCFzkV0G9S91rZ+4cEPzhpYcpf+XiyS4tNmmw56DgpkVZtqsF/6sJA532KI4EvWOG1c7NThaR9BaO7GxqsE4lhSG1OnsNoit3aYGqSS5/1cAok0acWfj1waynCyKO1bkklG2H+oWua6zVLA2YyCiozp7f8bprOo2/o7+4SmxpAxM8AGTGoKXbHG2zJGqKCTZ0LxfvqmYtLtkrU/aMh2V/2KOLpsidRCT0yUX9RwMXenBYiRBXXVuLv1b+p6/5YNZTxqPA+3lz6zSzDRh87lrPC5cQAiIsIhTBhsjAq4+ORaUo1Saonx00LPRhjS7euN/lzhpPAIV1WLsI6lwnYynBL0TXAtSHf2G9d2o/k9sOtoaCXjKrr469NfvhSqlD2Q433lnmtYRNPkX8WekbF7eDL2alGIdhtmMVpHJDhInZ4Ue8g1bItfzU6CUoNERUswyHyBm2UE2IayOMG9Id603i/RdcymJdEdkBNt/AvYw//fXfP5FIHIJdfAHSEL1wPOUvsWor2lgwCs8FYPZIjJmxvo1gSomBv7G8rXaM91Feny2AkWPo6VsqDh9x+o2x8wKQaJabSL4CylCzpf9DpivE9VLBztSmrO7AntKoNPDOZ7A5BSlyOl7YJBMOivILiEctBSURYZxVr4/Vv34WUDIk1gEX8xmUs/x1nCHvjkq3LlHHjWB/PLwOCx/P23zyvA0XijBeoBatFlz1m6q+Rt8uLiD5blbNLonNZ9JJXb0lALKS1xGu/6dfgPbLslsFYzX+pFSNHbE9lit+BRnO6+SrFWcZki6WEgvP0dGNRyzdi62OwuDPDFewhm/5FC+wlk6K7ir7jJFXY7OBYgAI7TPY3LzcQkoC2Vgce0YGdAqDFtxhADQwRfZm1NeEa9sXm7r5MEh99uLCgi+rJNX1o7LGFIhMruQZYG02lqEvna5P1KDgmMwh98UbQGTu0nWPhzaVGpXQ6KYnUBG89GwmYFWnkFG9MKvoNOiH/RUXwn4k6Y5X2knwoq+qrOJbKPmRy38/Hp2mxbM5UZO8Jakjol5teJOQaW9ckbeSVw+kiL4yEQdCYEm6Is9xZO+PLHc7hyYyIrGDEgJjNfvc/KpGL92t/B2wJ2c+smJaVl+jL6ate0CymrZnwY31Nlt+kJ18UH5HkHqr9WeBuRuQ4EZZ9sNXa+O2OdEh/Qh8MZqt5cmaIKOM2YTJKcUPzxfbbli/z/oWfzCgUNzmOGJeaTa2qnZRkF0cfZod70z9aZxe9U2obXLkZVYSE6qlGudxBhpd66YELvnhxSxGCpvr5aqf0rG4H9dksXEbWIiN9YVv4EI/fXAcotdZU/cXUIqO9Un8M+4xTiUZPSgB6lKYUhnpjAIIiaC4wI6fGKG3nql3082i9GUEpUC/LJjL+2e5irmBVQubxOGmJMH/pNLjAYjX23B52w6JBB6059hhpcaQKr43nySO+fNU80fMxD4I3CnAPQ8rYPVtmALICdZjM8mdumSntiIIlDqL8zm8PX/hiKDv6oQvoO9qQR4lyZQHcZfYAXY9ClF6zM0ugbpDjAaaeL0p9od1+rmjv2GyVvOHohHS/jPSL6jtVKy4O2t1IS5DHZAIs8dzPWtIRDkZRHJHt3fvNct7qwONusLwGCCHMaGyD5cE1e/4looe/UPYDBqPHRqc0s8jFONmE+QTSF0ncy+3Ym1N7hChvi57pmhSjYwpMxbJcJ5gO9KNg2vVxxTdep6cSoe9bY1Ft22Q+bPJbysjV4z1zsEGy6jo20gv2G2e4TTTFg3IA0Uc1zHcJd7a3nH5IMKv+9NXajQEeDmjUIU9vB9zfrpopQIk7v8xiKQ2+XoWSAEpDri4KF1wJlWBzx2VaNjCRCFPXNTsRDwAu3UY8CirTjgKyCKgOthPSvvh5BWF6AzKja0z8OeLMLMk87iUEee20B5m2ozWsuiDuAve1ouOIyMjPYPZFD9goQIs/yHDir6h7sdSWpBE2ON6bUFDIHVzPU+RBZBErrC0XpscCqFncTy1RW5VMqG13VltfWsRIqlDb6iblu+Adgb30vsFyq/lcfmrra8jZAbER1qYPUZqDwpsafZmsIj4KKxVytauLJET2B8iohdwe1oZgDINOTFd0PvKxjPhmoOFiteS1JAwoWQrt/SpL+j7TmDc0neptTuVFOoEZSOWE8VKNnzQgYhx48Cnbg+Pa416D1xduryjV7XTs9sNcZFC4hNIp3LYp3GXaAZZFQB/9F7TZXuZ2TPw/0FIwuS8azowbFsuFlQDtf3+x3+g0fvgo+f/57TmxzWMB1yt11+a7uBwmSHcagfTGpwQ1eB+orNhuoIFFZstyUBMd89eg1PPwqxXFNkFHxYqVZvYQTCjjbfK5tSK2OhRipSbkWbxmCUj5HlUrJKWp5PHl/1gUnxCDLHwSp24NICrDerPkEBw/gL2ZHGRABR8ih6SjTmONGo7NyqQPm8LlcnGiDE7yYQoimzxJzDdsKGtgjmcPbdPlK6rlEOavhA2t6GAnAHhV4NczvdI8pZfljRjyvTr6wfR3qtRNgWdgHnkmHP4wC70BBlpxvnMrHHdOb4XoVNgOLKx+h2Q5DgpYokCgEaD/jW8FCh47CLncSEKsUvtFqE09DX2O73x3imvc5UcDbJ92nmu9/PHw1dHPsTZG6MGwa28Co1d5G5S7jkSN9F52DQYLz2Vbqr7FTGw/7JhYPUp3xQT9fpYaCZTfNxUBPUMR33nDJvg7guTgKn4NX7j01C2QpA1Zusn8deLzDa45BGq4ygWmk0RipszC3OfqtQU6qT0CgKvIQwawS32CEknJygxNCUxgOXJpOeyB80pf+jbZvAUC9D8K0POlxqqwhdrtLzpzwu/LU48lsXlotW0/yLg2WtbDy1YFs5pQCOczrCAMO++6m3AOyqs2jcN6g5R07fWqhgZmNvd1Z0ZC6Ai1NLJ0TufJA2mqviM6yUUiskKqSUR52AFz8laLheuUQD+V9nSZ/WleQUwFRV88/0A7utAk9TGJrlUd3oSnD3GreZ8UAksj6L3XpYgJ/21EQQkDsQ/LNW40uCIGwPtJqSc+3qqNE5APhnmGALa64BxiTAd3cPhinphhY1vsGHWHmtd7PeOYGE/9pftBkXGbfi6wif0CbaMyz9A71Ob19GWrnvQgSYAXKY6VuPKDLxmF/5MYi+Qs9O0ZgqHTrg2x7bJH0KjYvOKxAl2vPICHz+BEtkuD7STCp4c3aIiWOfU6Q8cfLJpHw3OyWmhSdmNj7KvOuJ9s+RdlrW6j0J3PznxOeG4EWLG3QSJIY5nHLntDnte9hXNGkO+yP8MnjvccfoHIwbR7gg2UkWoYrmPxKmU/+Wjqy33SupNh7T1EayndksCo6TdZTE15BIzFQnnKst2A0JB89e9ru7sGD+sJj2euovIGbAZbLrF/gGk14Dv4JaF40awuRF+44fsCuaqajOtl31gaNR2/salNwbF7zxdW44Y5p5kWUjJ2NquZt3kBexVx+50JiCLxRPNdKD2IX1aLhB/Ou5kkR6aAvv+BhJ28LoTtTcabH5WvG4NFqtrHP56kRfRWfFj3lH0tOSg+SFqacMypH91jiNQlr1XARJvNeDWh/LB/vPbAADMkoXAd2wFMK/Hp2ZyZUBI3JWxYjOArj1o0Mo4Lds7D2FFPeLk4ke5B6lN32H6I4hrLF5358lLVJQ3rN6pFCRU+nSPpQnIG8/VIb9fo1OadxU6INUNjGKm0URx//r2PWM0wOBf/EoGR3HmV3eIpJUjbI6MPDq7k2EkFAwh+5aAfi9wys1LCIwljCS/6VkDjSMVNrp+zCrItK0vGBi+/Es7U15nq5vVc+2NWYnTSUu4270OKGwYXzQpHiQ2KYqLdl75C9i13j07gyQO8H5DMtuL9rxpyWYAfQ15X6ibZX9N/zXV0u5MiGCrCekBFsyxiKVUR/ZBlmNJvKTrhohA/V/boeSMXygu6PuoVmNhIyWmFrrYK/GHvH729tvq4XyJoHUEUhcSdKAdcss/Jfs69X7+PrHeacHspHQNHcjj28rSkDpI42l1cnpsgFCX0LfPlOWEi23pXkYHmK+Iwp/hwr2/8rgxjCfljaXjW04h2Jlds0jmJqAP/a0MF+rm6dR5SnRCaB2CDS+HPFtYL6U+4onSVxeZUc35JLQvSJrD+NywIoe8bv9uaP8PXfl96hxd0lbtgadIKZ54DOafme+ZiXPD1jPXCJD7IRGlBqAJY+jYsdRJMv1AtmSoNxOCf3UBwCCmr9BA3pcZqJ44DRrevVVePUgik7sT9TPAhVkbzPEsLfLpKmkv7IZIhhVvO++iAwLgzASZqNM3Plt3LVet4jBOXJwbOcAU6bZGuZmpet+eCzSRjC6pQ9V6KAQnNOWd5HlsR4dWTSCRucMmmVrL1l/k9XuOe4XP/DLnXp85T+/I5tQF/f6rv93/tZGPVa8Q/XBfSBkWA2e6scfqZTJ/8m3DpqJbilL+mOrS4AfoBLATkP7rzUiP9FJF9uLboI0lQffYEJPhCn6RjKuV9c93DwURbVZPh+JfME1PW3wQerYrey324J88tAzi13Mxh1ztw3dd92+M1fLPGn0Il8dX7wukE4QoWLEsO7ZOw/kdSFLDmHawEEUGdbSSjjCNELI7TZOmz4OmQtFyu4EIGNC2AOY+EBudCnrxJa/HOd98xy1O6PMUBFXR41J9unKxpALOvCTYgjQzYvpZ9eS9lu0KG1LTIFI5hYNmDO6j3lCHEvTXV0MHSb9QDDdrYsjER49LVzNoEVVzXjoDd5Cq5G8fqlJzo180vTJDMBrFKxxZN10Em3fNgAo97r2Qr7oXu9fSAyt04nROmklKi0XeoL7AWMApcJK13m9TwBhoe5JYiFuNR3vFpmQSW/JMj4AFreiqtu26AdLBxIo1PQLDkP70EUONYwexZcUjRPW18FwKwiVY+4HrvaGbg4zGlTkfYzR0dZdEQMwValFgbuijALwkCQ275ZgZATxWVccVDSL8sDfFjWdg2S38iCVEdfDouWWsUXp72T/D2JtSvjIwlnsy9hEkYY3Pr+HHvdJItGCV4M0eKLuqKwOuNKAi+x99OXB7RykhQM4MIHUb60HMN9JZdzWzKBrDI8M44vl11I0TCOpCjas2Z6/HjKdVhTD3RR5UvA/dnr0eQ81NiNpM7BUUqQ2pnenKa4EUAkSIv4duWyPF0hvT+rtoEdKyNvYDqFE2DCqYyMCE+nDPJNcil3Zx7UXQgDbR+YwcFOjP4KN6ALuJUU33fQA5Mn39BYYT6tRJUlpaP3CHqSZIgdy7LFGilLCo7E3c3W4r+fOtrNaRAFEwWWBNDOW6fJEFd9XDpNwVzrpIFEZ7MZFOjjavc3yKegDkgqxZrfINRyFqoomvoou1h8zJ9zkmDO/dLWI6kTTK2GG1tlnSlURwOZq/CBpdIzrUgekTAbYxG09AbnN/hnpJPJ0p5ufpxVCNPFHfpir0iWq5ZH75xcFBQTw7adr86XlEYuQTcfWGUSgJoYv1i35AXcO/WOJwGP8WS0qbGqUczIFo7Vn9ByPLT+W9/XYSHpLzzQfM3ZypQTX6Xtn0dJXWq7W1XzW1FdY47oCMF9hezmCfAxWhgsLN39VDoRuetXTDuX5yUJ9FS3uDxylUw6erKGaJPjWWVhF6NwsNnHeL6u9OipX7BjrAA26e5KzteDGiTmBrgfTKedVcsmVlvXEAUdLANmLmdnE/cYunF9FShsx//UFzciu/1NDpNWM/xNCRd48oDyARjoZtfNLRLs8ho3pAIz0WZQdA+5My8TdkNoo86vlxZfsTSJLqsUdX+iYouDvynkVfqlYIEIMAv1k0PySbKp25MZlQyIf8dsdz3Jkuv5CPlU3rPC3IHA8t8Aoq1gvS+2LNdEvPOfU24L46gXaw6Oy1A7dYIYpJpg+8dNFFpHsgI4XBtpqanMf3dMRxo7R4mG1qNUNsK9oJGEgJObp+j4jbTXsaXdHJGw2WifT894vE6XwrxEd/sdyszj95M+shQVBHsWQkrbWYFfZan9fXEXtTtfqpr56khDK6FqIZRbLNcSBMGfsOiXdI7kH5ST5wSY6d6/TXkWEHauCdf6CIncKXDsO5LY4ADzPH/VA6MTWfaKjzBB4RRPlF/cH4RosZzoZcUlVb7SWzxxRyo4ZQ2yX4Is5ax1MJrTMZPz8GPxjFCWqVz0jDJxhaFQq2mfNilXLE6tHr3+bJ611yJWzqj7ruQBq9HT1WJYQobKrg4OscO4/w+kQha3QQArehtfhoMgYqkUWYF7uflMrqADmAAg3JM2bVKbAdEYom6Ug8FzqqzvFUwNXZDZelnPi9DL00ElW7qIYews5vjO5kIYCgp3ImQaLlotm5iO+fzrB0JpP1ADIuLcU5APE1P9jPDdYeJblhPcVMl3lO7GO6xCNCjPxukwkZvH8vqk3mGq5cjhnOQ/55RS6U7AK4kXbEGhT8o18me7stnuB30kuY38XJG1d+qjdfwCgkL91blK0F3pVmQmMFvg8WfHYmkxxkb7PBcRKs2/6xkUCzPGqZtS6MQaPHVUJb6IZHgyit3snlbL3wXeMLDSAVIhmt5I2Ef5b7JbtFB9nuHUpXRafhym4dKKzCiTB695Acp6ba0r4GpZo3fPHN3pfWJRm7zJBaD6ifKjvWTb6oerXZ35oDBVCMDSXsrnnZWBvRRxDjGsgaJlK2IjMeYrQzu9ThAIN+P34253/8SZU3GrRfoeDXDdVY9/VD2z+Tm3KPPkuJWyegLaoqytD06O7W1rmzLQoPhw1NQQw+i3gGt86REeIO/rskVsSMwBpSJrkWw0FT0d50Hi+dSg76aFaALn8d8VBi83JY47Oqhshw0wJuBt/93j3kFt8O7/6CMW/rmCyc3YhB5HG4hGl8MOTTGwV9f3ECop4DSRHu0ZZWq32Tw5jlgrSgRIGkSdwPQCo9wcjpNNazqH4iZkDrFIPVjnPZjY/xC2s5sGiZolCUzwbEci4FPJSbmyHquX6/icwTk6CN7A6QVIrPTx2yrU8mPXfxXth7cvLMnr9L/mZ5es9/EiEz2cGXVtsn1rMSxxfcpvFqQ46Y6dJXguzyp5YQn9x81IEqAX0NoJrtACjHU9tTs9+J3dEAepKPx1Jh2RAXtQ5h1ubkPNM92/wHrLvzynUntWR4kSJg4WzqCgIJMhVouojC9EJgw7qU7PDfmYKie832tgUqPwa/ZXqs3hF9nAxz2FIrzRh22b/5YAQqLNqr2Vxkyl8BKwOrHD9luSiWwZ4xZb34Ru7eW1+8gEy4HPFJZJrudpk/jMupDMHj45OEAdpopQJopRel56yTg1W464FEl0MbWp0CgS3JPoLsyuNK+ctbN2plD7DZB6Zm+PjIkkt0OdCm2KhQHU8+iAqb3wHLBrvOo8tO+qUG6Aa67GHtVdcFHHb2eNukDuJWjXzCrgrTZqWp5pS1x4eGrs8f1demX2tgjQ2ycv7ysN4e/gL7kxTq8k2iimc1Gi4OktX0XF2LxsryvaxIa6MLXu4i3xHsKPN++o9i4DkhtgOvm+sxzYe3+a3I/c/5YNe+TbdVOchaVNf0yjt/G9drCd3Xl+7eR9/LDj5l05zg1jzARZiP0X2WjSBNhtrPsElGr/JhI5ipkzhpR9qOmRagS1DRd2IGUIc9Ieb6DWXxiUrJgvQIoBwQnc6bl8ke1fumIhyjW1OZ4FEWt0rsZWv0qluuciroT5DZGcMnCMtu1dXWuMJIe4PNzz1xmSUoL1TLePTekETrSspdyla4vCh+hWD6qnP5rzvQs9fXn3wMDsJZ0d4F1RB22/j/tM+Rqfp8eWv8MkXS3750QXsLs8M3KfW1mwJ4lMo5yz/Cjb5gKXbgFiQtfHweS11RTT2mLbSOVKXYnrFk6T9Qns+xjhSU4dd/ZNPUaNunSUk6sHRIri8yOsVsOcv03XNRxgaCwVam3+OhuRS4MknDxO+/81NkhIsDNQwtOTrCCfQy6eeLn1enctuD4zooZi5iAWAXfhrTgCzrdhqUds811Muw8Ei17M6+pufM0LSAOPaB7RX+nDo6/KagUBZDQEfzm1k4z96kirGjofa++6pwc7QwY2xAtwmyafCyvvCdjtxARdCeOsBd7vKMiGVVWnzdHyL7RxLT1S/7uic0V+HHA7OmXuGYcbLmR/Rre26QKTyBIfVpgu7+t7TiNGpi9D8iJjuQ4xuv3CH7TaGkG3QUWrGwUjaFCDYp12+SG/yHRqeG7+yt6D4sAjfjvUQs5sn1AHVsgVcqogK6RtnxefUdWyCwzLO/DavjX8IxIeAcBnV1H6EYhIzMLVe3ssZ0MXAUIvovDQeIZaM1FnZ22Id/stH1JPbjKn1L066V5v/aRDXaSZdqwk9C02xeBwdJM1MAJyOmvTRjaluOSfiZL6NwqgdPs7rynhBrtF6peJ+umqVzuok0V/yDeAXUEtaY00WtWi2j1MvE6ta2qYpCpHK0YNiZvOdVNH9fESFc4ZuWa4FKJgjCed3crqYHtTlqE6tGdI0iGT6JYFC0RZ02GRcNU/uu0m8zEsb+hKfho3O5DmB1GZW/pubCswjwe8eEWxcjGtv4FcudWMp9bEDOx0I8DFJA+H/R9dzeANhm/bRulJb+n3YcGKeuRftTBLwx7hOibcb02dbXi/wJxrfbCKESS+nA60Pzfi/6CVdtFJ4uUOadFX47fort3LKxNM0r1EatkY/25P0JGTGqGML3+irbieoOH8uD6ndOzhesx/Xy6iogduHtsEe0WcwpS+vhBhwabDgKVdBWe/gjnqYSy00ON8P/6tx4rDS3x7Xo9cetBaZRwNKFyoQxINC3Pb/c5loNNN6Os7MklgY8CR7/IH97E2GZje7RxC1OaDZV5uvlyzqPYbF7CXUolYigNuHwESXGtQhV3Ty9gj0Gw5STWDAGimSYmDiUlS6w+HdxKEoBH5QYZ0dKIBDMTOIBtuaFmNN/EZUOWW17AjNuqJqB9+1U+INU/1wMLPJBNnBWHv9NT34AUxVPcSn4k+neuwg62RU6iqkYSty/va18k0XX93D/p45DuPYZzu/Tn0T0OTBfD5q+cCmeweOR7st/1cSVqDF4BmgFerowoM4Bp4R4yqX9czo22QlWDtP4nbk6wXFybUNNhBriHHgnQtbczlR8sRA48BTKG5uy1LSjn6qZ06avYT+EgO2YLcMiC9Fdxc/KfO0+aLSgFFDNC3k9D4qdSq9nWUsL2Zs32s+wDbTekugwNiIQkttojt9RgaDfzZdj6GynQ8aSB24rRz1zuTEWVuQWftWDPatKXiOKX//H71wK4wUyO+gr/eBvOSf/c/FwPspBYCRRsgt6bSc/ojCh3/OypymA6dzYe8y57WVKJ/GM2bgc5juVPZvNMiq/lVUERRGYSBmscY01ipK+N/04XdJEMdoaCCkSH+xXsrMXA+NJEnzkeCUVI9DRC0X0f4Nxje9aiWah/6PiIuxXYOHr45jkCIJfQhbOHoLZuScIGaFHBmShQJh25rPxmk/YE6RM0k+43Wa+zb5L8GjF5byB4B3seCZz1AExqWVgQOg6y/pvK8zE4nBI3k7rArrJL6tSiHs1HfDcdpWtrhMt+VxYCPGcc6E6Z55DehQTr+6AIFVspidIU4jIDuPVcDHFOfSKLBGDnRrsCs1It1QwtmYQGzoHuXmgZoo6Uib+/rDft+1AYgI/ypyG+0yOL+x7Jus0S5ORXmmSbfUaFQdYv681nxXW3wBcAMFOJH1zmpjJkx6mGCSL9ZbPCg2EjfGLgibj1Y0pc86s3CcXx9oGRSjMfCGO7hX1qh0XpHNy18ERLYAfxRZ7ja8Xh6bg/slNyFsIHKZbRaP2bnMMpW6SwJaelz3Cj1zCe7hvWVgn4lJ5jyGei1gYagN9dzet7/BHSeEY+mu1esib/3WosTeW6AAS9z6F0gWEf0HpZGg0oU1leFC3RVwC08ooUKea3eU5Ca44Nqtz2xgjQMTlA8/Frjs0s9N937h6n66roeS2JtReTV5wcetIdFUDBcfUxLvVv+StCaySykzKFmBxUf8jOjtDvbntXjP8kQumJdbjlORrHxlIBnRe9+OxPx6KRUalpQNYk9ghcaiUkcodiUU1pzzmiofFMxkP2dqGdfyVF0Du+PuTbx6WzuPdrLQmmT9Ife6LxzHsqm0DVFnl8VNLX/CFdG+B/eOh3kIyNERycRawmIQG7TtxIuLsba0p0Akdtr2GoAClTJPgb9ODXRDQPZD6KIK3NwoiHysUW+a64pLj9M2iTfG5x6AAvilr82RB/4CapjkbsKGh9gaoS/4xa6mK1Dx4tEgtPprbkCK5nNUyYaafBkfQahGh6dlqpGT6HXa+XzfJjcGYnZFWyY5940juT5OEcKHDSvpHXiXMj156cKENXKr9FwOIhux65ZobaZFC/gNzZxOt+0oIT794a307rGqMTdjXP6AVPACXyF8H1R2JhMV62mR8AfEPHXHi1NagFus2J2m8jJ9QjIyVEZUNNgWePnPs3xBwG1ep1PfazBwyNgi/okO/KNtkwea0lx3J05qnabOauJa4ezvrd24a6NRWL9Us9bzBzbpb8O2sXHhsD7D01UsG0hCclh+zHq3Z8yEl1X1E6hSegfFcIul+Hy39XSBDSArGKL8TnfqYhztX+e/sZcYspXr6zmpfuolnRShrI0ij8dzFbAWMoEXN69eoEnTi80XqdYIdW/02y2+zOIT3LIyiCTVKvyfMgeQC3VFvlTPkMiXmELphYDAbcioOsRyR//njd8z+CNYx6UilcL7f8YpAWtHlIkz9Eci1eyJz7ExtwdIOr3oU9qmzHCpt7XmlTNxtQpfVnr3l+WzMrc9mLUj1ijQnMPXVvbweM43osQDFuyZbnLRLPswk8bZJETJFzzI2hZZeQDDI3crPrx9n0MoUhTccYoAuNlkq1qHkuOboas6MXXxMXiH7onKuDFcI2WGT0lx38BV7RW0m0IAc9FZpYviLihn558Z/wtQo7vL0aCVqNVZAEdALCk/OCoPB5f6i7Be7oF5l+cJz9OYovTA80QbeeBym4KbEcFqWPLNkjgcy02ATRab394gFQ470rpzWysB/wPcpfcw3/ef4/V9Q2mFmAd1Bgscwj9Wk1H+4wU1h80HWcWIkFBvptKPnHMcQZIbHJ/FOT0NclI3V9jH4AC5SuC0zTNJNxGAuISJ0xGGuLpal33bxjHkKvJEy/jvaEL8Dd514Odri09PWxBpEKWuIVvWijCqZg5zTkNyzROEw+YI2lYFBKOaveEhHczrcCitC7zyNn19WlyfqR7YMCpSO9tEmUCzJidlvFfnFyTKay+7xL7ExzuqVAHIZ7/Eenhy1ETy+LGxDEwk8w1+/M1iycL+sfiqKSm5JQWDvE3rX5eYWuCYKFJZpy3gV+A2Q6BQsex8YiCY2aKo7RED/qn8nIldb6wZrN73xH4ZeuFzrsEgVzIldvs/iTStMn4m+iQQo3uWMEQsj+WxHkRr9pkzzw9WubkcBiKG4a14+Rj3sspL6eZ6L/GbuDuQ3XXxejaq0WXfGShZWn/kKNipDCevauPaFMQbUzsIq0eQ0dKgIvaEqSrVikjz257A/W4fYpUBZB8gS9Cp/pA6uIQg16m/098gN//ES2OfGnOr/Qq37JCgttVGlnPrkOQIdbzkFtHSYRWOiK21tExynKG7Ttmf5eC9hKNZQRbbrLu4wNvU+NIi1hl2eIFFlT+D7K+X+GpbiC93YtEyLY4/2s91cXz+/4WxTs6TuOJClQFRlajc4U9GC3BgFsAwRU2DroY9iTXhsRATU+uUwe6ZTsyFU+z+z1x0u6T4n/7rWcHHU817UokxWpJzTgB9Acy0fgqQsunDF/ZWpuxwKyj3L9zRX+XMJJU55lG/G8YuJ1Y70/Mc1hEQWBQCv5T2m7dCkYYsCN+edvT2Nvq9/FyKf56jvPOp93L9lgVPTL+c5SKjNFXcKK9t/L8AHU3cbpjqnZzN66FsKsyAokDjdLJxnf0Ms28ZmpSHLObmBO9OEE1yIG7FrzoPKVS7MdOnbpd+HFHT7uL2Qup41r9KthT1VMKq23nFNeIIcb58sjnMyFEQ1Rt7R+gf1PVniqPHeyq4FRZM3q0Kg0JgChlQY5aCI2arKMZ8fPIU+IINLM2Tq9gsvwtLUw0f4FzHK2nz4RT3KB3+hyADtUFlJdpwLdpdh6j04bzDdJf/8P4oh2AkPdIMB4Ss3vD0DwPOEPChPKRipiH3gHN74m79I4HHIfLxJdtaVQPNoobmGDlp3l/owTa83MQYOUwh07pv+9Gd4FzuoT+IveM7B66fVnTR6DJlJTb6fM5FGbWsrb4SdokCmxzIOM3ITW+WbqE+RnsSoVozohlGtKLMjQIb0bjzCB0FWPnrWgK8eH5LktR4nihCFb3yMgbo3oKs0/XW0jk1hjgiTHmI8t8Sh68Mp8eNfGExg+FSnsfqULDlMEuFYky+MNAS6piuuFklX4viZr69txSeGbxAYucfy8ZJ5wk9BqN2lzDCeV8tuPto+XpL0gcBx97q25zIzULi6xjIsNkVsC5NhvsunV/oyV/sgCvi/rYH/rGG/qYSu7AFeOwZkS1ijiVptU7jjY/fbupN14XYiTw0mKOGGcewFez7s7K98qvMRZgMxXUZ4CpuR7N4JZjxhM45VBO6cnhWMwJay11ehIWbjzSMyV/5Rpj9PvI9CqlnwcJrKP2S6jgaJtH1qpL8+X9bjFjYclRib9xO383N6Obidb0PN3/9BQ8i6e6bzqar//TcG+9uM0p6IW15RPYrc06Vv+XOPmKDS+UtAhIZeqQ13LGlPOE65j3EMua6ufQLi2EVNF9VGV1eEIpR6EBd8F24gb5TFkcpfR4QoEWrMOjARqVYPvwmyPsFaurukSVYIZQvTK/uYMLesKzzFO4lG98sb9oZtANOV0MafJJJZ7EAbKofj0UU3c8EM+EBwAaI0od4m5vrmwkjWghNuAXQqc+swwR5Cz3+U4FXzvIyMkF73/unYBywQhXya0+iDtL3KgsVjmdHfCxq5Hz0q+vcjXZzaGOeYJ9C6DFgZqp6T3hmXpq9pAkjvVhrW/UyW+xF8XrGX2mlX08QK+Gm3jc2NajKtGPkDBoSEUrOrNLElViFCl1MqwFwqQ8ndCfyUJVRsAK0I31btld4e6higKZSHcqWoZ8/Jc4BOcwpZWsuSdmh8ZZQFJ97x1qzfwPagJ6gXWt9EXUzBQw7XhiTCFIBhCs/+IpPhzGXBMJjoPvqzS+2Wuzo+kJ8LhrvQhPZwssHH49mxzrS+JHKFJunSqO1A8M3UfhHt5tRfM4iqZBBe3n8c6K5nSvL8IOKhGtxGfvyBgbKY6ebfXtDKszWdu5SU/ZZ9xgLEi5QvAHKRjeZJ34BOzdJQ4C7Ie/9vkKA24vYTl3F0+6hnnHb8wbZqulUcLfEnFyACVWrNM5nVuOqS+PSR9AdV5dbm6mqgnAXtPBOvKC5PD/fzjo7O+xa2CsH5Z6r7TnTInMGIJdqlOIbcDtPjHiU0lRb+QgIjvgAFRvt1SERHiYNZKmfGphLAUT+SksD65T+kB5Nbpohpv2M4l70q9AM3IjbpTI27tih8RdESknVdB9UwO2ES8+/buo6iN/Gs2SJJ6TCcwJy86m4Yeys506i2IacY9aHUUJjr+GAyENA/vdtT36q89FhjYpG1dhKF6ea3QS4XEU3lgUp2NKGe7qmoLSaeglkwB8YP4R0xYW9Ij2/4mohfUfL88pD3KTe3b0CyChMTNcSprKodSJUtP7I3YpP5/XBw43+VJF2jwNYzHaT8Id5kdxyrqfpeFqFW6YRtb/tNkabKnAVaP6nBhDa1ryHiYQ9+VP+OyPMRSqJ3C5JJpQy8fabgKa/sXPiTCLzAUpq9Uwzl9dshLgqmOy+FWhAwtaf/A4f+kQhXE9D67Wf7KnUXxSFq2lm+ByA24h5h/Ub9Sm66bwA8n0hro/7cJqDSdImmcgBJQomPsmKk2L44FkGhDXlY9C6Z2XcxbDwJv9toArNDeadiPBoebPazT2MjPcEF56ta4t9mgzE53mBj/2q4DE0I1Lolx4nV6ULNXCWd2YnUGY7Y3W1sfBVwlobpBGr1JER8e4iP1wfmt0sMVd0LIQrbdhxy2DLxajri/3Pw7GhBPNIA+JbwgTjTJw9EiHkd91fdoz6k2vnJfqjTtrcbCLExNEY+v3ATK+ys0iBm9GH2ysbV4cjl56zFwx18zdXgac5+ObGQQAWAhy985MATzaUYw/gNq7Ynb3sgWLRq9MzQl8OngQ6XOFCeCeI3JojQs5oyQywu7XFQgP7Z++/wSHw+GKzR9cMykUW+4SXIiVVmNzuVJjY4e8SCQwyLAIDAyGp2KqPjghc2WwCQxjeoZsbNXBTQWY4ceUSX2JbG8qG9D8i7+svp9/t5xnjgl3x2H/ZfEkxJ/XPnMCwuPXilS8dkh7TymJdkFLR6xd6C+wd+5F+91uMx5votjJvftrNam7lgB6tdMohvWBQ/tdChzgS6LZDB5/doB/EFyYlWRZLVyTCUpB8S491JkqxJjFyS5OazeGhL/8LbH0SNqN7fCPa+PKjb+5oFU2e4RUuqnooDvd/fO/sjjdy0KHPm2SCiWDoWra/6SgVltQkv9zb/Q7LdsMZUNPSyTaET7hRxAJNvz9bRd6mbNwOj80McKBTVzvkeK/2RR4bYHMEdOJhj04z+ws+m9EGlYj9vFEnDChtZiQ4T0lnAHVbDKrC5DcBUn+dNuuR7kAilda5Qld7bJiQUYNS1lZW1VE8PWSNTG266c0myyGj9Ky2nOXdvRT/eOnZeHi/Q92LOIxPrqvoPTaYRedjvVVKF3e8Uiy0MteTdPaXUO8v2FQ6OE26u4DTU64/aBrP28P0uuRAqBBDBblY9pTxZyH8SJJ6+qMLjtKECFMd3/9yyqHWcpGx2LiEhYfsMESdZdki9aYhM/dBWJkre5ZyuSUKJIpGYfXBXARZi69MeYpgBpA0+8TkzBTr2XTzlfMJxMHsnGgrLbA7tbWxqi38NfRlaAb3czkXUEM13xMVjyuNNL+XXj2E5tK947Jv/T7pHuOz+Tc2WMJqMLawXeQzUBY65AFHdF7IBTYYuXtXq6F1xVZEYFVr+ji1iv09VB+l44WFI/snCbIfn909heoR6dhtEqCmAhWqkhOUQfFfUlZZLyzlNncN/39xfi7/kZLzzxlbzoM8XxL98Vxa039AcaAo9lNndZKu0konxHpjFmIUHwjTCqDa9wNZcyxbfM8Rs4vIT7FUleEu33Ls2udXQNycwRg1mafM63dW2fF/OTFtn8TkyDCilOzAbEq9cUtizE3+f3/SVPX1Jy2J3YIOlqQELOTXAjLW7wCvexMxUzDq3bZhbTNououQ1RjpwrZwPjdP94hEEKDJGWnGwZtdFnQMFGYDKKupD2kD9vuNzqjs1f9maKbreGxQQs40U3ryIanAzsTClbYJ5nCVF/jydQuXCzBaoM4opbKZoiA3IVRrVftbJIIWC4Rqq9IVUnFA5gUHZX0IrbPIiQ9O9Y67Xfq7DPXuFtQDa3hyQqMPtLgQnqBzJda4U9LrlFlJG0nXc3IrT6sZbumevs/02aBntFDMQ7+IwGgghzICr9EnMbZuPhQYGTozihVxSlKaiWLf/sVYl13FhTeLRVcPawzYAv4lYD86ymke9hcIt8Wfwho/mdyFTLzxQC7HuzSgy6YuIFjVRzVoZ/9l680JblIDaA148KHi8BCUGfIZDLChECs7AwC726I7p6CHi4cA4RXEXGPEz2+hDs2LlCzSYGxp0xnJDrnW8vh+/w/MlaHRgHH13bI+WF1l9TBJ9NNjIAUChtvOgVF8Icz2+VCezUs9Lvz+HFmJkMX/xSwiUJKJwYmn0zrU07oQVEXhkJxBrpZJbirJ9M57orR9XKvE3GPbvEmxmHR1iK9qcC+UT+9hvrP2gFePOwDKBgVPnZlm1E5IqIjWzWh0tKrYDOZc0olASk6JREtT+S5rxsMDgxV4/CRNCPLKVzkaPRgwki3pF2SaLShqq8gUbwr6L8o/BDg0IqNhfxT/9Z5pOiNzW4ir/n2SRC+3WY7uyXEmcQuyir6kxuKtyaJJCup2z30+yrK8QHsu+GoBm5Ck03cfmbE91xByPb2fPhhb+RGcv6wXxQxlpT3Qm0uyhOG1sWrfEF7j41pNv4ewIblIrgesFzj40D51YtACvF3T7ob43jzu+JW8cqEJoGSG80gZB4Om+8lJksFncD5ohvYDhODySaYt31lXLBBlp8P1cnEtV3kEUawVqyyS2gjZdSPo229JKngOrVNyPaJc24Jts681GKJjYZEbm2DWdY4SAZlzaD9iet4W6nvOgLPzOroEx+W7WBnAfEdV6iB0UK2sKwWY7aG7HZRc8Op8iPhrJ/YQT44eeRQQWZtJtqbN+nxM7PIBjE0ZHNxzhPO6APhm1uXk2oss/uFac+h7t989yX+UN446GXcdKkX6+4EwjOIIXTMA2RFIIFhjRPOIxiutOD0zvstw9/1t5iXH2woWrRZXWG7G5eodnanSckB8YMAfVr6o9Mp4MU/W6j3LsrHfZinwAM+ZfDbANRdNsO6+Yt7RhbzbmpCTM+8rbGOnVEAUbAONfQvWcPa9sn9hSUs32aCOJF1gKUqsKV0rRMd2qKt4Q6Db0Aj/ex8l1CgKE93GfXDpP4U0eKt/cEbt81qMABo7dmE66vufleOazcQv2zgEnQtfLG4/wl15DKTQg1o9uwcz++tkB/6vvssRfrV3lQ56B+z/TrzR5p0ga7k7hkBs3vYpZO4oh1TsdwWPpGO/rcyPRLA3zGMowNNYUb1+O8TKcLQHlJqIGzq9uKFo8cLt9OqsPQgmO391YF+Y+FsBUT/JeYbQU7WOYrCSnSzD9HN03q9K9a5YchVVibnPAlChSLE5geHpb5dZsRLHY55Kv5KPN//MkC56wPT7IY7H1Z+UzTlz6/vFK7AaMtSafOU3jR5e+xTuGrhm92ctIz40Jn+TRjqhGm7q+hv8kYyHDvtU/sZFzxgL73rP0FzB3FOED9hd5m3K5qkxcMkloo958eI/zvUK+bQ/S+2HU54+8czNMFgJkX2hmbTWyQMqiMYsrduRA/A0/YI2eUm/920TNREp964AI4iHUcrODQCAYiGoXmLAldB1T3UgX39jO1pvhumIAnfTCybr8Mo/F+JNBg9SS5nVuMylVvX3HaGVj/S35keQ1ktdMmj8kNTNmqPwHLV9TqUEX7UB61la0RpT6qQN2cdvfldw1psBrU7tVst/311x1G4lWHu0BZGK8iIy7Gh4YwRdgPhzV7L1FqULLp0k3YkIq9qm0ceUAozUERNAJLATUVeTl+h8femgI8gFwK/m35m2MaQHsgdM00eJABYD5NqzLwFvuBhuWcqLuucX/+vIp+g9Wbq2hwhrHDOHz4CJAgzWVfR4trYd2AoqWywBBa2GY6jOoZ1FhL+2Nam++MevkXcUahn/QJdJ7IyjJ8Uc6dReApH64YPvPeR/WKbanolRfm4oGNxVAD/+kirk6KETalgbTuyxE6CpscFMPzzTKsdrQXR7IWQ07yz5WEhRpJX7VzHXwX8TnhDIOB7QU6eX/K81o0+3gfRC5n3xfbm7ZHWHHbkN5R1Ylu1t+eKmMdgr3eLOrIQ/WA5RyZxERrSLUKkkdBJ5shncFgmtPBiI/sSbzgDcTSVsmYgRHntSJ3VJ0N2P0Ayfz4p1GPnY7tVdhbbH4ISysisjpu6NtpzWJndQORI59VJo9Vf6jPnLvQqEb48fXylOhC/zxJUgNgJ/tkfYdYq5yZzBfDherQhoUdlsvMWE3z61ObVRST7xdLeGt61JGp+XbHvLpyKM+fYvS01YmJeIqJp9DMoIBeKX7pLS7GM3BqMbGwVDy8df9iuuYG2ecnPHm8HLb+CpH94p8iQGzBYb1bkWInKdgJu1QlYKDVMV6RLXcKkyU2VfcLaybmmBNBaupbdsfr0J+O8om5XNsrJfXRoBD1s2cbvYFnETm9hlGNanEM7hzVMSlumuqeGUBsb5JffG+6dVehpQ5XPMPzJ/c8FPPypBsJsIgAt7PIOcqz0g9yyfl41zuUpOH4f3UPgORUSL7yVqNSf9j7TJz6GfRhoM+4Sa13TJf4x01J04MROWB0LNSk+g9ixi9GIrbOCTTEYjwIBAEVJHCbkedgQkpB7ASMUZCV7QySafxTZVPwnCkeIxacvIqsdcy8AS6IssaKqv4YjwrGmitmMMOGGDPVYaCAEC70ewfWIZ4PaUbXwMk6YE3yqRDbUQggEPtRyfH40jsi2S0cmOG/2YJEXcy+vjH53rimi6F4DRP0saD3TdKJ0fUVE7irJl/o/SvWwrx5DXNZ5epWqL25oqLp3c8aYEVN0+k6k4a6z7mHne3DKp7ZjyGzKOfLgamaAZ1akDdDvrzKqm+7e/Q+JomGiGpEWsH/wlup0LrQAUzJ5nHLv2p3egtQb2PX/X6rLb0E4dIV7Xs92DytP4EMtePvYAjR0sC7DKkEWPZY24sBfHspeFQuPtVy1I/TnZTHtQpfF5hsvJWHGOA7VdrtnBFvmdUBo+YIS8oJT6ymlZX43JL5GFYgzDdc9DpIWm3Rm04erD9osOEi+gBBwe3aW2Lbc9BR2p8Z9RcIPcZxmzmRk4LmNgbN916se0POBCVY0OqigDeZ8NRMbFrI5uyYt05+f+EwX30UZKEqpMsIeyzb72RJItz7Mms6XPEaRbNOZG35YdfUcBJzpx9gC2QUjoni1w8j9DKKy3siOSkcyiyMe3NkiFVft+FDZlGDxm7KXzJnTKFPKVu7Sp5trREvUJWm5EQ3jfE7od84N/M719YQHhc6RzvfxubFtWSf6Zwl5bC8ySA1aa2g4YJpqnNCFa5cdmYsEJkbM6QOYLW+BikOeGiPUq4vReD74Qbo7us8TKfFfWvgWGhP5WT7Di3AUOzu21x3CHUKV5eRilZPMZcoTbK8znA7eFuJNCG/3g3VtZO6RowG77SlWqhuZSapqFUXaXWfA6RLwfAN8PYExKDoWyRzrSfpLPSznIlJwOhgY5XBhjqMfA44ZkNQyUVSL2co3sCcHHBPl4VhUSEf5PEBvXuDjGKhTymwbvCfkIuYULGaa1OfhIdoPAZ94G0khk9uZMM/YAUNCQ20DmdHrdIRuvlS5WWjC6HY1N7TmO2PCeQ7ZfT29X0tPdmD9WQvCBXaahIPQSG87fMdSz0qIb2yhnWAyKR4BIcbxnxa9OC1nJNQUKoWs9+qS252HUL1Bv024FWS41+E7jLOrImIlr1JWpR0mvbzZGmHccv6NfmdwbJZenJ03DzaLtqha0Svy+4xPFXz66WlNADQayW0bDSCX0i9UL6+l1t53+UwH7SUkEmeknMDrvRzLSZSKniR4k8hZKNIYG/eUDQQmQxjaAy1EN2edTHuIOp9kcWloOPKgIDKFLD/pNCMguK0ngv/bhW7z7oCXZ/aQdprTiSdBKZdJXizAx+C6MiIhbPBCd/zFTK/6sMHOgaRlkFAF9SA1QO6dv7PUyyVz1P5siGfyNg/KaJSrSvxo2Y8yF77WT1HJPcA2k4VX/1euFmAEzQSaG43koZMgH5P4viVY3CW3PEL7/BDwZdCzwBLvExlSy1QIhq0/J/43O422emiw4FgDKv4jkiMqskVZUqnc/7hLHQYzWBaC64ammA5+o6LQ3eubQNSoj3n4C8UbOB9X38T+2sal1PkpZcdIQlryalZdbH9OmQkgzxXK1gpz9uybC+00ruG5F7reroEQxMrNGyPwiug4tiroMRE2T+GqnWKDlru4oMkMFhuexqw/DGCaukY3VV9WcIJV0YnCSn7FubDZNYd7KLQXGlOWDOcaU2Id8oO98Kx+V/eXyJsEBwxY/2XJx+D0THiudvI/W0XewFhLCDiqbqwJiEIH61jTdC0vSM3kNLwWhH/4A2ip2XEi1uW0P+3etg8A8careCJ7etqsU4IlOriAdSkBkl/u1LIokirdEJJDgyJAHLwcN0a2YK+6/vRkoDMWfim11j1oVnh7YSJBdE6gqnyG7MvuWZaoBFcTgYOkvPsy8FETzlhSr6Sko+hUh94GrXmdbkKP1/rPE+kJgtEa1X41Nrv+bQ64JlUSL/TUu4lJPgLfq0SL2a0G2lNS3QUBfk/D334/sjrczOgR2IHYyzLjNRX/1ae4/X9JiyJ8XBXR5CcD05X8ZXlEvXRYzfQN3zOiYmHAmGjsQZtk2w/Ij2rNZs5YYuz17ba46/DAEYRv37vKAvF7kvWV72vcjV3oYl824hfKEKYc0E8PDQkR49lUIjR84GmBZRcckx9iJD57Sfo4dQ083RXRrJZa1EtgxHyV3qbx3oDxNsGOYqHrhIOJ30AwbKIad8inrCgcZ6eLFZiIsdhscsTM9aRkAJduJiq2079qpi9XLVBIi+PgXWEIOXS09V5ROpxoncdqclrxpwCt5m4vHa34c0FXmtbFd5RzXsZuhfBBQWrMOWWUUlQ2pjXTn1rPQlIA386JLrerpCiTJOgij0H7SSSp6PhO2Pm0Jr1P6SLwqQUkV51reG/eqoLbU2Amyr6DVjJUY9/LOig+cMxgMkgjXY1hs2THBlIK1VU1ccwqGZOeAVTEbDDpBx9JwmQosqoRBKwYFcj5HQomGxpLm2ixqTtw7Mj2kJLdzuJtnaY8iDXg+Vp3jndcEM8Qvr6MqLG5qpz5Uv1ZWl+T0BriRQB/PSPz7PQAQqT6r9bhG92kALC9xZmd2NFbCIlrfK5q5RGx3hwxyO+hHCKSoHLOnKhrTmScNS96KwWgFGMhLrY7QDyuN3jlgwZaIUGJtVdPpN5h2V8C5o1My6EQM+ge6Bh4LloFJvEV/azLbv4RX1kb2vrWgrcck2fiGq/wP2UIq9LlBa6j6nKMsKjBUZNuH3/NIxgFmEP7gOhWx7yDmnBbIRyHzL4JiVWKMfDoI6oppr83dnVtCjcYnDssHheyn6CDJkmsMGsysCkUlRtfIotvyZtLmzJ6O86URp1hhZW+dS9T6q7Gpu7up7aew0o4t7rXn/3uf+KYGD9gzE69tMjZnlW3Hjgm69e4OKLKe9elZQud/cPl7EsAkzrPWy5sfGrA7E1v13a/NMsJbEqabeBTfDo8s1hnht2/yRBe0c1WcWzFOVWFp0SeUGb3tWj7VmBH8qIHYYnARLcSFlJ59ElXvYBuV0z4x879Dpewbvp1s3lE0qgSBQMyhFP/xnOWlDXqOqM42JIRCe7FDC+bgKeZzxOZLE19rneszInZqb09UxypuvU+cBnmUrMaAv4wRssEQcn7cUwqIIStsdb6+sRflZOgz8IghnA+DzwO8QZsxdxAX8TFv1hvYJ5AJbwubeTDTYHOnPXuMi5w7KjW9PRdf3vGGoz2/9UH34IbOm7rVlElCCa4c9udFBRBp5wsCkTQ/Xk8T+F4oAMDvwcs1SuTrpU5Q4Z7fXnpouOX19Nab5QK9si9hoWVEcWxy8rnp9JfjFf7FGDcQ2HDB4iCwDKlI/mB/YbnLIeuIgLDE2xN9lDb2iF8RtHH6H/CfMFYetEpCTMLSEPEsBniyZehRITWfRXSG1W4QzkAxAgkXWAGA/88vegxoHuNstrulMmedqu8Pou0KpU3wlTeKBX5SLJDC1TT9PIaKbnrnmPVVmEglA8CtxxtK3xVmO3nMb80XH21qANaSLK+6qTlCPm3ampGiN50L4ivRqxmnenCmWIdmTB7Sp+sDIWwOE6Fqw3shm6CFB0yITzT23/wyMKg9fTTc5mCoNWlDufYkxMwA5Sv7hu56LL3q+0GGpVpkqOfkNsuPwjARyFojSnwm4IVwozUqYRtQuEOsfC84rBrV5OKENQH30h+9BSFrw4UjE66Lqo1qOoxX/T1o5Ar6ikFBQMopUFF52IN4SO0Y0P4g2NKYMJqIgiRD7i1Exk4S1U1UlTHRDFWFy3AaZImSAnW65y48/mdRV+zxpykA0VM+wHhOJLJSAK5y3qglvF5a5MZ3SrMtY6C8t2Zch50ClkvhCd5M6bK84uVM7ue1esLED4d0lUykpGH2hFqb+r2pzBsQGDuOO8xdx/R4ZvZd0dBNHF/gX38EtPE7snXPWI1o1jQFSPVGaYOs+ZPrK71VwNXBDHLbEcNIJxEX3OkxJ/tf5OkrMrAjrxhHWuAAXCULlNjVuZ3lrWgLibe9JbTvVOazxqLcRlhBIXfkqPtlhdDU5r0Wx9bl0pUVJp9E3KL9ZByT2r9Mdt0ZZT9aBh4c6h4akaziPc5wGeKEblp3OA3cv8KKfHLM7OaaWEH52KzTYCr7rxI4RSOVPok1T042AOu2wkB6e868U0Cq6lLlxyIdCl4Htmdm3oYcsZz+pr300kp4dTXXIQlPOU3nWJlmgAZ3+tJFd4DUACFs0DL/jWgRN/Z1S0dcAk1sqoL0RfzUyppP12VsI9nD8NytS9SRFuR6wy6V0ENvu3+VT6p5tZwateL8VklHMifJgtATpIv2U5b6Ph6Fg2YQGNaawUsl7UJ8o80AqHHrai21cc1yRuyIny7JPKGiMSMA6i4YX5oAz1IYDrpJ3Zdvs6hp9KvPUveke/RntGpr/mkMA6gSNOluqo/hxBDB7wGWFT/DgjAsGPsbnza2Ac/Rm7FS0Ad5EgwFwt8XDjvvhBjPqdq+02rVR8yIzo8JK/ks7jUp6juI4laHR9BuGIr/w5M2p2MQ3q191Modllk6lXZs2SZ/obej4rUOgocdavOM0TGmtiyW4RlCD7q+1DhpT893gq4Dv7cu8ls18Q1jfTeCbB2ezdjGAezC9XW/5kYLSw6rDExZOsd3FLBOwwngFIaBIm+MgCUF8H+Oum6+Mztgkaj617pLujiDuZr+Ue0cqNCYtD72U3FKNWNVW5anQXXtURkTpu2tH8Ar2bKaoI2jvsTgC1AG+OHCxv+CRLVIQQyZcoSJShUxYcMe2U8kVLxO07cFPnGoNi7eaAGYPxTzsPD5wwoq7zF+jWgPG+AcgMHe7YlA0IZkBPJalBREClKmEPPuQ4hb2BkIlYmx+bA2oTHMkQBvER9gBqZrxmp7ZOpEd+l13fOFxTpaJxO5hYkghslIAm+/86TMH0gom42DZ31dlYwfhTqZPspyQ9iqbRSlgep3Rswfu+uC7DbkQ6Un4Z6zZvhbqWy5hQRogmesEgRV8YdFHJfyWrxZs1Nvdav3RbpXM7qlUx8qzUmfD5fCmn8YXKVcsTJRJ3Kok6WZvPVjygceArbD0SEU4XtazI6v1LprdQs9Etkp5rM4IwqpgQlhh8jNKx8H5KE+VOtlQYujD+MEYoBRZrYKUQCswHWUKUQWcbtNPHi9QYYjh0wsR/pbywD8lSA2ossx6blN8Eg9M6KrFTXbC4ZN0h8INyApZavGGgAI8mKwMJ7pXqPRpfWLo9c1u3TenldQDnotelG3xbaE34I4T4Rjp1Ang0tPdmd9EaFPU8gTQX1kW3XzvmiZxGMkbi72BT4olkhji0qPU8mmw74dYf1orL3inYvQ+NEZ+y9nIRvVdP/4g3lIz7qpdy7epGb+CT2UASJeOE6tWqw8CwlcZYZ3uLfKHtsJBlusFLBX+2Mm+EoEs2CUHqrv9RRelZ4uhRpCR/x3JVYCT4MBKCqVhkALfJ5ReIqeHWVWXwYXmLEQr61AMRxWgGTqI/QO0XV0Mcxa4Mrq+PuR3kI6ZLqLs3vGorqHGH6j7H0czDIHMWDDLEiLAWYf26+pag+BCCoMJDuSdmG31atlEp/FEf1r9Oju8xClYf4jA3EwNkHQBfixmJRVtMW+IOcICMgwXMgN35qgEgTrKMdan7ij0foDEC+YeBQTQwjs/d+Vt52haubag11BzBOevVbroEq6Irwc5iaK24+FiwEcAlzyEtFkG8kuNLoR9AjlNVYzTvaCJK6pbh2FfZrRu2Y5ao+oYOGcowN6+/RrvlYVm2KcN00ACUWgXRhQhIHN27uUfEQ9rjCHqh7h7OBW/gdUwNh2u3hXK5WklRPVbhH0N/myygzIBO93+5QjpTnDdOq9iyrAGnfN57eHR9yKGm9nnnl+Sj6nMZxHcmc2LFl6yEf5qSf/B4sl0CEFfEEbIUhHLDWwepotC5n5DBDm59mEoLN4HsJIIyuds83O66WeI3LdhcMRuI1sFt3llwa8FawScC1LeYN8+63/Xb8NxjehclqEisyOGkc9jUF4ovhDYa/rsPWVd9b2gXlaIxOUgPZKPznTGvb9B+XCmTwii+LHgEyi8vgTXgPodfaPPoDVAdzeYWtvc3WakoAGoVAVfiiujBZIuFb6guZDVV6nB9jy+Qj9BGNUasfGql45qHiJZ7OLrPd46auOacN6lgcXnB+VzCO5beJ0yGrYhPa4+DMJLPpeGLGKBYMasO90XqWirJWaiCz+3xBJqoXDXsttufSAQVqAuwTZXr+rHqPY85/EDTQwzlP8AUAgYtBsTpoF3xRPS5Jg7bquw9edxy/15LpWtdJZxmhT04nd/mQ7D5rs+Q19KBvovhNyHjsmMe1hga5EAeTvSrPlFo1ogzcKzyLEO+k092l2H8Oq9QwkJF6lK2yLRB21qtnublhc7TPK8Oupo+63/oXa/eG3/KuEGp2YPezuKmR/Hk+IhZVt5BxDHhDSX/+k7dGznXlccnWxOU66JdVeuZrJ2/kwI7vE0Ty4OUPYVjQjbMq11L1shRfB1O1fxthzhtrQRqsODqaPV6wqniDKmHwQ0/1GZVGofLou8V0HLeZBhXuPHcaIS3+86zLqAbG5jgRvBuc/MA8n7fMomSiUtkgO9AbbHiB71V7xfQEQmZ+Jqpp7GpmZD6biNTFxW553LCCKbz4f3XugBBcNWVE+pvSJiy6cBx3L8jFM120TX21XlZKVNdvJIsL397QIOw/2e+MO+DBsnG1/9cozjB9OyHUVDwaGTF6V3tLfVRzYqmHGZCzAoTyTmULtI29F4x1ZuN5+wlX+nbJZ2gZp1ty5/1BVAp1aj32Uz0XOZxYI5YXy5GUOxJEs2HtNO5holTnZOx2Fqu1ETMlVkh50tG4VuazTfNj9YQZkmE4L4E7zXfgTb+YyiMkO/KkgMcjXoRWzq2H5oCr++k8bgU2ziE0QkFfAwL5oXJ603RXn4s/QXXe5D+5VWagBGZGDRY/TCR6PQKF48uASFOeVHYovQqnbjrOwkOxiZM53qSxr5fph49ReEy1W/y8gMCchl1tSxGDksZq6DlE+7XQgRptwpdxQ7EwZ6LAxWMrGU+IfKY0fOSlqvkpqqsA77347zmOrDTR3nO0Y9Nq6LmW1RbqWlpaGzqchujETU1grRaCxQdUgjMny6I2wSsaY1yy6H8otunIFdYrmdWCZznzkbtuFk2myU9pGLwy6QbSsyvnFiiAz4nCu7ICakQRA5VkvOfkinolv12h8zVaTJ1ivecibfx7NtxMJ2nctLAuAORaKASz3575UxSDBt+KM6nDFUeFV2r7Wv/vgBmYeR+BKmM38lYoJFpyXeQ2QPmYCnm1oeICRgRy2C4Y6xlgh3sPFFKBayPhWwbZ0wcDBHIeGVzBjwr6ZEw8UCdKYQnflTbAibPYK7qbecFxgaYSD6oEayb9p1C8MxYqeoSciB8yFL8PuOn8SXvupDsF1T+djUlMl0NNWhzjYhRQxjfWuU521/FTw0SYi66+Lq/P6oc07LP3mIgfR/pd8PLtPoAEt6jt+xRUMxmus4nmzB8G3iOJHWnS7YHuKcBXfAF6jsK5GA4UlygkYmxp8NnVJO8Ct45bEKVYQod6qlj6zI7CEQHAYToil6bjejG6sOm1DN+RSDLUZEoJ6sav/6P5TypzkoEFVMpMBMcTQa3QZMCu1VKmfclKjTYHlAjRip+C1llxgNp6FLMrKAtX6otmqKZTUqg0Tp0NT7BYzTbB9B4l/ckwA7xKyHbwUimDfTNFX5dHpgoSg22+84RdKTDDOSsmmytHW3G0QjZUxdlxyckQ+l5DTyggqLEv7ly6/703ZGrqCOp3ZDnfJjsbrU/swXBSem7bI91pSpmchlcmdiPWFvq8wa8EZBtNkJ/ZqpzC5gjic1mcD2jdQIH8+/JkIgQ7njLebVXh9FsszK/IpP9ZsObl8+6nJ7Ol/ZXCQg4Tt9ghLqR8jUo180RXR8/ClXK1+JGSxNHvftxilAQLx1DEv1cYk18rBlu2yst4S7C0Hl75NHQeMoqDgjYywbg19yqgWwqj0oJjoYCick9wZXx4AqvGqArivWzs+S0HpMXRRpsrrUCqdHonBugXrV7b3VjRN5pBExuzSLnDxiNT/lR1OMs9h8lmjZjCghIc69ORDR/Wb5f9KMeIjAJaR14FSK+w3iv4gWGhgw8jyTzfxozfP5jMFNwFjnypaQLxxcdwmd8Xr1A2OKaobsuXl02C42/wxFQCXQmdN4JnWOM9kgGS39DBgQXJCPtS/pQ6dqGcqR7CqLOggAzZV1DvlPYf6JWfNoevwyFECoO0pAvEQRY2v4iNObI6QjLld7DsJejqM6corL7xdMamqSYU6rK7MN9UEb3i/JnOcY3YttpMRp4rds1vViMC6J0ozX8zJNEZwEMm3K5Yhoy495a3neI9u3FmW+kHkehoy0W+q15jqKzVpSsGutK6lqYBreHvMGcTviAIxyZRZhmYWDK1l92yxwAwa03uWyRnq4/NZFaniWlyJQFUcF3IKRB9PzLA6/05dfn9niVLGPIqJscomXuAP2Jq2WGQEhrYPhHWdnFnLzLC7z1kIJCzFPAF/Gu4ggSFOlU23/wI77I/BwGRIZhQkMXFRjHQxo2hIv4Oh5jlRJJtN25SorSpC1qMvfPGVebZmgkObSXN4FAkW+606WTJuI0SZMQAlMMK/v49L97HqU23Hbc+8bZAJwQOFuxht0AHCd+Y8/RnqPnKT6gBUT59nXb8SIkRV2cKn80XqfsnXSv87DfJYrH2SGIgGAAqjBOrfteDqMOf4JA6DkjzmmfRBYwOyilYG3Ihg2XvLzYH/32VLMnsvsB5Z6XMkGIcZxTs+/Gmr0p1HgaZgPwY2WM4VRC/PGxByorlFGSbTey8isQu7krO59bprH+2MKq18WQ3vgepqcqIB08Z7AjH4Kd6ay4Elp3V29SqIsUkRWI38viF04HBOSb9Zm0iSMcT23tHfHlY/6nThUFEF3WQ2n9fDGbrLTuBwAYx/uHOQngMBJh2jGB3V86yl4TwojV3Zut6gtfUzgTiq7fGuOvUrWpZ3iQz6Xsr77A+eJaatgRsK2hTVjPC57M2kq6wQ4BUctlKUs2kw6+kAsD1Ntq/zB6X0+7YIYlOQ3hsC4HA/FBFfRxg2kUE/CRtq9t77gkaLmXo0QtIpSJn9jyqhtMl7qSUQ19dCxTcIxslxVw0bvn19O7TGKqc2FC82RLLM9gTo9+pRYWChaGNgHOf/Tz9ADFB/H/mkyxaomNOmpPnU27FaH2ZxSpJBAheg3D7ZfFPnRCVnZk76FP0aMeZhPRCY5AvZVLFdekcQLBI1usZZlKh1gWUFe0JMiGodqVb4Ez4xvdUnEpcIzR4jTEIbnwOZb2aD98qK0JbqOTh0veKYy7o+6Gictd/yroGA1obW62E/4CQnvfD2R+Hws+WoZeetcJY5stOM0asWaFzzmqlvY0DO9DECI6od8LZZqO3reIfa9OU/uZeR6Daoou/y7pJvm3c3airRalG5U8NlaHjPhzYlZepI1/4D+4g2vyCX5obfq4F8+OwaBLI2MA6mW/xKWTg43MD3DNAo9HoQEyC0oK0JAjPjspneCQdK0TWhjZpjkGWM0YzHGjGPjl9pgsOVtnjFqxw5dzXfROM14DVfNBXmH/klqVf1hJwdvMRANoC4HBPOMzGEo68oHthevadgLy31XfRKqyuSub+4EG2q2GPTKN5Ogva+vOTevJmBIRsOhaSXMBODOGBD/bNbbx7vmZKvJpdbJcGbPMGsPng+5zNQ/S380XWkCnKf2Aij6ORye9FxaYrYTwSsjVDu0ITtDKv1D+15LId1jm4GgOn/nk3X8GKpOIh8LtE+dRF90y22rmdo47jPKgfZQ3sViiqTWngfwe4owT6aJS9mm6OV8STCEoM7uwlw2r6BT7VvP1I8ta4jKJFMSKm4IqC4dtdjXW4jgpaE4zlq0v+EpWIsD0TC7DoKCcHiqYxISOt23G6ecirVfTo9HiHqFiORS+g289SE95uNHEM2zN1okiQ/oW9mIY2EaO8JIEYuznVR7OTfOeWPX99qwIvRmUk1idk5/iKUUFNSxsH0mQ35cEMFjgJ1y3uzyOzzvd0L2pYXik5sSUbSIihBVvRTuuq1qp66BRSc9kwHDYf/OaPiBh/h33OcjHi8FXM3TiJ/Qjf+fssLxr/XHPygybF6MoQcYQCWzVTUOPXmSuNLRdRE+ByS+e0XjyV8ZJMY21/PL6WwVTZOM1ZDq7CHodkbaMo/gBQMX/kJPWoxosh3G710rIHTKQr2yVQKvyMQSOUmzKTY+9bIiXXuzI6OESX8wzpj2GLGVmdSUQwC+PpjTedVIuinehzFnUR2i+QAt+qRE81foV/B4Gr1N5gGA+g99dk2+iXH/WyI+g+uSsMb8l6XiVeHre8qu53OEiA3AALBI3uMrShcyccz5HW9B0alaTPAGmiq5JZfZYs5RZLTKULgaj7JsLtBWQriT2MpfL4Wy85WQebF3OYwXY56HyoiEUPPJawQbFHFGSqeqz7BMQBiGDLMt1sQfmc2NoU9tYHK4vYqsG/luCbEwfVOXPKpRAzU1SKIiwLy22dHQCMwdTGLVShqDnRINsI8idDVjUN6I4zNs7IcwkqS6rCxmp5+r7JQKTquBiFFEyDWnV44uOLjWl9HpJujmzrxIm6P/4ISr3E+W/uI9UDX00c+rTqGCTT+Uq345JowqAMgEzSFruRQjnk9FvN6A0Cb9EwU9gJ+B9n3UmxS5XucZuM54foaynBqNwh3tFpFE+krv+n34fjlslXSG/VcoXds7h63ZOMwkkQ6pr+/Tj+GMW3te5vGMs/q3K5eJm6540FMNxveOb/vv8MvH8gDxDc2ZxnX8YlhwGAkIku0rPrTfVk1dzWS9qvmavq8V7VJh2ppePALA2VgtVECGbunjg9juMMsUaGWGS5PaCTQu6OsqEE+Zb2cSotIvWA+r/zzeNQMnMt5ico0p0EV2dYzjP0Osha0BTUZVxPdmp9RhRZAOrg++BENs9EyWlA5AXUHABpQt17oOYyzdFdD2IBhvYNkdufui9FHvmSEPLwF4JeUJVlKsJgMGXA3857uC7UR/fnIXdLVJspEiY/aBll/1wVM86SOQV7LfY8eo6ZVl1ZOqziu1GJxDpU48O99OZzAr7c/948okTOld6yXqZW3172QMbBFgN0ruJICTCBRyOBT+9pvtPMstSiPchhE1wk/uPaGysHDC3HLMJIw+MRuMCZ1bHciQeXlyEh4sfBuiw2q9c2JnBeyK5mjBh4OUNC6dmhx65FQKia6DGwmuN8MYYIi/OF5Sn+On5zE6B/zpTO5gJZhV39lTThEdIT/pYKw/3XLsbgfvrTHzA/x0nKXlg6jyytQbmziBZq77l0aldrbcXm3bXOYK81mJmsbdu2s7wwNDgasvvSujSCjBovpRilWGMDXhJ1aSUK2LAFKArRs3pbbwvdTw70dVvC5dPSSmTZoXjE7o6pdJIE5D5l2P33Y6EAZJi2d3brx950Lf+NWfoRxPL3UKGXf0IX0udtA3Ll+W3UWRch17PQwHzZxj9UcCbtPQjuL3SfPYyiwpJ2tYBXaY1eGtoj3+UkybJPOO6A//DeuO0hV/iLbkBUsXue6sKlgT3+VOK4twiXaTRZmYHmiYtcvXguRIDLSEH8g1nouRpjin4eIyT+Zx5IKwj8J9KB6AZpNMSH+lWvHZh1AfdW4R10qavzlsB5xDICgNPvbjlVcq7GisyGjOT+TvXUbCyaIYK4cK5LoclfGJzG4VtVxmfYIARJ1KaYYBPBV9S2SG19c1HxYuhb6vLbSip1ejgvo9XlQWPi0K4yuq5hftS+0jruYZr8+PDWXaHx0WqjwpUGX6pK5Rajaft08P8exzj5SUUpnxuB/+vlBZ+6hhYCPCGtaO2ATvJJgDaHqswW4U8R4bDcXoVv1uF3AmDAo9ToLFGLPFfkuG4jxKjWMSHnlae88qCkdzau8VMZh/ZASd5MGObP5HsLYzi4tNXxlrs9QfkezBCyeMhdVUqFPFPDWkqlKAPPilYoVOQED/aD6AwmhEUAaeNUxY/0JsfAWaSL+KDK6Ezazo+3AM7nlDp95OMYwz8c5/Z0RTXj7NVzO0OAInBQ8UgzjUMY1f2+bCuYCiN0mFpL2jM5mIraQWB14mG7wmpFXRtn4cKHyHe3YJ5wDJ758Jpzfh+ELnr2IomiM12oL5VzhPjVX+GABmWqAioFIdLLd/LI+jitxflg4XdwD+IXdcbYhnBQYYSGPdytDUkjRpEZfCVVyavIAd5Qf9GxxDZiKG604ZtL5zIqvzfFKV+/OqdOsnztAGwmnDj4gHiCo5UFvO6yNAw21PMYzZy40CGkQ2FZ/rYl04O6c4fQNYzvOf2Hrk95IE4Bzoe9KEYA2hXcKnrv9eRF+Q2h9oKAAXfQJKGAKMd97Me55wa7sN19XLubRXIPOyV6Kwa4pOAvw60ucD3GKvQF+1REEmvxc27jrC1zXXviYF0/pOXkYmgC+AC2ugUvDn39U9QUGsjBObW6zHiPcLDctrBDqS2O89fEk/OBQvxCJcPPB3Qor5muMjDgkxToay+P8PpXPSOjcojzypX4Qmd7eZ/4eR0ZcWPAV8FL2eVmRRmAqA1ljRY15os1mjaMX1OttYliZviGdq+xYwXPoJkO2NJRaLiS6NxSKjSZwzU4ezQgpmPh9paVG4ciBFEgDR+ZpsXCnowq9XUJo9LRPrfTIri1bkCX1Nk6hT5XE/EaJaRSwG2zvzBXZxIEei1gkXFrfTFdoben98L9UzFSDXiznHU1HmFqwyjpCiWZF6DUIACMZ4WzgG8s3ckhrSdy1Ju5Mm2uTGwvsjzf2YWCD1S0o8/AcQ9KjkGnzC+5y5Q1Xstx65UnM1VEWydeUnrC7YiCxIRAlumyYAIm5apBMqmwBpKUU7MydQPyvG2BrCLNOyvb3S4HpjDdhLsiDzPu7T7VJ/65Kg9jFTmfCSuB+DCpWjwH8T+MQqa/KSMpOL3kGWrT83l3475pG0j5wptmY3IHA4VXyc9vdk0T5fPzSq028zxfPSNnYUc3QREeJUnoEGIIgmZLYjwjzRG76rJIqNswAu/kCv6kn9lkGpxItQp1ShsyqRb0xb3XI22z3sqhDRR5+f3Dmii6RkNMpUKelIuFY619ndshINAM28j8TqbARgHf0uvR4/EuXSafpmtd4GuGglf81wFoCRTdgsCtNz7yUF6fyb1R+Fak/Z/rTHKls+xOilfhC5XYy7u0dsHLEbqQRGgDr5aiQGqJFlf6xXdzohx7wndVOyQUjmHdOC/vwKybpikbmLy3RUDyDCpfebo5+Ro22gN/sRxqH2IgjABhRqdADldr5GT274hsIXgMk3WRP37KlvL01svdwNX3S/e+0fKivtSvTF/oo0bZHrELKGKosbJIEGhNk/tEKk1QBD9FGmn4OC0qPCGJm6RDtfDAVKJgcHvOUHRbq0JllYApMWLTriyccDnhPZLsdAl3/6ss18q8ns4qGFxqWJWOCaefRPgFOr8xol/7TYIlR5fc0bFjmiy3czgzimX4Qu5il8AqDAwuDCzjdny/6asdZnyUDb0aI6b7czPsvX3DccbmOQIikLHaNuoS9yh7/vL8eBDrxWsEpB0EdzxvwzXNgfDHL8DTZLc23GJyDMrw1h94VRb1d7oCdHwiFTL94sQ59IATKicJnhG5pjd96AXeHan+ZtWugxCobo8AS4kBTvYWLeiKv5vUtyl/HJTBjzlVMtJLMGGWrzpK1x0Fwnf4QpmCm/oJKNQmP1vcewJ1F/ZPCDhLOm+Rs7AGoXModsW2f90Qlq1go/feKeQB49hl4FIG+2bhZoDbmenwBoaPmaF2hlNhrG91AdQTNhbNxV+KjYSK895zdY3g8P5GEomQE4KQGEpkiqALRtw0Ny31kEU80n06jaRNIp1C+h4WjCUuwSQqsO2WxP2IZHhjj1aH0Wcx0j4UxS44ROqUfUMo3jvHgz1NpKjHf3kZY938ZGqtCbtHVjuppln4kBuRkrGCS8hAdRkHbjh7QULfDJnN+H+Jdn8DoCBT6juBMpeXrlNf1IaJz07mgpt++FRVud3buHKYI7a45hYZWx2eO6wiSly+KWnKE0TzYsFaN0STjtbc8ekcE54qrJA0k+VlJfYagtwU+B87mrkkeK0kYXevpIJl6gJFBEH8OpKxg5GDpmRthSRtqPVA3uj+x+xJ53s34WWQdHhAZz4S+jDZx3IuX3IAEizVgYteSIMTQDvq4O6HLwNHgeG1hx2jqOQ3MxgIhzTrkFafrXst5H9P/nb8Z+BTLXKodDiiO2jglQF/JRVa7K4EZKHGLTvo6OV/Q22ib/3GPPCvPKSaZ64u/tyYuqXBEBIQCE0mTDKOhfw7AVUa7LIG4sDJEijpe/rvdkaqS2AMMXbjxPVQEcIhd6dgmTTQJGbIYVgdwWkqUlRt2BbfIOMTBPxGjzA3vBaEDM6aiM28RGyl2E4mm/AQdGCEB6ut8WkOyMVrvl7NYbdXEK/dzfN1CEhFvULeH8l7ZkYXAn5AMSOjgmw/Glg6EXOcx8256qXCXbDby2VWZe79EDVKU2CquMks5+KD69QKdMAP9nl4KbHW0ipPomjiwcSauIRX+RaMR5JhcSbT6X9JtgNYC7wzjknQXYV8a5oMyVKohzhyBA2VR0MwmHwEId8Ld1gwBIRK5IMWAbgLv1XcNHCphcBmrvBM5fQYqJqQA78DUaiNLrEfQdAFgjsui6e6ZXssWNW1HY8zZRRkVvEYJ3VVX4uCYkf6kmL0hBuN8WRRO+Q2hKkP+4++O0f6YA5VsefyavimFbHDdP3rqHWuNN6aQ5nnHZezbhiR/QWJ96BmdwcImu/mrCsjszGGe2Vmc1i/mBQEkBvsShDnrgrgQvo9O4BqqvU+sCPE8YvHzRxFN/XWN9FlvPrIE7dpTZYmvlOnaDV5JkRCq0qF4oyk9uIuWw6S6QcSxGXmXCsUM1yn/hKcpB0MWrcLgh+KznmfhSsDemB5dSWQvFoCpbhYtsJus606RTWnLRdfLn8IvVR8r9arsy2GiYTCXYq/vvEhMKOF5wx1KIfFI+1jZkfNB2Fq1EDYnSm0cdjhMX1dr/Fyu/g6+njluW5pgEJf840qpF6uca9Fy0K50BDUhznOhIBLNVZe9C9br9AqvBlWWrTcvfs8MVp33m2BRdrWinn8fCL+M3f2LeQ6nInyAwb/tTNcBWh+aN68qqtzD55e7mQ8WfqaRBU7EfyKkWc3wUEqWyia8N6dP4+afdZGypYiwB5aXKJz7AgNj1JHUWB9qVvrcgYZZDvuzlnEn0sXQMMg2wIMLKr+btOW0vEBoHepwlOnZxUwWP+lmPHKYE5EO9edWpVMZIZ/zSOoWQ/uo3uMW68vDmEIfrWPq2mMLNUzBi2OJIhqis+Exe7/3VUpOvKWXr2vBUG66sMkYMzWvsaRrJoxOX0WW61Hd2hL0WsJZXAfE/V9BKaDWGhBBuaFKC78PXZXeto87OhmOXxs5iXpCkeV/pxNcvVr3xn0LcujXkiQRH3xJbj8Ku+oPtqVsefaZMdKexpYebnYn+hkYO/E5pVo7i1fxgx6z9tixACFBm4rSOzW1dnnZqASKFSNPJSAREQq51nWv0cAfzD/3y9xKof42Q69blP+L0Gh0fHQ201OpiHWcF8+nN9/GYAR7ddndr9Tmchy7jHWBJfOnuwkGNSW/BPjhCwV9txlfmxqxUlGwZCGifoG7wiA++j81O916wQVLAopZQPuoySXZykqGGtk8kxlbx0dIe+2I/xkwCLJ7LG+67FQKZQddbtKMHlZoJHXA161DGMCT9aGyBeuej8tl9Mk1cj2vjug6Vsm6r00A0p0CFpDQhmYt5SbsjY5AEANZfrbvKoWxf/eBpXeK/e6f4mNVRqR+HCOEhh5zX1ZGF/njacakFnktz9FC6HMbuo2noRGs4pCo6IE8CxDFXIl8lYEhlx3d5FUkGdOs2ptQ6R+0jbLn/OG7Q+dJqipDCxBYpXcNXiEEWcYsyOXgoaOhfZZm72FXjP4TlGMubJHvRILjDyktlvWUtjOBucytTRjNnL95QhhD9AlkI/7chulALnI9x2e46Y9opz9Q9TxzsdOBM2/7z43KjFPrAF7ZmLMhvzzhvBL4aACGB+MMUaOXYcWIeouhKndG8mP2naParx4DwYBc0Nq9xhzn4Qr6UmvXm2TvUoAhX8MnlM5vFZVNNgs+NgPVNIw4jBYr6InxFGWsEMUnkTiFdpk9uPbKdQ4WU4zfrFyXilB6Zh0un6KWGCul3T9pLJdZZdNqhV7Cc9vitcraaOkLg4WpOn7AVgmx1Dgof418YfBqhKkxfTto/FzvXghNZDLktr1CwUO+J/qSekh6fXoLXlD/zBqMqZf4Bh+CFmcu2QgIr04Xoh1rHwYvp4a5D0ZOish74f0brvi3jcI8a3cz0Kr01xZGDmq7F9hFNsSp4hz0DrAZaWoCIsNJq2iNncYUh5nHWUCYTAXt7cIJDhPsNr4S16aCIxW1Ygtmjr93Q0dJCPFdwdLC0qJbYUfYO1et9kfxwf1k7vIkQymix3QNtC38c40RWRr0kY0vY8GUPbQjLa+OV4WxkK3MFphpXik3N7WHWpUXF39dOKitC4yH/2EX+fJ+ZviqaCgiyypWoYyPQf+xcOQa+tj2uvOGspwmoJBQxWp0AvP4ePwfJ9Shk5ivyYzdtIE7cdS6F4vH2Kbt45+ljRaxzEpFumESjq8EDy0hx+VPBKuJDwLrbkjYtN8xovWlXJhYfgZSxrgjym2Hzy9tspk3qiZ7t3RXyZYAaLD/kx4wBCxllY0wQ/T6vN32LuTRic9ZsG5akSoSrEemiSeAreSwDXVZlClWpUsDY3f7legDxFDwQLNy92u9AvTd/gcTcOsZexAHK5kTdSBBO1XHh4eh4zfT6dO/EDfzDMf4I3asQ9aG/rJpzAY+IuB3rLTt3lwdXN7SdfiEYOslPeXhlpmJVJZgiyeBuQ9hXBawbcq+TXGyXZLAZiiyCHbA2rIHdhgL+MojraIJfZ3mJvwgifE1pMqXy1P1i6jXwfNUohzU9lWvuCtNy3QFwXZHrHfoP7IaRM0xanyb79B0vP16IgL4ET15/bdcWWzb5p+zA2jH4FVhxV9Opn5BYD7SyxgzO8M9CNbOLnEf36EXs7Bfi1MjPctRgHGQkVVaCo0KZvZPVhyGSIFyKmZXbuagKRSW7bHnap8wF28mRzJI6V6gDDoV2cV/Hl/IoffqZySnW0z64NhMjn84+qFaIx763B4z63f4vokPIiBJbleNBoelCWMvTMb1afTN4I4UNrv0CFVEgCtjB23/uWLa2KI+wFz5tAKea+SlzZLNKG5IBz6f7ls3kdtJFrML14Dly03m0ju74wX1KWm4H6OLmauyFMoHcWW9+bg2TSA9Mp23Ekj7FM7kU+Cv049usyQ3Zqdlf320TZwFi/lxkkbRKig/CRoGaNfrs0GzFARcdubumWf1PdMVubU74sYkDENlr8MvI1p3XdIs97I47aogCX+etchRCmKLbroYBduY0kJM9Vb1DN5x2vTHwkIBkC8qEqClOVaEZGW69T14NqnwBQ9EbNBS+L992u2QLI7fuRV2Ko93Oq8Ueoud27aPKhDUvs0vcZcijIBpIwkkwsQLHLf1H4O400avS66fY9kUorhuz3JTYXB020u2b91Hpm/hsHG34UEaSFWwCWW3xy42z8FkiEwuw4+s8LE8MLosNoARNCJxxRAYAIQKNNi2/4ZhMrwc4GsEmSuWTxD/92wEKwFhFoLtl0RBi2s1gRM0Zm+pqKp2mFyFVnCMlggt4H/GrxMm85ghnhqiy2PaPKteF+a3Bk/SSJauVjzj3dBj+TDgTO/DcHj+o2cE/ve+NKByCJJhndq+JzQl3HIgVXZYOmuD0vzdFO5/VsursqWuZz3+IWOl7t8H1oU0jggbh0XreHXNcjtp7rx9NhRLVAcTju4lpiGR5xRmzOI+mOwPx5vz27WWXez8s2Ozp+4rqYnNjgpDnsejhxWvf+X65qDb1WP+j1jp9p7i7yeQDY8NCqbMJ35XFGdy7j8c9t+4YLCGaAoGdyO04vtPoK2ZDCy0B1CqslFJ8Dd3rBzJ0Y9fbIw6bc1xvD/EdeN40BXhCaJ1eRzo81HzTibEg4U9B44HpNCdM02lD2Ymbjw/3CdxDJatcCL+9SvsUmRu4/bdgPS63IHtgIUXvLbelcE690GYzT6bsMpD+jg6PHadMEu/ArS20bUkkRWThX7prr2XZJOdcLzLjuptVp+PMii3RFlPG9qU/Emcn2tVnFme/zC0DRADfnoVh7zOZx//eSPii8KsdH9FJ7gAc24unZBTbr09/xDjuryf4aFFhKLpf5me9MiNGvgn6x/X4uarDXiXRqTW2owRdnzFEJcsVzyVQfR/tx0dNwXStMtWFREc8VncAJW8lQKGpN59HCeTPBxSkGnSrw2oqKn1Xp+4/HHWLwyMy5ksQY3FtJ7whnYl2aa8FMkj7lLK+fy/HNwGSTFp3xq/IUrc0t2RMbPhLeN/QzFPGVmyqVlkinpBRoEsiNmjdas0Qry/u3M/DKoH1qI5ZxUr/m2lW/Xlrc88n0Azgx41muc3uQENC6m9OUbKrUjRLVNAGHivfxONLBccKOhxCECwCMAgLLJyqK4BqHx/V7YZkUrJ2o+g/dUiCUC99XUacjz3dz8LWpQrghmfRefW3DEn1X92H4fsvYMI3fNb6G4fTGY1fGkbcuosgO+TFaMYOZRQ0176y0Zya+GVoWhaXyZakYXgJfb+tJCzgAlWL0XYuMQs2ANDS990TuAXshqeWsY3KsBTA1Mk//8Hk+O58taAvgmNw2HY5EQ7mJZN1X1hUs/pMOTL71z2mYaqUDwZ/gj5NDq2loElsOrT3vF0MUuYLcdgAZIPsEAnzhL6qfw6/qhhC6TwW8IUTXyorhlM1dGrfzlSKrTenrKVGaQIp/lJhZC/FI+WrfJ4PVb+3BEE4tZhloOA9qY3XEJLuJ5m+lVmWwPa2PyBckSWjwt6wVthk56+Hi6xf2m0XHiUuAbtEd2N7BJ9QqU9BfUcKOwPMEVaSGSFjfFaxnH/ryT4dGiqkZuZZFpn4AN/n9OokPKTRWRgAOtyx08TYsxA1uNl9RuioooP2Mj3MHCyjW7zn5owJM1hNkE32nZNfGTz+ahMscF2z+DJjuEUCnagVZ1iSVu7hSI8VcqVHxJNd809zjM4K/E/kr4RPpcMmx57++Ntng9DNU+yteOMJFU4qtMaBAbaquFA/m0+KZDutn98fddksPxqY8TlpRQDDVo5pGmgcC9zeVWaypM+YtCr3OUUrcYhtzQLFs6JlmnFTnQrEQfPqKsjXlg+zPbH8B65ApWMZHafA1Qs30CrXvZHuFzid2imoNZYKpWPfhgKEZ+OzBvHScDMO9rt5ETU3APMs6CkI9GD3mTXd2+SHKPtcx/iB8M3u0+7IgvN+xyDQxCT/vgsN03fZjbBu+8tu+WtgqJ4vSfx+EoElu/084vkVRQtloe5228WvZ1q7OzAJn3XdkHG2ZFnjCtEqgLc5ynigvh+z3N0aJJSJUfKy5vtkLTT/HW+xHtv+AoPClne7XDjJ1LpDhqSxZAdigMcd/nLR5ZQf62vR2FFXmwPJ1XsMy2Ox43oHBhsRmF52OmdKQXR+gHltolSte5bM2MTWkJf7544khYP/fhJrV6VDmWgqBxLiwX8FPf5/HeIgjIJE2CJhVFY2BA1PBKewraZNp8vfjTsbgePfZAQfr2JS7bw2dQc+5FM3pg2rJhEgZFWfDaQxbxhYLqk3cBaAyKBs2zP+MliEcBFfHyIJ4xz3VvsA0jAaAkH1xkdABzG2j/NkWmzvrMfVa+xgF/stNtF2pqU7gqdvtxA8pzvsoTQo4Olx6NUHKRHjQFv/bZS+dOOjCURZbz7ED3ZFIlBowUiA90OuEGCT4GU/ay9fKpIr1vdwXU8jxBC6i8UYvAbLSpukKXkH/swsQ80cWkdQ65E26qSlkyDZzz3Sju8RYw2c4oXyZqOlQ7/ubhWQqula9HrTHJ0Gzf/tVL8+AUnUAozDoX9NC9lMA7RZQVcOFUMax3bD7DZ9teJ0z7f2CrgmcadZtaHxSVmTxBv788mg52DRRJ262373bnQhIdOICquYQHDd5mxwKLOU0gIICAY0aBZWNHfVfk9JtucrSBpAK9Eaax7W0nJ3eWX/afHqsOT0BEDlEBSN5KJy3yYYOKFvzm0xMZAGnvHVRg4ATqNp8JctQkti2lIfkX0R+HL/ONnYVLtbJnICvv5XJDfAKR+1gt1skYcg3upeyh+qj46szX3zlFqROlAtos+oC+tSYdTqjsCQrd7SGhzyeHQfxMBDk89PIQPI/4S+qhRVEP9bwBSLGnsYCt2kmAr8Q+FEzJKb7teLdRHUJm1OUKX1LOa1MIvzEzGCvfHv7QBMCqSK5fTCugx1wA7vAEk22GiWJvdD/7wqMskRHcKYQ++zRJAUD2qxcvymP7fEJeINtNYdngSxbgxUZuzF3lqsqC2EPL3T++DOpYpCatyX0BIteoIQlzlOLA3YVxkaL+v3RxgwCoS6NDlX38bTtLOReBrKQKi3+pqhAVgTxFFwOw0th4CDeDG5twdaKTb6OtQzztQ4F5AI20PaSYNvvrIvdtJGtK3Ve+y8yrpVPZYR1NpG+mhrkr+ibjtDK5liQUQox+iX7W0PLU9/VL11sKZwM/jyFOFYtspiOuMIU6X/F3xXTey5zzJaT1B6EBR45s3AEElwXFWqwh1WB2pFx5kMJGMjKT6JZkftj5y/bghLIPohhANGNxSiam+CepOXzgR/8BlGym/18yENF1u1nrBASU1pUzQC7QDzTbStF1x5RxssslJ+VSB+w2gsLqEja7aPN6yfud0D4OeIAdBFgPoxhsdzuk8sO4DLVvlDF/esgeubDJNQHA0p1ZPJDRkTqZjzGMZ2vhcoYxaATIHQOuIn/0EKk5OY+vNzuP2AImeTuZScFsuIBPux1BNOgFPqyiCA3I6QnI8U7ycLK6zfI+hNIsIYMVqeEIg69QuY1Pg0rhLrzkCW/b8wuJWD4QVSv6goA6vQDTZQqyadxBVokWRC7IcAZI0ZNjV9b+jCj9yGXztLN61j638M98SAp31aaGsu7J1AyAhVi9PlrGJ9zbaXEBiqF0D2wMnH540GF7KokggHyGY9+eE56FG2kpN3xS8zvmXU/beTLwzlEgqzf/OrPNVTVA32bH1EiH4ARpuAUz8v5d+3L/iZpOOtBlvUnEd+NRx1riIsjJLcPv40WJBIEvOmO6Ot822K4+lKBAd7i7JXaL8+zGrCSftMh9dX1oMtbxwJjwaPnDhHyQNUmdmYYqqqDBlkyW+8XXpo5dpO7vb/2XhsRzKi6iMwMSIFWXKN1y6gNASqrCkgABEnLFdaQyYJ52WA1I3/sx0L89ZnclBHzKUcvhcYAz6rdhE1mrSRbRyxhSilsoNKgpiD0EOPcs5TpS83jXMid90SSCrDQ0SjjY2mLpkFQw38ftSfo0kh1/bFI4mIlOh+LWQfeMimKbmaD0HjqN+5eOfMcbr8t/xEuL2aeycV1DMNnI3nQLlgBq0blZs9Z41UYySnQ8IyyYWqgRJJlqsVPFmD68iBOKma8SO1YC7P5bOwZHWbxTIdg56J7QElBM96vB+wHpU9N8gjaZIHSPc+bDROiU4Qg5gk28vWuSuxLLFhIWZRgsTqom0VyGZFCg3EadimCJtRqtI7DCCRLmN5rh7rd0n+nKUczJBISVnzv4FQj4M4tuczJHF1KQ7Ur/IYxpLI9JhTz1Cn/E1z169FG9dNa+Mqp7hou1gmarlvJcd84B2iZCeV7OYQbQp0/XLJUdWdDfbfxBbHsfpQtKtxHLUnYBPbIMCVOig7zX48rk6N1M0aVNtzx4oloAXDELba7lOe/JR3l4l0tuMgV+fqLvhY2sGCo0M3QVwiOFEufObOt3wSerRlAeNbVOjesHOSkvOXqQjfq5qjhJm4fRobVpsZsRNF2caHn+sKdVBSW6lXVsM2jaI/K4EWUeSa0VNxMaBDFu/zyhUkU8VmXxS32eOryiANi580TNNaSfm2UjuJT0+dmauQ/Js7CNF9PENxUy7R2D6tQf3SSxSJrHdrdQXjdDdE0EFa2gNKjQf63RqAimT1X/9JHnvpz6YJP8Dbz0pPXiJp1udNPE7ozlMBjip3Wy/Z7o67qmF8YRa9qs/3f2vTzWMA5LA6Mhp9OJH/ptQxPwXk+Jo4kJYmNzLp8GgF+VpqrBygxyjCh+jIg+3kz4VA98CRVOaxIlTBG4ZSoxDnOveoTKpbXJNZgmuZM+n1jFU8Rw8CWHG60VOGX2zhDTrTIeiAXk4OXrOvWJS7HNccY/oLlhg1J8flTI7NBIsjodLI2ty2fsQEHBdNBy3uzqqEmeF1iExXxbYNM8or21RjXVZmMl3eJh55PwUdLHC/z2VfcDQp3wsmhUGVQcHA7lPfFSWqZgvexvFKkXpIly8p8ksByVHT1RZE+noAKEKyP8v0EPWB0iLIBU4DsRfBYNVGpKd+IGbUsvN3y7JdiNOYntYaYkExgG+KAPKSpIWohC9OgooJKUJpvfcVkwt4NclTT1KGSiGQoonuIIePq5MwqP2MnNJJx5hgsOHjW/FcLiNWpFbl3K9yva1/WlpEocUT4XsuPjXo1gUKgSNjJgV1Ab3+JZbZRZtkeh2MTcdyBVY2daSXOoo0DZoo+THe+oTCezSHiNIwrUAYN2SN4JD+ImnKOMB/KqS/v2jDYaa3oGKStlLMm/qxPGGow8/MW1afep8e9r31Qt+LwksiBEemVtzfeYliWRsVcgNfrfLN9mI/gbt+gNighC6gfDSFfc0PiF5ilYfvzltMY02zC+aOfiKfyfmDbBOE/cWzGd+KljWEmCZI+GoCXN7I3fkBBlDKwKQieaTSnkd1H59Mhti52koh0wH9neOAx5tnfVCP/vrFbK6syltj4EScjtEhrzCjhgPDBlM8TWKccnBw4J3YX90F6oJGSZ7uERJbZDoGbTQ1T79H69dPO8Pt4tRB9Z1u7hCbOK+4L5rOog1emt9abmsKzrO+SJFCj4jTVybNbY8LOTEs3sT7FrPF4tzPlkMWs20D1fCMcUh44kVEMMWhaD2XjhD5HXzFwKl0ZWVHOjUq3azZ475mlKya1azHpcFkafdxaQS1+qliw94N0hmrHKkSW38Db3uVSuqwsFApb99eopKmvpDVoLTLJjO9DlcqL5OxXFrLtCRJmVqokStzP3wVba0ynnxcrizCjcbFBezSTcn2fof+jO4KjbjUMLk/cg/IuqLtxmkNvzFKOdtWObCNTzL7sLssKzyZhh5RTsbYPSeIEqRDyTtlavrzdLg5FjZXgO3y3dpzt/adybVj3tqeLY0NGCf7jPBKMSMlgM70cuw6eFoykONY8ENce6qWpztNl9EEwePFRjTmZK5CD74SM0yckYAzyiZPeh/VAzA+8BHM6UMAkzCJuwsjv5Gt7hxevScUq5hfOWyM523LbnI9OJukt60lbuVuF9z4br51C75pKNa447ZDe2HRzZdsrqlfiW7VmVcYCv0p060hpTGajUinOKXS3jOxR70qpqnuIhg/JZaM2Da4laFJkZdw7LW1ix34ZPMJjUAkqRJKfzUk3XiDmo8snQYqYah4oMfv2zG/i9tte49flmyYSBeTVkbQG8RV3Quszence76P+mgKaQZjYXz+YWsd798LKZZO8q32vQWorC9cTck2Fycu78Z/CdGTehKFH0yPaMqPosG0zYtkiRqvzXm2Au2eGOPf/aiGDQK7+rvmRTGxT1s0Tbui44fqHw1sYbnqCR6C1k1DAzPrtAuVNdL9ErxWTeQ+avuJgOWDdCSXPTyPkvm6dfpINXsIlQGVAp/uOswzAw544LBwtTVNoQgOXwUDsaLm7SCSFIlDTKp8TsKxXlZYa0ddbsJf72DgTcbGdNHy60U8IdxxYxPQFCJ2oYHCzODX9Evfqj98gFZ2lLZUoypimBm4she/UZOYUaL9BUuFStrDLRHmNYxxqWQmU5wNl1eJ+0+NE2iZqm8a05FtLOmjhGiWs4pp5j6BIyvRoJFTqyuxx0+az0+llFw9SfFPxU2VO95fqZx6oAwGZY5w11cU+on84vV5nL/382zN1ia0PmwFOJzXXkUFXpFiwupyH2hazNCUR+dgEDfv2nY0DYiC9roewwuHTa5eyq1x11NpTvPrXdBtwzgcO4grbb1e0SrYmEt2xTO7IfPhVo/6jJa2JT9mL7EgwIDs32N5ZuzFROfiysQFnxN/PksvN7e0ari844tgPxzhbfvLv2Eq5IEP79mJO0gwpuPBhqCJhAYAkCO3KL0Y/JFOt546UWFY93K8Nym0hIaMgPYFAKFuq7WTvyggiTZFxIWt7/OnEh7hmPgCPPyfhh4/T0v4QKjgiH9AXPX0oMHd9xGU4j+pcdBB4JjF4m96Owvuo2MNSp/b8xzA5HBKQ339u+CCk2yWjE1Twyloei/XZk+vHG/0Ntvss4P+Y/oVIR31UhM0Yllj0tosNYYBwKaa+3CK5z+5p7FS8LtXeRDGcTjCGUCuW3B4YPdID+hBdOCb0RrwW+Rdd8fv2dKJNr3sXHLrGjDwKsdfxEg2fBhaNwyt0I1r4JlQSN/dayfPOR4Jz1TxSxf7owL7KO6mo2GgWiUe6xN/TvHNO3tK7wg46UJMMxbDOL3lbvDASzvEt17TyY9/OLllb1x5y7/2ADbEttxfJi51rN21818vp9RGZP+5rGTqJzn3FTummAgwKhkAM4ut20sQ8AWG5uVq1iNC8aAMmwmEaVjaJWAkWVsn0h0TgfWb2rxp08UFjR5zJk6TTMlf8reOdDoGlX2CvlMpfz9NAP+H7mpx8nUxvrNKjsdnNVnOl8erF5FcbdiClhXwNJcpISOQ1fU89gS8s2ru/t3CDLwmQAlH68a8traWTjmod7rKsPsFJEh8RmxbMVG/PWOVzpJjMFHlZZmaa5BfjXApcfL3wyfN4MZTqK2zEC1XH47oneOMCt52OzCsYyXjS6PwGQs6JCTRKN4PlfVRjIOoeZ7pPwi+ULZjm0EDMimWTiJ/Z/8jc776zElWHT/vNWFy5bv+bwobRCBpSqu6IH58j6Q4GX8c0CdQi3e75WyHnz92yDzQUFJ2ogVc7Td3unCM3XKALB8zhEp6RLy5+qa3oSGjAaorg92O15L1Gk6fKJ3w/zR3o1omMXrsn4tHcW9FKBVqPOsAME1QtsuxZEJ/CQrS8AS+GOhViV399QUn+da5/EORevAiaYmEo+UVEbI0dU8QFJLreF8szdn3FJRbQdelgcEZIGpO2fKra+BrcdKVI11OI0VA5NCeY+kDLP69/NQNSrOgABKQarPn3lMLutlEkiXs//WaMxlsLQ3ZqmBGauXWdOQvQIHrjefIeJwVJxITLkbToF5q5lufwWsJjSsEe9dGFHDXTastVF6N0MqRr1DKiR1k7wDyQtQflSJegSXEE3E76mxzQaK8I6O+TMPc/JdCXRpqFXxsgy2mRG8+UOOEsiTCzw6TQ2wigZTADXv/CleRD4sz/x34t4ywIOXiiJRgGmqWp3JNEF4I6/+KkTK07f3jV78Jm+XzpfiXgZbvzwdwfU3+d55kUxxEoXb3mPQD0ZDis3fFlL0getV2Mlpr5rDUze3qLsmEox35Kq370K7dXGqE97T5TDaoUZNi4d7sEDdKi/nV0euNuT9tPGSrExNTP8hU+OimN6BvcCrur8m9BpXF2GorUs5VMS3cmiU1zBuY71e7uCZgKXYlX/xMmdQ/EUigc5jxEIX4XIXU6BqRBK4PwGIunw7Q2zCBYCMef1HGN9Hg6GRZ+feD0w3ax5WPmSLCFhV423jWb9CjAGVlrPiPWHPrgagZVQ5L96v+P+yEaXOHVb9/neeQxUWC2N82CiqYOEWAW3awWjSLSzX7rUgAh9PjtxFNq4WpHmLxqT/1N0HuWdsAYCmsG/pCktQqJGbFmcjei3CEEs898rTfDS8fo7vZQudNC+OiIyoeSPPPyMbCI5RADO3D8dizkerBuVMtjVcfA1SkrLTMT/FkZOrtVGChuswm1OIOuMSM4/Zyjyd3zzAKCdyrw3GyOoQihdaVkg3vkN+ZXWC54czKO6SAiRm/UoDKU+y7E63ek0jaY+tDCdmHXCJlrSVQ+27raSE31Ft0Q4Q+9OEiqDm8HSbOROXzM+wEqV27k1v63oTK+GUt6aI5t9e9W/bXVoCroDSapJRRPPDW695F5SVf1ElukH0MiVo7GFGWhzQnvTYw9t4s4el8NGRr9w2+f896sOFaUbdrHLWgfevpUcQC1WbFMVRDLL9EU/qsqmpzy/0MuWHuhpoZ9EcsxTCEdL592Nh0zxuEs0rHdmqcjzc6RhBgCiDiNvX0LBRtW190nmxJeeLG5qbJvOVJXtmJnskZEz1KyUjt51X9FwPSr1Fx12oh5PKMAUf+k70AsyvZx8BQ1NyOK5ZsaCcxQCUN+rX0iSAPkU4jtob28bUaAh7hIcWz2ZE2xrH+j37wR2ZfClDPgxCIRKxyIW9dgOjV561TLUA9unjdLbWYpqFWEoC5X6h/NHx12gJj881LKVc7d5OLiLDzyDyE05Q6j68E5ZdpfHgcYQZgl32jDtHsfelbLZhaldRz9ahsh8zXpI2jWH8C8pKWC/R6IzKAc8q3Qv5IqR0RNSmO/qnXi/mypdvnRH3hfWPO3N4Oy3CRn/VoYYP39vS44G9K14AzPlbHHUEmcI1XnaiQjubWvmfEEeUODAu2/wnVmap/koUP0kCZynFpl12UKBmVvUpFsREHuRdK1btWkZ1V4PEkOVFj27hPXIEREUIJ0x0n4CEtW9wWJeLqzrDFs7THS5oZ+19cg0dWiVDNgIUphY44wzp7ce/nuyLN+rH4+Oeu724oYfZVqceue6dV6j9fRbyo/TewSXjUQxB1xN6LI4Lj3/atBE8xbPN0Yrssqyuc4jBoQCTg/i7UL0S/2dXvg8re2eVtP9lTEZd5RsLis6GnG48QFMdkRj0HsnqrZL5E+ZxcmTc+/7Pkg63cfl/T/p2n7kDkGjEYnA5hSB1Ue9lDpLpFPsNaQ7SvcK8AVBiNpmogt610r7YeOD0O34AF7iWqmRAczyvCO9bxWhv9A1JDsNkxXTgWMTJW+M1fOssuTW6O0+QoKYvKJpoEwGOuv6NPbnE1VpenrCsUkheaBoEUXz09koWyL/HXVYTQ6m/p7ZCP6aNrCLIBdnMzwzOBPAFU4sU5si+om/f11q93vxSF1HxOyqYusFle0R2Myw/KzLoZ+TwU4M4xSsdPxHjxQFCtiN+fS2UATTok62QUID/f2EYgpozzw5jXWmCtlANlBwTvF2YHQZUJ6uQO2vzEs0agYRZtmUHg3SW9Nih0e3xuVcY3YIdAP1n5N5TrapJgLVuHMmIFBxeDH6LH3b0zJ4nsUTVGIXzZh6neqBUsCO404EXScjWvFtrBrhhAYB2+kvQo0w9X+wT52mREpW9jY+/TIwJbigXFKGqFai8Fq5xzOnsm+8KqR3re3tGbLkn4+P3ZgiYbIE4GyM8nfGMoERH3WRUfUaug5IEMENuf1I+45qOFmuMPnhq6wInXbEU81epUdYh0gmVEkUlbP0dNpHGRXi+TuMhwwmN+ZTtot2NkaEjmEOybVfBgdb1Ax76JU+f+dvcPN7m9UwgGHpIpV+Eo8GoM+VpIABhsmJ9CmhnH+ETkJHgJNCEwKuQRZpICKLKiVI2Z4WkoZmxDSfMZCNVyFi9FLnHW1QU8lL2IrMQ16VOwjgj5G43xDM4/PEgd1UInmefb6yy27htEV5X0RIbNzZS/P5tF9zZPYgBLwMXAF4C+ly2kWBLwvsJWqDircraodLPs24XnYThOWPQtKDxENipSwdJ+YSmXW+0j33eAHBGT4AkSvPFQHnkHcWy56FQdI1MC0y159bIGuVXTHG+VpWhZEKyehie/WvWIghBimOrQjTM93Ex57XniUqsOZp9E+8jhyfqtRHR015BOgKPFNz+zsDcRlqNhyYd6e9WCttBzFt3oVKLOY2BdBh9M+fZ7HdGi918/n0BL2469bd7Xde/fqOijhcm/IRFymSJe0MgIMnryxQpnJIaU/gUnbflJbiTeHrn8uEZQXA4qnUHH/Afa9boFjmz7l7z/jIuLj7npwfP7lZ6E4ZUfiI3UKXq1pRd9i/RJeIJvbs+HnOYGvnSalpc6OQbo6EzYI7SHlWjOlWN+Ai3c4tt+m2oowiLmgWMyn34zmieztByNocNy4rqCFzKnj5B4CpXtm9AK4CWTwBSpKMPDRdB5A66PBcLhLJkhxctzjI42fnfYUnVAfY/8DcRyfoS/Oz9lbDH0gpzvawUXeMqtn2nyTmN1nqe+0UojNMl3kCLawgY7VOqUbkw5x84bxOWXGhe8BiCMa3YS1TXC28bwdv/s+qOh2wpFsONtxdrs4gq67tiIpPmJ2nXydmzcuqRd2gK2IGBQJ9E6WeG/9moxZPSARwBOYp6NpNhjJIpF+fxr+JuX6CLmfApTVvALaYIrTASebA3no7muOeu/4Dd7YWukKnC+T4nk6nod0Lg26bgzwT9rs5LLTrhUmQIsPwm2OXXVqUWPP+GR9sp1GWsNHak/KMDbw+KAEsXFdsxveL1ASRjrJWhIboJbrbcqjaOY6GK5LMaTZiB0nYX/w84efafYQI8OEJRFV9CrjEa9Uv1m5nXUTu/k65GL0vJEIUHPmFOTSvlVzn0W8e3NCFLGFwAXsZsxpORMo8Crlo8wQRmsJxX4A+Yg/qGeCbm5XhR2Y/d6QzXC3JfXNN7Sdp4oNVY23xs1BRkDAtkBC3SDcQpoWZuf7vhVo6WYKJj67rO5gTwdqbOVXtaz5Nj8hm7tVicQ81qDLsVri6Uoo3JLVLfRjx4wTRAGDkCiBYMZJK0aDFbjpVTYRDWSu4rNl6ti3dLnVXfn9qj/kBX+ZVluC4AaG1vVLB5PWjA+G8ediJp9hKiA/DXk0Re+ANvcsMDicdqnu5TX4OI+s1xiXObIIjsevLvopiIhfu84PsZ1dGn9Q5cJBj2eZLqvTJRZCOq8Cu+yssQnysWbF5WIZYaJQbjzW9ZQrqCTPhv21koDyyeidZpzZUUlC4sn5uZlbhycCBn+W574+Xng3I/nPat+FiE2hgG3ly+S87gtd12hjwr5MC3wz+LKXhDylaLlVI31286GmKHaSoyZymGM4VF5Bv1yMt+rQriqEhqJ2cqqGeMuSHTeDR30nb3wNVFrmvm9JF295I9VobhWdzC4iaxUFH5HpApJvU0B/AwKEAdSR0ngGvk1EKTfh8XPJxBIcSg0KCjHayLReFsU918OqWimvdxdWhz6Fxz3ZYVP9u93xJxmKxLwux4nkoAmOBxoQk8XY/vXgH/dUTqGSZnJ53fX0fZaTfTDYVZ2uqKFnqliQYOhkF538tG6ArfWvgfwG1d1L/YlO1/et2kl03MhS7Oe9Ze12U8qi3byQXmKYXpRf8FHjEFkSorv2dld9Q5Dqef5zDgVcutzSPKoDXo8N3srKk7VQNTWbQdBIJ7kJJNNqsQwqpOWXJAvzL+iVHfgcjuBEYALgLl3rU8/gxwwFb2XOnQPkWpTe8REiXuYk7BQIgh1wnzyVOOGjMFgnbsG+/x3JNt7ENL8wtqnjGsnZALkdPB47A+tB5YbsUwfpinC1KBCSJHd8hpSKk33UnwuK9PMVdYr/ARP3ZAFi7NHLa/E4WWCZwzAETUr/0/yfW8bdsM3f9rh+MOLpi40xbVG3ACkMYD2rGVuIHCFbzvYjiUfgHEXOEEBe5p68KTsXYLuKwDH9RAKSrQnZWYBt3xFd1o5xinQ4TwP++qmRGpKVbwpTm7VTTCMOjzL+DYqeaH4nwcrl2RgdhIfvXTu1Yg8zWCPBjSLYx8zgVQGsNZ8XY/Fc+pmNVmCxbrexveqsgIKGpaFhMwVY6MiRdHhTKaZE0ZExtxmcW0MEg9QUwTI9J40p+ryQnYxbk14XTy3LG4LVTsbWrqZB2VQD4WoDwebg8PyREfvTTN7BR35EK+IKtsE7DfMNoeW9jY6JOjdeFj5838duQftecEJfzpHn5t2FB2rp1KPcoy7y9qBvOF5y658xFhrud3uyyruc8ID+RjhRcx43sWf0H2H7DeW4/EY9s+ZfSktktQ5D5s4LaTnjjxD2A6TDlJYYW/dPs9Wl+IqrMMVk9ejGa+dKSEnk/sKQNsIs3WPPUMNUSzUQeky5SgJ9ozC/1L02s2VL6uWQn0Hz56w5YC72XI4S/WGI2Q0pYBgUJt0gwEIKWc8ORAIH4XMPXNlo2iuqLmvMD2Lrb/RzSSnPkYTR68joHiEpLcmQjzMmeV7aDiWS70OURcNKR/P1iNAgtWKln+f4RZ6apsaWMUKe3m1yogB1gMNmroVNFRpgr7pL17/KxJMJzkCs0WY4Cm2CtBICV+04gvgsryEK7HDean3Ry+9SeV4QvPhGTU93eY8GHyMzFB4T+OcS6oDpuqsxRgqsM4gR/hc7nstW1KnDm5e34vRNob5wwwq7bGSfovMvwPIJlyWzZ8NxH1Ka5dPztUJaJYu3/EjggzBzmEAbM01HEOTb4SLONZ0iW0ATLBjb4XtllxjqYRrPgDeaQRd2KL5W3pQ4FWPKFm2l4BPblKAqPWx/HAZ4CMsVKIIaHJsDGij57CPV+ARzPWKUju1C6MxHZkiE56AAkUJKbJS+Ly4xkYZK/FHYCL+wXs+Irz52EQdprfgO5+avkdY7S8Ry+Fesvknj/e6zvSC3YneCU9ug2iQ4Lx+0uGU/RUcdOeaVVgnWXAxJ/QvPLDbLBlW3SeLugvYsm645CAQWb8hNUskJ8L2FcIkAWvP716DRBW3t28k2jXoDY82anarxhIkSQ/ahYxgIMifjIedJOcr89rB2REsdbdymKh7Q2kvqYPF525DXjI/eZ5VeZTfNRfMMTRz18rK046+Jq065+LYVWZ/lIFzKt5wYqyfKy9K0dNqB04rTCmi+mDngTe1V9N8cwZri3S6KTUIAuVR9mxr+2GCivqzlXONPOixna2MDDZ1KfzvnqnYdLkmV4xwpxQPmvx1/nnLGbmkzg+215G6SAwV+vEvDZl4WQYth0YVqP9eDHEa7xa7QM451mxZqfHAO1W5w+RBv9RharS42o+wtvfQ3ilWukIfXYCBqZ1G3qRrfBUTbONgp6yacYCH2XTNFZ1DiQTEx2ggiLXggpM7mvnDM/eJngKGbjtmaP1nln83RrYlpasSnXaYiBoxxgiOd7eXsIQYG9Zc9RuWmI4SyBEnDnJdQLyAEYcyrHgUxhglwZYNAf0LtoUd62Z+IusZecksdkbM09kzKCXG29Sn5Y9ZxxJPZfDnknPO4wJXTWa28vWaydDomlykjzn+C+QxAHfbWwDa92OOW+AwbCz9xlGfuw7BBm41eU31ojWyoSYk7Ghbq3JN/GfcBp+W7rbm2Zdu874HTTTbBsgd/TPtjJAYvTkeRTeIIK3g1GCJLewX6b+E8IlgxGyFvJDa1tt0tE9O18fgQKB3sHSwevNbKHp3TXX7CtsVorImRlki88Ln4H6F3PEkdJh4slsoDOYxogWYIsRqmAoBe65DRpkZPkYh5vvS+KZjrCAKnvjrzaQmmkL4Mpohw+ZkmOqu5B5UOZjRt4FuQGEFZ7l/j0skAHgZvDXmSS+M3D8BGjgBgcuys4rNDpzBI/iKxN1mqOC/XbFTlQQSDofOfFeqHrjbnz0bvIX4Q4h1Fw6fkZfpr8/N5wng8Nk7ZTtRdXxdqLxaIdfz1r+ZcJlVDH2PbJDSO8PIO7saL9WRT2/Ftf2MhR/Xmz0Te+amWoB0AymieDiymIKf+PXrkvB/eSX6/gdfGikhVPBueR+X3EJ8OBTk9ePSLyd/ySAXMpKQbUCRMWtEiVagNs3STfcqNbwYQ5it9tBg2+iymFFEMFT9HYn+/cc5iDmfxwsaQFG5VToKb5DL2iX3GDZY7lLk1Aom72hIF/mgAontUUJ8lJMUgB8GacOZtz1UUnwu7S80a9pOxzEK0IQ5PdfWYXcTuUpLhkn2X4ObiFrHsiNqOeiM+iKJNUnE83eVgaWo5OaW2pTUWTpwc9Lakwvh8kpT7iUsh4lWSQjD/G7i7ReHW+Ap22kEJiv4gOtpppKkTgQOJ9Xu7DDV0RdlNOfV0rmYFT6erj6LhjZ/y19QoHxZDMyt9M4Fq7R91bUdBsQHsMsTyIqTxB/CfircjJEiw+eKMwEFNS5yhEXlYahygtMa+/pMHDmAuUvuqrNEwxCQ52CTpCZIRrSyOVmHlL7Mf96e2BXlGxWUkHWbe3cCgYKWN9siMyfjurcUc8hIIxA4kkMQAGuWVw1OnZjT5Ewwi0rDsxZ/6jqdYx8iMs2qN5vCify75MUiiZrPpqo6Bg3/N2Wz7ngluG3+Q96u2KCdyLhOcbBmRSzQp86nxG1AbdLtAuzFgunizkhPXGiVK/n4M+W0Q6ZxJqp/37bIZrtgoTQi5o4v9T0HJdqT7qI1YWkU4a8xEUerrOVV8MjHHjNLwoBXGN/7NOtadp0VnZNTemgV39w7RKrcUW13rBGHmJjcOmkEIyqOUrinDM48I6wV+IyPGR39KniRu7YqlPxbWNmEyXulbR4wief9HmPMEfKIxuHBHBZkELzbxf9n+KNfgfvhM4A1nUZeLNl2a2IIuk4JLXBIB/8KXsXOdzzWK1wdhChjZfk6EVT2ynYPbMPg+d9IVuntFxnN67YfNnM0TGNKWoMkuptEHASg3a+3o1C7hql+RO2/2loi9Lc1Uy1XaRWtCmS8E+2TUNQ5C0dHqHTC/wTbVOISLK/m1iIvaok2EOMT617HnTU5FdxA3NbFnumNil+gnC5XkbF5sDlx9NMpW1sOXvSS8f+BgHYmLOvdKGpIa3RCQZqiTuPxK6V2/DMN7JEW8KR8eBu47nf5oDt70SXvE8AxMEJD4cfE5GCzxQwZV+On2dYUhXYlGo63QlkJfIXDOP/Uq9enCamDDTK/sk6wIRMLagD8HZipHdsI6EYa8512jA0oN3bOcmD62NvzLJ8enX8bbWGxtyz1vn3kmpG1wPKI+d1jVCeO/kzjeIF69YdZS/84zp5vEx9WpxFwwN2Kms/lC3m0HFHmi3+A8O/UV5QoRvQVuCoGGndsqA+gGxwlMOK+px0FNmf1l0cWarD0nzs3dk2vEBisKcZ6BwsDWFdX8guXDtvDFX7/kxqQjxCYWQkkYve43DJVL3oH3J4HqxIrbtu16n6TbPrvgClarl6Ans/vAcO7cg+Q5EQcTbTn7tPWCeQCh8K7ingA2fqUAOf3SOZEMcKn4vpGkH+aDesD720z7xA3koBJx6Qxknb4eQnJbqPoSdWeDmw0249oqHsFSgYy4lnlEIJNfa047/OZcHwEqECSGVD6plnQeS/m1dY8EjOg0ZQIiUngMm2yrTq+AJTacqclOEMcYsIuHmndS2Mf0qljS/qmI/tFtTiMEbA44njBWjOSWSQoyKhSXw417DF3GNbIAJuNLP+R9Vxjrlh/oWyeu3RkWNEK5a6I3NoKkkiiV/iJ410OSwU80cLQt4FlBm8rBgtUmTmHVdaG98tYOLgiWSU401sg/S6LkxuERyOteNC9wqvQyPn0ps81JDInwxC9lyrqLtFnNuTgD1Z9BI5nTd+jbN8w7wbFagQiL36p4h8B+AGCVEwT8AjZV25gkl755ruw1fXSoqZAI673gGxXYp7X9mNPPOhqRll3zg4AKagZlH26KBql7XOFy1+bcP2mqZLC907mLIZGFUcR9K3ByL0BhPqhOm6LkpYH/YnG4tka/UUnRofF6bB0G8S/rIyKS0Z2AUCmGqnIw9tDfoFJtphsC7DJI/Q3o4IlIQcZ476XmQBxsS2O4noMePfUrhHVp0+B/0X/80z1UDC2DYVzRvwmua/gbTiBOm2/6RYjtEcfuncwguKm0CYSGnkBqJme7tVubOkaOz2IELniBe11Pb2mP/XXPy4lX0iHjWCGIlgy6tqqzHoTRR5hRKwEVtKfqqqqXoTcOauPW8SbDzr3FjI//JvvFifw5PCHouW9DHKJY9pJxj68fJJM3GXe8jCfkFAXUTgdJfG5LCGg2myc+FUHWnQc2JRgRoNcOEw1aLgK66llqHSVDcBdbO02pGgrUDAN8Vz+xIUGEcWOIGc8l8ytMxWNFxAiRZ3DnbHxnuSYTnKgExmoqJLVp8fgBBx7JT/TVETvdWkP+sgiMIPTMgj+vA+no5+jC7/ESl4ruZkhyQF5z5l41k7miVsQmSctcz+bP0rjjM8oBCEwtt22zHLc9KjDtBMUOt9WoOX0zHIMHGg2HsAIU1BHufdAQ5r5Eb98DEL6EuLDTth1XI3RpRuSfNt8jmB+FKPOcwHtpNfVYh1hqLrkjApepc0fW5rIZ5MZAKwcsabV76avD/V3aFTtvoRTGoAF60UpzLXiT1HzWXC04PvQSx+M2T3j2i5Q5oPHfabmSeWyriAMQmbJa/9x5T7zPeep2yawi7Hig+yaq1LYB5qBUOuK18hUyQgZ1G3YpYve4UatXRbwLy09u62EcWMilMsiRncMjfcB4OPl2MinUJbX/VhJJJCrf2XOP2Lbhuri4MRPTBVlZhlGUjUNs98Dc9R49YVDp/7R7pA3VFPymhkWZ/AZm7lAugtskPK0dw9umWjx2jM24QZ5PrMracZ8NAc06h7xIe2vIVXNjWKb5H8BStoaO4JzgvaFntE3gN+rctg5MkCrqj8OUglOP7ouf4gyBFpFkiapH/Kb8e/VkL4Kma+SCgxe+eH2Tk2SbFJAaaB3vBnTv+Ns+757e+yHk6U3HPJc2xrv1SNfHl/Lr2X/GlnosFYoqhMORiRGR2McKnXmAMo7gLxHADXKm8UjQOAkRc4THb/0w6kS3ikDLo2ibgbe9c8Yjr9eXprE4iuqKjnAHWnNVMhD0o0fL7m1UCq9053QdSlH5og71BbJa/3J/FzCDvH7/WCCbQ+X9xeOi9XPgBfR2slioXicpMiYT6aCS8WTDwFZvclkjoa6dTBAMJWAF5jvS+0AiDeYg0/9wwxF0x5KSTKH2k7sjQsGSTcH1H4IgCKlNbcALtFJvP6GAhNdiW4tXt2uPYIET1dyll/G7CRwaOHEFf1sOiYHFg18Z8HS98ZV0bi6+VURwR94BEcp7jGg3L8RjBFaKBQAhvWPWzoTr6Vmdo+eY2OlmKh9t3j64etomIyJ21S1OZGt2Q62LwSZ6gBbdHe+ssTUkAhjuZ6uCGLSKODW0mYRCQkeR+DiDbm+lyo1vQh4eqRLTY/DrMs81loNU6YVYCrcS80moq9JFgGDktCgIkwGDASSs/6MlCFtY+e/Xh5UTke3kT0+WJq9yCqmrEGoInt2xaGW+sgjxvIu98UB+PjwP0XdGV3sWlNro3Fe5BmKEKSAS+2bYMuHi7GFBP5ONHAPHyx4T5eQMWD+teZw7uj5eeAzEM6AqvEzhL3Ge3kkuHd6wl4cjPu/K+zwijyVpx5QHgX/F3vMUELN77T/1W5PZuvSNNG70YE9CPkGJPvnZKDACOeFDj92GizL9q0DFhBvk7QbOGDXdWWcQbUvWr3IdBNJokADzfrLTrASU9SiuzNzXy4QsNd8Fns8ZuwNFk5356BSeN5hZtgSZU6g7x+Zke6oAsu875t+leiDjUmD9AvZg9P08utOYgyg7WbAd8KJMWQ2soaSebgB5mEPVyIdeCyJxqmdtW8EhoWFNJYqEUQoLlnyhzfAhd4j2J18JJpjrkXHBvSUuTdv1THbqlL5y/Vu+28Ls3iDgBYiyVoQd4x8gMAn3WMwAise3c1c0PKl9FN3Ugjn56VlgdIB68Y/fJ4dlMRg7IRS56tw9nkvUVluaDTEwWklWglT46kTVsFt1H/C0JkFxgKTtjUBTpVC9/mfRfTodsZZMjU0A9c8P2oMnWTIrQOMRwoVCkoc1/dWAda6q0OFsfc0PXYBf/74Z2FRQ7/LnD3NQJJdrausPgaoHOCr7ZhwJgGs8zhaPm5Or0PT2geYlXAX1OVyvbRUij6qBQtcG0bND5zvF0sb58q7U2mhB7xV7nH2RtkzP6y4E/7IQ2Dmgz91ijoAdqhPlmlTw6M4RE7D3odUT0rdd08VdLGexvssSdVKKyGKFnXR3Ap551+ZSkAjuxm99c3EtzW+7EdmpzCPAmRsEONSyLTKiHp56EZ+gmSXphVY+PPLMowGpqvKYfv8cva+3gDK0qGjyuqEYK+StJSJKFlLLXUedR/169egLRTpmQ51EFXUOOnmbF7TPHaVcwAOdKUmdfAaceFiYO/yNl3VVTTcPFw8nzF2uKfHTYHvlonSXNdpe2YelsOefl4Wa6fTudxHfvmp05pAG2GID5mer7z6BkNZrAnF7pju3chXAwKB/F9/6X/hRt4dFXMvMeJ6TIRzcsQyWecQ6PuCbfv6CuelMUhh0piZXp2XqVGDFYCjSfQB5O3Amb4ofRlDyqxeYH22sIJThWGhSjH/mYpDIHAVrkI4YAs3czFy66z+wmf2la+bHZZSRklyJpql4G1O8tNSsKMGpagIJzXoRY8ll79SdfHgk/pcuPjUZEprrkbi+BnAwsoziRKQRO+rAPlKJF0AqNx5pgkMo7kC6a7d6EeC3/2Ico5yKzgCfKtHW/s1BRemJyJ8MIA7TFOmroxWnGbb8zFqLlSg4hbiFvIJl3Cl72vX0CuRSqHlnYBxsmQPxkGv+BpfFKH6qtxAGhrECNYF4hVztEhpo6W8gRPix5dxxVpU5igb4nu5/HKFydSsI3tpx5j6xB0jwumZz1xxLNzRBQHQaz26Z6KIqN/oqSVUAFvSx7cKS1XHUlIBjF/wtrmAUSLbIYogUFUgUG4baPU8SloWzw5fJ5NtaD0TRkJUMzrMW9GiLl2OBaSUFDNvYs/EN2l/83UVlvmHeyjr4uKoZv0f40WZUZ91Jcw+z1g5jT3fuMmG+/V/PKSu309Lr8f5UeR5pQoKIzdviMmXqP4XggpWYS4h+m2Qbvwt32WZYpLOP7Vpppxpf9ANrR+qWQaJT6pjRR+PTnRaQfm1W/yJHb2OCgpz6EfAAqOPFoa3O6j+UyY16xRVaR7jUxdFT7kGdFBf3m+/58iW5mTP+aOhvxciI+jT8Gsv+ovzMSJYBg7d03TFB/3KYTA16I4NkDPf+3bWhoxfJ0FBfFx3Wf8sQcMPSSnmTjp3oUAOdzsifExlfkgQqZs4CmGQNFcvAVNcFpo/WKuQl7C3Nd1xSXpZRYg9+YBHGJ2PqgdQ9uI/FngmWc/Pyl7PK/qSFNCvUgQevDWQ01CcXBLtSVWccMnBrloU9hf6A6yp9v7eObR4YHYGg5HiYsC2IsKguUO96MOlsmktfU9GW2DFK38qECrDWT+jOAufRUe07opBx8GCPWrQmUbK/HufaXNSPIeb80/Bogs+fVdNB8U5n6PtG4uSjzAXlbX6YH9xMFJ7+cz2WBYS0UKxvEzCaqm3TmhqW6iZn64Cax8Wbx5ebj2j77IMYxeaOrcTemD07uS0VjHMbAk372ol2dYdQRJXW8Pm6Q5VEaWcvpW+S3/DlfpPPNJrYDW/wSAtAwZB5bmsFYo6kmQiYiij/uLpF9ECRWl3BX9v9I4zRS/3zXmSQr1eYLYukRxoJDBgQRHXv6QkEcz1jFGBU9Z2/B1xMSbfIsoNzAwIpWTNP1AuZi/+Li7Fpg4knPhKqS7ublIZZuc8C71gLQUfnzaXC+1n0+c9hdxy1oyvYfR20Z5NGFo7f02Jl4/NhTzFhhm238rAOK6BOCSinnPwt9bZD3zzRyJRrfV9QxhI8HHvwmv1s26mIn1KbseB3bU6skCgYMRUVvcQ88U1TmqGHjpROsCvyXGmDIUmf4fGQNEMKaGZzbLyXdN1S1C9gav19n2tK0P9KAEk6yShNbbmoGC7TffxNYQR+XKNOrMdhkuoXFgGHzw93XihYvJrqPDuW/GPVNSznFel8UCKOcJIsPLqjenjuRdHLXFaxu0rsFPi9OtXxCzlWO5GCs+k/2gJAuCa/vDlhuHUqEVTrx1SkBWLO+jeETQzZr6dIOT7tWyLqPVPIxcCOtMhbyhrq03A41Ioyk0lDQ5ghWwVoSfxnnQmzkXu70RaEK4PBRUguY0nSXN0VAkiuboPkyU+n77x6CsgOtnRuN+iGnKxSh9kCFnKBOkZdjpbtkRmvep3+3ZUCEzEWfIg+LILB63RUjAS+9JQ6p9mYR2rxCkjAq+ne0DkL+qNRNhmXEQl8azm6P5ucRIiPzKWShtc+sajpkCe9KX1wBL9u9UVyoJf+99wJpwcrEKWv0/5YTFi3G/bDRF6gjxlwESp37/gZZoyjaDrXPsmZzkEwO+uH0A99/NJp04R+Zuy6qC4TzNBI2uyF+fkFUieWr+LrkPBpanrVoijVv4WuAC/5EhUdX4avzNumWv1Gw6pQYzogYiyCrREnSeEPdIKR5VgLDEGwfjPuAyW+Hf9nzPwInywL7TLMUFiGXtcOJTfqGTMA+G43kbSuITRxqhbM2lM1cb03ZL7/85j9gPlYu8OdLYGhd+R0RBmemW2VSL3Dsjn6FFQnLZot0xKo2P6hZZ7CJ0fLwAYnV5dLlr9RPXiUDB/7O1dGEOxqgDO0QZizMRzPS2lVrMFVEw4OZWcjkSy6LJQS31UdR5E8xBttGAgACHFlcT8OTJdBzVV1qXlNmqOcLvb7NXeo162HpL4+KblFk1hEaz6mVk+3Ht/4q4wcKYWkMNuB7w78zOxN6ZYhX2FMOyN6qbIdvbPGvUD3G16595UF8U99UucoSaANuH37i8UWUNKArjn1gwjjxh0D4QGvcTWFop2x61cO3ZOuUNJZn44dOckxbaUCX4dMbBxWugbPLQleuIjagLOHazrfGChhptjXptkrLqVbPRXGjE2gMIZCQYQBhDFxtOluHun1MlhSiHmgjhleRKyM2sj/pETgH5b7AQTMOLYVGiTqVpyCETnadmwFK7A/FPRy9T5TEZoPUB+TbSokGBr35tpnKxsVAPzKtXE/eoW9/8CpsHh+ZvOWRLKuDntxJuKJ1A10J40iiLb+46NeRMhMfZCVTCP0MLM74zjmaFg7Ljga5i7R5y/8Z2BVlxp1Yj2sTa99RR8a+59jGM2bqPZMsROeB2IcYY5ltsr0tyl6XtstjPsDj4ibUMDgvHGYtVFQNAyVm30EMwqqPFCjydGuMyE4CoobEeGXC6v9b1jUSw2KTgP9K8JnbpZt2GWZvBM40O+YjxY+o9o0fx0m8ijDry3Xx4ZswNQJgHFZgC8W40i2ncjO2q/UqD1Egz17LRNTnhALjOpr/gqEBb5DyPN4uZEdZKSWKLV381a0/eU0hr3WPD85hxK0bYloObQm5Cp8SuG9Dw47A+KmvciVyDUgdc0xzYOgnWje5s26ktfMrHRMSCcIHGit7iO25DMQn/skbW6E3essaF/gbB3lI7nXgsJsgHollOPrDeGLG7Eo/lVKTnwIYvX1GoZCLyhGRSXyItns7yiFeabxtzkZDrd59T92IbsrulT7cFuq68y/KaufxccPDZCLK2a+jWIFicsvyd8b6QPTIYwLkEvIbqdzkFX9cxx8pZLirzO2hNax3RBZMPCM0cv2aqg8bDHl9hU6JcFEZf9EoOhNkXPX9azke8FU0ZYdgVO6UXnz36bnSX7UxrUUkAZ/yWr1alPcd+wgV0ladSqsI7FTXwUyaftFUuvoejd7T8/nLv2FkTffNO1pyKSkRCOWs1fMYmHaneeZs9T5QEs3Kx6KltggkzBJQQ9qc90A4S/2xP1yxHHtc+fKeRBgtJTrq3OA7+AAoMS6oVrd8eqYJyyB0yMGaP2AeGKQ3aKfAAOBvy1BsvrcAt7O3WA3l1wjuzQXVnlr+LRHFSFUpP4ncgdSAGX0EHehzP0NiZkvVNVsiWtt8ZhEzwfhiQi+xiu0hXz3udcNJWjqR1Xd4hdSmVrUOLpE/o/qz76V/9pPVv+wzGIfx/3kALjknRBHFh+UfCNGyBPC9mOUw2/Zs9s0UZwK7s3zfYu5NTqfKcglhIz1MDpfX1cdWTsrlsAVfdnb35vzvKmQGywmphCbnv6GOW6pWS8SoeydgX2ipaoqvuJ+jsxjEsb386Q9hCVQ02CzJ/dirDHYr+Ra2HcziYdVqO1putmUAr/M73s8lM1w2Cg+1fbbyMfk1ImVKwvU9Hy8Z6MmlPgMiQPkE2onxLzE/HRmDWCfuLDwI3aYdvfmAw6rjQxfXTq6+gGV/I36317dvXL6PnfM+53Y/il6VGyO6eKUVNaAqOgQxwzL/h//Y7RUzBHpFJEvwyrXNp2TBWH2q8Mv5TGjguoPSJSOJsWHwpWnK/wp5ZoBOpSTOV6vHwgGTuSMHHQoCqa+pymVAGz8Kv48b30bFChtcf9RoNdtpYfqtfPG0iiJoZB4WuL37sr5FSTHJ1UMO3MIhdYQJTE6BaNh0GN7grqDLpb9ClWrfsp8yknJ4k2CiR1BhCLWrYhCuu23mqXJGpo5cwlliwN+g4pBqZBqQKUhKsb/FOY4YNa6V+IJOYSQaGQmHvPUnzE3MGv9Bi1O/LiVL5xJXbVyYi7+niKIYvltL9U/clI1GFxLAhWbpqSyE86SAwGp71vNzzi7KIV6DS21An6Msdf9KkAC1vXZ8221pBkcnA4YArAu+GF9LRjvlVEHhdV1Cd0O6rk6eA48xf5q3WznXOOUJNkw7NhHvnxLVQn6lt9KM0CqO+XJNyjGqO+pCGdWQ/H/seEtZie95Xkifz591J6O1mvwWokLMZdNeolg8cIewQSQQDDIfxinxhM0IGIMaunLkxgCg4lHBvOxuS75eSQTh8cCwe3fbhRpjcpdetCuT06FhxoHXpenSKVfUuOfLrbEDiaAA9eqDjBdlq7/bEU5dMron/6044dXwenJRVUWEhqbltZ/8br1Eis6EJJgNQS68wFOiUntj+69/JAwW56wtIvEiu6EiYCkRFpk7InsqMXp4OhMiG44TEV3SehB5xjK5z3F4WWWCFoQ6BLCHrGXXxxs21rQpLls08qK/b88S6pnXugq+t0Gu5Q3OnY3X3BeyUGbjRLyhg81CAouJFYw4tkGPX9g8s37FQulaxx1qehQk+r1TjDlp97mWdd+jW33qIM0qpeDFkF61/5U01YA6Vxf7uKR92CmnMyEsYwLCHL4U23bh3Icw8zDEOSRTVZ8rnN6hBZPG35osuoyKY/bITLf6QGEXhTnBibt9I0pJ/2ws8QTsN87ET975BuUt1op2ZcCoCMVYYp9KTcRDw0ivQA91gLLYzyzY9EphATdXocywEip8AuNcN9YyKXvLpdC6csJxbdgD2i8J99xT7GCjvBCMTp9v3WFVetEgJzSGTOitHCwP6zRKy8PhlxhEDQzDkewSTv2vw1WnwbjuM365LTnM4QQn39xuiS1UZLyMY/q9lgkpv9GNfiYt87Iyh4o6MZC5Yk1K3k3rNouYb6n066WQZ29nChxupv0hT/VttRwyMffeFiADDJb/4MrhFzxbgA9nKmRTpGbrjqGj+K7sPeBMzdvJuz5HVgbzWjRwJahIO2rysaKOWIcfJHAjgiKTcJ2kb9wZC7KeA1i1uo+r5/71R9gMZ4c+axEeGQjLTotD99cbNQgYD1e9L/00abWzstlGutrkmElOqbU6xWsR/4S4NCM35kKuWHw9h7xA3/PdJGyDwpRKJdYdlDbGkj7g622435Ja4Pdcl5+cV02yomBcdUXuppcfncW/CnFQZWz3cSohiSOpNwcYCHQa1mBMQ5IS46axQwovIUGyvdwr0ijKHY/TfimLmEyqYUdCYxwavp1X/61V5F5LqbUwFkIP+IMVdwWDBvXs1917yDycQ6yI3EoyATXl4ZeE7g31dUQe4VZkTBNxPP51jhLehCwpTciA567bS/AHDDncPevMnFoek5xKfr+HrHXoMo7pDvcgqrtbaN2dyh4Xz0Clu9dxkSDKSgsTnBYeQPeCKsfDDgYZ8QP1dCab8P/+UjpUbXjLXSnQCGNqHaViJoAwYL5mT4CveeiBUZiPBFPLRG35asLmnj6aRQi/mgxW5ke4wfwomIieze+bLLCEBhr3Fdyz0bEM4Le5US39yPOXCPNCa/WgY6OwHnTvQqla+4jnUGYBDoWnt8a/oPkmPca90NOu8OKBDBI2u5cQ/BBzgwMSkhRhYCyGZgJpmoe4/SYGMl/l+PFjdJv0EeaWJM4raN6INGjVShKyfpVKbevdqSq4xm9pCP71shienNaG8TFd749yErSO1cUrNcag/FU+MW1Chk89IZtUNBRxnHKsb/dvubudWJ4eyG9JdE4r4TXL6np+y/o10H5IlfX+bgVqVbct1OVvKChqcJ1oa1gn9QTa0eZT0cQIB+EcYdwjuaxf9orFjdEm81dGWrkJNt4voKmdkgTilq6L1iB6hRWsDJ8dAWnEiF6c2+5zAAB9Q3EPYRwcvmT3D/lqSiKMWTRRWeDa9d5R/kwG8RMJCwU1jqclLDcFXreftHU+3ikyqf09Np1kBLIc4GZZBKkMOqu7gOUP8POzLTrQNQ9Bt1TJHAEKJ+l+MqDMfVkBYQHFte2+RCgAVx6bcTnfSIVpmumhHF+PRE75znFlYcu771s7TnINuHGPCAlfxS2sm53eKdIJEY0dGAFevomoNyeW1XWYY6ksdZ9HjX6eMBHI5k/l3RxXBeYdgwS6RAlCwdB2b01xRswFElZjAzrfBArXT5UlmfKZ+AUWzJcvkxZNeetSFzMN01r8ofCXtzU2ILlkXZESyDbzhk7NSHz2urw4rjUistaOl60U/QO+6WIrM++CNMo85gO/FEEMHGMC2HrrtSz9keONM0Uz28GXzj7w/ihUchr0EitByNbsmuxbdsgc/ta8xDsCfoWdMjfBlpZXIHzyd7R+I44WQRzdeKmCmVYpyceuOwTb89l22mz7ziTHNaAb89nBoJ2Dlnm+sgJlBxfpg2QoXE+BXd6Sjdtv3PlMWfL0HMek4prM/mNqSiHYIyviVHKUKnDSs7AmfDRX43xhAA/NWL1I79w9jxckjDay7eImDQCNMxmKweZsQcrch2Z08LrjgWf7CRhDhDKLV0CYg9ZPnizhSfMQXNOl01E/pxTc96UEXPAUOdYK8Yf1HGDUyQLuFB/wZC7iwQBHweEUfcJgVBxPetSTD53hJnsRgzo1r5xFkgCU93iW2mdPHTJRRWnXGEzeFzi2PUzQDKH+ZI0CTvzwd9NKrwKlER0PkSkP92TYuW58ODMb4k/FWqHEbtl2EgXDVrDNpbUuazyPjcLDTRx4s6k/FypZx+rBFROuDxFP8Ro9+xHicPxwVDESyp3mLanXXki9TBF12eXx2Hu9zsMtYmcZYTXBHLTauOsWp5hXddYNnQb68Wj/ZB6RXJrHNFt5iNQDvtYuQ3ncUcuR4rLNbTceUeAO5GULs2Bz5z7Rfy+PLXpyQs3FiVmUBvQ8fKECdrENpocYjucE+p5rsy+SGLm5OX6a8jvDd9S56UomlvfR9oAb5+WdsevBNZhkfMHoRTrIqUq4F0jVzja+WHSojvY+H/Ax7iFBqO+hIMaZ/meY+CCrF82ZV4y9yvbzXRIRvm0cbQnyZcLixPBMA5Lea/SmUmqOi56kXXEzgCbMx2pyMyPCoYj1XQO7lumozxJJ4/otd3awE3HuP3NVNK+G43KsEzlaDaOJxixKGjibcL/55S4G13gzJo8VsMwA8EQ+9yCgMJkfHtXJSARjIA2MXJxUkKNVp2IonWArHIuzcjlhFZSIvBAQusKk3iRg+GgyjHgTCmEtuBZQB4bVQxS47+eIm2AALb1jj8WPepfZgcnZWCsB5Jw+f4ombP8uLvJ3AQfBa/qxFdYK4STISUsb/qeYcbzv5WlLqNcXkFN6YSkHNpiGGdGBzrto44PK+rp/8T7b6kOnsUy+aPHajYZXE5261MG99/oFalXfVfxMs+Jg1CIzNApavGFErXrPSMhPN6RwOIaTDP4sQv8U/o6z6enGdhuQr40yP0estqoZ0WzHCPejsa1yTaLTgEWDhW+/8EdBfg3Ge+RM3Y0lrkj8fgRimY2KUnEDMD673EZjMRLJ4LGyb/BLQkmBVV/ND1dLQJEymuRmSiXfdQ5FHBhmQ3nt8dAVaZJYdHnP9J4ZYZ1ZT7QfB8xw8v8X4BfhquocHkMdoToV6Y+DI+lgItQLEPxTsAycpXC8aly3TXkAskieNFHq3bWK26r8YQVcQKKzJ3oMNjnXsyucWc3UuI3+++h00gdRHtNWz4UVpjXXCI82K8Ed52q9OvZ6loFFo1gE/KuPO9nn4MDpGQUHfmtbRZ7wqEzzAI+bjFCJkXLAmE76g1mK+5R50PjMw+1mDjJV4RLSZcY/gm+dwcsa3ZALET89KmRKtmLUe6sxEMy44JxZhG8Y1arfzzfELmdSOzYoVTbLTqMAVVKJHxuX5ljarjC7CkX8v5fuR3y1sh6ZvE/pshq4PuyeIByyzXd6Wo5ke1DU68Xvr3lpQMehgxuF/ZSpl58AFwL/f7yWXLxKj0MHu8v3WQeiwh7xy/qk9h8KkbHKo++r2YTktwfOwziEEa6hF1u6Yqg7WP+KiW9uKV/S92ob8XOG32VMd8BBT5myDxcCjlzIipO4KaAlOslKqvN7taKfXfbmHT+Dv3hpV7tS2CcB6uW8vU1kIJ9DVXwjHZa671h1iC8AV8RISq2y/Z3uQpMiFGZEiXyHcCDYUTbmByhM3YIGWl+z5d263WC2GVsU5na45Wl6X2WP7wx+FHxbC8RfHd9Gq9I9s0Y2Bawe0yvgPNsygRxwO4/AtymnuHoTdmyAC6WrYM6yVzq4HE/Ik0jzn4sn/r61+PnvLvn6TZtddJkFbsrqlwBydKiwFhcRKq1za++mXHNy7iwJcmbbPpILSrsUpjWtviPBQrj7M1D2qGJismCHuoFLC0F0BGLwJsJnXOkVyyVVgnwPy472MC4oQuHHxiQPS27iVsuoALt/NdOSB2ZAV197/LI05tbDLCa9H2E+7hLl/nGQYGrjaW1Jz4nezW9/YKjhw9BluFoFmnTu6Zs1S6dh0AtEwaKR5egeDGr361+twJWXN+eZAwI3qeVMYQ6XzcMiWgN4WPG6Bo3JDlpiNrX4rYoE5MvJ7jKoZHOLHwtE6Z6rEWUrLKyTEn2p7IrKu3hI773G2gX7PRFy0xEJn68IojYEd9DvPbI0UYcAmfN+UUHfbX68tGA5lU4reK+s4xWotxPY7+OVFRhCVWp8uf2gccqa1aOENBfSKL0X7Bdi8GGVkslSw3v8CSMd2xxH5vKadM9sS0QKhFkz0eM5vydBr7qeccLKyaRzY62jdYL0Dh3jjM+JyjcWWgrEzArtXKtfo4zPMDJzR9JWn4r0l7BzXwzo+c9V2IJY9V9vZEWM5NT66kHd1GHLqde9EDEoWnd+WaHRYSP9fvLioHm2H4QUEI78MSRsGPPZzWM9URu7Xvta4Qmf+3tIgMbr2SdAh73IQ4iUUWO1fheVkedSZNDKKYPMylejbcl9pKlD83yAEXb0YNF8QJS/RYeeqDJDBqs17YG7IKQ5pkfI7GN4nDBVWoqKuhaEiBEQmMFO4LsXUBvYWNcixsxWDTS70qwGGd/2r3P6zjv8LisDdH+YaMW5H8G0fTmGfAnM6C6FGMJNEqT8auOvXQZd8rWSBuMRaHW7BslylwjCEE0sJLpQFj6q53S50s9FKMEDL9upO7lEw1ni3RgInRGKKbOvXiyEI/VfpBw4MZhXcEJLDnIlFSRMC+iGZIKh/qJKz+4k/xwbA6P/JKIu6YKPvZaKPUOdTy+0WMJq5kh+tL9BulkuJ6w3c45xh1JSCBmq88WDDt5N1qg+MWHNXf3HnYqv8CRvlUBrOOoV5Dlg4pug2ezpMvaqZMboS6MJbuLB7tiuNmND10Xr/00uGysvYvw6QEidt7Xih0NN64a1al9OlUUKSEREkKVLCX4mrCUuYO+OPmSjlCtuDll0rXq9FUJ6fx1JgBNz/ydlUYNe65KJzO8KEaKQFCdmQkXDytQUog3vCWQwWjm9oLXjmIQ12jB/dZWZQzuWUscz6WdJ0kxYFtvUJNQoDOc+TaUr/yu+YsBPk/630iDytANQeRrHuhnd2MY5xjG7cEUVct+bYaCl4uLmKPTSHQLraF9tofkXCYzhSSEWBJdR+g2gzynsqeuUTIn3wNY+2aN4Oy76+YcB5bedG0urduX9zxy+/TmRMkauP7EzoalxH3yQwz6YliMcQD6u/o0FHwvVnurDeC8hcahpNGzeiHgeAFDc51hLtbZha57fYThjJwe65fDL0Jg/HZS4Es8EDZafK0WkpI0d3AKMvFRTOIUwTQxIk/oriEN/610NhGCG3OjzPHB0VWaCErsP1oZ4Kj03LBu93otIFOKXJHaCv1V4OYmZQUY5qu7LQKa7sLJhFpDfK57OxdzQfE+dE63FXgwiodgovtdXh/C3IT5KnIVfeKneC12EupvvAHdHSwEGKksVptOwzKyh8mJQVy8ig/jRlodNgcgSQj61AvGtBRw36zlQplZ3D98JMZ4RJ/bJqacKXD12Ogr7J4fT9uWqdUzmSd7wHOtoDGzFLp3ZWHwA1wXdzm6oUavOkwypsZaIRCrK/D54wIep3Htqj9cqHWkwuAwLraO7954yOTDjm0YULckNPW0Qw50th0/Pi9DsXZA3Gsg10py7Ol0EgP4V5PJbTkguqIRthhPYyHeMjCBbIEIOWOZ8mTbYGtbpqXoLAfi4eplq5k786EMLFMYzr1K7AQt/QhM7Obg0cAfKKm8Vk4xpueHww6vXx2cFNTepvb2f7YqnDJV9pGGEOnPoxCagyFjPdvEvRZA1cNRzLK/AYPWUCTIZr3QFcTiV/rJSGeS53uXUPz4GNl40rvw94alMpHl4jRlnLUzAdcydXHJMAKf/RM3H1Uo09fEgXY6r8zDk0XA/z2ph5/qxg875ZYdOWAGSOQaQy1AiQC+EiRw95suhI+7FfC2D7qArUnikVjtRwEith0fkp02p8MIJFgojhkZDXXh1GN3a3zKBQryvCVHj1/MZS76QPHvrCwRQHUk6vj/i0RjVwIiBPfPHFuQWhSv6AfGT2NnHk0LYRzv16R/hARrERkUGvhY7fl2yyOKxhFSEoLxfRRD4a/bDKCG/uZAxki0bcJgbLECkJGiSYM7owFkHkLSiNIbQFhN2dUUDayDF5trOqWweN/6Ulpt/GB+O/xLapSknJ2EP9vjJFu35faf2QFb+fRJZrIoa4QcbdzRhzwnBhMv/r2C1wkL3TFEAkHenIsO0t0e3I+hFwplprOg8YgzMN4rrKGyIHZVuRq2xy7p91oKCGUQNZMyp4HnOgyRSkWit+ZPMVnBr/LC0HXg0cvKnIHm/glrOIBWJpp4MyTB9r1IcEQ3fLzzGDAJmV6kAuIOiciKojz2kAMn8z/iYqMnvisU2JU0ZybVaBibBmHW8Vq3LAQgQWdYvwDNFwE8Vp1GCjqjcftkng2c0HEmnmD1KU064sRbOPgml3LMwhZrAyVx1hap9U3AZ/VmeVGj6o45uezJSDXJUbzh5zzpQ8QpUNAr6veYxd0dPbb+hSSQQ18AxtOO1lpD+rvh7fwEsvGZDf5JLLFpm96c9GurMOVw0LIN/mG1rFe/tW/Z4CaT1/VAFgxZH3fj9MlVq/4xYHLuV+lAsS6ReDYEVBcyxlQb7No7swqwEOcKVtmXGeyc/9MrwjbA5tWAq4lIvGgJiiurzULUNbQgUYnXwKhjtYW+Qvy2jWBbO/UzQV4TgCdC9jHs+w1YVpWdL5pzJb4vqYZ49Y73ZYbG0Bk6DUYfy+im5gwdbWgyG5kHiF9fPZozPCfwZjjzWPhAaUbGMum4jHXFkA8tNxzJFpvO7pMpOHs1GWKuK4EVw8GbZqh0fcpLfogn3SlBTiPHe6ZLhpqIAQzYWVKtO1nUSUsK7pSoaVfdmvVBnSQzxdp/YpBf3Yjostzn/NKdWxelU3qfQ62MH9Et7+62osdHsQE8mWmL5mB4xN95gWmNGJyVN9Qihi72IEUZN6cfDFrHGaHAE19dQlv4lzgzyMJDA/jCp/qbcLdGYXLdssD9tgcTdtdXw8ZgXcgCIOlKZmO3POKknORxKfhd7ZjSRZTMOyGGDUNqWvOOIjFdj+oqqimExqH+7EwgBLF/Wz56j5dBsN6Jq0RoQM5IwF835JDx+HG30sHr2JdGCA5E4locVsjQjH3/V5+4VJyAUEU/BAfEcJqc9FRdhMqT2EfivEGn+JjGrC+m93zopee0GuTt68gDywtwMYtZ3Ckfsc0bGDcKheUhzwQ2Mw81BoxeB3//zrcTiuWynmu6tnFckST+6I14Qt4O4NNBIuTw4nr9mNftB5GSpP3dAtEkPn2mzSk8eIsxNgJyAnviBmwpckUou1rQUyqyOez4pw7b2k8YuDUvrcTRGfHY996aE2p7JpWasc76GsjNNwuHMuVRCPq3mH0PnbpPmYAuoKprY80wOLyySnveW7tx230rzKXKrUNq+n7Ae5sFALHJ46veVrwc5UtKeioPYLbdOa4cBVAHWd2lST1OV0q7Aow/Rf9ZkxEusL7PcYK7a/B1FNVDPcSmuCNa+sMTyOMsQqxrVGdTtx7u3IX5oThEyEkms2WzyIiy9FB57HIACXlKCC2P/LU/BRtJJvp5JkQfRc2vW9zZBp5MpqM+ER39RXPcY+aZIdSJhgk0Xr5/CmXCoMFOjymv+ekWSgH+5IarMICrV/sfZcElY/JM8Y5nizrdmmahL3bjjD+a8BBmcYkdmsQaLkPvNvYnH48Xn4zvtotCKwBQyZRYCEV0EP6H9sSgtHw3ji0KXUeaqWZtaGsXcKQZc3qr6Ph7X9SmuIptpkaGwNfcLLFN9Y9xGR9RTUOUdSAcW7cKI7eWshFGWzUZ9KAhgT35oG5b0tPnsxjwrlGVil18ZNuVdnkYihgNji1H9Jg4T35JM8MaXiUww9K39mXZ7Gx0iGTnk0HbEtfJ3IBrYVjAACZic2nUpcQ+EGA5ugLFFbdL9mKxRkgGy5WOiEEm2K2b/yWqH6VmmIInPET4WZuJDGy/oLkmBXxk7SbFS4Y4U6a9Z1QdA2n82ACRK0rI3PaLIboeX2so3Dr70aqHjQHiF0BSscR326TWHyvWKdwcRhKl/EgYacg+9YO+W7orPeZ1ZjL/SGFwWwCmZeonu+lLkVpjPRi5EsqUSxTCxUIRlQzC/p8ADh5FZLtC0Ii7oCUyX+n4CsqqRswjKKBjWbY6EnqXbP9sFFU16k4St6CHiEl+/kr5v5VOmOClZdGzM3DgpVUoH88M2EGwG5EPy9IriPAW378U6lxaoSIK0iQB9BAFwhc24soOZgj67JoxSz+Ei4lwePgvw0KU7O4bsZbX9izb00g8+vbnX/naJ6iTzvP2GTO64BVriEfuF1l+XuA/Tk4FEQ5JjWjHiilZQrnB0KpomZwPuh9tBR9DABDeCw78hTFBZQakr+jzc6/an3XUm8JAV7xgsKPCLkmxxCa5eVXz6NN2GOiHGdue551bSrQOzLOgqTAz0xBKnvhXCVAcjw/YqJ+FOkM4pjd+BTGD5PiFMb2bIMQFO00wGDb4oGRMvrmfXzfiGu7dIIFEZK+xGKEnq+Q++QCvZ9OswVv734mfFeuqw0RVaXx307UXKttdDThAi2THKI89WQXmxdw+C/0kqO00+HKsl7piKxwd13+/5AG2DexHYIOvOI2528wBrmG9ID+E3crhzC7SXXm9rvphGaBWx7UYzr/H9DNZKYDWDBr7hpkDNmzYuHA55xNJ0hj6lPghZjQ1gvKQ9P2eeaAn8k7w5Tql1eEs6cP8xZAMWMn3JzV2cV+T19MhG+PbXefrlkxqDJ9nVjT58ID/Twew3B4KwZavlvY+3XwcJI/v4Xc41krKOhhFhfGAMXZRBM9u/5RGuJZhHRS/gsUOftFhwUo0onDUDxuosM1dl3icc63+jxnC3lq43GIKR6GWbjUn5PLJcSogo/ftunhS6E5AR7N/nSN6Fm3pC79baXwIFDre0WtYnN53NaPhVXNcST26kL7ObpzkQoY19F9pME2fiH9Z1IHDiUmkVKOKxSUQvwFPX+Dk8AJdB+Jv0SF/lKDBLAjpx2kaqJXMTgwokCEbjMePps4Co5fzhZqOzjW/fd9v5FBwBySsyVLVencm1YgUiuexKEzvZ0jtTA7gGveDPOcbb/W0F7FbA1gipq+yfLMCNtItLeTM/KmQqOsRgXCd5/304CnPWeQIZTN9zZA50HwEkfLtFKbU6elKUJtFG5LMMtxeZoND3AO0H09ObxKLTS9FILZYMasnhWFGqUmDd1JSzqMuRkeepabqFSCO6DdIzzciFRJgyHf2aTAK8HE6t9O5oJULvbWFW6u44wBI9pEj2ni7zuBLTOGLPS9TLGGg0pbQenGspMoXJuaRgkp37GhSoP5ObVtdanr4bQTPLiIZl17LIrFRAAKGxuMOHv2GRxiKR9wl87yASdXxh5ZvERaM29i4Sa0Gx4lXnLQDAz/togm3D78tY9686nr0rjTuTaYieBEH0IcLKTDwKuEPICBJxE03YI4y5nv+IxTkTLlQ/OFA8fnyJzD+kG2in8HPWmw6n10uDtV1ouRkMulY6st9wlKiqqHBR/1tVeqthXDCGQhTuZBu/gDtayS19vwHNoSzLMS1JjrhYFxCC2X3HyUxI6QnKqYPCws5Yjl1H1UXf93ikPdA3g7U97bkt5WEal78Ld19IibTpPncM5eXYA331SCtBvt4YSQg19S8L468cUFOOK/CMxo8z6qclgaBrlDBq3GaVWNEp3dfKatV6+Aew41Qwx2QJW+qTL0FTVKccrx/ZnmraJT0Eg1W/e1pgHtn2RXbG+kXkDz8VFYX9CQSRPLaWq2hoLN/YzJJkyp39cOWziXz8b3MGRjQojpY1WeuQDZs7j8KkHA+J7kJEiA2i2neFQKhoNJ4EzPyWaXBywdRHVOYHzvDv/Vxxt5HsbOk7gzpFRCIkpI9zXJUB6isDCfFutEptI5i8F4s1GaUy9QkC1BO83KbiLxXI+hTlCh/j+4+I7PeJn5g0uSEUkiP54Ve471AnPnryJ1AbLpoWJoDPSXPHkh3AnRqEo77nf4MELuE2TGE1234+qQz6F1zCyDJ3IxJ+cnK/8NmLzSe31AhbP0+OOhuuPjN4LxVVCJtYZV521OfN27+fM8g4ZovnYx92O4xYBUNSXNsqbYpH39jTBJDHBPe/pWMAQr40VlkRhOzqmSKXuqv9hmpLDTD431XzE2I2J5i2wL1E3FUmlF+aaTwSg7ry2FiDgpCjhgZ4ic4v+RFaRF4g4wrp+sj+2tLLmXhW7LqGrrLbGXPtuxn2fAB/UNPpPo14kxqxyyOFGqF2Q269O3Mix0H1IoAccpliF1YaqgxBL+TugkGNIBG9ESQ8y30VPVzfEKeKRtoLoS7dcGE9pTRMhb0Oc/QnJZHny3SPuc3Ey/S0lLW1f1rQ2suDw55Z5KDMVLEO350XOWXVcDJpSk1ITIF9F0cOw/ZJA29J+SSXDVqnRPiPwDwt/1/VPf/xs5Qu5tlsJhnh2PP0H8uNoNhCDC9fj7roelbq4WgYSk9KGR9GX2lI1u61fo06EGwoQi+F+4V7ltc4dbSkaIWH2U4Q5pjPT75AUdo4GG9Ps6AzHhHRd1mxGqTvRky59zZrkuboe1k51/9DmU4ZL2oSfAYsxyPx8ZJU3P7ivfFOSxlDOLeItdZQkm2nWkKH2iGnrAClFjjXVj8AVEoHC45zVMYxungji8Afx2Qt19922bcnivVMk9+bd+19oudCu59iLV1i6WKX1yTgTCCk3rhm0XQPvHVj6lECp/VjeWhazhcLuQp1ylY/ryglu3FR+wY0lR6zJEDzIV60fc8ZeUF9raMtygUGtPPhxlqYK6uTKQIANjYwDVdSgY0Mc42bMYr/riopJe9YkEHx46CekywXVr2VMOItIp53wUvur24fyE4LHoDqxy6HwTzNwXoi6+pX0OXjKk7jX5GkNIfRBiQ6zwqMcBeJSC6Y54iFF3bk9NBjyThPE/fM3sfBP9ZgicsocE8OXjcnT8j8zJobhqTP4nsN2AcxQMtPXHpdv7K0+LincYYyVjOhnRZmhZbsy3dbI3HlFm1m2m0sZD/78KQcbLDelS17P4zUooSfP4rmptaWYFrPCdRcGzcGmmz9BAeJuSUilgV1Yofb1H0Kh/w6JtjQQPlacHCp/Ij5l9aR3idCpC+pjZKXcfDzurVPpJBsPbiZcnr8sh6Eg5slVZjSj/Xf6+IObeOiUMh2xnJiE2eqEOYW/KtwGkkI/REULeglLF/dR8uqiU08iy4wNiMRyshtm9cekn+p39X5D/7yYZra2eGbi6uw1tyjuyw6uwZ8QIzJjHJF4TOSR+KyCEeNw2tSZBsdoWNdwIPMMyMC3TkAK5DJqQl0A0jshKr3Jp2LR2VzABYMoGNuYx0z3u78LX22uotJwwRxmThvOW2TikJlesrj9dlJbqEn8gkSNr1IJmCPPCGBbG6YPE1OUASJC9Xh/iAd7P9gYPjDj4ItPM+7MJu+tXAKl8+BDqOvl44HJhuyNO7OeXINxhLgvr1U55X2MNgOkEsKRXpTQxHUx7bCFjkTg+fG6Qq46nvdKMM4qM6/mWK9kltIpRuxaXCc1zWDiIrDM/P5hGXAtbSl++dubB4XP74guHfa69LCtXGCRhenu0020paeUP3J0QGcvxxPgAvJmNjl6AA82xONzVCq4oCh0gW7EnAOjt9QyR5xovIeq0aI8g4HC3sMEMieKtkD8v15vWT9mS4+KAsd20uZr98IbInNzmuh56+BWwLJ5KCRbmD5F6P910Y/ydNArbJsEvTVihybhT2l4pcYQ8eIxjw8akHpj749PLMwjzZ513dg1ma+W6M8kQw6VEv4D08HHxFB1LStG8vb82U15RZJ20VfCCWgBeT3yZFYUp6fEfdi/G6wRTC7WqVq9suE7UcwwVosF6OV2OLRIzpL6CQtzSxDI20vSbKcAx5DwJGPNWiD52ChWbA/zIAnWeTenkI1gUVuJ9GmDm70ZRK22jRy0Ln/d4xHbfEByH73IQOntyMDehpRpqLOr1xDYoIdHnubxs0obqFqSA55/+FETIEEnDojvyYIWXTtexCqDw8PrS4RWpt6Eh1iIeBgbjDPqACbcnT4TameosGwLJitVSfXmUH4G5+vX0zjnxgTOJtpfinspbnxX1VOTrtXHmfx8XAd0mTjY33mFzlHzKGbcBdOSpSuSFpGtkmYfpEuCVk82kC7K/gBYibj7rlbuIHC9QPcyiPkV4d51/PAnwNlBFxdoVyWCZ2KtBF7GLpI90kfauPhImPAXF5pJZ7mtBQcYjMATdDz+KfosKoFbZFs5ogQ216/qgUS65Mjbd+zEHJzd7OEYy+BZyGDZO0IRqNEfBuOemv//gtbMW+B/RKFFB2qs7RWJgTiRk0GQX7T9bQW7lk8UxGBxyTtZA3LJ/tMLrRyIzig8mbl1ehwIaxJB+OqrL91gi+OD/FpmB36tVuPtJeJ8CN4EyQ6VLBDhdcqZ58Vt4DWnM8PaS6ZxdzRw/pujkgRE1TR7T9GaSm5mhQn/NThmcc/kUebcH43EjYVdYBDKr+0BE63Aew3PydA/GkEXaFA29rjMTX3F7Udfe4rOK3hDTABb+HzWBQg4MWBp37uEYZwA0vFRE6dL5lfKyCFCwVsme88RbymMvkSps0+KoN2AqLWIn0pZ5/00YhNmN14/5bw5I7GqZJLzoqxA02Mft/kxh1yz4fUd+kk2Ygr+PydeMv5GXHj1qnr3wcqiM03YUy3odSMBd0K0fdoIHhjFR3RW4e/WczdgzyaxFnO77e0ZnmbJrA0uj+jsLC9FM1RYLMc89DDYAZkPLM6wtuCk/U2mVwxruKItbWMyhgX+3NdRt5rFBV6IqXXKb+5zyF4zXUjfwq5qMZII4D+tC70se/7JRAczYu6QFXKwecFHIvXdiIc9Cl00jXC1WGxfE89b1RHSn9zprLnOaV1gsgzk9np6+5QWgWD3NTPLSIir0+iYrwiBOAtnRCvX55cSQPPjvxkJXbR6P/kz2WFX1T9z1qMlVkzd7+fqx0f2uWzqUlZobzHSRqZMttCFkq0/70n4hB7F1mmbW6eFdRa755HGtxXl37fBnaMrLHNR0cQlQy/SCplqQ5CV1rIDckvOB1CbjYj8Zcgzj3NLY5KoZsxI47B7QpwJ97zaZwOtUJapONuAjgGdmXlkg1c+Ll+HnbGbjzO9NBMM9O42ugP299ffm7drcTdmxHGS2pb2GZ+BwmPPIqaeRsk82QKGHW0OWzeAHhi+/oRgVayOijsLUNqchXO/WhjQAAtLxyqutZm7mRScutgSpp3iLZk6tS5RMCWHLmNgN6U8RcboCxAzpLVf5lvYjiBblDFhp3/BEMIHC4hEeRlYlpyX1VtNlpFQ1W18kHfR7XqDLOm11RU8+g1tgAcVx49t4aF4rfCHdXZ7ZA6Rv4eK0FQfpXazmclV169B4AjSIIaWZQjOm08PiSCToK3N9Yb4pbkuu944F3LxOflL3xdRDpyoobMsjKAN4xhG82qXTAzyh3Gd2t5U+mSGMHy/g9XOS23IqYLpWuoQXh2ZVb9iqRUp+19QRVQ9eQio2gHuAZo/Q0c/sKi04Ri2zS+LEZPaomy4AvnU5WCfgLwv8niLaQKfnhHJDc57To80jfQCvqK6uWDpnuBsL95XaiFlzXFjwXDXgb6WAwSZzUCW9xmLMjYVBIr1GqrbEiGmBIwKaCY4rPUFiK11/yLmHa9ZlXyH8Nx/9xoOEwXHm41rglU20ZAwmycQKeu9XjMEjO7F05mEnNIV02ydMJnby0SxEGc6mTz7MNG9CeEXKkm1bvbQ/pMqV8oHPNSNTCLeTfSU8416bij7ofCigmrQpGSczImeAdxeikRRBIZO7Q9laDthnE8KrJJGTTYh2nSLtw4ytR3m+wylfqaekcHdhDJHxYN89mbbw2MU2WuZkK0EdlQe28R3v+47HucfrIGsVyr66h0INzOEqfJosVGC90PhApko/r1yHszyILxafervyjnmT/SbYOM6k1mMKobS1SusYr5Qo+bdImjUE6Xf6le/3AJwgsftDR/IBshH0WPBPByvIeoczc1kLKdjZiQGzJEavg9dqVvUUKolBIRUdK2r8iD7ljh5xXQWFwLd2XpMq/vtLN/R1mHKj+QlE5/hE2AIUZj218+OVVCEb39kq8vDub3G8gq1Y84AOB9cWnyzh0UizQ0SFTz7tcoJrQM0T87jXt0FSmv/kX/8tr1dSutxUGoh3gRI00cxBxRjHGXiekwzaUlpH+FpY9qTLvbOmUC9fgYupbj7cM9cb99AN7MqtEtiH/nbWQkFxkQurYHHk/9voGbDBT9w3Wkbl2uOuAmSn7Y8Zai+sMrE8PaCDzxdNoP23eyssGsDVpmelQlJLgCgFezk3QReE1UAAIXnSCcmv11AxjvyePChRJOg4PqNrBwmKVRtcSXZXOodxPCOmezojhUW86ApVkpx8b3PRpH9kbcFQ1wH6Fp9KzYwQXqOQq9OiEipAQAcLIHtjNdjPn9ChK6XwHoweY8XcNP4YXMLyF1pmRR2g3rOXck5O1vDGXxJ3fAH3HtacCPCO69FZDFfBlKUEZHYoKDq8id1nDL9oK1KZ5Vi0yuzt9xjNZV+5WbuME7shBLfYKX7DHMAbURk9a/Qy2Es950nolMFQcsldDrkODXtE+TjWrftOoJ+LYAoOBZ9eNyZyyWkN5ltco0hL5C041J2uviDmUT9gBhLQMYDFCNn+zdOMdWJecLJtf3sAVe231QFi+YkF3/UHsZ6VVm1SNEaHX+r7IB/6uI11rQgAYi1cWO9qEO6+rlKQgXv5sGe/tRBAnksQz+5+6WDuVVRGEsKqHX5M/WxfVCUHHEKksBghp68UDNplU0wQguuLYTt+JybpT6Ern1qdjYnMMaqU84U+kfRh6lqRUsYVtRdVDMCvyW9IhV1TgulzK94+1xAMwYmQzz4q+nmQjSAU1mv6Lbqxx+yEsk1G4Gkq1YzpoAt2gBlm0YMOAJVSirrADGO0Qzpe1UmdNjXrW37k1VnMy8HpMaNVRb9W9LLrQVXeSmNZAVL2F6P8DML4BVIITIvCgFUWH4xUWKPR3b2gTDe0u7bduJ7T1ck57Qn3Qk3Fqcp1uTJv7kD8Azc9P2XHHYzeKymatEDtTYAQ6F+baBvK+WuL81oDf5ML0vov0CvM0IItDojyHjOk+XElQty7cSQE7/1us+wEk25Et2AoT6HZzhba5Uf4zVbW+636uFjyXfM0pyLGbC3hWyrjbY2mNtfSf8EzCMZ4SziJaPfmsrBubRbVtaZM8S1EhOUV5pXPrKFq5X20+DAc1w3NGt4PZB2EXzJNqYTTdKdvHg3+cmvESWdaRiQNC7GM1jly9TfVQeuuOYqBoWAxcsPtoblIGscoM4UPByUwAiCtIoweHFr1HUqaLG4AOUAeRN30l4JE41XVr8e88yryOj0Vl5u2jFP5HYiCLCnlNqzNX7PzGDrwRAhd+7yYghGhOYSnfUu8nP/BMD91T6dFltWIXxTCcXNZlQd5g6nbHqcovuH7LI33BQCePNu7untwk5v5810V+098O/5mAyPR0XLNdnUHIqS58DlK3CkwuhZ/8p8PLAhEiAyx5g+zQPbQrVEHIHVSQv8aajmOKuxt7GOjlORZE8vsJOIt0NeUKE1HEPg6Er5fUF9s7f85GJnob0/Ok5vDfkO/XJ8LcG8HFaIC4s2gxiWvhNZkZ1YHMMDQFZRngh3PEAPYtbIo1ZJ9Q1zOGSmHWSBc0nWiAkO8pmvMsG5UAkRhYeMkYD/iR/kwo3j86gcWmIj0e03eImkPHQIUcrqRYkyBhd6jsbB0Y27xKVTGEeUXlAQ5qj9he70piuGBallpJQ2UfGduraW/h/C1xl8lowHqAWNe8mYqpJU+eKP01AjUkwXW0X3thpYehCwAB6Kw0Ar9BuwvFPApPZBKCEdYLgmatnLg53gILzrtcHaa1zs3oCEpm/PsHkBeBeehK0EF71DByjOebwhkLPTpJjf2JVb4gEih6l9VEWRG/kGW8eMCEElQVei8CzDt3V+KiPOQ1suMNkZZ9ClCyX8V3nNX1TV7CPV0UCRZKy49e8OR0ry+lVPfKnlPHwLvooka/L/LRQh5zEV1FVkTV0uWffpq21X4ypJCdG3CVMO1j43c9auWuaMHrroTlhtn27tHiYg+meDsVROpny3AtZR+WWBHXpqZoyLfbRcAaKUb1poW8pzy+UQecIFiPw060j5zmkH6Gsa0x2zWRQ3xH8I20g6ACfb1U5zpvxnmDD61ghOJ+/TFbpOXSF3ZDVflkD7AG70L+TfGtDyE1yigr6FZcpwP1WCWrRjY7e40YKxhcCOPQ/4YK/a4xKaJce7d5o3wX8uTNiWyGYRUAfwMgBPonneAYPHPyJ6AejUeT0gA4Cbn17lmTLrYEpLRx7leESSyO5gVjEcXhD+u+hD12suJ0kTogxPwoZrTnP52hpB/KZwYBQysHIQfPomR1A30oHZ9SRIO4kQNU9FMtFeka1knb3NBQfxZNcAeCxIqccV31xISiQsITpXdIVN6akUm7jLdhNtJMrNNckyA9tzJMEmnB5w4edLuDdAMu5sxjXHOoEckEN79YWkQL9WKpUTfWU/687EsaIZFLPDYAHAYL0+UAIP5+Oj4KD7dHa7nIs3/aNuJzqSvERBXp/55R0mCPx+m2Tjf78SsymGfvUHTogEsrs+fhFazPEwWCObuLpBFvwkUV6F24zNc8udIPT6U4MRlPNZ09AEaa0nL5un1n/gRC2pvvtgKpZzdBA5KypCIRgdHCfMWIfF9+1La6gHUKSON5AezJfy0TJT0A3ne+whm+ZZlg9CdtGrOWBZ6KlAPE2xxe3qe3wwuL21zpcN3fETbe0bFguOHXQn8Ppj6aMoNi4Jg5k1d7+8wkFF3pPkN4T/IGIXqz3klsDc5YojoeGE8fiTdY6Sy2qKKsoiKaTYs4fr9370BHcGQx50KE7juy9vSlKGpze0/bCgvKl4sYlBdcaTG1Rhz44LNz1mJTDVdvcg/fD96fmY2uu64riAwGGPZce5SyZbLZirzbLRQKeMeubcKcY//Z608qJcsoTv4qf1K6EJMMHKFWBTiJH2Eh7jLmc9Gl8deSkR7JSh3/gipBASsNM6DkteOHZiSnIRaQItm6IjJaEbuTuDPxZaDvTwb33yzWHhMmHxjcK+Y8KYJEtRkrThyO41MXy/nKHUJgLaH4eRhBMjbaIhyB7aWUdEaShcq6shk3c+8y2/SMHp0HlonwOo09i2w+ihvBU5kM4dvGZCBnEK2QDILpSdZMPrBhRvKcOmiJyZvxVD3NtvUXtZ2roPEVAkkarYwr2JjmZcZ2uuRY5bTM/PyzS1YLVdhVTaLX7mYmt0OqxVC/IO2Jv+DHkjdN77gP6hhVF/lrGYvxgz5e9wEK9ZJzFedG3lVl7fL46iyZ9yRvusfb1RhtVR738QhnUfEJ/R4cd2tMU9MVtrYhH5U3HnoMo/W8bMwFPSjm5/HqvsfW/S3DZYwFmuXtKdLJdZcK/oZcqbrlsx6Dn2jiUXFLJZsVCGDILBOEqkU9Gorm1Q+aDvBYeQFYaooKcSSyT++UmQCVh4h7R1W+6A9GeaKMN8+3nZF5qwBWA4J17d+HIECdn1LGlvneFZv1uodNucUcG5vta6CWb6su382A1ykhTfDSFA83g4coUrPCk2ksYVY0rjATEhD0OrNo+kU+DL929qs0nG+i96YbWTOUdCtMro77qTpS+jUEyjRGF3lv0mELcI4SqHXcKK5Ex3IVttOpLVpleZB4XP79pmDlwcMxBd7jJsN0QYhXeGsCitABstBEDf4tdR/NpGIr9vOT3lguz1RdGhsW4NaLP9VC4lptfjyf+Ek0cULCIQlWPWHk8MTP6saXNfgVsIYop03xHQMQO/UOgqa1H+9mIUXSozqPSpMPpSvPEF5Gj6rwCwHw9e/o1a0tOhjTxHC3xGoiSG4vKQqnVPPcPBhLEa/KFDhMPDFdM8sMJfOhKV/LvKMcGfg/RWWXUfg7OPJGIbQ+13dh45Rrh2m+WgP8Z0TrnxzshWnU2zqG0Te5Rp4sz5pCKluV2fzUDENlDbHV+EhUTmzfgJb2+C+aMwW8iQ9wvGL6zBiz7rpzJfNRElq63cmoG2Ca1xXTUfcBCKuY1OzAOsJsCdNwDL2EPsUitnCa1+SuDsYfS+Ggdhh+ks9eTbgyr7KvjAqh0Ion17Qzuysp9McaNLNmRt48GM5g3Rnbf9elw4zF2U+5L90YxAPSLHkMR21yfhFW2kBKpUqDZXP6v0kZSq8IpjcFN7CPBqDkvVdtlffGv7EzkDrjoz9JbnjIA2bcjkXjgDCd4TsZPK2YgA43spTjXB8/gn3FER3nI7hcVprHx/RKfIT1pmxckLQR682d5t1eall37npTWsBouIIE6wCwhxBjXr8PIJKGFbB6DezFbD4+Vk2NGk9OVDvfjofcnSGR4GLj4KRsto9uJEkTjU19a0gxUEWF/cztRko498iTRhMpkVoo4cgy9GMgfjbt4CAg04fhxpvRPZ7sg70IddI08GszMhfbwQuizCT+WzRDLPDCZc/fT8qn7PFkw02u+ifQqZfZrXcBv05uOJmw9JadCBvrRjQ3YES0Jqd4FhjUejedeTt7FHa7JpdqJN9swMbClU8+ORYVt0J0RuzpnEAak2AyU9ZT5aHrnAZ/y72qfgEEg21KrbQhr3QM4VEPpEX+RdlXNmn9Bgz00XpEf4xIxklYR5VQHb1c+gUaREftNS4/R1lb3Z+rfzP67mpkBQetQkaSpuH6yILXjQ2yWiNkWEc+iysOQFzNRLaiZy5UYrBlAxram/nwgzxi1MfIw/CfoYmSIsCSezQL462yDxDs4Gk+ES4nIcz2ovoPSBwPzsTwNu76HgD4rtOYtuayUhKCtbkyzupyUARWOv9d35rwYafUPBjzsy+LeEXC4Q20zUT1LgABD6ch8aUrZbzdbgGnFL+3TW7X+hdxtsTu5zQWeyD4+XarMRCvGY2Qm0uWmO4WcC/JkYF6ukrzw6+fDK83moeuYXxs4gsfalwE22cZ3LejuizY/tZ3uANBAgmjPDP3NYjaZSO5usTnQ93icW7tX1z8DoWRmTQJDOmMo4ctgOvseFqwPPnOjaQ/XBZWdPckq/3Mp4ET4SyJGWNUwfjZIhyuMtetIXFejt8n4b997zE4iyARQqz49x0H/pHDSuzvMTqMV6OvQQ1AMX9jlZ7eKNmJfxU7VVT7LTVuNS1vDKiYyym1GgyZ6QYkJicmsUJQeCiv+Kw6nFIlmwOsPAK6vln50owAg01uqxh5DmBZ4yEFJNu1mK2IvSEUFdWJF7Q0UwGZzVaeTfCR8Qvt1zgB4E17sf5yx0/ZBczpxTVHOWxQOGwxMskQzCisyspM8CgMcE2BbZwQIzGYKPPGxeXsstFok0QM1lI6dv5HYSKCzlRNnmhHWHGzr0xYDGkEiN4k0KjSK8jiTVBrPk5cYh7y7j57JFe41KI1fgjlTZlnhTP+74x2KPN6gD9yJurhSriwZKzaeOG3LNvpVFN1EKzez5qlOwrbmhUuH8pBDrapfqpyPjOzZ8D75rnvVLCJCU0R+EU93C8cXfocMR9gAz026zrmgy0NLUhVjJgxruok/9AdrB98OvdqIaAAN/gv5ucTpZERSjt745xOIJE18/ui231UddSrsAsaY/ASv1Bfp0PPBJIDu0VJl04H5zOFKFSuUYMtBCjcHK2eU45HaUKYHnu9ltQSKvN/kcqqLB1QHKXY1poGDFzqDgz5OlFLeGkeKtWaCj9HGeM3bMVPcXh5rg0tovZ4c8zxYiVE807ZMshd3jkCMn38is/B+SWeSXNl4G6kBgiZSyfLQgEwcMVCBF6fgN+jxKK/JFbCxsOmPN6ys5wcKnkSfWy4cyHSC1r4SvEoMUj/ze3IKjL7aM1Bjynr+7Oi6KeJOwRemPboGFIKi8MFKPR6lq4SulcIgHxFDkOLmZ89lW3iJ2NKjWj5fjIwivqawAWJ4BVkx9x8stPFXPTbcbOPYODg+HOwV43NApcZFSBxVvXQ3+epldow+rSL8m//r4beUjnU4Ama/hLT9lksrzd1nHelEQtoHi5czb7Fy/yqSPwfciIofYgwxkZsfxqARbUxPp7TBpzkSSH72bOkiKRtEvGd3mD7GV85fICOE4gNoD0cBHL+xVpcfXsnngHiU2tNW7UuON1uVTMFmhKSyP9+qlk1jFpNI19XqwXbsirfO3sRlvsoURtpdzOqoikp8Xigo/5uOYPHm5LJOWIxz2dn2mjJxp/2bLCu6ea07YKNpF8P3ajLIjCYASQYvZ0RFKHcAqFsJEHOU0xnKWb65OjRFdxXO2L9kRgu7uV7OJqupPaHDSbnWUwWR96b2t4Kt3cACDFZu1n7hEVZK+K0R1IP8Dvjg6t9PYPFmiTvQOzwanvleETNZ7LtxaWzc4OhRcidLYh2KB6qsPi5xfjDx2jc7772ZA5y1d2QBYvpYDI8SLMIP+kgDyYrPIsEjxwAzKo0HxBCjz0mXvktMh5ZBgw7g2ZZQXbw8MEoXLmcCUWBhD/8E6J1fV8L/MIl/pgL6V9G8v36Frc2pJkOCd4U0UBJl/ZFCxgRf86r4YhHKnCeowP94MG7s5y+ncLcIbhAOJqSZbg2RuhkPSx1MRstBspm9PQdhVhrQKuPeDhP5s/B5FpanknIy0R418xCMghN3nsW+zrtMkmUHAqSXNaTLBfzmbea5fx2GOPgUJ/M04Q0ow+cUTLBpH/Fyd1gxIpQsgbgl9MDN9AMv7dq0ACqgex6PwyH1QeZ100InaVhc9gzza5B7qPWjgQISXRUQCVxNKoS7pbkdgRusAzuAvEaqXr2lw5eMdlKMuCxER/FeqJa9fDiX4zm0oenQGdITxwojNPpigFKVFmZbqIa0g2sGTTFijGLOnC6kEpRZgnKfckJmH1SjC0barTMDq70QElfUCwwur2mF5eegMjoNpFR+nK7xW7LPFPM76z04nQakc4gGHwWr0KCPToWol+q4q0IP0XKABE6QOTmHKpTol5y/bFUtJgb4P5p4T6lPPGZp8E4zfpU/6oGAKWsouSC+ebxKui+0QmAI6k5GEMtPtkRHNjq/39LE/ukQRe0NeieQFcoVm2BFrBAqAkZPthUua8nqVC+BSh7HsOz7Iw2lBZg4a2C5j0l2couEKzAFtZvkopEfn6LqzleaSSxZfSNFEdIo66e+GyywQUSekI4+xRy+6FGZzml+k7wrAR6RCKmXkzRCGzCKkAQRq9FKy/wzYUM19MUK+pCV2vPuKdVEDYZFNQDZBQTuL/8bMdxEX7S0Db7nyIu8wjA3EAhKtLpN7xQUBEf77fJBiz4ZEg0joD08NToM3hGZQycIebG+NQgBgoPEDDqnAlqzoVseMXzOrcfd//t4Odz4/WtujU9rXY8dgXm4Ucl2XsutRv0W0Gtt8ChfFCknT1q/aQ4KwTtoxWMVWmInflIjZ8flAfCXlLnc9RLnKS4kwci5j1iuAchuF7XWpy1XcxlzoL8Fk4tAmt+h9T3pArwReITqYFSQsn6fgvoVi4lb047ZPQsDoWwWHt8qjOtNHJ+v11F+BpLbEODwXKCTHX6lzp/SNxwmvdzXfMaKEZXrv2tRBMF5dWVujpBD6st/I+pgQ220G0ns6YZc5unUWwQQaB5woX71ziO5Fk1DuH0uFl/ggQlZ6/kbYnmQrpNi5rGCFWAWuCjS22kNsapXx6yr0XiBJLkY1k7yTeBBrXNUSxEyAQ+1gbWan3a0yoHNCCYUX08qtrArd3V3Eu9WucEfQZss/unw+d8v3Zr6Tjy7rx5uiqMGT5p5pCR2Jl0Uh7Iam6Qji+QYaGjbgiWc45nCID4QWDQ2awOdKEMv0TBnG8zrivpozgbHeMcHMCrf4YFIAHtZxKe0t05D+E83BbajrVEu9vUGtTwXQjZxfq2QIkCzoGyTwpzmiMbwR9p4VSZMQogmWu6oFgm1NoTV77qZwCfLo//CboTmzUS0I5YQn5LSY58XWXs0dWaj6AIbwcDZUOiQGgJ+XEjU0tKwzenGb6e8N2riL6Vq0VCkJIkBd6Tba98nB7SBdtR/viWnhzt1kM38ULeOyRBl7bA2GAzgNMiX/TXxSQhL8HPVzZ3ygzpID21T+2g881uj7uJ6A/NUJ9iciKUo0K0jrNVfUI74npgOZqNZdeIgaEkoQ424bkIrblYU9wIqhLhWWZ8OdsOBwZm9DxsuITZh1HCG5a2EVCdUVTxZivZF7MLupeN793a7wv7cr5bGVV/6UjnXBNdmUcLjiPYLDgOS6ikF/G9leUHhZDkb35p6wCLJzchLpv5VBpZnNG2UOBIl6g+w2/T4EVuh+7n/tnesri0ySBKTNU8DAicWPEXue2yWKVLiiZjpPhb6HKIvOjPpqjC/OT0ap8KF3cuj0vTC2LyAxWM/7XLnVobIpOuswxIsY729Qg9QDqB/ymX2gQ8pEnrZmiHlAAw/IFHBU7Y/JyilNuMPgJfQz2smLRykji5OC6QjM5OjNiN7POLL6gQiEsVuz/FLRb75QFQTD4tRi0zY02o2ll4XjagZeVXB5Dccy3f+GWxlRt8YTpFELUm31zxlEuXcGbsSw/5IQ5wuGsa5glWxyHbteAWo+Dlidy6XR51HiMd9FfMplp27pmnxGrGL7gicUL4yx/p+DyEDcudw2IBXFsQTCCi1sR2R2pnm5cZr/V1OSNMqnUZj/bhlVfPQvKS6Mf3VKHhFQdjp8g0runnY4xAW/ceEx8XcNKZBa/qh/YzeZM89cjGFswhx8/amE2jGz9tdGlma9ia4BMzgO4G2gUCgV8RneAn/e6rf4kYivqHSS7yR8W+ANnIhfNDZJGIWSL06lpGsPY/bQXOIbjITZ7gqmxqXrhFBh+88d9oKvruO109gUs6WwimZ5wqJwgcgaXnNuZU6H1tlV0Lodn4S9AjP6CSk7txTC/F8wvFVKgWyDPbNjRtinaPcjZd/j54kyxhELEukQNvZ0q87ccdlm+96TaH3xLyKdTDrGsDJcRwzfZukVfIXVqNUnoUbsegmyIZ2S17T0UMXbhWvJhsbBZjhe+5bGz0XLdzq2+h5Nv9hZpAg/9hPOQk+g8Cck4lFOk/vEr1IdSxaqreFla7TCLrgWBG4vE0fogdM0EzGkeY1hnhWpVvxTNiOTwFvv+rYE5LYhk3yds5i8U6P5perM3+vLEDDeUdptkRiDc5DxgIKqIZMbEQ3SZlEGU/WrCs35pZmZ7L9TFUDkCHdVfipkvjqAKd2tDz8UehOeBCiSv0EP9E8whPvPfMkrA21rfFG4lbxldPsxgldU91BLtBX8aKcPGhN+X3vPbv4aHpVV5DHOn7ZZBO6Uwh809gPAoQK4IxZl1nnpC6meV5+nP900o9L9LCsQ8/hhySnnipHODXsMM0hlV3HC6s+tOs+qAJ7J+4FfRdrL+9wQAQrxR64YnZ7AQ85XO7g8RAf/Ncnuylkdnsi0R2wI+gm8WwRKfNh1PVkhzxhWVs2dKtwFkVzCsvNa6dFGekmyiPnP0gddGcUXI7apbb6AHGl8fzqpv2reAlvlcJexaIi3G8QeVlVgQT2BQkORweeMKHPcdhDj0neyWMAUFxq6DhdFQ1mJLOelNSoSQd6MdskQ2CYxB+ujKIgP1VjgA1Ot57PWSQvHy5ckoygRIA6VtG5EysrpmqJpaPEUqscBElsVJZxzUjuZjLIWcvpeVEX6VBjwrZsNX4QL2c2NDTnB6KusmwDLIcKfjh1iDqEkqy7Kz9XgQ4/phGCWoBBaSBeSAbCtRm3vkrdbkFOqSvR19jZNkEV3tJHWYuevhvmG5PQVweLssfO1Z+Lv/Saxxod17tAiOTzgKF8ZdTAFcm5wrflCV7GG2LBvS7JnRKl0kkNeUNtF+kPLOqUyctoFiatDB9P6wBcdJEgGKW6szoiGwsEH/OTJDy9vMh5nJdlyUvsT9q+I3fst3QtcFAgrr+l7w2iUUl2HADo5W37/EKxLl4Cpqg77xk76oAbA4rYFToKe8p5Skih/aiwS+AA3mnyMcfJMKxoYFR/Xyg8cWESm7RX6UVDZxNINiL10OR3jVExZhcVdetMqSYntiYbs8gEdH6VoBB9vFzHw1is+XfLOIPK7bRAX5u8+rgCfAqJ0w5UFiooOxD//ShnMsAAlw9IatbqNrFE6TtCNC43oJF/T/QHnoU2YRNgr5hFNoC15pp/3XZiBglz2kxN6M8dl1RGRWgkMMPoEmgZcjgEaiTxOXQYY6K/3VAZw1CvlKQwKYQigayV4itqNE/I4gha+6fFMYn6AI+UXuXblaT3EVh+dXUUlya9iq0wImoxepjjDhsglSY3lcMjMEkBL25CNRLo0MqOjDQELk2F/a6Lck/m0i5F88Rx9vBTRdBSkNkQzWEeP5+Of2DRFtyGsxps7ephlLVFkQrZq2MBf8S/g39Zz1ZHPg43s0j8UzoOoRS0fRhl6AIOQcYtIxojdzl/ZbbEVVkhZgaMLRxC24O0cslSjcA2RY19Yn+M8s6AVG2GdVPx/Fwi9vlH/mzJsIzV6Fwm2V9tytmKzeHxIBrNCyy9M6jU1a142m8kWraB6fv4/m4GIkkttOjsgv635DkiMhLQO6IdeWPujmjuuoI8SA7a01KWr5fjs/pkfYBnBGhv5rRQHzoAf4ID5h7ddR3gfRU2NMQsNEZniI3XFfJEZBGITvpxbwvveJ8eV++3tjh/SJyBc/dJhdylkYf/27/qbq59Tf77vUYZIVHgKxt/qeCGXBHLCqcLgH+zepBVm6P01BEO+Bh143d5jbhzhRUrQaLFK/NPkXwkk0ftVzonDG6Z5gFor5hFyQaCbKTmBIZdsJXTKd0l2i5xuqGXMSlRDKHFfDfNEHwmHuQotiIevQ/T0z84fhCmE4RyDcMhnCzivybqUs0JijBUqKWvZw+sJ6Bz06nwbvTeYkOU4kzOFBgI9E5lc/1KwfA6UmXNl/MugZKTDrX9hdldIA4yN9itPFowF70EbbU7XTYnK8Owu+RnYlJTRiste34nnqXhtEANjYqflCQaMdzINElDYe5daHPEJEWMwM3GfDfUjl3me8Pw0Emu8nknYjLAnFJEHPW/C6af3AvVyzC6QmewPs21qR+WGN5uTHx6q4tvl9sV6h9U7WK3v/YL5CE6LexcJC/S+xK2Re4Rz3T4LqGTEoOTD0WBquSCqzi6kg/gM0qwhP5BFU1cgBWujVB9K2yIKW6/6zQQwhmPZXXf3QQpsDbixiuZs01h57qEI89/nXEEBOdlF4H41BmMd4SEmRfglH/elfmj0Tis0R4WezMtlbSGKYjKm4slzBOfG2ZnLFIdObDOWQGE+F5RE+lMikUXxjR7phFnRSHlt9CQYG6+4f2gTIQLgrWiujqFJRUjjBWQLsZJQvr4YKtIiryIYNPkwXd4efXhMtW8p9abrR2E+7/9U+4OTHRBY9ImElRcHvNdGN+fUDdd1FYOzySlBwR2X+1tJ8SxpVNTALszG580Qt/hipTYGcvFGDX2l/ecx/maPyV80Arbq3+WfERQhUs6xHra4uRMS7+8AfaMDpjRUnFmL1dvaiKafJAc+6iJKOeZ7rpK5JXfltZziszvK/jOsuj4C4pk1COcp/qLtTSQpaomGaLlECUFVRkWhyC7i+4WQgQOg203gcrhe6gzOBjAmgW8HNvRWGGZPg7cNW+xA7KqtCLugd39jpCgq+ol1qpG9gE04AZj01HJ9lv6UNfU0KAd/nfjz6TB872Rp6LXThmBLsHhwBiACPxP5eNUNkrd+nodZBAMiN4AgJqWDdKaJEX93kOUgTdCHuoYFQcmvRJix6W/3WS+IJmzgcLN5mO6W1+X+KzQJSzxo/6528VN0OZFulIWcyH8vR4r05lVe/I1exvcMHt0ow1zONqoZY70jcW1XgNG1XGZyu1EwDq5xJCFuFf9Avdb7Flk3Ll/KNOwpunK+iXKhXw7khDYhJIdIwHmPt2RzttPNIZeHsu4AN51GyXgb8bd0X5cL1KziLDvEeHgH2QQleWoLkzftY0o/V6XkMJw+JwsYJX0nA8JxKYC2Sp49i826cE/yxqNCO8O9I+BMZ92R1hBU8EB6x3zo2cTgdlyCYQGa16ZxyOhGCQyKmWjGIsS+1Fd9kYK/4kPCUjh6M+4qgkDBs5sgDzd6L6CtNDRJbuSZiNH3SELdEypCmwy7+JemZPSTjZDRBLM5FNZqteUDmweENN4R8QStsrx6myBAdQTtn7DrZJJlWIcp4V3ulSSI31k+W0WrBv9JAf32C4LGiwJWIOErcGTt0UevNxMiC1NtuBRHjMB1rx4nDd1MRy4MctL8b9AQ8fIxrd2ewbWexcxSASsivnHXngb13hFrmHuH4DaC+LDyLDUx9Y5Ev4v2QJpim2ROhIGnwML0kluJYK+YT2kXLNidIx7dBDD5iXDUwsJu3vcMyFjFwJCMV81YjQojgPZKm12kxj2MKtPzSa8n9VzD4NQWNoi8pOtq757T2TZvZx6REO66ea7X4FWl0uMiGSkDf316alvGojWea+fqg6uY4OQU0Kc/TU16zBYZWD9kW7O7SxN4tjecKnZNqugGEEdi4NBA8MmVJhzUuvKBC25O0aZTbV32J2nWt6BSgIqqTZobHrt5iu5kpXtZAFjywEDCwdRkLcy11zTDX2fJ++34YIMM41unEbcSJpzT06kX6JT+2ut8mSFcSh0F24yuFGXVFnCIZKb7ux6Gr6LrAl0iGmveZTh4eZb7Gklwn6EZ2Sl1exeEY/fHLyjq4Cmm1yjKIUSqGEy5kedlJrtB0/vWvdPKwuaUdzJjn0tLE8R9fVGbQTMx5VC4k7zqbXRk+Qzph33BJSIGhG0V2BD3oPUgnvl55SyGCm+VyTXIa7jYrxwfsgVd1KGVVAeVaNFmayTnMjLfvkSoP7TJekCCZCXGAb+6cuwDLM1Hm3uJ2/hcUG8uAf3n1xKKzG5qMsOn49Gi08mom1/7zqAwZujhvgcNm5N1FgODKHd+vzmH0z0F2h4uTWzNwsY5B09hvbH3bT8m5/f/gyMK8gLGIEHhLQFRCpdbawdckNrDc7VuYn+v+hEDrm51VVRSZgUEyovR7+aPOPagq1mPimcxOk3Oh4pxgSb07Qnxw/WquxRgu+h5EQMkbIoDdyaXlNMDpCppFxqK8ZQolx0SwMAHnMs6FL/abmlKdnFfZRX80RQcvxYTk4UmUHqQRvK/9BCq/vqVMqXpHNGKuvdpaJFQ3RrvwU0oTbpbTAFWaFQlktBKd5pYayrLsLzQ+yGJMx0doOapBbQoi4Hm+EiA8inpMV20k9EUbZwx6VH4WcBVb5s7KcRd6/hKHsZ2A9zMHOtpjnjX/dGwwdpaFvIHqWO/5vrQfb6WLqyLIIyevR6FdaAH+aB4Q97Eg4GEAp5l4E7b8R5GIexUpmrEgXEHF2bN/QERRlmch3bDuqA70fVU1ohl8t92Ab/HrVn/4aXCImedDyTVWXnra/PnGKlo8XhszzyR+GXeJ+JBS/ICPPOhdrXiAu0vVzIfzmN9RRzdpCzZbbDi/pFYcWkr3LRGJWeuQiSozXIeojJ+SOSSOHNGjp+6l8R/tzT6o0La1vdUd8nKys83qRLLqc9R7vP1Hw6CQPJLVSsbWd6XCOMgceHEUetufgm+iMUvE7IJ+4yZMzDlwOmRwkHyrjmyrrz/XgvgBXVx0OLX5zyOFusnG3TFJeixMBf1iozmv/9EtRlkU6Ys+Qv1vfeKYsUhaBvNYwKTjM+/NBApPBCd+C7xbHVXxgGokrRL4P9ZgMuRKVnPeowEAIwn/J+7SNwl4r251EdIkI331w6bvYJ3rDej6r8qoLJPU3SqTtAaOFehJjHi4Z7HvzAC9+Ab6af1PPVoKC+EfAXMmWRdBSOxED9JL3/aLMeIZJ6CD1F9nz3nw4x5RbDXUrJ6F5DCcUcjANe25iJyhfoK50ARbrbyyigLsePwQc0T97h9swY3QX+txhU5SOLO86R7KYf/GK5aMACPruLsMPVqNLBwWueD1+Ao4sARyvOjGi79RcTdOK92CRVGVDonmh/QLPTxBx3SgNlUA1s4FJLmT10nTswS0X35/+vCk4i4N2dNKqiERSOvbZfRnWPnIFIZb63CDSRP+T2HiNi5Arabvu3Iy5LZU0FfoKcIslo7BZIjJwDjm9LDGWNSwRR3YxQNEGj+gZAqIuqmN9ZXE0olI+pZMTOVAOQ9XuENDHNEq5qyLCOYuGz38aCgON/y2rkAA7Ijsv4NOGKhrCoGtBz6aZXVbuXI/vQ8yqacAdm1MdQKx6BqHtDT9eoZ5qD3FPpEZQdQORf4OnrRsTr+fvQXKjE04kGyN7Ds7ZP9v1C4Sas+qFA4Hv1DLo01vR4b7nB8b53BMvO9XUxUFBcAV/3ugC7FyiorfhgweRQT4qipSiZGy7aAfjPvfVD1WTwuJ1n3z1ZBI7IGOr/9VlhNUx0ssAJVA5ktABoooo4zFZjSyE2UBKpzLSHode2+kbDZ59iEi+3+bDtgIZvk8eRnpFKk1Cci/33grNmEr+clBmt0JuN09NFxeX32KZi2lh+8gkQcKW+WRw2oir6XPuWvoU5AlOh25izh0/SlJe9hxKGovfTLhX7G+r6sm6tlZJK3BTzApEoJP1LlIWrDHU31n7K5pzLtKCn41LHojz/DtugfAAta5HS/+qTPASTD+cVUh2/QlZEypk2OmW86kAU01UpiDFvY68Qu89vA/RGPFf2zwALc85YmTCqONC5NOlXZS9lMbL3UrHuHn//DwwHVAPJC1UPuCPOjSARLa023ZelJfSrmBK7anqJu5FVkHv28rTQzlIpxNZgW/ZAc1RRxCYGZ+QEq+Oxm0mbj0Grj3hr4p6fkxnQsu+XpMxAbjI+RKwxVRY7r3KJ1ABVFWdeqxygnHyKpZbRGxQfCJc3By+VMH4YKViuKdtTWL7SABq3z8GJqM/9hn/A32gayP6OqylMr6tx82XtE1PY/Ob3OsHkA38NOXrR6C4jWwOcJeaQnF3i16R6diSllBLnWzizi5OHV6wTlXtpnHQ7mlstjLzXOCpjcxN6EmvHz7wIBczjkdcwyKx1okImR3iIkytJR35Dekka+QpsqbB6pQLn/YLzOaXaLMqM9RugAccoJ/71gw3qHrKkKLtJYNwlYMbIAnLYY6EsIwt0QmtUXGpXmiUsrx0A4Js0diz3S0XshgWla+kQve3rcRyNGKtGg0vSbdtkfEiceC4X1+744pkdis0PsInwEWFYd0lwfxWE3WtJUa3BOQKnX3QF0ZmCRRvkI30QIweOulcikkS6kvzYFmKwwtKzl24b48S+71vdLCG1cQ51ApDdDzaBsi16qB7TQ/ibIu/8Dbh18e/Ch1vBn1RMOpzy0p0VNTTzTeKdzvC3Bv0xglVtRZaq6A7Xzm1Qxt0GUAxSKz3SgN++A8IZZnX8dGy1LxiFVT/3Jq3Ovn47rmizjLdJlLboGoLO/NJlfp+1dmGFIHNL79onZgKUL6xIMIwDiVREnNbnuHNvnKIS1MEo7zyCi23XOZp0gNabLM75UTtlMT2IhGeyaaeV9pLG3Z85r6GWDqr0BMPlha/B3fl4jW8guEFh/F6uVo3/u7pqmRru/xUvZhMYjERsy1/5JabWaznyb+AkY/E4qcPyYDBzveeajQXtne5GgdJ5s3yglaD7jJZEKLzjNcJLyhCjekkYiHZ9bZyrYk46hiTHl+0pAr+VcGlSR+V3mx1VN9n7vMK4awN/V+/u1132uINPzgNIhBOzep/5fdi8SdKwBmPDonsQl6z0muj/QllG9FEGjNJNvVQHGJ5UQow2E2Y4O8Wn0MT9KK4ZmLvnN0MR4mKz0pqrdtwxG/pYtNsfRV5tGPTjKGQxDrxC8nUAm3KffRh5Brnkkjowh9jrwTBzfvi2PPl101/FfJVc/JARH3AFF3W3JyGHLDoAv2VAm1NDcSqLG88hHWwSx9zn0a9UgJFhC/x3URXi/eBS8pYIQ7MP7Zm1iD4MdalL7B1L9wEtJLov9bZHYSKEmvv9ZdF6E6epshfDc9HUaByoHJoETWEHXp2Ts4N576tb/d5J9Rq4AvxRoyOuj9WCSBegEvXqZEMxnOJ+tsOzrmsdBbc9hhv6NDBVH1fRZzwAT9TJvyzG0Gc72Jg9i4c89nl0B9YUK8e41ELIKBqjGdXg1MLMpCoG0F8zFp8wIZj0bpiyZOrwUhkVjXNI/zJi42Ulx7uH9qAtO7qpOpDMd608A8rCwYqvPKKfPuGbMZzjntElNYp07peQBHKtQ01+o8176/kjXS9TD/XfbFj6ZNUvop1HwuT/LLBaPoI0+93oaJWNuMazY3SQ1xdAK45lCFNMm0YI+LKz11oh3dgII4MxwOGTHwCNuF5FUrPKpKykn2W9PavexLmwZBhR7O4tyFVajY7nyZ3N3URVpqA5NNBSB09BQqMF5ZywaSjkP8IexPoE37TaNNwBdi3cT3tl3V1bsDzcm9sI7SLLPw8yQSM2Bq1EUJH6PzA/9WRdw6UXk+iRoE6T7kfGn3TUEwunj0JhCvh1vR0+/wRLCdVLN+0o7NK6S3lYgLWzx2ssYHsntCnob+5a5CGkz+Yy8S4bY44NC9Hq173yPlTSI4N4uxhLQs5Bcxhady04Z/jZzWV+ualx2XbF2yiRJx6Znts5n0US0UmgQAhOyW5jfmdR6in6GHMOCvnhVkd0ULhpeN3QsHJtkpQ95hyu7hTf20sAbX5eSRqDdbYept+sr5d82Xx4di8xzjWFEKXO0bOBdzdo1CR1AK1/47wpiTnedCoF83jSpUr7Ir9jUH7k4M9FlUywJxk+lGGXvClP5Cktyv7AmemmNUETEKeLNwIzfWl6WLgZ3A1IxHnaYGq7CdhskHPyp58L3F2fsv6YA2MkftnQ4WcmntLitANz11614vnd1d0/cgb2XXvQDhZc9L6gEaa2THEFIW8ydqhuvAkPqGYYKH9iBXU9M1rw4T/IH2zyM4sx2n7zIgPhBeRx9VVXSVGzjhTg1czKYzFOxjLPrnbrN1lZrMQrBBYAOm4X/ocUcf7ahWt0H2F/s856sxtuTC/bKpYQNiiSvCjusKW1utnGwlJkZRiAWgh9XLaH5AwAMj2LT/7KEFhjKKRkC0Lw5pMm7rew055eGSPQi8xKLvdxLXgIwSuvI6L0nICnlIH+5MpMnIbPmFhKmzc9ZukKzCafCVrq/MT48Hd2fKKoDVPG3sxoHavyvqcF9Vp2SbGLupbqKWBSGMCKiBr2GpVKJqMK4xnhKBa7C0G/RDxohxMLGQucvNda8j2S+bhVNElb0NvEogoRTHQbnLBwUAeMmlWH8+bwPozR/PGKQHSJEvBSh4WZClYP947FsTcG6hlmIa6qtuVEjBHEM23Gowj7tjaPlJL/nFSjdoGNffy9biOkFHKKX35XzqwXmFKqgJaixm+U625UvCzh5TeOt3/V409trXPbCEOkvewe8bdREARG0Xg01j8zrA7WsHZl4Qt/6GZPKBvqElqxHkceorxyfpU2X79tH62uSS002eMs3xSgxrIhxa35cCLf+nXCwkhwz8GyBpaD7RN/Zn8nUvo+epSl+ToSOf91P0lnd1PrT+5AR/BYXqZpWgLZc9y8nItRmHSgUNIMhHmgK6xSojvHYpcglsQXanwK+dvSSKvIAIeIdHJ9W2cS0Zg8v8edtxyxGME4hDunpyzhPL9SJfk635lUViMyXQ5orCytyhDOmBD0Txs3IVMHx5hyvt3gnz46fHYZtimNfW3IHyLvgMESr/gJ1HNEiK5Ozv4cphCor1CsDUelQ3HyEoTDMcbr9wGkMp815UaMvN+6qHLCdKIDsGEfo5eXBq/NdhhWhO1SYb3lKfD4LhxJveKJhF04hOwDGbmONuSQN19titwissWDOkTH/rpOWZF+ye6U2Frmozqi9VvP/RJcMEaYntENPVSJAO+oG5U3IxjLsPhjGMkzKSJaAbK961kopAaM1dm9S4gI4LxqFlolxh776hKghITO+hQ0213xTutwWZ6eihFDWsrzvF1WhTMmmTB5QjTXw2pG/W5ILfpmwWR2i/GwAK5w3fL9stRE4MgCRDxdLkZjPK6CiT/WPp2Qd7vT6O+eYadAP0hXjxgLElsrnbrB1PD4IIiSr7ta1tzWijKTvL69RGWtho09caWwrAstOLfbXgSlvVfe1Y00gA6IygRf/0zJDd9RsypvZ3bAECgwKQmCgd0OQo5fbLc3lz5vfasKfFmc2o2gjzwKO/BX/DfDP0l58sBO15P5pAyLG4a0r7VLFvakjlwDu84BI7E3c6Swb+XS9m28z1unThfc20gyMP++PsMyeqd27CIdQHlj8ozgzgfSmvYKS96W0pV/BRySMEG/T3FdA4iFXgSfqV3LqOsxly7Wyt6nSNmn8FmECGk0kjRphsvCvSEYTpree3C9NIibjZKg5tCtzigUFUxoUUR1lMprLIRaOvKsyOy1N9z3nJon3jpX22UFs2/b04fsDCOhWKgg1hDEUvZpO5herDFsbvZNyIXPX260IVT/5NS/ohdwR/XU3M058iCgRN6sYw7x8B2+xymKIAJEv5yfdxg4JcpC31Qd6VWFCNHuRumYt88g5LXSLBB8KqJkh0nQWKs6oxNoxCThr2oJl+rwSLXkydQGdsFmQFC+Qb+MciA2uYGDwhsq+w3ex8FketJG+JL9weHyx8t6VwVlAu94E2qKpXlWPmn9uFYa/4L3uq8rlbM3jGLWACWm0cJJ+t1kSS5reEi7ZAgntyhcM6U25uD9Lsir8NXeuA3nRQU0iWyE+Gp4ryK2+WGozxnrw3CRvpOCwJopnf8knZJV+gRZyGr/0vU53yFpA9f9OU4k3D45z0s3SEL/KThPEC8sRD6pmy28NtlJEa9BTM3EnkdAhz9NCoJaG2gLLs7vloILv7+aYva7ayWRqAd2LZplSYOoAu3UdYC7fNDRWmIJbpO+LS1gDn0vZot8fm3SkRSVxDpEdcMD3lYgogoNfnjzEeg/W74mz4/lWY7VkncPI4pt9oKdMHFktloigt9vPJa1Acupm1Yh5f3XUQ8Unf21xxuBqtQ2+6dvblAVI1awkYPiIMzSLeeL60vwnxcSLl7n8ZgnnrbwEOk03tWMFFeF8zNx4qPk0fTKWRqqYr6ARTGw7w0c/CAf1TEsXmXbO8vK1z1hVOyMEMCp/Dqz/r0Qo5kjemCeomet10TgXsY+xHdCrJyRQlDJ9Me1MmNlvc8oVrAnDiTwujOVqpZm3SU3FTpLohhN3y297Icc5uREX+j1aELx7OAdQGVtR0ZdLxhm0hlu+n8+l/3tcXVD3HzHDAhnpVYEZfHpxPrZUtfnZL2dyGl2xecNMyOGt/D2i2ExhvU8STkLgPoIZlIeqnata6XylWn3yIoUbSgyDogMViGaatt6JRT0LFGzZWUvXAMSe4X+ASEwb2zR8km2VcwPcQuBliqJAsmSeHGiL/cnukGMiBr3O8WkecApnUpaHHt5bSu92xOlrVAq5jMDkDmTNReKZJgZWR5PV89mkKXqQ2m8Xhm+Er+i3rvBSLRk/Uy+PxFC/772AYMyPxrrkBgZMKEW9+sFjXPfJ8buD78XPqmiQw7OK3vY0HaIBHnVrVuYDPgxBUY82p1Ofc/LX1TQR8zXXX/xWJmOry3qAmdRXg3HpYFQKlkgZCq9C9sg8tOBuBQ4h5f3y1+skyq9AZzCEYGAo8eCKj6M+FavQ9P9+06NwYaf/A+BXCKblAfi3UuGnQ3I5ZGrKNeL5CLq4UJZqMMuNSeftCnnN9UQZ2TXMdc0Dm+5rGGpB7cqROwbrUViyD+yH0VlQPSBD5xVZAzKP4ZI3jSypie5fSCpSX/va+mtcpABTzqIT8aH8myWLYRbYQmkmt07/RXxeToQhiVFZneYVHCmAG7sA6u0bhcZIkKiRNdd+tquxkgUPgDu3xKtt+NIWQ1PfhFcSzC2kRbMrfv9wcOJxd+pB6sdkDJ1E89R8TTdTNOEB6TzXHZRskTj8CJBwFtKd8BHfbBook4exYfE5ydV+gLExvgkSNVbGQK2+SmCmuWlG5tG5noTTgO316AftWlWK/kX0UakkHGtbzyCge8PbDbOtYPmRgoMAej/MRjM3mj83vdkrVXYUeRvEPwfJ6TmuIIc5M1ecLGROeGLxkc0isYprOEL4W9vy+TS1WgapyD2sOdZjhx2zsocdMbj6XgpylS0xvdF5L3SSIdfPyXgzAnxgAnrvR3ZcBig+iZe8AgNGnHv9vgfX+ZOb3jHg4B8xT8xEO0jphDsXn2jqRXH7k3Fu+/MShte9I0IFNAWOYciv1muPnVsujF8jpaGXhG6DpZl5lnSVtO/jLBE+/YnkyIKSKrdv3rI7jsn1RFiSlR4Pnm09OA5qqpv01da6CSi0jihQ7GLrsgfKxfGxLqGcdDLoiVIiJopJpJdJSyha2tGaDOcaT9n4mtbQ3CTEzcNxa4RsxNjSeAKxiIJR9dIwP22hzJsF2G9rMveQJGlwqqmHdH+znL1SgIf7dFe0g/NqxAAlTbiBDm1MOS1Up/EeAokiW0pbzBEvrj0/3Ofr/OE7ff9ihCLBePqSngL0IfAa/kSCi/u9yUj7EpjBA4iUM1WEiv+l4QoKNoEjOHnn1rFc7Vl290TI0EFLi2+6YBmbs3aQhv5wqUxTpU5SKMduDSsgJSEOS0CUi3TzaTnJG4FAg+ZS1saeE7aXTkcu+C8Io6WXWVy1oANzIzJ6P4ZatebSEGGeKsJN7Aoakz0BT27Md5caGa0cls+tpDIiAm8k13JSfoHZKEToXX1rOh7RfnVyIDU0nmxRRJtyYOA7HhoCQA6EW1LMB6chqaYuc06VSpwcCqeHLGwqGvLwOrpQlXDARWN9J2+w3zpOmVyOpKwlBxUxoJzX1CnxNfO1sknHSPpCNTqzTQVC5LEnHHU5KQrDVmrNrtgFhoqKuqHKmAWpb6fTcNtwd7lSiEPl3KSHhdZsyKuGv3mAkP0/JUdqoDwpd576x+Y7ovACYZMFoISG7DpnAgkDeBNvS3rkD+RfRPFiLrN0/qeyfN+5aJK8d/IbZdLw4zbQDv1rc1mWEandjdEC4gv1+iXOjCPSuGIf7egtxsS7BBrwUbOjF37HNp8WLHKM+y6rcgsgFA9wS4yQiBD3OyBTGX4k40oCmi4BDxiu2wvPFHMh0uN8bJnWWsWX8wFZsl+c7fwHoI4uA8KMoJw4q/9MddsevlqgljxaBLcZLiissYzgrxO4FCVxgbnx0kK5LeR5W132dl7YR7kzMG03wTpFTqVmGNalFqoxd3vmBOxECFgoiuioKcg8fjs+UGmBS5CaL0hBJNmULA6AB+uk3eXqu9NGvmgpcmbwxHvKjPgQq0LR3lponK+if9xJwMswJaFA58HnZfC5NgXDLTjyZEVoexBtUwp7V3azFo/57xpyjrMlGJ4qJhqScx6hGCHBE+DdBKU7mxeWch6lDfr0tov3SkZqYAIYUoAAijRfVwWwZzVFKr7cYYzQhXjVB5RH/Zk8JhRl+g+PnnNnyAJhV/xVHKyLVCWs3qUe2eVWiSUvv/f2sqt9CbsFE9GVw+Czfke3z9yuAtOF9pKiSQligloC7Utpd0Fngne4+n7XrpqTqzpaFjxDDIVWvWaqddrPkwFfHn5C7K82cuVTnepns7UjAq5JNP54arW3a+UeR9poxG9dU2nzylKHVOnUK/OJONnryGAUhjrJMN08cTOsI+9POTrszL5SAQ/v257oS1D9tF9NczVjA4jkwZBIQmiYQKauuuKEgP2loGvwi55nggguS9uELu0ifQfleXdIrxeyrGYqnTR+wzcNxwMahy+iqkuL1q0+/uKO4h1qIQZIGIeEyRDq6KS0mHj6sCoow4+wnRCcB2OIxAkAJ4ah7J+HG5JPqMfxY7jO1Oz0d0qcK3PL50l6DA6V1AI8pds2h/envEvxLl5czxg94VbrhvoUfo2jpFKVMYpK/eIdkL/rkzbPQF4rgWipL7p0KvNdfTJ8y6HVbNctKdU1cVjyr2UpjF7c3vuCp3DL3whLvpvkSrb4KEpVitcTs4sLahjL7/77cNXrTHhoBO6DUJLp03mu87qQthcTA/Y17kw84ftVBuv8Ry/hk/Q9xDwtpmHzrIDix14jkw6PGs8EFJt+x7ooCUWb9oXI/TavhKJvtBVq3k/G9dJDuSefG0oztGPWthsV64ESe/fPfei6kzhFgoGi0hR21WfAydlXFyA7aX0VieJ5/RdQc7KcCGneTHM5aHrXje1KKF3w/HynipHvbV5DjJFDNQEnm/XMk+gqmmU38t2gBwSk+n2hz4vQZMcNpjPk6AKHThKHt1APMfOm24MD14fCuATj47DzUoOFzA7TEfNAtKx0RmlLHyX6n+1kTB0uBSVv+Ga0USh0X34ZVlwcHGKi3DSmI+hNO2FVMGgcfcZNLSoflc1ByupSQSFPFXqVn3Tk05Oq3KHBvCrV9nmJg/PA5Bg3MBtqMqZTHDYX/D22nSApOX7tY6DZwm2lFGNiq945EJPep1dpwXsalNDItnOT36mlL0chiWpBrft/ZiXw/zyqrAl6YfvZYfc83ObvmycaXNbvJNAyg8ATfybUxCGmCWb6HdRD61wEeWT3iQyZ0hbgtm+yDcjSYsgHEwduUQnbGL64xIzyk7VgA430Mbw+D1LttZEim0B+76Vb787Hx7z0Vi/wXh0hToZZz0nl4SQQngB3HI1jo6EmtHe4fkMyeomAgYn8ofbh40dSi3B3Zd8ZQ1Ej/aWsOuSTDtnapNVkJfh0Iymd1Vr0MdqzHJFxK+3GBW0d0TOfxkZwWui2IjUUNrIio8sB5lLpqzRHYQSQ6m3AHQmWpZ+lvdAduFsIX5FkNoE7k8yaXgJjoECmemknzc7k4tmgbRG2Q//w7KaxsRXOwOHnymW6zfMx9iU6nv32x4UvoAp66PI9pQ3zcDIyJk3U+sqOXlDXQ06QRH/5+2r4M8XVjJjuW3vwo07l6L47leLbcjXlobK4aHKtXCvL8Hvm2WMIXZwk3cytRh4HTVYmkMVQPlDQn8RT+dAf0z7E/SDq75UWHmtAPb5wL1F12eA0dvjIgoOyBgEebSyBydrnNQDdj2Uy1K11xksB7lwCDAkUsm7wtCwFBJJKVrTFTT6IctQgH15hwRWD5mbapwSkkOmQp34oyUr51EPoRoMXn8dkzu3hZYz8f30RRr89qbqHJGuxj+MsHDvSWv2x0IaFlZ/lrITqf9vCLPGT8PVPpgCcKRLC8O4HzP27NGrhYUUHby66FjeqIoE7Mnnk338uRrQh5k4G0iEs0plImKMLN7LlqjB/52+1/L8o3PnSFVfaCMGEi7UaI1n1uctHJE6ua9kbanJlmlkZGNvvqP+wr6SpMAN+Kyvn7DroGWYsmVh5j53E+55Gf9NozfI3eZeudNDBa6B1HoRJPRcyi1nwTstwOzf/sBaDeELRGgeSOJfuNgxEGeYq15uOTjTtC98yHEqJdDO+3W0u8EDU+ReFWha9h6XQ4vz+42QmjRpD8WR/eAdv1Mpt5ZPo6y3S4rEl3K22WW/gJOPZOys8YzSUvdU9X+6cYxbJUPn+3wnqlfMiqAf7CKy85799j7EnDCqK1TkcwWjsj563XY9Fwhti/2aWuWfRfFeVu/CllTKhbJAkJ+2iqggQprip3SU22T33SAbOpwDL1nGZgaavYxJ+iKXQm7sCbIWScawhhkaQjryOTvWl5/te9U0rP7jhfdRWUMqQdWfyLTJfaKlRTowlXKWGHbTWNca0CgUybmrksraLCg8G9ZQCOH655wYzJ2seTYNe2AsISTHWm8ioetKZa/jHanQ7uAM+2ODJL92XUv1fFdwNFdIf90Uu7iXGgeCpSDg2OApfaIniEiRo/z+ODy5RkHiGnjd/SUiYMN+6yJ3n/q/LnMayyu2Nt8t6k8jMw1CKaUEgWH14iaIIwnVw/SxN2fPUUcixmY8cFdSHaZ5saYkaUlY9biUovO3dsZgsvzjwyqUK9O3xX0fXJEaCWM6wQwkczWBgSrbc1dI51MBzLbIkZwN8XMyjzV+xjwbo8djuz4hcHyTLK2nvb4W5KeqGk+/WEAfGk5hmxvBy3HzZBkwe7JDK2kCzLxSLcnj7CLzr7oQXlnCzD9jIzt1PsE8Q3q7kfz1JTN1rpymUJAfVoUv3RE9x9rIZWbay7o59vxCKSzJg3I4yO9yQ22SANPSwfN7r7OwkBTPltxVZhDBAOeFz+KUALDr+OC/tyPPNYnAEyDatZUFbN9AuXJ1k40tl2he9kN8J/UTDXY4fDESjTSK1Q/JJdYs8IEkkzEc7RtI9BdvDOWsY+wuwhAAB2PLy7oi7SBKNIlQsq8nj11fJjU3Dy/RmInKlLayhX/2BG/xEsUJdsJfbozN9u7MNZ0QMFX0vcDQ7X7hg0DhkN48u/ked8Pnll1jWP33687NO4FDjJPnld1SMpTfgTUKbqmwLtq200Dr7mYiMLri2pUQhxOU4HClPuygQt7vudYT/PhaQzdLQ7dc7Qt6amYNet2p/FtJNMN89zBVf4Pg2niO58V3zMg980o8J6M7qCjia6SnoncsG2G0YdXRjTKeuQ/A5jvBoJUhfeyM0sIse13gp8RxFnlaVd3LoYoCY8LIy7TPX7oHAqzFz3sBFFEudNoBSFpxVGsdB49EfNaLcXi941JyJvEMZWJQ+om39z0w4JkrRMrYU4scFeMNJMzpRLxuvy4mmA3/RRW9b+8FKtnVDaIKscT8K/SGSnkvVh2k/+4V37ET3RJazFylF6ww3wDtV37gLQyqEA27iP5jHqscKnCENKw01diZjYF9YdrFBTPHEi/xYyIY0KfdUvwRnYJrCq3IYXkNp4Q2mVpwiKPPgO5Z/c+8eyvTSEio6VPRFTIPSntgn7y8BNOrhoCEbwL9/ax91ZtOixyRWBnP4zVPVwt4puVhNElqGoNO94vFztQxrFzCxVeNi/f3B9W2zDW0qpNxZbcuxui7XxLCMF1HuZvXGNeBzk8QXuqV7b61vi9qPdXDLvtioZevzUm0TeaPLxfa64g/xSpew/2W4kxyfCs9zJ8mZzBhZ3cldcaV8al8EBOFV5+xQAMyRqxxCQp8ZNZkxWdm9kCKs5I3zNVVM9IRqN+te0Yn21QTw4YWQXbl225cDKib9N3URFCeKM4tlTU4ZpcjzxtHen9O5ZR2EYdc0aEJEPXAnBNQ5Q1no0BUr3LnlDctX6MMnUQoZaB/ZQvTREJwi3bWsMxi1EwdoSLBg06dtRGZySj4h9ZekS6Dv7ThNuhtqi3dgf3DeiPuuijerlqRn/c9yXhJ/SJq5OP2OBrgTenUZrPLlAWmSnmpuDerhsoFmkuR7IT9fbl1xo9cIClXz/1fhutykqtLUoPFOAdvTie3Xz2YkBmq6xedqaxgUe1ONCc66JiP83Ky4sqQEIemyeydvNS9hh/vWi8JvrjIuLN4iI4yr/9lskEMRs1Pq7M6UjeeB5XAjJlYX4k0Vnl26bv9QDyfv8uZ9NJ7HLei4evFZl3jQuMbMnAp3ci5BxIG1JQBee19hIfwx1Wz47PW6AUutvnDOh3dzf+tDn6Dsl5dXbjhGyn4nxWwIg6yNJb3V4LBbfDlPJsgPQK/lgees2VytgGv2TMQ6TIR30+VF+82rB76f9IoyYZbIcvCiKY+jZ7HXlGBgDCpeo5HGOf9PDyT0yPAZMCWqqH5X7iAJ4NDDf6X+eZQzDhtqhGdeMxp0AVHDwsIUKa4QO9UvWQ+MUchCb5DFNXPV6E/e0Fn2pGiYFdDqaB67e/DzC9D8oDDYSmLVK/iXKsmOViihhw/idRp3XKxysAKjfpAs0MyWZr62i4hsrxeBLb398LKFZr4H6Dd5HTNMQuidlP+IWB8W1XPxhXNVH8M5Mhp1AjJm5d3JxboaQXXEx3TNSQxpS1Uq2C8YxEnHeLpVKzLovp4ZWliICtRtA3UmwgE7ugCq/JMRPpWHh6fpVfrhaXcdIJwJ00/s3jxo9zXXjS1WN3e87oZnTf3WWILcURaSShJwbKu0bLXtfsrK6zR2Ny/1jLPp3X7zU5ZEqou9Tng0wGLwpkM04RNgnPjRqVUMl0xDTPw6c0QTfBojsyuFXcX+XSTwpx385/ekHFpw3f0ihB8RqsQJYyvr/BYHpw3HBQfPZLwclx/HGQq7tdQSwiWUvffsv8KUGYiS3rnP8B4W6darTjI1Q3mKcvxAdskTgbLoAUb866rWFTecGrOiFH5VLQYQLM55EENC8TJZ5Q0CZDGnFDRI2evE/BJs/cweajFy9bdN0eBVINLWASGbtXSpSOWUDp/oLPNbOZ6HJckAPEQUdLAD8d05qi+Z3DsQXHfqKgmcYCPqixkFIlApktCnjHu8BDzURjLO2ZODgPY/PHYjUcHEHxIjbLqB2+BRopDtxLcgrVXUPlY7kGzuerBvAa+7RfrFYKWzbOM4ahnm5dRE+hQdgWmcHErj8JxMwk0hBaNp0LwP9VgSIvP7d1T0EEDyIdGOjPltm1/uPjAWXHdxH5SuqFkjtZVKUp1lVd8LI3EG2QTFpcYxdOkUGXuzB1o0XKMR7UZ/0BWRzKrCLuPG1yrG4cehXLQE3XoYqbIN9AEJiYkvAAQ7pg5wxpMig7yb0PI9+VbLXbplC+MACJ/EoxV7NNDJM4KPcuND6VIYnSJLz2sK+1moxvOc1XP5V2V+gkS3BHTLJ6PZ3zZrd6MjpVwvp45DQHPWwHAyDrEQhHoO+TlK1Cqu3EDEyhIkIlbXwqy+TL4kqiBFOGVaD4dwc8f3bp6mAdye87mHzqoLjmmAjVt97MLat+xj1GQwn1SZ9NOicLy/EhyfDIKR5RVPnoV93bTQYwAuV2KTEsLI0WZ8BYF5sM/i/0vScipHG1L53QWyxvTaefxUmt+rAtS3K+9Z1gYLL10ovs2zxP7VYzfuwo71XhEwKIvMf5PxZ9N590zHzB91fT//A+hc+3UcTb0R7bMCGPFecPvseiP9OVr9iIccvn5LOjEf2qV6DhHeU1pyHOZXEDvxnAVjqvPiPrSS6wTNBWkMN4eU3kNX31NXyVo8cWCO5MGYktu5ewP6rBOzgIXt9LCdc4ctB/5grGUJpX+Vygze9Ip9CK6PzPzT01IKeG2sSysDKc4i6xQWrTwYoZm0npHiNsHFJ0+b9M56xolrdrsRYYkh1OqFtnrjlU4pii4S4VFkswgAtbkFXgY/Gly4Fu9kBtSHB0LA9rkPKYQWK44AJTeYBgk2Gb29SbeCTT4IOrX2bpcw6YAhcLtyhM81LvN2qvW+3zlAYFE8UZF5sn5VwA2I05PoHkxfnkauZPheY2gIErPjYrDMvMaeWKZFXSs8LW3cUcZG+0kobI+f5AV4wFM5I15QbW4vChsiCSH5WrOJPXqlNjO5AXQGRuaTKVliFdbsSdPsopnFjxJJRCzJuE0p7nbGJYe3fyxNHcaGphSZ4CFNSCenByn5tvdKPWSIyJLlBngDlrjrwHD2a5tOqfPlAEa9aI4BSuVgvjSxu+Avk4MihUd2CIzb1MpjXz9gYF+VXIHAo6j2txCN6IOaP37z6utLdY+ofHg0tk2iMHWnytrG8fAXgP1q4bfg6Owongl5kgePZ8dyNX9ZnhaX4npSsFSVoK8+RtxAwdd8PzQDYrFh9R14jRs+9ORG6MJ7+zyr4hy84eWYgfLFE8YE+bOUGdOYh9EoSy23FrxJeBQx+A9fi+usNxsk6PNLLp7dlU69UoEUQU9UT9Z3ZDnrU3XRgztHyTa2NmKTwyEg07qZ/um/VSPIluuXBDlYCXVBaa6tX2SL/I25Xg6Dav3Z7oL8jRZesxE+DLLOpg06/2UdVfEy2fIQK9fHtwdLj4AF978vZLCp2zA8lAsItEBSDiZdlNbiKJDI0Vcp/2dQ/yWolUtIEObs8MVU9wjAxmDPyPZIPYpcpEZ3Guoo5dCMgEm8tyrBc8dfyuRPeXpEleEOvvogTH5RdfQL8d9w0Og9pxVQ7FOo64QwuP8Zl2vM4xyzs6fGklUVvbbfx3gOIT0rq+ILbOt+QB5f5hqv8lBqZr1L+BXNkhIWvabeickXLhnSl7cRArtkn8NwPoxUSRWkNOQcoiSYO17BI5xOhCUySM3kle1lNWRoHMsUEZwRZW23tAZRmM+dBDre+iY2LIl+4+pQqliciGWmvoghMTLmD9vt2ApPGPxv0udMuNFuIZx/s3ykDd0CwIM4OGlyINoOVPw/eJw0Jc0S/BSu7dMj31wEcXLI/TRmLA25HHHhNvPkWU3EC/ytrq6CWJhtm7GthSqekQeKKrKhcMF8Z2touF6ZeKhYz7ZJ9JFmLdV0dAKdn8a7b2FqSGqj8u9D8qDNCgIsdA9JaBWrbJbg/7ySlubzZiDfAVvJfmJkDZ66o5P03ZjaTdTaqQIwe46Ja7ipNYZDlSvzVcDVFMsjqehjqnDuJZTJRtwy07fC+0dx8XEt7ih2naF6qfcsgfERlcUEFeXVSrX7IbqbmOe3uaO/jeouWDTzfZskYutYuhhW/pNWjZV9f2/E8SEv//Q80a9Af0K+HI41wsnI1OrVZU9aY/9hH3u+nBJTV5v7ezATTBPkLW/VlITAs0ZmuWiFRzinJpGm3M2EUOH1wA97k1zhINvYgcMgUDM7l52mFqNuUYVMz+PjrcYcAjUjMOj6uQRUzM2SjAqxVVYGYvSx43+Q8Q1wQJA7g2dkn6WBIzuYUD72Ol933+DZBYDgKCQ/5UKO2fCPO4pHssdmmZ0o8zUgnqdZs68tymG5OWyZaBaLe/5ko+aIqFK0R3uMSWL5iFQUhoty3V2SC2LhrKBlwuL8tAAwmvZjv0PIeEFh4csX+pyOIMPIvNk0vaJxYs9xkDFP8IWFghbHSe5kdOHncJsuv+SLVDz9EYNdUIggRH1zloUuNPnw7Zokfq4GHoIsZMXXEgDRAuix9tOZhkVb1o/wyE4N2FwJwGB1rWmEYz5V051xlgsV+EJSV1uatZ/CrtZOm/eGK4DbQhsSwjUcAwwmfW2irn4Wtwoxkr4XkedWrSg7SyQeTqvSkG4YIaS3bOFg7OUo6DIuvTK4fcSAzIBHUNGOPqKa2kuiZR89D/K/yi/cC86peuh/WlatRxzJQsb+Z8BvE8/MJahwm2F5/hauzghzyUw8oZ8PrwePe7Zm462QMZiz9Ko7CLu/AoYLr4QTPLnwyoic3nXmrf++ppIhViwc2TdMEQmvfCEPpua8e5GL3ky0Uw54L3Xl6VCN7f+nDNwTqSPM7PvyE4tmoHC0DHTgxKU1ccthXTbg2Hc4t74uPWx9XHolOSHQ8aUZiWmHzKl1us/g9LUz/SBeLPPYKim5HlNTXYSgEjXAVG9ZnZkwJ+Hdq5vEnDWJn0m2hla324nJYWBs9Ecyw209U52lzCHc65xIBbVK7D9wKeYocC7YKE28hHD30ZK+nq/v0+H4F0d600SPGgn8oI5hnyt+EkTmLPeBjDb3Xv56UmHZek+lQ5vpgadxSZjbPM8hLfxscy59lQcmHNcX0Plp6hsNMvoc9u59apRyoUsxs1+uGa2aN3WyEn5pv07DI2AqUGVw3mUMaLMT+aYl7y/Ao0A9U3TXp9pXh37aweUUGMqRo1YRm+XBwNwqm/KAhJHvedR2OXlMV8lVp6m3i7lAxCZfVq0eQM4Z92LYRFJWVMjzlue6JJUPqUQpr9O4y7d/GBCe/EUK0+bipZNfU7zYWtPl9aUV996gUA4WCzYPbHgqxxy7DToqMgxZwnzM+Rd5f7ibWkAneaZrVc7U8gd61i2buDl7A+9z7b8zBTCmBjgPMKdjKp8Ol9DY7o6yBinU3x6IM/DOMW1hM1hfyVsk+c0pR7Gd9UJSa3vv6N5/54WoDxcAaowH28uUhsVPtsQsgEd+EvSNRnla0PU6FupZP2bprsDYx/3zhJQjz00Hek6zKvc6Bv8zsjvqgvwnrTMKoSMvoAu/S1l5wmMzcOqPZj3G/3b81gyrH7ABXscDTHjhXeLIfgX5uFYbv63NboMXfhZSwI3BsYLlkd0WC4RP8qjaX3xoniL4lgDeREik0XSeQgQ6wW3zA2XLAy/F6s+3yvUsd3YDUDEzmy4zQNaoe2Pf2XpFeJIU4p/JScDQcZ11F8ktesvLdo0UceWVqgQ4JprTKuUkQWPhtm5abkti/vokSAbBZNjXWzEG+wtdPhi+dF5HCJK76cK6AuXB1thTIlXimTWF/LYGa5rfxPpgi52dmJwsIUutgylK+AjhX9YflduD6TQFSBA8FkzGKk5CwHkfSyu6mB36W2gG8/MWgYVQMQBueyxNtmu5RR2sUS735EsXlA8Ewxs15j51ec1R0wsGpToyVdlLBhNTfGuROhR6IzMIwvUcAbPNDOpKCiJdntyY710h6v+CoDSqp6M66fc/yMsNy8M6qY+jy+WUKImv3NxnkssJEf564si5cVVUyM5YGzBRBAKL9H3K+fOkqAU7J/mluiL9X4+QVuxjnKjlScThD5Qgezsymqe1+sstrlPdRt+7GbYIfpE8I51b4+8Feyu8pAkxIkogmOtfqP8c6+l9lOy2nYuRO59anKR9/01fl0ppRCmd4mr44W4zZQuIA1wWiCDLKsL3+R0JKcGqByEHmGn2KGrmdONxsO4EWqdS7cV3DJyafWsxgnjUuHAUQnHdaob55+q+l4kp+D2YZ1PGKzz3iBaUKnOOAqJVYPEYdDRSQBlrvx1iCDWtwu6YMM/NHmiePRR4a0QM3SAxUk+BYKcA+9tFPmlIkxlJaIOppNc4trC6xshEUCNg21ngNizStHu2HHrzBqnGb0YggA0e+Sjw7O2d6B6Ikx0U7tpivLxmX52hA2uqIu1db+6JCE4NEJvMzllxsP+psPYnsQWdFIskesDdQo872lSofD36PiEtOqUmmmAV3Ya1CpNEr9+B1/fqOFrne+5RT2Zrc72J7XzVvCsZYQj7K+xXblvwS1t2G+78THjqDqG8olDWyl0jHmc2OUk4EXu9hRW87cDvcfVQMXqiepc46xgsQYDDqG0tZxpCgLBtoHVJeUVOXYhWyjiH84RtzAY2zgHLQq5CAq5ylaIPARaw+BpC4N8i2SjgZIytQlrgtHiX3LuPbHwuwA5IwH2v89kZoZ6FKpkIMXn730QlaxI6W8afZfF3VxPk/LENvmUVI8iJC/PGWS31w6kLoGODdWjGvSXEroQ9fJ9sF1pfqHVZfYJrrqH1GPy2T3Ejjv88g6/ET2PuruZDcd/O2qc7CmS2ywMEiDA0KBEfGc+Qcl76L+p918gegN40vKsMPyUaO/iobG+naTnZrujSpgxXep4AzYvVAxjXi2JYaNqro2V2A9+XOA3erYEt/IGDIjEBHdlIubMUUIn6VszwBwtZ/vpu8AX1d/Df1gbyJAbCwkwhWYL6bE7KJNRx7dudNczCIMA7MWF4+suHm3L3Cozd7FwgDzWwq0989F4nAS+vKPeR4fQ4fWKGU6Qec7tKaxW8bDI7ZC6DtZfGFNh+ECgwz75GFJJ2lfSogOMieHn9XvSsDk50gRjfDxX9mCQoEpFJkFuS4pBcEJvsAnnZpz5m3tIOzURlsacX20yTk3KwN3i5sJ2DPafgAwa+6yT7zZLRuAlkY/L8sYThr4uUS43mBKUrDMsdxCwMQLMi3ATyiZHsChaph9hfj3nZ98Vwy6K7NrQ+ln4lFe9INpFJIkietH5j28ZCvjbk/KNf8k1NydFi6EOdrpJcALkr2a4QXYm2tOzW06ztFS9BbLNquA7xjaVrLtElnF7+bPSGd0Q8uTOyukrcMk/NE3yEFicMuxfWOpZtXg+BS3LbxQsGdJCZ+k+bspfJBamzG84sDRwSxEN8/WI3aN3a31Yltc1kE/A1J0c0DY3f1Dsn1FZOAbHz80b73rt9rxKK3VlYTFr266PJJS1B1oIFLvclV6mN0zNV45wS4ztAKmamIZmncKDm3HWqCh9112iiMdV1t7EmPa4tVWj6OXWt5OF/jdul+w7YscMFdrdbs8J+Iv/qhenW3q71lRrKDsMgaFnTNvqNXYaSBgwtSPA1Cu0VyGqhbwuiiziA7WSx9udTjpE688htL/6aVY3g8osaaPkWaQe97cg3YwhMQpc9aKxrRgKNuZUPGKv5hfaYqQLzcXaTx3xZAGpnXVQ0Cw2j1Ylwn7Klhz4wThruKdpDjvbF9DFDSJOMQZusHJFLoLnnLtYNryovShdW4tm/HBvln3/DGQpgU0nbZWYJm5W3XP8ujV1s0Tf+SKhtzn9DCFxoILdSNvkiNG7MU5gz9CHL9ppC+xfD/MhnE7/vu7Ah6bOgGA4c8ptax8JEDhVjQoVKBiRHfaeMyH84Q6bZDecLKpt7X0cs66RO0xWjlUb77npeQ3HDb1QhUi00gfBpuwLSc3hk/7Q7N9xzq5lJ1S9RlLYuBK+kQwIjPHqljvfFxk2gqDkXqZ+gXKjoX8a6WsYrijpSjYYU90nXVFxtSKEyaK8vEscs/ACqLYPMqyhVegPXTfxpGkMKIKBtgsk2HkIr6mY71xoFo5vBLXD8FgKbLzcYntDIZAM19IH831G2ui61bleYOb0N51xjeBTtQWn6MowRumYq6ub8ph2W3VbpQmpdAYHag8PrfdKCu852r/XGAqZ53vFCoNsJQRAAyu1+yFhDm2/k3rvIcBbWkwfi5FRn153rUJMxmhvwtpMgpypTemMBSEet3RSiOsgRpb7ImlLYCcA52xJJ+Z3pQ4dPIERsV4wUdafMDb2v3FZ6Pzh7fsFgC+06218wD3fXeBcZeTnQOsXqgj8eLV04KsApaA3BOVPsIOTSfq0jYDDw4cwpxTAzdiyUeUMKaVrXhxQpPeaFP4SDUCe+LIRqj151HkCAObsp8PMlpL81oSte9B4xc9an+R6cjRaUEFSMMteBFU0KL5vbz+TSIiblzQZzwdPnPPVID2f1X8rsGYgyVXg2W4PDoA4gC7nLxgCf7p0FiKR6/Up+ZguXjNgp1fJD8Ji/5eDacRjrslh7s9dSuemUdzj/CIVvp3/oyFHpNAOHalBEOBEw1vtx2JyUicsuoz1BLjzqpC0uBgYj8VMo2pEAK+YjNEoqoQl1JUl9cpdkBDs8wp6O8hlTAL0VkAqFc3tCVGlJcXYwlJGlf0bU0i7w0Fc/hjZXPn+T3GTCMYANzd0Xw73ibfkIR97D/X+UVnCVMvJPlXNO2FFDOrBuQ6ZVC3cKWOVQMtH4xbg162OAlh+0tX2VCKYFzQXX9vug5qtDxkBCr5hrkVImzD+QnY/rTJf2ggi3+Rtvt2AZ3UVaAG29EEZobGQv3BBeFBILQ+20gJL/xAjcVPgw8aUlgS/l0OKcXDc9Thuvg0Q52J8rG9naBRCjVWxwksYV9UuCG7AK5ZGH01JXW9/BVJ6Nuub8szrJZaSseaaDP3G45Vbl41Nyo85AyD4OTQhQrCyo9cxBPTTfQAzB2c0aby9RZuIcIpjXftzCokQa6T3vrehao664sR2m48ZUNDuJ52CZM9nZfaQI1twzEYuTCRTg6tk1+SGj1JTP/yRLpCv3ngjcMe51FynJEt1HdbxwSwzrSFwUaelV3/tH94/PtND1JV0uAqXgU0lQxAYtGD2LQMH7DQ8IfHXuysJiowits+GGxCTKj+ebbHSNCYZIedE0IDvSEer92UKSfgSxI2fyRgDBHBwLffTyjP5HeFTiacUaBv21Bct3fNqU8naUeMaXvSbjwoiQhjW4N8gyktBmMO753OyOaBuCrbPsxU3cr3y/cXIcEX3VJAycbyys6n3AgwW3beIlnRwqtCUTEvu2oiObKI6wn0dPJIlDZErfhTEeJnjJY64vOGc/Di91M4vlX9uBYI3+DN+qvOUpuDjtLRopjU+s63Xo2SeRnkj0oXpBVVQ4xN3kAxQ147NLn9zkmhpLbVvogpFh6Qd8KbPDL14InQRbmmUa4YpNdx+kK9uliIt5znBvhf0E99fxgsQ3j16bMXImBEYnw1W1aFptaK8+dQLXDH9nUoOBGZ2T+V3Hp+e6+KZ9O6cYASkWB8zPNKQaTSmdvK49RkOXBaDIikFrbNnm6PVIQjSGXwrZ6IHEBPSuL+7STVFoJsv+0WCmDcq7NfKnTQ7t8dLktClie9lwHnk2OaAJpWocDOPG+3FIZZ77rcYQWD4r+LnuHn7ZduWSJwLfyHBy1qNO1JHLoQws2XyVSHYaVqogkJQ+/ERdMuDcUC0u57snoo0o8kjZIDTlUPRmR7mULBdNRcAa0w02KfWpbDfNetNocYMkoKRJJQbckglWohSXIUZKJ2z40hGvSHJb1xzccAJ3m45y3OtvcQHkXnMW08rg2BIu3XWzFC4Km7YqYU87/yimHb4LcCqXJLfgAB3BNLOEoC2v8rF4DcJV8Wwl4NQjz7dIIgYgWZcD/ZKYaqk3zamVGMmgyBi6hO65C88pzwWvVwF8k53jF1gLD485Cz+GrNV63MLJ6kPCTIEkn6oGgg2chbmY1wUkFbjmobdhP1fP0mwzPBmdcuSqXXAisqqvkO1DVlegv2jda4XiTRvln9vrAd8NyJ6+e/xNB7x3NKTd1sMSzR6g2uIWTTlkzQ8Yz3d6s1ZckknsazzrSJO4K1wmNqhdRwes0msmjm2H4kg+qRyUr69RMJuZbWDBqLWicmAWMjhPEHltbV9S/UXPf9R1PuHUxwBtSmQH3C1Owy9yWOqK5XSkyj+yDLVQeeH6mDo/4MtdPRQ694cdgFfORsE9b5OaOvXM+LMKrZKEKx0U3NEMEFDAI7KFFue7aWpk/y+mWsKiRBEKdbw9TxonbJ5PvpDhBRj9cAl5qG55TpseqoYivohWUyZErE/GYMg/xK0lzBFjlsD5c6n4CQs69W7t+BfNsTGKi/E05DDus3vladWVg0pE2cvZMNQui4SchhQJyaQV3XEVTke6q/mmc4ndSDQhL/1kfjHJRsX5zLeAPuCoaahEztOLAxWG3AN5kh6/EIuYPPJSsoQjWpkM6cbPYQL8fzbdd2AWUG96zcozvv34vX5yKuXNbQ4U6P1jih/XtNg9lISEOMhrfTMed2i2Y+9N3WTUW+9sczpH3qb7Wn0CxDM8jINSCE8YoRvjbEPxd86W3wkqOh6gDDo5HktBLhuYB5Wm7qHG5Gyma59B3aQA2p8FdEPx2Djq9EPgDYltBLr8EqpT4iJvwMEaLd9IYw318E4ZU1Kq90k0sihncl2uFdFYVshv6/UaYCu3Bu3VJr2dMyOWxj/dYXaWacUakoj8hByiyXc8ncRX+HbhygRCsiMHGByw8aaN4TRxCOX7W/9d/i5n/HMX3MTRnJXhvOKBvfG4tME4EVwKzz8Rq8BvGBtAtOzcONmkqTV6nfJjJxvoX0oWABMMz3O4e5Jw1+VgNTPOMHI1rqprAVXvpsis69tMiklvr/niqA2JVAbXyL1oAvuD0lGNJklHXhajH3j292YrukLmQkaRlWtSrYfznL0CVIZ3R30x52/0F1svdmdoZRWxlCoGlO9/1HHilfp22aE1NAjk/UTOZYLoCiqGCA/u3E/SRhwfXHrZrohl05QM0JVzNlBa72q+KJzhBKXr8HVAE/bqirRFJxM+1kmsF9kSU1orJGz14QFrfHRERRyKb8oKBKNQ1Ma0pjgSXdnir0oKqfNmFGQZ++a1fXi0yOvL85vsuGMA1HhLU3K11gRTfRNN4ndPOGVojl9bC8ABiX/8l1vVo0gLKkiqqiyZAq5vg9I/a1RyGpW88ygTb6IaQLAPV5ISLYkMkGDQ2xZ4qBQTja7v+qXeqG8kXGx5oe5Ax8OO0aOtRJI7Pb+gCLRX5TAyTxhIAHzAXMUE7qYqtP9Vi9Xl78iVjR5LZT0yWrq4VOjRYMjkgeTJcYFPzBLsr3UGYtNull1pE6TK0lfUFdfYY+XLwbuKP/I0attb29xPU/7fmwOysMn6mxqbV/negN8rW89Nw6KZ8Z7OCOwZvZI9n5fBrHkiB+6myXgrwWuUWf8RN+F1KfSbZANC6zU6P+pF0wzvNGlU1jPRkRgo+lFZhLlXmx3wRMzCnkusUIsUGCF5ja8n6HTcNFJPh0Xb4EfVgNiFe8bigIDI79Ngr8RqNeGbbSUKwzolyqaJmM1xx+F7riBDQ5OgO3GWAQvl0UqoHYk6+7XhlK2He00L9/OCuMclN7hosWF16tZZQ2zIAowmIxASkpfbS9DmPQaHkwWODSdg1m/U0/WZUJV8W5ydI5ABMSaYk1U2TIi41iMHhvFBbBQeOJ+RHNOgeYtIOEaxxdNar0Uew12gZdfAPz75V9cliA1BF/DgeJ42UQt2rbEKWH4cSTm+iNuYaEeGAblMiJBoOggtQyZsvdppxy8gpRakrsrXHReRl5B8qUu8c47vZexOEmIybQmTULdAQduveBv8YdSgr0LUgmbGo8u8ImPOsHStOZv87dxNXBvOH0CgncqLXl63Pq4vTAIcLl975TvwWWwDY2nbLqsLTGsAcgJu75i7noGb3JQfK2tzRGxudPZsqFF2B+Ja3m3mFpGbq3APfgYLPxa7Bq+PzZmaaI5qzMFwyA9ZlVc8pe4YAGMzpnxgbsVHBqVOvBE03oVyZXGm4z79Og+1FnxYJTLaImn5qG2I8bx4mZEA6nspr/QemAOk4ou7vqL2qefHkFVqXBMv1XHTc5tbOD2Tka97qjlX7IaTNatM73DIPPkFDkiOUFxG8CCPkAdKQf0+dSaN5oN9TdCM4bNDm9xau7wBAHGzSKPltPBZAiqhnAp2m4e5Z7pbRAS8kUjvZguId5XqTqL1zyFwhm2ql6zADHUwlRUz4uUye1GMQpjyay+bg2KqPINBguGh3YNCMTSzNG3R7vr8kCHeY7p+Rif4gKIhcmZH9YfdFv9teGi5gpsH9r3jzTHtCGR7NOqOqJ1zlS6a6OtJLbaCbTtB6dbbarzFZHNuPtBXlDplutJGtIoSik8OF2m30ZSAmm+azFpFAMeGj52av/UowN2/uZ/fFBk85hitgDCPDqVioftS12lfNp//AA6tgtndmBpM7n6VKF0rUJMckz7eL0vLnJ593fLs6eJGVfwZrUUMMsffWNfVAmFwBuaO1ov7/swsN/Nh6Rkh5Rg9Yg5o/TzoCeyRFmlYCjTezynoKAVBJLYmh2OS/bJr6UH/i2SynUGHhqfODRFNsPDyYGuk/Qu3Izd18I5lxwuzGsZdUe3nudkoL3HxWI6YfSsBEDJZsdgj2PJHjymki10M5uWJmGCeMprYm0FzpTz0PuTCK7urbuUKjI8ZtP3ZHRr49NfFix6AkxzEEt+0c2k3ScEbZf29D+NcVjcBefdc12ZoANz7AuVTGrkg929yRcUEtY5AZ/IlGzscBkE+9dkXs0QJ/WS7YBhMyg1NF4JWnRd5ap9bufmA1ePnBS3yZk7iJU7H/qOb/d69SLHm0P2wO2Ll6MOynwM3S2us7ifV3M2WcPVNqXQZhnD8sO/f7AcL1VF8DGRwchcypvBtn1HrqySIXPuub2Z98DV3aiE0RtPKdu1ab7ZRGQ+iOtEiYBQ7cenN6ZcLweeMDZj6RffyuYfoHiw+pckU5tgWH2i3ZUylL6RBg3d18mx3pp0ebg2MygX0c8Oee1l7ZXs9na8j55khY/ZpaN39a1UQrY67noamZ5kFHZ/9ww7FC5VlPQxY+0NO6zxbHB44MUknbJzr+oJ/mUmnrVRpLLDEXohHhY1RZ9v/ys7xIbayFh3Uq3MvSJtbIFrH91gcOkT7Ig/+Q9RezV8crrgmx574HWpFUmN9fLndvo/MsColmvXBExtPEXvqxXyUNsvN09czPYiyG7YQL4rTxuUUcmildxafku7Y+1xNE0+5zyXvsGvBkhKCg5xlypqZHY/G5wJbv8Mf6o5vOTQmOSZH+Rr0vYWD8mRiUGMTPL3vpZaCue1E9NJjca/VFHvr95+9dzWKskdn9h6emtVubhImHZgd/0DOXspBt1u2/1pFkGWcGaKtC5+ghdaYG8O3FihHoS21/hmW5eZ/GDtXAx2I3cKPvLpxzyhPc3Kj0Fy8UHLzHIc3d93D8KXfmsL+efGf1fyn8THqzCpYgU2Tt8SH5lqVp84EGiXctWoQ1uuEHIFLmF9sOZ6u2KTPnKxRniVrLPE/YaMwnpL5qwNC+ahAEa7FmlxymAFWXmMuWnaX1mJCqhk/YA6G0oBzD08G1zYdt0VUBoaPgOR9nQNFWZ2i+0YGEEv6RxJe1tgc6ELZE9ynkaFpn38eIV55NxUn/8r+Nb1MFG1uXbHn9pdasVEQJuBOQjlcMiWl9PI62I5czT2S2JxuYL8vICRAeB2pY//+xDc39LJ2kNxT+vLaeMCa4RfFirwyf/ae8ztaagRSFVsBLfrg9uMhmoPiWqrVHWaEh10hUCsBrPHUlyMIiTYliE1okw+B+PGpTzV7xezaOUtthOgWYmYVeRjyzUmrwnMfUqk+uFtTQUa6Tk70XlRrCm8R5dpuFoufqXfq2N/ThqU5s7cVcYgea/KYJKPYwJbLBRWxIqhGDmyAhVa/VyTKjehs2KzdsCXZfw3KQAxGjAR9GX04b2G1NItgNMFV3HqGFK6P4XL4htRgGP5VRGL++mEBkF8IIJB93GQj7LfXDi7UeJpv24uPXVWoWxMurJtUe/LChj9ppmrchsvIxWLOp3O3BPSoVS0TCrW6E4R+nSEKCRXmUANWCWGQ9mec2JaslbzofdT8I9fG/5I2SydRIiGrYEN6kQE9xBgKZjtIGjpCs0k7ewu9lzYpEk/BO4ndnndP1wtcYq4o/36MuyqPZmrQqN7h4NQqdoYblrY17Nxq3UK5mOZd71D3t3AauMXL1aGCVzgCMicno6hooOBbXU7uFOiRHBo9qq2n+Tg0HTImkjlUZ39ylOQei0K23h0KeRFMSs3wgVF7Whg7bds09uqoVOYCM5VMrzbamFvxHEBIsoBzwSONwHq7gVRJo/v2K1hEYEZgyJO9yyaMGaaRgZNw/mCTGTNZzqM0YvQsoAs6UAaPaVtb3ZxlcCL6Ugvp1x7uSIVcXivi/oriocbGUCcTpHTAG4IjQaAMmBHzf2sxHQWWDzsQXaNv/rRm9SUTA6B4gYFs5c/SWihrnQyPbdx35d4oi5MQU/pX2QCrSI0GzKLdm36CqSeuvXi23LBrUS/DhiBL1qn0WkDxZZU6k0lZ2aHmLufBHJtc2BN5R8iXNG+/7iNt3rQLco+gfovqRVw19TpWtely1hgMCjAepjNrMqeA0T/0Q0iUbZQJWz8oyxlnhJbJF4pJ5vngPny++y7UqdykUWwzjIfgiLa6mMrsnx1XQ+Z37q9mCMHY6+amkJAUudPvIOLqfr3DOXGLupBIXdxhsAFoE8PjZox05hyOsYz1Iiq4d8uwcG/uY12uQy2a09z/TGTbzDxejpbxPeaxpYIXbIy0KwCesZ8ofYfdIScwCNYOK6yk4ZB/ppH3uNufETMVsnkz3QBlpFOT8ldnH/gEsByETLGBAW7OBAB1PrMG+bSH6S/Ra2NWBK4tV3akq3lRBoQtA96sZoVuzDlx6ye0SHedq428ahkcuGKWZNyR4gw8fYqK1PCsJPa3C2iaURTl3YasDoDLAKUmr73Pmr0RAgRSLZqGs7M+yNg4q1PCftLHqFXubLK9lfCKA0xp7s7YsnxbT5St7Xg4pVgOlnX9H/ynBKoXnUCbOhP3KabHhowjlFE3v67tjygqSZWpWSa/ah33NxUOPPWKLbhLuphgXFL42agKl5FH5F/WlvGqyp9uC195gQWZKeEWpYgQgBhmDjsJNAOhrxjlNkcH+sb9+k0e87s2WaKEJnZRbqUq1/fvZDlVs6PD8tFAN0y20nqWcu0bIslO89tu4R3V4nwpVjAG9+DT50hJJCYIOylavYVH0PZIRn0YUKA8rLZqPFLA76hN8oVlaTt87zrNUb16TKddVDKNiPi5S+ZOZWZ30nCjWuFZptDk0CzNPIKNUnP+JQp+gDA1qjWyqGdTMeE9MSBKCvrhPsiMrP2dnqbhOaZBsJZfaX1FL/eTvEeBawFjqIMEDEl17B8ryDDqtc8LqERb3tlYZTrRrBNh5vaq/lsimYJ3EmjmMYpn8fUAIA/HsDP7gBEdYh8vmAMULfFL2LK7m+OtOEwsF/23SBzHhuvMAh59m219bJ1GgH98ht9XAtZqdOOGWzVSN1mnF56//vkdGA/4s+kBaZK3tP6r2U0pYVGp9P4R7TJuh6bEYvE8K1aGHIXr4eXxAt2sZfqrzV12/eudkJvPRVtsIwKMIBak8yl0FtEQ1rgGL0NEmaLl28rkfRGUHZzAr3TY7AzZQIijcSONbYRuX40/JZgoxJkFDiuB1cohF4T9p23/pAFYTR8iIWvcTcnuVfSkHdQYPHPI8lb2mNcX0K3QeXiUA8MzoW16lWO7d490HsvhIKBYOBf7G8RePYCWk4E6ITHPSQK/1riPTURLoq8/E72z3egu4CpZMvXLgsO6A7uiYlq6ckTpswFxGoptmmYh2BXOxBPa+qMDOpSCMCHw/7c7B/+um8/hEGjy627EXprvL+CYcWa3OcQptAf/nx9X0DWkVFiFRbhJwZpHoamsNUFcHrZzhwKzuiTOjZxMhIU9yUKIiUg/2Qq9YTbSQ6FZMGBX6FiFYGpGb22agLWYxEo6WCIjeo1PcR/BP97ngh3Ziyy20Tpyvb4t44+oUlGtT7jnYyXuWLMTMThQcpj6IMtCSjy9wTVsUup273OP6fH2KvfFV+8P69GUvLHdPxN8V5jDDiUmNa5GqHmqCLxf39byitcx8rCyg7dqYRk/a4axfi2KeUDFo6cUhjMw5Uep9vS/mPk42TvLJlwUrCAyHUqha7ft4qLoqUKp7riGySj/e2JqXkgEjvshjbiv+fMc6Pwmxb+YQQjzLl/cK9u7ic3rG6kDans0rUysGFO3XVQrHIPxCP39+EVSoFehxIKUMXhcgZt2MSEirdFNbP3tvGXJG6dfp+p2ew9nj8L6ZoJj8eSD5tKGzEMYfceyBd4X6JOIYUeta7sua0902RXsddxUYcYyt7H/rOysZGd8mxTZL6zHh1YobhXLS5SABs6onBWs1z+tvov9xuCPNY54bHRnJORDFDG3J0ZkLiThRCUH2p+j9G3riA3E+1uDAdqMZ/rJrvhpAh6GfxZFV4w5RlphhJbq5T1t//dOHaG1xU4sAxYU+MnlP8/4wxPtKymdPm1b5cciTzyDMtD7/Agq3OLiNDOrF0gc9Uax5wQLyxSJldQn8iSjf7wnu4ES+AxntYi/Qk0skfSTKPUdFZWOAvpkn3DQD4MWYx+/4B8Xhnaae5l3YO5aRuMVZMESr96Aq7EUWTPzRMBJKisGBxzK7z88tDLiLFEXP3NZMyvqVvEm9BvzmW+mRwXKQs9yT4LwTMBWQHC4DVW84fPGujSYbyUEL7O0FXxXkdWujNyQXPcwib2AxnlT2Cg4jVA05X7dCBGEU8AiA1mnb5d+Sj/kB+P7Kep2T2wmiI5J7jVMB5SZl39AundsI+K3GIhXP7RN5ZF5SWCBWE9hHQ7f8rDP5/C/SyGRB84pE//58jf6AJ/SF44JCL6Ib6F7i9fi/KNwmvq+kEwWwmgtjkh89Ho7lNwZkoY3gA8IXVG1LW/zyjUfQP669b4NJkJh2EeOPyQmFLKdApuQcrOO6zlM9evJ8ceA8s7zqCAMHImexLXtTxlWrFaiQMHAYfokJc5qPBkJ3nuCqjIFcDRNteDCiADl91RKEFmfdYc30pvuEALz2QUu1iHFZJctAg4xI8JuNi33sO7wHbGPoAAuRz/8oBE4BAcXrzQP8jbhNqBnJHJEws2VtpMbEifTLPI8kB071/7JXWav/IfBJpbrZG/Cdy+dc1L/QWI0XHWhfFPcPA/4XT2QmYAZ3rgHsRVDHQloeg3cQmlE4E64TGtXSaBJjqOTYtAgy9NNfiZraiX3/E6JiagLVCxAN0SuJIM1aqVYjuzCn0Yvn0JOtLKzEaXdspTjn8xfk1uYIUSbUXx6guLHxDlEtp2oYMj6GobV8n81fcz2HJCWMgtzVatSj6GKe1Gdsq0IjbqLDuNVXiE7RvOCRxouwd0RiiJjNBnP6s8TqbuIvgCxPvhEbTvRLWbdeXOVszKK9zYDRSwx6bY8wHuW1nOS0ctXVe/IaRnZJWFyNaFY0DfVK6udjK+VJIPEUpNpRyq3iJexSltl9Gp/Yi0+o6qFvjLHNw2oWxtnxuyCO5TXbijQMFVwGJYGkp7WxY6S0Fiem3s3NSdusxgHnbnOwubwynIIa21vyu1bB3nM+6RFffyGTY3AlDZXGcJKXRfHjxYpy4Qt9aRPdG8KYB1qy7hHW2P9Qneal6T9K56pYcwquALNt68ExkcZw8GDcITekqfM4mK90c4ZsjRpRkfs/jqzSrY62/nl4kT7jUKf8GiFL3PQ0EfaXhV0Xv4J6gNoMo3MM2PG7FZ85pboaFwxbW0xMdr5BXVwzWLLt8vqEROgLx9Y+eWSMWE87VhPSFVkJvF/t8U5RXUrbnk5wdL47vr88tFvt3ebWWKOMxfqne68aQZ0tpXwqiuqh87bcnPnxlKhmRgPkoMMLK72+TlRBP4xJBBfwkjl7LqG9T8rVnlvyQvE2Ny4+jjZSNihrEu58faU1rvz87HT9Yq7qxwLmJJc0gIbLanFtwFfLeR2OrACO7efnZIgJmWRlIdH2TDPVJWpI5Jd509odttimr1LFlbIwHOHX2gLhEZ7WvOtgWWreyqvjGZoTsxojdaZWVuWgVbxo6g74qGGqTYRF0s4hJ366G4CiN3qnZAvWcQJVOHjRi4aFtypOsYnNsUcPUxSWuX3BpbCjUGRgyrUi0QZaHIuREDFwUXds68FlewyoUbz7caFzUuDQG81s3b4zYBDJIHXpJVZCbWvwNkbHQwot7CHxkyrLj+g52ILrBlTZip30UHNpB2Mrt3rQeOIsyiuh1EJVHvkwtugDQzLVV91yLucLXV2NWnlGt3S0U3e0pCI7keUKw2VP+tN0P2p/CL0jpothcIUur4QLGBlp6fmNATWDSDzAmlZFJJfkuLiY55xKEomTuYGcRbTcnsHqjxVMozvXjpSzAxQUJ3LB9Adspk1tN/rtFCsuys45D9/VK1umKF75kPoKK9U83eEUWj1e0StJh4OkilVKoYg2tlXeSMcEJ2ahjcGnjFA542mnehrTxsn+goXwoowIGQJJGVLttLzQIO0aBk/ZiGIfKhZSoA2dXF9bmhYIhim4kvXQm1qWBXLqLFJMwQYAxvkog0jqtVrvL3n6fdG9XWtKB9fbu7TR3UBx1Sz1+ov9VaobixdaO4Ba8xs6OrRDSagnp3I7tTvuKCS12cDN7dmj78IVLYBPUxlGnisQvlABqrxLVaQBRZYVzpbMc8emVTBlUBBnBu+HKiWY/FJ0Q0iF6Zv8koBWJbPtn8NactHgutmd1Cr4hDEHvdAMLKGhk5yqTiWt3j+vy6oXob4KqlHOrF6+x3EeTj5Ky0bO8LHMtwloIXF2XFD8kPkgg+r4ED8pD7FcjFN0j2AZmvexp4moqtzTR7smjEMHZw74itlOfnInEib5DduSShasK8SGjryFCjcIO45t9Y3kTjW2dCR2RDdFMxo8KcN76VVAW4RHKaygm5eWnqdg7cw4Ng4VL/tyQ5D3gJSLRKpqMBgCrqBLDeuizaFYyOfkKF9fR24tcYiv5eUyoZ5SpvvFO8rp45Tdh0fZCauU4n93Y0f9yfHaR+L9htmqDkedkhmg9SJiVc3UrXkEx9BgIs3nzefLh2mHDTuNjVLsu2AG4rbTedtsS9S8DW7eo2o+oGVO5PaemwSuyEGt2NaQ1rR4sOsRjI6hCuEUtwKCnTk1IE9AE70YMLuEzIohuoLkRf4q+EJRx8lYF7NOqMmwX/tP84JAQuIVBhsmZr20URPJIYKRfS1v/botL9EZsePds4dPGN965NUMKzlS+8IDf2+Zz48vZkHhCDj8YSLXZcOVfDuM1aVxGFNT6a63lLNlvsB/OF0ZteXaSzR4tqBI4yRPRAW854VbzZWooaVoRXMjxluneq55XEb9HdpZXHaviKm5T8kES9mJ2I/FuIpmXBqq+IAu4bZlLaBwHiWSNEyiWqbqwrh3rLJuMo1xlMezM0ukZAGu3Xf4EM1bG367/mGyfAs/3aQJVhRkIMhndwGlJ5NwMt71vzO1d5CjY3QGHiv8eBdFG3wQHBDCIN4jYeNt0RUKOIJFP4ghoNg027K6Oudet9A/Bssdl1T+/gDLfzQc4NokifQ8699zdkyXCiKoQKy4QgsadxGRh9fVCAMdbUfCZTxHnTPlzu5ujMR3f1or1rrRiNGepJ0rB45vfCwRofz27FCXW4kJEkNIXr5Mm4h7pJ4H9jemoAAb7g9NoviDPinojvzV3eIIxEVhtp4e5G50iHquljfTKa41Msvd2hh2wrmq51HrvzGlmeexJvAAsT84tSLBAGGnoSguPOMddb7L7h5dpGgd8CpX/Ggsm2YdovXnoflMfLjYs3JxJP22cIzGPR8bK5l0F9bSMMu5LuBhQtfF8On+MLIM215nNa4SC1NvST5eP49piotJCa6c4KwDWoM6Xq0ZQ3v+14dsDZCRHVyL7hQXGUsyxG4XXrB0IPkVPpWgoLyeFTELgqfwdKitZmNvJiXuhgEM9lk2XFsf1Ulu9D/APeQtPMju/VuOCQL+WKVPmHZhTh9niA32lnZiFCBmHehOiJonBz4Xt00u7gSxxOkdwxdYMXz5MPjUyevsld6rkWd8Msmik+7Z5j88uZgoZ+Nh8lD8fqDQDcrsqymQuY+XFqsqz7l6VVOchdpX9xRsa6nG2k/bzF4b+3vURw9epH9KWjm26UV1kxA2RLDPVUZTIMwNUsU/7ez5TW8Ge1Q9iANJaFuuwo/v7P2aACrQT+sVyiIjzzBYslDWIGUbX4SyxabWI5LiNowavTMhuy9NrLHh0hrP48D9fO2qSTkOvFZ9lAWyD4abYUstbHo22Feh/Te21o40ndVvFhc0qacgj36GeYD40zU8IZ9rJXlH5lAhPcPGS9LDsLIccAwyKjCMjzLeRudKpW3xYor8cYEytH8q1otyUl1V98Q7C82Az2rI+Arxlhkf09Tx8vVhpomoi4q/zQ/P6pwg6jHDKdW+8WX22SzcvN8fJu0VQyexQvDMVpW4jwzT1xgARk7qC7MiKwUC62wKAEfmVuFFgLQaPL5E/HENhvrLFr4gpNsaxPvC0q0QzPYpn/ky3yytZFOQBV4mHcBdAaZirsNFxbSPthZGqCXukR74+uVW+ScafrxPFvCLpyaVrl6Q479FGqpOhxdQMsIuvLtOc7n+3p7mb0CrvebEFd6a01SIajhgq0Mbu3eE2faS1eKD1NsoEtQLwQhrtDk2DstDoL6fpwZnfSRUyruNnXWfl253uZ8stzMxhYoLehUfqD5iJrq/v7m4tZSMQu4cO+QIU+NTVHAAy0LqdQoI/98qGrJs2EWa2DVtpyScMgLtVon+artOOVpQPNDWdWjUhk0HDgjStE0SAwJp/GrFbuK6uK2U85ODDTikZATngSMxOX+ZQCy91Hwn1cMPB23w/CdrWER2M9ltPhbziYgO6XVPZ5HzYG5Pn6LfJiWbuvNbevQdRElGbE3SNndiVW/5Y8loe1Bt8/+wN3EpzkP2lTbjP+/qzNoLtrkwDCN1kPss7m6je7zw1ZVDgjky4GkXCldaZ03EVEGH6RxoK7WGyPjGBVai97K8aHakRFGUf3/t7fafMbgDEW6YL3CCs9/NFqvBYDB8tyczEXAGjYVnOAcuVgRwpyoIXvnacJOSnyAqJClZhL8rAS3RqR245e4L4+uKPLbEazolXliG4d6fZcUufDhpAqVSK5YX6wtcXrLj4X2K/WWZhzxr2IZ5OUGUpUcYqF8EmejcoCn5g+Hy4NwBdeOii/NU1FsY4hMR37NdJpgZ4t2otrMBXgLfkgUA65qjwDgwo+/BQIBhVseEh7nNcpbB9l0k3/UgweE8Z1LlripCqvDEFhEO3cW+oTzWtyI6A3VHVvYBarEAsdZeDbCkJhb2CRoR5fZE/kW8SuX8EaTWsipyfBKUjRcVg2JIeUknnwJ0td4QxxOXH8DKLZXq/8voEcXyrRwB+i7kAfZgJy8rC/34/Dx5xCfUuIMVMAPOfXwP2qaBdpSCX3egKMFIPHoSqoeKdJys/VZVrz4P6FrNDOXRE9FQcnonbprWR+Rfu6Re7cf2uzxqn4qK+M/3FmWQcO9jqGcsKZKoCdwlRBG5i9xmyv7RkbYJ7xvZGWbETvawg7npgGOdSVZOUopE4IHF7eVru/tv3hLhZrvsAPGDQuYeQEBiP7rsln/ydWN2Juu8Dfd5Mr7dZ00Z1jCTIm5Mg/NYGXy6ZYp1riIjkGYciEBwKCh5/JcBw018Iw7MlqgqtHvEAy9t4JZuiIgwA4kM68qz1YkI2+kmVxVZiVk0XZdl89FQ5R95ZgULbRC4Hcg2SvupJlgc+xRDJYLWcVK+Y0+ArXQlPUpw9X6T9Qt1NqJ9iTIOBGBtXeKohRx0jH35Ak6PFaIW8usnKN+jVxiWkjFVKFzdqvhsrK4RB2+18jHoQlGm8hg5x3NVOngQj1FmSKGYcoIGALsw9IZpNepU7uTLldh7H3EhzfIVFx5f4Ui/98BBL3iUSEJ2VJByqKPmartjTWxcSL+5QzzaeYbgb6WJXNb2jMd6U4qu1gIe3wkD6gtjuujzU3LuBvJ/yXDsZfsy18QRasS9Iq/QPTRRsT8k3uyDYuxMagjtWJoLX5mJTqqxH7bve9ixl9sZImzyaHpiUw5QXH4H8D6q7DLjCvBQwWe4C7sogeVPwAQVNI1SON63eVj1Lj6du2/cgEtyLLCxNsjeYpf8ztksoOTRmiaTXifT670o+uUFa6q8KqU2/XBCx+fMGwX5ewt04rBZJj7cI+17jkB9GwovLOSsWeyk9anbFGF7w6UxcEnzqrg8OR4pVgdyouoNDiIjlfQJ3Fmb7574zNacYZRAyTHeeYIG7rehefKKXdNZ8Dcfoi4aok0ucmQ/LaS9kYZeuxfsrMZW4BIdxOvHZDgOiHejMYjD5Opeh9Bvjba/JCylqCEo+NT1KwdIl+/Gvn2SLwhfvy6yCbv9kWufhJQeq00BXc1HUryXC/d4sxkVcVfoCfsKr3OOaY2I2j1n5N5ywehNOB5kalGcsBaq1MZfOFn+5faMM5h23MceEZnWiffgDjFANVFROQWywud/ZONWzzCLUFjztHty8l6TRce54xoiHrNHnueiBYbq8+9wa7PXvzDxsPh7QXYFqkrdpScVp7QpKE4UU3wxdEYXQawOFErzK/DLXFVRzkLPMWwMybMMIxGvh9kPrGKR4KqdeRsdBk7UinxowLcHxAiTWVp//m02gEa2f8OxmJ4M3pmIDh6/f79iyIjKyyE6x1SgarP+3VUapcTrBLq8WxYLdwZdlDOyY+iYBtqV4EsnNzKk8JdiFqaXqaGCFEdoC6bt9OmkChGFEFLDppoXbF+2EnDRq4B+vrl+4Gmg/kJnRc/zBfSIfGE+zstmj7vIc741v+PEn3hl9awK8GtMcQcOhvdkRj2whhEEZfjLlo9FBkBUI9TACp4LFD51imfflfr/V1eCklvIUX+n71NSdVmi5HAhcuUPj/YJFG3Nq65w7Gkp1MMVvgCwYwm/RI7tixx29j2e1dH4LIGDSaH0TkXD/sXheYVYBO/M4y1JQsgkJZiw0PdhaFnGcUeLIziDV0NtxmvnjwwVeC7O+gHWSbsttLTqjj4Plb4dAt1QAPnAswNwIRgGpazft4wGZHY+lRp7imMUi5NKE/ImBtjJvJXkwMcmJKsMOgxQfhhG7N50hPPfVaSgW6mOkSDKwUgucyloaRoMESoGYTtC/Mm0kp7MJHVP7fHqXsxEWxVDNbH+N2pQYt+F/hlKyL9RZJRsgccNTYQ3z9/CSq5Z4iXwNGZin9oEtAqPbkVV+n1QC+7YOubdM/KMdMu1SRUJAcMOzS31IsRumrw1BNKmgJBdiSDPN31/SV+OdmToJ+BF5GSI5N6N81Sc+mVSCFE6aIBJ0CuUwLmYqgM5vHETFMbFbU0wyhyaY6BkdgnIVse8Db7Wry+EuKElACbTp+9jQ3KG0tLrwSRUiLHKelNMlkpAABEadf3PQVGc1zsfAH5bDMCR7wh3uHbcum0+JH1CDUsyZj73dXXTD7vs6MXw6f1bphQ8krlgrKHPHObSkt+c4fUN5G3Zh/CAk/nmkLD8BIVzE8TxhyfdLts/ISvuFUF1Ra40Gp5CQfOvt+mOzaTy96+Z0mjDSllSuntdXHGdObogbkotaQci6vOnMq3gSP6Cvh3rgoNWxnbQAzXi/evNxhqe720GdqotaMctnmxXw3ASmecAMlxbbyM4PD2rE/8M+qe3kvT/entW5UX1l0lzG/1ohnz8iwBbbVc/di2NxZEnSuf88iL6pLHHLG+7b2E1FV4m3pt/52kR2FnEiRGJbV5lSqAaSv7P0ATKLaC9z5tRM2sdMjwJh7JL9CQpdaWB25QNx7D8QgFoiyUc14Tjy25HGNNE2EKuvPLSbFVwpWUbDEGdkr6EMIxiZfU3cinZy5nsS0iEhGEgiw1Lxg5t7AnGg/DEet/B2PuTnGbaKW9OPPeuvt47KMAeULrrW6OGJPvqkBA0N94c/kpFMg79kSFX6mGpUunOThDnLVnO810rPM8ADbYw9vG8W2Yx6YsuqIDk5sVRIQSrHsVL/+Nzyqyqc+gRRWYaqbJEycapfCMGk7Nl3lOPoZCI1Cd+ybQFtlM6n/AWco7S6dxUFm3hL2Z8Hn41/06jyZXKNtw3nLIfwt9QoSBHMViBH1o8IEAM/499GkQlzYQKX03xwregCMmHJkONTmF7T14bQARjddSJZxH1ODK0jp30Z7vvKqPuEMYgKm0/KePm6xhRBBTE7+bEFGhbnWtl/DviWKSz/wK3TrTS6sKnSxdUhn0SQFWdkczIXdb9tyi2zaM/bNNZVPBRh1ummlfjwh63mu5TQnBn8amduHpIqwfXlEGRskplFuOvvrtz2kSe9CVQhXb+MkiufKDzHxRqkbqIflMYSvpHj/wrlOgsA60UVLYCUXLtEOPUzOwaq+PGSK6slrKzoVC/fvXKBAFOqhFjqhXKIyu1TqXIt+Om5QzUHYMoehS9Mfv2eE44xlrCKxxSoOAdE7LjOL1Nvlyn4cX1Q5t5Fp8NCNhJ1Uiz3/29/PxJprBabdtDQFtHmlDZ2rcy/ZDAHoIh5Q7o+kcX1AZ/hD5w2QJckBr+Hg0LozVjGcv54ESq+P0SU7QjDIpp2r+k31zcligTQIck0Gh/2mi2SQxCKQKs81cmAfAcygEQScWgcU7a9obaPfw7JU0KcJyFsgrUnD6Y45l3fdT7Zc7Q/FknERkSumd/Uc66GVELFbubxAqta31fSEE7ffn8CXl7gmlsnktAcjvpYoqU1Zk7HZwbjznhO1kT0k7xMBsKOTW6U0iQuiozB9jALuaPeLXPvEjx3A6Y/CFfdWJtj/ZnSMWngccln+csKfz26syAWq03vtgkzeVEWuSsgln3K2/zqHVh/Hjsl2FO1tBXO31n/WWg+u950ZqgDYEbYxaJNxvrfbVGecZmOh335/E867UV9dn5dbKy1qwmLweBDqGNI419QjH6ZamfHvizIqLT0k8sqYcn5/YYWf5MzycKenTOaVWbYv8varornCYwQ/jdamr5+g/r30B6o8XDTr9SQxRBqtqxpEn2pHmHHQeZgpYQ9exngx5W/xgfLtulfbMOrNSHlB137V11chUtJ9WOZWl8JDB9gwmm3bY4/gAdCyh38teQc1LKv38JW/F64TkaQMV1yrTakFS8FAv18CBpHvjxyVDZphtkffxHeohoBm6f9kUVsuR0X0r07+dBVjjdz/h6ZhzTOb9/A/65O8FHF7/0slAHT4WJUFlpwlbOLUPkM1AUZUf5KTLhDDesf+82K3CJLZkD+PpN33aUm8z/ORm62/JqSW6h5+YCNHuORaUFNK7NCa4Ij6Eb3xmcL25sBclxaAFeBMU10mV+O1PZ9wpNJujo+zLWX1CskMC1L7RUs2o78YadbfjOnO64VebM8rL5ILlM+sFnAwglGJ1NOFXWeSPct1MXbU2+FC7/Gz6ikWxUlbpxLAfh37ZImrUdEV+4eDnaPSker/iY/L4d8Q+PIauPC3Ts/vMIEh8/3iRrpkBucIyaJ1DfN2otV/6c/pgciQV4gqxU79nyDcRFQDekYRE2T0bzrfC3wuIr1ZPqpVyslFnJjZy15LVi/NO2Di64hdX1cMw4lwGHdwd4dupduZ3/zvlLvvcsEa6ueL2dvl2PoyktWlXN4INdhGjYakbO+IklLVaBFc5RvFKvRVcRqQwABrNowq3VzyfuN6bQJ8M07jVrp1d52Kc+JSakp3E2sBaoVcsFSIm82Va2jQn4IdyRqN3pwcTSmZ/ptOxHiaW5I1Z+Y3xpuTwJuK+/R3zCJiiPoyUO0Jvrmgf/BbBxPjNgMjH9BqB6E/tVvmHk7ae9H1s6bC/xzFvsoXjO7ow35S2/kaI4XiFnTElrZbw1e5uBW/pe3lOCpsphVGzB0owg71VLLTToGARTC0oeBw2cvHdJdEAKCI5mtgz14KSlUWWpdEFoygbIWckbZsGY/mXdXnsi1LBJpUsW8/hsanSVN352Gc8bn4Ocw96hbCSZeZ3wmiprcdqV1ocmJr7kdCmFiTitwP0f0442oco4ai45bBSQSj32ACpix/aHzE6NZsljvB8AjsSqSvBLPvuq+my/dCOpqI2GNaa6uPzS16WLOtpm59VH/Qq1LMA9twkrKu5hizCvggHussYhM/4U288reumWOBMukGC8miqymmfXAW//vyHbIvBsblHGS1eR5YrnkrRVtcH5AcG8hWbB1bRWnBBvXqCorJxWzdCEsHaH0Hq9R9Il41Fry6pLNRttPsbqj1fTFBPeDaHUoujIyNbW+0kUUH6PXVoLNyWK66RRWQirMCZMByz1GHfg9D1XZ9PJGMda5acaRjBTbY6PUZ1TD/icIIsdc9LmNmAkdNyRKL7AE7esnZwM0Qq3EZ5Q1DdJdErA/49+ypgvoKVxgMpIBuebgyTuHBuxAV7eUIm9v+npAKc0RTTvCf8RXydyGlDeb8qrPPHnI9jyVn4/NK90scSfFx6yvCoAlqMsuRBn1/2zyv2h5gR9SRNGhm9kd7CJwKmYnIEicLFFdLtR11P+Ae7k6Lr7GRqbXWvEkhPzXQ2mYCPIzopT1EVL/KvPN72DwF5Kmtc8zmf2joSgNThLCCf7BgIA3dItPNLSLSGaCe4RPQlaGQGK0Rm9iht6zbNcq3sg/Ek2pX070Rj1/7wONkeLtynM4hlS++f+4/JV4RtJ+gsypGMzpj9Ohvw5nAFpwyFViAnAXQUdVuTod5Eg2H63hcwsll/uD7bvxV+QKATrs1lLpdszrPgn71ddGF9y0Nkzr6aCk+0xuQKGu6Q3Cm1BVGRrnk6229SS0L1fUvg6bEsEZcc5Z+bcTkk4OBXXx970EZ5ZKS4/bF44mOtsuS/ov1+d/KTJhOKkrAX0OXy1gslksVZHLiWAbSwwtwpPoq06X50MNXaCEfIISKDpsg898i9FtdYjXJJXNH6jOEsoEvGVLYcjd/gbzdK0qengWj6zs54caq2Lp0ye/KmnP1PqwRait9iQI0c8WH5zWzILBMsTdyAn6/HdbivSGIaUMkMbRtiqIB3r5p6YvwZb0qSRMkmTjHZMO56QezlGsGO/BEKWLIrwEIpLhVEq3vwqsW34m+kzlckPVMtAQnHjFkqe1CsB/iSrJYVdomFXF+pVfL+dBp/Csy2iGqMLTvxkwBYkRUdbWQVD2+GozWYiHVofIfK6dwb3bqJ7GEFas12sqotT29vKXhYvoyfk+tRk8Tfq1r4F3Zwh6Atqo02sWJeKIr2WfY+q0JtXv2+vNkknAcro3YJzS4VhHiijBMpnQ80vAUiglFmTyJxkg8VESLsZ4C6+Uikr4zGJlKR3Avpb7OILrfsDe56Ozoub9vxVgWhrGnhIC/C813VAK2Ju083IHb6n5noI3fpuM5XDsRlH6AbUgPX/BLWV4FfQZmA/1Ri7wFagV/uQ9iTw3xGb2BlXSfrKgqtG00jhuN1SPlUUKv4euCaxczmb/8GwIt/B1YAkkCw5gOYs9ru7BEShNYZn8JITG48BiFmfBIfcKDGO3JgB/4xk+kcsVbOYSaoBmAm9BUX9Bg7pqJRh95UYA3jmvy1anwT386Ti1Y5LNYfxXdMFc57G3QTT6OpoWy2fXtzdlnOlvIUItituopdoFZiHLmGyZIjgI4hpDcXD6Xd0lXO22G6e+JTpI1+msrDacNq21e+JImBPNTv+htpjcfASdro+D3aNR+iMrKulV+f27gTPx5ovWR31lmDZ2tE4/A0AVW44ceO2eVRBSB2WKNlNSOzGbMboc+gIUUhpuM0euSQdETji0d0ldAMl+OeNlrmLhK8rt5xZbmwj+rf8mstyO3KLppMWWe6Fq51QR9ZjWGOvPnyCTWWVu0XHK/s7Q4NQBLluTsohEYqIqEbj6KgtGIvWGOeC0p5nC+4+EXhghK3dG9j5ovphwOxFKrSXukAQGBV4549pWMEZ00PWxz9R16L24KyEqlbafRvAkrdr8OHHOdnh8IP+t9VB2h21Jm3R61XsaaTYohb+4zbCuGfH5SBdgdmtpshQwr7McXcSR5Od9rH7xS1ZVhQiT/euywuir9oklZ0dIA+V5QHosT2r/XFcj1BTXj4KfyVbrHY5oO+cFOqtaHiEmW8wb1pnsrOVy7+pMMQFbEP1i2xUYp7yVlhOmwoQGrjTnnuksiukr2zK4Dg9ZOlMtGhxE/6sKRcN4VkxhjYNT40iTDaIFY1WOKulPqpTqagWNSKYDxUDWJhz3LH/mjppuChL0eJFRadjnJj0NBivJ61BTtbNyPAwNJcYzshkyeXKgRMZE/NRJelIxBXyRKpbVuFoYzA0qHOol5OXyBEF6j+t0xgmwqaLH/BK+XItXlmsGqMV+I2APGcmah2D+mWNBT4p+Z1X1XjStvQeg+JEtvD9GOSUrT64Lz2N/VlZKcRo6x9Jm9ZAa6Yzl0jnYxLwA4JSfYBWHxE3ep6bRLAaayfH4O4nIYnQCNKrikR7fsPFZAZFGfTDoOPbaoxtZXcqekiPkm493xFYeEEAxe3vO4Tk+L0l5/mGoi8haRkEJEKHfOAHSfZSmQCSwtHP0PqUbDvYm87SShlrD7U5zrWn/+/sWnzqWp0J+9l1zg7TnsWf3YrnBJnqvAgerFzrHbKSAcncMmhI0OD6NQURMvQ+yzxNbZ5o5LIS8v5R4dYEHvWd3GXkJgNyBxYD5hYo1CReIHGNVZ3HUsxlvgntSo6Qs0kUz0hy7mzTgGB5pdMN0tnHjevDuuHSYBg+g/uIhXovsLwdyt863SCEfi3GjZviOwPEOSjhNBpT20aXOlTHypBKipyOfJpL6sSRElhsgQFFBl4pr5xKhGDEaTa9bIR+DHMlUVFnb2EcdmQYvWhSgGrXdXhrKerkwoAkUp6R47qbfj0q/BSz/FTMTyYZWLlpKHoP1zwi8QD/aVxtLzkqFDfBaNYtltrrno5PafZ8DqvcyWctoBY2wGRwvaKSckR0wPK/Cq6XBHoU5nhZPWCPUBPIDNgV2kh97OKkVJEybsSN24deU86dvdw54dYz/fYfXa5ObgaV8PZ/R7SpIZlNthnQ6HIiRJiHtdTzNPvZLNUtsbqXrc/BGfNZQgNR4L3j3pHVFX5F6MSvg2q/MYfD78YCUQZdLXoAD67WcoqLPU93w3vOj6ZORLVGXa29ARdHM+ya2VxK7Du8MBYuslDpCC7Y8Yc12D5HzQoeNsUSluQH+ViwEGx++WZQr6XcDSyEbAmIfm839pGjzr8srM2KON49YCzrP7hjdv2Sh5sYd4piCD41ijkLYlDzAvvdg5/DHerhf00e/NyxELy0AbFyQcPI3C7Xv7HyAabN5zGyrR8KNO4a0ww5EG3OLpzFregjGKirsTF3WP+DGY3I0FF+cbSi83ukn5R4EXex2hmdNsM091g2r3fq5LVoRln2spWZEXn24dR1fPISypmF3WgBzFXFewpiwf/GqSfN6G58NJbjA1B+KzaI1fe1aJh4yJIgcLV2YCIq0pP8IYVj5jWZa4Wf6w3cuuwA+J9uobLNyPSLOuDCop8EDfphgrgoDyGqjW7eTPYj5DDjqYmVy6NtLFQLGXw8F1kWkPIfmzfXySqnCya6YNyigNFvhdiCUAGva9VESqXbdtRJtU273ZdhHr5l6E886jeM79h2GvRYHouath31QxQRwqAdKhr9LXhsaDj6IfUQeRoDrrHQhxK05/qN6SJkVUjuGKeJ6sxglZJuYhf9jw5LKFsUbiHxV0Jvz7Assup4T/IHK1u8DT0feFxflD0zCj8jnMz2/687q1/8aZubLbQRr2fejuuP+wnlspdeJPBMhGZL64c9Mln5yeAdz7lXEpK2Xv6NdG6NNahYqQ1v/IzR3cJY0JnqMXINK8/c2cMsOw191wv7KUaqHE4k5mh7aWJRmvF6uKVX5BCzau4yu+m8dSb2m3KWuubGnJBIh6RL6golOkT+IY8kUTzkgZRMn356NpLkNHpYyU8VIIi9RU5yELNprjpFp+Gch7mLVq+sxxRw4aJkVXUDXyUIjXvxgxuzu7YDBFxey1M/B5/PlHN+QhlerZlgAiIYmwjtN/5hAPT/tSY042fSgLavGMiX9V/uMsPo0MkhyIXhj4npn/G2NYAvXkcGsAYbGE2nkEmu3HVpOsuyVj2mWNC3YI6M2D63QKzdHPLKTihYxbqAP4DTY8y3HFVjPme8682Vw6gZkp86UIDPSRWahN8ehIXfI1fliC+x3Ahx7yKdYXCa146lM+jNwq7hm9TEkY86ltUjf39jxwutacUxFhKpK5qAXauZN6nCjTUCOq1i5zEOsGaTYRbtxQZupDZJhq7v3z293cUuxlysoA3P+1nnUw0ZizOOJqStpEmFaZgMmH96uLL6pvxwfXts6Kh886+ikRn3zxY0jt/j131h8ekxLIUtylpv/HLKzEogkoI66yZTBeIOyyju5JDaVBi7/ROEj7PeiRr68pEI+zMKj7g0ifXecxL1Zl3qjyUGP9s/T0uk4kRyX6s+Kz8pTh8/gG/+LevOWia73m2mNhaiwRrwGHV2Dk2pynMNuqx1DhnTm5d0lMKm5DrvwyuUp509wFbrN+AAkIpxppq8subDZB+O8MlFsBqCUxF6ybFuNLHFtf3qTy75F+bPe//30OblzQvmLIDILdiaWnUOFV5zeynV8uSvorX9Yw2RmdGEF2HxurdcEyd7FS6Pgs/FJaAfWi27cIEt02QaXHInqv8s3felRQnNz7dVTb+LABqAROdpdtumVvCmwh+6sCrnMhknS3vQsCx1MUwaPie3RZuB3C1gDY8ZUphKKZf2Ysv5CQGJ9bsfRLzQgZYavNVRghH2QdjvvnyNcDQE2/QuPHbEeQfJgBh5bX0gqQTYUK8PHGmRD38yDxpQ7tFEr+Aufq0KY3Kpugds2QpM2906q4L11xt626MYPuF1Jiks5cuicAmaFTbLQnX2wuG8NFVKGlIhkM1OsRbH7JOiUbReO3FeekuECw9FBnnYThMbrL1JRjVjMWpS2TYlr0btT8oXEpGe/3YmIsyYPVMVzlEsoJdhCITIoMbHu0O1XF41P9t1orsehhfgzsWDPTz7KqS1RL7cfr9nMLYVgRoWmHO6RYZRLPiGr4ba/lBznEQtF8OFyjTomvdD+3C9VIShST29nouUv3bw89TpuG1t26+F0ltXibkObkr3TugFM/ckx9FPSHDXtwbTWDoUyDbsJY6Byf74eSPTb5U/LTr5M/SGYhofHWJYbN/jVdgHeOLH0UghPek7+n39E9FKFCc8sQfEGL4FOChZqqnkqFZ7UuYt4UEsHyyI87UYjPK5+N5QoZ7EcqZHCaooZFWzFoxsCFGi91rV2r7woSWRkZgZ0JEhzQ1qZw4O8bUc/k1X5jYTgIM9xhAA3ImbiZgfNMhoKZHLLpEGL6DtMrRreYcm3XKaaebcd3MKhXkrUFE2A+9e4g3W6pDJ/qjs13VFc1rk5vuvsxmfDksaLEXWx/71TDoJh21DT1lVnPsY1jMoK8Y/GF+wExz4PKrRv6KfAEu/ddztC0EzuKEFUb3P+fGUGfdPO8SuZFqPhusxorcxndMv+H0rl0lGO14+v0yunpMueSdNRzbgjhRcOOiqlJYD1fiYEREwsW8esKmWJrgrPpLzZeRuxX2m9gu88a67XFFFHvgvghTh7EVytjl0Na7F2tYeb3zIP+MOMr2TqwBTG2Q/gowVFni8ifMrGUSHjrTbU4NPq720CJhHM+f5NNTEcxV26gC8ZpAHztBp7hwTSV6u7cJus65G5EFULFq/J7Yf9X5tyZEEuLams3E6TPpfpiPgVEr+dDqjvoJv1BPeVLmb+AMpU7Ji9TiT7xv8Gp7qTKwGDiCMDX5kFz7tcNAHYJ5paBOvYuNpE+zUnT+iboBDh0G5TeAtszYxs41REcScIoUHkRfOrPnyIYD2o+po3qLazyDO/11DXncjUn8WGFuaT2iARePzEIwvz2CH1+cBDMBG+PCCYoPLdZ10s1x9gW+hNTOZ/oDpVGL7U7u63F6xEszy6D+wImk7I8vl/kduwYa2hAv0QYJIYq0UCYccUgMPXG0mHot37pUQyz2o8uScC90qcTy4XXJw5FpEx5llF2Lj7+YKZiQWNG2bOA8ltcgZp9S4xoi189BZ8UvzESJ4vWf5VUCRvMNChEN4ykVHYB6dnOXUPvCTKFn2Iqq5nTXjEAAJPEnXExiwkQ+Q8SUptXF6vaIyWQf54LKRN4Spa1eEPAXxCLio1y85RUNF104qEEGEcucZ9p2/RDyNLgwKJPgJWl5U6SAh48dtPYAGFnr3rOZQFNxtpVivxtfeXdSJ9HoYx62LJKUI9hT7o6Y+PlpX0jMpPP3uaJRqqPcr3p2ELgymRCN4vD1a5QBX9vHmA6B8MzUR+JSw0IXoz5xOB2v7sWNGO4/JzmVov1pikxt24RayQRTqa1pAW9wxyp4aCKiTbv9xEreh+KiYFIlTTZ8aMalROHLPypnBg5r0W1wkSZhHHV088cFdYc/hpWl84eL2FPfEtqdTyMmdFyiWNYQzOHLRhpg9jgILBrqeJzfLvhD0LOu5AybiSLQVfGm6qm0L/cC7+3r9Ni7OeIgMqqbxv7YlLFFx3QG9czTH1BZa/A01uMn2i0AOpHlZ6XSlD3KkjPfUnlHPJx04ngds73GxL36tzEyNs4UsaDHqW8oa/a+ZixjTlm6AeO8P/w/4FQ/9NRPwzHPCu4Eqhgjujcte/zzvQyzWBjrGp/GhOpM1oHGzWrBAL7kXp72w0A4q3qH+47dR48V5K9f6Mzk+OAp4ysdz05s/zsYj24BjepgxpS74d2A+7FBS0e0u/BIARM+fATJvCeQovsRWUF0I+Q5HvkBps9IDlRR+XwlvvXthNgwTYsLkoN830zzq7L4JVVhadPI1fTbSG5mDUmFu8kTn3suSQS6MKf4izaFsnw2Uj3s5CPiy1/+Ih9erymbK3YiAnbwIA/vckQuwAQ4ANDAO+MR6CpfYs4U6N5fwZ7hI/eaQsAQ6wPPcIHq8QN2WemIyLS5ucFN+iDzrPPUELVjpBacsvX0Cy/lDPBFhX0xpdQwRZVoPFQflzoD4iNdNOzjtQjP+FuXembneNAwYjmS9K8wG0xUvQrM8PJYl/16Yw4HD18jNiZDwyA6UQRCvnKmTKagPU49yERGxhQ8XI1Av+B+utBsZqqOWowSEWijj4wSFNNXSjRNXQmHfhV7A/D1hIPqZHgS2OB79l9ntDxw1zvJ4ICCnpTvMj6WQHmAOs5dwjyD/vvxS+U4Td0XkHnbbS0SGVXLk2q5BwZ/Z4B/gtuAf3sidk8FtYQVLXuyNuHtI3UWOcU4+da4qaLhGC8dxWuoaY2JyW2UXOaDe1FVXBK5BWGGSJ9l+RsCN+ZASPc0aC/+aNXgv23A9OswntRofJuMDsSBCBQYjBjgxINJTcH2Dxv63iZkepRg0VOaJFu/lX8XsJbbK/p2KkQuf6qt2H0LDi6kNX12CTY43qSYHR+hI5SONWuVsPqID26kvqWdqVS4Bfjmnbw6rYVIIb88z/jarS1MEL6awemgpNHCGzAjdOAWLbskwYYFnKtmUe2zMsquzuHBGyIBEYD5tlSHk40rYYdiB6/MWgPTc+IG31nTDBzqp4l9ZJR5YUSTWlrAuZsTg+ecAs/GGZWOBeZ3GaosCKk+TEmxvU4qO5dEdqWxl9aybSSQTzZrtBq2CC71C+IhguHcXPrTUPbW6WXvawXqG+8QsowuVehHTWpuim8btwmZI4yzjxU3XQnRDgZnixlyjAmYgQXygFqCgOlmR9t86yzTSgroXOgHADHQa12wsamOWkYbq2wUM0f0a2HYNEU99BotAFzaU3TZaz4wGgywGxOBlKa+jdx/RGl767U0isd9vnmlK0qAj8TazqwxxHm83sCGFy++1D/w/cGEeZ7t8uvom30w4aXxZ83iL0BqRIXUFN7ir/5dc+Ol12KZZu1/4jtaalHAgU52eXuDWf+9GfvPC33JogyQJR5yGvlzcLXjNXRbrgGpSFIBTs938BqvmA3XTcNxApe8wCHsnhDHo3fYch62wAHO/BOQXYc9F23+Yr+HlwrKgBowpkp3XwmMWy/6Xm4691WhWbWvmSeuyEL3CkE5ZzbZhgtBcaaSjnfhk6SkP+4+NAxfh+Xwq/A6NptEtIuv50kYtfAbEaCs5Mc2dh37l/f832fEpi0DAzTd30tU8OGO1r2Lk9nfimU3JVN7T1myBBvwD6nkXtnLBV6f/NrOTxm5a970p4pV6GH1LoDIHJp/G1+DfGh5nzK7GrxCC6NriR59hySte1UmuDzvNL0OX3L788JyBd9KE8pz7rT1orm1oTiPFDCNNHq3JLUXB0ba/uPKkIhVcroeFGm/hbeXBJm9czzUBaDQRDPLJHX/8bG13k2wwyYTB5T4HLC44todO0ZeoS0YPWFb+cC9V3pQMripdRnPbniRO4EHsnLNJ3JrlY858Ml+RjDUqAElDKll2oAaHS3mAAShTzNZ6CAaJ9amgVOVNZJsl/TxvglsYyMacu/d6JjEPkNG8rj19FYsEfpoF12iZ4Wnat6G3gn4GzHjZ4mZLUMf+gYxyU+XEgdeqQe6+yxSnAvE3fDCMk28svNHaGEwuGYZKJLY8323kiOCFEnxcKE+OPB+m+3MfblMmA6G5e/0cbKRaz4sGLPrFvI6thuvgP/JyatV9axl942tIOpCNS6wzWUDvMD08XuNHu80CubrG8u6tjPe6j3CXSkSs+vcrxvhdwY2BFgqmMmKbDXa7Nvhz5YZS2y9USINAjaFWulrWtEZWH0vJz4D6K4xVirpv4poZSHjSQbuOtnK9hhiV9DmyodR4NtXvdSyJhxxw/+q2G04fDPkv4+MPXhk7VQtuW4ES+KWdEFUwjw99kzpe75W8DBXebyBwkBmxCgrzNLEcplev+HLb0Hvxy85Gnp9ApVQKPViLYDLywEta/Mx215PRZFJZOLqahXR1TF/EhoxpRb++RxyGwaAxd/f5cLevjgnXGI3LwVg194mQlyDqJ+IkXPXcEPbQzIfyHWas6u3WEd50pR4ClhbXfOwysrBrrVQ38GGBmE/+aS6x598IV0jHB4MHfLWHcKAN8OOhpPx2pslZL7xMJ4kkIbaUA7ERn1ZCAS76I2XwwqhgxRRtfnQTjGXkNxuEKxn5HIXJ+EJS1FOTjOD5j8fgQlVkBZp/RiCed0rFNNW38uVnp6ZMR/a6eSO6rL0dz/09Qoidy9j3o/Gx1q7HKgAjJnWRBAEl1P7KgUSBJjjFncwNpScpvT3+e3G3QZphKTJPMF2KncV7a6BBFEoIVIyUeDywiz3XBjLDIv0B3XlIlcddaKNnMn/IIPuOPuIkGIlq5BIfdljrM09ae8mtmIl5H/6zpDCC1u18HVQ6tMWz4m9eDmuHHs0NGxKJMQk4uFSzY+YIjAwz6yGhmxBS00Cps1D6nGF+/rGMJapWi1Qs40G685Hx/sKH213p32C3k5SVl9B1RTsMUfEXddGFrDpvgxB1QcX8itdF3eJeo28+qkcWSLL7IWY6io+IR2hX7U2vnwuX+MiIzBMRFfKbWVZo0cgbqklK9Fmba4aitUt0aGjV9RVP3qbk3N+4wF3RZ5JNPyM5ih/9T2S7ewWBGpCbysmIcS1KOS9TbQleXgNYJbVmbcFlNNtjwEw8il22M4Z7AZEb65hoawNZD6wYI28CpIEp0IjO6tBVnFBPryQUJLtDIphIxKWKWTWN4eFrhMFShyYw3Et8X0PBJF5gb1rVt9GWdjUHvTZGhhzi+ew+TmkbBF3UGhBpeJRcq7U7Up2+yFKxOovaY54Hv9RqjYFOSY8IVAutv1lmCOo7q0/LteASHAk+lcY/Ny2gGTCPgZsULLgF9cYxnfoWhedfVEex8NUn0ltqYklZMDCx0e9aYyjcKGLn3cIBLPC0UltbgVDPTEVd6sbMfihtoZkXKb7NyJnSaKatnoamGDsF6LAPQezhEw5mCQEr+cW4w6Q4GGt1PMUgK4wMtzNR2j+lU/BVoLyEnveX0yg7ISnzATxKxSOMJobt+FDBiPVpNgXmoMTOUxRuH9mTtAW7j6BSNsC4VuGNeMJSfDEVHlZTeIBRUUzvvmqhEgWpoIS4gpS61i7hSgvha83epueRf/EzYJ2MN0AaTITp2klp7LTNimNHMmndFXcw1uAyACCvWvshJ4B6kxULYTi2uUoj3lK8dG+ukHnotubDW8cO8yKWW14oMxhcMHZS1bv2l6SLlvDzq2ZRY5B70WCKyO4cVZusLNYNo2T+kUwILV/pdnOPxLjXerZS4s++EgZ1q26mifl/1VmqHmZJPFKHfHzyt9FhMj+ff1ublnNCov+5ryioNo7utW7YgGgyMy5mHZkzJQMWXpHBe9gRJ4yx5dbyAcz87OuhDUgeeh8t2qvTsYoy2yC/6ap9vlM6yGhtpH/Zq7nsuTGmEYUkfVOddfjxYRtrHRYvfYKx4xnwnPshdAC/HpTs/f3AifzRMPx3MvWBh7CuV9InQkcIL4XHLBxbn2IU318JV3oJJwGKCeMfPDjAoevX6VqNxgrcnDZPG/Eu8JcvfpAz08aHBjX3r/k4y7MOhrjfc83SqsJ52UXcNK9fn4hHHq+gjyiCFy8VQzQWXkCNVzpuAXswAZQKYHqWd+A4heDFx0qJakVQQe/WJLilvHLgxD4h3K/pM9BkW/njy4/fnavYIV+nbFuGKUnz1mhPZxB8IlZiRZs1X7D606GCFngu/ZxRbOgBWx+S/Z+phakAshVFI4dZ9DbQpLXhbQFy6IkN41avVvLHS98R0VzO/OFdOWD5h07h27HxLTM8WBetWDOCP/XEGW8Dpm9i/YlMmQdAFXULSKWDm1havYkcPRycIOGv1HdYEu5SAUP2mR9XaWzmTv9zg81nRRr3PGNC/Rx3ZQI7OErYVY2niNfgN8FUsx/rv9eR/u/yt+jWgovVVOOVEtEbSIDCd6tyuMPWNn9dGlSr1lC8wEVUB5ExI7iJRvUZMpYUUabLzJciEJ8HHOqBXvuhb70jw9359NsqTvq3vx8c+S9wRC3SEBUax72oJHWbi5hvKYO3JZNIL3eHlINnndFFld/DrB4Zmw1VfKniyPRXIqHtQfxAsMAsNpXWCaRYe1jMklIDbD0Y9gj0o5OJHf7pwaxAh96221LCU/IlGzASm67u+4bOh1RCFPMiXalwjFTpHKyfkpXGK2cU1C+h48L3cF6+ldJM13w01vJh1KE2kNknHTIfihZVWhm1SxIKvtC+pFuFpcVd5yRAN3rAmNTgsYRDnhKqrfvHtlG7idR2muQb1+NzrUUWI+Dy2p9dVQteGcaP7QHAvJF2HjK4KmTEWU4gNmFrG5bszMOlfW6JXKdjpePVyRugIcPg4rfgw3yk4EcVCHhoJTdJavwbI6C/hI5zuksUTi39QcEmQ7QbYcaT44AUVEIUAJzdT1JO9uhkyPjxn8h291qddlaZraMT2fd1Dag9uuAJT443kTloMBMSyno+r5vuHLsIEC6d7M+jiHDfV44RBMUR7G1HoLExziEFATcYdqxeCr7ln6zTbiPV84uBQUpKJj7/cJgr2aM71RRHu5z9Ay6VjNAurtu7MHHdjbu1f+HPKgZ7Bj6tWyU9E8Z01eL4I2JqbMafAhgzUgw0zakkhF27HquPZO6Wsc90M8ng1AfQTuC5qf1406io7wXysy6ATXddGdCNUlVNRja+G9gqs169xi6YdcX10ZNQizIEfc/0PssimMsxamqYhC1XH068WBzO8R34a5bbHDOTPeHNpLyhVJ6eJ4e6N9n0HS43isTIW7mEsiGJxVFUVB8M/ENgFFNDOJENEA0ekJhmG/sldRUJmVr7GpXgVK77YG0fYntPrLbylpd4uukWYesjmbBdz7T0v5Y6YKMMujfngcLkPEQ9kIY99wdUPpen7zMI3Zj2p+ZdYU4sUftUsvhTt3itJoDJuXZ0FahOky83H24fzHWDG1K6NJXTBFSpF4+7nKhHIcDeePYemtreClSLqVGN4dXKcdnQ27TJyS9GUlBOpK7xjJrZ3hJCcH7bb/PWWI2MfYfm8aAOC29G5nM8pkc6cng7RwbvTjm4ABkV1bViRs/N6/2O6pKFPWPHuY9zn8WTMPc2iemfBGRott5VksKTkMS5BjgKmURmjhCqa2Ms0CPOC9G5JfgA5TSjl7L6wN/btFczt/DEM+aK3Qx3HilN0g9VawJu3SpY8+7lvGKMMDzGRy5DnGHzqD6yrZH6bVU1EGAw5Ey2p6u/ZqjTh6n5e+b9XZuka/hsweNGr7m6J056P39KOyEztksY7P5wDpcUecWaI0sJP/97Vb67AbxiVQdZDdeBPmTLFgaEiCFeo7epVJPTi9ptLpE9o4EU1pGn75N6LZ6YYBZfmkQc/IkKUrgytBLPtr5J3Gw7fdB6Kvly3N3GGG6/LHIjnHzWq2HOAxnH8sVclYViu/9MOpXV6EAbWavUE2pcj6uq7gUPW2w/CowaWO5gt9PTVYVIAKrvAZAfaJxS3rEP0qFI/YQ8/T/d7d5Ti7zxri1QmlJBMi6FGmT0iLM8Eab/3FtEiYNwUYNqRzxnRtuO5Jn4rCFd/L1nyZXGynq8ZmqLyld1MskAfdJTx+wDYrc+yMJ5d37H1Rg8t+dbsizUHoiEmYDjcAK4iCmY6XPS/eLDOvSSYUVSsy4Va+/nAU5Tni0mYR2WjtpOvY/5rBhfUL84qbVUmDkgouNGEoO5AVSIS+ggzk78e+DlIEZDMzsPfVAq9owtimEommGei4NZFseffIOeclfvbLf2k7W5W6t5z8RLMhewswP4fgBXa6EDL6ULbo7MxwmOHa5PrnmvgUMkUS4fncpi0OhtYkJge2ACt3NqIfkq0TE9P8aj4UvMhc9E9eIsLU2L1DH35zMd34/naaynyz1tz4SdtgJpO8j8zHrIOD6cbG9mnyl8YlDI8osnL7N5g8vZMskfQ4EEp1VsTrrp56xPAVhPX9Nowb74HfhtujiUa4UOgmXdlvf/b86e7hXig8o0A0RBQvopsGNbR+631ga9sJxTY/CH8NEJhbyDJGtHdbrhp9y0ljY5zv8B+MgzXV+pofPJp0CF5pOK/NA4LNJYFW84vrubBEtAyYbWQsBHvz5fNJ9fS5BcMEbZEILUjgEdpN4STfDDWjWe8eN+LTQ6snw8gzNHDxdzHTqzjB7IPt1VOmMAE+h42xgIvkSUfcS9gVaRc6wEP+NmGqkivbGu8AcJ9GrUmY1cMj9lU9mi9Qtfwn2CcyAHMJqVpURIXwFVn+TsHbrQAzVOt+nGZyMQX67JKTy+tR/uCAKnVO20IwwDFR6aPyTK/EpcZv++Q0IXmRM2nrUsrHaFWOZTt9tit4otPc5E7bkdUwJpe92v2YyYF76M/AN1cKItp+9h+wXLKMtudzp0fuuI5wv3qNP3IcDuok0l8SmaxfLJredtP4Z7O1cBFbVsqale+jEiFbfngrPtpBAvqsngt1n6Oe06aQdjsgQBeVxTuYNNus2Rv0mfB6kH+K/HGety4X3a0MXBTL3DuridGsRYRYGkgRZHC80ticCbGimsfcJmqODEd1fPAl7myarSR5/JVnpKffDZTX1TGG3PEOSQsd6r1wPQOm/u1w18gP1mOyltgw/UpUbSK5RIhFkXfsTuBTx4cL8SnQutVO7FOB29NAkq9cDkHcIEpJjy7XWe7nua2la73hvP0rSj2fTygbxjDgtop/yTeO0R2sGm36fKXuPrM8nTgMCdAT6nPDtyTnXkaVIlHFSqN5t23tIwHRGOmeqjmEyjJ0JNayvm4y2nmrWla8tX3vUasM/ZRGG3S3Pj9TWFDx4ws/nLvm8LVk9nICZ0qYhF6iEc7ObwnhiOiSG3+lPM89j6xFU6SDjSpdgXsgK7SlzVaeL+m6xyqYfyJhDJnji7obXoPl43dZGYF8/FEaBGUGWrNVuxhmbSGKRl9ms3BC9JYV6or5YZmlrmpPeXM0HlEXTQMSo2vQ6mDIT1mEtE9In01EFrjlLi9rU/7CpcRA4Qbvk4BETypU9vUVYBNsBLYPK73BlIH5DmuYj3JOFDhoXxrDQJm+Yj2jIupBbdWdXVT9u2DcAd83i0eDsOr6wKGTsFpnZuvcXHa7yrSGRc3XelR2UYAFlpGGYykp6rdIUTpG/GPGDqDumOYVkAWCiMnqAgWD4G2A1TsdPj3/R9W8Zhy41WLDQoPo9ohM7Sm7rN7BQssNrgWaNlhtVsSTuYl4cuD/OqZSJTEyqUkY4cnbMHT8lBWxl06/glbfdEXqNkcA8cC19rREQrwsW9Fc8pGABS+64YeuAmBs8So0w5c9HUp1wffFsDapm1j01HbIkVH5OV3nBK6dvosHHZM4JjU0mmnXu4jBY/ZEs5Jk3p6kDLxkGvUqF1bFLvHDbNOvLVFbDujbeFNcdRljOKH8kW4HwqnMVl6kMv7GbFkkviA8YoWO50EAI8f/ciVm7P3cB4yO50IaSf4Wcu06lKdkpdiSIFJy9EV5CLM28ZX+wsm0zH/Pph40qWT3U1n4Lr+HMOykZB6OLA9XftLUY5DOC73lXQ7NCOI13FRkUfon5MUhAYVLcwV2LCGydMumx39FKjCc5llajaGbX/BniGymR3LrtOz5itN96c/S9xBIDtsqKrRba4c/OCYiaLtTuLQJxat/NChA1ucTIVqtzownrZjQTregA0LZ6FwvKK3151RwxOP8mgFu1rZkvzQtG/QG5bcc+qPmGCzNZWdNGkvFm3npqBeZEDCzmWiFSic08i/HtzX57xP1OGkfDuR+Pgb0fUkTgaRWIpF2s5cRK7iE4K2mU9Q1LY+pCBUmpT7kxF6breuiRyHiIfWZyufUkYuKZFS2oAYwuBLPVnIdaQvUbpbQBAxLxwzOyfHIZeas0xD3Z+cD9u9NWSfJYnIwCC9a1jyW4fsjfKwTBlEA+7JrbhbrES89SB0rF5/XUOyJuMhANkTitPh0vJYKxTs04uLjGPdbVOqVGVwZtFGtT97RrMXyJl7y+E956gcTkiDa2h9vC3YXFbWi0+bzF9aCAu5VHuxptAcJ6GCykVFXzJz668kaHCRHx667URX3eOpDDwG5EHgtkyonESeGurbpb7Jxb+uumfH6H7we/DiY3M8zhyLoITUreAf6H3ea4Jov5yzf7JCsuDMZ3ds+gwCKvn3LySoMM7/9NAzQ2R/dE2sxYtBiA/m/EP3QBFh57bIwfpQ4RtQLVgkGbajWB02NLu5mFbWCzKBmAaeME0Np9qTcZ0aR0JvOcmoE/nnhZwb9t2RDenDNCe3P/ymqafhrDDebPRXKIZn1utUMs+YuRaMavxuNSZe1cz5tcQD6nCMzFQ1zboxlNJrl1SFH1XN78b8gz1dTgFiusCTDQA/ANndhhwpf2gjpjpLHzHnomO3Tz0vPHcb1mwE0xbY/wNg0xp+rPm1RSkaw6fHCim5cHLx8+ERbwyV/OZvHllPeSIO0F4pcFPdYHIp+XoqdWBYFWZxGZI2B4CqZKoX+SHnSyGicdUKEVqZWdlvUKlLrzt5f3hOYLWO4dX7vbgTKRSsPNnPiVNvk2pK/wu7gHDstgHTGuuCevQX2sYv5yAZ0cAcySVWcCvRWYkNEcITizwYLNAlsRVH+jozt4fBzavAzuy2TuLLQOKAG89k1iXoWPs4xmis7MlVkXr9WcctbBNX7BNIuK9jfDAdv9TbOG4RowrVFoluftKGmW2quFGE8usgZRqjA3ajksPJk/aQNS7VaZGf2lnJRjDhbtlFr1NjZBs6s99WrgWm3Vxi6lj7sq0kgA6FyZBeSPTKpZiqeNr77JHrMMjEFXtWfZDay5g0HtxMz4i4HXgHqxOPdm7HA1GAC5WkQDQxsPib5vBCZGhMFaV78n7tk4RbZmvueB9Bdhfs5uqIfVINBR5RHTgBOFXmKDcQfHP/3X9/PZRZT1o3UBuV/HBSWAMefBZ9oqceDOnxYk49iMMD+5JrFV7iNBwdQH3IZ9h4N9Vop+6cpkl+TtIeDNsA6V2Bqq08u8qt7maqXGQZa7iY/W6SGwkEpAXFsBo0XFRFwtwF75fkgt74b4sjRDpxV/1chF2IuGA2pHIz+OC4KOwhylBPP+Va5NbZVCq+6PwOgWXATdjALrJJPWjyBhqpEmVmqa0IOaPLtBNCqaED6yjQFQ4BGcOetDXHnIKTOkl8lFFnCE986gINIE9MzCyIp+2M9EYsTpG739SqTT4gZnRnnDLoynQ/l5J8oA8Wc5OcLR9frZSWGeVFSghLogjAwXpYuubhUnZZuv6KmOaShnwdjhfXqYJvgSV/jouj5jDG1FsLl8WHBim8SfiMr0C8oNcKb0oAHj8khoohFSYYrl6+YQPejRonXoxVngEK1jUm7XFjkSNactU26l2HJSCDi8jqHuQp/abfxuy4MVy/xmdg9bPsD1cGMTJJfk8wO4awgJucaf73PCRV1f0xQhQ68oOb1IrAX1/1bewXAG/6CqbVP18F1tV5cX93KQX6KBHZrxQCgqsO4PHb3K69lIk99HUuPOcGpigTvUz6BQNoDdZ7ulwga0oEn27MFp+H+gewjF/UfcaRvVBZoQYupK56spJV9WLpW49ivtoNigq2lqicNpYWos8YgAmbu1pxa3fF+eziyic7+hgJGnKpgsSEXaPq0nVzUasHqJmHTSgTUvYq/NHZK1vGmmsr8yHxqKbmhOCWUofmq8QrGoV2fCM7TEe1CzNZcpR6FBBS4Sw+jAc0JA2qUR/SfQyZYDOnHvwQ6tuoxrg1NG369WSOSq/ivZLIkVy7VeJhX4J0wu8KnIyjLFPGnLUY8rxxiB0CEk4jzl2UhgIC0FmY3fv25/CjOj9hLhqqqffs5SPuix41zpwTWjQC7Nyf/Hb2xRlaU1Cc+N9d06b7bmgPleo2YZFWdaJHSiU1myeIVadv7qnMcLehkKY1USW3pGIeoU3OJoMGddPd3jRDNYXJjlMjZrKFzAxQ9HgfKrYXsG2Qjk9uFZQywbIXaoDBO1VnYCpDzOHnlJe/cjgGWxSs1tQxscqFuM0pssIDkCIGpXS48b1OvfFCQKodmY6EEjfiDomaAvqpYPr/CQLlVCZypfnoR6bIVgZ5nnDdPtJeR66rolabBikYjjx3Ma5kUneuabtQxtOKso8pIw9dTD5Adat0SdiYZRV1POBbuyTsyTCb75KFpDmrZnP6Thk4GqpCEyXdkgHlRqIaWSNO+tJty0XqbwNr5Yk/7R6y11uf+KQ5WnPQwriKAV0galSUjWQFPhDRG9vLiaA6hw0/eQPtZI40DzDyN6nNKhbzOWsw2ID26KuhZNxlPWLroO8S0g070n+/3BYc3YmsbNocj8DXTkRzWzUGX7tiuHXt3lFU+vgwa1DuFO6eA3ppw68OJoxEfh2ZYC56/EaNHbgWeBO4FHKpc/nqRyeqVh+hzJWUgBPc29xfg0PX/sqZBV5h/8pOKraLIsaSY99GeehzcTJ/1EmEdFBnSEo1UYhuEjt0Q+umrnTFhapoEaZGk/dLvVYGmTxzMY9e3jfKu1xUE9OsXl2fAUScaDz+CoflqWMmMjnVbZwvGJwpRbTMs8cl+gpne8EKVdj79r8WYqYmdzP6l8ffCYFEp9v3R8xvsL0BRadwMLl0FJLfAIjhCFOBhsf2UNFqYGybPSt4b1LByqpsikpfPiCDm4nwUGmnVfGi9J2eMoptpNAMpqUwAacxiaOdVQKyTwNFbpRllPqb99HIAJtTW6sLwzqc5bzUoO9i0Q8NTnqpExfVNcUxBccL25PKsqi0YahCMhweonZ9mFTAxhlgKL6o/wNaazqfdptDmjrBkxvxHTFQCN0Avw/4G6axCMkxa0dC81+IyRpUeB23Fs/shrvInfo4AiQYPJQcZ/RqkyfbV2XE2U2cJjs6tlj7/5/ciRkIKiD1jYHMFqAunEpvDd+Rda66ijsNtKLlT8OAi/wxGt3ow1TvNWCaQbVI59Xj0Xjj7pjbBW5Bnc5J4ceLnaHcOKY4eW1/0JTQIUcGoZoNUjIZ6CXrmP0RCsBLvZjFkjTfPqdcVzz+Ve8J6R0H4ELQYeiyzhLV4cExa5C0qWtBlhYB9SLB7hzwY7RWmmdo/1Y5yPpMexVGcTUG0k7ob/vAZuBU8oxT5qfFov+E9Hkc8LLlqotJGgoDA0iQ9EzvIXmSZV6r45LcfT/IBCa/LdMfAb0YrJaeQQivIvRFn2i0OejDLOP5tLst3/SijG5tebYDoQlkzoCw6i2+LOPiLfuaOeCpIYAVjBP+6YS71zfa7gKRpDAmLeTw32u5XzBUe6R3z1fvqOtsQ41VkVk320ca03hHC5ypTyAtPVEKT/JVVn2O8L7M1iQoPAVdku8pDlocuYNC5PTMoehfGI+RqucHgCBqTAPCZMI1QqwFuRcpVy9mm2kbhKiy/wNA0l4ORKMHcm9CNM5or0CbNOK0so4Zw8qHStddg8MjBHa/Wj+uAOqq5oII5ayNDZ/lI9AAvblTDYo/0GMb86eUypDh9FURfaQse9qoTo+AxuElr2WiCR03YlmNYY2vL7Ftu4r6+uXGtMuZwbFsBF9lfM4gN5aEyjYfwQLlmtuOXrfxdIRi59SKSVQ7o7o8igRj4pAvouEbvRT9oV7WqYC0NrAqx/XxEJEHIFaJlgqDCEcI7abHhhWLd24koV8CZQFBv/CuKlEJPaIlHXkHTQ4dh6yPromLDkCCKxwV9lGo//O9ujHBmi4CqvOV6hfhT0FuvHbe4/w8wClcJnr/iIQxbIWk5Z5pjJJ9j3QwcXiEERdXydbCPj5gYKJ3Vo3wzG6Arpyb1ZUIEPNEcxa0w5Wc/TJcF1al4stSkkBlnwTE//rC2nEU2zlQSr9cPJ5OfXvwIG86Tl8Xv0Z34FpY7JV6sWqfypui17ve1UY/giJmrSrbpjzf/fZBNqvcix6Yr1B4KNSoJ1flD1VvnNvlIZx+vOFlAX4RT2n7mJfISggNpCttSS5p01b1eqCM/Pns+VnQ2VJSmimL5NRsEj9GJ2VnNsq6LvicVAVXuBWtt21NSQLA8cz0PoicGldRD3hBnZ/sePTvCx5pQ4V7CTqjsXJjrqrI+4QSU8sfO43PP5Bg+MN4Prv4RAe0oIGO0cqThIyV+jwR41wHBO2p25mrv0JSdpwuzSm6PmQ3beM2U0Pk6I0k0CGjGnsy3nzE+GbhDoZULa51CVGaiY66i4HEkf81zhu7wf7yqYNhPvmXsNuIdXOZUr7OSJoYLM2Q5PqVzcjBGzCY1jhs07gsls+OgoUIY8XlWjUS3v85RVCspDODJCoHa2v6jDq5bemi3rTk2+R16u1pM+H8UrWheh1PWSWXRLwUy9+dNp9V7MXq2F+N+5MEHjMGtHotmICI+7KP1759ZHNUlNY6JzWBQOhUFPWxh3pg0QrOclLDoKqdAAPpkvugQjoZBgtOLgLEfn5exK0JB7W+o0bgYXbG2c7blCv4tFxDd5GTG9lNgWskG1vG7X9uLF8CjQXPPVJSanBsBH+qA6101K+kEGkKeM9UtTToVvUk9A9W5GhIkaXC/3LYpJtiCzeddflByK1OiFFJkP72RvglhtnTl5OC40HZJyHJVRs7XSjnHE4x6WJqIWVxBmZnAEB2gqHUXyocdGbPbk0qV4ox87YKFiSAwKZFILSn02BsdsKBqpdqjj+YQyHhYj3jjjZ86Y1fnKQUqow3dcL+EKt3O+lgM0QQKKgeN2DuwhzLsPf6c9hLQWV9vaxj1tFGlFB0C6YA75EWiYVfZbWGwgfERgWYWkJKNCpbZTzORW0ORJXJEIcjagkG7U8fY0Q/4kMgzOyTuNGy7rcPFT/1blAgM8+jFheCxV5h0/AYmySlMUQJQ0VFxIrV8QGCu9xPFRqJOxDSydkDqPpL0AW2+ES/KnDD2AV3ktNifnzUAobdf3tRajpmM4HiHoaOldT5udLPss4fkb4O4NU2xiPPGQxY8egeTEF+tfgikEwbNpS8Rx1qKx6Ob8brflocGY4ODn8RallJ6SccsNbCVHXSK7GczJtjK4uEv6/SYlUD/r4tqbf9vgTStZSvv41cbct9JdgDVbLkFQJ6CiC+Ed5mlQqZx5Pj3VLfKF6EF2YTlj/isLrMDHW3k4I1snJOPCtyBP2H0uq/X2GMvS5y4np5xHY4BY2gk84KqjahCXinTKWz4gM2Nf4MMhFThhPYif7+V1Ez52Z1e5w1o+nWdutl3i+FYaXIEn/bXPE5e5l2kdBVf3bw1a1U+kMxi8fO8TiETx1CKU3NZIBk3wKE1ERZ0WWHa/TETD4sAsCm0zX7EQzx3x7thU0UxXJBedkUUZUgiiJKVZ8yE/km0uW5gaPTp/Wyh0rXoR9yU/ehIKWy4J86pz4WrtB0eeCRQCsG+WczJshKSZtOo8TgiSoQdYzAwqhMpYhmuyPCvZ9QBeNctNZxvUsVJvZIVlfM50ZvorHesi8Z630K8bcqd6x5Sioyjr3TEnq/vRuMk9Fy6S1IZ0Uv+9DDn8qJMoBSPPXZnv4iqOY3Go96uxgQBOb/a7kxz6nfDo9U5rvoEIpxU9k+cJNgS00l8iaCtRIZHO5wRlzJVBLtl0pMD+oF+2mLaeNZ39j+DVFE8HvDlpe5nNZY4s5EXPr52G0Dp+SFhIXV5rCAdgytNXp1fv4T4DAKPD220qWGQQU63ozdpQTd/v1/wprmyVY1Hxc/sHYWbBbE3hIX/bYw8owhPDgV61ktxvEiks1I/6jz3BRUNkhzPlhXgx8HnxusEOKn7mFbHL3sGH+TLg15XQy+8JSTMAFLcA+Cd9SOwKr6vREjwO9ROiIO2EGX0rp4aFRoRJMcoS8XohjylXrd7Pq3veZ0pkCfGQGGz9FZ3YLzU7qnZFxcUe/dOr14wnaPmeAAtbzCLpxVTTcN7n6zJfF01hd6kf9RA+oNd/NGyZJ1a8GoPlyfd5zIqvpsbvjNIG/L6zKSJXQcW4GdgTftuKN6rx43OfWCe26zM/rYIbtPh09fJJylrjsbJ/EKP0H7sgjBz0g/zwClZIqJLiVrg4y3tWXwFJC+gl+qWCp9GUxpJ3rxPMIX18j7tPOpJ968/gQZhpg23YIJlRCjyZdrzNEJTvw6O+sgdv91ULC/ekwx8fMIh0jArqlFayVLIdeMftDpQtm7CpSAg/uV5XYDhbrXIIk20qtgiMpRag854ePeJ+9wNKu6j+eH8ihvmFFQxuZktFUPyvPiC4K7jGI3aLLzPmqMx4BpC6TvZCq38URplEPxx7Xd8p9GjQm33S18isfRgPfJOX665jmMTGANy1s+mGRdpJNkEmePZRG7h8aF4xSkdtKU8noBth9ce5slEOUo2NrytFOTImw0PysZE+QckI6IWU0tVSePYyftcBDshqZPdIcOfpQOc/wUMOUBSVZSRrsy/5Gx1f1ITYk4IkKorCybFMPM1mLiv9esFBZbkKq/sVoQ9d02ls7hVbtyDhil/Do8tNqb9Gza7DpHVvQlOGwMZGRmFz/tYKxJ6mMWuNGbvMwWjLT7cjxi/ctc612KCYnUf1VWpjFugbAwBuY8iYmVql5N4TcOLdyzInuMuX75j2cJf36ht7SSsvK7YJs8MuU2brxgJI1MFTQw4ECqMXLinBm4Hd59xaeEaHW/D3e1/vF7H8MDQWJ3zdjUH5RGpPE1HIkRMhuu2W0PcSjrcHifeDkiiPrO/0nwvDc/iGCKW70W/rPkRKsz8NKKMXGHYwWOEnIydm7cSQMyXrSYkotWqM2AnwQb6uUsZEJ5NZMFywcCn6a4fcn+S73ToSa3NsCFNwqdtpt0IEf1Ejt98a849szNStf3vEuLrVOpRawDRCReN2DjlA0kalNKOul8+zS9BiiDvVvCbGOcZMeQvJM5cWH0tMy+B6jJXObVaoHOS8KxB9mBHZEgCido0yWMLuLopL14ZMUgyfmxaItoxjoXq68Mh5OizvX16tXBhUHGqe5zjZXbakfGz1uXhnIqt27vxIuLAP6QrJq4xFf6IH62t3NOoA9IcqBq43vo/A7lWgTOJh8g4AK3IDhHgKsvW7Ey0H4+919YyElbFo/fjVFHKN5SOhFvIHRSHT0+S0+HxL5Vn09Box7f8QqWCHhoHshifphZFL42E10v954TEC8ADKzzZpU3pg+mDiJsu0yuC6pSLGS+kWD/gRWuE7reY8DwWSWHuhDOPXkkvjo4WXHILl8UnujnGjL8VxXk4I/0iGWNkrc7gHKHxU4DXKnpFj7uqQ1q0o6vHrfn+D3IyGs+xZrA/9QH/1zrVwbMWghiH9KeTBh8CSvu9uOwXotrDL4jIiWr+tJ2Nd6ZxJEmiy3EqVU1zEqSDLNDsGeh3QGDVYE1vkej9Jc9dUNGGBs/epgM360cqTfMUala/4eEV7NW4wJQbQIDKFfivIvmO9R/apuLu5+iWSsCb8bDK1641n1SKLIUykfzmbz1qR4Fvcx5iFz01y9y6RQapMi8y/Ew3PnBtumZKj/HPmI2ZhTWc0zlvPAVob2Aac2G1GGswIGU9MTWo6CQg9Gsd7L0ek0vyo9FpuYltDnbE1IIeQrzFv8eaOE7eLm+a3UWgdcL8gSdXZRo/OubceMSB91VoiHk4kX2AUWXR6SwO/fW1BbCcRjYt1x6Shfzhqgx/nj9LCa1JkM2NJVeaexUNSiY15cTe7cUHYrPv7Yh2inIXAZpfC99gAHQeDHRsXAqSqFgDs+qn6+Fh8F3uW40RjbO40VT+O5PJVPUvxFaB8hpcd4vJRZrxGjJ3H01NjCr4mARrxlNpNoOzMfIw+MqspwJ2JsKB95UqGy4Xt6xHMBXvvx+gWVY27VDsl8nxm0fexUEI9Oykfp9x8+Tind71Q4gb6MFGnj8lBkVxc9kWxVn3VQiXWlETve7Ts312TDGqVaRlhgExwozljM6FS17tScI9MWUfxpJn6wlASWraaHkhSZbjnuFs34KrjTFJfGS4RQF6oOJiKpQugIUi7j/kyTNkezzFbpchaJ/jhqYCJRnVEKw9REAcxKPeZh9LKNIa0g5vKe+j/IouAAVhTw8lVJS3ifu5DsEn+uN+aYgV+KHs9bkE1N1km70XVUq/toc/F3Ex7aT3tH4Yx6hi/ZMKWhs7tVj2coMdwID8yBcXMZlwhlbVvvNVVcTwNBZElPHIVSQGGxwBLyrVaBuOsLPt508e/UbLk5C+/IpmsM7I0Rr3KYgsXtuODSGjRmD+irROdAI89cVBNE+5AbXJKdkQKDQTLWjYU3Edex/K9SLmQuMyQD3TTfiduUNuPbTMPOKVgubRVkuJBNkj/wrQ2esDEDnE2A5TIhyiDujXlfpVadjE5Zf18NJNwZo+fA7NT8BjoM3gvVlSXgR6XLsRFTt5xNMmhgPXdAcnbFglrhNqvKrzzrPKLErFGPM/fS/9JalVmTMoytiJUIq2QI+M8GIQngGKCcPqk1Gcr1u/hW0rGjt/iXDTfeyr26J7SSHq0RfDzYnA1EyDznF+bNML5x/aV1lL2UTUWo3GTevNohjEXdYdVM9hheZpAOhVrpHmyY2EgkQ+GDxwdeGJ65Z16JnCDOeVGBcA3ILSFeWobEEt56L9nvM/eDhTQDT2CbVZR8vVpvMojRVNt34PJwP8uSb5Ak1OT43piOLxBsAOc28OYPfq//JdH8zOBCjdaUYyGl3z/33x4BNTM90jtYzMMoUkfP83PifSOV345/taH466g0QXQAGGiaP58C1HrLFGEvavNDKbu/dDvpiGgyU21WRad5YzBFVzme1FrObYqgNu2Q680/s0qQCROT/MODIYbda66wMHUMJtV01OSWJNiVUJnx1CymAh3Gsk8Vg8gSR8dVKHtdZP+vxNaPJpdwh43GZI5xLRi44Zy6ugT5l917w5dBzb/5CJ3WLp1hvmRl2R0T54OKH98EQbsVXprg4nRKnyTmFYAgMWzfE7mV00vHRqsiRmwyP318C0HrhcorWZkB2QXCOpbUqsWztlWA3doGRm1TEZkNLxo3e9h2HjVzPm5/WRrbPvecjKz5iR74nGcB7iU3xbcCQfUhpvVLGp/z0D2s5yNwyJdEPtLoaY/SgxY0z0W1HodxQXzKtQslDNK7Ld+e+hlyZx2cWa7EZ3lXrH0MwDTNubGr7hxQaVHKokFR4ubebf2RGNVinnSecuLX2ieAUg8KllMI28r7QFgp5kbRE+juqYHCRWNxg06vKSQBOKwbjTb06cFuU8UutCOkQ9FDShAse5ol8aJQGzqURjG03uWzGGfyGeDQCeL4ukBE+mlE7J08vnVUzbirU41HLkBPaehl07u0kLRIR6HcDL1qbpSCty6NMQ9fEl6J8C5AMCcJsE5/rQE9jheAmL6Pza9z5rjdPxKFS1S2iLzHNX6VPuQ2QuQhEn3GaHeYLkVxpCLCYFui6xc+fgqv1u47sTlFfM7BCiXsWi178PObAhn+ElmTiFOJShGhTvHGCRSaIY3HrZiUuc9pDUPIIckv/a6SjJhLr7H62KlKXlMxMgBtvumJgUqLULI1cqjllkTfHPwUoMkmouU2aPngNuofJpjOgNoNMaO5Q+lQRyAq/1sEGb7snxMbbL82V85tq5aLmpFU8UflkRyIXYBNR7vP/E+Cw5UdpW5Kd6iqm654YrauwG7w01kXlP49S0vxb1os1CXHGZHi+pNyIJZEYGeMjM/nadI/TGWF2Jc7SVgZsMfeYGGlyhKzpyEv1qdA3j7UeunpWOg0wclsOgMT5RNzeqYOfYvBl8M0qS09c21HCUE3kKTpoKuwmGkpWN1U2LzXMcqtLl0W5xm7ww2CThNc9LoNRxwxAN2KxtNOcwnOyK5mBVOv5U8SOkEBlHHv1EwLdDbLhaELvp9Jd+yBaVopYFY/U6LIa+M0a5gLqNZYFzFAC3yVNB3hhE6vPeM0tF1XMqQLRb1od0VSYj4c6l6FWo6gti3DIpQjvS613DKQuPNRa8oBxcHU8Q8VzTc69sjRmwrtKoFl0cUBYQMK8EyOzOZsdpSNurmCTwyPhPyZp1cmV8BmhIjvUGb9ZMF79EODRFrPpPuDcoeZ5u/A425X2oUmsuOjHQnUB8yJ+Eg2OdSwCAg8xUXQ/j8Zjyra8O1jgpOWs7A5+jUrPt/F2wofBBfJ3mczllwv07qQsjPUI4lxB6O28bBspuHzhgNv1VbAkmsxGHPofCqB+5BiGBML+xJsJjDnVDtuzHDIA/T8cdbwxlB1u4AUvDEiMzdzPLhoLh/cJS14Jr9DO/CoI/8N9wFwPL2k3LjFJfmBTBPne8/+TIX30+BXAmyM+f3SMB3M6plql1+bwnXjTRFbgKIUg1bctvw49282+gfYtuJnULlLt17g5cfrRc/gm8FBXMj92eAa/VEiIp7CjSbQJ5NXkoGKRjamWar3g9mxayWsoa3FKS/X3PADSD4pU5ND1GZOKttTyDyvWcuj3uQMcGd9GocjNB+/6rqvLRavIYM+uku5vjZrMUukDwdFo2uNEXwz3ayq5O5Hb49eQRCkVCCGGDDOx3kmqNzu4G8ESfiDyblbkF9yD4vhZuXAaAUN9xR3RF6/qZ8LqLrtQnQow63c3IYed738JmiFYFdo6MZvQ4LXpuFsd8HQO1YXs1usFstpaHh3fb7NU9Uyptm9plilg+gBo/7Kwz99x5wuGZozCGLdsMTmcbDXZ0a4X7Uy0DCDOPuLY++SPCXseQSbJd2DG+UoFUgEvbh4vbW+dxhDCWxAvktgx+cnHdZVR/0m+WCXKL/gEsYZ9ieGyZA1aiECgP3j+/AlkPTmaCGbjOjsfZTRs3cWnWFtwNjHTNytSu20L0VQgPQroeIY+WacGQzhK3DMWBMQKh1CGL+P2CO8lm93bKqMyPj5QTEPvIBVAzBnVP3IygbmYLdJb2ME9BHUZWpj8vDWMz3VBGbmLOxhoxm6tsJjdkOgPwqq/B7P0DXLbwwUni9m0Kg+e5fP0SdGJLjDSyFYtX2z1SNi6lh7fu7xg9MNvcVeY5FT3EewQWhPFsUYAbyThvU+HRODtXC6RyU4VMxRtjk710UNTWNWvPTvAHajiuDEUOenLfLH7FOZ09cO7qeVq1j3FVetyY6pULLWlrKn127sJ+M4YpNpbFIp+PdhE4+4cadF1en74489pZxYjNlKQXSvPKJ9ApOJLjc+ZAWCbvZ7blpTRJ4IZNq4mORsMxuwx9SaYikegU/s+17sdpoziYyk+St64lK5rXTgypnld2q3p1YbQJl4vAfAVHEuU6kam1UfcL4uVZV1i2Obt5q19PXDt/9jVg0cP1gJcWpMCs5QlxjXY9G9H0KGxpzKX234zlI4x6Vx/dqK8zmMC1DFGA+QOw/bgs04vQTBj4n1V0Kzu4soC12R4h0AkelwAmEjnCIxNT2MCus0I7aWFmjmjlNCSJ3e0w4AFhyip67UppBfuCAkiW51n7eR2oK08cGCpoDQEzfOy50hBey9rHDXOozNc0zXcyrcLto3kzC65Lpfby6/VayPAk29PCnaPc3uZe+5Fhxu9GSLT5CDsjmQi/obhRiryIUZpsOvY/fvAHy0NOZBFajIr95enh5ZH+f0anGJnLhGT++CxsroJALGFOkMYbTvlPhUGAqJZO142G/LTjugxkmtXL6XVGtR2SztgfEd0Eq4eBTc4pN6FLQ1NhIrGbmiSrrLvwaBGklfZEddp/z3krQ9dp9CmJW8tIULyW3/RHRMyDC9TQznXIw5OxzvDpQ6lTJzl3X/UoTVY2H5R5J5zeClfBVv0sljdBeZ0Ws0BpTSMV4/JYPxXCD4Mbx9l1E/MgvhVIqlCyuf32W0EEwqZqSwsBrUhxCmjT6TrVM2SkAulvj9EehXeMPABmiHjmok1yH67qlfD9z/k2ZfQyV1+eJKvp4xbqs4WCWow7sM8K6HkKOHlMXFc3Zh9DYowJzyqCgqxu+QiuZ13Ovqcdkyc6xECnBXSZTHNX9HVDymD2xza0GqnKL4aAVKpfwv6YpdwNWbKSzbpcvC3D8KlTH9+HOTpNVd2jEf7f6oRwBoR+tHtzN+uo2qg6FAjgbS5XfTKt8AwCkgANoMoj4ukykPaU7aOq9oFJZtw7qKmodKFOvKNqix/gCplG8uHYHGo2gNXJrkJY7/jR/wztTzhzaz90iO7+Q50Q6OuPznewO0n5NltF+sj6wapPyhD+ToiTVE7rDSpLE1Kxj6EDsn/GUocv6JY1lzsObjy71EoBAalsu0qQh5sy44qdCitSumYe/xSEsjOo0bkbMJktEnjyiLMy6725LAMaydoVw9iMV0UMUX/HtZEUSlTvkS0WWAv+5yZ7EyriuaQK0EdKmhtqzpK52OLQMsJuyS42D8sG7CGPI5EAf+Ii2tCR2utec51DIziU7MJRttbAcsfDO+ZffHEAcnGH5tLOw+9aP6AmwNnMZNCgwMDrxy9EeuLHU/KwSXm7o4TqFzPkq66W58n2f1E+lBWaI6SNU/6gV07RGHWt2L+uFe75t/St446jTvJJaRwvCUaq7QP9+icHgFkEyqh/pbxKgc00Y9mQcZ6JHB3mL5Q+7f1zW1vjWr2pTybd7pq7yQGqYdTnCIbOww0rvAK/bXh0s1ncZLTpyGiZCdbDpDRwgBxLjNFXrB7x7j+7JUAolgStk0TjsdyuTYC/ZBAC4YzJm1cWpDOoI9F8l40y5S/ABdshWWYVL1haNzfBM0fkYoKr4sXQrOXjwLfBJaoOQF25FJEEkAJlQgHs5pAwh2SxDQcszrP8Qy1bRYpKhwGlCtWQFWCRQCc10UDPNk2tqhHyrWQGTsH2TeSrG8KVgFmFL+vO2C/sN0wjll6rS7fhZIRz/vWQUVk8HqXhdz3t9ijMm7MBSTeh02Flo9WkYX9Ftg/0iyE2oo2m3C7vZsHRIQN77TPMYl0JhA0utEs5LVKwBOpowuioPUQVkzRtkmga0Gc9woJoGjFZ8ZRJQAQy5qN5F3hVyZeUM2lMPa8XdB2HiBGknAOSszeva9wwFQbqfsgCe7RRHMlwYXk0os0Rg96zcaeRnkohmP7JzVadvQTV4erioUD5aGA4n7QU+v8r8wSlQZAxR/ry8L00ocFFDSQ30kdThFZmT5/s1UE7TkGigX1StHAjUdXfhRdVAiGFpzaBVqoFnzdYyT4tYu+P8DPpt7MqbThHg5HA3RwJNtFHall/rxAAykfK1GcJeppl/tOCuMNzPxVu34H1wRNCAz7VxCfIJ44UpGv/7gcEgJmYMF6LDfLax1YdbbTjAGgzO+zZmNxJ6c4UJ0ZOt1WvcI6+X95Je4JX94sZgGJfITf0dnO9HJPQtQ2/0Tk08bxhdkhktjcudBIJnpUecZEBAtf38hm5z5TCwlzPSerttN3nwU9bnC4Bk+ti2XdvFaPgguPT3JUd8cM8oEp/zlc41W73r5KchoMFP3QeUsCT0PT4xvOqD+TRh0Vp1AvCFLh3FXQnB6jjIAict0TG1hklARgpysv1UvbIttrtZBJqt5Dm9LWxYGgZ0C9sTQ0zbkWXm+zb8V5hdrfYAP+9NLzOM8MDGtWSqrQ5KKQTZGWNZulf2gxgYixm0QKDhB82PwRHK7nvS77+w8hRr18Ee50RtkCqdMCjo0Urb0umYSt0S26CGW2WOErTLl64E8XoFsyzVg+fYzWXbROdpzxgrJ5ZTVRVVKCLjO2MugpS5gnsLKbWiYWtpv000WJsfCzQjRuQNLldXTB2C/Hy5fmpow0o7pTPEGHRFCxTfyvlGU60d5mfP6KXK3gXUVnMeNN+Vzy6/Yayd2yYlG4wpDxvF6bsIzDtDQGcQfu8zj17FWpaXyBfQaoxjGJyaSW8AhCZrHM4jtKdwBt3IAN1mdC3ArTBdeVFcSbTYGnZr6gJMeWdMMylHwf7ZcJwaDknGWGeh6IeZge/O3cic6vXytEuV3WEFp6aMmDa2BYVhRmMM9GxOrIZCKv2FOGJ/Fy9tOkKLKClxQ2kxg6MMuGKcuEWpCyogrcq4ayOq81lyh9FJANSjztW+6NsilVAC8DnDR9Fmu8W3ypNsX44T1ZZnUta3z5Tp1QHoBVD/4qOMCrnxA7/aYH+cYMfahDQlC/DXilTpVg/tr/99mVhRT8I5e96PJW77pos+rb2W3BpBje0BtU1vp9kTkkIP0cBmGQrbtwAyH0GodNpeaWxtHD2rDbBLii9OO933Lg6vI7YCbHAqANJFZTOcdVF+HPvW3VhJhS8ctt6/zXmuTiw7cCtOD/tWoofqT7cqzYNNxHFCVI/5NrTUbXTuDxT649dnHhtBYWbnEsaHMC43MEAs/pU0hgy+7MkNXTskJIasmuvcQaVBwOgtG7FtHyMLsK1CPiqiUdrGzo5ePw1RRh++u3MJ7IokLF/6lw0ygsNeb8zXxSvfYYmP+f9pzd4/xQmKbCwYf3CVM9SraEBSwpEXeL5sAZbz7FYX4gEwBBQLcMjlBhxf8QF0jwhowVU+/JxIoS5fjZLt/AGO+rtYg8NEpvcWVyJSQ/YIOll4HNE7AP1ISIEe52APY5RMcS8iCL4Pe6ONmL875bzsXXL2Uxg3aBK8W5+ggRQi3rH9+1k6TN3O3HX4hKXmkSQrEQRTYIf5CbP1Fo2zqN2lC2hxb3p/WhSTrm/w83JfN4fBwgjt7TDRvC7hDX9VB9SP+r8TP2yQ7SCLiH0s1QIa8J1jejD+LtS8bw2GknHIPMgUFEtCDonRG+NyUvfOvy//N4Xl3AIlBTMNNZAH2Xh4nP73Nz0CjHZHknLogqnOYR0ALZtlhhRC2T3LMuevlW3eyojAdc51x6zPwbMj9XuRTuNpkZQTnH4X75jJhPx+NADugWpVYrJAug8SW27UpzbanKsOkEJoqXjseMNQW+RM2N+LwiDf7FcqTvbaAkwOeN3wQ2PqGhzMalXXJ94AaRvIpiC1B72AyNjIe1hpvUv3jNE6kC4rNGY/Ei42Gsb9NHS8vruQjViNHe1Ud9wZV66Qf1Fvkl719tN0of86szvmHOIs+G5RFjo31LviE2fpUucSifvlyBfJQhrrm0i7Y9OpdG14c4kRlKRNKPGPDQbR4Bkw0lMLjI4zCoPtp6ZmPM+SFERFwVnU0FF6hxJs3AvQmaC+ogw2hl48EGbozSBSUiWKQhAAjPtfKODdrmAGBP+LgAq6chohr0QNGEDx1221AoVj1Lnzr9o9NIE31h6a/qqIG6ysduwC4l7wBryyfcxBuVrj1Op/SThpS7zZrGWG2YFs0snDKGzIwHkHUJ9pUmSRuAjbajAJCHcZi4b4kpRsw6bbRahvhF5FTAqIzc8CzcO9pwn/XCU66kEm5GOzFkY8QpkQc2wSBArexdHBZ2maUQEyN84YnugcNdGAtQzlhh2dDmatVt2xuugbBLtMtCY7n5WeKcc3jAW/6Ron8K/k0ievLjfJzmUn0kknV5UzSkN6GJ9yPbRifq0OawfLTeHzvdObtvbrnOA9qR6EvIh8gSgas7msumaFm0gEyqL2NjVzS4WRdWNjcVDs/Fbyx1ydz6NvN0VUpdl8xZxuDroXPpvAJIgefPZPECKQKhKYx4Xxe2wlUAz+6AOO0318mOeEWUlbS5jL1m5bvjDB9/HAaEMHKOLRwQ8tAgQ+2AnOhYocKoYca5a8/gRSeN69g2K0qxU+YDoIY19rALDbRL2bTb0WnM05+bDQHrghN3s3ZT4DQTD8OlondVqx075uPcOGIwAgqocLfth/YH+DMd6nVbI4a76LOuwGowosi5sNLZrDQ1uAVg0bS8UeTQbq2EimBSikFgEX/AipwFLH+kYIO9ycTcjh4QechUiRPxKKEtu3ZM9RvApeUTn8mF193SUgyDDK4fvc/yUV7muWFJVVgXMDH+GlKFgCwrs3kp30cqlIHkH3vobTSOrDzPUZ7m6QG6ZjsBM31qAvbgjvE9nVoD4t34hImLlEgJ0QQCs3LKArm99WcgrG1dFNHxqTS/CuXj+LMgq3qiy401rdccCg/PfOVSYT1GcUH0fR82uSdxBwVcWKl7H2K+YRBZONm5EDJeOZ6xVe3tnfv+C/CuFFtE3Su8CeGOLEc0devDD08UB2H2wT4DuIbm7mQbDZpwqa/JpcylddIKX5AFjW1814oj0SAZXMzp+tooA4G3rSDmDPGfYiFEbqd3UjxSewdFisdbf7pUNOjA4RJpwgX9JdOWdruTQph5tLYLCa8zgdg7SVu/kxo08UdkjeWyVS4Itlg+gOSJGSpt9xpN/gUTRLd6fZxc/Ud95iv9+hbHK7L2TqGuaSa4/mPEobNhThcaQnOzv4GO0oRoUgW1fGMPbIpKA6ijU3GA5mx4naIXHBf9eOv2PtNizvyhBZ13sUA5f/x16j+fobV/s3sbDOTHEH5iU0kt7VGyhVpZlOqM5qRXTXYL75SwqIhHxpmuaUt2enCYd9MIKq4t60LYUMz5Dh+b+9XHDYqof+zElBF5wVZLDotTL5XmxkLg8SgkDFN7tL4NfV7Xq0toB5Pt7QZPfM2fP8KIdRi8nbNLKeAwUcsoXWILPa9+ybfUTbivvq3utJGdnO9nmyKxp1RPtTixKTs0K/kMJyzvq86ugSPWY1qW4GcNN9vUj8vw10WK3fDap1HeuiLUIqdd3Gnms8MxgbHF0thJExnsfvaBNmK3KkDB4q632eYxXK1x6GsyIT0+tly2SMKUy3wCm+dCw9Ne4PVSfeGBXzfNsLKXGwnzFPNIvYw+HPGiz1egfs744YUQqPok/NPqhaGJSwhNB/B3SzNNhJgWiAPB3WiHTeyqTHce2WXaMBR2Xkta009XTRvLmLQLCeJQP7OgvoNeRbwrK+PytNcc8qQ4SQFf9RDZuQc38mi764N7I8OGLT7dJZhrZAhH7rWGMJqxAQvhLB5VfRNdI7PausdicfYzYIqlf90CV355XkVoEctLI5dIrETurx6FZxW02Wuis09UW0fYNFdTqOclwe25TA31C07xsoOm0TpKU10aojeuvjNKcWjPDCiHlarDdYI0nuwWgHRQYmh2on0l1VrPQV3H/HiQN9hdLOzB505ye/OM8VaWInec6Iyx4fp+whxHK8x0/EazCxqMfk5A/M9m3YQnVlxEtFgNLrI001nI1cl8/bKb7jlSJgqEoqBptxjGLO5uvXuVOjomNm/Z2aFMISFKgfmXRGz8+vje/2wui0IMm+YRje0J4E9HVr2P7KiUsTn34jEbITZn0cB3N3du67fsctgkqg2Ft8SOT1bIdkjmrS6NaoBL2F3clE3BAWaKtrN3L5l9tgTnJqW8ulYD1r7Oa0wa8xYMrf6Ljnqb6YcoI/2Hd8Z+9js+WI9wlYlICCCFz4bOn5+qIun9PDC7Oog+IQ3hBkVR35GEwanz+hk92r/Y0086i2bPxLaTMGyh1gmtxKunYoTlcFzPx58XJS+3FQ1dEqnH2XCX++72XD9FhhUD23iWmxZkuHSfNr+yLV2SN0lK1XLFZVdGn8mXG+/KRO/U5ffzzylwzKQ2ZRInX32Bl1rZgEGuNCOnxB9gHfx/v44dsHvcwSn4dRpYD0Etpdv47uCNA6anDeMqt7W7nu7I/qTWkWUoKqYAEhHMEEVgguiWDpvHaOaobmhFRzChQCuoCCX+l61bBCPJ/MQd5zUlNZbExAk8fRPE+oT7ynv9mDaGOjWBiLM22zrfT14g4irjahRM/RtqocZFq4Yj5LhLN+8qTY7fgmUBK/Bf1USpnzc7RkbhkH4EkOiyatPlgpZzRA+7Mv5sQXAb4UOSOiOfS4WHSGF3G9Hd5o/aOAAc3wCoERlmmy7P3kkpnhWnZFbeBUEWKsFZtS169E2GbZiQDhaj2r7uMGXg7K2ejMOdlYKtxlRe2iUPM4NwEpHIpE0jOliGOrZx0U0QwcGs2N6NK5tJ6tmDSb4FvBb3ADXskrz91mH2HY4VhLhdLHgYF/cQOwFSmqydXvP6CdKqfggT8rS+3mISje8TJ+AKp+Vz5kEHRuD8rlCHSbHb/+CuaSs+nAkHBwftJk6EqSqzHYl0y/qIJs+yGxssCNzzfdujtwdtBvMpD9nx1v+xgTb6quUvG+i7UwyY1hP11Vu6OcqtjwYyknmfsVBhckJ617oEK2mTVjT3QCi8D++lyT+uNLJIhyyUMXQ8bhsYauZSnKuNRCHQ66DgPAZYdB8i/LqpBJF5nfV6leLTP2pBrPj+kP6pHa/LD2hDQiyQgcEY0H85VUL1vDWrdrh2LydGjS56GK3XCcaSB2+EPc4UIGNk/1lGlVtN9aLFlQph9huWueszdY+qlvkUr03XIC9ZnzyBMdPYIEEfLDxHhG20K10IVxI2hMUWUJQvDxpox/5TywruIQZYn5De7ojuIGWEPfzkQtoCF8P//aSfb8SXcJKDRRjQrPwUTX5vwYsh7kDtQ8UW6Jm2v/s/SiIMypAHy+cYQK5wtOjBrjuGLSEUiSjoe/mCd/h1ZI3khJ9idsRtKXXDHCfQKfarvSRZQOe7DThEzTgSPkeJk73itnPup7Ib3Nb86GQ+fiA57TnovAjE4fywBbTEXS+gI1ffLGeCJEiKS3xjx+F6CsTUJaf3qaggUuPsdHGZO2agGuiby+Yqegu10++BMNMwAn5czhMQyJhcWf/xSwlmEL6aitRXhtCZzqCvS3Q6oe/ayyPhJsSb7LzUAB9v9i5f+B6a4yJX3MPj9kfVgqc+m97AURAp4XV6vzHDRlNhZHhTGM7X0XVFx67FsXqm55LKeGx79s9vs8Or2zajxfXvykXf0pBSn3oFIB3Bt1A/Vt5uAxG9PGF6ADzIna+iS23pHnlnv8wMbJp4QqVuGzfnOzTZ0VL/2spCSzMamTUkgBCl4rbCLQ3Kz/DIURqXIR2u8QX6AdvzGDXZgsHi4PGlIPEoExBFUmYWpeV0bjpCjuTW4ZTBUKFrae2SU59MzZnmdrrqOxsptvzl3rKrOvKdYkF1uUv5DX5lq1Q96sTr/9R6W8Dfpq/V4XnVTGA01y+y/d65ey1EDrr7m32H/yhE7Jd1GEMDTB9hq5JLVmOzeDxHBjaYVRRdZUXf2JSaG1dCwzxzsBS/UhSfABoByouddj/IHfBIs4TsqJzgxeFLH7VgEjnlBfW91zzCfwGj82GlCGgzK66Zxc+TnBzviPJHEfJJCOAGk9uHewG1AVgzoSkCTw2sbgy7tbWhl1H9Lz9hGhcWfueIp9UqHKU/kFkokXY8BJW9LBJ7b4cA1KYzYpzaC2dhlPnu4usHOW3rGvvGW0DIFDnvQes1ZYN9WNzSOkoMJknxrbf7sJ1y4aCVLYawzwhG5ml2oTj1ml4/MNYIcDi4h3Xgi2/C479LrfgM2g/7cCyAKh+4OqalyFyaqVAwPx6xdWbP1zzrj1/DhVS+8rE1Zy8UHv/Kr0sJpQSj7RPceQyLwfHvOg/s8W5jKV9QxhkxMReSWfc0wZqA7iIJHty4euqepkQyA2dCtyNoerfCq6KCw3LPnaB/CKO9gw51+j9/vYqZPyfLHWJ/z1BG3AJ3kqjZNapA73GoTOltOuHpSuUtYPuCslxGM9aiz/l69MF+ei9bg4zonX6uQcub7jE78JRZ3VN8GgS3IB4eizet/XpZMFlpkVl5wqg0Qf1sgvN4FmlAG6CrMOamliB2Th6QFDY09NC+Lx7k60fVRoNBZnGWWPWIR+42EaeoxRvkmujNywtPeR8KPGqh/sw1tLR7W16OgNr7w29f5fHkDbOAqqyKDOQRWuecX/iwKn4RWspYqb+xqzDoQ1/tZbf29Q9A/utvKGWDRcaOMGqHQAa57oVb0mB5A5nAjY0nEw4E0Q1FrM6CW9CD+swZHzz0W7mrxqWf3j/R3Cx6Bq2VNIEhSHbteK+TV49iqnfaimeSFLkMeuWCf5moXF26FYTJ6yuB/xkF7ifwvo8+te3Lr9dNkudYyWWokESZkG/SiKx7534L4a4FkuQcnXwutQOkCv5kj1xG90URfqhaC8hx00tXQ887SNn+iRvUuXDqLbWw3FQh+qyMuuktwx285XUI8IMUbxXjDQ+Y6maux0/QcnUMuCkJZOXAWwvyyX/a821LlE1EQOW3jvjRe88kMJq4s6707zFrg+gtJFuEPx93geS8ebTVi+oHpFcgdvvGamPyyVbSasfIsYZ3rzBtKvUFNRxrRN+Bd5idn4UmwNMmCwq74ahd40P1zp2IaxtFkrZwoWwX9GxSPmo6V2QUpwjqM+++xRZBWzJ5q68qdUcRlyDX8ALGGsLepyRM2bTBSrJxiekw2te/IkAe1sowVpwMBMYrPE9PlfQsDbN58BrccfUi+SNbnGnhpHI/8aaE1MPoJxKhTXixfF55YpdW5M/Y4buggpRDd2Ns9tqZt91Za34YpP+Es9HGgEXQKkeLIcxH2P6SbGHnFIgyJqCe6eiAbMvFTfARA5R85PLooRxKXQd2xpa2sqMqZ+MS7pSryh+LN/6DXzl59/46m9vfepL4CpVhUrm/rDPK7j87G0CZ9VYYZKAgSaFrMnNmHwVxlaWn4nOFpT4s9xJodmATH8RA8B2mp0RUTFQXb+2Y/IieM9OQzLY1Cxe9fEPrzhCVsxLgbF5K0ffoE0W1TIrZCZeNFLgD4saEpN+ge6e2PIrmxxQsnz6uju692KgnNCS0GkHGcvXPXcUclYWbSip5uRgl6UBhsslW749/MzY7dQwVSiqVK4Ad7L4h97kld3V1erGD/8JYxSepvL+QJJo3l3ffjt8XRpM18W2MslyPYewt+upLMaFoWwiMBh24AvzqnPPw0qIeF3ruvE8FIkR2Mb82i1EecTUWKrqPjjnPuwLw9RttTxSNaldDAUCI+pGm4xpoI4a8LJ1DFCDr97AKXO7RLlJgrXm/fZulz8bIwODoeb2HUDz6pDZztds4Pzvr3Loowk76PG+DrLUTNV4GSMJc5lSo6U3qj65A5QCwK+o3DiCWdOBzVmNa/6lK1eYJXDPQQYA/f+539awf86os66Jl63znKSMpE3UDKDfT7thQ4OWe6OdfZLNOg8GnWJ+yl7dfWb8JpxVfQYJNK49cs2yqtw27ehxrq3zTW9YjuI16Z53xNDVZ3k6b5XOiKmlNLvh9u8N0zDpf9lqWuZFuLXSiGha2jREKMPEr8UJs5chpOfPu0p8WLXhcKCBX3lm5R2Elx9XLwjaejgrOBHxsuCrkQMO4FpBW5p9/5gdJ5LuaYeiFwC8WyTWajzGt/R/474Q9ztQXw5hbY5z4Dzad2xDSOii18ScXBPSrBq/L8fb4MLVb8nFeXKlC0X7FiceLpcU9rttIq27PKQSmKEJTqGUVZk/lVVgkH+LcKsbo2A2PXX3fgeh5FWQ50r4n5GfEmA7D51Q9GKi0E/u4bkXYyXa0PRo3SwCpYAcn+FkJsmE5Ncnq29Ak8JcxlpGoUnfvBNK2dahToLnzaIFGZeczDIyJa9b2JfbHaNgfxQhFYt5J89OgAaXAhkmSJW0fFndymlFQfq5x+8XqR/X92eTJmDxD8ptHgXnYKaNx3fucYFsywnwv9ouYLFb8/0Sr9xpMdHWWXoiAjQ0PvrFbQV/DoAYaJOxqpgdoN9eSdqWxiNXfTKdo0qjoOvH1ozhr+NqiOVc0Odx7m8ffuE1Nlws3zhdWTZ3GUlAgzD9FLVUVm7NESuhbh9rY69T2HrhICn6M9VJteAYU+RIMhNM+6BgNlEGJDynmR8rMqRPkXaJWMXSf+TADGhE44Eejxt4VsDOzmVj49lVSR1+HKAUsSCqfosrmOVxtijKybnyaujdtRzJOzhhn1m/cfpRLA1yMjMRhwH5vWwey4oyTnL04FKbKo+tvR3WYzD7UtHX1V1olQidIBowleG30R3cWORTshP73qTejONJcCaimDcxGWETi5ui5f5m4tOydetMNjsSdPuazbZgabjMaoRnHJVHBqH/MuhsHkFrN6ZwdrZLdjfoADDOk/BLqhja4/hiC8IYwLejwvLXC6neI6IbB00Q+X9cYr0FonBIJpoML0M+rHJbR+3fPvITTwa4Oi+KEZnjfUa7FO0j7s4dh7l1nArzM1at6vyFWpOfLsxFAAYb/HSqhZx2DKVZ9HqvHH2hZz2gTs7s+rrTnVo6Iv52Go5nvyde7PfEt4D0fQtRW2tqHFHeLCTdwf+ZO/LZgqqJhcw+yg9C1+K0DhSanY/8r2AOcC1Ghy7HLUOGLwbIYrPzrBCuvSuhjd5qOKL8rMAayVEgj97mfAt0BcFc+bhB9/SJSRrbjSeDYNt6FokRbcBwqN/I7fZWFTCGJ564szxvpNPwUDcs0uM9EblCQlIotuI6ijGDteR9dadlNZBRSJmz7L9kJ4VM98I9jyy2G17laEfOS+HM/sXyZGnNJP9tjxQrdPkRpsviU8Mwy5wXtsyJiDiNhUMgUTZvA9TmgaNaQ/9GrBAiy7MGF9i0rsooRsoZHL9R3Erhpxb09sqYuce1q2DLJtHNhlXWs4JWovfp7BA+ylApTzfScKEeRczRMeWPqP/xPXGQUDZdLZ2HaMGZqRLXF1HiQxohhBIAabz3ETfKqU8xl6RhqFrYVq8wHsLPocthAVgER7lQWq7dp5ZP4TFLkUhnYPquG235iyNrfdCsLL+ZV0XtpvtN8TpTMd/8BLgSxb0kksOiqHRPGqIUrZyR4uu9sOZUF458CAXpqk1lmc1SLHy/sp4aRk3/Sbizh1dVKyxq7OAmttOArg8A1Rbf+k8/fpnfsD0V81NVSCb1rA28ZbJW3whbGy+k+IxJeENyk/f6Jmv4Zuz9hQtefLcBqkMXChzec8Khareahk4kB4s/IWqOPyXdZO5bz0tDBr2RtlsyhchD5k+FOjppKVW1ayhh4MlaDLvMAQys4u2D1hVitztESpmuAzPiPm329bsOSZNWwzuvYAWmYrEPDnCkGzKkKjRTNtF2SasoxLEvN5PluoJ/ANJbE18SiHAiGeAK1s1+b3LWnXfwJVq0vYMO60tIxyd/B3dxgf+v21E/XaegQ/xYTLRpC+w/MXN0N2AFUS9g1WnK6bEhxJyE6M6tTjg/SxhCbP+tPPYIx76TqpOCJg5UrG6eCEKy328pYZlb53wIkiqHQRZv7HqYHAZVizduUFlRHMn0yb+qPiP66topCIpN2zcCnayL3OptQKk11B3wUBe/GjQN53YMKsVWOqNAz51Kzp+DnIX7I/7rYIyhTnN4PkqmvldZARTjeLSkIGMjjlanGurY0iEzODd4a8qgvatIaS93ta8qQdINX9tpKxAf5w3Fe8lISdtUe0kZIusC5MELjKAp7pDSRdw3fm42sqBIJag/o+jIYATF0YoH48UrowuWZ1xynJ98gZgMDu2tiiBp5klf6oWIjsHrFRkuvfnHwbGywrJ+iwjkouMVA6KaVzxME6hiph5mu3iDz1qgX+RHaruFRtl/utwmM7WYQqYmQu4REtCKVhZXPoqYnCaFYW21GhVKx+n35djhhC/mhL0u8mB8lPVE3vwZsGCpnbxRSEeJRNz7iM4sAlLDo0Ejf6d8eEdA0BkR/kxa1jWPGyBtiPitga3kiNhpsiKQrf1/EnuGUNm5i2byyzqSlr1s+O1zgd2FYF2lfLBemV8NuaiXsDJgLoep34ZOseF68cN+1H93470Zamorpk0FtldC4FY0oNH0Z3BnZKyWRGsCcV7hkVB4EA6WkYo0fJ6LVfOhVNn9lwC38lad5+p/8eLN4sOSG/iQmIQdDwJd6rwlediX+jAW7XmmKdtwFZ8eDpGmywEChqIsag3+KNilXcN5Lu2Lcr0tDJvxhQxv6i8GVPBhdT9wsJXwXaQ4WvhRXzd96OuZmkl0TedFHS4c567is/36gSsXxtdl61gOnv+jiqKKbcpwtq04WFxyF/0DLQlzQdk5XtRRJbOdZV6+PY2xEl4slnpAg7hK/69FvX1NX/dRW0Pp0dx7e4faqqyS6MunbZzZSoCjMhHfBBMc8ZCqL9bV5YfS3kxFKUvubM5BfU/O3058WwnG/+qvo8+Y51PIyzyptumCaokV7ZJZ09+Fs+1Z0Ju5Bsyj7+6bHY3wpwhMk872JfGU4qLd6Npla8DuGxbvYM8daAr6w/e7pSqOhXOGTpZA0BujIJhhSkcyTWC2awbl21XALTqPZqzicm2QN/pdO0ZIxTICARf54NwhZH6aW8RpxnQZW7pMPl0AVsvQ9rAIyvxMA6Wnv2PNxujCLrapCQYTWukoOe1ZhGxi3NTXsSDyWqtqsZuARgv4Z9B9lImxVyAOO5ak3PdlTkYeWwja/pDDRDSOk1lQtYGiyKxRKwMt0x3EblP36EKvt+D0yqPbvgtHWsQRN+B34hR/qJKMmyaZ8DDGDyKTKKCyAuI/8ga4p9VOLvkZy+cHVjfExrSLepDFwB7EMRJnIoF7LrVjbcC01Pu1dQQtVhAGhdW7hTlptd7hKYG8qvN8Zj8JI9nAK0fATxnhZkwkb+KMSFUCHp/0Jh8T2j/Wi+y+xV44M1tbP84RuhDdanKlpjOO5yx8ZFC5cdsbIlmG+m+PtoAioUv3sncpDAi8MoDaihzgMpUenrasCJXyUGeD1t+vPzIOLoyHfaQ0aVDl+vUgcBDSvN/Hpbi6vQhrmaRisAQy3uWpbFVDi3YspkTEnN17fBdN3SfybfKYR30urHqu2mtYFRnQH3XBLDGI73FQ9TWO+L7GJvdCaNH9CmDtUyrjXv7/HHpQ/2jPcmO54Bp9c5ANB8xJT9x4asGRqbfiViJcfkSlAdgQ085BBttkhFdkrFH9ycPMqyUq16//Kqeb8mnb3qtpf7t6QJifUDm8U0MZBjCEr6WqW4bkv+WKOs9oRt9z+oJQd2AuGAcTzI0FtiKq+wixUtUOOk+Pcl+erSMRkD1VNhiNd435+KQCn8uzUKlzjRofpdnEkBtzu6rwAY1+iPWIbOI33JpHiAxtCEiDdKSkscTrM0N1RUBpS0BwyXh5dtT/ypkxqlg7rmkdie0OZugN1pc8coczUMoas4CnlXyw6fcCP6gHlJkKgfHqy+sQxHk8ivBEPHJp5n643RSk1dsHY2De0g5eN2z/y0gWuOatUpLO2Q/Ciz+UjXGGw4XWAaBcJ4pNs4w0AhMnw1S7gbj6SQA7T4u4HVk2L49mi+0MNdXKOcnuPhn6KdCxjLXiZAy/t9Usb+gG0Jn0iTo0h2y5dDzvyjf5NviR2sx7xlBiNTJUHkBSxxS8cK7IRDQob9Zw5JMfE2egaRAyhnI8WbZMPfrWycH9vVgUlyBHQJurb5ZcbV2su/SOTHldbcRdGFSeElOCVPWnlusWEtvN6aNtHdGO2ShmbSs2OmCkqc9yIIynX/tX7uBPQUjKxRpBnqRjePujVLt0r1XbGqNnwLDt2tRlXDWumK07LG8q5SyrrpWf9CPk9mX4v2gTWBHM7qtASp+nlt6op0APzdJT24cRn20GPCWsaD1QPlyPGsB8NFgKSJG1WWLS8wd4MZOCrAi0MTjxMMd6o7+/Xc7N9fGMjHRcuwSXN5aMQzSdSZCKKBVXHrgy3KMAJJFdG4LvMJT1OUbOyLIjcnKCko9TOGANV6kifLv6jiwA3MhaAOekiXi6yZk6hXD0XPgoLp3w1YlCpUvG50w2HxbApPG7P7Vc2e/U+3bjZZ5w8EtGvZJn8d6FjmrJOLm1e+mVxxfKuNS/N2pWfX85FraiH3BEF04m18upCeUMUnBvHY8svRC6XlrZ1MiM2uX+7eLnydEa0IHH7kOcIazkgyU0ZV7vEp2mZZ3G2qkVhF2R28Z+u6DBtgZh2ED1cYlRxfXnknXcIM6A1rCpEg8UNjXFIQc0ppmeSkyuCre0pqI5QqpF2VGhfKRZnZT7FYrzcD1wJ3WUYCoOZhwUriwxgrU285o8FpqWcj+G4y74lmAjNReX2S4spwB2w9kv7pbdSgAE7nswrpo4yYoMQuCig8AaMqZCurf3sB7UF6b6ZYSSZ+PTW3YedVUnECAJTRXQbRe10Pp3SQYkdqwTrHG6Yb2jlZ+uAXlXXcVpSVpG3K5AoNQ721KYM3Eq+L7/sn4y08VwdE3AUAj/KQm1dEGKqtTW18czwfnfTIpBDA/WFgkzRG05M662nxW0G9L7K+ScMmm15kDDNFvd7tUDyc6jdWJvrQqhW7GqQcpI+4rCi6a6UbJlWogsb1dJP3o5mSccpl5ZgpfTv63Mzrq7oTUGMMXmVY5480QRTT95gfPZtkDdKxOuhV8UEQG2LMdclTgQoVbIzKaXBsMC6bCDiL+GtAU39qTMi/j1TuU+PaO3BKlL+zU2UzROVHB/nRbJ7BUXmyVweeB0p7n8WYLIKp6ab+5bH7ocALWBwZPXVrAjL0tk2/dpqj2D92bcbKPcaMZaSv+PGzLIaWCmXpzJTC6JksTOjL1UqNfj5jgG0nAAUk0/vUdD+SUhM6IMs0yXO/jNB+CQcYRymxAMwvqRUCo5t1dWFK1GcvvcqJRpPLrDdFu0uwU3XOMOutFTl/aBIItYK6NrOSsa7xoYTj0fhi86EV+KK3TWMXsB11fr6JpJC8W/T4lTd+FHGPSeVotiYIH9CS70RO3BbXvbBua5VpVqT+Xl6wvtHtVzwUS8PcslFT6+baifIoXgdK0tb1E3S4P7VR+C8mFK1ahu2MdTis5s7JloESe34OxKwAsrbLhOOBjCNo4JAUe//chZItLbl0DpGvnhMSKD1xMUOVrEdxZ4tD3FkF+gtAG/XjZwnJxcq4NX47E4g0G9YLFK/rzCMs4rWvJIWzrag5Q+93f4aXr3pREuUAJZB554/RYt8oT8E7BCwcZQSsf3C7Cty/08bwX8E45fwcfSYos9CLNo4Ll4EYYcaCkqWWrbmGQgbXx+Q7D9GarBrvSJ2BrlruriUPH9PqO7+fAil/H4FBknOCQeanay+FlRnR3Je8mF3uVjqgPfkao4OokQdqvnX/6gYIc0sGkCpl8lwKL8IPcy/7EZ7IKoh0B6sXptjwPG2+7s+eoJnPNu3/L/Mh1STwAP1igaI/jWqb8ZTLMV+pR6Aj8qgQuv9DI9HecgTnuamN5PBhNAK/AfljaZo/CYhcQZz8tiDfgkavZ6ZVNJVhbcG46XEW0fslIGN97JPf0cVpB5w5BWkvpiTYSserVja9hJVjkk/OiUZ4fq4sQd1z008Cuq8hwTSg+KKUB74IUul+38CHGViK+LMvrZ5Nyk5S+dBB7OHkiCWjckeGUqSiavcCyXsrnB7tp7sNS9chh6AMGbRiAdi2vnODS8cAyccPp3mSAC6AVHKISwEcUc7Xz4PyGyPn6TF7ZiOzHHMN4MZ4lPMQcCsglkiWqB4u2IHBJdnuaGVSZg4ZqFCEISEF6H4xypBKboaRVOlHjQWRxfrzgZ/zBytT3tnwsugs2JNCPRVcTWIU7yrehI0jDMtiqoyotks1c0kKc+DuMtWATBhk/sIvc5WaaYnq1xRRADKPJB5/yUnIlKAZ937L5E0CTW+ghWmytPElwJFXZ7AZg0LdrI9wXOO5Uh5cY+X68L+5MQZlR4eUBUt1fMHOO/QogsjWpqmIFbcaTrz3pVoDGbsz0UZs53aQp8rlqsMXKRfT8UsJxzTt23u3rGLJITjENuKP865F+UlmxIenXW3KjFzkn4qlhh/3/+AYAjG6iqnpR/TgrjDcsSemlZ2jG5ud+grWosLz33TB06cthB3Awlp1KPcjgB0oWIcUrWiTIf8M19oatNeDApaHWS5lnl2mB1pT3taFGbL+5Rkseu9JAzO7CLhOk5HW03HfM9TK/NMjt3FyPqQGBaZbUbPGSQibnBsi/tvYfv/ocVRLBLf9xiLz4aQY0efzPi1B8ROdp7+VPqb+M/XrrYEFQecmanX2G+p38i4ZwQH+9pVW8av3e/oTvn3grcvXw+pSLSTJkTGTvsboiInO7Fvh3vQqyBCOLDOgtKk5/mZrOHrd3i0+eItFhHT4ocCFodabPxUC2Ae5wGoRJQS5z+TZa9Qzqtsnb8r8SOF08z2tboFNbY847Pl0b+6Ftv3xxGQkM7FiUbz4zD3yuAj+BJNh2r9uB4+XqHvf7nntZ/rnlolENgJgfl9Dq3iHAEIk9nuVDXaoXoGvfDCgf4XHAtufw7PURFVhOoN21iTEG4gC0t3lKgbOlpfv9euV7Y2BFOluKGv8zgI5AuTGnldalKhryM91VbIacd3EKchwDdCm9Zh3LLqLdTK03VqXEOL4uN/ryaBjiVtxNTrObb6wU/BQVoKNOaCM5y4Y3clxUrwEUxP8FQh+BFLgM1r9jEH03suaREuRL6RcUCRLIR1yjHOTfKNHFV3gFN/7Tvw3IhdZO8hj1y5wC36sd02w2LvqHIrqAZPsLDz6xrHPsgzl4npMexTq3wiOfLJYrhmUzKSp5wL6ckdRE9oxw9K+pdpFkj0xGNVXxliLZD9hLxtUZUtAVVjmKR+Bha7RlM86QPGqCgBDP8blZze9On/YBh05gKY25ArrbvQi/ZG4q+aRkbCWL1Goc6ManLXHPeG7rhJv/H2M/UQ7iMYgh9EWt/7HVKxrYuLh+RjI+O4a0EVF87ZD7064d/k/EJYB0Ax51L8OKdfZxr7F98FM15ACKeK9QcXxmOmv6Uf4KI9JM5C8E6xv6qpF3ZW2PvHBiQgLQQAtn0OyCBP7gZ4WoadF7XNl4zjGGUUC8hvhhbJfRghA+sLb7VPu2gjdM1wYpWVWuog/UxtAdLm7FYIqo9P/KkI4VGx4rWCZ8/mzWsRg9tvO8SjzpHxnSSutXhqj1Zc3C04CjAAYN0ZXqUWUm7CoELAQ8koLZCn//1T7Y9LPxGDTQMBINHQRNLK+lTyPkXLqi+4F1byO4C82KYXQ1GIm6z8B6CecZ85vtHE851Q/gmfRuAPNd3MEwfpteEZk68Mxe/hJdJljan9lAgEPw6W4twznaM3B+eGr0ufsch+JT8MFX4PzhVQBcnWxAf+4UbnQ39fzYxzETPrSAZ8csxuh8zwNYpEZvmrz8hjPu3Vi6jmKemfoFHlj6z69ozpxPuSYa76OZFphslaWIw9ouv7vjqKStitBKaQYCUhXfFliPvr6wEs5YUAyCBYDulkaW6pOhn7PUNm8Q3OudPSmdeWhBZeuomCWk7HoWuu3mB/zcEFMUbnVv6n1ZsjqRKHAiQFn5dRnC9YaYQgKw4YG3myQde1IDMlsKPbWjANF3ceS4joIwpIylYia0b9ojWTis/xEA9F/G4v8Vx/tkVZb2ySFqQcWqucNIgVIDwe2QWQi+4qtkR11cUaH3l8OxKXcWQ9UVwHLc07hZPNNvl9LUypntkdxeSaBjwGWpnOovqvbpmGewnTfeYr3dswKL5qMkDjRvzwb2NW4JuId+xaPz/qxpfsB7c9+8jvav2YLNrwTeWQC363RGLq8qNtx4DW5QurZ28g+MguC8ApCBzjo7kFNU70jRc3VIHWqfbbKLF4IBWUrErpbHoToKIw5FzZ6YNg4Ej6vmN80ZZBSY2MJpKQPZDJJgHid+WnGEx+ph4fDlUxdMJ6UMWeceOeSFnUM/NOPmr+udYE0tVCgDrfqPnbD9V8jmZdzaNr5bEYLR9zk74sAAPDpQ7VOHtnSukLgeuja8CE8tCmXowzb/U9d+ch6/2nh8DYSdfebOMVSZGRM/fAAVkJOEb66mGX6KuzNgIlPiptEULH5ZFzvYkgmDkzW6oofqFk9WUy43HavO6LW6Q67yL7aoQortdae5QXsfW28oClbuyfnahGgw72aOBGaHecjAYk+3Q/P5BGLLTVX8WscOLiLjmWpPhMmAU00F6Mff2Ei+/tKHobfhZb3vNstXb/vuQ4WeBtTqB8PTmyHRajJZIAeD3WoGDE7BMdI9u5rRIrxXIDye5DTv3d2cYjNbyT3C5G+zLPz0xdVbwlHVsYdI3NYS3EYzPDYJNpgpuxI1ALgCjcXjRwmF2WJZsbwcvxuYaS5if5fTusFONRLjcG8nXRjf0B0uLDKo/8MAB/965WAj/iHgW/6LEeNPyPxWHl0FHMLhqgW8aQALf3b5BNWxjht0hoAmbm3z3Q3aF7Ag8zSZa+XL/dl+lu3DCL62BAOw3qtI40rFnyQmxheruSDmqG2H8wRloUx8W5p8hvIhuR4IM0XhvHn6xIWD4N4zWdBiexAlgvYeDbl/QTHtgHG3twGuC1dDeplw+k1mdXw74HpuykVIoTeZbOekhQXwAqokfz3S7HadevH0wK+05WCXy70e+AzZErr1H7FeJbLGKgfCNAAIrIF7RphzZddDtKR2x8eZ2jA0kS7zwoKeowCcOkji/XSMV5h4ymrzb2TsEE0ILX+0K69g+Qlg/vutV4VZAlgmGTrotkpNip9a69gaAYrjmjZzHDz86FdDHXWG6JhYCvZv5iyCIcAVCwfhOde2JqD2Z22OokMDZB3ESZICzeor2PbxvYiqlrlkZxSryMC/bjLNw5+qSAas+cf76h/LxHCFaT6mmtmi7KizqCOVd2oUfdQhDhVGdf0/9b4QxhkH22H7C59B8EPiopFMcMr2Absyij5uY0w6Sq8P4KjxiH1YuFEXXmMdPxZDe350WvT1AYw01aR08ZtL4A2k7lEn76CsocJumfkW1+bXpOipqWUj2z9HRQt3eZovICjnXV5y/H3LsMRqlA3+CNwLhcaz2ubG5DljVzOKYs3b98u3kbLlzdSu9KO4e1RPnGsfXusK0GcCTOPEMon8o/c+MFJTwqY6vmIwAy+f/U9UxB0G3gu2U9cdtc6uo5qUv0BscV2KlZJBjLWR1uLtXfykZyTRgn9wY6EtKLmKdGqacYBiBdB1JN7krG2T6rh9/Ve3iquNfTuM+mrB7jPqFMz6EW9/MZGnPQFyVYCV8BzGkD0pOPs2EWECNkctNoAxtHb3HPQa0HKBhdeVzyUSnXPVaLIbXVLw98oJHAWpPlVCjie7T642DAnXgdiewYqCr8Yq7KOFWr9yFdDQJw1OUUZpkyxolubEROaomBDNWvPBQMYMcEv089DTer1krpuMU+7ohWYUEKqFx0AqzdgYFQpX559tVT/+ZmEQdH9+DvJ0+z6FedpywKTU0Ng+be3vsa96cbNEr/Bz2KjoHHGMa3BdW2vPlME7L4lFVZZ0kW47AY5lvw0GYWEYyO+aqIZ1TJsXSaZiQabrCjWRBMwzI7gthgfSZSe3IhaEH0wQevjmHu78DXhhY2JRXj5RGCcZXhzQvfKZILaBh30vASO42yx21HrYhLDP3gx2RNEv2H51RtuXHsDLI0sfiVbsCM21vTsizJAIXvFvWhDHbw08r8DqJTAhBUGP2CsROCP4rBFmZ9VRts3OzePvQsDaA216VYi0UqEmUqL2r+I9EDkw2C9xAgWZ26tAHGlHOydZTnz5u4AEuTCNA8x/s0ynjT5cStNY9vUfn9CutqXKMxIPVZ6puhd7Tlk8+q3cXN82mdiYJ3r/FrFeAsqKbw6IVgDVQTPwfWoTzvlvTlUn5p+iUs8r9te9oFOTtjc5fxOM+BlZHS35rI9wLKhkX+ANI7lNlM0r8JDTzSBW4+VxDG2ifw236F/RVvkc2YkdulB8LtQ/Dn4OoLtumrCy3iDhlXnnp5fEbgZcZBqzpHViz30PGzWqkk33DcSs6CL0TyiUcbv2ORr2HkxhHNeiCvnc40dqIoDTMAu+AUBbhFZd8iv+WTMernzykVT1gGT9NSokFhqUho9CO+mHD3nGc/LB5R5G3w3x9VVLp6K5+2SC/JnfoZT8rhi3jf5BR92VlW+BSl5n2mlUodMics5fe1SqrRAY7MHJQGi7vcUllbI914g71t5RhBM0B45onjPpXLofzFlN2bHQ5Xp/KvRSPwYGeYX4l140kOjkflxrByy+tRTRluJWX+0ieKvIz8n/9Uuph0zETP7q920sT6cNdQ2o6myh59Gc9NMo1mtmn3jgqblkJ/CI/tgnXrLRvVGRPGvAxw543t9/FFSEPkEg6eefUfYRvOGegVDSyIxldZKXGb1GZSVlwM47D7tREA1PrYcjR2ubtnJjsfz6cQKwI7sZ/xxL9e29C5GtBvR8dQZ/YoXZovA8ee6RKn02GoYtmJ5xMPu6iWcByOWIXV1s5JBSqgZhl+Z+x53tV2RLHKG+2nyAPpcQR980U96Er8qP5wcQuN5LcsTQJa0D+u+5UaGXzDrhFDQY6KKeCD6EKeBxLRlP179jXtGHL4+UciBTRLgqdqwRXphyfXaxbLf3cSyHZ83uHFoJCC30Hy4lOw9cRpEdHRXJ0TeYRRPlYk0mPQenHxyPgyshLfNGPz3sGVnjM/AY6t/GvH3+EL9qYkZNLIF1rtuEnztRMfhNBamU6oEEo1e7radQ5MMvM9gWUv0PU7l4SL/urPNQ+QwfvK4umcJnhh9kQmVXnlPgugB6u56WrVGUvn45juyBZyIhU/AGwFjelwLpBKUuoLrLVlFfZn6OX1/unARv5vg/1DlgVqrPiOq+63RVaG4msUYZjHMzHnTWMeMg12RKtb9qRPC1uHUdrVADYLJcKFNolsKFdvHw4RnvW7Lc3wUSkYGQp1Gwx6i0pLjqu9giOYrsyOre7veCjhqR+Ajp3J1dNKWd6uohBC3AxFrzA6KCVY92pNzBcY7U30H81xXDH89bEUz0FrBe4BflPpiXOVidNiYc8NdBo2hY10Q3kS+7DSpCE7CGNnD4iQBFhwhfLTNxfwOiD/H0nJknf6gZZCR78aO12Us0D0YWWHA+DnbqNM4vVOJEK8/dMRId7riFLMtLx2sStK85SzruaTgY493hIE0kEVcucfbxjgvyjUyymZRaCP+Ww7k7QUIA/VAWpadPqxkG4F+MCQSsPFVOjJUY850HRWF2/aWISr3PldfUzY5kOEGKb6QlXwlC4lcNqUJrVzPfmlWzocwe5FXsnNafRNgSEdqAvmetZxD3SAI2KcO0aR3BsGw05TdDxC0ErCxP8zq/4OdyKASWFsjmL0SXHw8IXGtErSB4w3cplB7RLrEGvYMm9iyfKELr1ZfREPSUn2nVyyVzJHewHlzvcKVq8iNe9kEQXczVl2RB5s69Rtp01mIGG3ZuGPF5n2rdVN7qKl8VLA1OguajfKNnjz/yW924oN5mUOhrZ4z8qYdO4IuB1O20GMTeAY4EqCHXtQ7DOkOUhRmjnKq1PWl3p5v1/aBvyucAFhf4PFf2TWZLfoWnza2PDSsD0Fkt23UxiTU/1zmz786DfnwoSgdwzzOzzAbqxap7HVffIAgqDnWhwhuJAvYnPKXtKqEZ/mIzn1acBdGSMZfxdwuU/xLIlSwteeBKMp3+k96HrNf0f59JlxIefvVVORan1sFsGsRnFRZcUL5vY5PIR0KUNFzlPKliMre+5Ne+xmNr2Dr6qBc4wQKnyocm3QaGMM9i1uuYIp/OXdE4XBuspy9HfwPahY36mMUfSwl9/j6Farvm8LxJ5Fb5NxzVNXjdF/qVHTWpyrG6iZS2M6zjktm5BXWHGwJI0bxAly4m2Z9JueKaVvHSjMNSPKsDDQPdTIuG/hb8/nSMj9ICQEBzv2dU8x8vXAPHtODLohU2FMEkfbjL3IKueSLf263KWg8sFHQsxOocc9k8Fk6mwatloizXqzEXmVngNpBrv9lI4Uw64OiqUgv22rjG3qiNY3x9ags7BR3HCgEGgYtpQCLUva+LYCAq2xoBRIHoaZAOy3czqG90fIHbwHV0hbTWYarnY3QJoUGUtovvor4famHgXoxWta2cWQd1Z9SnybjvUws/f5GkFTrjJqg7SBSgsxxvPuyy0c3va/KnCD1M1njtzT7JhynWSzUZXoYYhSksLImei8uE1BRdboGYIz86VkepH9fpdhtaf2qwFYxAH6Dl76U+CSzvryO7ZxeFTdJEmy6pN8GMq9cOmAafbpLvTT6mZNVutibZkJ9HcLZQYnEbl10kT+05AjxD8TgYZy2ICTubj1BbmkHKDA7Xz6Uu96VCuuA13oMvxkRi02PFdIBdfETjh0SwqUBI/kx/9Rc6GEhpWzUIl+ywlvI6CEUEDQm5z+q65/KqjBN9DohNCD3rijVmgdO05KLe0wT4ULA7gC6m6zH9AeEYLtgoKqzatoTUKQ1EywoqltrzmCowNHAGfK56yIQSue20qvypicO9r1L2jGNDaIJ+NvFjZu2uJWTXqMYvU6Ts2Ev4M+YzdEEWCFNpH+DSWd61/8OEdsiapm9QHOlacR11Xln+TdeMqshj64RJr58qds70l3tGrRq9Ug+OCS4fEOoXpNtCO8B3fTwU40z1qJSsN4aFnNkKKeYgZOtbmIRdSOXKWEdT7p7/EqTLgxeSMwI04/rxOFa1sabVMaxWN3gf4VrVddrzqaZexgwbUua44OpWAmjnrJq+fABjXmBHvdrVsjGCztaptTSwa2qjh7JypTQOBmlLH3TRpC4DstZwRR6zmqmzAhsdzZtCgJvbuKQ6DXJGJSavhmVHfICMOtjlfXMkrHy9eu1dw4G/NKm7EWSvJTq9zEDB6hspdlyBHjC5b90nYZdopElfP6+zajjT3vw5k5qBp5vcptvggZ1A64oXZwKtC8uYDht51tEU/hSyyqmYFdhLkHzdcH03c/I8Mh/V2+ew2oNUfpA28K641K6aB6heOv4sMbTq/fXeolYSibTbzV0qKB8w8IirQEczf8R72/cjIRW5RSXe+EvM4VgazeABuOcJ57mphB57xp14UpBzpMPyRpA7JcSj2h2DWfL3u/9hhI8hiMp0mbh5bYoBRoWf7Vbdog0wNzbfCUIb9Zlka9oDpJddjudFEQoiu6x85Q710frX/F6EcrjzpQFO6sSVSqEqjjaKSd4YSAzZMmkJEPOxXuOhwsv1zaU3PwH2lmz/3l+xFF9NzwBFC1bCjx/cJlAANUN1mCuc5GKQ0IBG90nupQvM4HQ1wYkIYcB4ubPT2hqiU/QWQWNttn1szn3HUBgugsdL9Cq35iIrTM3Xbwy4Igx5HixW2pkMrpx9S3f4f/H50wwvxL0pJM69ANNe5eMrwmmWanD83UUkkR2AUJ2svctSBlmXoYcYTBEBJ2eRucoA+iBG9DhRLMWik7WUZ5DxpmmZSMGA7yyk1qm8QmspFlrx5fdQYB/8yNlcEjZYmLTMIzW9bsPgZ9bZE9Z1WWlovxjOECEkQ0Tm8g4zgF7/JN1YI5uG4mU3UoxLh2aP+dHoAY4kWw6GnRTvYjC7jUnJVkjYPsr1F88amqNf6ZZShBfVHfp0Jwd2rnBQzZ4CJW//LwCzy2D6OCxIG6+jmTD+CyQrQ7WFp8c8XJsoKz/afwY/3fJ/Oni3xCx0ftcw80GUMqkLwT1Ro+3fUpR2bK1t2RNlrZLHff+QtzCI9WQyHiyK99BNKyEhzUPYMJ1yt0plc8k6HXSD/DgnEC4lbi1S68/EI4WP8FsUR/4dti809Sv7ygVdcWR2xg4es56nmLWlPdEq4griVYTo0tUwFY6C7F3NKku4TTdGalvJ+xXivtGCj049+vy1wp/41/1331TQF0PdIkYNjV8o2hK8QvUSCKSt+iHSBy5J7wMnzFmUJmCJ9tdksJ5Po707osD1gPwIJZ6Adg9bMeKU+7E4cASadpnMECCACrW8EKI7cCPs79ouO+xm5N3RrDFYWBUA63o3zEQzMmtTTiFwU26kZAR/xhX/rwu+3a9q8F7UWFjK6jbPEmVkhEzC+viLlKoNKt2q7y/ZR/htPrRwpnKcPpqoKQLP2l6xIZV9uWEbWWrIAYoo5T31b2hTJgEVHlYp6bStdLpUmp6Bi2wXykP4xLXW7KCrXBToK9GycbL4VfZEwJcN+rcvfwuBFLD6vqMu6SXf34ESIOWT54kHVEkEbqGTOS1dPpVvwIZ8zDGIQ1wcUTy+7owGsHTtL+DkFTsN8tfs3OVCpI7pWUiPyircdLk7guZPd08NdoKubxzyCmQh+xUklZok8NLWkIPCUiUWdSjARy9aoKPYZNwIpAMAIBmaayH5xrjm77wOV2033RZTuLZC/F5xVG5O0R3scYwGHpWQFVtCgIDWaPPk17veDT6p1tTNXb5srW+ACd+98TftBWI8ctTn8UTYmXTKlCnvP1+gLnyYkEiIY7DzKftB+z2TVyInN3KVjXMbsAuMjYVNB+VSqfoLMlBfUjC0hFcDM4OpCNtLDdp0hzaDDnCx8zShXVSbJE84V1hoaq+IxFowK75NEvGOMrKBcX9fGWLXmq8z+rBLMHc8xDW8CGLyiW0ToLiBYI/OIB7IY11K1wgMIv7yo+p/rhJ3WSMgfr15mNdicxR0x7Qn6NsFYAE6FY96HYv7qJwJqMDtn+tSZw4jl1GkHPCw4lz3WWvcWDMPDtGcrp9tWG57YQ4d9VGKldMNAfEFM3XzYg/P8z3OqTTaCb8j9LxaR55b1U+nZk45TnLtYDE3aRGAd2F5gz6EW/PqAO6cnfFfbw5o17yVNN9rKgKRXFLiBovBGXLK3/Y/5smfHmtfQGVLXVLYeAjwrZU9349skfe/+OwtKmp5Oe6QdAZnDNWix0R/+xxx2yH7AIFFPebhkX/uvGhN3QROa+jzPbJpe7ykBCFiihn1plX70e+WftTuCEoTvy2DzmaNKowQtm2PMQH6+StEcvqvhA+o/AR5Ca3uDPsxs+yU9ZrmvJ6+Im3IaWK2IgkkS/0wxE2QpTCYQTsT3JrziPnsjtTAFW3VVf8wbAepmQ3mhSCASZx6O7v3b6mu6QYhN9mWdeM7H2Pve6+Nw+PNVJxARiE9vnbyjYuVJx4AJl86tX+iNFz91ZDjiIR7wx6CpZilcaXIyOuA2+Tz/1pcP7TRh5q8rx7mhqf9l82B0W2xzerOeNm5ibi3a+hyp22N7N6fKS8SIWRxinvDHU9aSYCQR7ZZ/oCiA4wRzlDYbsFbVwh+4rerZQkqA3JFoiTOrjWV+tmF4NdItPqRfCwfef7GL75CzN1i+s18xQYVOvDRlnWJXyuYSEO93O7lVYpmIKFvc0Zjp9KgmiNavA//YgGLvKi4TY3pONtQa2wgADAqOZ0+x5LZMH2AVSBRS1mZv43cXg7UgSC+YWmjV7JZubyIjPhBGcx6lZiLQrPoLbz3VEwnQhd8D3OYjc0GfItPuhOZG8l8NkPTtX5px/589cV2RXfekHEJ6fw1mgtNjtbqCVQ2aKoezyV0GZQod9eqEIVqFKS0iilHThUsXInxMBflkXIZP0TkRHl5U5SaraLLdIxf8mT0Cu8HmqwqM6JDxFplBEfv6ar0GjZSlsbRpMYFPoueDF6Q/wKXX4HjpkAsjbb4gizmmOStn0b1RwvgNOZXhPlB50SYk6109VtteT4cv51N901EEhLE5WhtREi2vvSCcWhNwjF8KCXL+M1dT76MM05o8bvLpkuSWBznp3639vozEPcPTCNrOSeVgcohBUFVbrqgG/+TUx7caB4+yNho9Euekgqu4Elm6/4EBgt6jU5QRQLtKnizQA5iU7Oz9ZuLVLBv2cy2Ho6Lya3ltypF43mRFRZ0Ah6hcY1wAbRSM1OBPRTfefOM6/mHIg/cMc5Pq0DHCeAUYf3RCk6NCMVrvW2h1jS/iYgQvAHZBFjK8J3GhYv5r41HifCLeIdTLRTO3IKDLUmZFhCaJ/WrvQHiIIKpyma10/mc4NSQCPoJWN+vCLUBSZwzD/gtoVFCL79WecbHnmvDwwyZ4NBQqrXGoOt/1oVRUNKUI479HGay5b4cJYSiPbRUgC3t5MhEkgPjTjiAiyaaL4BasCju/U8Wu6Vpmvy0fiE50SP/g6i0qIHexrQAORtplESYkibCqaTTJ8leEXGDqI7RN6AoiJjJq/ZDOv+YRRBlj0yQdhk4CcFG6NkUR3NFO9VrO6h+OmUy+592ZDHDVR+3iMcTO06H/xHZxcPMd3EgqOVWdQoiYSHttQIEWcpZD9g3gHlMeAf+OABwqtSEspkh7quj7+mPuT8nPmrl3iSJT5KUhO0Z+cIQHypzglSVspM4rbS/0KqKxp8+cUUcQtRcWr28sWRfcgLKO6W1KtHD2JCvmc6MpMwFe/p9/YKhNuKygzBrDCGar1SssgOlN7b0aCy8ZIMMfPhEpIE4G6tRPy4dgtcgUrqtCQraE2898hmKk9J2HUFSPR/yRDcatrmoZA2K3skfTEyZR29FtbC768w75zZjlw0VkQUCLfHU8xpkOKTs3B+1q86JkjcofCy4SlilsIwTfEqbQ5fQ69PY297Z+yBTRXASkpvixgP4IhHB+XROnL/8+bchS/0wBXQq/aoWOac7rmtRmYynM8aHB9FFqk5fi9w4lxbfuQ2NMUcqN/hxajJaf0FQrx+yVUl8cL1wQBC0n4nw84pKsSc+oNU//84rz2vfBmskDzXZRcJNl830MBiqv248OXd3lJUgYmItuBY4ygjSJ2cROtxdtu7x5X/Dy7AOL29/qGAYTvoaILz0YPSDlnpdUKgO4JXpJDlq4bABY2Epm3VzGg97mdpV9d9SEnYaT8ltzJOibBo/ITbTzRLsiTcUUy6Yk3hRYocoKR8KxgURL/HNT6ieVqhS61jaeuOZgjtNLp++1U2KjkfjGjAdoM0V6yEyqzs/MuSZF+ngPjBd7DYi5VsyUm1seJTuAqbtxz//LpktN2YjA48HjXI/vuCLFX2my0NpwKGrwyyGWF/1bnmWctwihPrkIKtYG+dqQcKKOla3pJfljz9sla4jUTO6FCZOk8E5jgqpE++GBZpRa7u+eVaN9+lAj398qdlkDJFkDQdPxaVbDd4yZyYqtZuf/DzkiTWtrPaPLmh4E6XAbxnfTyGYvVqc4zayxjYbYokrF7HfVCdtt4gAlo9SsnrkCw5n1MCE4KXNXAVBnHc7O+fTunI7AzYDJfqsAliwriMHls6Nyj4GPyCgpfVxVjdxx/gGrhHZ8XVWTR1BYVEY01bXZD3GZMygfSZknhw5EmMdw40P6grX1PcR1Lp3omEik8Aoj2vqGk9fI+R4bkZ2TK4/ulmp//1Z3j6gPMU3cGmdttAcZZP3t4F+VEulw9HA7t7zSC9/Xa2TwJFIqFYsiut2HwsWpUnJKMmN71TiefgiEoeccVMqdW+tCBGo1sHaUdcFfUv8/l5qolBHyz+Gp03Hi90NoM25r5HSJ2mnt7G74X0QmVavYXAcPuM9Sj+67D0SZXqjh2azCM26YutBPqbH5487B11qL8zAwgGFMHSYayx+n8LYUtoEgQEDpx0LUlzfcIN1JRROCyHBZGtAYWNPZS0wXbkOE7qXx1LQPUgZll7c0xB/TCw7pvZ665N/7JjXECdRPBxNgWa0sffcIE/+xbcMYZIBrz+YR8rFnAKmTfBvisnuq7Ahmv0kTu73akTEapTNtbZq0WzmnvheP5th4D1jJmk3PnF6s7tcIjURPvSGoFN+yWQBBG3SwhlzpXzFQz4utFGVkoTCgRSHmWHK+wxE1TXgoGR2XQZItNkLTHXlMSu7g5neSYpT6sFFrTZLBRbV1Gmr0ohaip6wL092S2fvmp/H8Y3m1/x4hJwQUAvrRhJvIJZ+b73ZRvu8GrFTt3/TEzmaAUsE+28ccDIIW+mPgycttNSiW9SfR19JJ5U3YfObNWjxHLF8q0j9n6xoZ22h01kJXHBS3wqtdSjQ1sS2git2MFouw13cSiJ0JDJ424XQsND1Zr5tybb/FYL6QKyUauHcWSLrtt9LxygIJzKPSyMhFWCe4KoeQrgE5hSj7XE01RzBFo8utY7eMa6zR++TfnMHpBwxmNOSS1Dmhj9Ds8NChpus4q+uqMJ/5l7FR6O0A331XTKXcZoI1WHVRGWDv4x18mvKwWfMCWM7KzaIcoH3D5TXl9emnUI91LVkLhuy2L0cWQ5fCNEIUuWNjmmvDW9jYi+vWa2tOGP6HN9qJ4rHISgLdeuT5l+oiqA/g4IBeZOahTN3Gpr0BxRA+IOePgqI8U9Kd5wTBZuNcPdmrEZftmKocXj4CmveWN02KSC4Kqm5YNsL8QP5iT1OE5uwMo3UrIoQJXsDyJ2KoLEbDTk3H5MV5bfPA5F9ZRpRGkpnUrYB/cwjpEZdCCgIZjrOYB+1HTqdq5fF6BAAY4aMZ4MyZvccZ83HYFnL4Qy39w6Sx86VAYDf0zju7N73U5FBMWhjZPi38dSmWuAVc97oVsnA+nvmjNSTAuBpr52jylHvWZtftSLclB88tePdhhCXzUIWVStYilbVvyVWqmSnLQacoKN9jQ5iakjCY+/qpX/YJhxrszIcoxt1Xj6bBE/JOOux3OTWmUjA75HV2kRubSbO3Tm3fh80MX/4PLVdaIZY4hFlbGrAp+0kmxZltYFkAslkOWfxpKeFyM3epQr0MJTafvJr6EJ5DmQMMJfhKM+xExWft5JQ67NeRA2Q1hyiQmtsFcaVc1y3FsmA0XcZMISo0e/SiczQ9nYvqM1n0dQyugRim5el/jg6FfKvtGWbLzoOt7vNr3ldXqaT+ACyuyiwrKtT16IGvvoPxFZLKe0lRCiVpz5FTink//A5qnpaAJFjz2BDwYeMcSj9Rll39+rGBXuPa8sYuQwej5tRu5ojCKver4Yweyi5gmLbo3Uk8aE07oZOuakSaOfaMXSbmaGliOShqQxh5mLOzllcXkgTW8jj6ssWRwqxprcnPkXryL59sKdGBOkx2OOEOjxenhVPKOtkXqU4bo0PuPnSBNmAv7Bg5YmnbQ/vn2nnR70y9rYnb8zGbo2Ytyl/WuBpzygjA7wSXlvbmLFv3OeSHE6jR6XJDTTSSJS2KkrpPhVABEOnBzOyc1PQxqUk1cHhpOyKIn1wLVAgf16Bp8GiglR5o6heSLiLl/CLXuE/VNWpD0CtH2MKKPDHJztbU/yPd2ZqZ60mfR2g9eM3MDrXqg6cmkKUiQYjR0MBWb0kn1HJpHnMZ6iahJAN2m/y4Wr//MI0kxzMNyBw8Q+hVPE02v8jdvRVGE46dft0LwlT4OWX2xJMpvKf25mZYMhLvcQhzkn5lsS8EsBRBbf839eBdmVnZnZcz4N+oWs4DJTlm7f+JTJyO1QQT+L58IHFo0Tw9mzOYhyE1gyPSVbVoQa5h60VIg4vaxMnhWG+JbdIZbJWHo3opSwDxo13J1iXvbX+Dltzr1h9d3Oo90qgh25gYKfabxCHKX7b1n7W4gl+YHSzpwD8BYvBrxl86rZK93sTUDCkh+NNr7eZTotroJ1KG4SgC1x2fHB3hJDaRrBZYcrJoOWICgb83t/YngX8GMDRPWN/raBQMnzVpI0YZ5PuRm+yWleKJAoux6ktJ2bnRJURTTCDhVQh0K1jeKImQ87UKnPQCAOZJBmoG0wSxuwzd2F9IOJ/vFBqL+tVZ5nrAgpObVOJiE1NzjNBG7YoEvtGo9fwdp/ttG4WhvKCVJtI+bvNE4OJEOys/57npH58FO4D2j+wKm+nWESmMKTDgI4/k5n8p3hzE/JdD9WRXYOJ0EoPHX2Ycxw2w7OFfPWnMEI4MMc4IYU+M7mAKtWy4hxIv/U5U6T6Wz2sLjqutLVPDyejenol95VhkqXgJpwVzg+ItjY2l1ae68dUKZnHUatz22oV1yi22f9ZgdJJZQqQukILTWOc37Ql3aEyH5wu3Ait0yEAhl/k01AUji0WC8QRWg2eAbgbwNL5TkPsY9CrDowsTgL49NX10ihRtPtg2DWO2ATiNACW/lCzSIJX2uX1TMLuqUnjUWWpTbiKz6BjIi3QrkLbyLHUgTdBlP48dYtIxpn512u3DjO8NVT/URsAOpYyB6go4HJK3TBdZMgnX0XopJ4BZJpDpBUN22xlICGBLiVYLwvA4R4TJSgC9ytmfoJNCIGwvkgIXTQA0nrn4Q/DBMN6IhoSpTh5r7NuL6+mLXagMkc2fuAetb5rM2eN1dB1CtWVCFrGa+fyzx0bv2oD+x+CwSuDVTzdoOzL5WB1Uzt/x8Y1PjoFFPDjPdYTNoVarvtPor2ROhAD/Mn8hXe7eJC7+fV/t7X4SsVmVhc4vm3UQ2p/EZKflAjxWi0+WQbKyu0r0nCjlxxEOtu1DJPeY08v5t0Mkj+2G2nLCZ1InMa72W2LDl2vcpfve59bFisMt/DcNne7Ao8kmFQMZn9hDV+rg9+5UzeuRxL3mbrZ2tJDcPqHqgUYWCc4UnQI091FbEqoW5HXC7ea9miY2XQyI3oYGLHig6lvt7EazMcKOJTEnLw/g6WBGKZ/ShcbCJh/sNRtzBmHLvqQoGJqz2ZSI7ky6wZ1q0XO23rK7NHyjP9n08C3/7tauzvFPDSSIM9P+R9e5PVzBL0sOEmRe3BLcp3WQ4eN1UxFqIYA9Tm/CFCjfAfPl4iqmaHt3eKQFbeeeLfyV8QTpl3gTr3wmDLaqF3c4EZThttO/IR4uewkGD8MzbziskHfsAIRGHE02XfukgZl1Nrj9vqijOf68AgsSds6L5uI+702bhvtUy5jE7oN59tLYYDs6twzJC1T+v57zj3fC08n4pbPVudxgl2SjB8tEYUVXK6KWihMYfNRYXALrrgVcEI8aCg6Zh9ogHIEvK3cqqeo76Ryk9O0C/YoUqz81jmkMUWdnIpyZyTDQNfMIqbbWmiSjfbm/+JEmH5lFAhj97196ScblojG7ISUACWZ30O+6wF6lp6jWed0PEnlGc1cs4wnFUGMA0slI1KJ8hlB+nb1c1CKAxhznznUer1VLcxKaTaCPFq8JKeaRR6D6QFo5FwTIF97/z9hI/jLcYMlJJwVFLP/E0P1fKHRYVMI0dresfqtBsf52v/bhZ/q56iHuQ8QuRW/Yswxm8tmlMk3l5MetpHJkZXI1M4S6GCYAZcws0u9AdhwwlFTAb/gX6aGOOccFiWUvfB97o1wGhL87oL2DWmkcG8d0dujNGHslrp3PrAHp3NIv24MWfcqDvi9FVscZTCfaALk4uQkJFLtrS2IUC7U/IO/V4Oh5ytErKcpuIDXqRqaLo/+gqoDgxSgw5hLf4DfcBdib+KGs+HyINosvyoVrbKgHLgApdX5tqwd9nM0NOcny0AjCuIa+LDCIl4bh6a/hVKUPsTunR7jttq7a9NHhY3J+V5KeED5gBfPcawmBozNvRhlPBPeFdh99+Vf+/yAFdER8ynyIIWNL/yY1VAa0bBoky3y+9iQN/HZRvmqgoaEXZVYOiBvz4Ovrh/NtKmlOf2zv4sWvM7G3ZByE+GQuNkl9roaqMaOO92S8nU+EsocTUYGTUZvfwqp+7egf3vCQ+mo/vT1MjF6DDdEDmXdDTuh17kmxiqkPOeeasUP95X3CzePyDraRZPGOEcqiAw/F+keTmoHknRCLPbV1evCN7QyMxaWwu415e+3xZMMnRlmApnLLvHtWWPDbqhfL0j2bFPTGaPBn28Cg9yHdBgRChxf2v22GHtlV6tE6xz3TyAcrAqW8KENZunmByDypzUWq1RLkFbWFXHKPsk9PxLGeB//K0gJAY5K0uBoNiwY0ME9MhUvulQ5KHq+Ytn3OttaFUMd0cd4UrJEobTIsXDYksPJR8S2MB2/1rr6e0JDY7zCGkJlCG9MRnvTKNNba7606u3evPx3crlzzYq0butR0taYr86ic5IPsq796dJ+yJn5Crpn1c1xA59XQg24LGENDj46LRtM5xihl3h9ce9aAwbP8tnrAuFNvNtgd+2hO0CYiTgrnaAlVam69qBqrQ7agDzRws2HShMLK/CySAR7xSdKTLx6ilt3c8S5pDfmbUxOcDghm2AmQUkJLclTR42qg6gPUcDcPXxESLQdkdrSAxmLu08rJotyDqUNNNmk26nVbPqzbKy4QdhCVLl2kNWJkD2pgdLlx4kkOPHGeAEHnVdsIghfT2VgPkX9mTq6n4q2Td3j0gbrj9kwG7wf/Qp5k/KVRgbZoFClDgRJhtwfrfbF1oh1nj1B9dxAEQ953gKOBhPS1Iko9ragiG36D6VJMDQjCq4PAIL8PIsFbYVm19j4+rY5ozPtRgksDLP1qPvl5WgTJD02ZdPpuDBPimtovkhuF9lpVoyjg8hAUw+CDEjpXopkiOuBI4GacdCmw8FdtRd/YlqsN577IJh6C2L+JRh6u+dPTHyfRdn8RmcCpcvQFZEQ1iFabEi4aMhJDX7JiJAeM5+Kvj5rQeqmBEM8FQX9h4ijWXTHkBt07+QvF6pcv0KbS9LZCTHfMTCGh20pbUqjRkjJewJjVI55aApvea4zg33Q2H/4VFIuNB01HjJwxsRGAfXAJxfI1BZl0ZFSGL3HijiCWoi9TkvRcV41rJIiqUodGLar28ZsU/GwOuMiaGC97R0yg1YSkCV329FsM3LShryiOJufP5hdKUu3lWzhfM1ZWcES8PWRL7HLYwutHDrBUqpRDJeJUewdsNaQBr3nH5Zn98y0K66f3xqcEsq1aG8LkO2oRO4AlSMcZbse7wqJclb6COhnJ7Nbr8UzFfuhjLSU2n2Z24o5zif4RVeHW7KqNF0gX5Fe7qAehYwsNMb3PdZwkQG5vi6l6l4mHsXH9vXw96jXr7GTYmjUXACiKZuj0hh+M9DDFQUpIVW3gDo418LauyGl1zalQbWC4fJcIYkfgO6PWriXyUyr/qlhUSY5EIUjDHgixgpzKdvNGfV3h7q43gQiNNEF7uniPRPL6guHo2wRdibHusRQYewlOCBuZv9Pi3PAtVwMEmnfcdEf5wM4B7C19vOWidVfynPUE6nt+jyiOC0YgDaL4hb/mbdecyEcqIqO+zTECGt6Y1AugdQXhKXB+vOwBJoV+TUlSqQj7g8sv+PBFGLKqlfTBeVrfpRZwkZiUcLfW9PykyBno9rWUkn3f68mh1TgyyJE5yWlzf7hf53KUrMaseWoKta16E0Bc+IKHLzyt/A8vKZzfa9xwV4G5BkKoZsbHe9wqoS79w3G4QQenObhXgO7lAapps9RLIYEaTASSY8HAe2SvQicoLB6Sz24X2o0JNWfad2GuioxPaoeEBmIKnaHKJ6xRMY7x1kXRzH3nJcg70Fq3p9VqSL85o7oNBMvyXE05UM5c4QRzKU4ywoVlL7mSS4wNaXK/or/v3Q1MO2uz0u0dcYzfi5vgfAujIupFUEZKtmewyBEdqEdWLufugaoTEcCiIYXjRvbypgUhzMyVck9kh42qNBeTIeQAm9ueUixY+DeuqzOvEZTSjuy/ycS8dZOGFVBvGQ+FU/LiVAovRyDZLJDcto+R1mDdw44sv7bnbPQACK6Uv3NVFw+e2q6YYQdtVySiVbZ5MmruyBpWqLvrdPXI0hBa65NK+7pVgPZa9nuAKtqez3KEQtE7eN5geYau/sOgqjcJdnkbP3lk2yTXIjDgVLDYxG4DWcujIWE9jhAKfytZtWUGx5JQu/YZ1eeHT2ZlFGM8WrDgztbcbngf6A2PTi6o7bSBstlScSUW4LqpkCxzgIoMCSJgP/kkn+G0+mVkVW/cA0xl4jn+E91Tm3h0CVJlUmHC4s4A5r4VoXojpsQg/C1NqKe2ycSrB6L8K6A76UT7XG9TGt6D5I91yUGXsQzue1T+yLaVEfZBOsHEhxgwW0lJWXKk08CMsTDWMVDItkebzUKrj0pvkRLmvkcCPGj8O0CxjAP055wjyhwReCmh60ne5K5GethkcyAPEgEI7uMU5wBis+Owtl9JynfPdb4UC4Xk5LBxGJgSisPVtpyLuNakjp72czgAjiX8jzbx+d+0gh97ddWHgsSU1H5z0s9PpgLKj0xQlY6SvlRAS443PYYxWuh+03xMZVbgjxNGDt8RCUL3rN8+pVIpfTPliW64wcBu0pPPZ7W0M310heRAEAlZLKSspKn2jnOXKVfBmlNHZHUrOmHvVrktQwvJN2URhTgxx0tBkuozJBthgw/vcVVMCTuMBz9kKt+jcy9Z/FeyBN01nWm0b/6wmTT5+VzwKXHK7IsgmDEG6Epc2VgoUyq2nyoAeo3zuWC3bIXluew3Q9uAYC36FeE/aCkT5T2hJ0pcQ5rlf3hBWksDR4aiFHIwDGRDCQav0wX5hSl5D1j+SnH2k2ph1lFzNiAFl4gUz9t4Y0v1356kbLxMlPkda76lzWji/gpuPx6f6+wkzvrki7dcPaWpNd8sBSjSZU9VfYQ9GU5bEehVC3+7IP1i8sOwy+i/Ydnp3DIOShom8nir6l0FWi58kTi/6Pw4kbqqK3ACvCEqxCAT1G1moyz0ifMwQ7CxhlGreZbVG6Mrb2R9jJMOrSPixbqievVPalPWoH4jBwOGF96A4vopt8s5Scn77L2qdnlVcxdiAKtgNZZNXy9Wx+t555DhZMgSW9nVpokoEnao+0hRIDaOmznrzpGBWdgFQF/WvK21Ol6r4L1IGEB7QL8c51380CtUc3UvSjsTPl/q+sCiD5hDLZmOGZ8bz/o0bxs+ylYFgmoNYe1PgehrwPcPXSIR/FSR/ap7SCO8Ld9G9dxYadwzMLKDmCcNDYclqh8JKym3aTFmIjM433FiAjMeUBYA25Aor+AQWauJQSmJVSV9f6aLBdQAkw8fpZmoq/THbTAsB4mOmfjSsZdOjnN1kPjdliZaVvFz+mNXwhuAgF5mFDlk63wacZpUmYLHYyV86+r3oS7ZpjQRIznzIGY41F/chXHji6PYC1l0rWVYu9TiI1Ja/693c3UBtXPmdyEGDxkYee7gv3wVjQrxFGTnMT0vYpzkUjS57kKMkk0iWS/ojdglC/hKCohk3ROpHn4/t+XNqSzobdVTuejFwM1Q5UIAuwsbQ5SMIucnnhBSEWW2PdTS82XZ6J93DD6GChT0ntUZ0foL+5ESi/BGu0m3bBG/+ygQDQyw2JdGGk+OqAuf3XiHrJA1WWWlJ2oo2BJG3ptl9V4lJtPaWwBGyyyZSU8vCsEwYsfZ57gGNP6mDCtMzAuQ/2UkgxKNW9tvJhc1it++iqNlnE9x7mrJ4rKPNy9D20b+i2NNYyd//TxeMVoLvownUwJYw4c7XulBaEwm9kky5hrlt/QBYteqbhLFJqXNEjUpnBjsMnnH56OAhV+p8+h50LUldz9THlaKnbhy2i8bF2VFD5ApjCQl1OYs3HRb9ZsQs+vSkjvERl43rU8T3slVPReKApzZN9mot8X1gJqlAb9y1CPwM420LxaSF4DF8FrcjyfMG3KAIcfpJcU3TKq9ktEFa4HZvuqsFoRfK5w1YZIjy4Sv40pBhfC2SfpzG8F0+tw/INTufpIZxROblzXjZJdKRowW3vvKvcuAmBQn9EZokXRm/f0MYMtH1IhgPa3dsSxBxSbvBcjzwzVRwJPlibN5m6/nr4vAn+0Xr01hiCIo9lLo6wTZ7BS+9iz485KjESem2BrJNXlIQfCQb07nNYFHMUzXxPHBLdqMqp+QdCU6gX9jTMDZkIoRXs1g6yICh4xk9oINUlG0iK+NXNawelka9nmPRNHJXz+I9NsGFplR+L49Tv1xYsJRNjiMKxIa5Z4KW7VV+0YtGwB6rJ9CjwvXIDwCQMHM/fgUA+Z6SOx0R/tYwTxeRbEshITgW7VoRk526jVsorGNIUkj+qQXYde062dM7JlIibnxLu+oEDA2sV6v5gFxtOetcq0LFUlQz8gSrCU/dDpWGHaa9v9/xssCfBLdBWVZjCOY+/HZCGtMBcRgoHjY+Sf7e1WLGWpZJwcOPKVMhCzUTCoh1GLY73RJod0UwvocSNR8mCT5pmAkUBfUu+1Vmjb8xSdze8BIe9NkJ+2Kq/Hb8AlrG/8tXLrzRq8bdhb9TQ0v6Hd8pwohO1XhXG//n7hC/OHBWSxKh6Kj+cAGcb/2B27A1Y8gKz9/j6B3da8BW937/+sn+8cdWs/F2Jdhn6p0eDtu35rIjggZVUq62gmBCXS2zf7yvfZTpUfSmLMphZoekIyRztTHD7O3mjTjB1lAGM6dNV2nyrIr0p4H4Dd0lLp46q/T9Q54R1iArqqkCVu3A6Y2bLsMs2jF/Y269gwixm9zzznlen9Mn2wM1zNR14lXofXbwmm0Eo6YkCfs+hi8sbNyhkidOXAC6yMV+uMJHPk0pIOVeHC1fpp8s5tYQeJKSFloWEa6Ujk0SDviNYVu0vKCR022EhYjSCYySfDyjNQKi6l/Y+euifMBDj/1OxruKwSFZurOgaRfCRfa1Dk+gOUcK3E48Lei2XyqPJUWWZkeIH58CXDwkOs35sdEldA3wFcZSNVjFQk3lX/fxlU9I4tjSXpLv0slBMR8ZIHJWpTlUMs+MGtW47AZ8+oPzdE3RZXH7D0hPhD+jCPFYkBubXdZg40J++Zdunpqdgt3UkYKCovoPw1z9ibbf0L9o+g0cPwOfSDlzPyRopjYiKEPMWF/mzRW8ilgEUPrEMD3AJPHnmMKFTH5cIfDkWFLjrZt9y0soWIeynCugfBiFjLexS28Dm+Y2auZE3EvpqzvqNhbQ6RPzFL59Mex0p3BS08IXrQncztS4qSLoDxNA+9ZvI95Vx5eFAXRCs3pq+ohhMlFnv0AHaewm76YIwgaw/WXTs+Hvl8Rjy5Ex++Cx/1VJVAqiLk8fuP7ZZy07bDljatNt1OtILRxUDSCS3XVv+EXcZoz6ClWUjq5lCdFx10HzFl/tKEV3oBOTGCL98H80qAFp4bq9+Lwct4E7WXNJbTKTyJeBO4bnfooJH6EUIngsUFc8DDkZ7oN7j7rVY35PvrmQCTj5f7k8SIqofN+/jFryk8Bp8aN36VyROpHOkLaIPB2G66DSgBICTgT7E4qntFlzWpAvQosqPG3r5q/cY0MBSvtY/OUp6z8lxqBlGIDj53SFzC1uD84Tdj1/4Z0tSB6UY5/mzMgPlMq2SPublzAp/8AJX4DHLPdLWMdFguLNyRJINLDVglaRzixB6lgcKfb4lxCOllS5fymeNXC4HwxFadj8h4Ctnzb2D86g8tiNH9MEAa0iqAK4yNPUxgRawww6oeAHErPvQ0G8B2xoHBY1oEIskHPwlqgMdMrQ8llCYawBafHIhz+N00kTx1/bpeNagJulYcXHRrBCxpUmUNeh3WAm/xxHj6iYktENgCiRCjSp/6qj7+MoVZk4Fm3BfjpAT8GpIfg3VTfMExPdo2a3hVCLvPS2LJDRUf6GK53iJncCJrTrm1NFfL9EJao6gUzhlsXCIERa210ok3FtDl5QxXQlywa82vhzNhoQN9Vnsa5HV1Fndyv9YEAkUXzOzH6VKTXqPiNtDJO0utal9h/M89DR307ENpdNSWYYu514ka15RfNv7R7MvcyQMXhOcPFToiZghO1jR2B8qR8i8jsHxGyqlx34Dw56ezsVyykknbys+r7LeuvkUfipKyTDRqU+fTazQgDoztsVgfHoQnCzhlERICMOAcBtpF2t4sQT+rrFBttKHQ6VwY6YbE4a4vIDPwySNVFdLoHzSGGLoVu0QvMfELioNsOe+HPjjsqbSkoG+2MBF7olfMmbbk34hTXmU6I4ner+SbgYmZ6a0+MNglEzcVOqL8o4QdEGNsFwMmAewFpS1OYr02qzyL0SFEe3odeK9aIRDZTVxSvHzY0W/QZeVMYNjbBAYE4f3cbeEewkCkFu+MGhUmDlGu+paDtEo0gAj2EpzngbEYP3/DLKEbpbaa764nqs5ZstlSichi/oSl5VTowhd5c3mJsXozDybMThVoIpbtJ37EllWUs331OGSuRu/w0cI33dn9e6buizwlFTItbv9W10QzdWIjLweqozLWChEYML9f64kJW1oUrue+Sr32wkPkmsVb9DqtRsQPqyPQlMJu1a+N0z72ciqSYcok7kDkTOx7AGJ8JcGfl+BqwLjuDEPT9uin+HmtWTF5wxGwDy3787ZDXZdGtN8mBsZvsfS8ApnJ6q6mL4tY+jkIy2CGDPpVX++lw/OroAZbGoXrOjSKUxk3br+3in6ZH8vYv1Zzw2j6j8wlyoe703/vdVe0lMQfgyDaf7DeeYa5mj9qgQa6QIjmTj9l9UzzBt1kwDhyI2WXzhYE+wywk8XYj9AY2/Ac408++iAAlY7gSqnomKyX8CgkzpfhBAJcVnLLzEGRQ5dkWeHiABDEWazHCMST7wEEvYeGd7b4poyZKO2LJ43pDVQhxwba2vCAHidwC3J/W1jDBbhcAlW6XftSe9wU6ObHaXbQvmGQNloF9jwDM+VA5al/uaGEsIkT0Uh7JzqiddUdcgljAYjO1fwJngyXXBKfqokw1UX6laSRJaxRNr+8aMOMyVx00jQ+iVWWLRydi6aJ1uCZn0RZh7BfD1WezoOaNWofr6CVkNpFyry4lGmkLZIm4xqospDfgcFYK7UWTvxH34pKTvzjkQwaZ0n9cbcGtv+LHS99hgvwT/X2jxhxnRcnJdw7iTMji4u3Ta6cGa5sd3L8xdH27CAz7jtx+jWnUf/ehqULgXp2EiwA0y9gktasPlFBCykb+qMO+vHKf1ef8drbN23sTe9Z7AzyTGWcbk2NEBwYnnn1hXBxevvwAWUx7vArgsntNuQody74mhFf5NDxqc5yf42UamBRI2CIXQG+OqGfXTMN8A90tVf9YNsJhO5f8C7n13ZTZwXTH5aGFlTLlcjANSfqJ4sEVIfPzH6fHKgntTB7ydoEEQXXWcY/fv/eIgeKvnUrYDoenzU8RIrhnQWgXIOQl8laLs7QHEyu4YNXBEDn3qWzs3nTtNTt7YNIZ3o3EfEuC70eni6+pOq/MZZc19Jmy21A7kzdxOa7Vs/YcwqooickMx2iRrMFAR34CN6dw9rQ6bvCbHzcX/s7eKGG3DBstWw9oakXGnootE/HhbOhHaw+g2H+w9kfCXnIkUiDw9mNr+4U7hnDO+8infcJjjSht26GgNyBcVCHxgT7GvTDjgyQVuZQ4Bl8P9yLv7afuVtIwZ4UAhRfEpoIgmp1uTdVkJkjfcXtCieV+ReMPVsuJ5ufVoVOQamCyFj3ERvN4a+kO5vDk9bkBioHv7rR/c4thbIZ40LUpgumbazGCQb7xKSFxHGxPt+eYtU8XzZ82qShvloAReaWfFs4bGwRGt1fU+fIya3nOWFSVtA8CMJW4UDnbHOc+inICoc3titcPt5Knz2mzGNK90ZrEZImxPvVkas1WUAFBc1hEvr0I0T3b4MYEAT/ToUUcA3wZH3TEEvQU1cfnVty3EzuT9tpcSvxFwV81hxDMhGHa8AApt36nv34JaCezv4vjKvh5afW/iXVUllFG4SNqk7qufpJ23KiYL84vhnZVj/k7MeVABkjhzOO6b2+N/ABt0khDsmZ+au/29eO7mgxWu0tivuTWv2JzmmVcCNg55JZVko4guo+w9Cgup8e+LffZdM79LeQpG3MPE6NMUj1fnydytgLZlLvMqZttpKFKlf/gez9vImMMVPKkCCXQwQeTQViaRrabHzZTN/WAQJd168n+2tZbYyIxRNQaBL4a1HVVnLfnwB59Bl3vzIx+GbB7+C1PyI76j+GVKBVBoUdBUr5TiHcP7xDStJ5jIoT3ihupCwZZqm8Web0DV3CM9i1pwkJ1k5LcvTp4cRIvESiqL9pfWEWDG8s3kGB5AM+a0idvnyjI/BcrwQhp+kVq3vn0Acmvu90a/P+F7gN99+pcWkzpknfVzHUvKr3bb7Se+oHMdU8jAwWTQDigIdKMT3i+wVkjnNhbG+6EbbX6hq5J36mnzvYdRYvUpg3x5tsMCfCp7QmSdI755Ax2kbTNCtQAVtcACCfalfQe0Zr3kvwgBXhI4eu8OVH3U3BUsjOI5QyJ/FqLOMiwYO9dOIjgJHSxIbmcFQ7oX2a1o9ypnrL1D14sH1eGQqH/wuBZFvRteImSTxyuEJbEMXXr7r6zVNCTJJy1k7iddDL6ppy9MEf3XgfmAEvnxvLeEh7D3pjtXbzq+HWR8Y9DpJXycnxJ26KBzjrlJUtyKB+oc/10BSWohMy2Nb+0GMFT5gjhAdGiRimSGu0+YttTy2Xx0j5BcIJGoY9Vmb74oWhLYV8D6ZtjV9n17nUHIdbqyI1OdWEZzrTXyVwO/XvXqCFIBtIc7xg93BPDITaaxr0XmDeYBM1663NfWrQalfGNlg1pE6YDvIcz6LwCVcmVG2bVzmeWwXxk2WtHOz7HI5Ujue/9e11/BarI+SFbv49IZYo+FSZ094FDC/91i0RHu8Noh1Pk8sPu1vVjt1ZhdFftehtp7O5LS/FqCaF2CLIdPmzrT80/TbHP9ohnKpmxp/BzyE+Pa4Yc4NHzDd+LWnchsg7xivQH1ZUa4w3RfC29l4sMbAJEiTdWkF6CnWytdC/FKyrX30xGvY5+NRmbV9J6gRw4ZfdL1fjoqKe57eBRU/OQ7IVzSVGQHAU3cRkFH8Ud7J8plbgkV8nH9bQF6i5i9swMhHdvqO5SvOGCFt9Sk5HWXGhbhnpe2qrXu1o2PtUEZlcr1D2TpkLMSTurcp/8SpCamYcU4iN54ZO9LgV/+0wVzKwkx+LzFKQkBoGHJy84F/LV12+jDObASTzxVb+OpPsRwlPD7IMvKMVhliiAcKrSBkk7h5v22jtxibeXMr4TSVyJ0gXCP4xPmbiSWPy8sibLHrR+7pj2cl7iDLkRolw6E1V0l9SlDPAWd+DFuEuzsF+BLJjc5+dW+h1ckTe3hRaePRMbYBQOUOZa47E501yLyLzHV3DwZ0u/OQaHQxnNuw/oR+CwqduDuOuPyG/4UlMNaYFPERyj5VByErV6897JPkQWJIsfMrSf4zLtnR4N8yNqBPVwW+vSA+tijK6XQ/HCvBLJSnWG3/rZbVO9G+QJk8hKKTL71ikpG3VWKWCcyD4zlZEvJxEYXxFcuXv304iQwvML5pGuS36vLiwTLDiAAYq8cXBEN13a8ekhIcEaHMu69ZZrkuZjCBLVrgkxnS5l9fXs8kcXGUZsDUDUWoysTtg3wbWoTnBpJBvOqzB5uOcq8qvU9sC/HR4+X8KS+yi42R0XLlde39Us6MMlx/kn21L9dwXwcGdEFxhoxF0t79YrA1/sqCJ1s+ybQKhdrZHR4PomabjU5LwK4p7T0B2NUsOHGNX20eTSdHQ6RGVQmKe0FrfgAJgnthIHQth1TcXOzb2ju7kqeUvd4Dt9UdtXzL7P+8yUnliA3dDGkKPxW60Atn/X7fK1YqGuHIB1P2fcq8W7Jz0LERgVrtu9URkbQ0NPlveNRxixVMGKjUpuv74yABVDI2TGhFI+fqTY/GTCBI86NKE7iRKL72eFRRcoZihRkITXF2jMTmiyRfGyG/hakJQgo3+jkFFIp58cQskcRcKwqSjn7aA1BCuNXRD4T3G65Lt1ar7e50sPEHa1BSA40Wb9p2VAoxeKicuwNnC/9ug/fGQDCoc9ykl9gs2rBQQeILE8gVgx3PcM3e3qkdyqWYRkyydLxtbgFOwjzo/kE3bZIPogjKFhmiPtC4iOWokIEtgW9j+6k0kPdggbzMfSE9WK9IfTrOo7jh9R+ZzvNG0SKZAkGv/LDxmS7tqsaGMc8oc/lFsSUykbq0lDWmsUqeqW/ku/AhtKy+KTNsBDoBYhETvHK7Yo1rz3SLgFoZDPjn/fQNYduBVCX9dbslCv8TBxiam4MQmxNWJcRKLip6mSP8DMSQK3luVmG/qqqjfGU0yOE45wOwg3QqPr6bpPhgmHgb44vHNYbwdk+5X+e3/tbckhHK9jVLdVVwwHGQ5xk8NWTL2eVCwrjsEWdrRHMN3UkqSGhZbOmMOG/z9IjRiQCOeXlkjEyp60bu/ZuhLEax6qVxlIFcf1zZ/lFYHKIqzttbaoJwin0RGbz/s3r+4lpNAun6/gkh2841wK8v9QqV2gLg4sA+IuOOOv44OllmT8c02sPufHOL1A1SSEpXMjILhDu7rruoHADJqT1Zi6QkIdXzdZ42koes1IsE13NQeG1ucy3rUE5zxeN0zX1BjzH4IucOsQMiigc1iTrqT/euxrJ/A30x8FtWCyYLpYNKcyzSkC8wc0/ZMK72hgIDy+aq8sv9+z0/lJRngy2VGNVKwrPfaVBePr3IMGjotNaSDqdtOU15JJrVGh7mFdzs8AqzyX0sqd+Hoc7zV5zaUXJJ6s6ELbaaqnvsa/1hSNv1iCVhQri5yYDHjnEWLgcfvBjcSn0NQsbBDThkj8Aerbo0kj+64C21Yo7PrvO6Yf2ccCt+/OYXyoykIsLmU+e00PHp7BbwB0pj3w098gRgbAUbIzJmKaMfVE9wk5QQidniJHOdEGdvpFlTVj6IFFKceeZtkrX66OLUXAAot/LZ4o5gZyoLzM+OPThMvgE2DAy6f0L45OdHpDmcWh8p94vNJOAZHDe+VQq0lqvHdTdQU4TiIuNF85J+hxHEODQY0hc9aybGVjrUQkwuE56DQr0a6V1d3YwRgeP1g0KKV7gi6SsqDOvFn00xv5+bkRiwm5v0lGw9OYVK5oWIb1+rQ37+1P61XvfmCGqmAeMy7q6M8Ys+BJOju0pSs1saU6J5wmU1Yb/TpBmzsKcKUBc8ADIz/oTMjiWwP1UjhxFJtpWSG0ZSo1LGMgEJ2uGMIJ10X6lWHiYtyxn2tXVj3zrmxJMCvE0FC0IgfilK+jzNCMdDCrnNW9fVeZgBoac6YE1o20m4fdpUi9XkWgJl0X1icD32sjAoy4VSNB+jtDoia0byopEukfnfIyXn32dj5fFbzaPEhp2P4MsM0yLqB9CE0fW7Py9skyNbDJ1t692nVHTJNVDhtVH2Gv+mSHMSIaQAWMo1UO1Zsot79BB/p+kEi8/7hCksQ/XNsA+CEx6HOoxM3Lmv5kHth/2ETg+NhrNoqgenvPSxPjFFYEn0WwhYtm0j2bKuR4V4HtHDs+ZhcVa75wcthpwNtRo1vhcqFZzpxel4HCW8xSvE3Qx0CTKdV+1pl338wWkFzjFuC6/a/0mEGUest+R53ftz9LVsZOFouf1LPKyEVduCapWQWc3JC3SqdhHVF1ONseu3Hra9XvebKD8NF7LKsQ3z/BmUVss9WtH900irrFPM3fNKQ3QL3PTY4Wu+RkCM/+8e6P32acCnjyhbDIbm8g2npjmNbmVtUKQwad+zty2yOFMv2zIvbvf2qak2n1Yuw8PM/DG10R1IQzIHtSkhcW9xQAt6QOuQsW9+q2SF9m5uSR9Ay1A0oOV4CHO34B22KNWekH+knvHQL5ogitWw/3w/9AtYXXonVXRDvmjBeIzy3m824as/MCNuT6LL2YvD5pjrrUxz27EQKHOKORDI+OCBMiL9OEWbOBmF8cIHxhX2psohqXcCY9jRGSOoodVeVIdQGGJA8541axDOQpha8hTAFl9xVezUvurt2dvfweVVxbwcbj7sDg8c58Rsp9o1/JNl7ggtsRojtVp2bqtaPdfK19gOHCDL6+DdaIewY+wPYtrRjBHSb1Jul1RvyV0h74j2LoLuzMt2XvZrBfwvFJ+n+ARnD9HtVjrkBUUKvK3U3i1twLW2F1qpgu1W8Je24RuGI5j+fhzaPJIM/7I04/KXIWrJ93egqyta+ihYBVQXibs25paJ/lA6nlqzN5OOrxxgAWnck5yAm6L8S4CoCSKAlsKqaXmGsF+2aSrMoiWK9R3X7mal7tEIEBxp4Io2EGOBpLLmQ4qPPTKxOfdfpUuyzYu/f6edusGu50Kzo3v4zmZds8cNBfbLWoGe+99tGHPGUXdyNKo4thh/bSj1nWwk80RCa0h/dYSBlkP3ZIstaTv7CzL4FP/3Bhn1tBzKqGS5GjXjHV78EWOuqrni3Ze/RAWQK7EpmobyjOB1+jaMMNuU3025Ck7VzQ3CVug58AngoxP/dLqfY6PEdoVMK4IjKEc8tHdVqW4qZPHOp71+BsRBQHoXXH8BtON1pNEL3M4hAWdKH2IX7kyNorIWEgywL9g4BdlVh8YSphFhdIkAooQjzpTFfq1UBR4IyglF3zf5XWnuSayPbk3ojiDUMU1B28GR4sMPc5Xe5VPbdU0Cs5HiJz2udCc9qxUN1MmyXIqGmz8C9GE2uV7jDTmGRrmJM+Ak4IHrbWs78S3gwelZZBgbl+I3hx3DjOhe5WsAozv7DEeJro84y2wX4NEILWa+5oa1QPex+i2kYqbK7RZnmkoVA584wL+9rCFB+Ucx/Xbmm0ujcYTHHpeCEAVjjraos84auAptrzPXErtj4Z3f1XdWEpVE/H6+SlIqSn0KrbekSs6GJkx249MLY6yvH0ddU4TSHPNsEx50gMRg8W6Wj74M5aYUIsIjeU8qdIqUjJ9Pll4hhlYL0+nnJWNsTxngWogPC40vSX7o6T7AE9x/skFsOibmEQkCbYVkBt6hE0mfI3xSYFiFJYRxBgiiP1TgWUE+N79OUwTs5Xb4QlXFwoMCo4OQFye88wHeGdL9v0xdkReVfJ0ash0rhTSz73hcmN25eSDrtRpTEtNPTqykYijHwkNx6sqzHfBUytQuzc7DfIH+SeP8/Icm5gCZRq+suJcWpestVo6/cOQ3kSjaKhpJCrXRuOYgGSSs88QhLtCSdbBGAKtN8ST4QrJmRbro4ZmDaSil4floHsQaPzgACX56BxxUcr6uGd/MCPudycbbgU+ALwGNNSxe+UxQOZlt0uMik1+FHJgsiZ0DK0pmacLj4ZXdhxAM7+0VZkDGHssNVhYeIF3L8BcmoQzdVu6f57L6kfBNPangj57Sp7T7201sWg4anUn+kMBzCh45DyQFmGC7jCM/qtvS+yIFkAdhwPHlmtQ9fZZiaIq76GPf2hbq8FrXJLhXiE4436GULurjD4ziRGATlYiotm+bge4LWsgFLssytNtvYQ6erTO84H/u4tbMF2cDzt2hsZmp1kez5F6z6NdHH8kEXMGqbbncV9RKPu+IlNb7qLfksYuj3ZwCfNXlEo6LNQjR4V5kS75+jrQ+LLBX5bkZxlGNSc+LI42DacrZAFD1wMtUOdNj5mPBlWGGh9kjpZoe4oVMNIgRt63EeIxveJdvmJE2fHxdLPN8TA4M0WF3A0rVQAygD18Kuv6PrrIgqN7IatY4siLpVU0CRQHUSwUt3HsShyaMehIsYLa3oVUdgVHUGmZYbww2t/tVeFHV/v/yIcLZwfAwmqNufv+0ouNk5cnXIdB58DRp0gZBlhcBDuq3KpvwI876gPP1tQgeEK2Gxpt9iG0UuheRiXKsXeaJXDSAcGG4q1MjcEfsLW2plekVPpGE+LTxBRiyuFJjeQlib3w+G8TsXFkV+z5uugkOsZRAXjS8svl+pH/eiLaRlxxxAr9h/C+Ca87iCZhcd7NaR1YgLshf1AqDzImgwm29G2yt/O2Ft7rXRaW1XTxYC5gQmfCW5mSWWEbbjalYwhHGdK69PtAVFzAI/CxTW64wlfwe7bbzWyDAvHkKuVr/48SuBQLNunaFZGbbQbsDPOu8Uyk6N8gqbkdZThwDNKZbhZ+0VcrOi31KFlq9koGM1DabTIvOrL53rwVpyblMM6pr85bh27U+zeyrnUHfDn6Uck8dnvUXJqMWLVW2/ZcrQC/Nc3wOiVGHI/1igDpt8Z3qeTHOmzam0bRj/VYsG5nT3uZQPOG+ISKa1qWN59xcwwtcLYPRMYBWD+TYsKUfmkP95Ihis4HjLl+aRYmp6dhrKK6pUek2iCGbmA0OPfTfHXPICu0j1jPivm+Zzx/zTM5HJzmG+me58CXA+z8F+yTDYF3ScOwG/DFLKR2aSTwCJyLp4e8Gh8JiEdOk2MsClirtdXV8nHeakXl/B4Dk+LZmqw18/oNLdfW33jwN0nq7xQMa67YCJjHcEcBzdnXqJ3tAe1xbnhZjijQecHjivMXroz29IjaPVQoSSCwPa81HymKJ0EPuVDQIau1ptO5g3u4Zx5U6627vbMa15Jc0+k+84HYCi05AHGZ06zXhNP2ovAAw7PdXSxMGSkPOfsOuDKnCDgIRILA2yb6WIv7CPHh5QZE5PWdBKOlbQNacakbPD/sf8ZOkTKekBJ5CKXec6/qfKNOUT5aJ+8Jow2LPasf1bdKqc4XP84TuX48Ys41v0wHXIrzIn7wdzWiAxnTqSVd7PHAfpCRjsFupKcpW+e1+2uX16za943EHWvZqAig8HEfoZGvWlmwZIvHsdQtHSekXrwMZ6ebUnuPGtuJNw9Fq1qYf0BSaftSP5WL+XTvz3+deZ52DzMRT44Eux4bKuCt0BY1707JmdHaPufivMjMnVxNV34iu2o3MPkLVFnnIKfmTBCS8LVm9WFPVZn2qwZbd4Y5CkV++Tg6fJp/KQLspVE3Sqz+t1H4Iog8l9uIKl6x1ZPigT5aCcpIN4K95d+G2X1OFLh4tClDop/KphKKBKzVVgSa0d116MQUejKWs998q3tXz5wv2wQORsHbVI8Kx0E+peF+XSFMOz4ogxdh0WKCOcI4ViuQ6NEo6Xl6m2b4H4qTGRgvwCEL240rX0V2P4xUqcGevdTju8gS0NJQszUSI8SWFOn9cUy+kHuedsRQhbNC77fKaBi12oiIUrzPBfpoeIt/q9gdyCieB+bjagLRwdMQDi2VdbYON5YdsvOc4cdcs6/tn80299kYxSiiBMkhsRQtMRItfK39YI9h88XEdNPz/6HOUix9y9lHAeWAUntFmIYebzJXTpqrxUelfIEDY2EXfb0+MQ1mmz3oy1jRPiCo2PdqWU6f6HmmqszV9KqM7vBgIBo9tRxDdCNQu0knJpz0hOw98OgpXx3zlvN3KNHhno9OPj7nrhyPCu+rK1naHWvvO3t4z7FMwwCf3VV8uW0kibXw/USGOQ3QVI91tPSEfRr8/OAfUcxyuVYXNGCS4zk8SjAutGn+bgoMhYqA3FQkJyERZMBXXcq2uJNDCW6wC7M1/D6AyQmVwCsGck1P0JVsF8pp5zoMUQkHrCHuWdBOspEw+STZKnvbV2y61zZ+TlP0BAZeuAkSjviN6yjvberA+jfqNglar8TUIyanIe6gWJp6BLrsYlKq4RIqsinAFEuN3L2oCTkmb7Ce/6+nAByL1HdgsDi+Dv2GdDW5kJw+XixATrEkYqM9Rpvf21LM6H2Bpi32flXSLPr4wPzIgD/xA7GbHkMQGxyr8fPwbmc5/CCN3rt+WJMyfqgCyg9ACkmTfgEju7kOI1L2DddKH+hNgWAjI4df0/dD7/1CW66t4w9pgtJCkYGV0Y1AC9juA/U+4xhvOvKUfIxFTAoyqAek7FklyjY2nvuLOiHjwQ6mxX0EiflWp5qF4qTHQ1z6T6cnM0Q3q2HwcwKIThQm2wIn0RNnyWP8piqbTNYV60mn3TtHMFOufPJ8ll99jp8X4jrPsslfPSZZ8ct/sJx9p1CyllQLm1zkvl9VnmaUyUst5oMiKXvjmenuWCTqbiFiA4XEBvHY4mNrljZ2ex9joXENdem4agFgiHJG8XT9RzjQ0fciDtcBUQaHBvbTae5YW0UFueQTyJC3TYSaq1ekp5Cndkp09RGmY1QXrR5e4vU63D3o5wU/ag8ZJIzHyg16ZA9s6IQduC9fji2PHvTjZM61WxUKtYoRRTJqX8M/e0EQACK6N/awyrhbzWTOkri/R1eRfb+x2PqYbJmvQb45NLGfHDwKBHMisdJdSy7FpvbxMtEi3bShinP7rL2fFaRvkmgKnhbcvi0AgYOUhifBXS56Q8xZXpkeuDK22Cv0jiP+1qaw6LCTseyILwYxk843GkrOW6paMDS4oXDKmUN7npTTIskfv9ped6YKUZxYA2q+Djp1qf6iH1aZZUPIRkbpbaTspjLKwxb6YrankKhv4neVX4hE1lImvrZETJaQobYa9x2zc49v48ghJbWS2GHoFZpUdM0EKeG/Tz1gnkYhMIpOfB0/CrZyEYe6DfdXg1JCRaLMOaHYVUeOe8xuHINbhlNPTC6Ly+/6wSNXA2ICNlDQRe8TK8w/epy4fUWT5vDr4CXvUcw19S8ruKxbeM1wQk/8KjKcETECmUTTGee5/6aJpNd+Vm+pWtLE+iE16xbYP/llR/tS6uf1vjg+HDBkZgQT2CG5/QS0Z2Cm5CvXaqH15wDU6mMUgcA/J4gNCEug8lDoIzsqa24jDWwaKcJDI789qcAEabqn5AOOanuxCrV/LYU8084U4CJHfyTz+bKxxvltIcOdipMXzjz7dhCNC2KUFliJSyvUPvWqOhQH8cHA0Sf5iX4wAtZIa4H5r8sqKiITfAFxy+ldMEyrawOLK45yyQvpgeJS4OJcT5/5gbwrUUFavJtLd9azCPFu07NPP1GP4gLcxXsDePfQwpnXszZyAyLBPvI3lvOtP0JTkFpGTRKCk08M0K4a8yvnicqdKFdo8Hjaj3Xo5dVKeOm0yOVpKe0HmZ4XslwX8nGz4d20UvWHk9/sxocm9XVJ80dyEheTeWQdWF+X67dcLJOWx7x1bACgLYb/3oKs0gdW3SlxMim7BZmKV3cA6DNGR2ZlJGvI7UIPswGEktwGlVUyitp/BPz1L4miAp4X8JouaNytCvBbs8wDOuMKFWiRvmc6TC41olevpZhjXRzdUxIJycRDqS9YTjZiMlVtXrYg8nEVBBJ7qyZ77VsK3gbQWB0qcn1wixdOzS95Z43lOCUUG6QVvFlJBtJH+jjgDE9VEO3UvrVkL1TycNQJWdYRCDUfUZ0zfdj2U06emgLteBuNPsfSN4r9GWWOhXYyqFFzVkSyt0DWV8YG/RZpkvbyKrNB2oFjL56w392A+33hfnLBy+c5R/2w8B7qFBgGJIb6yGTwp0jDdGOz6z5Xov94go6glFgxomfHLMpEVJH7KKG+iMGw4HaLehL7EGRzzPQgJXn35KDpHJOgbtp2NbDs6ees3IXRXNyuiEpfCd6psDd4xLD6o6JzEiHJJgbX+KjYqLLOeTShkYbu7NqQpskKoUZjZFDZJNjrtjEubJk2lLyF1L7x6fpMmqDAHc17zCqiZmign9e5WqkNldhPN2ObNQ739jGFhNLyBWTbcPoOf6rsBsP8a89YQPUYKAFmhJjzNVkxJmr4zCt4dbMbEz9rVK9UmgF+NlKmgwG+X+IbpBqW6fJ6cTZO/kLJH814i8IqEoCsJPtOvpqEz+79T6qiBcfpUEkl8JPHvQL4tG12Pr+4eF4FNl3reLRsrD8iV2fffF3iaWDTAIFTqPC3P8MMS9A+BaBWX2hks+wrqRXvZ+leYOyYLh7tEVOH61xxqqIjs+5M0kpsfifNgmjBNwQLpqlPx9Cv4pc9nMVMJAU4OPTJ7T/9Urm/eAjztCYcGlOmlI44dASVllqAVrozchWBkHkTJaHmBkrMuf6ZRKcl9pk45eyufHE0lZoYZnHLv6ne6PP5bfuY3Yl2tFZOFQNlF/q9i5UMMP7pbXnA1jvyFoYzmnS/5i8idaLqO+FDh597QgjO0jDEkgIEZKJ+9pmIdUu2Fz/5MlGVNFjXJ3HAI3tPMO4iKA56mnGRCZvRugYBBJZ4iM2w1MbFlnDwWDmaDM3RbWsDH598+Ndrd+9kN4ralDQf1ERruj43Te26RS6G5LsLqlXTiMo4X5g2RY6wdKuDuOcjE8vkejZFrAD3POYedatiqrcYflKTA4W79taHypfq43m2mzbGeb6nuTRWtDi8WZb79R9TfHL3ZhZKMiA435maeARmBXc/8jfdxbaY1iqyksAmnKvO7kjon+o7ElTxNo8I7puSEs9JqfgUzdgmerAbdUtmJnF6gZaQRr4Okx+OnQz5Z5GLWsMU2rOZ5/EpMTpE2SsvrPazO8SVgJPw8nEYGwMaMG6VNsBEFdjbclmfcwyx0zOSSQzcXKM4a39OOlN0h/0lZHirp5I3PCXeZUxF5Xl44mk6d1ATKnGJVugFOfjKqaDDzzf0eFVZbn1tPxhvyjnNfBRIb14qdt7jdTpPajOfgVnQemPhSLa0GugvYnAwVu2tG5FiW7ATLDqoOI27wCUjT0gQP0MinlRc+gj+BiXhCLQ9GHBqo0u8XEICJibOWYlab2/aDjnCfTIkTWsMTdID1IJFohL1KdMKgOMsQvgEXGsEOaO2Y5z/ckr7KDDwFA4LIsO3EAobTBwwioW18GXd5R3Tpmqinc7WWSP41DMPJ5CdKTR7fLEe74fyyPmbLnuhXPPOlwq4Oit+tuMAjZ3uMW7EA+SdONFzxum1TFMurbD1TMSg/AZiohpWrnC4z0PHTfpfLDQgqZq6CkCkiXkO/x+SULG5shP5BeuRaoDTYbiYs8APk3bj4fsR16oMqkP6nfRk6couqGbybaZoW2KvwKb+y+8TS+SKHTWPOzT242yxiL/cgctTLnhDi+QobvEjzyHFEFzSzgTIx1sOOultn1Q3sChT52DDWBiVmYqrPYyYPqbfNu5MkIrvkTlG+jJ8u6FuXGBi7yjitI6Gj6/2miUs814Fq7XcXSiVXEAtF0lXiQP9BFR3fxk/g9s8zc0JAlGZT0wxJ7NB/YJznEOBZvpvoYRW23QHFjcSbeuEPAIBH5QV5EDPlfVfcGBYRaBpV8vDOh1YKJ4emNbJ6FEP6JyK9LHpDtAUTsSArrEbbs2mXTfcIw9wswV6Wq0xXqJ0bzGUtLsVfv6op6eS3I/Lul+fBWJ3CIUagweoSvi7mLHG/cUFJt4Clw8ovPkJ2Tk/8FjzGn8AcSe36CERnD6f0UJRfiOR73Oeh+NolE/P+AV1QdGS4j2/nrduDYQ24YSYWB+d/szvyD/vohWh+VoVVOY1nocE5yRGiGT2I/KTkflVyXfXhtvyAiTYkrto8noEr4Piqg7IG9ahTmIhF9sAyEqRBqF32d3tv6p5wpDGrATCFrK/u6+63zTA7h9kvctfByI4p0M+tjH51uxQvX2TJFnVHWOR8WVC6Z789FzySWbtrE3m4i9iNXmBm9QLbjRxcpzRiLlz//4g/D8Di4v+YKJMmAjLcHBhqoWZhE9tQcGfhS/3K5Wk3jpQ+Sjb6tb3zJm1X0YZllaC6/EF3g2qIQQrk+Alr91rNOoK6GRcpmo46iFpJz/T2sCO9yafRPw7OJybshzOOvlHeMKM4rklpQeyf3gqqoVrnrXVZk7PrgWu7uPyy0+N62ILTtWj2vri0ECAEEFrBGYUPLLQA72jKWB5gBN1qwRZ+hZVOnb3etRg00J1mWy5PNAqDWM5fDztVyLA6j7/npGgDLwS85wzkO9L3k/asyZDDBayMMyjeF7uXHvrBLXf5xrK/zZF6XAoks0ptNAGIxTFk56r2oFpEc2UCunswvpUqO0pu8NkMQ+ACE/d8FRmDH1Bke7yxmE9KkjEI2mKShSwY5scNfq1LXyJVq8k78aSPfLTOQ1Hi2klgEIbTpYvrTTiV9iwewSvu+RGp1mJG/1cKHgP6Bxx/kceo3LOB/Om/gui81Ww6N7uMmNae0GRMyv1QZQydymhBNlYaulnr3mrmQnVthiL9NZWHhdz83/OpaLplj+xwr0naM7Jxpn/JjTUM8TuzPziN4cVJ5HDPfLrzBWtRJNPn2yHXzS6+vtW7xUNHrGi/yPDfu0L5xwx2RlYpgxUn9G2OSaGJX4ap7ehKbdWdFmGvXrSmT+Wdgdsu/zmsqKry3l7PcWfUOOuUj4Wdv1gk82qDvS0pVXurpUJxO2NEdm65eoUX2PWtCF9J06jiaPyOKQKKZkT7B13lhMYZ3/V9uC1amLK/bo/SrBSGmwaGguSLgEWKXLZpZTX0BS3RDpWJ50d7XCgjgMhuC+aC+hgDlOSFr0MtoA25UFMwI75ELGYHrxq4hZ54uL0yNk1rsHbv4FUDdahCqG92BkFgK/q1ZEDjYVh5wdP1E5bR5zThSkMW43z8KCE6UJ6zb8ozUK0wK1DKUeQQ4OWZHWv7Hn9d1mPj4weKpSKaC+N40lXo6jV8rG+xV+6enrvXMTqJ/G2z3KJi8nghhHBRmOxTnN7O1gpCd6LkURUHzMpoBS7NzXU3OPHoQqbHCRHiIam0FaqK7ZczCbYAKWbk2Obirtephz0bBNKr+77kWpEahwipP/G51nFgio9S2fc3vo+8/Q2nDbCKLxNWH9/fS6JQNxeZBrYOoXiRUA7egQRowusnOVBU9XyoRx8PTnOlN6FR/pkakcTwU9WIyZmHKme66ytZfDNuBJevcqek8/YnqRffEUO/JomZVp2/753bP3tEqPk8MX0iFr59/X7TdteylfKWmXiQUO6A7LQO4awDVIPgDBPfLW8zIFlDICbbw32aLDvOWiBvM7VzC2tbZd971yVsGLPICYRlKI2G/0It8T09ltzjeU4Q2LLEgm5yqfhqVzyIelVPokzZmwh2vTdpHjqhB5q0za1edE051Luhuunybk/9SMRfgWY4gwCblfvC2k8lZBaQYaYWZWxahPotS6oaXcq4t2rKZUSt6TgqdXqm1GnKxQAAqvK2aiEr9jc5yELOSECAnjoBP1xoeWEMPAmnc/h3prSTnijDccBujnN0A/nWjgMieQnDu97kfrLiUVfG2D21igRNeQUMWvZ2s/Qu8yjCCGHw7w5oc4LwUlY/+FmUuC2vwfMC1AQfl/i/WqT4VICDT4kvfhV6mR4UUHBIdoPdLiCB7oOL78mWlMLDWkTexcIFRZKyzr4NOFMfoANTc6ukwHNp6q9PxBkZGN8z+1/9C60npSw51iLTh8lTwug6uu+IxQL0rFy13+3UFUCl+dOotuWP+EWVWslRy9zpKTio+YuxpE1T1XKjp3utbxUkRgkwULDoOIAumPiKwYm3625qHPI4Qlyoh40EBu9jm4xpknsbzf/H6cdz4X2zXlTBBXsPgW7uuXxL5jbXcxYgCYGuBGPD3N+AXFthb/X57F2/T0lBTtjsiKpVkUIDP0QmFBZ2PeYwnyjbaOjYhdcKDUh1GUiplXAk+zpzwvURpCRt31kpuYUyo6gcJahiuyYgYhJTD4p83qRAANr7IsUxbeAtOaKtEyUlCAQxV5QVAkLK9z1lkTrxheGWCHzrTtRTwSRxlfMUVX9j2eix4nVeIIovxdqtC/D1u01YDWrPK+epxuqudwtKJKFiou9pJ5Aaz2xrmzyJ9HAe0Y+jUIzZnh7DFuOxLjXgb9Vv1k+/H7qPTvySjfM5r2BOq87C5a15reYYlK/eq9sMYkGC5hOBW917FWJHr2Y76x+Tjkxqhtkj4m8BtW5uoz5i9iWKCnIsQOtxaJ06/2YWAoGsO0vhHZSlyeYO2JQNEPwrSFUwJfBLOcl1nStaXBuACy/q62iIjX9VuQyEMhoCtYyNNW0jFkdeoNnwR6YwQQViDRWBJWdiqKH4W6/S630yW+rpW8HYc+LJsEB22+x4H/kK8siUZ5hasIi4mgOJKKSb6UH1TAbVn4wLs8k5d66rcVPPZ5n49YaR3zUA59jBA5Jk6Hwdkm8B0eoFxCASfZQ9viUuq0QLANG1X8OZ0N9Sf34qM3HQuRf4AOA2tgNxBruFWan2VRZuXZJ6v+ddDabbtSdUoDd5/yZj7uSR8n0QHkQMf/g7Hxhm2SNgiP1JHdMwzYC9V6+4ujj1tqeDZydPTAfgeGtE/spHYeEaFm+JoBRVkV0A7KRWOuAENH0kTnIQuCuFTOHkYgOeTYalq53Ps12h4SFfxOzn2DTUstHJChC/fMwisQcmVam8S20w2NiXhrIzJoWGd2RqBE4SKCwDwbvzRdusvUI82kGTF6VWvgpTUgFJEe+zs34riOg9cQGFLlq0yD4YYJ1ODS4jZJKpICMDGrOYuBEYqLH3bkh9R4QKMICR0JJl2LThFWmUsptlbcWR8N65i9Rd+32MNYLBza33wVPR/IF2f75uMg8N60k3ee9vNCYo0lCojfBWLhTanoA+4AwNjky7HbvVWo697/rYXvAy6G4YpzTlRIXqc8yvBZi6CSVOXncEAfYnM4cA+LuzAfsTwSUdVJL3aIEoDCj6vVlP8wM3JPzHfdMQZiEWcP72pFnyDOU09oAQicbCGswp/HdNqedbOwJ+ECzA96F0e/EinNFyLpv1NBotepLLxdCtTvLNkuMLIs7IcJSc48gQ8Fbmhm+CXsXJG7AtYC9G4OUQku5AqrNYW8KceXYcBHNT3bQNp+Bg8wxsXjGNH/Ua6ZET1Nergq8MO6nUotB8OHQXPuhNjt+z+e0LDNELgaupT01ZpfvIS4B+b2lkbpXqNHVIF0HPBOjJV1ZSeTFiMBObLk1HoA0CCbF5pHnKUhi8nuKcwsutDuzMuk//aJQ2lVfqe/M81hIWpoScHdSGuOAG+MFvaTg7L0n+Zt80x3so3W0mk6bdA/CcQypHfgvnyktAiwqFLEaSq1ZG+bwAl3k6/jVKW/aiu7BZsQ2CCgyLgTD/7HSuHYiVfIbrX4qeQZ/O4h/wDVJEhN7IFUvq3h2dzeJiNgkWoLVsyKEKgNqikxlSc2xixrIKO6YEKwifjC6/urfSNxJlZp3g1bMdBEvRmvoWO3ajBVB3Nmj4miSNBcGy75zNLLF87eruA1xohIkoTO/7hlr9GMh5jqaZPXl/NLDZnwEslP2LuYkCMk4AbV1BwNa+GCEDkM76VWjp0NbrHn4zilwNwc0Mdu8clQpFTiZg0tpQuRNsNFI+iz2TpoYr6jGes0ggGNvrz+Tuqv2UmH+GByIhWl0MGAIUwLXoa3iVq/9m2jm6sc8tT+Oy4cFW/c/0ewudzwO4BcRd061DpVg0+MzbGKAmpY19fXfcNoSS62/7IiCbBXGDEH+E8t5FrCFW1nAIUKrwUW1r7fZDDufunxDoTfSmQgf67Ox9GcRz5DtZisEa1y6zwKjIaeSrUOJIwaTNiwl7+Jnlwzgdh0feqRLtz8osOAD2uWLMlaKY+/tg/WDmxURDsNL90lYuwjkxQBaz74X6SjJJqwRUNKvDtYF/z0h+0kUAszx0anbhUgYUv3bIgmTRYeG+x0N95QASKpUJnCPID/cKVrR5j8huCJKIYCb3MZTu08Sg6qIdnIzt9EJChIQ/GILVsfIe2AdUWE/7Q/7xM8Jd4KNIKgT3TOESQpfzVhreU8p2IoIRryJ18VMsNnu+i7RwBwIwthEqalZ7g7l7KoPEdUGMo6Hpf+ONEt30p5stqM5TuEbgONoad++/OSUaYAOXXBlYveHFxddb3AJ/3R3RY5X6y3tReYuSOCtjJPmKiD0bKXTdrLF7A/Y5TVbBr7QXGxT17BRsNZQWCZopzGZOg8lVkycc55kgndLtDvS6XGn4tSoaljYKcXfUNcZ6BJLQHto+pQQVrvn8keYV6KJw46ZmaVwoM+y8TeXig55B19m9Bl2PpY9Jx/M1LGNnnZQVIHrrFGY2NTMIutVnpqyX6y8YVPcEewD/N2/RJZj0MGws7/tEebUGVtnEzbC8LQRRtnfrs1Rg9d9EH4bTBjBgesF6H9Uw/fFSv8GAmDgKb3se9suqSy4kxDrnIUVplpBuZLswTd85/iduKB4Kd5lETHyrQcIO+XulRQivSo5yhVCIH35VTL64o103LJF7wdtrDv2vF8YhUJhWupr3MOOn6K0g9JcCU98z5yWpRuQjaaWA4zklimfA7zCF91t0TdCfKQm/rMpZQLERh8VbS8MAi7fhnXnuMpAeDzUrUse3C0aQ/RbbRFRhGyQ4hMYAz9O+DF6fibdJZXXczmZ5wwUQPzblUvy+oE6+6YfpgguH3KGZs/BzigJJlGNBvfiZ87kBSH2PnN4LryGrceN0m98zleQG1bSFN1BGMVboN7lBkQ90c/miCvOYY9nNh/oV09JfrP4wWxcFPFNCbOVx4W7WZunrKnVoGZr+7/zx6hc/ogXpOKWqt1P8OrC3XJdT/gF837uskx15N6wTY+zTwbzR8SqyKhBHNLESBsQk6/c2jWGTR5cI36SC0puMKEaEfyFH93BftqATmFGdmb85Zuqm6CM4lUL6RMzKWtffyncrX8BkinkmAlvVN5Qddq5QL6qgpD41rLrB1JGWU7HEV3M8be15JwNlZ6cd4b9HcaOhZnzT/cwQoqiVd2nKzBkr1bu5QY1j4AL0voNYVYMb9X8tK2M8kTEaTQCnuGBQyrte5dolMAg8c7gjdaLkBCpDXIPMlzOEKSv6PCdHPzDtiro6dQX2+au5z3QeBVCC9uP7VcOqHL3psxQaPwy2l0zdzdcA8rXs22+QV2qHvWe3/Zjo3zNQ4HsxWRJykj6OvxuY24Un7ObSZn5VDf1JrdEeSRqJXDiN0ifWnYIzDdmYeUHH78vgUMa68Mr6qL96UFe0c3G/Zr/6OxjntjGi2JSte8ITXQNsswN8FOg1z1S3WYYCIIiZJOCWpzL9Pkrxfri2jlEEZKOGfVR3FkZtX5g/lq4JerA8JzipGPYFGvkyC3/9jS3S7c9i5pETvUjNwGXfimjsMymq+MHq1+9mpIhbcwZTq8OETz14FTp7OLSnzZrWghGySIF6vUr/4nCHL44rSB8UIfCgDXhgCnAzQx1zUiB0vD1LlGKEM9uqJywDk2UrMrgcG2KkoAtKnggepi0RZ4R4yz6OHrVWbmN6o07VVfj8JQ2tyDGVyekl44S4o53nVdKZ1Q8cbdtq0W2No/+5lpVRwAypmuS9bUqxRhArsRiUo/XsLKJYDR+wTyzuu/OLLXnUsAMXDu81mNTxxW6CtkRa5ZDtaedKg3zgn/wyOmEVaSwuiHLvUNSq6x85kGVNyqig43ooCkv46FAmq37SYU4Nes+IM91zgq0QSr2S8340acWXqpK8z58si5R5YUYpgYrzIskywO5f7Q/amJzx+eZPqe/TuZ/ix6IhkprtEA4Zz1Q0IwUga0r78ZIpYW18neKqW4JrQ5nQJcFkB6od+wrWm6c5eiU8Lx6qZbUd6W+aKSJOlnAm3mR1/ByNRH+zfIxgc6eWiyrf0LFdl/NxaOE5PFvSJSC9FM+tLQjufTRzsxlfF+dGauAo5LIypeMrzEsF+i3NWCpidGtbWngDssQKeZ+Ohtrq3Qq1cpHIZouFVT+DYFV+avbOzTENXtg8VElkuLqX1ufm1qMU2G6Nf2DmxBn3cErFU/XNg6OPl6zxLtllZPVHnvFeND+8mYcVGaUSV8QLCLi8qwBuzvkdy3rHieeZeFXr4y5OvhKYuKUHlVCBrBj0swtDSNgkO2RqpCVu9vXrsGLlFEJNExs1/doF44ibCnK3z5EsVUWlm/cpe5yVHB2O1Wsqm8G6zvdLY5rdMWOZ2JAs/mHU4ixpYhFRYOyZ5H+gpuu2vBswBUsFJ84ArrBekM0wlXZgOWQrpj70PjIBlaNZZkBe0xkY53/KqQa4kcG+HmMdBMuyA+yBtVuvEdciIX2YQil+9eKLtvrqNU1f0/4GNHCmBM52IGDDhhyose+fggIM8EnchgPmZBxBKtmKegtsZkO5MziYqCij4C1JMKCjVhXJQT0Z/6idU+gfMWG8nGSoQ6uSVwTEbXeLwkr1Q1yClaWbP7OEOwys21wy2BoH36VO0dG/r6x/lrUrDEouleARxFo6l246QPh/jJqqLCxqSIVm6gaYn6zSKXPQQAckVVDYQLibbhMWOhmBv06MRC3Z273ff1q6ZWKS30M6wIpS8FPWOc+XtDC5SAkYxL2fEvybxBqaxRdLlnXAzY5AwB4HKO0S0vU6P7C3wBnxgb68SVRpV9lpOYe1kCzPpfhJDVD31iiPFPjObJwRFHev6M9wMBSUva7/KkYBHUchslKNTlkICFbhie4cr42sfA+lWe2sJWufRdQx3UykoAGdVeu3w3GXrB/KHa3BJNjRufSbZbrNhm3hSBZ6/TWMIpiCqrrbWEuTFXPe12Ie6EhJlH7QpAYIaorKet21EubVdp6uIZX9skgYgCqePcUs0cWxJ6EIZluRrAD4WTAfcBYt/L1ftmbh/Enntda9klEzWd+bPHooycn2QZMMAJDRU8Bfw3gynXSZrbId119n00cfnPtAAdT4tvEW+na47vJtmwl6qha0MPSl4X+fBE1mdC3uF5qJWAyMwPBLMdoF+xnVEjYAXaybvSwpBENkcng+S0EYIW7yYyeWsyMENs1KAOejmdPZNtgz0kVp7UjRtmRZprYfoK+J5eoAMoKpmZx4rj51m6bpprKx6KM0JdWctWn7cWMgn0p2GOg8/blJJ6n2ut0IyfWoVrPjA9+SBi9l4vKI/oGda8/nP15Qc38BxWDnm5Ga+M/0hOrkyFp74tunR2Z8bmoFksjqoIuaH901mtb+SnmV5GVhQcLNn46mrqnbTBtijOnDWKeb2Du0HBMQjoAlnT9AXQTPoFZLndIZ5yE/TKUlVU/K9X4qB8sDv5tIk1LeVPE9dvyp9G27tRZyAgpgSwImFDuE0U0K61uYWT6YPVG3ZTskwdQ9VKGLiDM1rnAUyuWAezQA1Q1aEuOIk4BLWzzQlS7TDxcfftB68ayjx5PWP2LYW49UIt3K6V6bS3O3e4V5hgH/9h21CJoe9ASk04UWhtlKBun52wCKJtO2yff/XiDaZpUuorAvZK+GPHT5PjKWTiFgJRTMS7l8xYyzcjM1ONXXDhNNBC7DZiqtOnljgm1Yg6xFpXn0NljxGVBo16gZVKuU8Gs+qGCz7Cmv3czz79n2//I2K2los3UovnNa8SYz7fFYavKDKQbp5MUcMUE7ZwD7C2W3Tk3PyIQ5kM17WR4EVZ/9diPV0JCierJRupprlZfvbjPf6Q6LH4oy1vzYzmTyJE53IFBahysBBStuxcvyrHdG6D0I0fU+DrYIB58WsrVvxrIHc2MGZyQ/W7ARM4mkIg6JObcx49gDdgKT8WTQqohvkdoLL0ZELDCVvukqCuNcKrmJEsFyB4fhbrZC2XqQ2c/FRv9IiUKR9Hp82VQ2GxvBpeWwLk2qvr3mbvqRNPW6fOaKHSsFcxm9xlFkOOLFmQ02Xzh3zLxIfF01tzn15cnnPRUCo4zK+7W1GaBY6wm8LTusC17/AJgvhOamwsKkdyLNng1GNbVgXHc6XN2gogJGeOf7jDOuhGXUhiAwvZtfABEOa4T1yvndbsqEoqGYJQMSJJPe5DO4TDbd+eh4fhCVcpeHty9LSXOsltrx2KWE47A7tJzWK0CTlQT1cwXwf9CfkDcnpw1ONr+/mHHw1S13pVelE3kEikqgPzvEx0IARQAMR0fLramg9UNNUiZlAsTF9UholpLIUvtaUXtZYggtS7prTgZBQ1N+YObXhl4LY5GMrViPgzTquzKQOtiowRKmGG0gh+eNmmjUJl85DtUK1qElk5mfOLd1hSIHExUViUqIeF/h5sMK4wZSzRMUCz4nULFPENNwcDCU+ZMoQ+ej2T2dUukgdOmQ9Gx1TDom3uxG380l6oONTS3wHr8bhQhpNMoZbvWoj0Xr3pIVbIG2NobOonhM5D4M0SojvLdG3e0NtJV+v+5ClqyUqExHSbVxJgd8Jm8JyLZmr5a2/uRzekrPUKOYSvBHVqKJSGUv4pDExk3ajcFS8ZahQgLnJBEP16qXgh5lRMSAphWIvXTB294QxSImjsO1lOMtPyFnvtvMjxcmkBW3ljttjQ8DxPXus73F2MLgUcza9yEfqZLb5Bk0+P/sO0FHMLsY6YhBUHFDlEMSWBnE0q86lPJYeYFIOjbZYmc5muZr1hr8Xcxc+418IK6zJsaD5lBb1s8W3RJKi0bug1JWaystEN92lJHU0bk+KS5XWkcfLhAQa/ozFcjFJ5UZAVQIuaaUHWKpq+OYUVSBYCk9W9WNbWWhnqAp759YkFAnZNM0flEUJOGOIK8SEygsndkjL97g0YOCxndocdIxsYL+2NLs9Rr5GwqCqsWs0E7yHXwxyY6mTMeiW5kl8Z1EUYmzqobAXt4903UZ4nOdxfMa+ut3tL5pVh83OnT7xFafMnTApicyQQN4slk3HynOSrNl1JeB/EV8s7o0dhCzpQkgc5ZKXynKMUQAybmm4egc3RNR9cnktJ3NdOPHw8O3VlR20xJ4ss1Bqg01/Iuv5M1zQJB7QWhAAKu1APjhjRHM1J0RAIobN4xsSg2hot6j5D/SHm7Gypsbni55BrDod6bEFF2LxYY4elzq4epCJhgrNmitaZ8qx0G0JMMkl/BBuOZR58j8uFp7iryJTm+IlC/uxN4GIsU3++5F+sjd+/OJUr0rouSJ8LTBx6qHISLnjkJ0Q2Cf4a0fSukBu4nvhix3bOD/ujIkg1uofJOwbwRgScpv8hCPW9Wj9wOC/XnLZcVS7tYwzTbMfPGJVX5/ESciS4FL1TejIzSwDUXlA/gU69MgQPWF89maz7yDh4sSVz/yUWxSxoRnUMteErQR15ocUa4lw7xhFNNDUht/2KVaRZWF7OuQn+l+1bIOEcjc4tjp4cBnYPRsDKAP+WAyFu6+A2L7Ho+4ym8QV0EWTTMzYYP3IKlqaRY8XTP20bZGfnQjNmw8lhp+ajloI06PZole4ZIAJci7Uiq2G0pVFsG2QoTvxqYKptrUmP/Fz+zEe/tyPoAIVG0ggECmh+Y9PKua/FZhSb0ky//JCB3j/vNQ2o5T9I8mZyhL5IyADENS8wcEwKG42fK6Y9sgNZ7OO/e+MM6PCY0q00Cgp0ypciOwqtMb1U7ti1NpqAkOPVnS3NCrTAMd6iwsevcq0vatltx/N6/Hi002aHjGdcBwwOO/KR4VmtuM11Zy0lFeD6nQXLddYEChQgkPOMEKd5QIe74nRqUcnxUsxFBPAXEOJUzUBK+ih8edDwxbiQA9ElRA9vu0/3SDQYaOisH9DDfBduaQo9T6ldSZs08zZptNcVJb0pnbPCWC2mLTe56f/zMjWen9Op0B18HQiTqhWHbR1RQRVFu3Vf9jOd/GQI8Miw+J1JWab000MQ883803aJ1PEARhK2p3Ie0DQobrMELP1rfj7aL9Vlja/VtLaZzOpzO1zDMEGVSxer1J6dMsvY74JGdsmmk3qCt5fF8j+m1EZAj3rsJy4K7LplecOzLinW27sfVu4RE6gIfjVgsVTw2QWqu7sSnvniizDgM8ykC7PrDfoCeCGMlBrNWiYGHNxtHzzJ7UimIBchC42gl7T0Lnh9bwODvNXceeNDRAdcnJKXkqPA1Ouog7CVuH+pucUNd1co3gnbcKHh4axcVFzKpTN875FQFFhykqNNUB8G5tVwh8V4wnPQL5vm4eFuOKORy7Mygvao88qP2y0BQ87aKA6dvRpbJhkf0KLPw6KpTPtr6PZ7tFUt4rQG+3XowdXxZQMpcLHi25PtTpv+nQJ2a6xT8QhjuMuNy91RvZT449zSfreV8p6ZEEg8dIvU9bbwNA7CL3oRWnwmHsGitDnE7m4qoEhO13DutdGPc6xqsXdmNznsgA5j8KclgI7n3N0MnUIzIzYuxPx5RNuoJWTwCoNLHjARNdm3uqjVM/MtkvGaYH/tciZgxuguke0TJhumxRUThJExYYTpK0M74SLgnr+sj20CETX9CZzS9EI+tvvpMAAeL2MBj4lSBxyWHezT/Zw4v/McAyvykTuQTJFNIYIi7g8iapf3M7srMjZcIadbqTTqvXrymffulgDa99vVX0AfyEbv8Rk2MZ0MAowHP3Btei3FX5I4Fg9MuCY5NEhu7K+G89RN0is4SLtX9WHZ9ZgixhblDJTZc6i4gCf9TtbPKHlCzdnvEmTU6/vdxlRPIrN9jSii57bS/yDIMwBOTRUSiS7um1WmBagFOmWPzyUfND64xwlsX4i4/aFUCPXyD1lB2CgJWKJxL/IPOEvUQFCxgZPebdpQBVw9DNbs9gEjbCKxE0Lje31h9nqdJ0gI2FwbMjDEEF/PqG4+I7ilVsRyDgqPXjtp8vtvqzlLglDH40ESPs3R3T4NGNgWnZ09E9o+JYLHToV0+RRTZWO6iJIlDCHBS8YgSjKEgv2NIfGo4NQfsCUEdGH14YPOEM+zfOsxM7gAlubyLi7BTcSksFj0M8ltIAyZA3XPDuxtEdZVYes8S1V2tvXz2RZ/sfitYHlkMzjHxcgeSZWeIVTMVsqlsaU7YEUplPB0YPgMn2Oj9BBsnB2O2EIJB5ooZuqFU+7ihuSIzVq0uRim0HLCGrhiLnCUue1PZBdaMdXSEjqkqxV4iSOOnXORc8JdyrS6XxfNpL6mhz3M0rRqk2gYjqMGvCh4XdPvbRuVpKvazU2/w+qu3Jy0PtAUt9vMSrwspeLc1VCe/HVlu9T33dmBYcLQ2QqmypYAlyrst0FlfWmZ0BGZZ7H5aOwqbTOExJJne84eneztf7tJ5gCK3x//1GU1KpMo385Xp/WKFNfK3KTvSUgXisBYzBGvaqYZ3685+zLKT4AG7gHFrMGaoqt2df4ZlsUSgzip7mzGh/bcdGcIqSAkiGE5BF7x34d1LVupXuweISfSry0wZrhJWwlCpYHBxZQFw1k17SCQMScMSCKhdGBnFk6sVbFTDFTcoLE8PoS09K5TAWjRX3TevOWswOeJdU76ddZxJaLoEBa2sX3qk1xz91283zT96fgpL3amAx4My0hAmTUt89HVa/XrVv16WeGx2gNN0S+mGgTW1j9ZJIuRIShRPG1cjrzuySdlIux4Jq7OpKLjO0RnlWLsYaeH5oykF1ceviAdY2UJdf6EzVIQyNf2U2GewooayIWiwsadDGCKsMEHYR/GaZTjhAahLZ4ldPAKGpyVG+JoPa9PIvht57rktAFfpAkcMO9aigcjq57QaZ20m/37/L3ErHahPH8semD/mudsNUw1pQU95+xIlaYVJ/gdU1FfAvaQDPpXq1nplu36l/+lAiEH443rbSQwsK1YFZnzRyjmM15nkJZqKc3Ize1hDxgWF2TUklHzZxmTrXupkAqslMhruwClKW4JI4twxaw3KJFQWm4zA0RXYqoFRMY/6UFV+IhAsZRGT/M5HkAS5t2dtJbOft/agk3tOeVemoxXWOpkknEzs6svraTvdzqOfrbe5h0byEs0hQheBnNbD4njgUWAP9FRAX5MV2PAxg20SCNijwqCb91d1G1EomFFOxb1Vr7wMfe3V7uuz0fk6X6uML6RFQgyYZa5Qypa+BUMJ7T26EqqeUc/7wqmI0ReoSFdQpTHJoS4Ao8Ad7OxekyoSsnmgDBcYVeV2NG3vUjCDYBTuqonv6lA0TdY2giWigXK6Xo5zAzjZ1bVCIZmTC13k4XsfxhsiYR7tHEmLA/+Q9WaUVAhTHdj2i7bBHPdvcKs73lJNC+dUr2riA63+Q5YvDAeJ5uZ8qyeNCjHrMknAziRv8BWXu+0M99rN+vnb+e53OOZsfNB4TeaxpMd3xqxiQisG/OUOmwZf32wRyBoBLdMc8d/q7SEjjRDG53/Tv16HI7pGchAzdgMtKFVM6xC7o/zdwLDELqn1fkJRs4h4pFx8UPZVMEf8wIk7KDQJadG5yL6KDE7DiR2LALdgfRsE8hmRpFwGlNwIJOHaaH/woKXK0QnWukx9D3fBgw7Le6y+dH454s4GUyz7F9W+JYpz+Qpblc8P/aMg5a1NBOTgS+ZQ3krdPunNEmDu+pmUi3iJKyKvx5T8aKRvK2Jisf/ERjIvMCFCK0pv2GYIzP4H7oW7YwzIi2I8cj3+OW72PZlnty7eMDKujFZyxDwSNea48nUtMPMdHuuuRcu1TdfMRwvrJS1wIiQw0yibdCHAtNsKwdSuCzwApWkY5iRpzDFfO1d2O9FrtAPxMdXsog1QbIFREPnJTKxNtXBI4i4VZL2bvJGRT6qqsHjYLUyi5ipCCrF8vuLSHfqv2PLuCCvEdFHz6YlXK0b9LXWyyHsIcUrFkVEgD/MzfXpUADlf9Qyhbb3DPaLz89F4jUGrXHkUZmNOyU3uOJPC0GvYvoJGU8jMPVzg+nWigvRR5Q7RODTLfYVAE4ARnTK/RRs8QYAk7K4tvazuj8kjxaDG4loaeD9m3TMCztlxD512x0T2UaO/0e5x4UzXkzPUK39pk1tXvQBNYSXx964Q3yVK5GLJ4LqIOvePpexgmi3UG2MpxnuzsQskQwBod+Xbm9faymNrG5Q6ZaGU9PW8nOBdqeOra5QRbd7yQDMHPoAjc0/90dEHPYP4hDJFj6inOfnju27OIN6kNoZ6TPvFOii4Ep5l/O4SOsySJDNEcOImD3t74hGtAR1GGu4myNn+qL0glvV6hmdJb89gAgXvTKeqnvY61JN5cww6RLogDQOMzueDJukbmXwkV8EBtDR3K2uZi6m1B9rR+4D46FiFLfe85AMSx/kAu5RCknbev1FxyWHLLzJ0suASnLRZ+0pJ2ZpppcoB3Y38ki81q6SL6lzKZmYWqaMIHfvdLYlNh9xTs3wMfGUV07AlMMo8/qvbz2H4rQKthMU8RaeFW68UbDoO5JnNmm2gW/G+OxzSqkh7NWnUzxhURKd7XDN/+e0cfS301kdxcSA7884GwugCCd/NXDaGixVXf1DeVw6L/KLQY3Hl7A7g70dKd3fOe2HQPjr3GcCKxlg37DGp8gP3oVb231HYlj/LDvtEy2jRe0YtJ6+N3yh7+abozniaSDaMReOzo6kqKBc9zvWafhzJW5y7LQX2ILvqz5PMKnM9HNzTKw7QObioRXeRb2so4dY3ataWuU/G5VZIEyWxAd7iYk/xLcdTZMbQgAHOta9vciyO8z1l3HxSg2nu85k35E+YMoeuLiJD4RN2UCNxWeecOFaZLqOhNr4c+PcQzY33did2j7wqBzXns1IsmN/cWBWblG0LOD2jeyVQix773FO79Au/DpHcQxRbpbdLG4Scr1Ya6602HAYumUDMtZI0SMMoLjYZNzqUWao7RkEEoiav0ejGNxnDeEWuTBzx4kO2GKLXERbfxYRbpWCR9MPlbw2RIKSdiaO5hI8bW9x3KcAumV5y+fghJVRbhe5nOYZJ0HQAtSd/BPlsHHjL/c5X1b0HxR/8lvxUSBqt6I+pKmtQMN4LeG86T18ZCETOvBai0SLwcOXeFK+Zo0+B5S32A9LjKaQRtB8Z/XW4QESm6+7TF1wfwzNrDDrdNOVJW29BPsRO413HalwTBF3EUlMDOFg8D3Dd0K1CyauQG60efsDgTfuNJ2KZrVsiwzqaSHYlmrX9jahzyK+5l4bLTtZu06Ody6Sz6EbrJs6PJMX9JMO5JC6MI/uIJBVR6f1hhpUkYjsRZgyREMR7LY1BBIyr/R61PoOhPQhGxROFTEG19ns41fyQ/hKlDeRtQdt071D0CTG9AjslYzO6gn4G5dFpPTgs72OG65+2/eLE1bVVqAJD/5VLEnSM8oMxAtyb6ynfFknjV9vd7nz1uXKDKeaota419K303MKn2C8z+h0UaxhqdBaw/k2GU79q2AfY/cEKH9RPaeBUb490UdgVEj+ucWkKGSRJQYxkg+aaOpqytyaPafy3Bdxlss2omXEWNc7w3VaHz0etq2iJAlJD883irFD6CAxqB7JNxjYDyHWocVbCavQFAJKlmz1JtQd69q4ijj9Sr2URvGFCL4H6SpHXuyqAHx8+eXiTzEG873HMT2U67YMl4Joen044CGz4jf6UqAbcAE0uKkzoXkKNNfZjD8botgvrfCcFWVJVesznDbme44JCuas+GO7tdcmPONt3OCHDymP4Avjd7q6dREZG23+mmyotb9pYFUfo43PBk+HfktKxcb+QDZhAa8qH8vwbuGazTAN/JQsufIoIE2G6Uhov1lOPlqujAC6UNW+zKbt9j+koTRNGROBt9wrJNf44cypzze2XtPNf8oGc3jj+AMnqqvu8zCT/r/rCDU70wySfXCZW1l+twHpR5qWc2DvVhoPYqQhT0KDbUtLKUPvcsDwntqEWZieG7Jvuy2Ki8dW4WGx4ukaNgAjODuPtWBt9wndE/ahJq5YNmlod5mhz0yhNhUFLoh//CJb20SHSCn7pFX68S4r3u7QOcoo/974hfJGE2Hu8OlUukaDNBDqTwTH2Rgu2ZiyT13whPUGizY3vuxkgscw44d+iG3TraME7BK3HPjkhh0QA6J/u9zpm+CGbRNkJ+SgypvkAu9NPLlMTseVCmUEISPqr+U5vvZ3rYIChAtbQuTx4lW5UjwHY2pXRZJj0fZqLFvQaveN7twbqQkGLPxuHJ4Z3SwE7XWdDfz6L9kRlzRSFyUYDV9DbwgiX0sncDTUsKPC1kbGyD+N8T04bDSBisusRTJPAIr3eYPfx88b4YkyAjomgLfO3cm2QQXZ/oOPD7KHSx7vMm7wHXiXEOTHRNd36j5ZJfcOWUw2kxRKoc+812SLMTZODtGrFJt2tEsSVCksnuLUbghOcFV4wHvtVr4Xwxvw+RpgE6xGZtgyTqGU+B2GcD+4FXDLZ4ogPzVi9DrxJMsV1VzylAfTa78gZPBXwaSg/+iONDz8i08NMOM7VMOp/tuGZlmTLnWD8u7nn8lzndy+QmHx2UFp5/pwJJdxGHgSxxGk7l+E5W5BTSEkt1wbiA21V3U+T+YrhkBFOV/rvgn0AltL2j+tfCmzX1W4oYBK4exaF/hc7s8aZtG1+XPL9BpYDvG3Jkb/rGYA7B8AsTpT+UkKR1GbelO0VkGtPjLPcBtdfIkC6GHA+DodyorHzzkf4ngWzQu+JTxFdZLsnKc+rf2PJWI3NvBEmMiedO6RzEL/djOLuS3QxY35z68SvnOL9UVFAmWEKWmV2z6687f583oj+ywNgosFQrY5wpt3FgG0ovvqBYluR4BEQE4y4hpFnrq1rHyuE4O1CmSRQqsknx/3PLJTMhvmixsvzlhXUPQob7hmtsCI1eUlAamoOK0KjDjm7ifvAym4XCZaonWji+32K4rMqfa+0Nmu9nhkCQvwLu0/iJXeerajRu0LPMWANbFx1KhALWqACuL/ZYWn2/N7OF11k0SPSBz/FE9K43l5p56KDS0lr0NkeZT8OsY52eWAeR0NRLXlFdDVheodJg8Okc5S81eIX1dosQ08JlRbqhwr28RhgG3DOcgGFk5ZUEJfrx18sJGK33I1gjck1Zji+2uE33H1VS/ngRIcAlMoY1SAit265oniVwaCuqBdAPaXReLKxqaagmltWirAGpBjYg5LRdXz39//6s8yidcCmfITT2bVmzoTnIqf7EuNf6gpJu7wgar0H7Nqpf0QnyBIXWj5waJ2tKGiuV4i/c/ewP/Oat/M+znbXTZ6nf51GzQprY1C7av33h1kQiCd9XVDorTNHLsdWqRh+RypcajJ2Cs6JXO/eC9TYfg70ouOWbXnfs9GoTbr2NPlvKXYPNBEGZLGy3RrsL3Lks1uO5grAOGzwEbByMP2RpNe/eZm3Yh22CmCWnaKstnjjpEfee4rkfwWEQT3501sFPMWTg3GPFDgIbSsafN2zb0hTyf3MaPoYAXl1+CcapL8lSbilBRD2SaviLr8Sq3QJ6TvHkh3w4YTFTRmmvxRAvBl4O2aES3/I3jkid1i2XsILqlZqrWkUDN5S2C+u2yxUB6Yldu+XmKLcZDyd9zZtPQJXZLOjxq/DwLbfYE4pWPDuWU4dZaNYBaILqeGuAqF6lfi6zGP5db4UmeaTWvV7VLnPGo/pFbuIAaSVOcxig9wvTIOTTlwYLdkPKN6TSq9G5v0SHyE2lMLclnEXop3VK8e3zNA22f+5E+PMEN3iMZaOHlpDnIZtAy+hhrN7BoMm5lnZdg0ED39epBNfcDCWhf1yxpRABdqQIZag+04p7wljGCo9f2Pafdc/2NMTmvQ48S84J9YShrwKRjagEZydFNYbOdMEZnYAzXLQRCyKI5s3NpNqFECKKnnZtg0EmPfkbGEVCfFsIvyNezB3Mfwf+pkuuHG0SRHSp7Uc03alWSwf+WUMKHCDM2jXYTZFXyvyS8BJh0BU6nByG7DFPIOu/3hEbKkLhfoklhIH/e3jpD495aXudd7a+E1COET+4ItFx/hBgBUVfw8OPvzgbef25BPxaMcXiC5WjG9VjUy+kl3vNGOMsY+3671fpI5dNeGA3HywH1eAX7eVH4kpCs+h8cX94omi+OI4mOWv63W0ZQnFzeU1TBoOIKcDfpVLuaU/L+nxlJblSKEmY4NffEZ2UtggMJuB1eS3P6x+sjie4Zsh0v7q0PHWsIHrtpSruoOhAwPTSAXySuOKGnLjb4BHw9D8MVl3ySei9Jsm1OOKilA5iKfg+Uv2CZyTRJPDwGuyUkKw8xRKzZkkUKBTnm/5f4gGTSCvSKWmbQMaEbB+ydWRon2hIMoFcy1hWQqTV4q/o/AnujWExYQTGSgnYgVAHOruOGo6j9WbpxWkTODB3LtNBkKP4CZ4mNzexbMA8jkxHiGjPzn3vle0Z+Z2SbAiq6xGl6abzw6vMdBJ0s3r+27z+esoV6LLQzLeI4WkwZn06+cKgAHN4Y2un3mGZvPn/91qTqdUz0HitbtpUmkFlgGjdN8uGQKBpCc/BTo30cHW1EAZWcnix7TfyFgAbM0KN71PfsCgxf1k+7mkH0s2IXDyB9U3vA+XdtqNJdHP5tUk222sKpO1D/6H/kTf3nvhDjlMxD283No1HjJyqQDaa/tXpBl4ozicOxjWLG0puDCjucIUUTmmSArJSbzuWV+cwxGT0PZuvoTegSPSSAGLzQxxGrgfWv9faMnOBeU4+wheAhL9S6dDHeMI32CL/OqtixIhCQ4OrlC07+SZtbFz25riIrdZeJVzBzOgJp9BQR7pCYApUnvPYFEHmYXf0iZTNcSTzPIm1T3ZEh09pTLppvjkQvJsyI8GDUUNPAsK7VQzMdwZuBy8uFipW1Uqq8f0S9Xl7UzsY2TDkuoaXDnvk30qG9LaZoEaNSMm17SBj/6YyfYbySkdClTxA29FEnBqh+YsJ0uH9bELhHU+C+rJId5i6j13fnYSQTK+E/2XookWwW0Zd+5gVg/LhK6/7jCsHfITVfhOt+ZOv4P/Wd1TT4LLuYZJQnun3u/841HSdpEXG46swPk/uFAJ/MaombsZxKyA41q1gnztBU1ruFV1WfhSadm2mAIjbQOScw7vsNrKBYAdoQ+1ZoOtH2V8/3kR/RM9jv361EQWb2236qsE+//8C7Li3IEHVYEuRILQ9Hu0ZKn6F2lG0/IBWC+yTeSGCmrgydETfAA83qxQZskjWtrm00TykgNDHilMoHEXcXdNOpNGZ+Bg9zGAAsJz5CziaACzzrCdHihbDRlNX0dX6IJegR0Q0tJH7j0piQEcJudIS9MsX6HAmX0HD79/IVoeOLqt50py/GXS+YoZ8Y/YU5DIlUy2WGYnvs8uH7aGBzxiX9Hw9wH1l8GhlNSyKyO4h2StllVfsNIrGnS6pRbvP7gUnlvVBiCl9VFee2OE8sPgbyRr3QFrG7Le87yJskLkI7P0z5Zbhn/JX2bQkInQi+S+KACwfrP0ZpEH9x88j5eKAm2u6fodYuQgx4uXNhBdtx6sttNdHGtyqtlUW4+15FbPO7zSFYGRwfz4j0PBXvIaQ2/lQRmcej5D0Kx6P2U8OHl63VpwsR0D6HLf0X7h5nUVAmenvZnvZn394e08xEy++1eLd0NtkC0V2K9Xb2iS/ouQOnoixfQFzZwIzzrziCE5ut6edqKkkpDoVbE7yO/2L10ucZvSxsn+EO5ilRozQ0SAlt8hOCmSIVCGxq4hdyryU6t9TBpJKmn9E0Z3y2vd6VZK7dHmSfBQwIkc2ot4DOim/9cM83+WskreDT+HTAbrJT3fyFgvK2jFg67ZGLBC+1kFZpkvL3evedO3kensItk1a0mD7jm5G41COp1UfVTG9sL7d5XCMLG09IqPfk2Fm6xBhxQQUOJoCtoWbOltALBdm8Mrew6LB9ZLnJk/OLWq+JX+uxB/W6p+xG/XMSwgWyFEJsilbXPPx5jNt2oPGaCNcj7P6dHPzJVmrMyZYZhQD3ixi0eBDnNKSZMsC+7D0d/tLXMERTF0K+t24QiLxC4/Cj4JqAVG38/ln+FKbKkpNSY5ymS8S1DpGs/kr0bnBTTyE/OSW+zh06m/MgGyRlPvJjRhsMCCObjOBnESQf4TE1Kn2natdhQscoSzz1n8gowxCgKkk7JUWHg2TwABm597EsyjbqOZm5S7zfbpdYUYEdvA7HiQmlZwbQHZ2g5mbgezsgtBq7J44R0kNnCNVsvPpefGWbXVTEhTz3AxdLZvMHxubE6ojZRm4UTT/cjnpgkUOZ8tq5WoP5mQNpPpNlcpgBYJctIe6RHv3x/kSp2ZvRJn0chSVnJwfjHHnxOW0jxMmWYKpXHvVwo0CN4NocO73n/Ae3qS7Xgpxa9a+0Kr9+Tcs/eOfg3ZfvW9owbRCXvx/2ebZYPkQJkosgh4dBMx0iDvWaB9FaRhenrbv5HWz111o2GsiH4fyarZbIRtVAf2So/vFCBBhP2bVWLYLcBR4j+T23h4h8637O/9SuYr56T17YTQIjdwFautCdWdhzxY7KaTxQng/J/fDZMUoM+AmjygPwIm8c3gTtsAiqhFcIfKowskLWlEX7HnoaWMpNpc9JF7d9BMh9Ul/sdScUUsalWahWjNpK3zCTR2HeeJ+o92rHF2Ytecm7H+CD1zs1kpHSb2p2/S6Ub0sC9mlBwxgnhdkgGOSYyGQ7tSTyy6s3KNk9kB7iGQwVyONwZbQ8TzmK6PfXi3hjLK3OVuIyIi7W0D83jxY6boURrClCgCs0vebbhLxGnWTgs55W6JOr10Kj3NA+TVXG79RC0dZVUbx+En5Gg7f1Z7qtlQQ6cqwrdXUK34zN7A1HFi7WxiSK0AXijtPYf2KmqO2kudWe+nYFSFmaA8Vk2ppDN/LKG2EUfSeOWGxPsu3W6VXMi6dVGKjmBYICy928EfN4caPVH9Fg2mPkteO8A5TahRKDwo/tQWw9K7rCHvItZNm9dc9hUuDo+G+tTth/jrwFSixIFNuUt8keJAx+7hO8eafAb74D04Rs8NidaZpWkiWYhDjnYLlUKLih7+PJYqX8OzOGwSakj5Hdw8J3m4R+ACA87z2bBzkY00wfkbXBkJsK/0b0ptMuM4fXVWIHcs/l1lgT8nOMHPqh7BkfamleJaOoDu60kphe7++Exa+Kf60j2LQCOzv0CfAVs1f3al6d8eEnah8CRRVLCzmFfA2sxJuYzUu86l8TGZXSSMFikdXr/qejERwYr81HKYpCdpaLJwhNGutmrl0949IirfMZHhPhMgjeXB9sc41/xcQPZ74QyzpSse7OC/5ZlpAsv5206aDlS17RQam1a+MWfykcwUUO7qjRr/kp1yJvSU3SglhnFfrTbn+2+9jCq+OI88eaVWy37zyQuCcoIfhIhQdzgORMpFVc/B/y7SIh/S2qmaHyrPmkzMTISjOuE9UTC5bTxDl0coaZJ/851q/LaDScKck/54CAGXj5X55/xoYA8G7uQ6c4Xo4z66HJhh0IywoI9W0pjgiK6TynGPLrhawZWhXuTKngHmiSian1h0DUs7FdoyD/idcF7wbw8ma9K5s2Qpl8gcKz8Qfl7tcfMUN9fqGBOwmV+EmW0YcUAy3zpPV2TpA+IDqtAW3nObWVK2aCZwIg/35Oafw53VmEGtJBD9kzWa/ft9biRChhwRicwBOjHnmwxtkqY5WvJYfhUZ9XRIlR6FeqANSDAj2wCE1Qs0rhVg4DU7P6Lw29uaJjENsbnTrKCXtRSpRW6leGFfvX1s3o3OKKeZcgozv7nW7S6PnAfMPAGzqIipUjdKcGkQtJLzp51SaaaLLDWaNIf0JdxbzCsbbk1BW5G2QBj8xudzCSJtWLaQIObiyYGEE8Ys+HwQ/YB4IW1vY1rQUXrH7/u+RwudsTT4eTkcP2y6FYOL5sYPBkYkmwxAkWYhKXbZmeZENAjwBevzCz+330XSPyz7h4A52wV5LS/UYmyW9v6y4fFGGrOKdYLh6xM4TChBjL0A6UJLgIWsuQ3cdf7l2KlQEx7obEM6JzqJZviY3fmv40VogNkMkmVdDazGaBKv7y9fzoxxBxsy8q1hLRgT3ZMnVUtCqN3viCDKr5oFJNadkmeX1fXiFsUfxnttIGWAp0eEAW060XWmcjEMiw5AvdgY+lyXVQdqaw4dIhRMOlOTNdLUbGwPF4XB2yod59t4nSeup+xXCBwHSjjVaW2nQjKXgy8EDmohvnOpHKtEUeXnzeuyrbZmllvz8LAUaz+WyosTOAOHxGecDy62vJYPUmuSidglDUMA7NkBgr6yUJ+3mh+qlxcjX/2Gp+J2o/DyedDkXlre4idOCxTwMCL1RnZOLt/bhcirMo0Pi4i1xPHSsDVPZaymz4GoZmPY8AIvvaCEOLFLJG3aaOorQTfv6o/v2YIXUn8ls9hbOH+4ew24fLJGMiMe2TBLk0gjlKOOHo+9Adrc024dSwvuLiVUxer79ft12AtPxh+QXUvo/j7FYu4benzEiCLS3VTuNoanQwogIzBvFI2epZHz2I7Ni91AHyvydq11k3Zu9TENwwC661cTn3rN8/SfwbIQ70H6KEWEnnzU3C51+yHtq5qjQw0+GdDyxr8kVW6y4FHzmeEXhhk/CADs308x7T5VVuCml+diROrE8zR20r/6uDRcmCBbCqcC2fr1ATJTlptuusgg3FaM9lEN1P/2sAK+mP2hRSZF8VCeQifdwk1FJymBbFY9A9hvPVQEHOADfnGdqcHI6TrzJY3FFT/rBjmMZYEOEGfpZsfK88+4SLZa+IKp6usazW4OZrbCkCGx+xfO7UmkCQrwTFaH/lYmqPY5lf7RCsbWGzKsi+VbWuVxQgI7FfUNU0n2obFJMIwU2hyBxBnFC8CD1zVOXN8LYz8BlUOPywtVfkV8DXuTnUcUUBXCt90sl71ZyxfRyN1/LNvNUbcVKmXgkAI/JyApkfFAC6xHayz/+xToYM6obi410J8jiPPcfIG25h6Uwifu2T6AJrnhcieWaPcUMKd3/mLfxMXmps6S/K3+iPMsImYVvyh92alLVsWjmjzbfv0Bst1tLDDnDF3VnbDcnbCdsYXAqOKPbbQKU/lnEpipVqz5lhDjsfk9bb4E0RzULLZy7WNgBAdxUNqSn0j6VvJElcVhMT3ScgQQReeWOAB9IRo/BIhKmgg1RLiGn4mitw38g3LblNmdMmcI6j7iAXU+fXiGeKMlMJZXPhXjL3uUv3+eLGbnq1LN7ayqESY3EzVI4NC0pt6U4IimpmikEy0GyJs1O0eJy+GLGsUXg2KLV0NDBaQWeZqQNNB+tXH2x6S2rfZXdr6eqHtlulUUkGltdPVaoMjZaREIns4BH63pkLYT3LQH4DPFm9j2/RVnrW7J9vWKfgp3+fW57iIXzpawT+ia6wU/k/kZUJ0OE5/xaZ7r1u9M+2MI8cqcQRd75NFnUCOEg/DOuNrQvh3bc1hy2pcRc3lghl884vtLrDDqYTGUnbl4ZOv2BfC3tP0pJ+ep3fTtFgbqyjp1cKeZCH+X8tpapskl74zA3ejDphfmh+bQx3nf1wWRegWMrVs27yYXePfKQjB0glh7Bnjoz0nvqiXbvk9sXeNnWO3EsMKJR9VXQj7BXag14lQq+UY2f0STEHJroGybdYWvxSDryKapuYQzP5JrERv6bGPZEuQxKnG+jIuTMC2fQf1Z09zsdeAf/khGFkQvKXtECImMgxWKRK+mYBsGwL0JOSlSYP0e+OYU+7JO0Sm5Cln4+lwofSbMbw4Ilp5mra5Pnzym1Khz5QWJ+sNw6Dek/d5ADKckLHMFmevIRly5XREg1T7ltN+BkQsyqqtwOGtnvC5kOm+U+WTpppIfr5OClaH+iJL6gW99gv+FgjxVmowQgusW4UGhtN0g652ptUeiAkpQmUW4e6yvYyklhEjOI7TJ0tSXvJuDaSAWmq8i/PLZCW4oWR9hGsJYevlzO9kPGVpaTh8YLfn7RP/rNArUbgzX1vImDY8oZY98XudOrJuhnZiPSD+1lPrExtt0OVb2Xa/FaY0Acza9Tysu4kBopAYPrldhmfaLxZIjXOvsuvbEpeBmrMIbp4ZXKZ6EDhaYU+RzCdyDTjvaaDx6R7NRwLukh+yrUPUG3MdQOscZGiB+22v0QY/3rqUlmLAwstO8RStwp//J62jkX0pZsWcQCITLpXd3BfVmySErTHtsxIlMe36EkFieL73s9VgVO3khy3IR9lAmdwNcVWzEC0zsno09MEfSUD4Wz3y9OwDRnkHCqaBCLz54dINO2t+zwD9NhsxSbHrCapHp5IZSHe1zRgwq3p+MwhuwOavXVSJ+SD4KzONeLjHR/lgEMdLyDpJ54cyYCn63PH4m39PGan2vP3xbvZJv+a0nO6/T+vuOAx7y5423LZx5FTNQdpkNZJz0Q+v8MwkXRsRvgklpkgoVtftkph/oH/5BKcCXSQpY5Mkwoe9YDa/tMqx6wTeqypNpIul7YhCDeMFvGYoMYb50fcUTcjRNqm+Vo/DC/upT8InBm0n/ghcGRpWrf3w/oef4PDQzAa0ebubwT2/N8geregMaFkHyQKCKWhSWg6aQNQvBRJhhIHCITCTKYNqFLcTjV+lhueDLRvXL2x2NtcQo67L5ba6s20yWo5tEEWAmQ0MIZnBX7C0f+Yu4bCiMyCR25yulkzk89xocvEuEkDXlV4XjOlmvDDiXPxf1w3NgkSPF2VQncCleRpCtxZLI6ZCbtJQ0iqRSkAP8JsLxsDQvhft+Bawm0wEDR5KzsMP1fqA3QybP+HcEJuboUf4TCbg/0q/5PT9AbL8NscI0YwTa1P+uA87yGhAK3282Srk8K8NlsXSi/PR0PVQm3n1YmGv/6+B+8wsNm76/17yjHsNMRJOFm+5dc+RRhVgqqfj2LVVQ0qKnd6Iu/pW2vdqOBwfUdmK1EtmZ3bXbSBoj7NqnzKTudfydFzRX4lZKmgUq1gy4pC0jgzaWmX7cokmYptidD3nXhQsNrn9EMGWhNv8i3DV7mhALfzM0p6orSbqM73gj2ZLI+0Zv/al38D3PxpBpCZduypxEfAnkWTn7b64ACfPMk7gdzQ4oCdAzp0fMB3wVmrG8mbCYLOKALiwNh1rCzQyLxhtq1X3jjiALoMKp/n7I3xjudT8DLE5KG7GGZi05XFySkDwJA5pQFvl+UbjQlo2eRYBMsKz3w2v4OtprRWs5Aq3VFugcIKqAbKHre4FKhBzMYfXLwGCC179vtYxGP0ueLfZu7tyeHR3p5anTzyxxcsLP4zeBoNE5H9eU5TDumTyVuUUCDTcLuKV8ReRjfySN1sWn2ZO8g5lfp9gLd7TlBPzfdI8HT4Fj5ydA8Q0/q670mJfkqeny/WTz0WCVzbAU9XkfbS/oudPC3CHvTWGSgvaTtninjTsQ99Tnf8JAJW7Qz/1+wtP0B0Ru5Vwv8OASLFbxbkJi5wyxkTGpTuJd4ZkzPOkZNTI3ZkYyWQ7OHQ9Yx7j+CTljJdU0nUpGQg8/Xp7uY1SKD3gIpIrNZlO81bmKuOvFkc/Ge9g56DvuY8jZKesZ2Mwa63VSoE57CaiqSK/DZcrd0hBE3ka+V/jH2Bi6JIxv2KSUpimf/xpKMoAgNyFE9DVgOZT27Y1Ooo+ayF09eg2ySQxSsTuf4Fo03TYfIhgkzYiyahozIEvVZiTWzg2ZnjhaRNryWcDwcquCSlBDMfJ1V5dmu4YPhU1F//p1LmIm9pLPGGB/B+ERIGJTYbWBeZ7rknmT32mYu3NrLO2eSqoYTjMtqExDfvO9Eb1i9n1Y2wGg4vu4H1jbj0VrZ/07jdI5syjIiXvfy8d2MDjmSBjqiU3EY2REu7fbgOAhI3geN3GnrY1jZOYsBx54EgAprQL/PHMh9sNvMnzX45bAN791RCfSswsmCVYIGhau5McNix6MChY00QdazT14ByCynZMvseaa98qmFPzVhTrcghUG6yaK/ODMlQCq3iGY0RdsnSZHvFNrcVINMIC5qSQCeSF25dRsmkN3z0hepRUIaivFYHu1go8TqS90xgRC4+9F4qVSuFZN8+eIiSCFchTiNv97Va8zjeiRStOozhdcbGvDIOYC0V5lg+Fc8mNdpj+jqxTKNCZwZt3xyCeRy8vWt0J3Fq1vzMFjCKZSXd/cYo7lSsjms8kwoeXubYMb0KtzJtNv0fNaKHCCzPhnNmbGz6Z/C1o2THIBAXapeSfjZKbzwRM76MyxikxTYGzJz6UigcT+cLW7BxRvKz6dj8Ee2sgLjdIbbic8FHntq4x2TvobTs89W4yAa5AJjSr2EIt/ybhv37rcINTRqOhFDJ8xz34QbAMTK4hx7uIg/spXwlHkA3jj2NxXEXqdgu5ZokVNDsiJKizsvz7CYSmKH90yDE1meZ7RV3+2ooN2JhYCCrRKNxquggmYa+HUlLs70oKaObrfSLFN1wASwR3VcFHGbXoGhN9pcTZbwRz9sZzleWdoJpTLe/8PZwX9iCQ6lnSA9c8MsDQ2bcy3+kP9LiLmQdvuDbQdFHpRgjnYoQiAv9FpUNpHMCSZoyHH0RIn9oeXsdAXEak70UrmPynk+VGmWG1M9r8HUD61t1tWebti8XK1eLKj5jPZa1fPvUFXd/unUkoJGtOxaGTGsxAjzTiDYJcH7e5v8xLkqhYrWRcjZ0KlMKOzC7hSThuBuVbnaQrcl91ThVKQhXzewIX/H+dElKo6RVNVOs8mIJVmsE6VXts5ocAdfFXJacJJSlKa7CUAn0Py9Vz3lwiBXCbPnGUh8TncA8sZqkv2/11XB9+Kt7n+ckKhIHcMYikuUy2bvdcQc15FAWvu5DLbULICMvdzmDbTJcAf0D7ZQ3bIDnTOcj+UweTi5uOUBa3ZrCF3wk/LZXv/Xi1eZ1YpRDxxoPmM0go+vnev/w6M3dbvAfnC+LpEbRNx8iEOG09FA+UnFrTvJ59rKZ+BV1/RphK17agCGfWi2qG/K5FJH8k1N+1a3qxk1/fbylnCdncWc5m8ZdFawAzqBe69QT/LOfuZzZIfCabc2Jnzh1C0ta7Ujci/UN0k5YP2MEGnpe7Lq1aFkiDp/W9PibscKdwdnjZQBt4eAx0gMBNKg8t4sSk9tX8xLpg4fPlVuUkQhvafzmsyHhTxRmasNJ7PsrSk/lAy/KAm2efpiiHebxlDJAvKr1MI+f1mJ9NHrCeQCGyKsyw4gPZqmL41zhC6ltR3+VsHcq+LcvxCS0PoNnJzzx33XB733Y/ui/S5XeG8ykP4OC3aYuoDtaoEvagrfsVZIzznY1mhDejGqLlemyOByD4vRjQxo1FxfRn3KGseh0ro5SRGBx47a97rke8B2N2X4XKA9HQAyaIFNY6xZ0Nlac8jtNz4Xk+DCVP+EaUghO4yj1aEa6VbAf19bW7U2FMWFI3JMLDCOV1JTRgzWaTeHgTmShkHTTBGYpm3gd4jCAgXVe3oRjPw+xMNmmMuy+52oa7LA2E2R1xJ8YlbW6icJnBvyBpVEgA/tcDYYIuO2p8KGHmoPn1UUJiZVE6p+AxSzk/QGRI0J4t4RYulypxQeL3RtY8PPSnYfxMG43yyL5lIwR3ohoP9V6lnZvi1XtYI5y8tYfRype0QOVRZRfyOj8TD0HgB1FwF86/OYjus0RT/VZ0Kf3qVuq9dCGH0bxuXbLJwdFyNJ6LE5w0OFvT/nKJ9Gyi6L2eydqyTff40FlLUS0gAsGM/H/E+iDtCyDzsY2zQCbX85P4U52wXJH6ABYnEiSlVO+DQdcwUd3bGAWUiR+b5cOZF4pZaKwlsiSOYERiqtuuPuNv0uG/c7+7mi0d2Wdv6l6tImV0MUqd7GcUF9q0xbxkauT2tCuMZ7nNtmbiO7lNU+JI695GwjgIAYxEs/wvpS+N7po7shlU0FK9mcERs/tXAeQdD4zVkTxRPrui8J/tqxPJ6HvjIVYMmKmKRTviZd4+Xkb1axXusgen3G/pB7nrreztejlpyebZzqacykR3ftnzYOr0mf7gEj8hYlOM9FhrZQS+8tfBPyTl57sq6GiRdPcpxwlZ164r30F8MuR3nw3GXX2fJybXhbw4wt8Vz34jEaj7LaeUgZ+8za7yX6vqn7U7SucmBP82QDVAYuZFUvquQCcOGf84ywkkKUmWCkSGZmCf6bppVtGKh+9izdu86KybK+o93+081QGU41M4wA6UWZ2/YFIv5p2/7l6JzZ+YujTEvfWBkMogt9orXQnkvBPAYye/ZffHJHUtAa3kfM9x0hP5WKkOAO/W4dky/t28TqtuFWh1m/TAykCzKFRm/yKaUta0BT8mHQ4buitjJWS+wP11W6KZDPP1lEYpoaqOAoEydI1pz72+Isr29lL4zsq4nxB01FlOQ1f79mFZdEdZTesiOuydmf+bPCBEsVZjsyYvjTm4UlQD65D9aaW80benZPNO+ddfyznxUn7ibCXFKXr+LssBNykgUqE2/azMbID0BOga8aljaibmWuZQhE1HW2gFWamf4qj1wJo3LMJaFhvarhgDLiqpiwTUbtejYB77h5MoPssqArxlSAosI/hXIWhPWBUhV0dAlhXqNhDh1J1cU/TZx378DMDBVF9lrMfVNz6YN5G7+b+kydP5JS56Fl3BYJ0shCf0G1VDuWVHSnZVNmnFoEvLAznM7X5r3X8wN8mprGPHQvNIoDZ0VZXbzraniT4/fKW80dpCvyrbMP+MLyI/H6GOTeQQf1CUWuk5R2LMVMCBxWvvJOoaP05VyLnasi6wskTuc0nCwxGQZ6yEV5gdJ49MRxfhGj20nW19e7H3hbxlpnWsC/cqxqweK0oiS0ehAdvPbiqWdaVzy0sVeqqjhRCkPDHyCOQ0n/JU4ZVDY5aZiFt1krgq6lpaSOz1A2hWzN39w8XTTqxkx2uSzEt3vawMffoqUYzOCtkbAuIJ8ZF4t9JyjwPevnrDYmtzY63/AfTl7rxf/UFZzHWqnvQtF/+sr9ej7fVhaaarmOUiiQUM7+ct9s0BcqSfrXEGej8nAcDCoSnUTSnbnHIh3ePmkmWWCeMkXBvRR1PxNTULYxtna3aBYJx9ZuddyOBZGMnmfJQUQvZWZ763zqamK6wtmMMwD3RggzsNI39sXtg4dNbU/vgaAhvm+OawzKdRzZmBS43iyUOKLX3r+7lYNgcUXh+lTaPCtGp6RW/GNHt6OkvTL6Dcv9J/T4tS81GbhmiJilqVtMFq8MGNT70dhcw6/XUNUsh/jGr7xr6359gFzGMT379dW5iynw3LEYMiTxU+5qOlW38+Kn3xUxYyrzvFsnNhu2G2/xJnqeohFG232PwmFyHz90oUDw4BnFRJq2bGvN691dwKYIwldCMrTo3vDxGdffMXuvdmEBQp+EaKfdfwFfQWraKdKiwgwo5wJVa8BK4hAGGjN2oOw+2JaL334/9YYFkfM+BJX4YeJVEShblFYAM3HFyONG0sJKceW+D01nweNFbod+qlWQM0/Tt7G15LZPjoFyIEe+yrwA9LWwfeLV3zpk9vGq8AnrUTpEKulFZB9aDeCfOXbXDNCJnul2/wRieaYKsz+fFo2cvuzk/FSyv14gotaWSfbpRgumSr17r/u1TGWN6hKBuGgiiq6ILqcFJu6zY3z0SV0N5LQ0Fw9/jXGf8pSxiC1jY7eyLQ11EZf7WDrnIg4AbQuZuXSSieCWpBZ3t6cyyyx0SGQbTWNkoZMV7p+XeQwbiTP8krRipbmDpTTWUPX2A9e7fELo81UwNb4j2qXmtpdoAaAoaiKRpttojipoqB+rr9Ohwq3LB0omHiLcSEKPFUiRSAFx8Q14dDM+1C5H7ew2nKKj95AMbJ28PVxIbQjQGmcOjDbmzLZR8riQDjEHJ/uv9+R95qi9FlybJVAufRllUg0WQlN29tBxd6XLDTQnbaGZHoRAG7YPIiS2wE+pegcmHlJVyA2K2TcAFDAB+lv2Icbp/K6t6lDmtXCLbUqUKC0WBhuVl2vL6nExiV7nmdyg7vkC2EO/fXiixKJxfVNAUFK+7Gz/04sz/GznRvmNa8MnXfbnuUl3wkLbEeFSHN6Puy3HSW64AIBjYbv3iMvlJJnUkx3GAvgkPos108oGGP/agXFRzIbv4HrZS7fAkV1LA7VJcYH0MM6kRtIEctd5yb1V6RB02R5rmm50TCndupooRU/VlSVpVni6k0k1G664r2OkpomRb4x7UeGZaA1n6WsfprHQEtCq2hx5+6+QpD6j2juQLZtOPRDqCfkWa+s8HHcQsUThK6gMyHsOzNEeVA2SAhi8GajAMonB3dd6zE9zWFEcKSzh0d6orVB+F2ua+IaBofynCTKdoMH85+ojP+JwMy4BAA39hKMG/xhfVLeizADthucVDviKEjYQHXzsytowB86zEDODekfoqRfR1vNANm6YDW4AzxIes69E70LADSa1phYU94v1VdU0jbc2xwDvgWhFQUQAYLKDSPY5jZvDuVzoWmqc4MhD71ZQWNQoyxSQOi8oeZ+OSo3KIWUY+dlI7sjF5fsTSQ79TrEL++aQzBKiacHkqhJl9oLyQYPP0prkPDv/ZEQa1ixh5cRTXIsFVhlN5yphrttns8St320H4pbQDffbO/A1rW3Pcm1s4vJ851IEwJH5+rTzPO+jLlTxK3RWYhP7QgamRGw8DM8QmRqXpbbRwzaNK093okmFxG+0lzmD2YpNL73Sh4hO92+ujJv6gEY3vky7s6MS66b4VfREb5W/4ecHZVR4vu/X4DRsi/0TQKFYfyLFFkQvYqy2ohHLg5swnmEJtrP+mSnlDyOI8LYXRN5kZJu505pj+MzL2U8sv24gEsPiu4mVry3zLbngJB3kmXTiuP+d5lkzDt0MbbI0frwFsmZHfuv2klTGDw/Hrbxpj6abGPnz4kTJ+Qckq97RmYcm/2ytF68nbIoItzeizGCy1eMq2+MXQoS86Q3sYaxnTRWaBKzN1dnc8FNpU5fLBqCoK/HKJ0GtppVSi5usDbEUUU6VLb//WY6GEDkHKBGro6UwHLcdmyNz2lx01oPVBckLuMPPd7GNdVNzrOl/N1SkFeT9Q6Fvjia8mt5Be2+XP8Yo3yIk3QZJinQwjLgZgYVJcYCPcHWlkIzBF5/2zkrAf3ZzpwNW7u3ed7F2LsHqbzOlOZ7vOy8Xa/bkF8hfIaGkYxK6G0BeZaLn3iw+U/fcLRzuVJWK+iYnMFc08o27l8E07PTIfOYtqC/heCYdO9DNsIcry8kniU5KcSWjuZTGmoCxBL2caxQig/2iAqQvoK9JSA4iCZA3py4wWZJnHj/zsQlO7+njxWMCdZfzIhu+471O5e+FVFsah1XEhgjKwguf+2WBF3XAA2UmYNDrDhiOGvUSnG4z/FIETu+dFlNOMkeg/nrKB3paBPuQ2m53B8WZi6bGGA85vLjjUlXrKXU1yGK8dx5PmHeqN+l9+8zCeMvkRMT9ANRzhoWd2fsiGd2iEm4H1vJCjSXHDAB9xiU3yf8/80+M7MHCcWlCQvZ/46h70Fr7Sgzr7SJyErVR+QtMzQIAGtOZKNdyC0RemgjcJYAI67oOx2ux1aNX0dgCyttkYXPh9QLAGbBONWGvOGShL4JtOYpMv4EC6yKmrNGiflM25B46/U5Ux7gEL4SgZwMKED0gHstWV2VIpi+Dki85A7cPXCu0aHiJ2GRLPIQppkgTB0SB1TSIE81GgV94lZOuV+PZQcpqbM+jsH83a47JNf3jZSKdOSrh51H8HFIUDOqvGtTshtpAWnaaFMuaEFuEh9wk+6bM3w2AetY0eIVgEMS1+NGd5T4DTXZGvz0pkTM3LI02+ZX+6uZxvYvieXuWP/Pw2xNAE8jYOX39VnGitID/lLiVXfCj6iEpl1zrXV71BY+zVVajNMkanztY1eYpAf9BO8omVUrLy4xgB5DnACf9nGzXTNvUr3GVJFznNUdswSbCS9wvM7pOyrPUKUMMH8ZCftQgPB91xdSe409usETxP0jZxp7wKFNzKHex246PVqm14ZJzunyzYSkvpn+K4guFB9TbNMFYPa9UtSCp/CArG7cFV4lwD6IPRP/wgzlCywLGTPetF6JQrThKQgiMp9HdSbtqW5FATneDa9l2z3TfZg4rSdmOLTDbGV6mbSqG688+jcRzt9zhPmmewoMyJMdvp5ZOuBwdrvh4Z8W3XA4WpRozqgJBFC4fmK2wRFsLNxi6Vv59bC30s9faDR4lzWKuZc9XLphUPE9RK5/Xa6bIal14JhZTlCqLXktsjGWYI1TcgjWIXa0odzFXepl9PjCRTB3Zxzb0RI8A/RdwRB8eO44m64J1NGeIF9dN2TJPYw7qImCf2FPYbZQypJcebxUMRalSQIrhutf2uNrfo4R20M/s7iLZlTi5uh7FJVN+LjRHvSK24py1RCInDC1PGA8OKrT0Lb2hLVrvkOuqiEqszWzlekZ3o6X7P3mhX3iMPvoglAld3xevKeax/UbmZa1zHJMWuXz6fK9GOEM3OJGTm1bxj+xRVOqQMj1iqapt97EAKUHVh/Wd5Otprg3WtMfZ29fSuCXmRMc9GxZG+J5XSwbyT+DMSliF9yQQHiuv3NL3yhUYyirlu0X8C4UdhEjEcWRwJgKltmUoo8zCCZuqKtvI7OffZFWgq6cOwz7gVKEF/vG1u7g1VFTm9sR2neYWE8326ijQEOLNF0xu5lQVAvFHK750B2PWHPFDpJ1xvPPe+jaKlxA7gmopgX4EDHoRKkZpXBURNtwmf/A8n4GwPjIb5oCvsocscoNKpJI0os65ApTlLk3okC/Nr3voIpsd25zZQ/CC5FERH0T1kucvfAs/2jhtD77uKYOUswoGTNMV0xX5iOtRsqJxzQWg/sSYRYa0EO1zgetZl41egw35Gxl+ahmnWWin803Ow2jBfps8bvHb315RKMLPhowZDF0rAu5bAsHBs2/lzCw0XFhEzvAwiW4kPvG5BVebmiFj7j0EzEIA7JugZqYlvlIu+dCQz07JYzVqj27df3RHf7bq89zdwzbUJ1wQ03+b6tVfFEPk6riAiOrq6gaxDAgrl2/bL8jpTGM9dMRkooEGetWJlcpB834kMmLhKpIaTmVJkOSy5eaJh5yr6y/qCtjv+OnCcA4mWJntNw6IPW74Eqq27iHDrzPi45vuWUd/gOqBgwJTwxTvb5uacEaRgkKgeNHXUl7wH4VGFkQWcCOeG2gkbjSgJhKffOfyvZcgVmdt7jH1S9IpvTyG1TVKB+MR54MdC13YnSUrtatFzAvJNxnZYmjroQjv9BGTjC6aqzSn6VOQcRRml37WEusvaWZQOvSkIIOv5jlDDQ2mJLoycHyBCf70JE8K8GF825MReyj8eLtHuMDpyjV2zJhd5PfY1PK9LJYG71ZUDxF7cxtcIU+1LLUzKHUGvIA9u/BFfP8bhgZYKQ6QvMpdKW8v9czAM3Drla7/7bG+x/HYyyo3kDIP4iylIQiYS06i3kKSasQ+LdZXvzXWEtU5RPGkJtBvYMRobbsTQjE/hPG+TpfRc3yHay5essH4fddtPcdaxOAbZcMnS0UYfkvQlN3/lOlJ/gd1VCihjaJyED2LQMF+C0/A0qc2OUiw1j+vhyNBv3wA2JYQlufvmbtM5ykpy5RmqoQFlXJ4TWwaUYjrsuI0KSbMQ8CQnMQCZjX7KI9KZ6jXrQJJFNnZFMFWcB0ecaTMikV31lJbkbIFsf+W8n9y2bg5bxXGaFYH223JD6bzj79vyCs+C/jsKzZltlB2LpNCsTrxtrm2Hv0330B8F0cCL1c26io0NfXUqTemTDkFCK4AGnCs/sKeSE80UoT9m+Cdci8jKKeuhmU7hQF8XYKpIa8BDcB9kMwYskwzSXlnnoc1/DfV8fYTVaSWtp21nYTjK1YlN4tbN12t/mwZRW+dxs/34+ABIWgGwzT1DPjEjjSUl09sMs7f/BjHJ5NgGJ12tI1gBKgOBnR7dACS5rm1kt4Im/enYkhUSc0FL8+3mzuqhm48bFoUgGRnkhOP4rmQMIwfbU9tg1dHI1g9bTdfjGSiivT2arxuDwZxLdT9OJNfaovnzyhHS9UR0NeTBOftSgrsyuJXWkmOeJP5ZOSBOdahKr00pqPhv2SjKWSt1Qz1zMGbs5uJmSj3gQIDMTJzTYMKiBV1jxYeDWULwskcmeYMIZIs4sNsNXDMWTqYtTFnwV3Ve32Xe6TH+f+/EFAuwKluqmH/1a9kNwhHwqXpIaNi1zDYmx8AH373FE8SzbqDM2BN5SkAKpGKHPR3TYgADrh41CchE+fuTjVW3rXZlr8jTOdBYbSJt0xfIt3PvS97UUA0wanodroeunnVOdK2mC7pVTxEkMAA7B62Y+X1xYhVo8Kr/WGYULylILMdeqI7FhN/Hm1miqzZUx/rAG1WELj/PoyzKAqCOiX1GdLDdVu72hHPRCx568ec+KXjOA/nJMPHy/rS6lT9ySymcmSdKmqn5QqSAUYhbWCCHGSuAQWIXq9zAUNiSRiIMn4Uw1WOvGgKm00GAx8hbjeIHtpcWOoNz9t9xFfopQwAhpE0NDaLzHIICizW2LzLMye8Rr60iTEM+bbJsl933N6gyHITP+VCP048re1jnOc+0vJ/tP4L2gyWyv197bLN5/7CUzd/yNHiJ6T/Wa0clJHMAUGmv5v4HU+W/7EZ5yNwrK6FUn+UaYUwXSUNBFVu5jjDftOLBdmntEwBYzYathfzSD8+QrLvpH+vahKjz0Xafu29TPv31OOuKjgbk7Bom/gT8cLSXqe91j3lvBbxo2UgkulKxFiSHwMMsnLKOsXugMjkpvOrRUBg1gfu9EAp0/2e7MDjRXFOp+EXh9cYbZl5DYa3WFOnCH2l9/huuh0LnBKvlDAW5nbXoXneO/CRAKGUEZ/IRQS1TZWdPGkoRaM5oJgI1McRKpqmVj/i13RzVA+0B4UYTHT2jai3Jx5lyGXypAaYeKAaS7hjYdFP8B++3bXcjT5kef7Wf4ITT+S1RhYpzYk3tk8oqElkh9MDQfjCju1Wq+Ipit5Ndln7FnzBdPbk3GWGJDKfij3GOvH7X8Hkptyuod5DussJllu1naeOQOV9PMp9uxFQE28RIPG9PwcYG1sup7oRt+5B1Ltd2LG1FVsyTBt+Fc4VcCbklqFP8d49aFvQPV1tr9OwhZ0P/5UD01sqQAF5f94h+39UxixFRcgmIujIReUdlBmja7qIKPrJ0FaZvK9yOwSgNuuwIeGwNqHINChui1NNEZ/7D1GqzOOhLJGETD8J9YyvFji8cSJZ+NCdIQzIcij2ozoan6AkJAzeucfCKn145TsJ0CzDY8RkmwealgsLzfsQDPEw3RfYU+aQFL+1n7VHjdpG5QlRPXJLehlp1MzNDOxeCpHnCzXQldFfftf6SFFv7UAJsknJzgKV7isRFiDzhskrPSI6Gzgx2H5iPdBeJm7eZWY0nfdUnmyz3MtbJritkeqwM0rVGB9qqTqHvw9LCwTS/NSI7Nd9Pp8SYC76m28kJ6Otc3fSnGHBRJnYOotwdMyC9p80Kc7mkpKaoU41XOyL/Y6uc2TLst2kjR94V8SGx7gAhGPaRsfb4VrGOOvSC+XaVtOxxQqob1EGK8J9SICfJd1tWIBOFf21oYhG3e6v+dOm4+fPeCOLuf65oUTasMdfs6Gn1XH5bK/K1pTLvoVv9xtFX945vKwwvj42XRPctXkD8e+gPjVppL3vuROg8zi3WAthDnbn97zJ/DO3nqJKdcMyWLwMb9QEGnMAt8JHiIGSanScVvE0bcQd74uv2uT1rjzIyC0547j8SAC34dbqM6zbukvy/CXJh/M3zHno5jQBcqAu1QDwbBGTZ8edY4OMHc05vp6RqGe00s355Up46CTmER3BnM4J3KFdCfAcZ8dxwQ9vcYdyD7P41OoMg2AeK4+rrzM8Mxhsz2zBbqdNz1hf4QmyeO/LViFOHDnCaWbznEs+5DRVqf5L9cKLCz+3ZjH8EtLM0AgexyVgMn28fFfSp8vysjhzuG"/>
  <p:tag name="MEKKOXML5" val="gRvmmImPZQZl+Dv3lqTK1aCmGrZzWZe4XMIBB2I1oKUNyGqtlwnIek4/QcpgCYONicrYEnodfDg8q45dQzR7hc666bP6s9umY+cMpNiwe5EMzEL1ZK0TE+9Wj/nDXDUiIhChXhGc2nrXXGda7tcQoClEpkGxmO7oTNqUtArw1k918j7/DZo0/IesAPlZcj+UcrL0bCi1bqKj+DlL2C1gNbdRIvOchtcrHqMQttoigzqkseREkdkO1v/UKYcXi7jMBZe1m0eTMRCmlP3FqHWjV3Grj0UdhbTcgHtfTjavAa++8Vjq18PRMe0X1aR2OcIpGCSuazRCo/dtJJ2RNxOfaZ8UGQztW3lijUfTvmVGBKvfy/3ugW0y5hEKiGdjlxCf1bZaYNZ6YxyzyuCnny4vcwiFyIDFOewM1GwHFQCbvzcP07iqlg04BTbIHLAKSotuhkLGYrRX2C5//PYosSdkY81RoUAcROfgR0y+Z8HQUW8s0DeROyGZu3kTRb6Be8xN5XNqFAB3wp3dIvG0nrpn3NZoDFuK1trp7NEe8bAwUSQpxkx3ksscWinkei+ydbo9c0AzOdZ0gcu0EUj++4WcBHk1GhPBtvPpkgA7EG4oBWgu06n13HsAmPkYF2NWmD5kHTzTgb2ptbB2FvVDl0Egu9l+oMsmRGFLtCAI0u/FmKhMyAqjZ0EKxG+BFJbJLEBfv/MEd98hl5R9iWQPJfLFZF6ZYvpY7Gkgl6iPvPCC1V6rwyB9MCy4bDJ9j9GnD3fiEy9CyUz9Ox2haM7lexTIXYwUvRFO4O8coYcJ5XX/Tkp2P7l7/U2d/ds91ltMvtaEl4/EgfI3zW/Ta7oLWAD8IpIJF1UukH9g0zl5dlbfttPa6c1UuHdcbGtzZMBGzGW0Nbb5l//XnMfFciESvyVeWLSzmKeq8MnbveZME7pWycXmUlmCzmmqiEar5n4xiKcXAkKyFh8s4De0TIcuGEkZ2cbrTHIXrlVu8YR9/O/fqZ510Np65V5IgqswJnWJmj8ME0RMTjE3MfA+XlwJeuyd4NQPabOHuckPpC7m0HRUTFQ5H8Hicz8xyh/kJyF6jDFggaXbQlBx0ptNEqrPjjK/qtkL6mNFhmIk3tGWFwDHsjyBXYAgnpFqYdG6qTsI2ztF+pr5bT7Qbr1AyNLvAPiVQY0qs68gMYfqR9PKKdydzJE9TJbmaKPS0/H8Uvb/ZU3cw5JUS8f+2tG8SvQD55wV484WhTYnXXCb0FKsO6phdRe065SSww/cU8BV0ZPxiUSfPPiDYs3fWWggYmO7zSRZQYBbMMrt73zJEHZgxb/1rRgUadufP9RL2EIAQbSWGzbjK25CRNsbJMTQOoiCq6UB4Ar/AI/QpnDBVbtYlIMHBs/q4tZ9Uur/3pRbD+mB06AB/7hqb7bXKtV/WZJfW2Kmi2xNXzxnQZY9tKj0/Ph40hxS187WWIEZ0sUQM7fhVKXJjCPVLcE9nFiUJ0k9dJ4xfmjrZ5KuDX306yF44NQpcSzpvcVswc6UZCxds6iXvHi664Bff1H31UoXh+s21+74gaoIHlfbKIZwYIoGaOkwQPfWZS54ztS8x/jUzPAOQzXikixXNpCOTUNsEjMPAHWd30kejp+cldhl878W8RAzd212WN8oitjwdnRlzsM2JzfLEE89X6g6h7T4Edbli3hDE1gH12Q6c/Xui50z6MdJ3BCfpET/tcwItRMv79x3Jg/9zI58W42NAca8YdAIs3wxz2bHIvP+fO187KazAN+IOj3kHORmhSATgIduUc/I0aqHd+jLuL03qupMJgQ3mLp41RcSAKNHgFaPRHp0lNQkIG9Uzjj4LBfphfwHYZImuxeGRr+XcL/wkxBQbUR4aVYOAHSgkh/NP0GbkMZesqbJ1iTINT47xOVat5oKTRIPfqG+eX7fKmCOrQKwuachkn62a/lVnpDPqCHQYcqE9fFAQr0SdH07dGp+KL1sMh8HDYZ9XhJ8ZCTsy7UZAv8cxB42We7ZU4Rz5GIcmBQAjIG6ae0VKnjVLxd7ERzjmT3xbT9gechLi11eG3hV74+ZZncYIo0lOSOsg9NdMBubNWVyWUPz/Jx3hCOwqO8blCXFjEDAYlQzW8qAng5ncrMjGDHngxESXQ1+3T7ciwmJ6NTbgJrRmComQIWl6Um3yWc1zTm2AxjGmvVRNSZkVCl7VxoCU28/rDqP/yute/L+SmWw6vdbfOYh1Pr/kSN4bogLftbnyqaZEIOD+wTfran4eAqB5pD1l3Iw969efcUOw9Cg1TWB1P1f7ZuVRRh4HcUNgGFCModQffcVvR7vtioSr7ZqXodOXpjQICH9nozPkBm1gDaSUfB6/banSNf0YBhQS0kTTpYXbf37Q8KaO66fdaKc8bhT7bpIHPvpkTxekTJbFW24z74yAs9kc0mdMbXO84phFZt/L4+F1v1Bp58ZJoS+godNs6VoFPumh/nVXEWH+pI4IYHz1jY+C+p/Gjs2wcfFGUx/N4xBTx+DF3axMjiIUa9f2Gf7vtdpVqJGPHZx/2x/Rtlhu6dh/Sb98s1W1wPmO9KibJs9DT/LYtwaDPSN7jW59L0KQZvCk+xnU+7Z/nesYQR/JPlNKFgYcRj+ToI9hD/7OZilzY3mbBGeTNW4+OV3ki9KRKSqU94U/+pMRm0mkaf0xUr+skDvURz3UJX0H3A2//SFK6Il7L0JcFaXqFdZZxRhzXF/c3SMxK2KI8U/b/kwU7qbtCpY1RgwpW7vJCRYiUJNEE80JhQQRLfkHgJr3+6iR+OeuUaTVjqrBSEJ/iA147YYwOX6xlbKXUkVJSpzVHKmcjZOdZVFF2Q3rXcALF+3/lS4wbCjk/XgPDct4+v+8mjM5Km8l7Jxw5XEMvHG3uuOM3qb2ZeYKk3pSIhGmQ4lL+pQPZ7xsZN9g/K1/BR/pCvxDlIl0ZkatEgvwDfkzQrDm2Jcq7072mM090wtXrGbCiH3KY0lzXxo1tBOkCYo1HwzCrQi/5/ZVFFZo1dREOFZD62nUe5u9uV5zZhRKJTIBkrY0pk2Opa79N5U46xSTpFQH3lZP8zcrwpSgDvjl5j7O898MnHKO0IxZULdTcvXcGs2+7/0qyaSvmtZrKnInj21527tuHFiEOyspsLK0R6GqElg08+gic0wOIu+gftE8y6TD6se9e+NSPt+XhGrIwuWvBu1I3A5r6NGNzZXeN5Hw2rODrNftxvL4Ke/7kLVZlwe2vQqm/VtcuimElWu/RiUzxUkPrhrcgH9jmRxCAhrVcSb0qZy0yfsMpn+/uf52XldE2difurB5PJ1IzM0WoFZT0CKTllljmIQV6u5ImWf5maBnAmackAGktZBfxyWYk+DCI9c2JwSzhiaAEyzTQEEkdSaRKzYWhn9eFfm/ZaytQWps+9mAuzHAckFJlOX+gBXT379V2Zq5YU7EbNdxyRD6dxtiz7MHY4A+VwMtQHIyDZBuTHPO8ADVkNWtr/ymhgEv41hPuhDe+qQEYTbLAA+1S7kDF9CnzjinvblTQ2Jol+h1wdDaypssvZkGSxWZNpXMu9H+35JtOomfADcichDWVSG2JbrgRdIyRtQeSt2b5VOCY4Vnuef7qWKdrkdQNNFJYNb0vhwEIFZ9ThZY1HdL7+62XtQbYwc/zXkFflhozyHoxIr0jRRVDdibeQscAZi6nZSu+PzVmDxg64nSoCx7GbpFgdn7IAeuMlCP6OIIou/zeVg+cWONO3CFO3TJV5cm6v5ufHdxzKZxYYQokhiGgBCa4pQQQKCa19EST245BUFMBnWSYFGUBdioIXhI8kGeW4dB80I4/6ORtZnaHvj7R3/kF3ylbDbmzI/o5pQnSLHEhcXprJb5ZE2tvoXBDgAgQqQKeBwcg8woOltqlCB5QZyNJxCC84/kzpNpQnpCSiDivYiwfS1kkb/2IfFm/R6vLJv3QxxG7E3Zi9nm7Bd3cLTuQiTCA8E8ixiyLSz4wvvMkqxYH+4DcnsyLYxHi0uH6Lc1MgxJv/T9eTny+fJSuq6LRqfRQuJAAbFV6QtguCWZWacCOs/Q1rEVNSM1qEkv8gcAyk1cb1JlYCBLZtYNUwMU9+AaDcVAgmzC+Evomv9OJ1AORFUdPvniQQ+s+zEWxa3IXZGv6ChtvNecqH1Q3eIr9usac6BFTq/Q0D0g+CRh5ja9p+aLLMTjp5puD8eGyLZ6pBSDM+hp24eUsLwtdfgo+EKco7/Kst4p0mvttmBEhfrx2W7PvI+RqJ3dbNb29rWvaazTNeVuySH2UFSMfv4wtjvaLDOdPsRZVpwPMYVAC3HJM1RfgP8YXexLBiaLC9qb9RAADamUZ8twfVUNxXBzd5dz0EqPkXcDUXoxoI612v4kY5M6YKLaq/T2yTb2F1drbM0r8q6MOcb8thXw8ahLIyWep6d+SGqwbApId7Ad7w1E0SQDpQClkqDlyerYfa28VAmtErrk+nYqHH20Vo4833K+2lQrj8sXlJP1+WXDfNEYLbatYtS+eobyQgQAoGP++zJ4KrwIGbpYssBOaQY3r5hSGArZC/ppJszvh3jEVok5I4zAnNQekuc/EiDPcV7ZiiYNDhRmuqvu0HenZf6yLW3h97TC9BYKLE37yLzKIS9oBEpAX3VkTdBoCLjsDQMhFJoUATwcLEU0bk/jnCesNa7Kh6TrXl8QAOKyvbqIqejdb+ZqBfP6B+ReJyOjE/ZCaiLLAPkGPX261Q73m6+SLk4dT8GWYSIfku7b+jlI5zHek1mjqtCUCJ+ZEksQj6eTgnKjbqAIUhAmldPkYFvWnlSIXcOGdnj2J8Q80di4sTy1E5FyHZg2vcWP/kvn0++3dgdxAMAcmJW43yUut7T5PC8x/VfoLNuZ3QEFNhmvVqAYhlOqLCpHkdEtUyvbXJubh7n5z2G6HY73IO1S+AOSCuFDpTEygAtUw5pmNoirNk26B8jO9IKYT1C6xXwdvTeV7xbJMoozSIO8/fYyb0wAICD4hQIsyDfUN+obGUb+pVX2Tdx3YQKh7vITPgahYTvn0rGY2NTVBBL6kfEy9nfrXymanlWmKETO1gjWlM1DWXzjb7pyEI+A5twqAqNcoFhVSpXEiPeurTDf0jMWKFCoylTdEILskJhISGBw1gXyxuHlVeKjWFwyaBl+xHAmyQgLxY3NE9jqg4Crh1aZBYlib4xZF8g1cS/mHZ8PD2BXjv8HzfqGhzHCHlAMvGNXRovNGIowXS8q6Z8BwVrpSoNAItM6sUZZuGBhlPbgN+HDO89xDTBgPomQJva1mJcerhEPa8zp5EJ4I+gaKjmTipZzNzELQ+b9h16Lo9rbsGWPgoMtfw2RYIA00aiGZGMT2HE8NqkmBGKLPXRFRh8A0PdHafgRvvVlY/YxwjdyeW5OCCvoZzPbOgLEbGfrsdakHsTnrtVzuRHEY0jie8DauyuSp47522l8D3uBu6UnBlsxOlhtY2kPgvVcgxMdLPcZR+epJjPXhQDW2cGi22gwgt0xU4PO9QfRMwJvCbh6cD27yIVr5gd3HVj1iVj/kGE9YK+u3Ayucqx+WOCj5S4abI84AuM0xpcYcX/tpj5uKzpllXtJY8MM9fA1PkC1XeW1bDp4JcjaYfHpaWgrwFxeXyOqn419aCqC9KiSsCyKwpzPP7/PECFcjVOs+IferumSKa5QalNeU3F3I/j5Tv4Ae7eP3XmKdr95XtyhS3gY4zCuN+YMvD0YsQmC7R6gaJ+P4cMp9xvzqah385NF8FpIk0EwbDTcLdPTzjDkBMvvg5fHL74AHH57Q2i60Z2n6ZxmozJY+OOQLfz2JqCOjRKH7evPGPsFun5FZCgorBlbwOaT3ilo1I+jTLw/yVb++6iRtnoZAJc+NBR6z9PkVXsIc99Yd6i1PM9AnSeD67wisPK2bKr5Kueub+gBtVF6dZmqfkrNAMZ7AnV9B1G3lXNygal4FX16xGFhFmyX5qdSkvCZsJWZ8nR+gn3TOvIvIqRi7LwblpnjyO/ijOBnxUUpkuEyDaM5ouS1nPEuMwG7NAUaahPWCzuk3rWtq1mJIJNLkEPe0LnfTt/9wMXG8wU8nfWDKYHWyPETukTG+w2q9txt0Se9DVaTkTisvPYP9Fs0y0Q1P0lZYbVe6CfINTV4zTYVPRPBgoNSQsF6bitysJye6Q8uUQzXC1lUe06u4nbkTnwyp8yB+bQr7VamVJxkcxsXANrPO3uJORqILEuG9rqUh9f/8u0rN+oGYKgMZVkN+Fe+V4BXVfPHSxFkZFj5ro3GH5d32NfhdZa8wGH9EGSRamW4Na2uIOvdvVyPh/0uWuYhc+gOaVPxoOzStT8D7ct8BlpH9crBaP4FqbcjMQ+/+D6kVA9Ud2sSPzq7x6m9F2RWSRCBSb+1GFapH866bgLColX7mTdGQz4mucjkCobXtaL81gSgMRkCT3pGRbVDUVmTREw/BuPjZ0Zb+ukYNMTNpClWJR3LacZE7h1Mqd8cFTmOUllz4I7NJlLK7icJXum9uvDYaQ6o4Nr3pYIQwxPeq5tyJ8C0WXh0/+8Sr8rQg6CX//9Hn/GCxm2/knx/GSd6L+0WJuPlfOYTsA4TuI62wsfJdJdD7FJRm8+KeIvQHYD9ZawfWPiDjsfBNtf/ox7j4TQREyPpDhbnqphTZbmA3DAuujMw1ii3k47oxNVBglOlDGZSrn0eLOa5B1fXQXTNNrp1oxPjNcIzhbf26EXqi/vmFTpPt7Xi+USCSONkYU3afclBKPESo4hCrdAtJHakg+y59dlSwOi4PnkTe4psDNAgpmrnVA4mjGrgGdIsw7a4KMmUgqphIFcTthectUBE42Gk49mnRb9LAt9EkY7JPMmHbAjMgzLyTqZdTri0EpWJl31cgJwaxpuFeXEkolT4f196Z89OTIdYtNTcCeTkhj6sZnUwLB5Wydlzc6Y8yrlhgbJ8AsHUWe0Wi15cQ5AjlC5enICq0ANQ1D2HQbSixeaAs97a6pWg1V6Ntx75fLhZv4akW7ooO2zq6WM7FfrhTXtlayjOx6QW6OCxR447GuimoU0fSZqRyKVE1fcGM4F/JTrhScFj8d7+FPTFiXHYQBCtBUnE70+FtC8/S4Lsm/zTvoDBpc+BzOAU+zHuXvofXWlfIjcZaBsKbR7mkoU9k8ujXayAkyvZ72lvyBCnJuL06Sc64yD7fYM5z24Q0VwGlmzt1J/fYgJ50R4nBP4ld/WHIi37B/iVFWCrwGdu7sC3woKGLPj/WMIPZYbtnlpqW2dSXuKCyyoLIGbmexqd5r+Mz/IWT6dqIBiU48NbMjIJoN6JnowiAfv6sPDlXQW49zfFCiL2gbYbYjsSIQQQGSQMW4pWOE+rzXCuh2sbUI30B1FXFku9V44Qrgp9MeXzqDzjCnVuWSopICBHMGGFecPWSaRzNgoanHFRiu35GBLsAPjRKb1sgsZX6o4UFvCsa8D/GGCDL3ebZhChi4pc9EEQRze45NsiD4RCi7k0RzG9enz2tJOqZs2VwKsCmeosxocd+y9auQo7g/sPvIAlEGyLaMc0aetWr7+mvS1CQ6Eds5uG8k59/VAw/Av26sqdrIxwJEmvxOjnzqe1ToQIKw317dNfAmnRLKqIGDM5NnhGJEQVvG5EtVxFdb7e+zoXElKZClZ0JcSv1bmSuB8apEFWJjjLPG+zRMzFO6fMEjNraT+qvbK+eg/uKLCjRSNWFpQ4Zo8pfAtx/OiNceeN/T0j1RNCLIYc6ooWpWegQgp2chI3KpUGT/RltkIn3U0Xp19pIOGoAUd4NDWnoHdknkbZi44PGj72wGJl3S4Iy2dnfDpjZeuXB/L0Cn563ODjnmrHGsPExZzKcLrsEXMUx34hygwypJx6qE0srVor4uEEjzQAGXYoJCp4yOPkNWLuFIT46215cuSNprR5IJNOAtx/KbDqtBCE9jJBUY3qsvbLmUUBgBCowrAOunvcLv6uvMWKEShbH5meKlp7xHYdm4WtUaD1oi0Z6y24FPHeBeEEQNTuCeyPYhvXqoxH5INWuIn11YSo+EKv6n4Y0Oaa6daZTgnYvODEmagd4F6AyCc60JcKv+RJSV/yUL/2FVNZrC90t3YwFycuUTM5wmiTGNc35vrEu65TyvxrNNQo0K6Dm6+xSpRFHUdnXYgeO0lhyHZPfhOC5rcASH/PQfICIKN1CB2O6M0KQwQgm+z0hDzQvZ5RSSSS1twe2yFswKB4lmI/sk06bOEHVMOV86lgSl1AgsFzm4twLa9l1gz9fppep02ys/B5xg2rh6S64s0p8gK0621a7d6B2RYZ9o+ysuSXDlfhbIm8OqJUziuJPuMUVVNsjBYCf29+hdakFHrW6l+6RxYesjfNl84YI8wUiWQNIFMeVlTVsFyNC8F4pXTQ568AVXFHh257QIb79HhrczfkL7XirRxtlJ19cqkldU1PP8Kv0vHTf6kI9qWjAJ1AdSUGJT4qaYVqO7JUE/8TYjrIiI2wBHQOG18HykxYfR1Svyv5sMMgi6WpoDyLSPwLaQoTqzHlwsxeE/5SsiEM6SXk7xz5rYg683R5ka1H5pyddUmQ97dUEk3m5zCHO4rra0uyFOZAtbvqYFQflVffidHRnebmILGJxgo0qU8OEAJRk5pb4A8tLza9xO6PeTPul9xDl1f3MGKxuwuk9Bp7wwwBUSvrPNJEztOdw0ymd4/vwEr+snKKqCI/T6GJR6oEPNOXJuid+2VLlwxTRzGbxdlFVbsygZ+ViQOo1KHdl9Tae1M8rY2BM4J+jbdrO/WxGpoJBU95aFS2pHKFlRb1wR5CPMM9u2ytd+vvernurZ6lBKO2Okr56favkEHIjEKNw+pAAFOu2F8l0i5uH/2lanKZhinkXWQlFFTiKzNshUHDQNLZ+SgcqPvvkxIL6ZyXXJZ9U8lAPCkoNTNJMBbYbXXWnfmogm1V8S6LM7q+b7M8SjGxOPYttJiNzZWAhuqAGdy/iA6h8ao9ltThMRtgeJj9cU9tZnANtudPGcQMSVu0D2uw6IGjJuYwGDN5q3mojIvfE59s47kEudXivYE7TE4K+E7oqVYLmhqHCj+S7z20gjfAaepG9cjZyZcu+Bj4IVqSHpYxCS2X+qDMfKPXk0UqEKXZqa8xIyzau5Qf7YgcvGmxNEWu+XB3hTgSWLyhxt2SJPxFTz/fSvXWqF5guYHpzZsovTJLGr6YnVqgGM3r8It6gd2DiiSk7y/m7BKn11J4c5cipY9flb9m2bfAcCL/LeQ16SAuzmnNsUQPVabqqVKVT6hR+xug/BzxvP7FsV4m/C/maM9CaunbYT6SnUnfpDZ8M/mOuhTLUSAS3jahzXZLLBAPWT7I2qrQE1+6D/Tlm1YFDral4Wmx9dpV/GwClDEbHQ7I0h6TO3Mj+z1eocB73Iu0fJTTnKC/0C1z+CCiE8O2R8LzqCv5NCfQ1u4sZGBxBZ55bokzbTnpy8jGvO0N+ysagQAodVWBfwHX6SgRys1Q/Mlx3cudZ6lNeCIQkRmaUMMzgpHd4dV/HQZbrSIw/FFdNWxz743H9+kpCf5p1CelqIJsP3LQMLOU8vTqh5WGQZgfjtfyzqX9qsJXIrE+FVMmdkV6arQHNdSgI4pZA+YBkXUdSkdWAmloHP5lAFoRkpGWVXEalKzaIdMjJjYNjrZtN4A6uwlPumc7O3d6UwG8fYvfyFkh5gLC4yZ89puK+ilfzUd14DpRa+9i6fG4AjBg3Pc+R3KW+R6t1kNjNFXdf6N1lmNFihT65maJJCyA/zF2Axo4/hn9hSkkiWcr/P8Mk5j0Hd9bSnTg/SZjNFQc4xRC9X3kzY6L9FCKxHZ3D6jvveTLK5l0ttNJJ1/ArDBtPNoe7KO/5uB0uMZECeZfyvr1Wt18eGZ+m4Jkd1LNENI7qIdcujJTPVApbB6YQDGIOvHYCJjgoPSypCSUjnmC5YohlogTfkpwq0fB9Mm+ecJ0ZZmoHVq7D7WIjH8ZhMi2o2i1cFPAEFctMe7NbNQ5UTrgyfmKjkfxkDjD9WrYolM0LwIME5Vr+9QlNDsQVcLImALj1qWYkOgo//po9DEE2Lpd9OrHAzsngU0il1cKjLJ77k8AhM6j3ZAmRRAOL2o/yZVGKgCZFmeVVtseRY6ylv4j1wuULmrl2EDsa60GNVuvAABYon/exYxycJXpwS0OemV0iryI5X0tWhhzBn23SMwminH2NISSXYyfXRTemGHU+yM9MWHjBHj3PVsJ/3uaXSPMe8Rkf6U5+8JJ0VqutuKY94lIjBRvmHXfuoF9LUWptJUgtcGufu/wBXq2g29vpS9mux3Bur1h+NGF2B7jkNMXnboZ2kQn2d/a1T/ba1roatcHccQhqtn/zB5TjSUxm7/az0zoLV0H9B85TiFUoXf/nE4DLeV85Ez4c3PBQFDEhAce1nmfQsHa4eAQGAJUjMiyuCRdb2e27/hULBWR2ToZYAlMjK/37iAJWiNrl5Ed2hT38EhzjtgmIImWruEAejcJ0KO6ruW153Hc8w6lGitaqBLMaV3C74fNVhY1BkHq5D9S1oJFsFnevzsxAh7TYcZJcTQ38mXSyb4hJwuSX4o+NkQivm4bQKL+9s0s3vQDXuUrE9XG7HXYwdzk1UX6ivvXkKYIxzDgWOuBcBPJYSSS6F/4yRExY1Ljqrc5xwPEF20pvr2obkSfKKN0gOlgKtM1ZeSCrPdGBbWzKK/+oLeB/0nkth5M+A6eM+Uxw1YKGBURTjA2OZGnEf7b0d3M18lbsuy38EYz4Vzgy1TgVlSX4195PXj0lMGrXXzUeVxhx32SI+0p6BdRNxn1X6WUPXhGTVgSqbKjm8+CualO3xm1ABwWoPmKd+rYhSKuroNUqWLTOLL5Eob7USBPuuOCT5indED9DYjNX8MUsovChPhF8IAi2vRXIc5EDKWU/4maQdvw8Wt+2bx6CXf5HsUoC+HAGUMXBdXCK4MnUjIwO9Cx7bb0LoUALHgTv6yRc910TEarv/gIWcrEek9uJ1pVL7Fvawmu2ehZgJNevr0XqRddujFDKz6Wp2PYnOqAvvgLInFIGvO2+CEXoGhogRiXwoOcdtDvHjBIQg3+b7npYFy0onCK/iHyGwhr2rwCe/oUKwao4cnCR3eP/91Ila1DzPSqlGYrVNFBNgdYKltQrvKBCMLPwemn2U1CbQhNT2OX2LkH4R9AeB1N9eqCq83vKSVQZXIxM5by1/0dyEYCfkNIjT4eUSQbd2VdO4v2VJRw8LHvZ/AUdxgkA/GDx+iZI2895CrIex7TmSKg6bkYPClZ80+nGdXUh0uQGO+vFS+Pr3UWs6kMtUWQ7JL61nu62TkTq82i3rMCV07xEQgfFtj2MfmdBXVvjbDnwWbHUuIrP6g2UidTdegRSaLwGqgE8HUScPPvMhxehzUJK1AE44do98k0OddUYYjI4dVyfnOdVt1o7juwZa5lHBsl6LVUuzjgn0C8CVuXHlAZuZAGQoXVeVVxjEwYhww9jRFlvqs1OtMOKRTXzDPU2cV2OKgIXwoZRU+Wtmvhn1z3e746lmjVA+RbaXLDrYlLqNf1Ln2vb74XxHKUf3IDjghLRulNdDmhgNmzlYdoUvM+xA3p1rW4tM9vnpFHNWenkZkjYpX5YdpE8aJDN7Q4Xh/DKsneKnnXjzDnkydzartNn0AAT9nkrziLxebFLQG794TI+EjoQmUsLhbHvmNpa0UuCGyA1NEdc99HePNwjFWxb7jcnR20+BvcF+p0ZQ1eDOu9K7mHrLUn7cHs3kjYZog+KEKsP5sp0f4Vmk+SNho6ivEmVLv3uQLa+4YTufSSBiEQN9xZQWf6VrnIsYoQsQWbXa/jmt3PuT89zn0rPVAlA1YGvZ66MNaVeW2ayGSvgKui+EdSwF89UN/GeHKjRphHpWNeDZKo8/qMPoBZZZFKLo0zeDqhFC+QuDMDE3/FQzmyV6OA4hLv4YiamY5H3yZKcobdV8clAH3U9aofxBAqQuMAXj4VoCVEyHLPEAq4+NEx3H6d77gLDc7Gih4+NT3LYp+Q7fqGFzqyR+5GDC1htuAAvMGltKPm2TFTWpsFKd9BymaKn23uH6Ns2QQ5FlNGzL+ajCo2ky2kLuIKuuwHH3egmkpXZNr5zRFCHNA2TdMrqHM8mwmB8hPYUu30E9IiWzLi5rPnBNirfQy6CxLVq5AuRUaJzTGwt3ehrThg7YTvsF1/NCfNvEECeBRdfyt1bcPJBz/g9NsAaSX0e6txkU/l7hdf4Uu3xGWX66Z5WTCQhwozQ4wE7oBy8IwzVneaLH6Ku2WQ+KtI4py1pzuDMEgoh3ysCfYGaYU0OyRyDRXLwyrFAbcvcstQA7oDYbLxtnGOtC7KeRRKIydOdijyZ6Nz+je6/oWnVdQ/oJQZWv2AX6QgU29iZ3+lEOJ+1kjjJNtV3UdojRcBEdlWYfSBjnJg9q8LLcuXR0WxvTxPqrjIDJQ1SrqdOZSdE7OlklI/0OuMK+C2nJSek6l+fNZzl87J1uF92318O4or68p3P8F7dK64+gRljzbeU+2iptFsXPGIyifjii9FHlt7s/OFFr8W8vYLYHX95Zp00Jnl9JzcVFlEvlKxp9SL7jIBR6/pKyCzshHpQGcr2uyC9BemLd4nfM35xP78r0ze0sT+GSmkDmRsQWpQW3bUBBXzj8jEenCMyunQjrAOAkbGe6GOx7+wuxfJcRkzZheAptSKsssSPBrWHeYyu5mWiBYMam43xGwzAJNc4ylsQ73COCg5mW2pXXjgScBbmxMc3+d38zqatYzf8ddR9gGFnujVwdgzoGwiq+m7SZ0QCSnkw8IiPpB00TT7B3BCu8BiDTewRBL0cKiS9ERcvGVP7GSWk9GZpNHepmwymDWgiWZMBK0y98zMJQ7KTrJ6ef7LxTeBiNZmqGtseQN395lWiC3R1uO9+NgmQOUGctaugIOAjo34U+KAn2ozbPQHu+Fw9f4AJT+g+MpZoJ8fzQLRl/RHG8RhnrgHKU7E852N766F/WVZvn9FB9SmwN16KTP1GKiCNi2vO6UTNwTkp4+uNY4t+6ogDI/HzkZVj/YhECEHwpyuKAl8wTW/gY2tsfXApfS0UNSV4O697DgiF8umnpq3KgpIr2Uf0GJnwpzhfpdJdxDwEBBmP0Lox+TTMyKuiKiyZZrxMOUd8q34Hns1p+8uabJBiCUH/6HtBe4BoHAAyoblObsJNCPoUk+DsnV4m6lh3JdLiZ7oPTuTU7ChFm/q+22vKMZEtMfsIT3ABxmPxf9cxyAZQG4uO0zmzW7/1Ya/In2Um2aMDz7TxjHoO7WJr3y9BfqS9oXOB4/314tqwQA9ISjouqpHnqzj0L1vS1czULUoLffTqzlUv0y7hsb5ZihQPNi/CJvgfsOY4SEpSN4OqdqvQ1KOp9Z8sMAsNpIxLaXnGtR2LSQZBCmDjCPGd4fnI+aVm8U9kqp4VOgDfFoX9R0O2uFdTBwclJUDT6C6Qd7RPLjd7jeh8pmXmJjuUMYdMN5ZV/3ZASU0GmN7scs/2wIw1P3RkAecOK+m3pEeiWKBqCD1fwbyl3V5tvpZzg6AtOywkVSzU34ZuW3+Ij7kjuvRe1Lfss1yz8POQmOw/ZeLw47TJ5MQ9VyAnjnQBzYJnnQMJu84UZIXt4iEEUlwmDc/o+a60QEegx6B/Nf5WuQeVZ0FcFZt+zVwH5Fw9Cqp03JhUK3uiidyzfLYcpIAHLJtoL88GV2MzqHeZIw3TG4dgP2i4dJXyhj6JWD8JaadYwmBaEV5Tt3vnQL/x8svP7Nm0ATmcxjafnUFybwtQT5GbFR+8YzwvcpuIO/nbDCYcvV+IG/nVxFCi0+9Kf743ZsDv25GArXXwRMfFn7ZmMicBOdw7AufGJ3vO19hXApa3y0o6bW+TzkH+/VgfSQ25nz6LORzfD/iHGr+7tJ4Xh2ZIoiayFTW9w7bhD+/TnteiqeuGvnStwJZy7ft3DnI1IssI3Qf8X3cmTpQvz8ngNcLmMOvZ+iNQgCQacWcjvW0pKDYFipK7RR4QSzZR+rlYJuc+C6W93iA7lbi09TDeh4jfETdlioK+aEPHM+MyFVpwzKRpYIPwmNHwspaiPeEp2I4gx3hGsAigSNVa0IwVEenOwjDw/WPXhpmwGWeaNiegtERagjEXPOc5dWB++2euiF5XjQtRV+YhRRsxeDADMHsJiswozq0VmM3PJEh/xlByyPQ5Rm9/YdsuuO8CufMW3rZdV0/2dO5GXFLqpFGZEnZArRR3wc84Wz5xcKzFij5GOETu2ka/1yJmkm+kdfUkxTgpswOR10LqIYwhbjcedHiYdnxEW0OPtkrghJ0EEnqL6p5Cv7vleguBl0EqIxk//NALyILVMOLs8Mf/f4IDhGu0iy8N/c1mKEyG6FlgqQl7DZSkhb+XEOaLAhoq7fjJ4fBLEqMalGD66KFP2iZaca6m8FLros1xnncMGicF6XongAR38cCecYY0j0Ll7zBKU7LeJXeCzadH6TJ3+6ZperPaN0Bidh2nn5qz9NCerzmq2spQv/RoAXDyjmak7m7hDZDYpDUnltPMtzIUdfs1MIBIxOlUckeNKXzlS87asXgNqMi0He/NW16M4icL/5/xjpcfZ6fCpmZXp3yaGNdUAmTycEBjfPWAKg/9PQ5/KtIm2BRzKOtgkhrwbltdoVEx8DNbNGGTwYLNjyatA87ZLpQj+E+oj8r4eHaQsLp63F7R6zQv0OHLw5OkDXEo+vlZ5vU6KT3trc00XL+c80zg+5jNkSKvXiFco9/19dauFuop29pvGecEXEeW3MdvDXVgVqWco+aOnnIgS8Z2qL/0N8kJnAD3aUhPBVrgsec1P6NucPRFodPnTq4MVdhq099NoA9LC5GwG5PI8LPh/QX/wynWrOwu07Fqow2gGz/WziWM40yHB637mOz22h+VtKfirgP1389CcouVCzjc9a/U4/LPdzLh4gRu48YHu250oWoNh+0szPiO8aTFcKDngkz58rblc9wLheSQKh8kgwkA+cJBIY2qzHKm/y+sczdFAF4LvyzjpZC3qw8QU3+hr8iHPR1UbUnwiR5LOk6S07jC5/ZLyBIKq/7+Jw92t/dFdYZgU9JCPGxYp5cwV/sOtw41/Va+/B0dBph89AQbnOA1reV11Cq3wGIxKYheBxayWzF6D6emPnIq/qJGkfLCAX/u69d3W2lVPkkIep6Q/5yy5QLoPYJczC/vuG4hvA0imGWJK17D14DQBQ+cfjJPV3rx/5lXhvDQ/sEMYGPo2PVYlK8W98FaeV6Ykli+WxMfUMv3eQVJMTmdYfQEEjmAA+GPmIK0d7O7MTY+IjBH6i+7h1S7CHlD1nGGCAtJpUyxC+XYzC/bcE5IhQZio13JLWQwaD7SB6bIRPhMNVWiYbwdpRa1jksvldJ83NDZKpVZa0UZ1BxEGRRUYeRLFLD0KAgEkOvGGHCsiRTLgcYJahR+g2Dz2z3kbqxTranioMoND4Q7C6kmWvE0ja6kFAmRCTX8NL3xOk8ihQlEfNzhstBd2Kve3BmuxSv9aDyaAkM3u3YrxEZSNE5IfVZ9abXGcuW3uDYQpjZdhuOmwTSk2WHbWdRCFS0S4G6mEJ36GuC7Pie5DKgCt4GjHI6xcFj6Od8kMdSFIIfqCwB5KCurAZBM3AacyetDwKYykz1I7gVRHLovxRtRoIgdNW3CwJ0Qd2kE4CIU+4ySqRzPikctthg8/QsfAAhQWJ1mGd6i+sbO8zx5OSKRMWBiT4njOOv2o/qoOfkgtaAu5KTGHOfbkumTNIfijBLgyuY6+lXFdzlUC6O9G/JBintJ0FPI99kLTbsbzFbHxYBUL3Rem8C8p0sOY9Jkhq9HmfZqq7fLUkcB8XjKmFdDTYIOSwP8I+bOdsQbkw092IWpFU+1nYkaTHnGgynTpggfH289Uj7KzdRSeK4d+lxEDM4aSiczwIYRaNZYony9L7eq2dLMOCUyvqoG8WiMNMrCosqvB+JDsy88yEf4r+aLmAp0WTkHKQe3SJcB3MboA3JuwXYLV9ogVG4fWRx1zU57JFR8UvkJv12I5r8+i1CyX7maNfl7GGqQ/wJkP+7dmj1xj9aVlY7C5OBHnbapqP7itxL/7voHoMaXfbdJB29UKQdBInt/15vUE+pN7ENA2cA5XJ1szwgqxwrvzG9QpkE0sfSFMAXihMNGkzDABf/zhPG0RaXEeS0DfPOPlCucSAODfxu91mge9mAqHuGFAe0Y4BFp2tNEfK97hs5ao5aL2Swltb7qv9qfrnnxUsZWJ4UX6475n5VPPRUGJBLoDAKvEEULaBwzfQQLG680hl5NEyfcxsPPQjYd6C+J80HCjBIXm0Zx6ql+w1FXqPk8IGblxYIOO/bL7KZcQhPL65l6L7WPFLi1cbsjrblcgG3wsyZUyVWX0Sxm1KtWXEDYSgQ4svGjce57sxPXDa0xstvQ/NlETZf/lIM8v3qyuGoAvRVs8AML9QiDDlQNtpHYW4W8Tey4XgPWzct6p2gyULpWOBFsxnKuAquSsO8fu36ITnsDfTJvD1tTHf8XENNnAxfqHcaCMycUbMWhjVdFNTPTJrmKDqiX8Rs8uVFnMoYXZ6XNM20agRRVm3XNIOfIJ+AYTCyIjbDGrj7U/+kxfxIYUoSVJGPpj1OsT0chmb/G12XeSZHHI2CP2kgrkJn0NXYFhklZXj/pfKiLPBbLwT1pi7+40+bdstD5H4z9jQNG27ndl48LDURlq4Y1LbRAwyurOg07oHWxu9fLFmfDuOqr0TTOp3tasWyfYogz7XkKkuSULkdqsgnNC5kpIuDq5aSY/+93veapM72cg3tBq367abgyuPFiYwAmNYuh89xBee/2ZBe5laIB5nfS9mhgl6Uu39MTBfd5nu1e/jJAwMMNwZH2F0bFwAL51NdkYFfzvlsJTS+yrVmlIr/kdwDe9ygRIK4oWY9mETDMKWppOFz8FZEk5wjvC4Lx19l/n7WELgxVLD2r7fPfMrHmBUkJH8aC+AaBG3+637PzQbklwKJdB6LSNWUS1W8VEW+K+B0qOzF56TzjHPmENkon0r3iD5IIUOik4tWUKRZkeR8mmCjpKZp6Qoa9Sxj7DGvA269kNtxTbZzUvKdbBy4N1A41WEsXG2Ewu+Vh/sWZB4gW7CuzmtCSxyDRtZ/JbUOq0I4X95Ja4gs1OQWzYRvEtmNjkbDwGMk+K+zgmT6cYJlRo4icQWL+3OU9fV8jDjQJnE7L2LLNLfvQwHfWKDHuaAUjMal1lKmIbmbwCRtG9thS+pXNnkPM5Xe8MrKHLvJ0276SL2eEHpGSQAW4qHOS7AL4LhUscblSw5+ph0k4ER+yZjnCrFustV0gA7PpqnWNdPo2n7VBM+ZqFImBWb/BOBSJDUs1U/HzEXcN1mLjmbvGHd/yneSAXnmFlkA2WMMpSaztgaeJeGc3NvU5LUEYG8qO/pKI/CXeAKWaKaaV39PFR1cwgrKAV+PsaAo90KjkMjMBOB6Y9UiyZr5nBpxB7a4GiZQ0VS6+qwJB0fuEYidMi1bjhXdDTj+LiIJ5vZmoOZR8JpaI1mQdTa7ENpxzQLmNqtuVvEjE26X7RkqpVstL00HUjpthfw22T6aB7DgxcR21wP3ghkJP4+DVFQV7cnGI5UOYh+CGux5aaPOILMnwu4/5wQP0oeySiwQLqd7qh0KxUxKJuovc2+mfM3mdP23lds0mwiBAUpxVVkwe8M9o+sdwC9dbt7Mu9Nj5odaMEwGfIlPwINWh58apcO3fSgWY7tS2Re7krunwj/uG3ZfOFHAXq4m9/b+Usmnqsf3wTtC88/QetAwqrp1negk8v8bKaUZrFIktLcF3cXyohTSkXm7ZZGfw+RP0Vv0genrxmZmjSSxzVMF01RWVfOMCW6Kj8ILnwQlXopoe+pZbZcyFVS8pV98gi9jloCH1U8tsv30JQ63i5DXiEw9pumi9VRUNHpUvhzhUbb/kTi9p/yD0Z9WCg1cZtj2/3ASR7x1WUOFrSOigEpSHNME7r8OSPZXf+mLvjJ/rwQ5zpf+ZsWN8YFhBkikiTQUNgr3DYpb0g80OL5Rg0y1MsGmaOiAe4TNLU1jMNIDaNyHUDi1x/Q/v4A3UiFHc0+d2mmRiBMH3opCH+7pSKJGZeJ5PpR6/8OgnJuXzDMFNdHMU56jCaYaZl5C6dTQIjcZLOcIHm32cmcNd7TDHKzooIdHllR2jOG9hNEa9hK91xFx3KLs8ix89GRLB0pjmp3UUc75QbM7qOqaD7b9TMyW5ZuUIrQc3dpIfpnJ/aRnJsfBlKsIXLs1sVGnm4TNGcTzR6W+k+AIz7hfbVwFvIAoo2M3So5EYWUOtxl98ZSV5eBKskzWEDjpLzrNJ/YdWs1h2SNPGdg94ZE7Ds8nor2I31eDbBkyadfpjTe8uKQEZHL4RkbWuvxcg13ZjgKW5i2B90EhfRyPtdniOzIn+YtlR3w8rySYoxkXlk0pzLKCyR1vrkWU2BVmRm8yjvMh516j9cFluRxLU247F14WGpZXzRHmtEX7nbJEANZ5VoPBGEb6XhgkBG/1fYylnVwCRu+4SBQqO1gJsKUtg3+ARlhejoLuP3Pn9MSK1e21S05cfrmXphhemM2xpJ0MAPr5guAepgRdHZVTUwrD6W2EWvI1vl1jI1k+H76E6MxVTqizQfxxiyZwHjI23U7+AbowrkM40bI0xNLvELlAWEW9KufMn6FIYdKqKsFvwSm9FpYZzC4PnflU3qaUlfCBjncZeRoIZjexOqPRQrjrlUNjLx43X55L4gY/S9LA5cVP5U8pLU8f8g9MuY9nD6SkWDE0gjJ/UFWg4G4x9tCIIQINy0iC+e5TIT8U5x45eNluPzRVy/qPh5ymmJgI0rTpVzlHcVd6Lcph5DAAVrGKWPaz9wpNb4+iZ9mFwS4jAMxZ5PoHLHwQiPbzfXlKr7sy64LI+SSUcRQQAZ/fwjPD5qrT34Z6bfTXwb7ZT54bDpRg8Tg6frXRFqwg6ML+74wjsOO7RYTUbyJulWFflV/6pMVMGsQfQzR0Ipdeq15ZnJdcA9CxzRC7A/EYz60iZUjZZZIvQPHX/ogEweQknEFJPl4qvQGJiWbhkgtuJG1wBd/CX8xnkitqFMcA6CLAtDRQmJTp6UcPBtUBn5gko2POjx6QWxHCAF2un30zYJoag+1U0fYrL3+0+9b3x/KFPS849yLEg6EEnzWQlPrBaKck/dm6VqUdg0rIWyrFvCs6KhDI/+MojWKY1UI+wiDPRQLAU5Fj6z3Yvc7bQt0Ra+rHempiZ19Z2E21qKqvbf2TDzwCfCxChGiTtL+atA26QblMsAqfQ/AvKy7WL8euWV/XXL7dYYjrcjnovxakt5xJDIK3NeTWeTn5CYWiVv2TX/dYMjBprEBAqOzP+SjKzMgC81+R8So5mWIRYADbxg5+CFnhWiQuWCwjb+tdS9bvegaZAHIYz20qUF8uUs7qV8K4yvL5xeuQL0ZGDP8nj4s6IUbStcYRtI15A30d+WLha82/ERZS4Q2ImZZUyTN4qnSqtkO4jhMaUqkrVwFxHQg5VeKwaXeoD7eTXN/yfiO5SFa9DmolLbix/pq/eZChsfi5E8q2ttAXAMnyPZACovH1j79SNiiIe2YrbePwUEbVcnpFy2gmwHR//lnBf/8XfCZbPil5cVU9rx9CZbLDeFT3Fmswc51Oa0xktRzuL26juBRKmObUsljZmAaz5/kyj7XXkHm1yNL4yBKLTEiilIA/IKbRhdQDQ5F2pF6Sa4mzDGmlA++KEBUhYypoF6FOTHKdQbe6pnNg/Zv13WIUdDQKerhFZIukOPnSWo429thBziHyeutvAQdomQD6nrX48jFbptDIEg/paqo28YM2+P89dIgkKyW0XzSF+sIY1LAzo/Q5uo8/uk28+ZiUVxkMgwla5QbXg4VMZbaCFE/k/xUGXRcG9a5eBPol8o8LOBJtBVhwbJ7n1iU4sja8HJH8zLEAk7rbZwz0k8d8E5mgn3bORCNQWGenN1y7oqkEprRmweIsk+SehUB+YXlzZLdzyTuyo03vPknazW34MssS2NkZmvMj1GNI6YMn1OKHNgKoUKW2dbOahACoR5onqy8hlBBgkwIEYNLCiVifSYGHR/c6NADRqW8ARM5DfkqqATENb9Q2gjOEMValxziPKcO7X0tmOACBKl//W9MpNf9/IgJ3vzhkdTddSecR9AsqEdbmryZmlmVfI/9ZvfmiehUC860WaTrz2DMzAO1TFpfq+3ge+vhELEWHKTm3KDSVqjgT1BEuxOKyDh3zeIBqmfMCSZgsW1rYjIyPy51d7scWw+ndJl6NEa96xh1LuU2CoIMxD/mj9ojgNeaY9sObrKN2w8Hr3ygR2HSY8ht2sGttGNuKS0525CE2Mmno3B/OKpUyrLLIeFtrCWy6xO0qYwOT8dXT6WH84QIyrBFJO3BtJll5fFzuWVYy8oXm4NuW2+ttix+yH+oj6fquUDLqtW8usRDw4iIixes70orC7kxQ8AJhiVczzZfbo9vZzJowGLLFOFl2D9M5B2zog0lKSPZ0s7eeylPJSfn0Pq2L/56jU7LEsm0CUsuVQ8j00L4G7l3C3ASYJJdfyVAIRqWtje7k9FGx0jBCG9Wd4Cd6IHrcABpa9je9I7KEaVxBJlKtz1l8MUS9d6HpCqfcMHs+SSPSbVz+beicmFAmyjrI1pUwSu3t5LtjOHZ+WkQ3EDA1HJpuIIOWAydmDV7x4DY/k7puQPLr1ZROCJjtok1GlH4i/vdMROGu6b1cZbDs1jARqiTcOCMYZI5BCjxxHuEqAhCs9OB2Yfm8D2tLReg5EMSTDwAPH9ztC8V31WDBOsHAo7VpOYTHn28WsZSEvubKoYz+Plza2MMqNLDFNTuTybFr2oxnevAsmvyCJQNfZ8sfr5tvviuxO74AOQyp6ftz9mOLNmPVUC6m6kX/uuXXgzj0iZE7FtzOYPIEPFd6BK9W08tBZP7P4mbt8kjKvrK79cxFMUUv5vonqZM5/Bt3BXEuMgBeeQqTnN6cD0j8h6bCqLzgOHR2M0mdRrpbyV9RQkSteLkPrlZGZa7qD7HRnhpZ5fGj8tCCA31VDaHawasDsQe/EDXbZwzEkV/98z87IOHqJ0py5ynVXoJHCpYCYZrswrlCrmz94GVf2Qj9g7mAUzwSEpGIRWmYa3XKSUnCEflq0JdgF68RsQ2rueZZjTWfNwsDOMunfzb1U9vi7y4w/Ahm75RSeQKG9UStvJXsvY2MlVukRgxqOGY8C8366g+z/vIDLzgfH2947Ssj0P36iWX1sUl2UDLdtqAtsVsDtU3vXD1Yw5Y5eyABZIquR2SZxnz59hC5Eu+o4kmcbN/he9D1yQpSVOc339d2WgJHI8jsheP2DkAfFitQzm6+I4QCxue5c1+ET/+4nvgoR1aQeM1FkfSs8pVQIr2oKFQ+6YCX3JSlYPORunDmOdx9WSjyBJK4Tez1wrzT42Vy93cRl8ER+O/plVcsEzKMZ8ocH9OwV1r05Z77pI0jRGnQDPBtXRfk/CLLmsaF/7R0Vsub3jBELbx+rfPgakOjwOFQ06wBldfmtKLA1aw0DBWJdQ5LMKIci+Y4ZA6Fb+SUUuf6zkVD6wetHLAIwXlZUQLaHiD/kxXLgHZa7KQHhaydFabfiM/0QSuqQFtWL/YvWJVkhMmyFcU+tLX046zawlRuacsYuMeIt2Wy5qudxgHTt6W+cvFGQM+JcslFz2PBOdujK95uuY0kTsQPcUlyzAQ9WM90Ptf8cTZ12TaOjR4ERqDFqCQHJBQRoAnrE1RgAV7s1hSnS3zlyIRaXlpA/9+VTsJ2wL/3EgkodltsWcdoVl+NYVQywGeYEMxLCHPZwGKLbEtX2quhBQuZ4DtyDbAJ+MRV4jk1jkhm085y5QXX/xJXOwRal1QZl2duyPzQcm/vWsjcvsvqPEczDxi4PWn8nPtE1KZdFmVGh/BI9Yj7goLUdMPlFNw10CqJPgFsVd0sSPIXIE1U1bzPBES6joriMNXVl+8f1ExzB0rfB9WhUar+/feQNeKuwmXsySyZezbsrVAxUhxPGQli6xnCbe7vY2U8GT9naBOfCz2Y1F+ELiT0DhrBfuw02D4EsXztYdBVNcIxWIO2b1q3IvLmhkW07jIRygQv5VHT7Q1PcNRBjqtYClE2wxt3gYMBa1aupYPKq1NfdvEFimkQM1Pbcwj5YVgm3P/x2C9fKztOJunzz0G7wITK70LvUOFk3Hv33yKlviQe23MriIRZgqZ9s9mVaNvc5HfYBtE6yrh96wWSPmVv1lETNygx+9eIfUnZUnHorU0Y9cEzpx4AktxrRUEph/0lXidKiZiwXosLyF5eTnVUv71OWyEZY2Nd8DqLCfPRK5JPlV3m1e2qbMcQkzbzkEYdZxB8NDtOIkycNV00uVmvqa8ZlkfxLQzyRzG1+dbazSFviVoDKPzBgRvnEE4MjWj8HVt6W5E4qVffz4qyzF/j/rhpAD5zCWBvPioql8LHuxbpfXsRjBeQN7RzdQn/XA5JJ9kIv7XLXmkpy6jX+qmNOuP1qoLEMeXeKn1qIFM0w5hmiDUFOOthsxF9DiGgcWZ4BfZPrdXPQNopmI4EEzpvgGpIn+Rox4bBt6D+5rdpc8TfAqrXnYcmfDEiqaI7X+8asxGmicT21RIHr4AZe4Ku2FVHbm1UI0uptQl2ROYqssE7/usfN4/FvGp6LWLaOJze6PtQp9FymksTZVBCS+nKYFXxdvEC8FrOEXBg6ORZ+VqufYr/RUO21/cbM0PtHWGdjGbtvWzLQdutYQgdt2J6y3RAtizhHBi7mQDW9mrsbIZQ0Cv47q5OFciQPtwaLDAJlKGkrpvW8emiCPn50j/9lIjcZVGBlLrAZajmXKcfruhUTFy0JK1YhYjANvPC8LLw0gF5YD2mG7gOoueGb3//XZuJz6D+eOqiX3yZlNn3ysS/AcL3Xg4uS2Rdo6NLDDGLgi5Sn/GtnSh7OP3izca0jZUY3MHOTD/4S5FEIzZ2xv7p8yxBs74j3+hHHWMGu0eTYEOZR/9yLzYF1S4ZApreZBb5BppCCrDwlL0wGFGSzXiRbSGnQnEQfsEJnXyls9cSILh/0CdsesnuUBoWhfbVnIGiVJU1PC/FjWl9qyirKR12WHTFajX6tD0tipaDmpsStcqhDWkwvRLW5o7fhQW3AAWrH1Usjw/k5JEPApho10yyVWKv5MoYAF2T3WNU+5iVQMUkk7z4wrzxVA3WZQo11XEhgqFFRgg1AnHrbk7KCeAi4PILIhHNcL2L7ywgLne5dVlc4Mn+UJcVecomh7Ht5669FeKWOqXyjcd/YLU/szsI0vpyxxjWpe6kB9vL/sLGgCB3ciBahuSY38kDLi8+zf4TdzPnKt+wPeRGfUscS4wnqjd49pUmF6D2cx8Vsv5O3iy7kjRdNXOil28YV/XOuiBORS3RxVzFQniu3vNyfar2FHz4CvFCoKW6hRgwGrLRRry3HlUIq1uPiNnvwsb2cz55h5oa7x02fmccJpuT3lK7qozvNECpkAC0pyM/Axq30J7kFtJZ1xDDlDuFm/9/2IgAvL6lLJ/NGJ26631TrT+pm4BFs99R5JsQRpMxeOVA91LH421hLoaD8NR9qQuGlGOHoxchvcKDWw07ejGp3rb9F5gpnd8Gne1uWhCuzBMQFEoF/IdfapihbGJpd5Nng2rBwlSqnct2TD0FtC8cRfkUt8eLeXYGCpf5YjOko/X3EP4XVANxthP29wjO1ZZur4i1SX8bcro+jaytUwVJrom0ARziITuTf5GtoSgKzePwviga69s15gMLRaucms3AbSC+0xd2YKc50AiZmSb1RY49+GXXDuwBETElbx9zBNe+hDrIO6LSUl3EppCcosDUHAzY5165fyws2eHxG/vqp4REYE68qYPFgzAIJx7XJpPL73AvXxn2WsSxn12yUeoFxZ+1+N2EOsYE3C+uhXM2kC6oJkqVdNndMZMoKUAu6DDahI+J/7aLJMgWmBnV+PeA/pIaus8ofkNe73OQLYHUqUaIB06jr0RwA0HfcuY4bV0yQhQ6HtgdBCxUXesz4KJ1SmUMA6NIuzUXSwPLQalTBpcYZAXEyjM7y2AqtiXFF2VyRx50EF64ii6BNWmb67fMq6ImAaSyzMXwmrYl56bH0RI/7maXor8v4+1HuW1b0RsztoTTylvoD9AoIQ7/WMZpgk5wSCTSDGbYMwSWvNJZZD0GAZIuTGxxm57evS+w4tRgM1eNjO4zOoNYlmoh7qop6DC2ZU6M815UuyRqKRTE+djl6vwXCqhLo7edC5C7d/EBEI7G4CqDlFXvpwTwPY9JeQjgcGebEnQDTSLSgrboguDRex30Hw6GJ21k8MVYfXjTe3xUYGLAIqp4gUdn3eryg0Fx9tJ7w1KZoeIASVlKFF7szVxpqhgqFOr9oh5Ny+rZPmDGh4DDUMTvgDVuv4jv5VB/ER1c17cj63oagx2idG0nEA7w/USS8EWkFEHmHWgaW+kikioGOmh5kDou/Uh+jWWWd+MHiS6ZFqBUiQGX53ZpjSVqsRa/+wUqnf1dCYPOE9bW+dfgDjmXnYaFw7xnkBApQPQ9cEdxzD6iq5O1/mD3Tyl0+oRG+NPcOQinVF8wQoVOrC6LzwlqmUc6LX4DtQQ3QVu2GGJ9wzdWZ3zvGcLLzbnjhqdAaifM0CmlXjHj52C5C7YLbIiIE9/3OZ+BqhsWtONhQeQ2Vf4awNUERPQ96B6xDeyzdfpFFv3OoWRqDn6ZBwx74l82wU2el4fkSCJ1WIMcc+xks655OWAPCuF5upfnTNkXFrIs0BUMnrCysq8lOPtGXHAzx9NKhel0dDgz1z6lg2Acb/SAgdwYGp1H14Ab7xJhGPELGOUffrb9MN/ZJ8FPKJfF6hRDdzrUWo4ryM9dk6lX4j7nFlNbfiYMbD6tToOCJy54u8vD3iJJPMI34B4O7wUWHKevOb8ss/c49Q4jHtOtxom7onqKelFtB0/GcuPZn1g2FO9KWDxC4w6MwIa3PJCu6GLlQqLv2RJ5FBgpolTczOYzjHbS+hKg9IFLolie2yuL/njJ7cgU37qcGntmNH1TODOflTjVXjDyAl5f3FzxKtEo0405GeOkdu2Rnp3iiKLLb5RZX+LOEamP8+g7tAqcfe/YnHCnhTzB6XUVj07nVbOsqusGP/2ubDCmyXTBRtfaWaSBXgrPYEbiDKFkWne+W0wAuWHL51eNSd14pYirtBzmGdiJf7Yq9PmTSyBSWtyQvO4FMch27Q+711qJyGq5hXLHqJRGrQ0SCE5hmqkcoc9MrvfvAI6K1jdu3QpSSmdtli4rT1sc8ENZAacASaY6FOtMOYRyAeOwO2HiIwl8sFC1OZPLVKbKyUZM8+yNggAjhrE8BRm3suq7RNAKpV6VwdsxdlFhvNoWqZqbEEdFgmswzCWOpqFtzIrnxUjItaNfBFjypdhhU3svGixeQJTI0DIxt/gX2A4B9DBsAA171LplQz8qJtd/Rw9CREmkpHcsDVnNE6SUPYCt30a5lBdwRPumGkMxk/GxpZoUPlM1fWXlkw74q4gLbpJcTB48s2zqQcuEl7fBKu3gUUy8TjTURkMhYYJM0n6QjkjHwNi0CrSgF8xkF2CvPfRlqUR71P9wP3VzrtOJuvFtQZp/UtErlKAnBjpIm5c48CozT9938tY63+rqH0QNr26XuC1K8xwtrVloU3xWgd9RIt4z9DVddd1/WUmwj/ld6rwh6XgeCvjB6TJldwbyfE1YBjhqK9qJfDdVF1D7RCRxEBYYgHRH6/0b/k0MSPWX1TF3c6soXFk0ZNmkYnEDBywcm7U1DQeQhZ3oMdQUdqGw/atvW9X2VxXl8ODkZChkmfNSbCjE959WrAFuxIme6w3URpP71DNuvJKZ6tMdBpf69fBlgVsumDv4GDzfQ0Xunf4sa1KlpbNa426V7RHlsWbX2Ge+BH5i6ZnPQmrDZoKedbTViY5ozOfylFPxsRdC1HCvXCQWHhQj1gsVS4Myn4iPtX3tvldS5l57kcdrB8UM+L2z4uaAlEOMKaqUHb7jkxeFmfNkJbH6aKxez3/vfcS3QkddSdhL/KeEHTXxnU4ZW1SPHYBDAJeMMO7kv6lbx8Gy1fBu3aFT0gvQDvpAA0LH1eyeCLpFXav69K0LqwPJk0kOYcsfZkb/xmDq9ZVLMlnlHluB7X/NAzTNCr2yVw4b7xfOhd/kCulFjL899M8JAmmiIewg3X5SoyHszl6aQrLK3ZAq7YjwfYcfghqczQBcnSb7Fz3zjYGa1wdd0PPeHmdKPkLkV5wFBAzURasbXY0aVNrNup6nPon6cedvdZTteAgyw3+n/rUEDyH5+Yp+x80XtNzaWMza1EdKzuL1HHbBgxB00t4b76+I+RujEgECs3W37H47Z6oKZTSE9/oXDzpZh9iZ3CORRApyzfe0JhWSmgneqLuQKh5geT0LnhduJlzbdfodXPYqP7AOnnFefrIrc2CAtd8eMUnAXBWhnLz+MFzmjqufxBPhc3xq+CunZ/AlX/qwXBoHxfJZzxMAgQUVcUz5F9PvcNvUK9lOT630eGaYS9cJFvJEXMzq3L601fm/4NX8vgB2QRuehfuKtff2zoTiqeZYNXO5yzaXg84Hg7NAt8pI6ElZM+W2CPSJbI9EKoI58HMtEavy1iqUFje3RjPUegst1+zl12uIywh5D5hM4jHywGkIaV/A88r/lMHFMdFLHpHqFi3ossOTsnCBQyGg5SyRswJy7Ta4cY1hH8zKwjgBHGyxxS2sBIhRJRBNGxlH1sUpl+NIVrvMZ12iU077GYfA3wLiat5bZmWpf3lPZru7H1iWqmXppQ6f9Eiq56Igjfyb2osddfMDPUCAfLljTzsKam/7IP8Pkterm6GonzYtj9An/Qgka8xTIQ0ZqqMLWFrGogf+UrM9IBGiKF/Gfd8I0h4G869sVpMSvlSYb+Z5CS52PQ7pCTeIVhsEHgJAhayBb4Uyf0geIfDLEF0ZEXzqsU45ibPHKYwawjTu94DfduumiFmxuvku2hpr3YD00eODzze4zUQ9V2tj38mqg5UEHRS984hl4xZLb9XzZ0IjmIfsYk9W4SxIXXmFzqv0XjlKweJ5bCLwovo7xSuZTp/KKG3R1d0AF2bX7DLmcZFfxu1PJdsAgHERAEaQyBbvqgpYfgXRzV6iR7rioBkRpPIhdKuyMVD/tQMT/XulK+ngvnCOMvmxBKvUP8pXko0W+AlhkAx6GvXmMly722AADGpds9GMEDILuwIRGhRD9fUYeem1Rk6CB6DZ4y35Uxwd2/8l2J6jg9l/srMv3DMUEz/G95y6xBHg7CdQKOY9133WsYpvBlPaWvJ+FWDP9SkP/Ht0udEKe6JzzgWy5+dfMdbHzU9CaPZKGBERhmC4tizK7Bo8fxXimh0/RhU00bB36FaK+CkWF6HC0eJEnDeM9CeGQJjnpyNmNyP0JV0brdLDrH4Y8DwKzy+PG8hIm8qmUrcdvFZ8jremf7casYtM9yao2bYMaKxeLmTM2k1aWcoZR1FAIxPE5NFTx63wITTrrq3/gg5/vl2Jzk4JdJLG1enKLlyvxB+Z/T3sppixr0jZHI+IHJU//KI4bDWhvo70W/C/92gA9chubjbzkSCkRQ0ZvF2EGFg+LODyd9HHOAy9Jpz6Y83b3E59+g3itWeQ38/B25iG3pWZgLkit/u7bU7PlM3uijiVzIvslLfGY0qVE6ndfEIqmZI2MUeg2CHpk+w82IBvtDhyVXMeqs+WSIGBecOpHKwx4LNf7WzlAIyiLRQ5WC4LSLJHWvNDDKxfKTpAacW9/wsfnmC8W6+j4RudqRBRll6DBDf/aEZZGA3G82DsgsDETlSrFYz9FisI7QLroSvk/qYC9Oqr45XjnvpbZkSwD1RW/h4ZwNL1iitbltRiq6s9mL1FZ8b3qawOK4ypfCg6EY+RtWJYG0XzsSkSyhV4wsJjB6oDMQxa9GvmfPQhacKjYAiY7SDGgPVo7rwLwQoxsrWmCbJdjESLp3saw4P3zgjPq4KBj7fJa3iyVvqODjpFFsIbIOz02HUD15lj/njGPRftcgUZSuyK69QwECvKcFkskQrOvPkYT5+hzHiDA9HlxcaKDEMUXl6W2ayqlwXR8Pzu47yCc0zxHbMU5QYw16ItF7CVbGQTPcbCpT3WNuHhossox/vdY8yHpfRtjkrPvyMtA2prBTeDGx4nRsv4G59m2KOJAgStJAto+3rvWMyXTJMFSzmc3jQh5+gfhZx+XSQlDUpdpltqIBTpU3O0AjNdajoKDsb+eGaieDx7F/S7n90VvomA+gd4V8HAketrqYHLmHW4CM+Z0UpTEI0kZ9v7/snWCTPVrvAlgZr4X0ugd8I6Sd5CHUrAl1Naqt5gqO6L0lrM2pjCg2tJA8rF1raSKuk8rkV29TSY2Yu2T7weTddz5uOKZqaJXKbT7MiDZnMOYf7zi6UGQcfp94mx/XAObAVbq6iFG11dhCSh6Y2LOcMNmPPEjXBeEWMcuvvMedM42xlKJk2BVI90JUbn7hy5+F9e2Xq/OTME7m/zNNCi2EB56ge4MpdtIsuHCirPXSvJ794vn3+tTrFLPIQLpXqginh4qnZx3PENdWOkZCSZRr4+UPesr8HGguK4XfBhs45rxUSYq5YAT67aL8cS9CB/QJrV3xLciQp/TH4UOCOAP5l2omrf/7ktLwzafUrx+sdZIKCihpk5LqDUPkahlU3etZigw+Yb9aLH2Dp93UcnL2oCGQ1Cupelr8+0aOFDQiaT4qH1loQmNeAFd65A6DqK2bW/EiuD3dnfMWSjzBRzCnhfr1kRf43UyosXQ3/OWw1B5r4JiTd1posysy+awZlEbAfuSOzdjX+7SUP1ROZlZnm+veb+NDiPyLsOY9bv52HmD+TcurtVI2geQN0I6B49RPkXAMytVgIud1WgUM1oXtkh5Mow7ZLstv1OkQ/HjK0FdFlSqiXhbW9OOcQE5fH3jI7XTRnjJzT4MEJWfZnaGhI62tHL37b5inyAJYTmQaU1qc0yeLxY8QaUAykGgbbSK7UHiNVfkFFc54LqCnKw7/4AR0YAICiprHYEQxLqokIcs27m3QrgArMR1KIJquPBsO2fbS2KPu0h+MftzG9bBHliDvvx4BKOWa9Kg1dEqjn2tTZCakycord0oI1OWDuLl6wbgG33MiDYfi6L0gNj3JCTxFktaK+R62RrGvZk2HUSicA6UN4NZ49dS4mCix0OT5VqDRHHk4i54P5WJ3T+q58P7uiQac8vcIg6UvjBSZgCPglAgEMSNjtFC+bDebtlw6mR4KxOE9uv9YeXvQrnvOJR797K1k5BogHvXhLKvIcn0YL5xKFaXB+XtOhxZHRf3+0SzkCypsgQSARsbyNcY4+aigMZxblgn6EE2rQqArSvYhsCnRvg3bw5sdOlm4uG/zMQI106V70HNtwY22O35ZgK1X88ige9UPKxY8geMOfIxujYJC3Vpf0WGqh+wE2IdHJ0f+1ONI050tcC+CUaC5gW6ej5zEpbz4QNaRNdsltpt4AzC37vU2gtNJEtfaTweEnejEI7+86Se9Pi2EPalsK+HfieNvN+wsYtuVfL5FLu+qgd1TRNAPAPbLWcaZysBP7Sd7qDgdS4qiKHi3d6LxTg2qm7DvNinYufZrmJMf9PU03lLSBRizR9gITPrR63ISac8hvhsYExERnXIDLl6WRX4cfqQhx2cu6QKvE0Op9y+U7mrxMRgDNwaqhzvpAy/jPMDNwiFSX8ZHo87OwQx3XsW44/DCWFQ23FOViRPVynKvjXOKBAZ8KPMw0Q4jJWJSp6DKAlvfdUMWn8eYkGfNesIoXWRdBMI9xsJgf50huRWkYyTbIIPHUJj60ZFxnpgobE2AS7Qxhpki43NhqWFoxNyw2B6zZzclWz5h42x/QK5pgtuPi3r5wkj7f1ORi6wGiC4RRQqDQVwE1op+RCeC4x+0i2+hkhBoSTd+3O8TtNwSfqjmM1Q+ObbEARBMkMp91U5ssRwDwRDMeY/ZiWUHPbCrEPq24gvshRBiLBarT+/jXvFSsqdsZQvwt5akO4bte/0cW2dXCcVbFoW9VJin+wYvjdVQawjCnjrpH2M8+02QUaJ7tbAA8dclPS2/ZemetaiyB/Xh46tog/cR08ccUqJ+e1KQ/alGsHJ/2v1mSjFxFFzalZtMPhpsFl8psrBtybmFiybWsGQYdjnWx1CXtTUvwUg7prybNkXfHqsJ1i0CUkB8Hje7xWvjJNghggnbLXaGoiLsBSohq/0bRbDxn+7ilNaPr2UoNV9Vae1sUZem/i1WnnTctm9u6DhjWtGnju0+xf3WB8Gsp3+GFz7AvzjceKtfvEk8KzxCmqB+BSpC92yc4xBkspcX69vpeaZMXKGvZE/B/ir8nFnc28EvxLC7WWOf4b0b9cYKmcN/4dKDcAwUlfV13b1sas7E9prrjlWeOkRqVzAeEDILKin46YQb0ghyiNsnvlIJb7rMNXVe1yAbTs4ALDvL0p5XMu0UTpfL5M3tmo6d6fivM5DUbusy59F5rZ+uvQWrlvLLJOm2aL3lc3DY+TsWgwDg3nBSDgo/YPmEU/GZoDOFnn7a8lANU/hVdvJxMxy9AQHjCsT+Io/u0gawW9KrVPCU0zcBp5IzOlArTTI8r0CbRVxCPVfu74eyjf/I0d4G/X12D6iEsjnNIJz+V4Zw1tGq/bAh2WAgTHC2vsBcDrTJTEM7IipOuh/VHP9n5lur4NSTw6ejE8EUZEB7LUsyKu6wAMPoawNVketbAzL8chO68P79JE9qqTz7lPrw/MqJOhNqbJmFIFtaKJ1KyL6viz4KkY6u+UhgP8zDvpNUQqn58cUDDFGbC0oawwXtfVD5MOTUBgTPokwRu83H1iKxZFlcMued705mwbCcLUoPcK9Q9n+9AQdkSovdeoDIQw+CID3yD2ln1yKZsL/ZiXnINb2fsjJ1AZ7hIFYS+Bklq2WRO9XvfyNQFKHRHLYXDeXl4NF6uL4905Vg5QET8DZK+ZB/X+YQIreQ2xcUr4vCJ7fzDs2z0mk4yPpaLBx0w6CD2MWUaX2Rk5TYW/WY5J4GXU3/2rqmfnnE+D8plC5ygQ6fJ1YNDSB9+VD2qSRNR7uLWzYRorDYbfUqumWfFqCpASLP3jknhs6fUQXW5VeyClHZlKrACjymUeWVI8VBi+XhGkf6fI+DOWNNTuQqyQc3UhXHcwt2B7Hc8g4wwN98ntcfOp0H0qlvy9Z4gLeS923T1O3eyQdSTFfC6iCu1s5x+fNNgxOonYiKkHM22fEUYr7DW3H1n6OfR4fDx3b4bgasiFg40AKl+FLhgtAlLqUb5iz4myHbjm7mAiIVQA97D4+dENUwvxxJkud4HDqkWb4fu608xir+nJglA1TVYtg4MsZU7uA57RXlIVwyyRPx9UdGpb4kdgYSJaJfr4xiBPib1BOP1EAnfZSqbyWvQw7nlgkoT+MwJ/dm3u8yJ0Nn0JDvIJwJBwmImniBzw5tXASuPZdMysnu0X7IuWBKdM9cRn+EDzxa23vkqzZ4lOPEp/Aj+lEcmsLJVx2+vd6gCOeBj3lBd8inzWPu3yVcZMGgF5ELl8wKCiMVUbsOGZVLoiekuxVuyjNvyreRGEZDfPI71vhlpXDCHXO4nuF9zRFeOuHPlNuGB6DAkbuoWerGuc9NHV8URVxLPOiCVwNOlN3whflV5cDLwfDyRxNrUrfioVWoaAnjs5Baguq09FWU+pOdjjt6AE48v2CXQUj1Ha8Aku+gXbZJtpctX6T03N+qvdwJd6EZMvUg4Uh3+WzAowTF1Dax4DPYAFoMoHFuW8BQbKi+rD90aiXwnmmC23PlAvFP+VEWEOkQQRXofcCNQnaghEmMHJjqe0j1/jWFHImbXpi5id3+3u4vlSgLhDpMpFspT3LtXGYeGuDbr6XS+g2rNxVehK/2NToXRdOJkCur0r0ouD8BRzXtiZDB37uLinhD5YKq++ezVvEVSV6vVTABuyvOt+0d1XilQ4KZvUNhRLyx7wduVykgtoINEnjxW8HDYTmdhHMmWiXphn2MNPhmk5kml8KuX+4tAvCVatV2K7bbP+CCDM9UidTo/A+hb3AgSIF1dNCsXqt1fjIi3RqapRGBhaFps6l2cCvN8vYgdLDYUS+hGM/gY9j0NTGJ/aCIb5n8j5DVBhFE54qGiDBRW59dn+Tf0CyL5sBYo0HqFBQyrjCTAGaxVs/U7/Q6sGbp5JjZxVo7bm949uhQDm+2DSzdmRbyyCCdNibM5S9BeVeZU+/B1XGYeA97O51wvoel4KHjcY1n/1Dkd6JjGxOzY/cnzTU+JVO1Ri2hACG0YMTjGLh4IYqyeZyi8IY2rjDakkKqmpxbcNHSE8sTSLAds9t9OfAoHwp2/FpyiWzDTev2v6E0AY3XV++iG41d1G/h4u5h3yJgIfUIMj9Mm4FFdSlvmTkIr7ZticmTu4FNxvk2U2cQvajXWFgLeuWweAHhwrU2fMmRewi199acwHBQgvMkWxJi+K5aDvthIWxEy9+HfPs8eSgO+iPRd9bJC8bKW26GE5UjO/dZqWrE0vuwyRLOZclP1atHEJrnRzu6rNj2BNZfy4CXlLfOGTctDoNY6VZoY0fHRj2zNSsI9fxc/oypeah5RcT0DaMqj7TDEe+1QoS6KfKGdlX0ePtUjePgiFPua0Rmm8tzkk59ItNefEHAidIp6FJS6F4js/BE6SNEyIL338gFiMslPZqr62pkkCbnogvgIn0A9y7psqeI/jch2e32GmPyGKGBTabjBtc5reNIvygDewkkogFxyPuCVs9RHpxS5h//046+zqsk6OPn1GXFaMICcwAgtGfc2BwH3JbPWdR3r8eU8NOhvM0uJ2Sa8KH2oKtFM5E+F6HjEPPMagjHpP/9UwiineapbW95CB/PFb+IeDmb9al1Y4Z9L8evq/ezjtiqr58a3OpVX5smz9+7atlgruhxuMO+MjZ+4GfLiJpy8kRqGHXSGvU/oQ6O9lkJc2jB68Uqt2iBtEwmldMTmBpOGOftl8y7Vlj/EwOVG2ee45nfvFexxlMNws/hXsgRNcQ/thfQ6cHmioEeV82iKOfmSo0scHp2CReL/u0jHhO8JUABiCg2hOSasv1Trs0uduaTlSY8un1iD5c4pBGN4NHnuEj/HmJB7leAnICMCinaXaYciKh2JkPqSSJAYop6hSyrJx47RC+EBmbZhe4j1qXibKaTQJCWkQkZhMUpVD/leHYkvtzpwG7yyKmoT2BpeKtCtpvJ6Jp4IqO5NK2L/xQ7cmfHmSuHYnFezOEHLoMs7NqB4XcqtNav1Hzw1YBVAxJ7dY+8FVtG0dxUug/qntZJwwF2BiTvcLObmRSOaAiZ3HpC3Q6Jj2aEGK3Epi9D8DEogbrqeGxwF9N3do+KSWXAVFRuDybxU4XbmZ78CXgOZDUBpJiY0rWkoGiTXvPbOjRvOryVYoO9vzCNGH+d/X3N3uGSyTzjZesBwR4ipbs1yqbAzlpRyBrbD+RFHvMmlr75tlGBRXGyd8KqDLn1DhO+vamQMwJBfHsEPpq3BTaOkRW00XF+EzvjuZ7OfgmQW0BYQLSAKXbSCXqFmRYDNVN6YTiAdMunbPT6rwYuwwuWUm29imRwcYWGIQZ7D82nHOc/YksUXfhKEaj4na51Yz+zyn3i/mS2jBWHiKKwq+9TFahSA3X47pl2vDK6L9K+2MY4YjMKplWkp0L3ntuP9TGQXOhZoD3E5P35L942T16hS2qN0HHY0lsYYShUGnWqOjahPVfM3cZtsdZtQik75V0410ZwzeAhTxZYD78irmi9CijjVkxuHxnjDRMlfiS2Eo8X4J1/baKyi+NRquysJPZmqUYNGNlulp9FGHflRCMAfBKTXWQPGmyrwZ20jv70v5oHk49qxAXiPPCX4K69UFm3rUqUWwzgdyaMU0k2geu5ZUak2TFVtAzAvi6D+O2m5sQP4iz+8Gn/vRgZqCMMgALIjj7kvEO7W9n0xz3rMKr2RD8+vh35fwY24fuZLNh84Akr6sJy40ncSvk0MY3Yv/q0QfhEONTNK9ZgRnhzsqifXSH5U0hPJv6V7eJWUV5iZjdSbldWbcvmLIRwmga2Qvco/anysaTDbxJ4lv31JaQ3D0ZOhWFJnwkXjn9jUc9oSkZ+rVr9ZfhA+4re/G3vzvZpH17IeT5fDrEmFPpsFnl3Et1NQh1OOcJEVfwOKTp1y93OZKhmlUo9p94ubVcnKNZ+rrzlRbXwh4bmhQhQWSYH0m/G+aeouAZY7FvSsFUgmA9/gmsuDyn1SvrfrLi86fNPA9aJFlWhf2G0tbBOkR2nluOGmHZRc9v5AECE9F3RZKywh2447R7DEwr117wP67sSjTvyezxGQO07RMe3k39PGpuGWGXqowmPwD9kQxD7FYZkBuEzenGUrz6nk0fr46wQZ5o/PnEZyZw2782UcwyYXKfLOYfeGdNx0hejOIcl6l6rY+0PIeE3jE71feH/VdTfKCLtqTuXT6EwX/IXiMsnfDyk0kKQPwwOBTEV+mdLT5JLaEb/t7nJA9joXB9t4jQEsKnwaeXLE7lZCDXGjQrre/o1+p0wM32q3lQUm6HIS0UVbhUZdqyE/Fy9CPEJPGERjwqKsTVP2jrBnxhTzvXOOvCNqNcI038C9ImgbCCh/K09kJiRwNa1FBNqjk2cnZHkJYMpBf9wRGuEBn5c5u6QI2LdAHs9fIz0AnagaIfIi4nqxQQ/Kz+aMTrY7aU48vVyAJbK2CJK2BUMXa6lcjz+G2snwpYT9PZPr/eaX6IBKj39s7S8ev1Dk8DBb1/vu2EAVe0aNfyniVQtjBizOX6bpYeNH9h18jPxa3gfGLqIB5DpqlF5LDsMlNfx3QiS2YJ2q/E7vWNx7ooYpfmkM4UtXTru23hNCwMREQT1buLhYbVNCGYV8wgEraC5syWLCM7aG9hf2N5ZODwgO2YxT48azplMWswaCjFHcUzFKH+jHs8Mgyrk6tPn24F1r/bLEMRYWQJGLdZc99+N4VSN3zl/578nMQ9fqu0Y4mcfC/zUDzZ7DrprNQzgv3G0jwpQ1d6fTiR/5eux3ApdONulK2CSJT3iX9HzP1qyDrkdMypAqwIT6pTKGnVDBJxpFo+V7RAB0kcK093sgeW/gaRoe/Bf0R0uExql6rcdPdFQSYHj31rMhlY4Z929xERMBeTUOa7nJRP0adePFAbaFdxFRn1k0Vr9HhBQz7x11n2dDSU6d+n4gN7OCt+Z35mteZBUEXMIWl9qIO1SdwFhF7GTBXgRDvdWERcjPiQuaewAc8SlTNplZsYENan2PBMFKywTQ1OR7fmghKlFPpoYmE98IN2s/KX/yyaFyd4dkrGppn/8hA6So5opnk9RVDjbiifXsiGLjtEsxLGsgBc0kTPavkIpikHyq5CxXIjlvwMPwsSRzm9FVtwjJXGNdKt75ZzyyIP0I002QlhHH4DQtrZCYjBjrwT4GFQ090YMkFheaFlFd62Gce4fC6aHtV68sYfOyS0GNxObOZ2uL9mWX35KfdydCNKJhVNgMBzid8WfWf9k8eNCQMS2r2pqPhpLDo3qHjvEV/SCyWcCU+p0vnhna4gprJv3QfwAxsepvLmzE+M03cNF7kAWNBZ1On3CTJ3tDir02HCz0C4yJS6tUBTkgGO2HT8DlOPxx8j6ZWCZTWfaSC1bmswnN9LXc5iZNurgau+Ov/65KSnWxR2ZwsikMUIgXbI6T27hGN7Kw61FEPu8UiV4a6LEZWtUZ2++hqHug0GvtPRBvu5L6i1nqQgf6fr6TG9jNXz2Td5VgqNPi7RCDge5p/k17uhpCPfjMjan6NiuYdlTrlj2pVDOVdoXOKV+zzO+vrW5o6imGpZIfDswAyyxlSaX+3kTnN4Buad/jYgqRNrAvf/aFUpCx19tmuck1J8JB598qGLGMms04kvhaIA/vXcr52rcdI76Ltfd+RnB2xa5AsQN8njPBu/D8mC6C/RwY1EagcfXAIVUTfgvxNieZ3pBZti45VuD1UQCIabgC4o+htP2aMzp6AXYGYEHpGTiEXpGY1bh9AwE4fZy/01Bxu666wvVbmKlqM7iAagG/+D1p36NWf3OUi5N3Pd90v6Mf5n78ERziGNi+8aE66cg8FAUgnjuwZSN5+736BQdgSvCUMkvQ3nEOBfKU7TST5DljyAEIDumCHMDgzhSyhqAxIA+bCvro+gPeK1saJ1VAvSA/e0T70mEbh55qzviKagObhspAammjMeVYzBTmgP88DNoaCQbQac+k028kk5OahB6eDTvuPTWqG50KGNt9jX+HeowAdDZWPyvcZXhhWt93UL01kWWlfY+DThYjVxmsI7YvsTMZn4Ev57rVZWg18lrmYrrE97H/eysp4yCvswoVdqgaMaSgow9MULzB7gGHjvkqH0CtWwNE9zwxv6V6LUZ811ikMT+SSWJH7l71nyzbucLKf1oApwjESavIi5dwRiPIMzexGhzZzw3GDkhFMphjZPwpzjErKfxaYc6VPPCTN6H6yaWYraOeenEvryi5FnOPv7wREQ3aLc1y6E93SwCtSzlrXETAOMd2mKObRWZngd7rswNxdgTJ6W7Las+h291qb8z4Wwq6IRw6NucuvVrlkYxHv+VKefdEN9snpY50uBJx317N1EnJd/AoKJ9SkxRV6B8kdyJL3dJVdegwCCDQHLapTDzOwZLj6akjvsM3ulwsQt2TFZNSSLf4P2o1CCVabC6QsLmjflz0XrzcMUXvTl3qrkNZzxQkUTVe4dUrXAUyYqzW6uVSwWLlMkQWNf+bCZnp8HJ/SMKO9jSg+G138RnR51m9RAIZQ5hAaJbbBEtGl1hNchYyfIWiEWA9ymCFefzfNhhsASV3/OdNOwScApBduFk+1asGCKTwsmUt+qIJf7TO79FdOGVTIy2BPzDtVNaHPzEe/5FRhq/A6bZ6tUtP8Pa3Lo8qJ/fs1tvoRpotgYI/xYroHsa31Vp7yMLLRgm1hdn4OR9mug66BNh49M98Jz9a7zluUdM1xR+ExDz+MG2jC8+YdlcWFYBut4rEIWtaLm3ZFomeyUvrZRN6dThMGurmMkjETEDxTAfR7uzS3DdBtRuHAF1uSnwKsYfUIsn0RYzgQ1dZa7P9NuY7bh8skU3nel7sqV5F4Se1kuc7kh6SBemAh4rb7RQjZl8ziwrKwX/yXpc1ku7Z1AQq3e0YxxfvYuNVtfG05wdYOU5qdaIoyjak2ey/5dmK0vx4fGFqMMBIoUmlMIRiKK0frsmkk0WpBxt/qBDSOYQ/v/C/BcFAjTGeYmaDyWiAhyD5ndSo8y3bh4FNYqaXKTGPp1aQhJfIQLbQnscaix7KW/OEEp9xz1fH3YxcroU1l5i7ygwPg8/vXpfiyDOsw8uxZbCXzIqGfEvLddUB7vUuUN8SRSmTKfdngIIO/rhCagwWU2M3aV54rx2uXUyNWOqNEIWj0LRwoMGRKzvVVbkPLoXmYBQNpUQToLEtwGUdwWq0//0PWDXvJUylm9opmPe9kwA/720Kp9T/ssdle9HoZ+/Fsy1S71jzIgaZICFhJL18iApGl9nnd2Z4h+OmfPqgPAdCnPGKdfrRtENdWgIwpifPYGYZ1rl2m/VnhV3ZrecP3kd6v+/gbbDdPGC9CmLxKxTKaD5Gm8PyLn892LuI9yNYlWjm2sRrJocTe7f4q4YI1O3t1r5fdAqYeAmhIi4RYkB4befF4gg58z2N96MRVqv3Yil94dADla1whCKaBbWhAusGLqJFQAHPVaBAiBen5f+o3x378caDwqozIFCMPYEvoDbbl+R2tXPEVHWJHuQpVsAGROfCNbx1UpD2jT3qcems7gibAoZ0DO7TMVWFSAUkzxnW08Hmtw4xRlzLG5EU6niaJJKbaad4yZ3nbQUGRT8Kbe86fA41EAmIpjcg5+M7980p1xMUVZf375+G/sIAGDCXxvFmdDSU9yaPnRH98JwqmihWzX+D3jb0qyp6rDB2qHTgwssS7Rycgqy+rdepJ2LaHI5wuZbqgYP2K+gLA2eThITRBD5diVqjvQ5YT8LNEFInSC+CI6OPnA0wT8WjC/EwXoz6CkYm5kq/lFMB8K/MB8QuZMxnLq2UvLV5M/LoIZGY7LD7Wh6PVgffcMd8cmS8L9T4Ko1U7ypbyu6Cn0zr04ero6Kf8KbxZWr1oHZcE7/DC7I06ykkcVuwLNoW+UGCFOqcerchdJ3yXR4bqM5mURAyArVgsI2goKLTKmWpoBOLaeD2q2vo9Ds1zJeDI1bCdMPdIDmLraZ5wwUPW4qk97Td5RXTRgI83BNRyY2XQI+R7O0dqnG/SP+len8F2CSMI4Dc4OaLa8yiB57dYcC+IGxQZNYP4tLZx2nO1bmUyrEM8GHe5tAQcydGG1t6JjtGtTyf2Dqag93lyEebgThQn3BL2vQxLH5bd+wpstBEQ3qBlywlzYLNcolnzDUDrGfg/3fgNOgwaT+WiBkHqX3XpNACsCMEwhniBG24UWF2lrCbqLaCxxRMssF0QLiNVqQrPlRw9SArwGPc1KYCJgrH7OTmko+f20eDmRjmV5aS2rYVN2wSq19rjnW5UoS31fHGmFRuxpQmB8MoL2/qtJBl9dj8D1YGQTToZQon3pxcqZZyu4kRXfoTAegYQskm8xkeSfkv3Iji24VaPSnTOMmpFOwgfYt/PQMexT2OPJU82JvSGF19tncMM/qzySoc9ciGnFrcpPnTE3E7gjVpuoPA9fUIOucPrJbbd5a9hvefjUtHJIXyUQ3e6wA2RL8bStFM1y8YaINPC8z2cgmCt7lRfmCweo6j7kFRdWPV1YpVktMcOcnz1RZ3u83++hN3J88C2RpoSculwqdc2Nc+I2Ni8eZ0mE+EVKOC5uMKDhwoKwMnWAG8sHeKNHfjQ5kuL2pc9N9j73ZN/mLM72xYyZWnWbsDdlUoUtKwW7IazPsXp9KaG6XVX7eNRaWR+zx3FTbuyJR5AZO83PIqStcEGOvmFUoZ97YhXNKqhe41Tm1z4tiRa6KzXB2s3wdug7ins8cIWsHb4/P6JRiLutD42gpocKrblX+drk/jBF4c0EwAVVCouw/Wwe3L4dvrjDdABRlr6bUVFIQuvmuVxBDzlpc+Jr/X6f7P0ARNMfuJeMId4c9F1XSKT6VXFao4p154RbP7/TS+I+SlsQQpPEhCMaMDywyuUvtApLIVebNdk225/MOcbtJvPUBqKi7qVm3KvveVesOxkdnqQYNA4XKIsLlg2J4BuDC+fNrkbSYnzTHLOootc9eojxR2VdxVDlHwfUXeIe3JHur3d1LkPl0cPN17CHLKUw7wTDCCH81mGa83UhmYslItKnXHxSEOPL+x1sq08epg9rQ6zu9nwx2S+WXMeg9PnWwdYiySJNHHtsysre/zrfjL1oz/pHybqqsKvQ8k3Tr1yMsWoz3TVQI89K5pLFWDZZukTrLFv3M22JPapNxPwgk6vfhogPDQsX7Q107gFDk/CJ6VKr3VjCWWjx15+JKl3HofQsEjDWyU4DJdj5bCaoKnOuD00zokkHv82TnT+RF5xxWRQu+37WKUzaDeJAgtHItdiNxfDGHmgsrSUHVU/7Gcy7PiGg0VMSvINwO67hZrfqjO7ef8zuo5R7HdurxxyiHR3VBo4QjvImN4v8rk+TNSkgM8Y2fzPMYpM4tOPDAkDW3BGfozGgUBmCleipoI+ICmQVoLFMAckHr+QEndTdvFxfXzto6/4dkXL2YSa12txiAXSQ/KjCKlv1Ad9gZNrPdCoN8fnVWw04p0Yp0YkHN+yDcVbLsNDuMZ1G01G32talgdCUr0dsEgBc3nOpfMdqnqoQdqf+ALLn0pQBl3tOfHiOGdmHDH25uaEyHjflOHTEzswP1sk+lRX1F10BCmki3Vr+2j6hLeMTgPFm7oKc3hZDm2Dio1sXvaueYgmNmy849NrpBXP5ILvC9LQWLoApEj7s7cf9W5jMOTp8Ptfo0cUQgrv04/xi6aiaByb41MReoHpQdJA+qIGBr+9du46mjvM7pXoc8f2cycdQ9syCG3VoJfq5/Dht55RMM1MqwUayV66lkuWoEmp+rM8od4rt3ux7xXwPtfyGv5E27rZ6g/5/cc8FjOD08BhxXS9SfMSQxqax6da2+OLhbpniEToU5909zf7ZhbEWdcG5w3xKDi8aND5uZA3yw2IgMAhW6v1N271hjkVRitDBjp0KhMdMzW0cWZHVX5YEaLsJSurckBeZRNxxlXskQjILMxFIKRJK2C1kVZWzf0cOtcIzLCVpD9UdmJQpV9okWQBYakPcbpweY6P5OVVe9cf3QRod3oeswb9fkT6bU6ayly3Kty3dnGHwjJrgHyt1ZujpCFdVG5Tq4ULE4e/ttAAmbJxM55hfFI2CKMtgVTrehqkkeEdC3FJlFQsd98wXJfGUhib3lIPO9uAPdivMBxyG0obO1sTvz4k/mrg9y5ZvJ8fns7w6TnvVsZEyvaeJVEr8mPT4pSkpG8bpC23d89LmfwrZBLBXHm4u1DEs99jD6tcmt8lMZ0MgHHJtPLaK9Ibb4pN+QHkLfoIA8tzM6QmrKVkNRY+hfOepDrXjhKiryqbRtWFi8pHH+M4vAdq+nHVFCmvwD0M+r/zrmrXOstfLtB5xbzRsWRPX3ejzaxxgxNPyqd1rwzMs7/7hYZPOU+kwEtoKfZ1rb6Qzwg/3aJf9JSpXqS+Ha0zhSc6lMBjUZ8ftVe8gPxaGpDmPKswHfSZE325Qrwtp11ZIxYOlkrlLPR0dUrF6dFCU9DpjRAYRZtpF/T1zP8wL4/1sREQwSnfwciMyneA7D7tukzyR3et3xqzwe3Op+oO2NR67BwnHJ4UvgRwNrGCMCOTNXZRwJq3Q5weDqJwmMdBgOpBQd3+9hZoytx8YpWyXIslZwsFfMDmf4q2I3KEsBExBc3fyP3sD4ZmW8UqYIE0oWWR/3wjeUr5mLNuXMF2FK9fDCvha0ZWLhZt2m3vRZDqc6/0z8uxIb9FM2RuEsJUJT/cibyn2v0zpCOLxOR+/gCvdyz6UfyZbIxY1wM8fIYUKIq52H7hAB0KyiKVRy/VO9ebUgSOpbgd7mbg6IwFfiqwkBHmvMrepKPIOqMDvG6mmMtaV4OWnmYSLNcOan+cB1SZkrBymN921KbKBxn/8rdvRE9KTy5idSO4JUhr4XdZhnQMGF9eVV7oE0Wo77A8nei6X0O6tu208s7Y+tKdRFPqB+3VmWJKdBjGWRBezhGz9dQ3+sUurcivivU+BpTVYqk9NP2gNRuPs/EuZx7D4A4tlA/7Duk8sqb8qYn2MABR2oftnK1CDr88EuripgiYsdZ3IrioZmfS04z8IA+3NyKK40fevtSMQj7JfJHdwqo5DvW7xJ95Z5jOthfBn4dKUlEcLsAYLtiq6IoHZePSgId3kak/jJkFl6DJU+uPqc/jr71Hp9mylOoncaPwFjG3I7yAgWfncE0f6jJDf7MJJ9I8LXTMtqsRSpIv2OBoNanA3G2SdCFGtaaKrSny6eQ4HNy/DfKb9oLj7xsz7tj6HKo8WNKV3Adv2h+7rkoGFsSlsI0fXEhHXl1C/ao1gSImCpzQ3N0A8Q88Sli+nmBhrqirwpUCsdrPWJv9dmYNpM3mFqee47lxJbrg100cFvRb39le6Jn6S05s96wGerq8QhXvkZS/fL9g2dM9QGkQRqqw7a5Z+AwrbGhzFnWHrF9kUa/PW5nljrBIV9EssGr9O4JhX4HArKLv08WNRUKDJqmpvnVQbWfGWUogmXFwvEJPQ2abtjYuQeEM8JzeOlLPaiQY9sW4bmFCbm4DfMGo2i51ZvqOkRIRXsOWso6TPmvwzGqy23ELPjJ11EIf3X6mUE94EHxPoV3rmMxATs8OoNtl7Qtrf9WyAwpBqmwNeY8Bwrb3x5hWxSQfqQEq5VPP0UE4VSCmHSrAXzzsIMyPfxvNTtORkkgs5I12wPmAqeXAHcXfiI7IXwZTINMgj1deVF3Gd+W0Xt5PmloWTOI1FxsoPti7u2EOvcYOfZoh/Ktp49BnTagR5e1bb3RGyYFo3iwM6mDXA/do1gUjGWahI5Xuu8JnU+Q+Hung7R7z7554eW1mYxQBlPxW6fPub/CbcYFyb+9mPzU7YcAvYovEA0pllMEn8CIUaf5WjizJWr1HRQUxMLY7RD4bznLCm0uHBG6DqoJkb4gWY6ILsLf5Q6NEMr0XDtWtfmg5Y3PtiPAbNKtdEReNuvWxK2WxfjEdM33dB6Kx2h3cxmQz5HosmNeszfmt75eTkXajc4jjznmGq/1Sr1KeRdxTStTeHJ83O8c5ucyDhmXoj/S/jNO5LCKBwkHvEJlF16CD21P4ZHFLfLG01i+svrnziw4JU65TgAporXhx7DpRWggxb/C4tobAlGjFVqoEaT26fQWQ43RGzWtxVKnc2xsBJvRRdM2gSaJs3S7KiXfhsZnrdzSFgE425AIYRn+JTV9tJHloxS4uW2O6ybhZIxFBvoREsEmtx4VULrhk/p6r/Ko8S++MszJhPFIlRk5K4vfkOZ+9VZDpxEWiVN1vBY9+X3BDLW0O4m2Zm4+/3V/viAB4FKF13xBZkJYSiioP9bLRco/NCzmmWTAcUwa14ZeEosiqdD/8HVRTVNjDIWdZLL1kuV2Ifxzjxg53KT60vDEpUscFR0b37LCpGGkQKcmNoq5AkbvbCmEDUZSvXL+OmIb584s2NO9bBUMUS7eMCxgPnKGBsue8AQTnsb92BWbwII4uHDGY/WpPH4CpPOsM2wSmjAnsfeVl6kyFTfzM9jPZnI+u9AhCZetTZpS0IIwA3LznreKiMUGV9nINn2NKrOCx6DhrJ/vDP6LuWUZHVetc83VARj2HJTiVbXyotshj5DrOmEPi45VDPLLft3PbSz0hiJrvOcRsWQNhzDcRT2nuzCJ19kxxlvTVShBeGM+fl5T+C3BX73rvgpEyvNB+ummbgUURB39RzsDa6QOglgOSPYSqVMTukpVItc/diX/afkXs9lOggr8kijwdv5Yf48pMwBc/eSXkW6mBrDW5hHtQGHY39zBelWMOPzWr2xy5KH82c6h5WYXH3Hqd0c/5JYPZGBJz/PuW4eJFJo4QxMH9ZQ7St1gI6jWrNcbxm67ECc7cwXoQrzVrM8qTSDEUpGV2vqVBU8ZRJ6AYrkauuXNoGJ7L5aNBvIJDfw12kUWQLYBr/4rlpCz1ZSn5K5gj1LwIcaknPAUy1qugNCTb/shwvGm7gLquM8HwNdggRjjra8mvLiKeVbqWaG4feFx/xi3G0B32TQxXd8FLnua5zGBWA251aGI38NC1JZ8QO4upXhyXHG3v6P2dowK07yvhX3+Oz3Zq/2u/hezWdpcKZLrvvKNO7cWkKeV5FS3HQhkuWewqpts3CUEAp+h6HFIsTcSn5JLxqxsA2SWQVc6v9HplMrZjCOGk1fvsCkYRMrU5fLd9Z6l+a/h4DpjLfwBQDYureF9aC+ZHuHDi15j0tWQx9ir+e1DDu2r/KmXAPn5YiVn/PctEYxJKNZC3ZQLD2IygK1JM4kT8CSHodBUK817w6rzjgKbnko24ddkWb0EiFpuLzYzw9+kIHeTgI96thweJEFaXAhfUyPwmWxl5kosfTTtY6UfRKt/giP3fCFgAn8cD295z9xSVB27KBNiQcLkb03LHX5cpMWcESyRH9oFYAbOoU5S6bbvg4CYmn2Dvp2KtW0T1xEEnzWg1P/5PSyikDHw8xWeExQUqNTat2Rhl3Hn52BARra5YMKNjXyG0SVLB7zgEcr2Mo+sJtTPUKtGCYm2viRDwIhrxvYKiwV6+nf13uYexQ9H1sLHMgoATJm1rO/JLG5lRFD2dD2oJDNENwN9SIdCL3kJLe1e3C2L7SbHBSK+NNdAwOOFOhyYuSIcKvVQoHpzaEiR1yhAhsdnN7eqkxyxb8SgeBS5pfoSKmy2/hnV9EAuq1qiFFFsHVTJFOCGxo/9l79OE04UXKK2WB6hRQObtNT8HZXJXDDlIbIFKkoQZef9ocrpzy1MiJNi4YftXyp+bS+i8gImA/mslWQ1n8ovvfq9rN0xARicOa/yXLIXy0lE4R9VABroBTT0p+i1aCEdOnD5z7c+XIJuXrEKoP9Buv3dV2KKGTQEWAWZKJ1xZ+CiRsRNtmYyfWSV1sSXmmCaLZlLYnFQliimKkCpQjt3yF4k8wHIwGJbUmKbac/tNKA2Qpk/e6XfRIvylYKb03lG8AFSB7jqAQPDJjEtnTDWVbh/IBiAEeN6MIg3Q7pDyhKEN5Klq9Wr/6K2MYjmne3Z8xxo9GwLi9jAVIzyeEN475D4PksIDKHL1GOzD3cE63Isw2Duj2IwuWyub5OdgqvKk8XV61DHV/nuGdkd6NBJgrRWNR7WOqMCoWHcZapjM1NDBoxbjQSNt8x95vKgT3YYHSiNX0eN9kedvzGFXsSqg5qwQ/5+68pU7a/jhpRS3ax3G8K83gJIerJBXIa/u+0hG48GlNgm8kIG8/MQCI/Q6DqIxh1pnbod73EChuX9oRy5mFU+HACWyBMRGsGfdrQYVVh8vFPPlssJ4rrdeDsFyLTO8rED5TlGG4VG40HzERqbyVdGBhu6AxA3PvFMg28n8YjWkaoZcP6sox7VJE3Dmc4kftau0+NIGvE7nD356m9u/UzXZOfXWjMTTwNoEon+HZE80cnewxDgyLORp3NVLl3f8oKpNLNJ0+rwAMyPSrv18XOMPTKMczAt9IWYPosTkcOu2wQsWNHHXXLCxNg3QFLzxkZ3G0zWCqP9G6orK/8rNj4QWKg7Cx7pa+kkewwif+3vPeDqridIrt1uZH4VqLKBuiz+iV12UfI0ZoOPZyUXo6vX7KnqETFhHPl+lq6G1lmbjmZsgIkgDwC9xer+et0uIxINhsReTIT9t9kwtajXu9XZ+cculMrKJMrmW/++5VRZHaMSlUMZIU/LJH5oXjiMSGB+oZpVX4+zus08Vf40vG6U4nRfw/3pc1r6rg4/S5bXGXZQ1A/HwoTK015VZ53IOUra82begJXH1HC6H59B/9BQImLs524tBJ/aEnQlOxjq0zgRnlcCOi3o9KVHcP27P8n6IrzY+BbXoVlzsyeuonAZHuljiBtHPDCwScKjHhM310RolmG5cO9DD+v/1bW4xvazNUdt7VeLpdR1ohoudC6d5/uCijiIRBR0netPnR8PMf16kZdeEKuMThBB8kDjYYaibTJ/tkJNTs2RG4bFgout5HSaJN3gyhHh//hD1AnHhMXSd679MynMGK+/hAlKFwkGMmb1/3vxG1dT/6tS2RA0fzIbyIq9imVEOjyzU0HwN430P1CKcIqiXSU6AOYifI9vCzoNWLkABYYnsiKESWPEivCG7Gn/0kNndmtNN70Ul2Y6+qnJjzElp7PtduqW0eGMqTf4VJtEtCkaYHjJPbMnD8CRIj+G+eyxieyNj9APm/5/EuGuQ1/6gV6Ubkp57A79bM6HaCBBzm13VEOEQlxAl/s+YEqL/7PSa2bbb/x6goHXLDguXxh4L8wtWNMcu8yZDyljNINsEqRT+Cim0Wu0MLvGFDlqjVrYIKkvDnxsK3w/mmRcOghXhGPzRV5CDFZXKZ32iaORHgjQ5gq5GzVeQIu9bt1GK5fVqIbDjv2B7Qor9VuwPteRnSvNtQ/WsAxLOaU9s0JrnZOOrTYZ7Xi3kIMR4Cv7VwwVm4OVu6tuyuMlYiPjKPhrHKMNlY+YVhbSrjgmqhOG3rR6sNXWFaLcr06wjiN3xuVJ4qdFYquLSf4oenF6VZfYT9F5SWGHXthgs7Me2qmSWejTyawwiRg4gQv4Gov7LQfmg57Cjeh+tDuCIVPGbz/c07+rsnvOvZSnwiBiMeDZOM7nm2Pjs4pvO3/rMFfTtAZnclpy3E81nYBS4HEQgwUGSaUKSUAdwu2QVh9ASXUVc3kv/hvAq74LZjBmExUwhM/KExpNo8ZMDuysbORvtVKfoq1n1hx/38RRkApVKk2lKB9N6QY6Ftvj2xzLUGHbY0i5FuWnxpVQupsEchzKY0DMcFzkQe9TGRTuxYbZJ/R7wOAIAAQIZtvBsgNfF6PfaVtKZM+ovoj+41GXeQhpxfzciPYr3jSxV1bgE8isYsbdzfo4SkIddXAFcwhlVxDofPLLxGM67nJQtLReHUJzGwD7itmGWlgmAwuV1ZTLgQkr1sTwH8NLmpzs/INT9ECy5BaBh6URe4ReZhgjK1HmXz6BAv127IG+dQG8yfbe6mWMxksL8DudWVS4jr5Q2xqlAJctNi4tuTXKyYH0fN5MurSyQtGIb+njY5cGBudNCqszs8WDXno1BGC2EIRqRDK6nfgEpuZjSIhnL6K43L/xGiClJ4nmMF8JCvyZ/e2lhe7g+60v6jHSqdbsbqx+8Nw5LHCHf24nkz/IsmFwWcUaP4bruUVcAekqVFa/tiW35isbHEgjhRsI9c961hNnlG1lHESrO/gxkiVksg38Pb/kflokn0mgHghnN/SmLFQnLVIuHHB/L3aufWNCNl8J+F6SwU4C4XZwPneZpNuzDeD0IA2hvhajYFXI08qEEG0sfn0XY62y70tZlcZnNdFiiMv28tjSmS1wS5KZrmlwkclqVhIfEEmwFPrHAeHbvRfNQ4pSEYzye5dsSo7q9CthLQOvKLhNyE0W+DKnUuSuyQVn8V3rW0thby5oTlgYwph1ZWEbCpiyvgMTY39GH/5ekHODCx/AWpQYAH0fS2AgfTkCxuj0exwRIe50pA4T+poOpQONRH0TATMgJgfKVbN5hpKfNDf68CVRF5z5fiDC7PNQACWFGpnk8TKIfjzNrbrauu2xzGie2kjwYpWWOCD0e1XZI/GjhYAlJTWtBJgvl5+zutGcJqHiKh1nWeKymI5NQGYCCKteKnJwr8Fms6nmoomb0kZ+2cNJGiDlJ6zNQeC+CSF8WShB7aBnIcG+OAtZ+8/UXZnLSM4IErFxYl9lpuEuXQLe8+oOLhayo2pj1z/4zMGDvUNcI26Y2XgHvgqqLXcwjDoaNJriGSx8aeQa4/LD8KiAPPMZW97qftJWB7EZre2kiJWWQWXJ2LjWZQEW6oqUeA4QszRnrnk8V2XprRASf4OhaROhXyBhDpkrv1P3ZGP14p/scHmtO6ZX8k9bECarrmP/mQhmVW2ltxhpksrvCjuE9N84cZts1F3M7JblaQdfnfgbN88ELdpgTzSUXPyka0GhnRTdivN6+QqdGAcFb50Jy/iVo1/xUuKMcB7QqlzTdqX0vZ2UOnHowjHeHOJ2csIEIGtVwSQ4hqk9trlUp8P7DDSzTPb/Cn9IK7oCZoBzpo3Jif0npnX1BgOJRRB+mVgHxNcwb3KCq245bC3KDph4gw09q+OhJzo6xN2ghVboTKRsGGHq4U4cqen08JIFy49HtPT6HvQEXirHqxid23QGGeiBjfU5ANzfOLSInvPQChXAAy3HkD0yg93ZIre0JCiHzOetsTOlPnBy2c+ryf8IJ1zFRqXU2/7PMWEEEfVuweF+ZiTlbt8uOroVOR9kyOYlxUH7Np2JQmOdK/IcL789k58qPwD3BZ7BBREVblv4rgeUtCtWXg8FsMOYDOOWmUg/cY4EPU1sziebMZhxmCJctjnR4HA4hUmYVKJt7h3Cpoxp6pWlwrJkVEQmFKkk0DJtHVEFpVeA9eYxHjUS2H3YGStvnFE0Xe59Vc9n8SEMaYDfJrnwWJz9i8wsjnDJVw1qKqewnwYrx35YHoc/r9uo1pUJZ/UEEBie3dcCivovMcsXHBaioDetcQ3JhgOOGm1BNj+rH64Tl+D4QJl12e2kLLHqt2ndwCodTovyrBl12CCTaGxxaRD5EIxwwJRilxdhskAW/eVj8e46jddfWGasydBb7cSrmjZXZnZkHpxRNF4fyu7lwpSha6S6vdpOiA0CIgD0lmrCSKQAr31h6bMDhlbytETeS5ruwid3G9SBgT6vDmMKV8TYs8KPj7jrGS+YaGpiD5lb8gl4+G5AP15q2WxeJi4VBbGOIx+Wge+MPo3nXlfEZCx6hrk4ALDzUGqf2BR/Eysls4wbelM3FUW8R1LpdNdzZV0J1o0+Ka1AzQgpAHJbBpXuWspIr73tokFHJrjEmcMae2S/lyR6YJxuftqfu7aTUvMiL6FNe9KLIlc+xXkW6rQPnC86Q3MsIvvz22/LvFB4dSF2+GoswujhLbswhPwhu3GpdVm/psNB60iOtVNNZtmSsfvQDwL/iG+69bgTJqE4OoKWS05SPLN0XdI0Z6yP9ijLFqQoFwq3J/fuwxa0w5kHxaXKlLv2z4McRHlWDj4tep2t1H519xnZBwiiDCU6p9BxvZ2d4goVzi1CgzddeVlQo4OT94fUdpdcLbuVnJEfMe/aIMNCudslzNWeVEdJCzfBxzirsnMmVs2FdpSRfihUbhciDh6ltPHtzP8CzeChJlui+HkxSuJ5VLQpqMxNi0C4IUfFLVtuo7AlirFOMUWNXpT9efHwLfmpeVjaCsAs5orMxJvuSYbxzEPk2bQ0jwbSouGFetxuwA6bzXjUB3PBxpLjh1QPYgloukkmoATkeGrSYUYEqVFkaPqT4uRFG9DxL7NSAkXfomTDaih+CbfkUk/HdGXw+Cr1rqPrPpqSsSYkMv1h2OQWoV7jXwT1sS/FG5mfm3DqB+7wiRMWNPqzZ0KyRdmKypboyVHtQlhfHeyp2oT0dBgfUTkwRFLN4ANipCRSoByHVncRYp55zeH9etete2BukQNezZTijOwOqG2xZdMPReXgXPUMlq9PTj9ykNomhHAEOQ++m2XJJHjLK6JNDi70Odng4/PZ1S3AQamri2g5v4RQ1hZY+o7GxzsbANPEfvFKuwdrC3vSjg0zhJkA9jRs6Y6vd7EAL8puhKBSgAtcctDfU/GzPne/CPhusOTN22rbDFYXC10OIAi/Z1oAWbMZw1xdZxHrYkaN5GDyAyEY/PKMh9AcxWu8A0SmoHFpcebPYJ7KlAIdjgKPuqIAUx0UHFoQazkgOFpUa/RmAUHqwkqOZXuk7Z2Kg2bQoABZxFi5d+orsjupQrexy+dLKDWcgCTQZwgw6R1HM2IeHKVCTtAS7ETJQihacmBfzwjOXCzYj4KkLodYp9tRkfsKCixW+sFgDA5FeMmjN6ArROjAhhSlpqMDYckcGXqcg7vx881ijAss/CVQjMvHFFJC8HU538NsO7rwyot5BjBRfsDtFaVjDTjrkP+bVr5L45u4knypmosgjt0nTjoS+6XlODcfR/oqnWYIARG3MfHh+STiva8R+ZszwZb8PfgCzg2MzKO6+0B04SFDWD6DuyjIy5SLhXX3H1H+27LH0JI151AddGmrZMmOIvPf3iXTl5rgtBbimZkvvtzo9bi5sBvXcwApO4Am2cyG/VOFCbThTjBWwL7o575EdGiB8Mn4nzmgd0FKA2B+J85l1CUctMdntlrOpPOpjbRoxxdAgFGHYAWKXsv07M6GATtooGggJM9y3rovxQxlFroUd8lv0BfuLyLLbb8VSYBIbFm9cdSQ7IdH8ZqZPYwbqErDxeOsYR2BJqeh4Ix1byBu3j2CG9zKgUbwN4gNnPGFwXaBMVbNLet0dbU1AaQGl1K4lq/tGzlV7KtMmLdPUIRYxKHmnyJVJVI9CVLkCCxehHNfcjKZfv+bvWskdgIN1D+wLdZ5Z3q7t6+88fF7xIvHUXTGeEdc1ulpErl8aXtQatgINafgkKBWdvtV5gznBOVXJh/Gz/MzBH5xAEzy+N1xGvGnZ8kgmPBz+QIuDvpsEA+rL4KCjummNeZKTNdcfnmTJKfJ89BLUrkJhHhhaICKB4jEhPxxQOC1ECxpMbnKDJku8/piYQWSwRF6G3mhfGevkDZ9iclBG4fPMJ3HT2nyDJxDL3i1NRldzUadZTEJn5uZc3fRufea7fBiovSNuBFHKhoCQ0Ao9oKpD4Vc5M7CqWmWXNpZWcWZEo+YPtfASx1BsJna482rbdrOgZlhcZdMxnDp+hoV0b6LoGqEwapqq+iA1MeM8sAu7/sfWS352RKFnPF4zeygB0Uxy5qNnAVdW2Cx1hPfFLliV9vee6KC/Ngzg0USRK/PeoaLdjDYHsb08xiFFn2iS2r7NIJE3qyPHvIGLx7rt2zD1Q1dElNeWYBc/rdE7TulQriPEsbvI6Upj3Tioi7rpeV0Cc7dBp/9Df4XEkMHuc7On8ZFmxgZH3GkIm/iIRNQn8/qTsEoCowyJ+2Fls24veaIT406SkzDpwtLSAZ77YLR4qjYVF9ulLd2G76+BqXLgkwDciQSpsFSyYVTGU+wBiWgYSuqex+m7h98RecaWTDCzD+zObSu+nYuGoHwUX30fqLlfsyKnjVFPUKVFPPa4EGFAU4fp5dhDYpFRvdqS+YkXc39t57OgS92t1Z4IMcqBK2Mb5bwnWATmCFG6p8K6Py9IKFuF3YJHrDeIW6U8KSKn9DWgrBdl9EzG9oIPlP3KKP4TBIlemr7uGGjNHoktF/FZmBZsLYR0WMkJVZIrWVMwT7LbYQbSV+hRiqrDmegPaG4QzOo/eDdcjK4FPN3kWDdl+ei4HJAGrATr2hJz4MBR7yzc2TH/T2uV6rqhSBcjMk1xS4efNbdImIxaDKWQeALpcOGP3utRwB8tlgtl87kD6wUC4afpcv9vsBZT2fQzW2x9njriydtevUV+i3XVT1xMpikkomoZgZ95GKXr6n6z1PhCkh/J104t8OIfKba/vN88kyDCMI2v2jmpojA2zaUcwd520ftIZqVMyVZDmIXUgMCNB7oZJJi4id5ZpcuWZZWNZiTgSZSorpL2xoUKOntWNy88T+qVCBMYkJ7MXI3MgpSJ7gFCLVIcxkfdwUTgqAwId0C8PyQcz6NTVNY6zUFzduvy0Xc+Dr4z/KHu9Oe9AFHhgCIc/7Z9c4dBzKUblpO90GlK0k1gFgbcUG3blRGdMQQlblUi153bL+v9Owysgf/BtkIBUQMcVdqAh1/jZ7nJAMS5ov9x6b5LxSxwuVtyO/ZGd23n7zAIjOZh9QYmUNWEc6oSPiIV/crmY3yNppLCynM0Q/ND7sED7DgS0ny9mbcN2euutLxX+mLSlgtlYgObYV+48XDiXdL2IlnP3dRSaW6OCGBHQLuldpuql6Ft+SaYKPWdcIvNwLdwwiome79hmsyzpMU3MlYA5sJuc2ixOaORKG0BAGy7K4uG/g2KI2KlLSV+UFOdbNh7MMwg+JWzGtDZVEBcF/u8WIfhc5sffyzBQLzr1KT/YcvTChFKWgF7BV+gpMRK9TTT5wZCNh9kATC5w5sXB/h9Hsin4kpmSt1ySJFvR1DJqMfLGxLJD2xpjfdllhiCfFB5/+QU07crSxBKqKN0vlPQ6pGtLzsXIMHdnbgNs7AiWriIUxZ7yf78GAlpyWisjhZ6ClhymJEWwVAknUWr+qv6iu1OjMoFhfOYfqBIK0WF5bxD3YPGuuyXWAPn0m6gy+uPtAigRK3dZOHuqRut56I+EjjON1SySEVfXCDnB6YclK2mTiSAN3XGTvdE//UzyZPDM+TH98H4Z0A04dFPE5oc8FjhkKbQ3oURpJpDaIzCBuqpcqeIh49qPHA2nDE2iawZVnZxavVNc2/g2AQC6CLGEP03L9HJBWsGqaVgE6Qn5gf1P4bkncYofnZy+bvvTZJ6cWtGH9qTI8wpRrCatldbOeWFus1AyZPkIgD5gCMwHEUlHhMZXRkTJ+BNeq3zhd5O0gN4LbjKCJPoEGM9OUH8eaycS8ofr5sVNiV7+2SBgx7fl1/i9X2A/69lOHVwspDqV8wbevNuKXh2CvfTuyUOr0c5TKs3cCmoGkRMvL3zTkTfWuamxtsLrzTdNKntLxzjC6cPzSuABON1guttUiT5cPUrWTleEY0CR80lFvpAFfd5Bge776uGgSGwcG2iJQkKXs3Ck+dsnphEyDhKSEnJlKXstn1REjudNC1+SWowW1Pb5CuEUSsvheDOJIchyudEpQEF6Ep6IT2n7MTSjQEEq7b4ciI0oXbCAjxCnIeN6FpJA796sGwbnf1fS4hZGWWWEkllWMRG5WqYWONbByflgxwEEQtOL6Ty25QEHsGDJeVpREkYQG3NEVIPyNd6gSQ4AdFgu7DF+NypAIuNCk5WRAzChTOrIdvUpC+6a1L8AWYA01sp6Wphf/0n6VECEGOUF2cmCzmDkbFsNO3ZB5SmYydAlFvvYj2YF4d98Mt/3U1QIipRz7hT9YRoQBNJiWdmXpUh3wYaqDW/wy5gxm/GrqTeNriwznE5GYstiGhfNJFCgKygZA0EoXe5Rsh9cvufQ8Wnlp3ZVbqnPV+pl2IrI495bpOmG3mn2qQAOQaMXb/9alxIHVyCqEk3ehusN2x1ggJMf3htcNGJZ8oIgCjJGg4NI5LbtGIfRUISidKCaIZzNhGHPRogfPirfSeXKUVgpThuLTLv/nLplNjJAOkQJDTrKtghcVV4y2qEUZFOZnvVNDkBb38n6yTZK2gM74txrz8J9ioSQlfWJW2xjK82FdsH5TWXeG5V81VP5DfDlPoW+pJuSScumjQxvXpFoGSkKws33ZcXtSzWTJMRgDX82BVi94zpE49XWpkZ8WdAfdny9iwa1MYz++YzS1a/d5sdGB0arVbjnytaAKPpoj+aTmcLAQIFwL88PPFwudQZgaIUZ4bVRn3H6uJjyVnyvjrrtO2TCyIb44oDRLipUXb3a6raN20w+/KUg9JKktAWGGzSHbaC34+OxjNOxBKQXcVC2Flu1MZYQKYFekol6/IFHSBt7A/CF3Qw3lPxA952tneAJ0u/rTWageZWuBOPGDLm0FVcysmKGjbTi6Sy+ZLCWMqhhJjfJkcxK29WaN0jNbNHc3y6m6Go++aSCHjAZ69GKe21fggyNis0hHmZERgzVaQNKT2g9zu/PfHnBqSChEPjqEFqmS9QlzC17vqmwZyAJITBWXvxB44Vlw7SB5TG85BLleKunIZ1WB2/TvTWnEXopOAmfY37dZiIgBfNMAECXj6WPZM9qYevyTjgpN0Qg4EvbjOrGMzyyDx+oKmfw91iqsr62V+HPGw8D+6IFlPtQi9jIgRcW/lFLeF2DyoOwnRATvL5dkI5gU76n6S87Py2xuv46gorRiIOvFGlvtFey/2Z0bqZEI8zGuKtC5wnr2Y0uUDcNvqaH1yrtWTp1puOOAggEoRuNw7Q/QSkq8Ap1n0LxtMduVtRrK46ED1+/JhY+JYtuYW9F8I/KLlpi2e48mm/sjRC6+LXGNgYDrZljeRIVxUirRrElghh7KqEIcLk64VzvNFQNgHIwyYDeD3t/GBnPHZZMQN+4JHRlWWDIRyWh+ciC/XpC90ps7HsQNic3Xf5DU+PD2zSZlDT0qIa7poR1Qro9L3bCHJUSnUNLqssXREuUPwgmE7f0pO+lSvgyHzzXW+yud/xkJCvY5z5Hc13LmnCydCHNEcbY1KDSnEFTPth1gbtZQJjYniFDikyvX44H9FKzLtlv7fynxOHfOfsjpdO2uWXqcP1jao3p6V6JxdtoIDwJqPtUFAWTwly14Q8qaC6LkbXjc9cysih6FBWQvPjzbxTLiXyV4gzZtzWZHOQphN9zFE5ShP3+yH7Q+nJWQ7+ZNAQwgeoPOrBAi8PiCLcJdX35u+cGYe2/8TkqUiRToQlAMyAbU/5m1/Nhzl6TcmkA4J0M98tXTFGHlsCfG4bPVoeF3MRYRkpu7bQfL/SwrsRSWEsnB74yYxmM7QV33Jfrhxnx7pUSlODbSYsPv/7cgVasUeb6tyDmx3zQDXVaDe3EbVU269rSPL7iHWXhqqVP9IS7nYD/bEd8HMjq1GSVr4VPH7wRVHrjtASDS44WzWL3YITszMkGUD7n1ljYwYWHMxYyCLD1KbNZrMP2kVSauc9pM03L//eFr9ke6dPklaGxwMbOms1viYWj9WZkgtTHtJrpkszsmX4cMgDeoJEk57+tooueOnjGJkgBBkAWmbpHjK2NTz/APLBlz3D3N0NaEcuTZial6URjJgxgRprA0Gr9eFUOmMuvXsz65ZxfXpKEkIvvp798pwR9mpfI0JaMeg1M44XFcM97+W8ve/EZGArm1lipWmFSLH6CzsdgipOCs8c41JZK2Reu6I9nK0plSSQjJrA8cyl84P1R8slIAlffP+YY1w6O9bU50LgZCB/w955onXRWT/c7kNMaxeiJZ/mntFNTkw3Ua9HYpfC01lEOifHD+4GO6ia4GG3FJhyDN9SK/8VpI/ZkqZeNMKWdpn0jr89bDG/g2zUZY89aBxLbQX24QeP23wATxerBm1UaDRnOB+cOBmU3cS99PEq8ZRqfKAE7LnDSEqVs80qxt/h3Yff2dYgBuC1HTNwdM20ey4+7icpZoPNRcZ7HDx40YvLjGTU5ULtw8hw+FeDDwi1+rVthweJ41db9TudDHlDk5y8fNY94Sm9trB4Wf8Y7ECRXz0kPQEgP8LVYiDG7sB4E0//pncAAvBPtWR4GhaWsJI3yUleoXIk9tOaBYWWTcLyzrJvzsXQnrJRUsPG1J8/lNyRzzEc5Uey7qcOATzDQ1jOjIzHxJGrNO6WZSmHs71hfiE7BofEteWBjMJwXHtz28viVAKOwLs4LPQhtUbzm473AW79eIfRfELxPhW6ROcbE2B7JVadJEySG2ILh90qN+YwmyNVdJ84XMkfXehsUL58JLsTlFfdrUHoToma6Tqvq32EFoEX4gsXGLerSOV3S5KYyCnQGOgehfAGYIoyNOMmfoVI/sv+bfLToImSkJprtPIKM3TGSQzryCmN/E5OGJxX6Gb8k9ypdSFgnFv85DV/z12rVEWTr2qObe1X+iIFdTVNhVcG7lrFUyOkmy0YP+xTTzpzDspxXAOkMNasVnz41w0jpsBzppzGlyxGvc09oPuS6YVRqb7NaBUhz8tjlXjEQrGwZLwFVe0nnUGxiNkZLshUAfBhmOk9DcC9t9BrHdmXe6Vugw7a1q7PliEQHFrNbVC9inZqRuiBvQJG6+1g3F8s1y/eKoNaOvbJyCX/z8lzwBi06DzKL7fTAbsWx0Ou3wiHAcK4Fsv2snR353CEqWBge6YcVm//jSZ63bWM//2Uyeuo1BDGSTQDT7ZlJ8rRQg31oif2qfU20yIvMH3BJqFMpnl1DA3FntgIp6/H4g5/fWLyhm8ZK5q62te7LenaisK1o01ZChFquqnI5+Hif16ynjSFhGBUskSJZ7T/flieNKV6LH3jGB97B4SpviJcWuPD+62b+KPSgQnJZzyEUWAqzdw6lg4r98b3XGxjMYHpvu8z0vi0iIE0X8lkPTMqQuTAzm3EFnnnS3NfAfYdhYmaQf3u+ykycmojGPwDwlzbJIHy/ZTYx9Wvd2T1Bz7ery4a3svdzjTC13ydX7oejvrM+CVkBqEBjrFYvDWOmxYJUe9Qc75XcJSm2rZmKDXy0MI+wRPkrmnbpXCef82oshHf9E+dU6iCfNWPbD6ZnA5KqHBvGGp7S4kjP3QCzwhamLB1lGsa1EAlmjDr78llVKs/9dzbC2qRcAvjclW+dMY2R/EaWOYmlJGnPDwLRwjC9raHfZ3g9Cp6xC+4DP/wRVQlWh0C0K46YRkmlfk3piGtIzu6rhMnwO+s9u/Zu4LCagP6vjLGuidWTNNTVfWpbKu/aciR1BHsRZpodSIc/OuQG0+x3e6gllAXjNwC63Do4WrWamiM8+WAx22MohqpS93/06wPt2v87ZVOAgjwY9Bx8Z0yOBcTcuKf4vqw/UUPFkwsZ70i8mNf8NxTUNyyVREtcbJxeGUyoclvoPiYcGkK9iul6HLxoQplXZk6FPdb7pBdZcKorOOLqvBlMhtZy9HBSW8UfhHlBorpQsGvPj4w2VEPaUHRPP8eWEe/6DzIl5iGFrLjOfBxVg8f0YzcDr6ydS6X4gNr6aEDp8OydUOkcYPzXDPoLc5t8IuBpHYJ/UUcYWEvwZhw8t1yLcxCUg14WJI/AoAu3ZIcadX6R3x4o+ihkFGcWMwqgaSEu0qJhMcMzsVzPm1ni1QwNK/5I6oNoL9+2yTSzgYYmaahID9Hhe3IUFDROT6UJXikabnNeRADSQRJCTB64yNqQ7Zg1PrVpYJT5R7jHW/m5KgEgVBjTcYgtkpG+E5rcUXKEl/ce65otzTmWPhnzbM1imwpX+QFXCpaIr4n6XrMu4dK0W06v/lgmmE7NzMo6SX8fRZhaRqUu+tVmqkhlN+id1N/2x3P7KfcuLwEONok1PyCd1M+NL0rYeqb1iV4AuuNn35g7xj9VHzEvy78+4tlqreTOK0NPtF5DNS0aLAqTsPYZCeFn5BJ/jqZULbQZ5NteJmEMmDFCdoeX0XQLKGcC5t+XnucPHYGG8lNn5y7Fxm+6wx/ttcctwSwR5lDg/growpgAjj+jemI6LgLtwRLDAovVlxIQPnXwm00jcn/YFPUNflFbMrW62T9R00+iLP9FQCY7Tg7j21OY4VJ9T6nNLglPRxcuDSpHFpo9h1G/0QmjVnG90xa+cynLhOuYCplStSEPgYegKbVvnEhkCJPjCU4MIIUmU/LNI86gT7Gl/4kT0r7309DJoQkOCwC5DWOOQDg6Ex0tvW+CmsbsikwUgpSqZqL/wfhX8IAajxgeY1N7OuDb9w9M4JGSaorYdzsvASJaR0SvoqUTGtmGpAum8ncMy/xTg1kU+NkM1hTcy1a45u9rcZEK6zosyBnBc0ZVNnA7SEUShUPcMtM51cfjMi5yhP2tE4Nm2MCBinwWs7L52dKVPFqMpiA5oDZnjTyt3i7nDroxXY7QhkJS2Xdyq6ZdlWxqjTNxEiuRz8zYl0kpHbe53Y7DR6OexrpVONN8qEjCsVNVUsP5ziVQlFawXwI9klBj/rlbe8SzJ/LwDiFc6xSE0QzI5QXbnrFRQ3ecO1psI+sfLo86/DF5LCD1/7cQ49p5opsOZWLTT9caNC+DqB0G9ZJhS7uSxAHIb321tu7tO0yv1Ydx4zFKZwbKQHqTqEIWnKJ5EI5f4wOMJe6XqTWJi3SBqf6KcLAnVPQN3Rx/usMMe/9u5nrvPon5b0QguyYvOxjLsjhQXyZggrbp76GEsQCzCc936bxYcQJlUrbdS5L6afRP6HB2Tn1dh13ac8T0EDu2kvLzJnOhXtFgI531dDjJjgOIOQvBL3DW3fkq9+DM4Ri9sUgjbxKs/GBvl+yiBQa2G2CalrJ2N1CnLQJlAQWkIlOv9lpnA/0N+f3Rje4mZxfRH9ZIKKsXWIwrb69jq/4ZKI/W3lqwad6PuLPmkYF7wiQlB4jvIT+Ap8Bx8cxrChbVHOoAQDuqkYT9GA1aM9bafhq/BuIdx6uKvGNt6+tHT9FflSDrvEhnOM25rIjxpNTuWyUTCc0jojJe+DU/Y43v/wfGKjgCDgCh/nk/gxmk5yq3dGvuIQMp8aL2yLbHzYw62IyQJhd/RAj0eyJUAWukicbLqqgPk+TkfZegIChBB/Yxn5xadu+ABCJ4Ok3YOh4thqbEqdeUPNzjdzzLKlvKtUnA7qAdb45t6A7HG4rLlgoq98ie4b5YmnVkzJBGx6yceo6IUNgbRt2WNr9oTRXTDuOzbOtl0nAiA0eyHL5FJLcI1tP63XqsB5GwVAeQkwftrLWdbXrF3+I0efYrp0zxYDTRpzT91rrTcyJXPpCaim7V307JmGpWlqMwW3DmdP3tLnd94FP1kpbxJBnf5wm/7IBOYd5ZOB4a2NCuJExfHBAlcIfFXppAgQ6BNFouwxPqNcapRxfdD5sKFbL8Y29ZCJ3tiWbrAc+6pvaY946yFJHz0Uaq7oBeZXJ8U2oV1z7+Kl+17lKZKNDpC0IJ8SGvt4Od0Xmrw7judnRA/Spo883qaJC1mXKd3D2xlRoaZ4rEhRBdtaq+5QMapOSvJukaMWd/sGgKkrhYwedLwkYZ1saL+MGltm8DpoaOqmCePwczeWMCCFQBJfkY8q8paaJ4Tk9EELadlHPj2v3PaZ410sP0XrUL1XhFkGJx2CV8eEWKPJlPfJE+OBu/EVPz23PqpZSFxiuss+OT4Du0xp+ClrnTRQq5xS4XsC8qhKhKGhVU8/zTERAgDX0Eqr/VQsbtuqS8b4CLLKIrWXcG5iYJNIt4ZQg73PVRUUuh6fC/OOhxFWK2oRO8A9XoIty5U5SdIlXha5twKU+43bTIuHC9Rae37YPTDTtcRzPJm5ThweKtavbNA2/MlaLBzxzC6t8fFnch6LetdYwVg5+t0xcpw3yIm3FNfVrVgsBuNEam+ttLmBOgqUtsv9ROykI5n5k2UudVYjKH2LQM5xF0H9Zgoe2b8jxdM5TydT89E96+aNEgXr4yZmlorl76SAVGD73S/Nz5zqe4w8bRMTNPkd1qWARwsThMJsqCC7SXbZuX/g/tHQJWMfPaX2cHhEbqv106A6WR3fJ3zYNE1W/3rJk5h9dRx/X0l0g5tua/gHZ81Qczk/jel9y7oGOEqWbiqlPl1TRnN0DRh3TFwUMyZk/Uo5X7MB/u3KRfsaT+t6vNuER4H1EypReTxKEotjHtAal0JfB1JKAJqlDQ3TayUZcTflmQIVuTe9e2ypZ+xnyTs1wG1T+1Ls81lfXx07GzYZPNvJBkSVLfcowDurBpvf6tZwAtSXPfhxtSFHlQvAWNgJmVwTte078K9NlcV8VGLPzJmCnQdODpW/Sz8JXeh6EZtDO8aqn9r8bTGOMBpp6ij6VCyQC2/8WNd0PhnTqCVs4uLL036c+66upqNzueHGvAUJQzT00+02jTiCADtdYrtAl7u7fZQpgLkNYurkQ0NtJzIErGWi+UbNCzk4Howq6x3cgvgKIG+p0Njh/yL/Og+nXeZjgqje2D1JhF0AGdbiLgUedyl1sx5lqGEIUx72rJv9RWH1ckrmlr66Pg8tGIAvUMBsO/jD/9YaRgs1xJGD06yPeMLs7sxgLiKfh/GS6F0ZLdrCxI/LQMssEB9Re7l7XcqD4HzN5PJYZAJ9MbJHZYP+uAdMLmy4if4g000uez4VuJn+XMjBGLRSc0p/g6TpGlMWqfT3aOl4Q7exPRc9IqNTxdYscZwPShW5b1lTDJxswB8ISZLozkZBagIecxCb65wt8MP3JvcePaX+HOx5lyiL7Gl9KmVIgj4NWUECYCZCvZIvEDJoii45j7OgYT7b+lAKWmXqK+cMertI5m2U3noc7K96Fw2GpAUmSkS6998dTBIkICKpN/68+61kebajtmxfbhhKe8zSRIKReaoC8wFRWMIwUKLUp3LATLkvTQkA3I9omTHr5t1Zf+aKAr/6bOt48b8ue98QxiRYAPEpd7htQwlOa+ijyoy1qD0sAmewfQ0NayZ5wyHhLMUJx1q2juetKn3w2Rljv/otz/ABx/IqnoPmrUMhDkD+W6SQrPeFYa9kuYdNITd19tv2pvxllOun8QtJRYyESuPcL7lyAv3mmQV2fNgbEYgEMtVQ6oJdb7X7f0jutDh808EPE6Xyk9LG0hFqb7BP8Ayquu5gf1yFj0KV8PUXInhtVJiRAfkmMsF8V6UnP6Z74wVFj7TEuy+pTS+0vRNxQFZn0n43/N8Zs5BzX8AkUKNd561AQvsMF+BhmMVSaP3AbpWflUGnLru3B8C6mExTlGH5cyW81jozG7TBSZBxZjWFugjL30ReIMe6LHoyXN8fNfIGC/cbXx0inuoPjW5W87w9aaEZiCdxKuLvAJk3gYQUnrXNJjXAWjh4q0sYhJLRoHTzAE3n2nRp6h4U4rZWrUGjHa2EofTBLZwENBuuAIdNmgyaPSEaQ3gq3dCyRXSQfyATcGOfcN2+BIIpwGo8mGnLOZyJzgTHNEmIt2sSc1LMcZL1UNpv+vPrRYfIK+iGpGFRcnUueizqPHmbnja/qWYvvSNOdyWcfBzHM4hQyaUPwuVJK7Jygq8QOYHA8yHU2izJqIGOCEV8iGkCUdwvBRQwmKehpfkCV8bjzD6UJc0rwcmWmXcq+S549PlDihD6N35uxZujc4VEAEOxkkm0+hhbVI0/qUrBye63wP553b7gqwEHICKfyzQ+j0Gi+ksSRa/glu8oei+4XsWm6SLPJjRxfJLzCYPc1Qq0yGQketjN9VkdVlMT+w/oqX0GO59dDs0Lp6PV3D/d7uiCHi7Bf39GeCXeApzyyxc+sWe42WO4snvzvLNFbwICMUMF+dAf0nuKjRs027cC+HXxNteII+GY/K6yWc3Ao6hbVcsoT15aHQEmI31AVfOOeX1LStcM4W9hx64kOXlswnDI78OB6rToNXJa0DkGms1cUgA5UgA+aQx7Pa1VA7SmGGuNltRUMhi+UKicJPVYr4UEsc6+ezHszsHFSkkXBKRprxgoz2HGuXJJjLwQcxa9LXuttoMbpVgp7NXYTz8fnrbWxY6P16sv6huGpp7h/dFyYl7ulS1qUjPHLH5IhL0zSA/KCW6rJ6U10SZXw3cmnHn3DeBtkG/93a+HXTfDDQs14HciSbFFEoc5/pFZIBz4CMJNJ+1lyewthDEFHW4PNQ3qjLKcO830l+hgy/B1bmH8skJt0CycIGf0G2lo+VmRSxdEdomqxEKuEoVdmQGNz3nVvBRU4ZcZJjewyLGli6p2+mJYphgo1Y55mpsfv9jq4KooM6zvziyE19YzOf5en/hhMolma9w2BDKGnsdkVaE2sQb/Bhe9smEzc0JL5yWJxkzzFQHAIjwAf9T8mE+mV2G+h9pTxrov9vRZOLW+EW9hV7qRahmZcKHMZYexyIgs6yktvdDtE9xbzaK5w8CaL9geDzplUa234niXXwA+NfnuHPnj1+egTCXAbsrIdrpgcHoBXR9yWfluo2F+LjKIuMWEoF8awjwF64J9CEz9h/ZSGzak8hN8TJDVeS0hRZBoJyd/jT2Mo5EO1Rgr4QoQJtI0k+NceYMxINdKx0SZhDLcXAK4fJLTkRCtxoV5sXciJjtu0t5YCf4DYVRmKNkgkMdjoq0xm1nCg/by5uyDM0pak1g6BHmAMm7YrGZtPI5XK+p5ETpmTVnToJdGdiiiFdKs4376SkTl8hhK6q9fJeNr7piSv/XN58od46pbBJK1o6BByZMw718/k5QQiCaWNr4Ol9si+OpkH0AtAsx3FA3BNEt6je2BBALjh8J7Y4omEEzdvxS1uWIw8g36KVHY1gvkQWaIMdJ4C214JwBLkmVRz/5UbpDbdV3SNOdvR8V459o862RUTIIcgIhBIFYelVkufwulsy4PEli0CZdyswzU2/OnGiqKLSVAgBWUU/I68mLl/YaabMmdm8umTcUD0L5opnjFmowAAKLAF9xpivPA66t1UX7n40OUMoZ5JK97f3TW/Q11IG3D2E29s3VGSxFHJs0YQCZlWf+oHPCXW7IPCezZlfTzgRz3DgOSC+51glD9+M+XM9cRrKq478pVXnRSTmIV+MSPIzpeekEXLNLsTQm6L9EDfihpQSyvvw3BRcv3CYEBbfb8EEy1i1za98y0ppOJrNjQ/dRnklVhPKCOAwZZBhJ0QovlRs6XFGO8vZLUmqKEFoBm8KlERMmLTp6cWxYdffVGFnME0NtKfQbxfvjSb7Wik/ciOe4GJIVIVTl/4HnppI0qS+pRv5W1Wpfk6jEQ1VZiCb0zM4gMysew3EGtSswt23dV8ER/4eZHhcfrwnaRJ7JbwZwqoJmwDNBzKyjUY24uo4EtMvMqIQsicdbsdByEKH68Uo4izqVnbrSw/H83MW1FlCkn8l3RXasSh/aX8CPGfZ0e4bTItLBOhIxdTTC/2dkM8N6GjshjG75yVfprF+rCchDq5M2YVgb2kah6JiEjbj2CILXtOtORC1BZ+3+JCMjoWHK1IpGmp2KB6KxULHSC/Vuio7Kqn2GJF1tvV+jxYr9tJ4pzkRhOo2Iuph8IHtElxRLHmDTOOATQfLKZqup/CWAypGmjoVj3g/pauNXRgA/zdw15/MTx9jW/LLEmlUYBdyTh95USrp4lhbVd3XlwU6JPnUgAbsdrOSZwZNIQgikrdXkzVdICDQUbnJz5Uns0qQerpJFyHa0gVA4akG/pR7abaLngiLFEiALHIAILFnhZiUwjP63qQDk3qZe8Ol8UDthPCKw9//hy+BSWRht4IRON5AeZzDLbYrOo609WQCYLpnnctbTnt04fGFcKdXsvCfPyC4MegLE5VhYfMbCEW80GYmSvyakGbxyc5EG2T/7bG97U76vMM/QRd4Os0NJG78Lo0L0v6mUgWBH9TN8WgvSh4mkytWYaEPQBqCuqzQTr7UCYWthXBwYOf7uY5R11wZ1xrh2BMi3QW4TiTbQl/4DlbKTIeTxntuvdoVLSQHPu0RFHaXIKykUSyvp111Ndr1M0ThonANr+A+f2U2AnMh2DEf+XmnF2hv3l4klwRIlx+5SzFyLY5fZSO5bDwn7Xyk0dJ5c/SyF4hxDRC8HJTCpMFRVWoRTosaJrWmfqwja1GB9gPxwXtrUk3PYTFMM8kVmyonLviJdyj0Y05IwVl317dwQPMg41Rw7r08WdQfwFCKyecUUapZH7m5qPZp7JnMq5Gjql64GZr0eivP2IxHqeZkbpiQ/rvZOirJ/8buSy9g/jK9liUvQtr0qgfQ85tN+hksP2e9XV4jS8Bq3bFFvvn+92CdwqidBwzAu4uyU+5SLT9gCDPAX0JMD3gaEifh0a4jqtZoXJpcxO1oYrBkT3Vo8r+M3f8Rbl5w6U+ZNo+d8nTNTsOLTOYOEDFTp6tFCLuxROMj52FLfBrwBRkrAsb2r4q8Z7aPHJVuhr+Tawcj//aBvwX6fV4k1vbHSVuPKqQDaf/UTy+YqObXQzYg5TkWc5THf1xAkzu+sv9Yu7pnRIl7D+ZlmunL9e924sKKslE6S8Ff31oQ+X0nUvQehg02io7WKuXixcoB6nELssBxLJrSHcr9nYVB7TCC5sJNFiYf397vRZJdbCQHt45Gy1s46XZ5CgctPuNqPlfLJy//YwoarOwsmUVNtXg6ErUR3bgWmO/HneSu24vB2VW+0uR2A79qpvJzijGTB1pAFfX2kdG/nfFQKKNMvyYy4B28lxDsGdYHk0aB/OQlViwc8KTbhyKdH1ApYU50zzEIw+fHIt1LMi7MI70wNF4UzKHWxYLGL0mRfiv+32ZQsnZiEE19Lau3QGEQ+tjMZBnetHVWExi3zdFt9pMQk5tQmeliNJEP7nyUcupCRkqpKcTeN1k5TmjtSBVZFooVENpKp8bAwBucG2xPix0k61CU57cNEUyZkgeSKPZ7TkqroRyPNkCFyT0o+R6kRdkFjVWXaAY+Tu8+S+lA3qGygJAeJFp6XUU4lKqJCsZhMD6IulPWyVP7UDNpVNps4PbqhRw6X0c4S2ERUrTMB3XRttScmbJoTaxeyKa8s+SwiBfuyti9RBJf+0nQS+X6DOXlxhYfbWV2P+uR3qyOfhEvR7eP+k0ltn5DdRk5IC8D4BK+QXw6B/SKakYCAWSPmqGOI01T/dsPdHXOMIhrd7hWhWJLEpftjPiRsuRNU4T162+WP39H3Rs2SxpjtBSE2AqwfiFn4a9qvnamNvGtcMF04l6OdWvNoakl/nqyo5gSB/HP8hqLFOZGuXi6ZYKdUVEmUhigiDDyv8YtxHUTH13RUKh+i9DkcREALPeWaXQxstz7fKuJy7uDi7jF/KPk6689xqSN7xU6lmkBBpVWIxYo5BCfz/gFPFCAuF17Ur9Nb65goPkB9FCg8dU397PojpX98r6J20xED6pGlVOfHvwUi8Yva40NM044praGhJM4fAlxGlJNbYRnW7majhj4UOJxCUYyWw7DSQg36kX2MOfBPe0BRtyAloA9ZQEElBi7ztlZMnumk8eyhOIcxKhR5HL8hHcpTl2HjIM8Gx+Zmmyl3h56bnecsx8Jvic2m60zRErRjhFaCkXkJmGAjEgIunlRe/xUCB/TPHNOoAQh/HuRi65tYv0ROptsp0sQv+XWxjdK7bWQwbJllRY8aT6Q/6KvrEjT0eNNKio5yh3j0VZ7L3QTnJOtOD6sWWgYnMxRZirrVtBpXeRan+P8aaampSQ+HT69Cjh/xN/+Ha6qlHuAKzg1tT5fOgcMbnKnyUCiQQ6VCB8/OqbOOYOla+oIlnDVvfiBhLzPP2QNXfJcupfOBmn9R10XCvx1FpGl1eDdmsRNXeN7J3Xg17tz9/PtjBeKhgPq4m/y5qUl7KsqLdOtitSRIBgUjqo6Ht1eAgVlJm8JiqEHGUuDXeMvt9y5m7qqBUUQPahsGSLFA9SP2cvW9lIc283o80F9b9+t785dggeywMT0PWfrrjCGLbU019bBpQ1Kkylhp2/Xv5M5ZUdj1+aGwxQ2fCRza6sYtX6ZT82/D3jVuv58Wwan2G7qc6o9hAoSoIaoyhY/2OqhSTT5Lf0hU/efl5LbYlUeH/nSFs/BzOlQjpFVkNTgtD51YUpFFm57a1f6iS/K95DPyTmgTWmy3qRh+jeb6njYnKCEk25BwLuz8Mhg9jVbrBqWXjClHFCV/YEYXb4G3ZargSWL4SbA6oaydEMlRopFXXcaLZDLaydCrXV13M2uA0QxF1Mm3wAmA8JpZk5vsGtF6RWGFrrbvwMbOvoIWKjMLrmw7gqxazQEWYbZaOrc8KawdLLYuc2K6OeD7jMm9QUEI7xNCXVMe/0MijZoR2BGNaLDWZulGPcdyP9megDquE2DDLBj2UQCm6dAXDewgUwLF8HeZeob23tCXYrvSBND0t/LuyEIjDvugLN/aQ3IlMaUAuWEx0w+DHwKQ4Adcn2T14aBLQayLv02YIgJpF2c6k4sjk5YP9YghwdW13zstMhmBGaVBgBgsHRUZ7Qa3ZXSTOxZGYuV4FOENqpaXhFmGkZYIKZxfugIvSsoGpmJj4zwJ4OclDu2FS0WBoCKQPyIuztAj6YbDQVjVKt3pAe9xqOjCP4erghbeLWO/JB42NalxSABQ4SbJOmpen5DQJguAPsUk9dUPOPfpGFOuVAwVo5dHX2Qhv5LOqn9enRBsU+vt3SX+Eo6I755zMpiELNPz5mvnAFGtj1UAfEeABbsm1WYqRr9Y7E6SQbsiKwqYSLxhfQE0ZvCu/sQbpHv1858U/VHTbz0ljWrefx9+w/hTWMlsI8Ni/KM0ZWQAa3FY9x7UFtg6r83QHQyhb6twKrq6pOX5+tEvs/IVZ+DX0Oj0vUyPY89/oNlBI6QaUxSD2z5tFu9s/xFPtLH4adtyDSu9ejavVultK3f/9MI51O7JZlKWrmG+fbmfMeanA5orymkJaH7jwnvmOa/vbWTz91LbqHAB36f26HNCgVa8pN8tnFNZv2SQNtU9poFanKvgNWnrwjB6fLZ8mVgtn2RKybcYixYCTICNi+bZB8SdlCl6jqcT9AGSwpSvyxCssmYleCmQ4JE4HWlDH14rzVVn1TLf3AqIhOuP/GYUu413jrxg3iSC/Zv7UxyuuFYcBjtcB4Td00ERUUPnoHY8ZGaSH/LaYLBbgk9le4Gj4km6rkYIf7U3GjdOb1BrLz5zV9MUZJmkm2DMChpg+yUQe4G4ZbwOXUgCnfFblgZkugHhtlyD53ji8XAsORo5y7fZpVjVjTT8Aa6nNP/m4D6mqqmduAqf4hVArhi6IlwYwM1cBpvpXSe220zH8hJPb4z9cvnu6TIiAZYr4SiX/pTCb/Qw7lRNURCVis05GLy245lROXvk5u8w2t3BgCuiMEQPGwas6b8hdin8Df1PhLl5oZpHwRoVFGFazl4Vwjs/xz85h0QVbnrYngXS/kW27JWk4WYR9cDFS3Z/4W23UWSvsh56/MITo0Mqx5FXZzvjIXekDEb47b0cRMowW5EwYDqhTNeLQzWb/91ioHbwGcxW1d+qb4S8W4iPNm6yNwGgsVGLpkDK4VOb+Rb+mJ787OS3g4E8QPo+E5gYGdEY5WBi11Sso7wlm97Y2og4iJsUd/q84evo7w4QQ9rLAud0MwhgCsehebWE4qvl6It0vbRf7qnDt6/w+zgLp6vsmWfc53Uy6LMm2Csvg45bNwZ+egm1+EmxnO2HvppOtb+K0CkpMkaNcp0Na+Jn5nqP294bao4h909HaOL4Zg+Sx5nE+RQUPw8ngjGEHLuyVTs9Hr9uUieZj5gJ8jwS7LM+TDfZl447EGHZ+2aYPBXIlXZdR0jFhQ30I/DxTJPfSHPFC2T+xkJxy6p1A0hVM0VLsycAp0t4hTEA1GL6GLasbW1ZKXyMTcdcxP13L8/IBdS1Ev6UZpa+E1ZVaLA2OflG3ZfDlDNnx7yw5K7YueW4dKLv/S4jCcAY0CnII6cocWc3bmI1NpnIwUCPYeTuivTcB2Ne/fQz/UMZAzMZHGt4pJCLtpuNwXog32pKlre7kYemGYrhTDVpjT7GWxIfRL3m4wZAJve9bK0klyv4/bzklQU0Dk3mDIOtNvoYzsl1pkBYzLyPb8vwBq56aBiQ5ozuPdkhgM6Xm4E2El0TualOnSE0YY8w0iAU0/JMg7dHC48M/D8d4UHdKW4hYZpXlu0+XzJkhRiXOGUOMbnlbXCELMoDGV9+Q5aozZrr3ZoD579qdecR6CgpvMVTPgQVBWxpHbv5/kRdHnjhqKLCmZFJ7EnGV5IoI6ZNqZR85+j4KqzLsUq2zF3spLRzoDTMpiZGz7fth0lo/gx8aUuqec/T2HHD4iJnrZYLkK9eC73nJhi+Dr67gpHJ7iUcH5m4nWlwP6bOeJ8Uv4UALBNKYLVWZciI+jM3Sx86ZLKXl0O/wq3TJOKcKjSngcNRiy3w0pcFPpk3o576lieIpwiMJnd7LtlqUIbEkjQWmIRhSbJqq3UNnRKcZZAjbCou/QVpRyHrbD/5esy53sLc4ieXk/DcInXBcWh6ZoSbwG31iWjS4u1IKwtO+cfxLbsciGOIWeEw8RJ+ezropqpMlEHNOKuiBl0k2+ao9X9uRaTKW6zbxe9YhbZIgVfgRADXOlvmkbwIx5m5Ty3KqS0Vl7pO/iyKJZCF6D/upfnuFQFltTP78qd+OH8AkQnpA55vTDsdNiR9QAOPawfMibRWMpt7gF+dZrJLG3Rf/vDc/9FZVbUumkGnf3Wlc3IxfIpB1pNKGVuM82xbY6d2yy5fAb5Gdxem3VE/smYYBRLyYIKOE7Fkuz5AY+yW9P42C+1PBSztpUuWm7EZBXOX+LY6onjn0bwaPcsXuRxSCJWs8kc47BtKRDrKrQuHRK043Z0SAbBLYZvLz3h3wKieMCdnlcY4+Pp55xPqXGvj14g1YDDKYsi9uGtkwVkJmBw5+vNLjRCG2GiBFt1dDzP4rK9YvVG50kSjHr56OVylPOFVUMs8w1AXAKjeQFoydUTTwtrcXXF8M9oisPlZhlJEYFZmZvjU9XJikNAFWmQsErNwWH7uQWwm46zW+t9l+VOQgESngybiWH3GFy4FqHQ9qOW+V21nLOMlB9LkjIXAgUsmJXglhczUZvkGpHBIYgu99lmXvcMMhUIurkQaudBgf6mleb8yKyg64JrlTYpoiHiHnFXpjxLde520EVsy+oKCfCM4nxyKoQhXUkuAnrKUFI7GtR79dsOy1b4jXx81RFS5c4QOe3GGS3Ofe/jjKjax8J3Twmh0mocwcHuVMGNSBCRAl2TvsNjnY1jkvVFzaB2z/Rj6HE9zyVNDTaNrgCpUqFRrQwx84KA+rzUbQMvS41+4nhbCJZgLnibv9WlvGMueGBR8DfVZ4FUfzlwrYyjp5nSzVF9Y3UwQ52HKsEteHSW6/4SAOYtOqmKkqlFk5YJ4Pqk0tzJ/sWHAh2GxFpKT34F/0Au94+1VA7cIcgLsfjJEuot8ezKpkfsbQ3wSlOFhJ56J0g6CecD/J4emKgYaDWI/lzwIa+5wJ6CC82lGqjtdlqpcZWkUWpZEtJg91AH9tied7WhbeMcClRPZpBWt8q8nIFRa+jr3ZpIU++wtoYy/R8d0JybyxwP/4LsMwXL5ax9hc6N2pSdTfexdukxG0MMpK/HWTe09zi59McSzEPbURER9HARO0Cl3xl+a8CAu+XOEj+sTFNTDhZkIEy0LJ0HIgjrgguKO585gY6NiaADB51qdPzgJU+pL8l846gmfJiTrrUA+2s68FMXIasV/9333rwr3nWstQC+nzlJxe759Vpj2Ix7dY793W+3kXqSGch4SwsHuU1+K9bBWk9tpzNm+VnbwX8cKw1bi2Ee61D/JNFcLhGusYTVtqpUmGnSO40/FVGcNfShhgrIKJ84D83VO0bxiNBhADa7j27TmV9Gqodl56ThTBnXBLDAxeWCjpM01KdCE2sBwek01tQhwlUoK11gE0Hy2hTGD3S3/siCy7howApmJFvlFEMH5fMI0qp5lK2PnF1wIH+Wi5Nz1fLP8YFc6vw47ix9OzgDnKz8fdRTG+FY3I+K2aMbR96HvVYzpSlx3nnHQc2E3eqC2Ah/ezfvhtVSVOSXjtdZ27ZNiaqVJbA3X+P9RSd53HReHwcy1FfAQWpQW3+LGERMTC0CZQLywEovbKgfBZWX0y/AeWXAbjA/GTuvouZ7sZL/1Y32jba0KM/JL1YM4YyS7kSt+Xtg2PkqsA2n4MMfpGNU+6lSdLsj2qpSj85xLM6oVgnRB5AvVMVuCmRxd7a3trb6ZwDQDqCtp1jaiJkGgb/ogYh4K3TwDP2ekAhG+UVpZUL82jBnmcfJ7z1AWLNcgzt/nEM3MK6xrSdJ17Kvt2S4eB64fq7FfOn+U/kQraEgYAfH1V/l0fXIAmo9hng7BiMkW2Aoa4kNezMk3MLHKUUgwiH86BK70lZjrbWWtC7VfdRwo+EPiFbtht6+YJA2pPuVBB2sTdhIDdzja5oo09fziXKBspzE1CbBD+42GeVOLjxsOYyZewB8k/b0KyyvPguEMoy3AcLGW0lp/xN+Miwlvcy6M/VOBqconGu82r2f3XydBO6vWONiqNE4rxNhTF6kuvlAnIYkxNle6ilwJUKj/g5/P0tzx2O5XKa0IWlU9yoNW+LLzVeUR+TgirgJN9LBhMUCI8PdARZqdsML8ZFLfMmokuTCwFnxJuGzZdKbu6KpRmby8rst2UMpmqLTIXLC6GoWgeCG91689T6ue68LDQKcnJKfPd/6PfQAcnuTpHn6yRxtHRK0pHfZrtPKeM8jUgRcE39CNR243dTEteD9yPosS9UHWJRuylvI5DpNfaZFnRhDcfKOLy0aPCCVR2JCK4IUf9j4KG+YcSciZVgrM0WY/X3LUIXBuxIvDq7osnWZgTcLdLJ4n+pw/ucbX4VjURVuy2nS+Frh4kBTLYSR5tSJOftpSpJCmid9yk+epKUDAJOn/u+I5VUfAdjM300vg+RBmUVwFpzlxurslA+dU1Aov0jBjvPrDEZZrUSi1uzz3RgQ2vC39LHkj+v/ATKL71876QMa0xatP9yioTm4rUAiIIF3h/llSsvg23HgNgqb9irYaG1Dv8ir96fz2tZOEDgmD3C5dww2p6xhOhFVWO2cP51VK+js9gR6zitRR9DwjWsor2mBevP8h2m6nhucwgef8GUQrUEuzswtEt8TV+cQb3I/bt3rXDCyaJAvos/H+pX0+ImoMcC4QXHF3TZUNzYsjzFZwooImXEzHCXbuR5E+hzoLmHmGpcflBghvanBrJd7raoM8CHX6kD/aUpSR/4UMSrvsMVWP+xOFJSFzN946uAm2UOkKQq0Fy9WzTDiRsLqtJN9q4Z+LUREWNOtONdbqhXunAtqITb9iZhgt3TLpcSGyuAVdZ+/SBnk6GwhwgDhh3gtBMAZWKYUCIwAn+z8Jv0c/OQQ++x+ZtGvz8ikAVsRIz1C4XrqHHt3i/+oRlwS9uhnnk2wfdTObuh34liWZocfgT42Mx+M1/epkVGyVzKEmqXmoMfXDxXw1ub6jH9YT0lhpInWcxIpxJguMIFug11fqRBLEXTSqKjkqhmx6sGy7TUIUzdouDmdvV/r2tPhJ9rcpP2NQQ6lYI2RfXAdCboMaVDsrIPOMqK0E6QNQM0OTxB0HOlqTu+uoXd+HjCDDHmaTUwepEejmCk5b0RE+G2cU/LnBzC5gosaLFBxc4laJMOeqitw33AUE5/01xbVDXxfHSWZf4bzNQGt+5ioLRuwLptg1yGqMXI9K9nZRh2JHrfmN6LQRI/u7F59fOziuTgVwMP3YKDzr/0ys6QKTro3Bkohbhzw+DiLk4JjfI1CEZFLjlD1JWxgQaWpeNtqWN1DQtB6e/+qHH4hKXE0bFjOT7WwElZS6P2iUhsSct+GQnPOBB8j5G4kkSfpdrvBjUvWgGMsVnqIppBlr6iECZdXv8LyRgc+SlemDuDsjgHWbZI/kXN9q16B3Rz4qcHA3JzYWxSaSB2qwORRbh+WTOX4k3VVUngOH8T5Hc8DLB9CpXeInyBlwXbOOWDmqwoCoerwZTBXmKSQRHMSE6SaHFBa/iGGwJgsmHoEgjV8rCYTLrwFMYMmWFg9HHlieWAebFbPkbHetozTBdWkJdgoulq3magniwLHc5CvDnS9eeCoelM9Q+2ixJq3vq7oa15d+ozPh36PRisYWkV2XrBjPaC9wJtuk02BO519SMmIliCtrh+xQ5l9nns7obrvs46v6WYlBh3VPrD/TxlATJa7EfjpfYl/HZw0IQVyMbfqJRH+mBKLw5cL55Pi7l6jliD/pVgnlc3gXINl5GylZDWqiCDiZycAFPCxfnAn4Mb/EwT68MzXWriz6zWml0iA46TOhtjy3g7SpR2rUKoecVXEEQjNShDuJNiG4KyvcJNCt1/M9xO353Z2TnBZU79TQ7XwYwsuwXbHr+lmgnLRVi0iteChW22A1gX+h+Jk7/vXHpxQttpjqX1X7EWVDx6+93lIjnS8gZoMN82mGrcMONw/vRuIHR2MGJ6xOlMMZgof71ZO2txo8SZjTNq4/VZkJTAcgENHiIA1CXKRXydAhrOI9jv/APg+VI9dwtCaLR9zzvT5NC4CK0mzXb2NIX0f6e2UWaP5t/iLNdXxBSt3He8xCcm8gwlDDxX3yuffx5oNg0k2Hb17VKe63iDBeR/sB/xvi78ZCLzeiwSlqqXCRV568pCVF5YlG4OglwqfWv16Hi5+wSU89MhoY3O7f3GRZ/ZAJ29x6UiSqMmnrJwmrgW16LteB6i+Qiaa67vt8SZoCPdD4V5mgb8x7/Da3A1Z0rRLaY1R2j+YMOpqkLXelijzChOWwT32lt5M8Tw+uWB2KIlOelhRBlnjP6AU2Z+ueqgAciQNRRGgOX8BiKOO5pScQPnnCYOYei7jeXxZS4h0LaiDJYX9jmVfxeizjuoFIdOoRyhACGfhF1f5X9KYdA4ztSuA9w9JLX+p5YHJlW523/x6fEVS00EaEHBEBc5QLGvEJymTfuLnj23fok4FLrV65KOCjqWc/JtpOvwQxpvt2j3FnzrebzOR8KOiVTqa8UCTJCd9SOf++nHKZ/2zPBEERTkS3TIMiGtHzOgvB7mLUj+M/t+8IViQmm7jdWTWAG3Y/TXCdLvKMvJPBQ+AN5y5oBagFrdtMO8IwhKjUA6xWR08IcwON8V/njAIeltCesVanTcglEl5rLNyyG8zNtCZW+t74fn2u3XSTHys4uBAJf19iItJfEHjXrJoDSIAgAldm+Fc63gOZKTOn6bROnCg2fiM9gUUm76BYC/fY0/r6noroytMxWv0JJJUZeqv87i6qo/3qfkU54COhxbBwtd3+fFnXpE+nQFphQYgPcS+tJ5IEyFSPuK7gap09GigBC9sJRhW4D5lD/ueRAhe7KLp5hnAxcQccU31UQTrp2B0edGk5Vg174sZvRPWLJD4gmy4x7yWusD9oa++MEJ1Lk27ceYNCa0d1xyGgbxDVzlDGcn878Cns6ONNYrPjlfjzcViqNeHIjaH/ijgtoJGvF0EhsI8azar9nahTeLbfb7OI4YN92TFquOPc9blZWk8MLsCTbv+EVbxY2eZMWbMxLQADfHCOhsg48SIe84vb5JjXxER4HSdaRMMKtD4c2f5kQOAHTjCovRy2mfcd25WggYiowKGRbV5ZhcaY6i35moI66dmBxoZmvD7YAEoo2Z2S9R2hNHwsi/k2BBFNQG1V5Q6YcReb364yBXvz6M6lkkHpzyNjl5f2jdW5Uwnk/MOuGzAYROcV0hnDPdnqG2AFeN0CKPDinde6VS/WELghCXHSRA0a+ND13V1GtsT8A0iTxZB+qY65lZyYaVG5Gq3AhTRn2VPpNYqV16VZnWr/vePvvPYxeSh4wvJDnUgGb4WBasb3Eadtw6yx7KGRAwirnlJ4hj4JUDqK2dOP6JdgZunOmzqmBPVTHvOG4xgZpMUXpZHcC543FEKjLKqCoMe1+khVhRESLZbLSeF+XQOlkkLcwlUdj8tyGZ9efZMkfhKL8iwg/3+O7KF0ALCNJFm0vnYhGjhC3Yk03+AQpEAoWCxO+rwnbMtZpn2Y4aXpll9AxnrDbeydevvb7kYiGCVBnC8BVa1Un517LwfP3B5+APshmpHhio6L9P9sr34e9YPJk8KHEHUCNMYiyqoU7yZdoEBh4VP//47Ns7h7udDTvueLACzLDiAqvMMgpFNela5sdLJwLoMXWJ3WY47rwuwf5L8iRX1hrHvqxr6dPvigniHKpYI56DKzQhj+PR+tSXDyJPDYm7o2/Mp2KF/NG4GfnBwYXLSSSGYrLz2NqMvL1CK+dQ5h9hBkLifY/59Hmhr+1CQ5T/h1/QDG+k2i/ev3QWKwSqYr+LgWIfyGew9J4+alPAHc41RI9s0v8N/KpjwNMAnK6C+NwxZa6bUgOkXtiMCi70XOR/xsn1dqWC79sCkvg9nMIN253fTp3B5xrORDU6jn39YsLmBo0LJM7LCbjJJ/ZgrKjLI7BL1GopTSgmTw/XKL8nBkKYZcuxL4OpM1fzwdfPLo+Z6r5wEkeIPIOqkzI/2MdRpBXXRFM4FnLuLNS6HiXGyXw+OWd49O/WAn2sx4QEV+fdfKDPGhXjzSTpvMMIih9ThgobNe34d7nCZ32W8pSzm6kge3crBT+uCzs+T6evBcsIp1/XbT/5veFdzT3drbno7p//54t6k84aVMYMqdDO4kbPLOKFW0IM+sx6oZp7g7xpmloplXI/Vx259dKXFOMllmNo4dA9x9JQyn1Xl4TJ3Tv4fT39lYRdXQFBDiUUKq0AVCS4aONOr53OnwdZ8xBOmabzoYecWy3m9jpbJnScTlOZix7pzZu/riuP8GI/GKnNj6thTl23RyRMFwdQ6UUpKrIZ8HD5viFC6BxUGaGtLqodbhSoCL73W0YiRbq6B4eACnCwSFl4t8dLMg68m/W0QqtmiYQF02GNDR5lvEjU0JKvRqDKoZp4FAEB1WXVh03aryTc1lubjIy7tByhS/fpIOoAHhUZCAcGX7aMrWf89XJVZ8N2FrTpFQJ9yfHCI+a/Wi4IHquh2amXdEu1OIpY4pEAJBHWECclDiJ67ye2I0G+I5m6zao6YAc3Sfozp/Gzo/1sDXZfoGJ3NLLskJPV2woxYOjk/NTEazvpK5RLrOFBDnLPH9ePNKZedMqiy+spnLYcrmCvR0efkLkuqr0k55E7PL6Skn0MJXgtNH/E1P7jljMGgNQPXihp3BApntdtiKcOnnbWdUtL/sYLroVgEL2zgDqbQrHArZt+A+kDlwmyZgxU9VvtfKvl33RzwvQw6CIRxziTxXm0HikNEWvs7vZnremMC7hXfvIM8YcU08LOMtB65oKmsWOkQRsGYjnHoDR7Mhxz9BumtueQhklbApaYjnPiKHxhQEVw+tXMrMZgEcgsaxFubk+Yu5Yi2DUQkJ2u25iqSdTEOIWvb/OIw3PtlCWkWfGfB8KlRrf42yyLA/MBsGLSnwftz+zEM6qIeQkCbtbki8Vx79J6Uvgb/hg9bDQYMAc90HixMKE0R3jmnSl3pb3g+76UzgZnPksrMYMGvxm+5zb8sXdBCFWy7ITeMyw6puoHZfjdkGU9+hUheE0SIJYnETJcfrj8PXczikHMyEaPQ7itxtiC2UE9ZlVefalwkKLWZvEXte/Sbvi2VY53pVzbQ/wVwjcQFBOa31ffXF571zaMIw2tkffUX9yoyjlYjWXElDnLBdSpzYNUDGFYQDt856GnpMr8+KFDXSu8PLLMI5PTChIyXtO00h7j7IEjaqa/hKlk9hcnzzpKwzvRWQ1j9Cc2F9XQ3DeU6LzVuCSeMlNBfyXXYLq00TWkvAuK7DNih/ZjjrpY74AjwZqSy6AzuW0JlrVfOdIWCAA7FzRd8F5wnzdH71mPmmZ5uxIQrnaEuYoOjHw5I2JOcMIOGpYeIXT0ZKqWhLqIYurkUgfFlu4OMTy5veOyVcRKmH3Q5800jAQj7VTHwk9oR2DMVLk7e6kLBRg7W3YFFwneF5kgy8dkQyH7osmLaGcuUO4f5W6L9KSKZtWumXOT74GiaUSosYIINVpatOO+K+DQ02RKYbS5RmNLINogMEL39hlzC/KKpFrURzz+wtz44KtIfAW5jIdEMk4PBGnPgjjyhNL/k78KgFo4kVc1+wKLB8hJK6zmbPfberO9tCrQXxwCmvN3+T6FdiI3D/FnB1Mht5nwxUzaPtzAiATsNGy+UyGXT2i+7XkQBrtdcM4CqpDd9RkT79MRS8dnNxFLyJrk1XQpjGeYReivX8Vw93oT9adb9dPGFqatjnwdmzjuKgiZh4Ry1w1Flul2z1LAxNjhn8VGWIcGeX1F2CDgRBQ6kPjY0ACEomlz7LnjZafVQiD1cc6VRlVdxEaw1pseaajzFp+UmYQlPbEMPmTm7VZr6JJ2oXRg0G6H+lxvvAgGYMoBwvw+R+VbsP+aVidPXo4D42P1hieeOmY1rL4TsaPLzE2fLF/RSZBHxdLKsv8YMJfx2JbSwOAZxLlPUW7mKJsUqAZgeno2iK5O7Idu72udcz3EcmqjXAyEAc17eF2K2WOPp5lHws+HTUr/XROOCx/1sFpvJhRdleU8GMGbkvtPmsJZtra3GQp5jSY2hh0qHgxmSKZ/6akD4npiereF+MPwnCmQErH3iLYm/4PPLOcFjnyKFexiCRx6gLPXLMvD06gj/soHvGWjgWgIZGwmQ/rqdmqMFUkd9pl+0pPdvpLmj8WV5JuF+nk7WdeOPjlXAkLsmna9T/ZCK3dL8HOOHU8ra5NINwPZZ+Ftq7+nL+8W3g2s/FRZOlgc413geRkD79x+Hm8JdEVADXNsiIJvDukiYFi0t0bulYob2F6cWOWMkj8OdMlkkrWH//+szDPqcaV6BTgmxGlfcTz3Va8l0b66OabVfGSfsq7E/Pr8E2/LdHyKzDFxcjBX7FDgNM80+PfgNLybJ4KHxZs4ol6/7hcLd87HyNDso5cfZeC6BSeiTgpgP4+LmHp9OQxFE+BMBr+l/rolDy1nXPMGdGZSkwB7vo9h2fd/W4qnpnbqKnzmFJSna9oQy5JARW/AdCGVrdoizRUvziUxYwgWbEVeRtj+GwLJQ7EbDEM5c9v4I7ny7whDLuJ2A96JmlLlEzdcjHYqMp5oyh6laZfRLGEq0nTry/v+gAMY65Cc46gGcdEfn8sxPDWayS3xjnV5iqEDt+/S4VBpGDBV8sbCPl3YuEpRl1p1GCaHVCXd/e65i8bdfv+AVXkQJuNSt1SiqeTcQxBBWk5xGAxiHAZvzQqCRrz4aubUc09bxsiAwSYp4wzWe1aHqQYq2AymDI0gd5y72pr6DbQJzMF+07ucnlHt45Dc/I2CzHL47UV70i+sA4ugNTnvtk3z34MGYm4RlTRBSF1NemMSCdlesEHdTMzoxg6Jb6+Qs4Aghy3XBsGHf66T6i+TmEDMKaaY3K939GXlrkJqrg9XJIeEoeObvhYDht7xVNGv/+IvHRYIc8mgHS/Tf7scXmp+SPddAxVM0oleyO79A0rXRQq3PNo/ck0wiY1qBsBkw4sLeeEsOQKSeXn0W3MLva+SKMT49pDHMQ3oNnirEfUlmp4coJ4OQx/9BcqWf2I8W5aDYJEGABDc/QR191WVlbIUIAcGtkzuk0aqw2SRRRfTYaPy/dlVyupBswzP4h9DydvsgFsWRZbF+QU8Qqe3jYMq8uRaw2biG28kmVogD0wHbRKfeqfU+wtZpSg3N7+Vtu91fmq0hOVQCbBk9BIShnck8x7XS20W9c/j3onzgfzYYPB9udbWvPjPkf1u1gatxrY96l4usT84t61NwLTISs9fQbltmHaihDLNvKDHMryFZOUUyHUlwYbIzMME+KPGO0uFNONs34rahQ1PIRCoyouDoaRRYfS4AOKta9F0ehZ5+SeC76Aa9Z/DBMqXCiJncuoAFVb+rxZQLgry0hZU45+vOt63Ngd+xiwrmCcYDEYHcQz3G4TaNbOxeU60lw8m9RUE326D5uRk+ES44thu92xWrfDYpGpbYCEEAXYlpyl5Z4XAJAlG40FzC6F9CWZyZhphb95RPOKmzVGBny/XFfIQpVGw4T+TdDuWp5K0nCgGAuQ76OmGdeBC63UNinXofMOxlNP5VNfyx1K+Xhe5AftSGqbwuuAlPu4421OmV0kqlqkzJBZkLNW8lUuiMnz7ssyGjpfsyoz3bpQEyMPavr+GP7fhgW8zkClO7/smxTSecDowg9OSsGGoON2E04T0XvmXtrIXusH8hBy5sRjomGeU1FkqaBH8iXMshqSHA8sVWshtyhYLFyE1LUVdiSNQXosNNjldSRV1ELnLOFJMsVwEyonqVlYKR0/yaLoGmw6TiLv8ubqzqVlo1opb8X4YkGCCAVk0ozQisSNtv0SMCbcWWxrHNy4cTvG6Z76r3aseYjt63DLNSDWP+HBV5HQH2b0UFCFDZD2Si4ZsFXZ7TnOlHlMnMqXrt1ohZZI5S0KhIgFp4/DvXzLnGs+HMQ3gNM2aivWX6ul+GEMQNM837RmbAkeokwdDVncEni3V4YgtV2azTi4ODLQUimvi5M3eQCd5qoOI/DZrfLucqwT4KjE3UPbO5lOaK64rzz9KKglUYWqg6749THR9uH9MoJNZqZ2EntH3Drr8ohjzIeBP+/sTKxMpttMNII4lI0bTtPN1uagmKsAJat6bkZvepkwPnVMeoGQxjz4CpcDHYK6yCUt+tajiqvbIz0q5KNpFyZInAeb8I0yAT7l/dfwueHuoxGWizEv5xnRQxi0W5o7PLLTRlSZpD1O0R8zwA48l7Ugl2mMVXUTP87kAAb6gy1G/vBZ4MOXkQJtqf4AF9NICNQ1EI1wOcIF6c7fDMqEdT94suLDRv1qAEOL7VCbxynuOmRQjT2dyMsxeASDNAISkizHbN4PQwIUaRDFQefaTcHIDr/EPrwC7VN1e4vNb/CdqDE7ZW1YWva+6MXx1Q8nKkr3z1KkRUpf2Nxdl2WSik0FKh3OQsqNnbgdb1IdA1fBKJBnCvxGbYqnXcV4BQCVM79zwZr6+oj36xo7pH+6r5DdRSc18D3rbJtzO4+7/pxsc6PVieCVzraP2jKyhp95FvfQfTjXyuF2x6vLvcQmJYWRiA8upcGgqXiANgePNHI1GybfX+P92chUSz26s/yoqSMuajbK+NGidExVpR4P7GJtvrnf491y4gR18XC+hAXZ8kjLMufPXFUK1peNF+A7M+xuDH3waz1CSoFtsy2vA/3jAY9zHBtG+AHoCd1hlk8XnPIP+BTaCWXYf52GJKuAhYWYh7a2egBZ4mbqfoa1rVaMwi7PXXZDTaiC1GUFtzEMkRBoTbvu49ER9PtKGzoVy0ZY31zSovRemsr72F64VcPfXGw1hZVsiKeM/n58Ed+nD4FgMuBPRaDZNgFiecyBddgPNzd0V0GyvXQenXPnnePj8VRhDgcxw8hPvvNKIj7qgCnfztu+/IzXVYpfHd+fSa4dJEFnnw3a+99CiRiCYhTwuP8350UxdKCkwcTKwM5nR5PebB4OhmGlQ6Pp1L0N3Ho7uU81Fl5ebJBf8yTeNI4Q7Hs0nSzmY2BpZ/+X4tdFRUTMtBPWash5ehhjq/0PB9sEO3aluI6jrB1zGb6UI+jsRNhM+HGYLYwFRtAdIbc87nL5EwEUFSovnhm8Jtnuld/o1y0n1yR4nnPanR289No6kk52EkNIVhBjCik/WRCGOlfnPxgP9/5Ecv+DRjYjFfY4HKJ0er2pzcoW2YF+mVCFJmbpj2mYgZniz00IN9truiZWsZMITpv8aayD3Zn0HKa1lJqPjszDWgvtxNmhpL1nU8h01Ospc8PKcaOTXCoAi5gzsZXvC4MX+Jiljnd/g0a3Qapc4xWPhg/a1fK0XZUt54sNHyzXD4PEUFdY0uyAoDU8tjt/qctFDYMyUPQDJetJjGmbLwPp+A8t+vxNytH6q83noPd4iZxLYv13FQMcA7ReaBI47Br0OIgWr859oIxs2jDpzDLf2zgZDkPYDN7U3GnVCOvAzth4qtf33KBUlG6hN7mBv29mW/ABwPESgSk6Ir0EVj48R0ie+4vabgQhVX+CQqmbEXTxpBHmYTz1gTnXtoXzbvDyHQxXt9HHTSTX53jzPLIaqlXKofKVxGmWXQR6VnS0LeN7rcTAorbuZN9Cr012RAxl2VXIry75tLcBZV9zMRKx02s4dfzIfy7ZimqRfZ+f7rN2BpQfG+ftkr4boXw5iuVArLdtBcHJ58lPgOVhK8kaOIzLSBx7R7K3WSILpdSNjOAlzs15zy39n5DKYKs5QTHcOBzCF/LFPr3k/1Jcq98nkBgyB99yvkcPA1HZmcmwjW+0c8SHmqMo+Cvo3ebRa3gpOHcAJSvlhDF/Q1hzaEL+nSwtgMQri1iTgK179Gvh9OyGkHHFluGVmF6R72VLYaU2XI7gwVskMQXokPxQTa6wW/AkRvOhybPt1eGSEztNJODpccrJ3YmpqVYBRVibpZqg8peizehZyu/rCtPBWABrvBdkN9WBSKLOlyQFpBG4Mxi8HhZ9HfrwA67TdewnjbAYTwm0Lmb6AkODovzw/vk90YHvv+ZURI3E4PERVOONfEs7E2hH9XCLLNwF7fvlObTB+9RvQRPpxTB30vvi+aKHbaGBHtmwK9X1DvgyRmUK6O1Do78WYHkwvxfR3XWSX1qm+UtrXBlf0nPRWp3HF4kzUy8kEeCZZmmyqK29Agl67aLFVyDNgv0YyI1XokBiYVa9yP7ytUn91Ce3lEdReyeTQw7zqJ31YaTorgYCJoDRDQPixONMSOv8u+o5jvR/qIBlgafhUdjFbOpkxzso1PrHc/Phgb5gFnqoSm+CXCqX78zQouhuwwQNGLsK/yt0nZgWoNTNRH2IGp3/PwiOy2xogV/3sciscskKn1wDwQV6tJ5qTzjnfg+G9/zM9U3rg27I7DAMbxVY4K5hQj9yquF4iGjfupRsh0WWDvH2saRFW46q5DA3HyADawMb+IjsusbAtpyA8cclYjTd+M5NquPvlw3lO+1yD0jsCdHhDDKmZm4ye5L3xVBVk3nzAtOaQK9aITjAOu8OdIibWjb20pDMfcvrwuPK+/J+k5TbyMc15kaBvrmXOD5RHuPigBY3Qj6L9jevcffYlgWqvjGtQLOuJ9whp3InA0Lq76LMyht3Mqq3u1XhaxmZOGjttH1m8RQpmEzzWnaBEvq50JzG8tHEygtmbd+Qpty8S0CwxmCvsOiFTlxcTiviP0iot5AcVtKveJldGyPbiaFphvi1SPykbShibxwJ7t9ofPKlg5h4eTYGF+9b9VI3lnY2ecHlqwYf4WD0E+5YHCaGv571JPAMNgPcGEIo9ZdBNdIyxAY2189o0T9eMOdy5cbXC1A3JoWagWCdDZWR7MWuNYD/Fa91GZhxRTsBfCGI1PeMB4Ax/v7w/quL+rDZhVJ9rhY6CcBUbGVQr5z9sTK0hdYiWws2y4UBVk+lgRAPQvvrQpgMfW2saU9907eMKNNtCjcx+aOQ5copiOFGXX2a/xJuavEe9Pvr5P87hV1HAgVLM77lD/ufIemlfDRU6qFaGuYLplKKw4rJHRy1M5LqCnN3oL+yVCORblye6xmOWG8ioHK2pO7iLPsVMZs+xz4w3YyESbuxk3FGQMFR0Ue2usmEwnurTsAY8zytl+l7faobmWKASysiRvtFL5RW0s9cKCB26QgLXqzJYvpdz45JRTzeScPKB7xR1fAKlvaomlputSYygaSctOGrVQzC7V3J7LcviHqQqnkTHsgjW4WeWtP0ggQNPhUlWwSI+z2ppBAKLuxDzk78vkXjCP04nOEvLd5PeQ9Fs6Ljtw0x7E/uQroyWbclXRknMzoTeq302hERnt5Bt6mhVahz4WMokhE5rLR+2YzQByMhmQCnJ0zFalfXH6kAw9FCah4qIEEt8vm0+5kBQpJs1luURR1uB+nI387RgZe00tS10s6pge/p79ui1vVqOCOUPn9uXpGbPIVfg+T9Ar6S0gGFAmXOl4AAmDkd0Wge4T8lO3pBpG2436QjFEGgBNZpZL1+sZM4vS2htygaVYoPgYvz5Z0tIvn4ZmWkzm2p9OPkFJSWw1w2bOb9GDUZoNoQeqzDurd7MLeuxOudclcdJgeVz8zp2miL6pa1fv9VWVriBoFdqPViC592g9JyBPRMnGYta7cxmmbD81mQWdTAyzN5dT1qgRblLX/WesYuIn/puJ40+fp2jwwHcVvqHUOIV48BY0V1JJ6WfAIjB0i16tEYXXLh2OO99U/LZqmeZZR0uczpPEr5HdchFaJOjWBH624KMibXrbuP2jZz8zVgucJBZGVBZ4RW1U+rHyFa4He5Bs7WWjMEtbFLDV5/U7UaQ3o3C0KtPUNLLC122NX/lgfunsKrZcv+solnKnBy94EAE+6QlleHy5Xukn5zLBjqq+zdM6bvbcVIrEgGIAyaxapACr3I/xtnh77FZYvVV0eLDUQnXefRZW+ylKTDWOW59dK+CjcW08ICydmm+H7HIObagQxVGEV/bhH2juv8O8LPDm6jADYT0XEdlc1Xdfv4FqF+HH76ZmXHPaMjoEPbs0ZKXMcUzV4cXUDlDuOsDPUfDVmlLoXneS1sVe1axzSw230dLUor1ll1neB9MUue3a7AWQkXKH7E87UYRJah0F6/+JDBxR2BZU8Ank62O6CmeMyGm2ckJkO6kNuJpDT0v4HUF7NIT4efL5W99ogpf50sgt+8IHkYt+YzIqy3gC3bS5MEMOlArY6+2O/+H2u9ATL0+OazewYjJQmdH8SrCi31flHu4UT13to6nER9GDhJAxzREOgHl//36HA+5FDIG4QYP1/O3LcRspl9vWxt6CRdFDhMcdd+KdyYkENdAO5UFiOoupry6sNEIqPTUEfMCjbkSju9Pxb2w0LwZizFxalFi/KCS+LMqAC/pHmIRRq7iFFIqLo2bX+Hhjj0EXR5xeeNjwRQjJx6m+Wok4f6GR8NSLG7LVtJwWFRWHdZ9mtE4h9QREMZoIg8Qn9vWYq9bOPHfda4g/A12LYMm3npDIRpMoz/UBQJJkvcPxLPnI09quBTDW8M7Qp6pbu0g3KAeBl06Ei+12T7Fr/UvAhAiJ24ZtHTKZJwaj6+ue1mbtN6FuLCl6z2L4HM+j8J2Va5MO7SjZJGe48b4dVl2ReQqGT3DXv0m3KgLh9sQ+0keD8W9SeAgPk2sYdqd5KRB+mrEIY+ND518aURvCBMj9Sj1+SC643Ihyl4kYGqMOMl+YsGqUAvYzBy0p3UsAYwGffti9wnY41Ycqayl8CGD71GfPRF3rrm7VaQPu4BondYqapo42PYouLWCQ6q/9rEMIl+jMVWknOPbXzpDSuJMO+IvqzpvNPms1F2/I/iTRKuk8FKL9dwPViLxCixxd/s+Dyyd5CS9a51rQYmNnPZ2oJcC/AdAdeBcGY1gbTyKR7h0r6oI4vTWykpk289bCHWTqbA+uzxA0bLLY1QCzDO3vXlOdOhOC//Qc4Eh8rOmZJGW4ArYOpQb8xEC6F+nfSirs5QJgeD9YIpkyLZchSuUvSCp4+9j0AcDgwoQ/V5Dd4EwGC94gECTqgF/jKHd6ug9zwdXCo8T0WX3oreTSLMa/w6+fmJA0wiNIgvyiB+E7oJBVOIb4AuZxpt2bxkWqnk6JViQPqrISYfxd5ni26WKgrkSFdEqFB/KgIM+PPR75KLHYcd5HwlIM6t5AkqTw88PwGsTtPSytd2ZOrANwZ59ZkPHBtTyNU5jFPl/0yn0J/Tabo6Uzgy0AiB/CI0CDmE4fHWUMJ88LX9K3IicDaiORnIbtiQf74BWS+C+v7aGjfRIpgNC5XUgWNG0iPEWzJUqEi9/ked/Rb6LaZQ1+HPzDVZ/K6nWSqvp+VVuq43q0/A0fif3r/vk0Z/wQzLzOEFLqmJXFbnYyB2XPLafgiWej1vQQQEvRWORxn4/BKvlF8mDy03H9WoK2Ex8WMidRGBcJsW8Ol4DTC6DUc1lsNf8h/RwMUgQc7KLmWQ/WDP+NXcE0joUJODkSpJKBW/GGWmH/b/89riSAIzbO/ZrQRU7fa//FETg6CFOmBGFR75X1H5QR3r/W13TGXdW9XH+B76UC2DbQfjEC6FECf+IiYScdSCXfc3YBpJf6XghcMgMyib36bBCDsnSK1ncSPtXwVSOq03pwrGmgAJvfjlbVGoWnG9RVV74c/otYxHTfIXph2BeZeRkqmThi+HsMaAWQjc85fsWrj8Y1rYyaU6YdytbClccw5cDtDUrkOUF1ZA96zooJW5kM0UVkAvVy0rZMUc3Gw9OtOR+fA5AB13DvdEhAVmKmeh/9a0D6XYI5u2BM9wLpmvUqDw0tOBNW9uvy/lHbjk1Gw16b3ECGbRQZ/M+7zKvOFN1BHoi0b5Mg6zr1M1mxQcVHAbB3qYxVWyQ5s2X67wBypW1MbdQSMv/najnKzmjv2tkKhCy0G/0XOnG3v/psn6M+a2IUJMwhcMP4o5LpeBobPfKmtMNgXqul2Dg7qz+C+OKMHTnUwF8Vdv19YrX5H2GuV7cIY18D/QlNy5olVd2r+5jWDydOzTUPjqLK1J0Bi41U9b+Ac7gWztCNH/FkpMOemvBe7aq8AdZ3Nru/rmllMHuMOxvBkd3hBuLKp+MXhlYStAw6wjxD+AqEA7QV/bOfsJ9OdudFPbLM8TFnskkCHVttE6ivOmDLE9xQk+Mxp0gy1tLpQF7gzQ5TPVgNwTVXj374TW+SnbeuOmSf7X8ZiCWpJPN5VZnfD1cLJ7zbRkWeLuxWsQ/qiZjdUpdu/VRNQU80Uhw+ChOeRDVgJ8MUyPPfIAuSCNmIsiEU5VHF+oK/HRHIEQbz5s9rTdhilabq+MlDvNKAtYPbFYqf+pl43YWnOKVMZUXmxhUJYXk0TjtIVBFkYyYMcUk6af1oEVZfjnX6r8tLQba/z0gQ4Cwr7cEHEq2yazGk60gYoL6qCtEBdxkurtoDBGxgUcUlaGpwrB1Qlp5KbO4kF9d8yo3khFs6LA5T0MD7VJDKIKQOavMz1dpNTC8mHLjJmKQrZm6IVJO1vpVRloJh0i2oYA+t+T1mvXGognEChVJMTqrskl5UWnWx3E4zWqnTDh0yveA7NWrUanuN/orUU3Ek6wfHH2NPugqUlK6Vd8LiAoyokvvZ8Q4P1UxN7k9eOAvXWP5651WimRvKZ3s0vADNAczc/bIu5LrwpsMMfSeaLlB0+eHWzyzwD19P0ggIG53pmZl5bGhJNZq3wVBftCXxMIyHjZtLXDwvhkhRhHUXUyTFFgo70DZIM3MzRNn7kZDBAPQVcYOIPysCvr2gOYPkSnELLJD7lmTUWxZJGvyiNr2X9oS1HcdM868b1m4Tmn3qKT66t5mPprwVas1q7Gf2wTfD17mqGQ4aSexO0QaM0i+l2q/3mbPHcisBGH1NZbVgIH6YcGQRFCSAruQ4zb2f1BOXN/yUfUTFVccnNll3G4xCPFDjtHogOBFHQ5RyTznMGWqkGNGA/Iww+TDU1hR7z89ASZLCQw5CxL+X/gbWotkh/ROjLUGxzkPN8BcRhAC32354mq6YfCbxmJ9dmlv2Lb0h5TkWHi8jqAC+3+nSX7QnT26xnaixAUTV3Wgcdrmsjjwd9U3VyqYvuxgggHh6Bxc9O1lTuVIW76Gb9OIUpBwW0zNtXCJyIK5C7sDsN6V8PzRYyqM81P5o9hsjTY1+d9Ai4V/vQ9wLhQkHF2Utue4nmJqx/sXlySicMRINJ25+DX+cin4+VX9wLnx8PXPy8CKRjV017mrt/SJV+YbSfLcJdqpYqnRR0uJI1nMWhXfP2LBffvYfKOf37ifwNcUBEHG7Y9wfb43kI0KMxtHCpHkoe5QyNJqNilOwi9fYPvGDd39LUY5/Wiq0lM4ZFRfHS1+bKoiuMM2IhqnKPrrc6vnCQr4f7j2zU+vIpYM1bXFCDglIk8lLVn1LjjGXZ3WIXFrO5y9gjHNSQP58xeQHohNHWIw34ntBnB0wxCWc24q2u2uTx5AEHhFdeM4CeEq74KwO6z5RrGNMuPv9fIcGzIeZYDvzncJ1HNBwzU1VyQKbWE7v/tARkINi/cs9zdNQLFREqQBIcBMrG3txTrWEWJaWMEMeK/zkAZD94Kp1OGp3MLO1dlmx/GkQPJoIZ/av3kYEUT7+jMUUm35JXOxlI8vYPpdBx4uHd7yVYt8ffX8u8O4GuK1xIeidplEG5lte0ODft8mt77xAnL/5q3Y1pt66kVY27bwbW7ahbl+XWyLJFijNUB6FTV9UdDGidMQNa4wmDflfucqcnkEckbP6/cOaDjfFQj9mB7SbG1Ad8qu7hBTxSIvOy6fdeCQxZ4mZiWPNUkYf5v08vXrOsQ7lzT0mUMuNNJJZ+55/OZ2cU+zofbdcctctCXKNWPqLnmho3bZpJtvlwuAaEkMEIBJyb7zjTz45+yuOCxWArdUbKNUQrTUsv6d8hj1pqZdFhIcm3IJAc9HnFrVtuBE78w+98AjRLhyNQ25ZhdGUJkFUttiLlaLF25gX+mPRBLUkIKdxmoigzG5vDLzZOVZ5qRqnjaMd8ZQAbUZqe1hidqx1vAfV+GocYe3J78/UEiaOCoZB/vZ0yrJJ5Cpd5i4Nd9gaByyuf7knf8wQnn9IJQgIWQ00SifCkDoAwpN+uZG7wkjdtDgvZ9/mqiCHWQu0W3FnXJJI7vy00ddQnhpiWhD8Hohbd/fCIIpL5YFUFWydD7V8H6SHNXSox88n6Qw3Z60czkDvxS1KFxQo9QRw+3cS829ib2te0YIUNee2yoGNrLr9nlVDFbnoT1L6wajEp26fLcUnasGOxXLXZPQ8Lnmb81Ck8DdMQPfy+vafT2jGPOIQzYy0sgrtQ2zJ4h9Eu5o4t+snK2a+jbQ906Pm987NTfAkGC9C72KdznTacPRUEbqCM5vTLptRqcPh6pRUWf9c1G1++FbdtyJJ6pzD3QScM9Dqnwxhm/iGysdaNCB9EU8WJ7TbsYv/DCAr0buCOhrXhUHZjgRqoWyij6bMSBPA0rV4xSbQg5lqSTtHMjmYI2vTVgy2esf8QNBYtmU9eDQH7rLbz2YvCCg8N0XqNgm6rSGlIO/u/gV1+tClJhWlASdntEG9o295tesuESt6MXDHAdwQh2hsHLaaeqmAc1FzeM7QMBg+RxaDItuYo1jALnXWJiEaZfezBNlhOWiIsMAhvcvoZEAgDLMhrrRLmMcW+Li3NZjhUC0tbyYtvsp0qZXi9RnTGxJq7TosSoK44CBZ13OPpyzGHbzPpGnLAvhMHK/SUJ4NA/tJgeGSk4ff52QMcBJL/QFsmz7yTOmiJtNO4Er7DvdDIdc0x+llDHrezhnoaAtK3+c/IvBz++Huy4eJpZOXuHFU5OY3PUc7gdXRKkhQ6Ln5SMpfLpHYBheZ5/9+IAGNrVHqZeK+ctaOxZQ0HKjWbsxUK1gYLROB2/BC1/wpGS3LEFmw/Mpg/8GTsjZpPtgup2nCRNk49XRros8fTC/6aupefqysqQVtZTZgeLptFosO998mmo3k9eouLkBON0KW8nDUMGE5vh/rGRVh6ovJ0KfEH/fIs1WZHGpP3NMqWYCQRZWAtDBNj3AW0aOicdhCbTH364QtRmf0DGOCj4iYTCluh9o/e/2+NCD8UiETWM48wmzUr5vB8KHT2aAdyyVWUXmP1IubRujaj2Sd6Vl1Ytj0YXq17uMnXu9FDPaJWdvggoB5U1tru1/lhVHa+K56TCfCyEWUBeQHnhuP1ifNvp5XZ6a0sh7Ku5I+E2oF4wzhyCjbHe/DaiDjdxT3MP+drlezpeFHB9qkL1Be73NlW+1TQb4fEAKPrTNZViwjxH0aR1rzdToZsRfSi/nVY/2kDCiNbnJfgrFysuL4zJhgVf4SG2QDjYPlEUs5dpO5VrikuRuL0Q6PxfaWwQW8/8P12rWC4V0qmb+NOX4TDdVZW5NRhy4GRwY5KzE8YaGNTvZJGoHMugdn5eBWIDUPPEFgAr1jYlNfgqXRWR0hSdueAlH31NjPRXDVCXoRdlslTHE90M3FjwDlcREhU0t0JXr938k2h8V8gcUuUgK/i+BWa1oG5UpugheULTQpXPRI2dQ+xa1UqwpK3MnAw8Ml8x9axB99nLLquxFQvdH+Tof78F6hAOY+56Ow9vWQwmYL7RK8kT5NfN5ofyLFqL//MEJ9j+uy1hvPmCZ1w6A0eU397pYlZ7KV5JHHzuyCUGyDpwIG2bzYbgt2AH2a6DvMd8ul3AjL25P/Ol0Au0W53KD028yIZhoZkmgXUKbHxS+khvcw7/2q2eqO3FrlnKuBNEk3COcA/re7LzjDDgmBSGxozphyZjtpTFFy4DBguH0XDFA6SoyYillUl1LhfvCHQsz6QaAuVKg7MCAXb3zOYQCigIxwpL+hhXtSJXqgNPpdJi9P3qt3zQc714n1pRbnaWZzAvPuAzX+yg4aLEqdTVR54Gyf1my8aEvk+l7s2kuVHLyPFiddxWvI6WUe0qvJd8ANuqg+qEtX5e7xEjB/5by79nzOBpOh++yLyAwXs5wxd+hOxrTp1oWSlfsJkjXMC6cqwN8ddzp6CyLNoBCW9d+8NR8ENH8Mp7kXoYBZ30Cr92UQ00qVmDYjPTlKyk9z/UX19ATnPn8Vzk3WanIs8Ib53UcKDrlza3bhgpTKDAp0trTVgwgoA45lk/t2okKWlWdMz6jABe1keqydcjlkYo/QU2fmCmGuTwOzNagxe1UuBa56ZHScdtpB5F1/eG8kAbSTbIXOuN84kSkA2WMiI2zirQLZh1ml4KgTONgJwzGV6QduA6KP1LLvxQVVSrVePt3zZn+JkJ49CIhT66LmLEfUP/RDQq03umwPl1lhoUpYGGt9RjM4BUz5huveVC9UJGdUw+jL7Appjm8fKms5zHwvKfiySEhO62czUby3hzewfYBB5MRY1Ub1v001kfBq6Grnr/J10hTrUIOMUSr1PpZiv+F/+HI7fnb+S02joV2mOl8sBouw1lyMaXoYvp4CTh10u+IRJIUAi6JKCKRphq/8z1Pvqfc8ogiMrxjaBAUZDADSH8n2J0zsgsod+GC36veKvHxDEt+zqJ5M41A1Z4YDLw3sCYDMXxlrCBs8qj6rl+rTovJjD/2oK/iKu5qHzbWVSg8Vk7SUK9BjGmmJb6afuIm/s0oQH+4cUW4Px/QyJ7E0UbOSzcOnwL/UTMpleoOvuK1GuvsVY9Wo82li/R0nOlEXJD6p5Zv8UhP2M/rdLhBmEKuxtM9S3BsmfqFdNpYLe57jAoN3JUGfdThTYTN3jOSBbUBQpUoGNBJT/JMKc/tW4sGVr1ZzYaG4M2WmbExdECo2kusvfPQHglsXM4u0J2nKravGBxbwhZ8zSSp8pO09K7EAtF77ZHtzl38NUq8o7yx2wrMVDmoI9dCjGGq5WmlN49wOTAiw9YzxPS0pjixs5w4VOtwlCgEg0lXCg2cRM+hTs1FmTaGBpmGCR714CHvy0d9/Xt7zEHW14OgmLIxjTzqAXvCxilDscflAUbbeB4vrOSjrDfba7qe/24CjwN1XrlZdeDFDwDmrqgWIPo9cEe2+QZHU00StjX9azlU+MPlVqoEUuSdzun/tP00NomfAF8oaWvYonxU+8pqjW75LgtnGWJUBL5T8eTPaxR0k0G+OxuPCT/c2wxT39hoUzOhsIr3ejTLq4PjbGgVXYReGqjf7LmCjib1lezSgn000kyB9D67K0zhr4ltxosFbSC8zQF6HTsu2kH4KRIW8LDchBQd4ihujnGIopcFKiDRCaBnhMqBPBMOEcgdRgSmPGiYZCp+Lrfq5zgjhVLit8IqlUhpjnVnUA39GncOPyJnTtFE02AS4pUMunXqY9nqF2ZPy5CoKiXdqBh5CvZuBiWQBZCncORCu7vrn9jm8cGjEK4ed9brxjxqlwzLgCCQMsXk4NuvrAHeECEWWr3JIGUBAbrSMevGdQxUAtmz3Ld/s3FzybB010/PMi9LI59jQ/qWzU52Yo+RdcWkhTE8FPpbMPiHFlOEn5QZIghxhU0al/oFOQxYIWtU4LEEUz4hpfYzMz8NrGWWPqzype8SmOiZzzmB+FloM9/AIGjVqxdfEM/asq0Poc6GqyJXxJwIU7OUaWfBLuq03F5bvXEJnY06G9uCkffUFl+OuHGQTtmIXgFn0Af3vabekGi9o8dQXcWBcicPsnTb+ypIX7euHm1wIEIdYYO46FaDwOgmYePS1L65pdWDe/mpaHNl0bM2q5Q/Vg5r1+mEazdrebXystgDwy4Btm2bSHFs/fpi6ds+yARP5NTBBocnuasGyYUkv6Aaz3auHRFXIAiF3OjtIV08nsfpkuO/eZmMWrBC+nGyvZd9Oq48lrH7zEzxdEJBQh0vAEOtaeVJxwLk752Zqf+ZlvFHhD83CV6zFSAOfLZblEiUdp3uQFGy4+NAuEoI22npiX6p7vZur2ytsSbCdsKu128MmxKSF2J1wGUd6nRsMMf6dExf4tL/NAvTEdWEJ5+UI3piXG4fSqiZBXe1hoU3pDX6oBJSq6MwEYNMrna2OsiHh+3lr81rpoJSGzh1Pc1LL+5XHBeXHI3Ty76U9JsyKb6kDBQggDVmmVMNXe/1Q1S2ZppXeWPgmKbyahOVBEa843MFfOkhh9qUuFJg9tCgxXw3ixX78extIpdqA68jNbOpYqTBYH5oZOWoheOKnq17iqEyJqcHLodkXmszL8G6PB3gTkkQMuuvFuHFALaoMmhJ7cS2O2QAyeC8ngBJ6xAH2zCunYXET5bOIrToUYfkcqBsBOcJu5Fd4al8V3vUSQ6barDD1DMP3qNTwb/w5uoVLv//7FkQDRVQBie1VYqqUL7jq1t3jwBJV0EpjDcuuh6etBNOokErCEyoMNWGO0itgsoyFr9/SAv0rwXsca7Q6v3z01cmLypNOEcXAZsrr38TN+FkyryZUlz5MtSCQnzaDBGAs3eTFlutFSumWXhdNNg+dPvvmoKZGMYo3K4LPk5R9v3X438k3QYohQVKSg2Atfty0hBqoVwC1MRy66Q5MN8dWvNktMkP8FXfag999Ef807DWFuteTPy0youeYBkOwg7+ZdB7WmgOjhBumTxFnLEX6WBwLj74y/tGRd2FWGVctcplWlT/09e2SoH/aHWnMC/YVzMbkGgx6CAoq53X/dMlJuTiZvXRKBARg7O1u1kr/Y4uaYtMBIuBDIG0GESJ0axnPaW3WRURQhv19lGSzp8aLeghH9nzmTK4ybpSUBwemrBBUpiBdQxaWeU9nCCu2VTum0Zm+g9h1LHA72mrR9vW7GeL93U26FwlfBbaKOpTQtFqO1jhXejUWX0nfBGtyUbG2kwxAj+m2BH7PnMinRPy4/yFTqQU9wvslSyzAq7EyDb8EB/GgfeQFj/8hyf4Z8OkLf5AoV1t2nARiaMS4sDjAcUeduTCwgAvFeV+m+/tyVIp3Z9QnX2uxa+RFo6oNmuaMib0nMvLC+y4AHQr4wy2VcpV7RDB51cltNq70h3KMFZPhPNrnEe8MmRFyf3Q+Cc8CYdfl7TCdzYNwxhIW7Mm8m6Ohs3q9DdMJEoAF0mQolGj9h3Ag916SFHGqF6orCZ6aVFTzN4Iqw2F1PkanGfu3JNBKMTEdQokCnFzBFR4yRw6Pzix5q22e2jQKqKeqN/aYfwyvN8VfsJGEzA12twj6zhxb1g45dPiczsZFg4mUDo8AjMipOyy/lnIqRE9k5Zb2BSaqLBr3cnQnfp63t8KhIlVVkltkMKVJZAvCHKWrMfsukaNTME3jnI3VtTvY2Lmq3olxC/GCH/dAINUb1uiGAVH6oMO/AENllUL8fijYTSroZpzL79vbJLmjL8DGejdsiscFxbU5P/PGrgYafrpiBAcz70VNw4u1T/D32nJKd2AwFR1qefCofAcpcp0TLIWGrQW+0uAbgtGT99wHsNjBfZDevUVSEK7KLi6vyAkaK8JGBYervSBUlroHZBd9M54rc2aJIlRUAnNfU7De0yZn3RxOahA9NkhiQYDQKCc8Gdq5YqFNj9Np/pgyMkwEbJYgr2XeConumVKXaloSmh0Xfk7FiWzbOMKYPfrE/ee4yZdGP9B5MEGa74mF4BlGF5lZWGPbFDdZRiUxb2zPA13Df7RYG4pV7Sv8aaPIgPpnLgWxG6yWHde2CX0ZP163JSBwpdpowtdv7Gn+rHt2kt4OetWAAW4GINrFVNecqeNl8AKp/cPOSJ/PrWOZYVeeM4TVvw5waZCN5YCd6CFZEEvAUjEXRe5aRFSA3Av6NfU/JLOnPb/XGs4zwZZ0HJ9oPJ2jLaaRf9xkPXA360tgfzKD83+FjlqsKDMRxY4DR4HjM+riz6o3wv8cWSUVC5jl5t3/6boAAXBSHt+2Ghz91E0JH4BGpaEi1Wbr189yxdC/q1drZfrXa+0JQIqk43rpgEMyGpbXkb75zICi5xNUhiCtAwUvzlnWqNCrshtSyYU5rzRW0O1YCHlmGgDlGjx/nawl/EX1kJ4hBR8ULbFYO0TL5vF6mc5uGXmrp/ZH67Bqb+w3rF8hcVxHv5pIsPlOFIv7sIX78Wx0u3MCAvIW5WDq/cGctUbf2avvsV/OWLf6j8G23sYlYTpRTcClZuOpSzalZ1/vUOqk+Ryya9qqxzFEAvSvSXAi/PiKEPKN1IJEpKGd0jQgn7GM/NwR8yo2mcji4jYQ/h8exSe8ZMmDX6g/lBXb5+Kz8lMabzZ4kSgNoQVYB83uUp0r/gBX4DG1z/yUQNEXLQKbQj8OWLOKBeVjgWyJE0/xcY9lliVJYRXnVnBH7eAVIa8feS+2gZHQbSRTx554jPJpUisTEDj9Vw0Pz1z2KGYP4TUkL91MPllfIIJIQS33pzU8QNhhv3N0mAkoGTluPcswnx3C15saOK1Hvut2e7k2LUnSfc2TMwCWARIfLda7fdDQ7ZCh1FIOUn8yAe2oYi8DRjWjvOIEhPu0xhaZo1tYpb09GLtePWcy+HcqRSFr7YAsvYUugfijNrVII46xwUqfXPTy0gAe+a5lkRs3aebh0XboYUORFpCnWEUge44nDLEa6DIdJsQPJq+2fISn7QTRkOm/Ztmz7ZzFbE5Ea4Oqi/FWMw6RADVoI6dwW69zYnc1uHX7yWJI5VkTsLfopME+LrRQqfMh/dYRWPLraKJycPo92vXzdhCpQsX9X78gmduSXkDVP3BuJo9TnNagxBha9MwgpZIkVb2BEi/Y4AYhoLrfoYuZhEn2l2fCbI4KdzLROuWfDheLkvzPLINyKX25NwPadAqzhMv/sgBkBd7s+r/7pjlFDeLB2+20l9Wl1BxrRFtYiHhGZQrIvGtR6fwew68kjd8JUFficMPoAvWbmlyH+XMwSvYZ/N4bGkieQryJWKJbX53PtpRUyGW83iRZDStTlnJ2PKrlh6yjxAsp7O2pau6sh2nmdl4hCA3YVeCGmmtsH+K76o9ubV1tBN6Fbbv6BJtHxZokcMJdFDtxKOf1z1D2Zi1HR5AqzgeTU6Kg0xGWjXSmZIeEHiDZmYmBtcXm9v3i6IdzzOXuuzz0z1YKTRzQ0NHHkRL6Bf8duqIzyemLJk5oAE/zTbb4Y+hnGvdG9PzTalAyFThtz2GEV1kHjcVhefCTEW7MdTNmxtgwyZ0NHX2znubFXeN8WfBvUZzC1fZUAeYH3U7nUvncPazdVNyDdEGf+APTULb7qmKdGzzmVHFGWILn+L+0HnB2Zy267vzu8ySB+0q9MAOf2Ac+0gQsZBp7Ycymq2JPXQBosdtWbVoVrlY1TA9dHikFWLJDzaNznSc55ERxN4NuxkSzf96zwUbTmwwDdNt2tq1HAAN4aBquqHvdpYHAMEqknvv1uu2RtSNpdlXOixpp1Gyp6MD9KVIMMZ+5IZbQMna1iq7f+FVV1fiuSl7IgtAxfcl22+PQdw4QWVUguMa/zAqWr3fBoRms9QcfkoxinPTG2f9LJdoub8hThSlEmGHebtwxUILQ14DqztuOIolsIgPXla6hDTfEjs3dTgqtU6yyxJ966EjCxzHvD5QY5fM65tFLv2SJJs1oEPzl5cH8d04P+a62GgT22CMnK+fQlqDTrNi3IoKMkuuVfjJR8H/mUicm+YRk32yVinf4TEaUEJPxQCl7L8hMCzWKZklXz6NConeX+Kot9LwmohbBLuYvw7Pxrt9OmOtClxtaAWFrDe+YytnbZ2xWp11w4cBmoL6qlD9DzoyWLlqSAArlEkYQSrCRnoSDDCUEHmtoxf//qdLfR2m+AEr6mI4NIERwADDyA8jzROdD+ykVit2X/bodx7ibEUiTFa4W6pBR/kpY45y8IN0xpESGp2e+lJnOXfYCIDUvJOiW90H6h9NX9c4LTnFPxLeLHytRaUG8G3eaQEgETXiRqghWJ0iHiSyzjwlvyqonVNBR53bOQyiedaXPNwWCZDNV/7xBePK9IoXEotOD4Ij2aUqRKN0dAnPJg1+SaMn+uX9f8bzmIQLaUIR9z6iDGQXmB9y7WVdwuuPKEAUEAOgatILV1ji8pbpTOMTkkC/ONXGd0sLMDp45MOdCSCja6tXi9XlSfMlSm/Cb/ic8Rsm8MJgqa75edYtVA4HN3uL1qSz9nEQjmqe3Ns/1P5IPAJbvAotep9dNKd/6Q/7/oYjTIjSd9tXDL5iG/hLYkwOEzCEdjuHIYe4Y+k90NTiosvYC28RnP/rstXAsSLs0lEhUboq6xlnMKXK3yi39PrG3Hq0RCIlTxaolW6PRUa8Aeouffk+6nSQ3jiwk46RY9k6xNql+LjYPdQeFNojN2IvDNo2cTc10fpl1tUmVK+hoiiFSw8P4zv6Z0Poh8sGhRj7qCymZBAX/cmRjSjaRbsBxf+yK5AuUQlP9ulXptDVitD0KtaMIUVAbTBawxKY0i/o9Dy/2dT33YwWE9XHFrOn7jMgA+y1a9RRZqglqHHDiEp7ryqopPSTGviuO2xWP+3Jaf48Tnww91WZjrx0Gb7+5PrcLmT9kXFbKeAp4/A8fK8SwDwZNflDtSSKYeyiHno1+luGBBeRRpYkuVvqpwXLuoGc/57Qmm3QPdHb/GuT72J3QFSNY4V6GRU0O4bAgmhY93MZJqDQOFgjEuP5CtRHoZwZNruExsqm6COu49uiLICxqWB9wKwUhU4oXSmAgUSlO/nEqVfCJzOoLyjcueChpD/MCPKiSyyPDkzzq+jOUkMwrRM9w96/wyI7vyCeEcQBGNqHA2LGqhIu/D1m68791x9+TO4P37mQmBRMyTaJ2mYf8qsVzaktlUrZqid6pbe70oVqi2hJwQmn/OC6Ov0nVubMK2Xl1/CmRApqd41BQbdTNRtbHTxTaEU70wHk5KYNnebVqJ+EhfT5bkel1oPSBGo6FFHb8KjFZgnB/O1HATqmH9pzUUq1nuepe98+QLeUlX7QgLSBydL8cU3Ep6/3pJHPVSxS6fXJvIWA0GaGHQeN4mLA3vW/o7otMC+emYos1xlt4KdbHYzwHqvldBB2P3s9+XkgWXU58NbFjH8J60qYE9FbMAx5j9tGPUNO9oxbhWSHqQteQmGfC/2jsbmNTpOSopayM5fhhhT38HXK6KXBJ9wivNoofix9ogtfTDCOIBWKDl0fW5Xj5/LDc5VdDLFv8zAYzfkVD58qvwIxIwbGss0uUHBbex+SCvbw4PjRXGCwX253Ewqe7fjiiJ9oIMvJTXXeWR5Uucx2x9fAe+mrPiIpLZCsfwJTn8CHJWRoJDA8Mqm6ilN+3M/EmCd0kjuxzeG/xKKgUAnXQkyaZdSF9s1xB/PKnQ9vwoeYmqP17o1cLFckHqmTYOxtkmGP/vBo8yNjGoFU/i020GgHlQmj8HZO8nHJVDlYETsxA5eNnCGhKv5iWbtfP2Q5pdMWFWMV/2SWb8UUXnAGHH60glMzmgklaqzng3RJt1X9emOopnQYvYYaIwTeV8Fy/lpjhFvK7uJ6p8etgxMKmT4Y7JEVbA+loTnWqRydwmFjbqnFCr1C1jeOzsLO0Go4VelOKBQ/hLRNoamfDHCVtEbZdo4tkGabLDrHNiy7pG2B4OcbJtn5cd0hFOAUYtt5gK16uevBImVtt6ByoMGcYjRSgplR4UsZB1XBst8LMmXWy9Y0fWfP97X8M34c84A4OKWvrDTOA5xRebj/tOYZYIR77EjC/OQ5mkyers5zPSiDmwBMXKoaBU8H+e9A9L0HnIGvfvgAxHcoFTbW5bUGejjziTqUpJnosMdGhbNWBaybkYiZpqbTdChcjhnEdB1O5bfp5BRAoRGq20T5jsdvSbr4vtHxZHEM0fYWtiJDErmUrwFg+XTY3vxpv7Sax23dKk/Tr8rUMxbOSTyDvlAEPM+QXuP7nw9qImFNgjFYFUos3XCueVILNQDtMpwou7Z3xqyrzcE6IU9UnkPhq2zjq7GGmWl9rsq2x1t82wIkC1ugOzLoqFzk8VuH+tjNTite8F7NaWNX1WNadqXbsklFu+ZxuDFigocFLoo2YWnJp4Pc2IkMW0x1zr/BxNsfD0k6vsINXB8g7qt7l3HkxECpFVVf1z6ZtuN1CK6wR9AqxvzHDXB9+6Nmm1idGqBMz3MbpveecaA9KdkJZTj38o8enIi4D/iqqWu2PJaNQXw0WnPmWvc2BCl09KSmc9pEJuCtCjlsCWVacZ+G/0X4y3yIsotrp95zHbXfIM2boO5YBwZ64sIPs3TgJ6myZTtOGBebgpgbSu31W5/Eu0uFVBW4uC3ZHluZ8POsz/zFMjl1YpszSDFHdiFclmdvAzHYsoVQV5aZIy2iThs8cXbjVaHdetNpRvY9eZ30DcPG+RKvBurXK59RHfJc14FuGI8WKe9GeHzyVqHv2WGGLesl322DZabvIO56FY5tc/ejEc9T891gtsa7QkpFg4nxvlgJno1Bch8KEWdysyFUqmIJ8jXPDYscbdAqswPlVKUxW3CmQ8LGVPMne2l5vXbwBKu7BJ7SRGZA8oY/+3vAecfQmxENtQp3kq1cH2rdqa9XsLoz/a8tXaA3hk6Rxc3gsMagg3W12Sa/Vu3fpvJiFi0gYUo+7TcVMgvUjnJqn9xR+1xHO3yngxVR1qEvW7jXgSrQfloVHRt9+tVtXH7YrkMr/a8OHxXFePqSLor8jETwAwJcu0tc+vcsBjNYzrE7plzhsPmUZlhsTDdxaYM5NfK8j7v939AoQlJeiz3DCD3GMTYbxL7uwPN3o74XU2bUdyaEnbqkEQxsPgJR1W9g4ahsWLCqpzQKnGI2rO/oZ1uNkkaXo6qk3mBRUy1OYTPQ6Z5Zk8NUQb4GFlfaSJPA7Tbo6BPT+g3IcMnEyfUlnt7r3JvbaZZ4wF2tyM5RTr2SpH9qhnbPxANlDV/ok/vpWLWiY3QoWxk9bOVfZghmB4OrOxByPRdZb6+br6RvYshK0qyiXxh34iTgv93dkuNHfh4wFSUSJfLYRqlkRaSfTI2vvYBqmxo8Ck/gRefOtayPl55T6aTTcNAJPc1CYHn4/gC3wy18+B4nlnMnQ0rI3W0W/lcEKFSYwuOeJk0XzdaBDANMeaSGf2pnsApPLxPBemFeh3OAAiEwf1HjKLGhltWTHmbwzHIdxzQuODx/wl9E2sR3SfvBk5gF2Q7XF6rwOGwaeYfMQF1gF4TtxtsW0NVVUzyUkTZZvcu76VTs4dLZ3j5VlINJxyen3qzkjsMeb8pz+0H+JmEGaRvRkfyuKjvGbqIDKn1blScl0Qs28IkuSnPMMREFLpBfI3O4G1S/LPlxishuxJLS592QEC2R8WZ1bekLNtLUc/sATBjN65f0F1wNck2R7sdj7OGj/usyYTQ3ctnbMwvWEXZFcbVhHYJCO3SAY2n1S1delJDwKTXkv9yW7ziv5nTPtbKQO+3j51dFiwUQIx2C/DxlHxBozaOXHp1Q/Yha6WVFXpr7BEgnudNi0EEvjOTCxJl8CN3TVqCca0Q+I8ASd9RWRoKxWrbVH3HtylF6JAOp3+MkzpDdOoaelheCm8DLHG2JwIDiK3F2Hzr1NfBg5viuiV4fBKFs54gf01AZugisCtpg5ghXrJv7OQ3ROemD1Cm/nm5UZuCnnLhxCEsi7k87cEb1iBAPSj8K3xuWWi/fknZyZa/2uYtR0ZmdHLmbQNOthV+kE47Ab5iIvSKmWOLk0ZWfwsaTPJJWWM8GcjAv4BIXyIL/PuxbLFafZUxUzswGS++OhvNiDy37nZpCAi/QVRotlb4wMEcNEoi70pX3fwKsKm4ZWuDI9emnbS2S+hs0JkHWmuNWKbQlKxtYn+EZmrcBwe9Z5OucmjKZssjmftKc616plddCsgnrF4fGuGqqu9RSQljiAAtGoVVJa8A1gBFm/YHLgd8vCQ53Kl1HvcogmP8YNG3MMnXl211hpDZTpQYFELOexlNcxhWrGrlZYr0C7WuIB3cyTYnD4rAugpv6qxWdGJrIS75i1vEAUub+QmVufozjEkYZd+29r4PoBygnrR95WJBfWbF0/iKMfH6hwSOTBfkQuDyzdQROri+EUPYlcu9r+91qg4sLV2U0z0ZjGAuLKRAiOlVnMJbZng7DvZq4CdoZFWcZ0+ozTE/nbGQPbUZfAzr66wt/FTqpUV2Hbf4LBeIa9kv16OKNd65LfbKJMXn8huuhuG8VNhNkv6gNep26LnxQRgtbeq0Bt9BHTizER9qqlpwq89VSBYi8+0TFBESv+ryuRuZJaPwfNnAz5BbGD0LtxNoGYiIAimRJG/dirWws+SWbQpiATaUvnFmBLlG8eMNRdbuoGhKhxJ7XPR4BV4nUCJI5+34KDq7D8EboT/JJM5l2GWxsbWuahlrnDak/qjfNjiu19Ep/FRk8dQ86IGNd6X2DO8Lgdr8rS8yHHFEyhUmWDXpGiny+33k/yjP/3BhWMIoW+YYV9+xh/EiEPrLN2Nuu1kq7s7M5zWPpUmeqxXjXZJQYwQXp3jKm+1x0t9OZ5gNLx/ulr9l3yK+j3CpSVvIbtzl7ndkvYJGcVFbkZJHNlSAwqmGarC5Pt55nFw98xKMd3byOoDtVotCPEcaHXxqNBTUCj6SPtXSZt7eP+XmNtvI2UxN6wzXopxI4bkgztcBWayhuDm8x2cszeib49nXN4s2gmqkZ490Wz/7IA2iDiELGwl+qpOTIGdSrx6Vve76FTS1frk+1bNu02G5OLFeNyiapPind3gL9/zqZqH3VbhqjwkqXoLrOUl8r3llBpPHCXjuPx2QCK/qGxetFqYrlibjceuQTq0tRNUSwPvOUzaX/fqci+wO5F7qWDiaNj3Sj69y0PJ7oWaLxWL1sywShW9xXpZbmJn5LxRAjDlaHSCVFeS0xgqxcQdb0PQWyz/3o4bpxNppt7juLknmeI6CLjSLQo8txMGTWkfZoHUzPS13GpR0capDtao2bDf97lz+OxsXt0HXJJoV546NX8ox1G/JlmZN/hOStZ9rGxtCufPCq4rnzws4Wl67ZGrHWs2YZkkJa/72Gu+feRdRCed2y6r8MektwdW2TjUcKcWS13oIM3MdBUiFZnlGRcVyk4GQCgRSkLvRdvPwKN98woo58mRht1YMIBAkfQJC4jWZJcMb0hNk0Ok7Hh5KDIyUCpf4QVmSO2TSblZ0xTxdnYPR65LPwDFmhvgwUCZgCZ+tsRTNDaDhysvpVaxbEoa10QTdzInGCFmfGutmZrZJmxDw2dqYpYTEpOYuik0u4koRaLd4/aXjOr7bb+B2BRfUwRd76WebJH/PqY7Y50es3mOJtBQ2Yqc47phKiTr4f385A1th/rBGt4ZFHHnIlGsIQtFJkSLR2V9sYGd6PWW1BhH5uiVGXNCyB6N59wAz/3b5b21itolSv8bUpdEaaHwMSoclbqT8OkBQnn30RnW38o6hiO4BXiY+mWTBLdtVlJIGzI3FQ2Ima0WZLy7wWXTNr32HDD69r1W1MVLMKUHhk/jetzJi6AsyfjQ3fOPTo+zBub94WL74wLQVT/cKJoV2axbiAZ8HSZTXa2bMa4bPDVwRq3zh5YHVMSgeFSATjfB0cIFdg8m2i+ev/IQGJSlGAmJTSziOe8CDNLpeJFjcQiMRYn/846DxXYFiv1EU/rE4wkqoaQ07OD9ys0xtyWTSv3d6EnHUtrD3VG7YenoU7ZIqwiv61WMea3H5OYRuC1dWyDffSVvL9oYhx/YscTa/7WN7vM1aOFN5uPAB0xd8vNfbrHifSGQjvAo+jZVAyMDCVvhHGOHqVMjLAx93KRnyhB8dRPV/LaVq+UfA1+KcRhgMaHEs1OLnvyf3nwSPzOcz5rKmqm4moHFCnTr+/ux51DIXQ4I/p51MMb86a3r6A4O71lFHU7Lq0RCL2himJMJ2q4ir7KTg4h6iZkyL8D+2iZMSvD8O+G7A8owxrQExGeM+wCaHawKEV3YBer3NFzdjZCTZx+UKB4HTqV8bTAcFqgFU8rUY8Isc1Ip8nnJGSB/Us80IWuuivIOPGVZcQEWBPwHgrBPtvRcJXtoiJ1H1wDavCjASfxiQLBe7VGz2NZgjiMgNqA8tAP0+zUxy7c1Ek6RyR9B+v5UI9MteOWTQeYi4k1uM7qjjIX0LpsMs6FF3i5xSarqahuZDgdK5lk6W9NajorixNi7eSdxtHH2ecImynanTNJmZJBx/BMB0FpbeHs4ZcAoDmP6Sxjb8GeWheMSbxur5dpx8vBIGbqToI3ju9cw+vqj6UlTgfAwRI21b0ioHq4vIFCx06ZBmdRmEIVkAymsmsS3e4TFKT4K2ui8mY3F3nD9q8hul6RylTG4Z6NFuAtsWZ/KSImiLZV5yliGsdaNcgYHqgtPg9lFltK1v00HLs4pvkgKG4GZPsMR02TScN8orxw+6/thehUCGLZ+WZ7IO4jdca8rOv+ZAecTyVbPQKHncU2DjE3IrceVrYmImzkgo/fwMXD4pxdWUddEtZPSKNXHaE/AtTNI8oLhof20KqjT9sMirGeZQIcTCLzUttubIzbZLi9jgxFI6R/sahEC8yY3B3rPMfxaWZyxPDrqQ9rgN1RJqtR/WP2rQW5KNAjdFXyBdY90YGLwuHtdjg2BLuxjMPeWkBtzL2+wuGqjz4L3PioZBjv3+b1m397QOlEI73IjNaU8dS1y9/v5bvZ6Niz9jvipeChul74h6QWgOY8qqsvu3JQqTwYBDEqsHGaOrNolTLR9p8WeBpVjeXSFTuXM0ySgWsuU5t7abjmFMVzPFZ22z7j8bs/Niwb6Uy58p0CsQnHAsuZYIsbOkfu6Dhx7w4yy2MK/FApwlDord4hovm4skVKu6BKpYuvjCKJHknbQp+c+coKxVKJEKw1Tw+kPzWUnhabCbA9VbBA08PcPPZsQU1dk4YRAx9r2uBb8cKvgYsuNKVt3rOPa8YKQp9nNsdDYezIFDWIuJG7RWBr8CJkixC6AxOUOI1tfRTU6O1jOJN/EkHQgug1ktjyfrGAIpVRFgclMy/GCaWJ3Oj/+9a//Sj1FxkNbHDkUxDQ0sCleqyuULuPvWTurRwF0bUxxlj3e5URebatX2IkHkZuo8cbm/OrpzwAxCnEfvDj5Kd8RAAetRKBQnGmyJI4G1oWeNR/Irp3dqQ2LQfaTUmAka8vzpB79k7ls5ic9zGvCtaakm6EjEqkHEDlnyhdNcB5db2zQA6slFS4THG+nJNYRdNd9cXcXU3K5pnwgp22Ez9W4vC8Xb/gUc74f8GREBr4R03dRkfUrcf+dvM3jvAZbjpM1DZR0sl403rOSBPrzBDXeABgA0wsfHaowNkgm1IBfHq1xVpFmCMhP/IJi01b0EuiOrKngQfVfUkMZilaufRDY10az9kazkAZTESbHCBHFHN8EDjEN537kyBE38Xi8SIN4hM4Uirwi9qRAbZF2fQ9XetIAOxicS4FN3WnexUtl8sfMQTg2UDDif7d9Kw7pubidrTubEVV+oYN+F2IBCe9ylu5I63ZUk/3l703TQm5un5a8+0CwwZXIh1AMs/50YUcTQjrsGGl9mTf+wQknYzMjH+d/9a9p+uKVrDOWhRXT1nl+rdXR6yDTE11Iy3y/0NxoQWv/l8P3V3ythAP8gB4o03d96AtoquORAIaSmfIWYuN1w5gzl5Zgcbzd/35GOYkqHBtx2DqS611d8iXzCgeo4W6HM9ZWEKmQVTPADIvSIPjnzI+FLNWz+8P8/qJWSujmemA13Rhwxd7NzMsW4ZH8tItEXufmcwjvV86YaK8xC8F/stLSzTPqvWmsUXd2NahyzlOHintLvuE8WaZd11h/wbmzD7E0+9uy0uriei7OuBYokYbMNoNM0zNoNyJ8F3Zeb5p28Go2uXLb4z+FDoiP86CdHIp5YY62Mfn5znzkwB8rlM3A4aSzPvwQ//WnPl7B/qJE+4M1v639dTdu5rjHAFiFFtKNuVhJNRl574l/7dKB+SzQkSXr4+efAKjKFQpXxDs2DKPvFpRRuP1jFT1SbgWpPXsOlXjV1rG42EKUx8Q3lc4s06ZX1TuV/8gLdbhsiSioauZPUcY+XUldb+sboVlcE3ZANWpXyha3CaKRuKqpppUhn8IxqCEWoShsV8Q/vpuRNIzND9K+/lSWEAsUHPdte/ctzRoZMHh/C7oWQF83tL0Cf1QnwM0ZadGAgjEwauuyyAvN70Uhg8KiZoaLyzmi5B768pc6Vxvc+SV3eObYbkgkHBirXXZkW+BLfcsVdDvn6wVtBOJ7hGA24Z7Eu9YZMMimJs66tlDrIetgmri/jRQwqkaCXrQNyjq7ggKNm1SYDYUNBOFlcWOxA8sarXQosV2H0IDBj82LAL+tIZmemLeJQ8g9x65YrnnarivKUmpDpCiBcdmd51CFbIWc6UZ0tABd9Jsivwp0sUyGO4ufPGNr+KBOWzjjGlXRHCCxR0b0V9g/uW3pO+IcFdosCGEZ19o7pA08FIKnT/FID4tmLkA5rsJdwtc6pgQvsU0gVHH6skQ9icCb7GpXpnMZQb5QqpuOg6EmfnlniFYugTsXt3Zr+KTHV9P3UTf6Pup76Xv83D56jfsh88BOEy04vz4xpZczqb0RmQQKnLt46BffGNDLt3kCre89zhdFxmnF20ZlwAYw++32cMnZ/sqg0xJ0cjX7euX6Tz1iFP2kx8wHLHCd+d2Hakhl/CtZ8oPAhd71aprNvMYHvKZJeFmlxSUCccE3gwaRVlsDut/6VaCrC9aRYnKcPu8h+qsjXHNuCTbmwYBm64U7ZXWGssinNWpwf0xwoSw2Gbuki2IFSqjWlfWLQs4+iFv2tjr3H3X6n6cKJugRrl0QLMzta6XXZpJ3vCT83yipnie3wSvPznIQssA1aYOgdX3QnDgwtzxa4ez1476pZIjCel8qI2zCWW1xqfNvCvRnFdCY8iHwAaC8QZvWV4I/CWkntTMXtKI2ycNTQ6rEeIQGuakLYvv//N2G2eptU9ocWWRdh3Z8CFj2jnkNJVDQcH3wsn7dT12Xfema7+lRlyiNuIGKex1UFFpgXgHWUgxo1B2OmrKrrwgTSN2BJclRVdyE71+FU1X8ssRLYUo+1dJSY007H+cUmWcGzvNU0/0oa3hjOW4uNv5A7v9kOm7QEAbuIiRrzmerVLWdpvKsuCYnOjyLCZtqKpXE9GWfxk2YqbrI8lGJ+GXsdChd1MBEfGpWwDN6TS1XDRp5NVyMCUtZwQZ/mvaxYE/HsEUSvx6Ud7ob1dBlLjxYv4EnZpL2iiR+CfHvcyYow9QpNgLx3b05VI1F5QnAwMGKrH1F9FOd2uLdiO9rhNS7lrDv9tBgYCs9exK/b+or+N5p30+gMHeNqHtuzxAwpfHP/1asm8/LuVIsvPeUSy1tpZIH9QqztpkC4IqaIs58ZOeqOjPUyUnmm9oupEzmJudcfyG5mvVANcPqAljGdd4lNgpFJ6e76VfmczIISLrLyETTuVjOgNwOjpfcSOCkYYfa6zDjTNzJZDBAQx539Rq4hvuJnQatyfscra0c8r4TiU67G5GUpwgFPTKKyGnlse53UeovXeA8conu194rr0zm7pvMDOorcKicdsB9Nkrs7dagA1fA2xq4KMSNMkD2V74HLUIkFufdpV9YbQ57+hZUvV7NRp12AB1ZDzPTwrxtR1Q1cnq9nBhPCJYGNaVnRTpOARKF8p+mZlvxAOLsw2Tz6T469zPXnP4rG58WPs0UCFXYA8FojnlpMA/Or869NuhDC5im0t8CJQpOtjYy1z34NbEbLZX85zwGkuAawwTpy4N7d4pnDzdyvThyjvyOesLPd0X1hgJTkgkq0vvQ9yvTuu3aiegSKgESTI2On9KuvFpHPZWAL+GUk2G8ZcT9L4PCq4XZWEDWsT8OYuHPbflcR+0cAH4b8xSRkfAxVle4lRxXQ+VUDCHmh7qqteBMHx2Trd0qAODHJDMaEpltZzNeWm2pwG8moqKrZ9wCdLD3St9SrZMDsM/VsrAxHUmKYqvKQ0O7xQtFYWbNcUiFLEMgit0VD40wLGWyW/qxtZVh3Aawn+hb/w0U0vwwCIiiYDNI3e76xwhaA/T3MhAE19WMk6oi3vNQP9i2BTGY6O8+Eqy3D4TFd+9oR0cXL2KtckArn16TXaEAbQIr0DQadzS0ArNIHoKVr78qRL1XJ0mX79aGY+Z0s1xct868snAkWRjH+6bsWyUfplaiUuQDhBGP7REQdRtT8gOp7gLg9/Drw5PIF+ExcJeo8crEDG1u+tD5Ug8vpZD5dLWU10Fhb8tijQ7m/X/7o3gd9No7qiLHXW1flA9FWgAqilRnCKFAyptlqwQawGy92B98Kl3NfBXmB5huTszKs6mZQ+KPApeWq9gCOtbdF+9uTWjDBW+YcG/x/qWy/V2WksO3114HDr6aSMfYE37KsMIeUNcL7n/xbd7CN/8HF6pN6XNbeU7I9xyxMXqL53SQ5VK/Rr3pV6JyPcl3nnYfK0mEXeNJUnjgZI0GH/AKOK/OjSF7p0xjLiXrFo/c1L8H0my0PSRh1/0cQlD6TbpJreK4N0r+a5gr15PllE/4MbDu2pMS3w5/G8nkOOaeyY3Hdk+BA0Jpg7DP/p7F7cXve0x7kyYpytm7qHkNio5kaa6Vb8GQzsPWmLJz6H05ckwUwrfA4gFJ6FJRMQHRT6W/wkFlHI9Rx2VX8434n6G/6jilNY4B2j0POt6TMOJ2DEuiWrKdj0qtflp2+nYEo5Ih9MSDzxd4EoqTCGvYQekyplwFXtKaaqOh5KDoCrMo/MmR0fpXRD3PtyQ/Yo/a6svskIpkrIQ1d1X+VNuouoRYVqtCl/KWtftgmnIWqOd/JqczzAdjSrk7WD3EVLbrWAZ1EwFE8iLXglFSomUfUWhc735dPuPEuEuTQyN4OWo8WD3N0OB60zQBxRLv0GPK+oQYJrDcYCTqB3ByExwG4Vuo9DfK0s2zgkXsml962++vwupcoT64SBd3U7fnOkSfvJXT+iSFLWw4TuH6SZweXir8gFhsvFxGTOwHGKvJl3CD4Mrc/N7oN43S35jIrtKtuaJoTf42/aKzh98btdWwqcoKLVGJf/sBbaORpfklGiDG1QijMAEceNVFNK4KbaNyZom7rPJzupLHfLTTORy7iptkvxI4P51oMVYPNQ111QlVC2tXhz63skZmlxqrhsR1Y5fiPSfgfZ7skxwLh2aqnEE1Wa4pGUeO46OXU68uaC348qtdV/fLqNk1bd4VvfWjXVca8CPCnDkslHNOSaYwwFSHIQfr8g0hH5QjW0wCuHuhs6RTrX6ZQicpfrvs7cKzHlpcC8OUdYuMe/t4ZQNaFbLNNLdntpZBkH+WkOTUvAukwxw5hEsH9WSRwnjKYAZaaOGkWIDDidvqHYh4mK2sr9OlTmRkNBq/paiFqRYdDrmnynUlDgDgVp/zg0y3fp7baRhDaQQjShwYogNa5haoxFw/uRrbb3Ti55AnYdPL6/EBcmQ4khC4T+8cMEpgUScwchRBmLZTNd2zvGmQh5uZ4giB//UxywyTWuHnNl4IRb8aYEjJJHcEgNyFF3mbKov1xgqOCdtm5giUEHb9GmdhDlZME9MDsWbCusyn4o0zagp21WdFB2W2SfBBtfkdq074laB3RbvPtutevDZ7c9j4c6GyQLLFSqmYOeNPWMa9lYLnrBe0HUx3murtuOddAxLL6R6+9fWeSyxMpxzS6muioVLaV/m7uoRGLzhr9+4b+a+dM0HsvdTYQb2zKfOv23/cP0Oh8J59JReYwAhb4w4kGRwYclGHtOA4E1r/ko7OYYNzYqZ85nHNLKBQ29a0PWIb49h+ddCwz8dqNisgPEu3K6I3CWqRpzvjMlFzDQx8oDDHu4/oL6YUXtxKeSJNqDx3RaTrCdj4ImbMh6tsO9CtUIsO0sja9IhbBMILbPba4kzJTt0eV1daE6sTsHfBCfVNLCW2/c96KRY8RHItoKP0iqX+35PVeKSk0Fz0u+0hIwdX7wqPaa8ZdANzN8XcNf/D6SaCAB4kQOzflDytIhRdDro4DtMQXQE510zD1xzy5ic4phH/j6B/DEMGt/JTRwrHQ0JwgtqbUyiFDVMGhyj8tXl278wRwUKOBRmsuIvPQN9zPB4WvSwMsjecHz7CpafXZqvPz6eeF/EdDEBnifIteZgRcgEJHdcEMHlHUlmjOHC9y2tRE3PFu1/U62EbmmMb0Ot0UfRhKtdVhbZkMRd+QjVh4D6FjD/SiQ8bMTtLxLYR3YnkAqofMO6b+b3kU9rnFh/Yamr9pSrDIeubMguyty4/3IDiC8qRzNxAt3E+ijOYZwE21SmNVVlrg2R8JcwQRQRUUpfOvVMQ+x+tyl3u3YyZJZKatYMbByH8if/XfCafcyjLw/MyQeGcNYfDdyJgzA+2K9bNjkN5XQ0wFiDXxWi045GZByupJWHtcwI4HXnrB+oDHAKhjUAJQK5PziVjEYL9FbsWOyoZLPBij+LMh5auWGP/vAhBFuYAfhlChBVGWcs4JKYLlUgGJ6txcWhaZj0D8FMyfz4NtHNEa+SnS5rG2fy0Kz2K+rUlzI7D5QP14ff7IdAgnr1Ut8Pils5BSCPhBL95cdXo0F5A8SX77z6etbvAM2VpQ6/rJIMeHckHy3c1Hu1aNBQahPORGnyB6eBOrGRcYdXRNuUzOr3khpE9YIicXvTFmwAaZaF6AvVG2UfRqX18KEHwvZ5x28ks7iK08+eT/sshXLIFO9lBCykVhKfNRgwWB6Nq9y0XFnuFuflhV5jN3oqCXpr4DfDqlz+Gx6Yqxtu3LQXJv0LTfBWwCIEL6RNvbHZAAjRvZRUv1A6v5DIs5Ff280p3ROqpRcpDqnP4/rW/UhJj4Jj+y/khCDkTIlvUhnMjaqwwngMEPomPXwAbx9u2bvMqWna5pkR+yzbGSyVrkoUyqjhv85WZqt0f3fc4z21Gx4Dkjxk5fkE4Or1qSmqwqeQsUn6pAdTFmCQpNgoLexL+WIR+YOVPWIHX4X5ImMLTXgPcNo2rYhma4arJZUr4l2kO43guYkoYCwcvxr1uSJChceBD/85ApDr/OT/X3OCTMJFgl4GfpZ1R7WD3R0KQZrPMsh1OBjKXTQFjJ22WzxAfvvvi83E+ngUmYP/yJ40ZrfavEZLvSrpdLZvrbr+HPJW/4C2bt5Jnd2o75lBlg1Q2rXyt9YDeCHrTo+YhAXzlqgCQafBN+29MtaOyyHLPHftUo2Sr2aUase+0vadNSEHV05WU3LHxwzlTDTf8Agkx/EdLxeDzGiv8kLEGgdz3t4Ul5w6rErRDcl2+8ph19C00e0TTUmXyZy3VKQNR29isnv5DErDbpo17blEcJKJguYiG9TlVfcHOJz2t03w9Qu0J7BbRYlwilhCUg90PZdUP1SDxchsoGEnO6t4Em9adBctxr+MJn7AuiWblkBvpwt+vZTFf7qk5cmhKRwaKQNXiPaqp1TALJLwi/xwyGNOCttdUeEqyH+DzkKd4NSmCWh1KPtBdCwHMz1kgjK4j/l2kddpLZF/QwCQPbUYd1Ih6WqxrwNQQ3gd4Y+h65r9M9fdLooDQfchPYFQH/DUM8iK9btTWKheW8tO8ujOJUG05kN/uYv+G/OUATDtRu3T5cXRA5/bDyGNC7wS30s7uoLIIWxcN5/QJzQddDzhuZc77k3d8Dh3yL8PYuNJw2E9U90jMkyrcxN7xZnjJYgfciAf+IH9unpHz7KTCoiSGDd1xXcBPlfYecYpWzE8/pIreMmRtyXwJybZVxDiYIRRMJtkq3uYQsxgQgnbufiKhcZPWrmIcekcdiEzmLgPXAV6IS5sPJ9piz98fP2YYcrTm2oeOLRYmkAP0IDQOL4MBSEAoWP9besYn0jESQpwQlpDkplhSWUxlX3FpH+Q1DiFhusa2eJYTrayBTYBpGY+NZ/7WJtD1fVhqpMfqcuJVXOT3NEnBsJhO3ZXVqYI0jUjFk+eNzppkKWtC8nRdnh9UWArEWyLdw7giqd/YFp1CShiT4TXqjeRkEvl479S5Fi5BI/dI9tfy/4xqeZ0SLAsDRL/W4X5HJqX87g3OZny6c7MtYnoCPd0TuM2KSe5Ecshor1r/kPTIxdvg+9t4B49fdq1Ho2H3jJKz+0KnjHV5MzAb/LEkdk4tuA3p1Zj0PhehTUkc9VXvSA8kPC9c0PPNdZo/6AL7OS9/O5Zczb4Xeq1aYcXgD2bMz/NrhYc93H5/WY8JpbXgDnrhsMNH9+3CaSwtDCDVqY5w35r7gLsjzlH2eojGWxY/fdiRH8zBWyi6pu6ji6J+CPi/TcFTaMs+j/aKCsiEVej2cERSzzzBKaotzYkw1iLSjgT8AJqYti9qzeUdnchxJO3LpNGibqrhFehKXBIBUYXIOhlBlErQ2kRGSS/KTI7WiM6sc8PGl18WML4iNuOF1qEPj+OCzN2aebT45Yt0NcQ+OOSKAeAcxYKBcTTsBD6XP7z5K+oNBZO5kiLO2u1gebKC25nF9olaGjp41gljadAKj1ZPEgZJEQlj6FjcVFJ+pciBRGkvm/kTw7nwGJeNc0yczrbGlW6jH17brs+PiMkAaDtvftnX4KZBrwKMx6QaANf0WzABy/FX9oN5RqBEDczt2eExr9LpozVKqWzg69YfyV9wkKcBPHqKU6mUa8jUPW0bUcdlq4ONvKyAeNuD8SYjk0QHIUXI673C99Wj02klB+5uhlomfRn8bPLAHZkjImEMBaxwm9vfEIlCY9EcqqUlpbx99RPRZt1rZss04aVWaoJRu/Iz58cSul4cJvN8uyN8r2SP7KWvYBVd7v7u2Ly9Dd+EPR+rUDJY2Kz3pRo5xgKkZKvjzPJR3w41Ec0zXyc9XB73UPQjDPvkP1hMDlV6MWhCWlslN2cVTIMKAf0gcVdr6MHUZG8gfPEjCB+LU8KjYTrG8c75mWOdr3JtRZbbn6q6Q9jY3yMW0O/C1vi1fz4TTsHYbUI2dkiILsUyzP9UdhcRkrsyO0sQ9mqVsSerEGMF2NY4Z2DZ+fE7yQIaruIuiR/tiDFgl5W5FZEmNsVMYO7D8vdgTfT4Q4xLZcAlbiSPsaOdEQzuyshXDHlmDy4+DeIWiQ0wkDtmA6B6WyBopkEYDIjNHhIcKXTPT712Q68srIAjEDtopzU0Y8wZjGRtH/fCufmsXPwLES1biKBQFI2A7uT7m3wxZofYsTcBAedwQFHj7ue6f7VP2oAPLt3ac6wyZZGEqEo/rlNOZW802zQtp8rLCyUz1RVhSu3zsBI1rXKf+kSKlJ2IbiKkYxnWtf4UST/xMq1Sa5RgyHOkX1RS5fKZRhxa5j8cZyWHtzzEcg+gAEUvuHLxblfhkEJGJEsNLc00wz3lKpITI4S7LtKba0XkFlszd1tFGX9EGZRlDvxSmnnWh44l5LRzsCKXtgsq3DhKlfi03HYMKuDWgL8Pu988Ew7C0pYko98B5siHWvvPlaXPnKN7BWaDhdH/9ocg7wjymwPNFhZwYmflrbhgvTH+Sfiqp6eU5L8aTnnYemLg6kC/7+MzbusUZYMyfOKtp6m0DwGZlYgZ9yHrD+5h/TDbGZfR+0fCnM5UUYmQ8yydSITu/zL65nUkVAycZdpP5kdi5kuZABonySclKNq1ogvXiEygdwCQ5LagQs5pio9pgdUNu6ZuskYUzje3JZSawfd7N0nLV4GMz4+LMsfWgeVBKKW0c6DOeGLIg2EiKS4iG+kLYv9c8TrvETEQURyvKoGp0KLF0yOXEMk4K/2JbJbb2ZwFRBn8Q63iVGZK6mA1rCuhjtHOl7qNQ2ejdtx2u6El9YVM/fxy/lV4M4tt9kXbTcK7bMEOWw0TrsYMYGViYWpzOAyfcL4ZbVuNWVlZaxQeO1CAjCroYaYpKVfb+tLfWID0ORUxZMKjcbSWka3KAfnFHP3YbhbPySlikSVG2++wO+aDmDYCOWV9r6L7hoUiGz2JsY3HhducPuA8zdbI+9jytEI+SShkx9EnQbBcEBgrTiCSjEr421H5E6urgyXrcxFNjMls4PuHwR6hxECdCV3/dMDG06Lq49EsbktzKw0iLcY40IayC7DZMlGbzWQwwfYdNvkvTE2ODciFaQrzWAF+QqxjD8TaKgvSE2snBVhl6DeiTMgtI57rPxZqodBfaUpUj9eteRPLqvulKN7PITBCx76LMVQvBKr+56mmORQgRKvZgpNpSZTj0atgoxmwVH25ZjLlFyVbo+fV7wvTjm/V9GMKNqFtsgn1BVx9r335nMCu3YihqCR5XV8gWVBqyvCpapzEkzKvgoHVUncOVRCEoKT9kcLgjJiW3DiubjpvePX7Wr+b3ScDa4nxD+zlkgmodFbdt1VHbbpr+8WgRjXVde7AR10Kwdwm07UKH5U947KzHaFerY/UTIjrs3EwiBuNNElWLmGbowyf/kXjqZd+4at/mBj0wYuXqCObRWWg8yXAy6RwXHskDUes+PvVr98LgiHOvxKV60HwylQPG8UhcyIcphJgmd/49sq5gZLIknXv4CdDPvMupNceHsULEJA2kS7EbHlruKCZiD+IFakjrmuVYgzDEy+CIGrSNxUzcQQDmomn/Ik8nNM1+CUAxPiDd9eP+eskdq7XI7cjWeDDeJ2oQk4INJtqwAF4Q69liac0MZfE6E1cbLPladhRkv6L6ajCLpbsYQh/9davGfuKRS/yumAGWIIVCAY1Gmv6RAbsmXrud9ZJXAQ65Vp4QA5aS2KYGhdvy1qBO61YqiuPBl9rQtgahsSjCvMvJHVDcqxz0I44HFKCt0/K4rerYnw8RbuaIwgcBNvtnBdn/aiVOqYvyJSICMNuSDOqqPxawQ8v87en128za+TQ7u5d/Sbb0+DNxOmnBZZ+9TZf/cz4WPc406Jguj5x98Cb+gSdERCzO743ErVlrsASOcqr5wmb2ilp9rek5dhZZuz3xPJf9S0Izl5ncFupGQd2ZA/2OV6Mz3dNilZRTMEbptiJMAgE30KGR4894dVYR8m5wXEkvxy67jYsab6+EFwIS3QkgJ1A+XEDnjuODAYzLuHlUyz+/z6I6Ps09n+HotkIA0sYnCb4Zzuoz9rE83sMjCi5/UVlfYFiRET0RT9RMNlJCfKPo9um8XTgRtzTbCTzNYFfwx20ziDz7zT6BxzZP0S+7O10w+TlYSbBn/F+rWQbTcictGCXP2FEQl8aCbCFCQNUczrUQT4bLYVetgxj3ynjnT1wGb3FdTIFhxWgk6aGSX5MNk6OWJx3ipotoVb4UYVoJf5Ics/vVh9PJuLb5dkpAqp2v8GIVhN5VyQgMIoikE5WPn/YrOa3hSRcH+0cDkaptygedUohvmxxmSqUfSNpAPle8YqTTnasqYgGwJGsqNPrpODh32lUER8sP0uyXsnLbDu15CBMe89Foz1W9gJx6N8wVrp7jMWXkfpMubTZC9htrADfLxvMXkezhV6di+/cM8wAdAsqoOAmVHipapx1vgb4Eg9GfT8BPIaZ0ozSg0RUcItdWSNKGy+plGwKhlMS4+ND09b3xzAdDXFDFN+niSbigUO/KjiW7VjEUIXQIP9kUCEnX6W3Z9O+pjafylzFn26k0DtDT+XwJHny4V2NkuijvY7YwurA7tfyPEUdk8rEEZyhs7d7ddHo/DgwmaFLHgwobJpf5fSDLk5cygtzflOE34O6QCgJtiuoxZaQFZE9pATuD8FGwVbiYMCuBGWBmvj9Zgb1ZkhUlo6Hel8mK86fHbeMAjrFuHO1xxYQQ5MKaixOMy7hgsQPeK0AYhsgTdkhQhLSVZBhQYWXg1d34McOmkieU15Adr/TVINZ74glNytzNqWHijvS6EmFXer8i0js5CgiNCtcFKbL8mk2IH8RUZbvMzFWOoq5bV7X38fjB+jNCIiChvnZbK1GpRt39UCOlBwNLNfNvZsSbCv1nVIsbCS1iqBy5Mw20q0VCsbZnZ0M+807qFtZLD94oXE3KQSjGj6zqqkuGSEr3QBC67AFUW1dwgpkQaWFpm/H75goXAXRPAld47e+THF5ZaeWtdbq8uX6wNi3AU8+TMgBsTinDz0bpNzpMZovpy/aHYh5LzeKyoyIY86Li1w8CEMah4hpW+yBChgK13Jn3OlmBlRLj1vdap2yL6tscB6ATxOMditc1fEHqAuE4MogMURSL5JIKHSqvCO26cPkD83C/97fP7tJh7VpffK16eTJV3PgFXahySKj6rSqM6zSYlKIkGaalVOAs6dVv+uw2V3lRt0/fvUIqXziC/duXZFnCv1Ia5K/O5lgIDS6kW5P99t0FsAL+KXZCuIwaE0J2+3NgWFnuvLeUawk5Pj1XL/UMd8rfM5VZMsHhyq4QTLqgx6FD+L2NNvUZkYh3Y1/GRygBDt6hd8iSWZKH0EeNH5WZ1ivF1VxxJanpGp78njWmoYJdeO8bnRaAoVeLL6wNwItFsYNFo44dPAP1XjdygAuoH+5JBhz2nxFyG8etr0OVHhN9bpUuV8Xb69hSpT+nR9rmcwjLvXBVfU8VCAJgsHjknecxJo+9xszeDPt1bIhQzM3kYkqpDNH+DukoH0bS5dnN4qu6uKp9x4ZOey+oBDBccoRkRE1whm/d7BjK4DDiNKCIbYzUi7ZQxX4YjcIXEiYfmmhqklJTynnLNMPLD1q4Kz1O0kWrSQhaM94eVpOYwTGHfmo4K3cZRT0O0/5xwFrkagJl8rlJwclLurA05WOTPDr7Z2RFyYTXxnbsXdhRObqZu1LmUejfdvknBaWVSeu9JBBr+mEg9uqQPoPYpKHfT54hYQhLkbVsyjKT56g6kf3N+wqWdA7zZgM20fC52KhUMS91+RQdXNNSJcR375BBu0lA2bi2gGdUkl+zBSEYM8asfU+l7HTn+zwION/L4NSX+GN4JqyAipSvbWN82179vgOBMpshcrSRhrxQAxgm0mLKUYrwgZjlixWoYalXTCc6/z9zAFWT/jvWAeMqvcm2FuPZ1Vv4hLU1UZtxciYv75VEecW7VsejSiWH8PX5Sz4r0SPuRf+wFBgTVT552tV7AT28WDuFWFqnIoY6PudL1aj+ZuaInRMp4jUQiwzxvihBG1hv/citYs4XEXLxqhH4fy98WmOn3Wk4pL6u0xUybQs76gWN/1x1eFENpbY+hf0n1DDzwz0ChC7EvGRFqrg5qpLYE1sI97BcKQv8NMEP0Ky8Px8F1LdHrTrvyNkkXXeY9i2wfkLy2zbg8faEgJtqE+Dm0TeB4vABGg4JP6d1LKUNYHidw1UiieZA2+LVVb9YYBS6HPAVrB+kWcbRBBye2k9DHoDb5EC/w4f6UZQbzCy4dCPyf480Vwcw8YjHBuo7RBdEDoeu5yS0o7Ia3IEK8xw3lPdRz13fEJoM0AOJL9Wrychm1GPcj88C38YgWIFMrZ7NQqJemSDYjixKzfqi0ewvIiqrMgLGYcpfFzYWil4qZtO60l3BXADLAR1Qt9+5yoZgFfdio7ZWpoR24A3UVXf+9FSe4ONGcNNlVx21q7EIcn1yYxVu55rZi2Ty8S+9+ia6CZksPPJVtroYJvG6g/FnBDgVAMuirrkvZebqONzSUQwCnXDK9RfcPBQw23wfshNThRDYfoUi/WyCKQlk78lT+P0zOFRQP+etjGVOFzqvSEd9pezqXWuQgGZjIMQ7sibrGorUQ2dCxldNAvl/6jWD4r0kHteQfYe10X6YyIDdENEALmJq49npY+rHpZ+2NhlWhI5Y55HeLdhFdw8WRlAuuLAiLPt0WWKaxgAkWiO09fcbd3h/rUOK8+SHv44jJ+66Wzm7wIFBtFdAyrYnGcCQ8VJXxRIk7+VSSV5I85JdPw1/vLnTX1doD027/vISwdxBuMvFJkKRwbxnqlkykGtEfEMCgspAS0k4YTS97LIiNSUega9Kd3gNKnPIaz2jtl0z3ZDWQHCP1EB+ivUZEiPYDlfpHyKY3gUOJI1cSXmDM7SIgeciqAucdu+IK8aXdrRMd/X4LN2vbhF/yLXxYw9NaiBKjcPH5LrPX2m0LpibQzVJ199OFFOVHqMZ544bOhY14rB99hGnlxeIXhZmAcpIv3c1KdUM+OClpowstn6u90tP1Z0mqUE/PXX0KUGrHr9s98VU1+r3C2xmt3xgudUymVROjO3aeObUmqo32G7vlBNDvEiDSOibGmFkTIcrRNY8QnH2EaxQV90vRTP7j1Ui5uavFE1Y4Tg/7bwN2f1XD3/JSmiyCyFcGmd86VEuqAkR8R3Rcg+qeohR4oM2d5jKhnmgAiaEOKj8mQQwybDv8moTWrn32s7iG91S8rWy8n+PqU48HV7N9ZUf9JRn2nPi4a+vZJrdrtXcemk9fC8EubaPi5EpPAM1Boyt34HmZy1FeS0c5LyU3rJ6sJ0qkrQKrgcwdsHXCFkgzDMFdGt3neJAkBLE8ZfiPCRjRh4C6JyeNBi87m0Ncb7DTjQXog1bG0Ow/cMXsK0dKBjo7NUqokvH86VlsOSO9Rn0Y5TSu1EzcufKIF9GOEcMvj8ScHBfoNMraqpzMMdbKrc/vwojWfa2AuEhbx1u+7lXileSx3IRCATPqUXIiAYcslod1ERxwC0/v2VKPwbc9H7CF/NKYctlXFbgiglcNkimNuE2VJe2Bn2w7lnM701W9K3Ed+cDoHTCvsKcZyL+Z9poBjsaAAtgbm1vlR3qbZmet/+5s5mPU8Xk0zjSt4r7JIT8vjgv/tV+S+f0WXGXGpUqfPhu2sHEAeb8pYzrK6zLAk2vlKFGK32ygae8wFu9luezdtZQvAHnqhEyqEeSte5DyiJoqhxeRsWLiYqAFEHqp/4C5iRvBM8KhWhBu/Ts3UVJkRKudDIDYZQDBjR7sBvH5HCxqY1KSvba38uNNPMm3nj81mqbtsTL8BUJlwtqtZvPikLlUYZUyxlOa+Hr4PzTIuA1rxs1iV5vwaztFDOqBSxKIwYB1nO0Fkdvzmsf1r4EfqRf7HGr6tKjD8DgfBRrwB5Cio3A0sRHCAgzePV9gC3kFas8Jd74SpZmhjCsp/RpwCvssrkzzuvzdYCs9Qi61hoEik4F/7VhMu0ZF9/zs3Rvs9KyffECRgCm4uan8v3oeGjjJCkVEwGimIO8AVHXAjY/d59bK8vrLRhO7dp+zRRwVR4d6+z/E+cHTtFI6aGSiweZPSDEE1yRKUTHAfDoHD7qfC9mq+BTpVrbhAUnyHB9ftpjLku6xYsTo/q1zk9Viv4M7ZF5Vzip3ePai+yhFMEpNdSVJnjXpxzYlf8/UpKzz7Oxt8vv9Rw0QNcB3OimQ3V+trUxwPw19MKf+6b7sJgt0A/exhhMWXKwF2sLM5UqSOzQcw0gaYhkrEW8Sriouida5/Y1sxdb17rPuVKnlCy2gS2BbgYVxkzFK4edRHR4JOPvnAp8erCMMIzYqCcmhL/gTaYAwL5TAe7phd2T5fUMYn+2L10cmf2eiYvr7VHj0zD+aOcPD/GVhZ2BUdTwZV39FjifMn0+CB6/6eBSe4d0x7RaKB6omwIsngJA56JbNJSccGA4ms8sv+ukA97KYK6dHkv/Qbz6E4tY2js5kioiW76in4Jw5oO15ruYVlSVNn/vr7EH1Uybyo0x30+Zd3JqPRnMoYxcMJ4td3bag3TpQnzzM0GF7SkZ+B17wyRLtRExWwxNNIf6mWla6Mzzh6AznDLKrlH/ATh57YpBO/5bmrd0HecKZgH4rZsvCtFuUf0XCvgOPbp8kC2jAILb4EjNMtjGqzD8M2L5zXjIwXM5kdBunWXupw9SJQDQsfl2kwKOHknuUXXfoYy1Vmoo91C0h7xRLSyQwIKv/2hEGG+UHPlYfTIdjLrqlx0RoxOybTVqAvNkTqrMfrrbNPlR/6RBwQeoy0sdW14eRDn5C/fyWlS6L9kwUU0SAGCqtKGefiNls+nAeS49N5O23N6tVxiUJw8GFfOiZSRNvzjkBmWyMZeVT3H8vkmF7ZKWupOFnjfGoNoLwcmq3qtS5w9O1xyw2a09GWvLkSLZuBQzZLQD1N9SJBbsR/HeLsm9C432nw8+CBqrVKrGvI8dQUWTMnM6/MFo6TFP8rDwY5H9f04Yvrfvkq6LuatLX1xbGXpQ1SO/dLwh2uN/fE01nk7cEfmHGX9IGH1t/G3rvjdbQJL/RldpK/ceruEburs3YsGV4Ogj3BHI9UME3laizYyYHkqnpbIBY9/GfctwZLXsmyxTnRHwlPvj8lnQ9RlA3IqPfmIIEWNDzzDzPgHgpN5Cjl9kDlchy+T93I3+eZkI1eNGstp5Dcb9Vb3M4QCxv+IFLsCEb0fJHKtPPeYra3K50FZ00OmqhP7i8+qEYpUbJBifW4JSoTh2nI+CblMIGU+CEHNl10H0GWx2kJER0ZHtlBFjcKI1ws4C6yGA0YKZ8oaxghBHnoTOLLCq8xF6s5sQH+8bmJv49o+8CDBtKFFr23guJM4Na4b/DEA7W7sjxtQADaCQKU6+88YmQ2IoX5CVadOERw9syN38mW/2Er170yBotMlbrzBmthVSkMpY3mfuGzJv2Dqlk9GyqgnKD9XbWeKRiuKA2EeIyS2XpGcCzUU0CqK1AiY+Fn+0vUEtCVLnsywJuClUX22L9E/LaM1rDwGwhHsic1+FX5fNVW+bUgA3gW/jwznIwzwHgpTtEGVtaSz6xBcSGc8mdiIm8YcPst9wgTwYNKTCfbLcAqEi1mGgs4Uy11CYWWeY4Au4XpQJAlVG10ZeMA8pbUsixYHao6hbkFymuUtbT8OBsJXs4GMZ/fsBLdaAb1vL2U2wrn6dqChnX6xcBInUjTrsdXzqlXP7hAGSM6vTArSLA6lQaNSga3h11yzMpTzCCwOj/oGFHMJLth+C683GDrgZYYTZiu9+lleiiepv2K4AvrCcOxSeL+DpbSQoftwyEdJ4oo7um/FzB3++lFOQs/z8bdm6yTKYT6k/gCrYu6/68Kczf7JcDQm76/7/jwyTetvxjJw0s4Ohc37pbcj/qM7y4r4z8JhK1k4lHVu+GWbn36J9wPYlUNwAaZ9+UBUXjp1DRbu5NPo36GzV+ftyrYoCBsa1qeS7h+VXBzZfA1x60G2JtU59lLaTpU8aXvnqbVJut2tgGcJity2dD9XfiAJhfKRYNkcQXHKUwsi9/gpM2VvvuvFUGAb7exfTvICzpPbEe8wEtevBGZ77nzD/ASTilyP2rKYMx4n4rk0XZUG/rsm1rmfUZ2JrL8xBChdN3Ax6OrdAnHpkHYwZHFJwkqxs9pS8ZZIJ38OSbnhHM9Xwj6oR/jQmt4gvRcCgGsvfkpyvQdif5VANOg/+dJEZhe4FNq6QtC4ymDq3VBvyqj+qIJCvPoVSSS2hUcHqbR+XPX0K/i1DPD/VMcPMy+aUfaE5+DH+hlYRtuNlOuD9Orm0oOXWX7aXKQPIye+Dkir3bw4rkR+exdB1bXUGZY2a0bbHByfbJvd3nQxIet4WmjSfV9k/jstQt6Cn0AjiPL5K1cjycmNaq2cQqG39L23KrhPubcbAKr01o04GSBN+VHeY/YK26JeuUi2VKA9sjDlr1CkCzMykvRi4k8jjbDoqcqKEXBOgs1nEHLoP1nuOJMEPdSW4pzoUY9AqObvEwKaqqrDuzEaaPjzsVtAhZSh4LzdGrEJPaTM+5pf+BwhFZb0zws2OtekwEfpA3mmMJD1oxwEt37SJMa8ZvFIBsdQxoKl4U6vC4BiP8oiByL3hoAt+mf65VHtJJOXJAjK0IabvEWNFoggRWCVhv1zJiPeI81BL3sreoVtl2ihBRLmjvbDAIsK5ThtoD0iUm6M7Oyq3K1wHr3I9epfVZagUDQPuy7i+fH+vFwlpNPgpswfNXUsT3UAqs951alGuUjX7Czb//qOZPdgWD2tBHw8PkgGgyshULVTv0s56d89gmgaLMqa93/bTwYtY4F7+BLLcRn3L5FsKpWbs2GE88uSXPx/G6zDH0z3jyaGo5n6Ag9USpdaUSM7vHs4iP596Kfht6uit5HRz9ug+BgjwZ3WSfRRK5YJ86wl7APwQn59MYywpe9gZFPmLcFtpAUJvsVZFx3aqhog87xwpYpdVKVW7xc4W2FELg/MMovl9EfYLvGNo2RxDUwMEf0LsfejRWOHhF5f7adiHyToY8rZgqCXza2fll/CzPMpe5OaZoG5bOxoXhTcpA6CB+PR1fygid4StF7dpH/O7Kza4u87NIwexTOdiVEy4ix6Vz2ueOwYTsvHr/yazfrlycEbW/e7AX8eCHYLAXKLGvuEiqPqgxL4ZxXdIlXultxa0Ph1wG4IWffFk5+vlnIs2MRJdS/vCS+5tHbn0Q9JmJgoarQqlp8m+WjTb3qJBmxUlBfldvODQh9GKJHL0PL6+nb0fKV+CJAo5YbTgGGHJhhrbEABskiqUDbUpuiFWIPHQFcF4p/zS5flGJzFg81XaY3WT+6semEvQSJ0titEgRdYqutl0zEgYkcW4yrWL/XG4hl3Xau8vXYr1hGoHtgsFvGThqNqKabaCGEMmt3pFv9AOauAJG1zLX/YsqoJTnQej5Ng7XIuh2iD4WhXH0hQyOt7o9XTpxTWBTkVHy/Sxxx4ryFuOqddoz7b7W38vKv4lN1iJZ8phPPDUbs4B43BV2IbvfaiMZunKvchb/XYm1pvjf1gIIY6z80yunWKUAkr2ixkanJ8cnvBfT6mmaXQMKFc0dEL+sl1je22Aj2BZHyFEvYt7CqXRjqBfB0j9Olfg51gIYOWpucNuRzgZi1jZtrTCIMqRcE8AECOl+0f1eTSdfhRd+WdzhxXjZQ9qDUdS24DkVixMjCtG1ZCvRs+26QF+to/TUKaqbYPy6I1cW4m8xJVdfEzW1Ef2B3Nath7L0woIUC5WtlOpAR3R6BMM1F4wtaX0z9iiBOQQkp2yw052Po/tPJcNC4tbwdY2MSuAw3yhjaA7RgmrMLJP8oszkStlNXY7xLrv/NYcDb0I72LSnQ6u7SmhJEWn7deJG3LBKIim5GoAMv6kD8Neoiw742d4zT2H6+Q9FR6ghX78rf7JtCgj9FphqBD/Qvg4xAOi5nwzYO0JbZe0jhbQ67UZhjtm58dX38264EOKZuEdCyANBseB5JPtoCGF1vcUqUVpjKnHoHZxappdBsh4VNgFNuhnuGcHsT2vT7ukDgRxMFr7gadGqM4i27e4z09LGHunwffen4UTLsEzABRK2LQPr6d2RHRMWoEzHbfCclZki6CnPn4ikUwwmSPt6VRJTD+S+HjssrNPayOf9P/x7KsQiWOnTMHf2BfkzHsZLvPaNh3/6D7JQtmtuebZqpm2EDKQm0v7Mvhd3X6SHPGKOMY/krlAox1ONF/fgswsOq09FaKZKuWRFIvEU0dW8a+5i/mE/JMdB5pPpqPfHj7RSyrkJD6G2XjUr1fVpeG04BME+5AD7AKUh0Vu/J7aIkOBpSJU89LaSixun2D4D6APh1Be/MWn83CW2juoEpxGXucuxUZoVXUfOiSVoyUd8Nr+zxvHpYkU0mBR6GbmzDdC3pOc+LBNICfihd4srJQvH+E6RdPSHikUSVkplSyyYr0anQ5Kne2+3Qkc9MCOqHmi/n0tTv3lW1xwiDyoZXlkdabW6zwdSCB33DCRxx3Fkmbw5SnpWuI+ZClGty9pkfllHe2LVB1mCFfaVbU9VZ+Yd4pNMGtbfMpjC3sehOIos8fkt3pjERR93bsktDxSKocIafm8NQQTM19LTF8Nh9GIHehgMbUiSCNEt98W1g6xiELqXJO3VyXa+PClGSmzBGKBTdJ7ePgwr+c+MGqK+OcfNYY6/ykr6zacXHxE2EOQf8uL09qYyBADzV7lULAk7S1w1ghYjLPG9i4BLdVh43H8lijBM/FgEMsOf/6bAUZzhlWCgT/qAYVOEhMR3XnaKqeJN1gP5mC8uJaC+iy1s+yv1y+a53S62Gm+7vJJHRqrFl0c3zvDOYrdmp/V8lv2Pjq0C2Ebj8mc2vn86BSADR7gKcxdXKRsss3OsulbXe/ZaFTu8na/16O7Hh6EAb3vpZMgv078HLK9wSrGMhymoAuIaJ41nRYIR2OBcgQTa2NcoF9YkxrOn/AP0y0ot57RgrFCSIiW+bhzS8g2KcACIETrr+5DmV50y8RybPafgdNSOCzshkkf5ncteKKHvvy2OA793PWXeMEck1eco1cQlTHhCoobnvRnS6R6Ww3gAoTAkpORW4KYZN0XLJw6E7W48sg66wZ5xe3BuRLC+YRbV+joBvUO+G5zuLhGeKrf1gi+tkP3MNOeQ/7L+v8H1oEAD58lQqMH+f/EfsWOxN4HO6QLUXvaH5Y+dh7bwaA27VBJhrS3MXx2JZ4yL5gNhl91SaVTxpBeuKaFtamsOmb5cAh+tigA+wmwSPja27REP64E3fRErbwK243SFq2+XlAN6g+qKyuWVn4XWfeES1AnhQKOB6p88tt2CGikpAI5XSyT5neSiqs7hGhW80FJn6wkY74kJsJ81fSZZcwNL6Jsp/3RnXn1SYxwtaySIq2BvMCE3f1izDRXcK4+RyowCr0ArEgIilwYxZjk/+zvA147JyypuZV3IZMXvL6E8D6wEhVeYf8RiHF90XI1LusBl4DKoiFWU/GjRWOoCYxQHOqbrJ71OkCdNBmO2p4leCGb6q1XoYzLyQKqfeucv5ZSmLz7CQ55uMaucw2w0xLp2GowYVyJRLV+jkvnBsyuNYr7flF20rQrT/K+NjgkG8dSjNd0p8Xjt6lvrgEBPMB3wJXTLcCqxWar/FQn8zwt0Lkcv+7xuSVS8sseMah06QEsaG1fgEoh8axwUkLJ4m0rN+mtaCIgDHD6vSypn8r6mjQBlOKTfLFDSqVmkw0AnbuCf1xl1jCVLWqim/77iEByuK+6dryreyOi+tPiGaLqPkd7Uf6wmeouX8ZNH/8+EDaiP02LPN1vADZKb4Fbr+WeKEqPXazuU4Er4zLOapLq0QogGbHwzdBLpt16SOtCnsukHdgCZtpeW4wHlswdPtbeOumdHO0A/cxipgrlCdbKbxtJhm6WMqJKpSvUTuJ9MvSyTVf9ArXNGI9smHo2LKgSJ1HsKU6tm/A0Nf0e2pMHzmenTErQVs5i2b4UJXoFGECmyjtp4UNbQ3Bd60HKCF/YXLoRzJIqHQJpW9nDBslFUXNg6J19swVBuSVc3Ccr4jVKQ3df9/7oZGDYwmVBN8JKHdbELZhcxJ4SwP+P+P7OF/h7VZeDGC9Ci07zx4P1sr7RK3QAJzdwyFAnYnvvKeyhQT3hma71Whuhlmt0tIX4VgOC2B9D8u47Z+PIbkD6Je1ziQDa4L2MrwOh3JQrKjXDLer+C2JYb4L7Pcz3WEC8njwjXbJxbp0+gwAUF407vbxRTD51MgWFkNWjycBuhRS0X7USddK/FdDBRxa93/ddnhN/v5uqoOWO6bCJYeZpctfeYcvMku9hn+UGVdRvY0CF79BxEP2+RAEVTIyAw9OzclZLr0+WbK4HKoNVAEENRN7Rc1j8KJN/KiFzNJnsy03kkZ1VfrjWyUt/Qx10eX6oH+D1A9SAs1A9VmocrRAsYfBkN61K+yGAwS8AQPVfnZD+FSmNFKixWxCnK/u+e3SIY1VsWhgQlxmyq+JE25FrMsICKloQfubxTMAzIL0smxkH+AqdfAuRp/Yw79LFVFkJOD7zlb/D0IFNbYhRScXmB+UiH4i554lp2r2RlAbz6T/HWjo8r3WbmDxBfEadAcmVZAahTH7SYv/0Q+YhfROQfy6bCymeE9ajatNjrrEOurlCRgKKB6GihcdISrN//BeVfNyK6MRUu2p4585dXsGTb/dj2dtRJRw/iFz4c3Cf5KcjXJgFBtMysKyAH8+OIeoHZuciL5e/67bc0tz235Rl5SGwokA7SKbIUI26VV21eAFxHwjn8V9La7r/IcQUlfBvaTxkzgqgE4+5TkAhHrBDWQiDHZlyM3oBL6vBHdwjm7T2IGDz9RXOv8o39NWlkfO+p9hlJQ6yEg5nJOnsTj5+o5IsJQjoTBadKtefHbr6815S/s9KlOITL+wa28HLyinPX/SyHLgEX9FkhCSJ31KuMKJfkQQ5RXjgJCXVLJE1PfzFklYKrH6rZUhYa6u39kxiLAmNa6TS1iZP0Lg18HFGZwV2hxlXpb0pWrRap9EgWRtdFH2en66Pqm8IkdgCBDD3OZiw4ijNV0WeLgxVr16fx7eQ6COPOhTCyf1OrsGqRXhHgqpgjIZIoY12MSPDyMomkn94PJNnuvVVJPffoQ4Sdzs8MEFXunwmDIqZRWm+5z1e8S1qYwSfJApcqabD+9y+Vumu6ZzjhFNeHL8hpPbHj/qOT07b+2Hyd9SD+nxgn+0LbGUnUzQavm8uDAtf/3Wd+PcOub8Ymq8Azpea97JDA7KcFINrQ8T8+752vunUY8ONhORjlTi2aHp+ZX8wSJEQAZFjOMS8gauXW+6qBE+RlXx97XQ/Ax686Ze0jLwpSF7ZpW+b/Mx6ArvF0LMRisES1RzKbu5X7tNK1JRlEspao+S2+Ox99OqkmXI5pagQTxF78i3snO1Bq4SIRzqkWUhs2/PsgSnAu04MWA708osKl/k5T3ddb4iMmFJhsHV81GA4giuPggXSjb6gL4ogqagFfqfIE6yukYa3xhHVQ6y23AK8z3/EWTOkkPSvRTg9iOcqsViWMuDm/zYtVBkFjDAitMwZwX/IXdOB58SoNEz/wjf17ILNBDLuY6grkSLSjKXUPM4u7mnULvqhQz1+WFt4cv1o6/Rp086x43BKH4+iVeSGKevg4UBQrKoY0v97+3XFLgRVM3kSmxFDJfiAxGyeyloM621I6sp0Vfg0vLWtNZwGndcJFwVv0OEZgJXmxFpP6NzInQHU0Q2BzXJXWhTXX4kvRGtM0Ks7rA7CLHSXpaBmVuE1Ywxd2kaY/masmG9kCsIMe+3toZ8IpnZ6OI8Pst6C1OXBhnYnf8RPEJbU48DJQXS8nvkBOcDV4ixTU+4fKagfQKYcbLurg6Ffos2N6vRUfgoQuwSlkjTZiCb07ww6GaejJ2RqpH4HuQABJO5shS13Sh/WeBnQ+cQX1KAAqJsASW6YqErinsrkUQIjYYyDcHqYjaitX9ZWk+9B43iqx+P73OygrLVKkbzHh4955ahYEN78MDKG4YP9+gqT9f0hqnvplLzMRUOMmRPeK/uLu3Vh11jRRf8APaEma6cqVLYnlVYXgeqjoTKYYFS5Mfbcdwg5xXorFYxlfAU1HNTFzKv71Pxs6zDoAl6xPLNbzUPtRa0r/E021fzRt9XsFwRVze4Kbz2jXECGi5q9fDXCfYf4R/nS3WLh6bwIGSXcpd+XzektUoaRh6Jdys09hBz3cFwX7Q6jwfdqP5FlefruUfA1+/BeD6FazpH00eWpbG4CKazXLoPLncVW/zO+ur6Qm1aG9ug2uURO3af8kKwOBFwyELPGf7xvWRcjpDJ/tIxpBu3kfFWkiGAc4Ht8yYyT65aoB4sRX41B1fYS0F3G/5JHk+kSsCeVFRtrMc+bRClDzRNLQNlQngY3SFFfAX40jGz3d3K1qi3JCB/CtK6+ar4cUm7Hn2egH5HEvubvW/n4MX+S/J7HiQfW4tLhtSlYUg6tns6moWyk6Mgs3KF06MRMNhP03D+WZMVcD4oeSIr2k3Ne9wPPtW5Uyj5fX/DSLpJ/8s9zD3nEYMqmWxdvFEy3zEeOytTmH92m6yga+QCofWM2cNrXspZR/fm1tcNz8hxt3AR5sTRnCJ30zZ50mBfkGzrsrS85cy8S39+p6ojFS4wJZrsgFJEAOqdTDn2g5mdbaumiP4D+1ZnNRnT6FMbFRLmFM2JOJFpVSdSvzxk5Kim5OMT1Umbv3zIKcsnNaNJHv+UOspul0+9OXRdUmOucPNtrklD9j3BPkoV2IJ+eJeQvcqXCslju3zY32vfxIkDbBA7BECsip6e1zRqFXB6IBCAnkkZRdwc4PREm5mcRZfrgwddtGvagf7bbDvcX+PKVI55CFeD8VRN8TsAAXFNwb7dl5HhuEuKHEZSDm+42BTzQfndsE0M+Db2CZluRt52BpZxmD1S6kOX3cGiD4yuirceze6CD+Xd26GI2Uk0pBCkRocypsOxensje1PhKoOrx+f0w+VJzdg3ClPg2o4TyDZhgXS7xW6q21wW4+v/qB50ztWR6of6jj1yqAMnk3Sx3sx15vUBWrRmobXEXwNdObsRiyPtbffNKGg6ctuVEz03cM1zui8xmpAYj4GlC3yN5cEJLYXEdcD8+j1UVCKYQVBruXYsACMTkM4wE35vojZYQRm/NK2GqiY71eKvptvJZmb813jNMYFiIy0xYOZjzHyzKRTB89mmH897W2YMLtivkxCXworYCWZFcN+JevAa75psulebd6A7Nl0hRKjPC2ExmvTV/gbs4Tp+JhEdDlkIXoo7B/RuBve7GcsoGzgeiahRoh1WVIjtd4cd2B3QEUL/9f4wNfDx6JPK+71MPGwGsMF1qIrEGE6CoEocjjtRUQT//FzgYGgc1aessFjek+czRoi8Fev2VLo28qm+9spAKg05w8WVD3xQuI3kYaVX9KUdZJbV+k0wEOX1IncFFMVrI+15jwELO1RYuIsrweLRq3AHnGEhZcHrK29tW4m0pABMJv/JQ/am68hvF6bNK2zIW+qO13KDCqx7m5xIw84tO/8W75W2vDcbU7O0GnNW309bAi9rnhuLFToZTL6LK7syjJRFmfu1CThgg3/MoZ4VAjEWgrhJkZPpBh1ararEk3giG/MV7KY7Xn+OGISc7Xkun4sE3iZCO76LwSMXZA0B77LsCSZDWMroUvYoesmkDnObcyEM06zd5AgCztWU3D1YVg+k6bw7FembxBIxiRS/YoXpUKiP7kGBJiAcfy1EsEt7UKsEflFePwiI2uLyOTsuwK0EM7NKMVGoYBNVdvnOaZDkVJC42QJtcxW5LCbiJQTc9YEgcKVp2jjYNp0PNWbGdcT0BEW7i584jGpBFc4Qhr3bo4da7O/Z/CkREmJ39GWRHAo4pn1jM75ypzGsbQnyLveVxPfWjVze6+9z+wGJgq8+8fFG4R3JSZmrJTbPHX6xyYUxyVNbJVYcDPL8urj2q4QzEu0G1lSgLgq+KYde0Vzq/ltHWZkY43CKaVbaru5sRb9iTu1WTQmY+eMuYWS2dxKW9d3h6i5hLvzSbgDVOh1TZ/57b0LPLVYJFNEmvGYm6qYv9b8juv51G9A5o/prbTA34+65Apy30c25sxV7twqjBWsjabcbw/72r8xti5ZRco1XIqGWE5RvVMtvrTjpPCZgIMWeNzhZ8seD2FJLKmASWy73tvGRrwGB4VKGjIR7xUHToNNwvhVzUGQnB/yksNAIxh/yYek5Y6v0TOzVmLytDZwre5wNvZnJDBEmb+Q7kLKDv+QWAAzkAINdoTxypzF7XCubqSEzRkydSD1fNqk87dpeCJYJIc1AbyykSPCsyaz4vXXvahYj1PGE0Rq9C5AvAxnN/0S+0DUTfmtFTA9MJLwZNd1lks3FSnT/Tpv6YM5KQKxBTu+V1H/ujU+Aqmxqold4THIYM44SHDcJImQ2A3Z48vxMiKDNJ7oMVC+zOHNksy+SxahQuqtLCSDbybu8cDFUMJW1IVZzs+SXUnnFiEM61GPaUUfnxK4pJ+sFMqL7xn8x0eqUGSmiTl7xiY0YoSv/SeIGOdtQsFr398i4kFHaZ6pao3hlF+NXAQCEQQfGBM6iQef1FSKE4BVqPqjVQsIE5Phray03PtffLZ4ONA9C4gq/wq6/pgnMfY1T6AbgSHBKOggBuzo/71DDUy/e1kwr2gCsxGzkwXwIpWIldW9SAx0nu2cyQS5c2gL11+lbJmpS9YnmkpjRdQ9xJnqFd5yjRP7XhmJRVK9ICXa967aRlgDUsUELzIzwXXE8hS60VsLgYNkqXT1I/ig9+faLNoQeHRl3IXWJF+ULNDFAq+sq6ifFmPSBphtgx2NOy8XsNivJmMLZV45RYVobR47WLzYNm5Ky0yNSgPryg9p17Rb0hCQEkqsgUJkKae3CmxMywrdgiHAT2Cb2xwrNIm27J+z9MO3zIpLaUi4CcpPL8KIHv2UFX8P/BQSHf+Twl3gio5Ny5eYN/dNt6o1XmkycP5scsv4wS7/ECV0fn7f82IxVv1H1e5UEAv1euheJHXjSn06VQ8212BHdSWk+d9pA4jFN4qvzovHrKbzCWvTtbeVFUIsZ4Gmoyf+e+E1M/oKM7zTKqHPB/lEXY5r88da78YjeKQhj3/DUzb/Oydbdb0/AbdZnarhr0a7cQYrfmSjhT38qxPGFvd3AtU5xfXPebr5EJThqw9N630q5aRFqdrZJcCbN1iFeYTQewhF1MAA7/BCQyvT9jNk4p8q72rKBQLF0SsYssIMdar/VHoctN+wq876dU1E9UF0diaHAArzL71CAjYpzXj+MderrqxehZyyrr++KoIOMxPlp4zCOv/LmRIXJWn/rjHu1rSpolKTFVB+2md+2d8zho6ejeUqE8KpSYI7KZ+XEjQRjUvUdYf0TzddOkefHxgb+BIZT3UMS+GWaNHAHwj8XNA8Mz7aLVjvqdhOItYCIiqT7t4NxOirGap11jCgUy3WbNycN1hvmJH6Eq7bQyhNqGnNy0meNavdi61Lsm93PxfHWJvs0EZF8pakN3TtopavoREJ0HJ4e/QL6GoHRO3g2+hCEFsd061BXM5gkdOCy3wlbo+rpRXh88Vsb5f1wsqJfUsb3zLGmIYaH5jQKMtfaY4ETyWw2O6IxUHHc0n8NCAM7GyQfqZbOQ5mhOO0GE4EkfeeEtyaNIZkwhBezqimMx27y4pEdpAdefif9jSNDotegdPDCEl8xaY5n/6AQfMXNr+ojqLu99R0lb8uK3pBYTJPZ7PfbZ0OfOYkXXtbIsTsvHik8Vm0bxN9pK2OinezF/hDrHTC7frFaxcf9jA05tyMLCqSsNstut2h23U9+wRtq98Jro/zLTCJFCVhHDEQoQRfqiJD40IPPYDE6sl3VPGy2F4rjt01hRmYuC+0YeyGx63PRxFix7NU66CuBPtpHfaT5NFLHnUM5vuhH/QNG5YPfIuJkWtIopeUrJfeKYX6G+S3ev4m3pROnqZtcbnrQ+EAM2U1zFFiubIhdSVd+dkvNHRAQ5UTNjqfudn0OHkPn8GYLxJvS25xQW3IVb+z24CofsXVpZuITSkSak0zscXtZC92OWbwA1fCheTbbOHQYgkcX81YLEFmGjDtiTeJplokpbqVif2uk965gKcumhH/GGE5s3YundwreyeVgtFnyE8FliCMWHRhKHVqEsbJZWGUhTc5AOfrxF0GhehIX/IjyGxxPxpMxw/V/Fi17YTGm+BECFl1+DsIo1X6UxJABkaj9zF359LZ45BB5RE6CQ1t7hubGLgo6hN/ItuOALE0pK24VBtsU5bxVWgwe+BzlLhvbZwe9LWAbRJq7zIzZSaNDMcqBApTmFAqBciJ3IuqZyDf5kj3RL5Jjs4H23fmtZa1/d6XDGZkKPcnGTjQwpUUv2BR5oJTZvb9IEjfOOnxlnmGflJpQgfFXoCP6PBQrL1Rl81uODBmfx3KhSiYMhTflpYPb8ji5TQdLEvTOFuEF/gZWa3qc7EBUGXAQh8WGqEYxI7QUWh4xfLH+BKWixUrvw4xXUsk0k62F7fNDG7V4PzQY1BNHRcdGrbY0tr8odnqSx8PVvwYZfH/ZBHehFIX3Zf75+rv4mHSklpYfWN+mAK4F9LjhHxUp8Enocd8A6IusnS2Ft7ZMC7CfAP1B6FIK8xp65sYSwDzSZllvfEdbrxLZhAbOk7QDh84wbQhBO01YCFroQ4M2xq77oP5MeNcpZ6g1zZ5Xsk0FyqC/wx9+ZIJH80wdOAN8sHdsPnuwvEbBcpnsyoLQVig1vPw7gDd5WjmgEgL8Q7e91ekSiRAiRQC2kp1dEDCwZp/3TT0/ZFrSLc0KSM1xi/DDh2lyAJTSvsd7oE6qGTnfpJVZtWgK5cdunjHbUfeFaYDmC5Ao1M262eo9f5qSMPxjE9GgGvoqm2GJchqvVnoJptQclqdWVma2P64oIw6J3SmZRHIaFrLuY5eteJVIJDu2irMOp1Is7wf5evtVQ0kCFPZo5w6GcsrY9CGm1cw7eAatUsG19DoTtWxxZpFXD9a4XKEVvSTtL+Z9TKzwu+jNgKg8Sd9/BSRKk+OPThM1fRGs8ZURKISIoSQwNvQi8G+0OAIV+bRFMecrLs7VvcAdLgwzgqGP/rcoT9IScucDD1qhF88S0GYQjGZjuwUOMEepC839H+2cTdtst7iNl6SgKvd7EEHrhhQUG1ptROZJVF8vZndaAgGmAOiIL634RmT9hd00CChFZno7uPlRgzTB9agbP0jpfvNYQ1twb5BzKjStOh3WKLBuSikCkoKgP/FBpWGzn3uMG61KCCoR+zpjXFaxiGYl44dlraHkjn4BUijpJ7RSGQgo5nKRNtAAl65zxK7DvxePcdMVKBjy+wsO1osu3qrxfVKMth6c+N2pjlhVZHpFBLs45CYwjpv/AoBrCKC2SOaR7kiLOzaoJIj0m+mmBcxoGz4WS/8pTuCoCRKVgzDklDXnpmOZUpDlekJPyQpWsP1jz+3PK0Sh9KTbK3ayX5ZbiswbMS6Z9kAD0IyPRfcGbMbsf5+p5A7rqqdyGjibhZ+uJjltZpOa4t+X+3LkIGK20BJT63+lSB0I/YRzgi3wLsNrM1KLotaVADGNrWg3rDK4BPh6jaWJXJ4eeuX8JCp9HJVN8p6VA2wG98sNTf7UdQ/aEx8HBqqz3MxPh7snty5XFsDN2pI0Pg44nc0pb/PAIOio0KWQTWarw4csm9Q9ZUqaIV+HNDCJehl+HG+rhBf++O0elmyy3XNpXTw08ypwGFZo5IdJcTvXicyGdqVQG++xzEO1jML3OlMGK2d2z5+RQpJtT/pcUenreWnucI3j/O/qOddizHduDptsyE5EDGn9s6UMJ0F2PEDheeh36nLL3PgvsQDjnMuJEwtFTBokVR817C4IabXu4w9+6t/U6ZHTtcNq4ZRa2ZTqR+G0ekHq9BLNyXCDLqJGx1uqDEF95U0syb2c2sqZru1f5ucM6TF+7vg+UGyTvKim8zdWIfno7zTWHA8P/Q4tyvfgIqH3L6TvpwAzLg7VKndDMrTDgAdKizjOM7jcVV1nDJfpgcdLWne6mrMzEOydfwI4ODKTOK4Z06rfm+kAZpq4Uq4xJ9y4F+U33SSzWH5GYRTLGt5j04zRpAlCEkP2/rNslCQDVTxxe/9qxEyifWLCJpVKL0m6Q18RRHoo46DoLLtKsR0/eO1YhGCjQpVXyZvEXh0hl0IoYB8YUzBygGESGX+6+lCYp3TY1JeXW0YhVdGujt4Kr1aFMQpNaMAqrhlVSI+vQiBO2dizK7u6Sd0uLXOyteal5BcKp1lTGi7WT9bivXyJ82kaaYowis8bZ9tiGgsVxDOLMRwjukvbnUx340xutBaX0SqS4Hw3qtleQZTkZpwJyhbwuOfvuxioPqSE3N/f884buTELrFfeZG8j9dPWlKyCnHjCIQlA+qB2+MTAqJRH7PsM1ECXI1jY067q3nXD+KNk0tm9BILMTZT+nb7JL4lYETpkWh88gPzh8Zgn9pdL26XAyyrD9XDwVMpRmCUxaMMK5PJ0+gwELwukCDQpROu1RIxYonXDyRKdWluJgzdF/3mh7vMX3vlSAKMj/eXFNq7llQGmJkDIK9NklOR0HEoU4REX5YwWaarSlU+Zt9nmYdYWaqsA0APr7YIqRvjFCv1UhJ8zwioJNPj1lYcJ4vG7Sl1lGKmIz9tpog+EmkH+QIJB1bhko2XYN5Mi7Ix85NQnWTooDMztPHE/mnt3Ew0JR4MJR1YONQ92RxOZ5syu7Ej6J7BH25i0an7ljHGcAKjOBXj0p4FKfHfZa6g52Uc5W5aooVrCa4Ertq1lML30ey5xjZLKpkreqgy2UriZ8Kn6FqpBPeM2hwRVxVOfIMRp78yb5RVP/tklUSSxpSp8NLOp/7Ww/uRZeaeq8iZEcYE+VbcVH8PmmhL2NmkOOy04IVuvhpUBXm1i29apDC8lpaxKm00fvlO6wvjOKnH6UEKEbbhADC7g13/pOq0nABL2rRo/jwiDjlR9Q98GnBkP2nTxynT38UYU8nr1lZ9HxMw7dd8i4dzNl7xyyjB3gn5vSFelDzjuGFTd240U8U+dKheUz/tKONdN6jKoFek9CYwl8esneT8ldbGUeChy4TreDaMoxVY6QfoRSPPt8ouAMgts2OVjoBDCqx6qH1IokX9zjpLkJPvU9km6aC31P4sV5xTsz3I7GYolL8Ze718/Ymt12K0FRf9WUw9f8v+0BphYAUjGMO5jEnJnfgSCcAlNF6C3Ds/3OksmkemNfnbemeYJfhpfFYXNfI58enrbnKKAJMEY4i4VdtMgvWLC7D+0emf30fuJ2zkFicNVRiw1Eaz+WfBg/GueiKMnEvW9QTZCjCA6K175ZLFrJVe5/tUvPg1qEWMz2kFQgyUyKNCKhF18Zskpi1jDuiM6F9lpvWVjIejS7pqx7ISRWkhr+pf9Ul/vrveRWkIAJPw606vlc6quOKgkztYNEIgSQY69WqrVLysKF4K5XDJRcSw9UYJGCXvLuejSRYaiQv+HxJ4oLHbU9IFWtN+qyvWRh7Nap2EmG+i2fNGpK0526z4SaFylCeVuQnpxd1zjZpf0Wno6IjAOj9x5/7mFtcsvYbH9fT397v9BilOMYuSFpqOxE6qjepT8felTmqrHJunCQeXHqdglJxLZOPuoaUTYjVyfkehaCXLe//i5/LN6at4kB1stABGtc23dAkdUKu7Sg1QjwkFCD6GFGLCcAICLh5aIbI2A7iKR4yacE3NSTzFP8kHWw2JGswHsvV2LlUYEVfT6Q3WFShrOe8VevX9awXIgbHSZDZxTliLsA6Hs/+tEG+uBqsh8umTjYADBiO7BqmrlCe4cvjS7JvFDz6sY5l3WcunFwfZ8LGr2AWWZ1dc0JB6KVJOSuNiMCNST0XY8HkDpr0cRKM8pgl6RvYsSVDHXz4nKzt5cngBZK8yLjRsMa8sLwZMO2VyFewiFCcLtCM6BHgyD3v/6NRLpIADLrx2224eUcwUrn6mxtl9JuQGoa9mcJtFGjvqlA1sJODHbvuVJ1DgwsAMaudtQvq5vfH1DEW6pfKEIfVOySjLbiaXaxbSDggd3aTUsO3bHz8HASnKfEoBlZ0JbKjc2RpAo659iArWdq83Zme/e5guV9YB2k3VxA1lwtsVa/SDXD63BogZk2Hy9b4q59R67R9wETqIEWIobXsKztp4E8xG1U8XTEKsvti+LA6Dy3wyG6NFTknhfqKEYBVZInvtDrR0bZtdFEBJlVrk/pkdIN0R4csIaaRhgZ5P+DT1KcV61UrqSUpZSUmp5JR8cD81788Dplb7u4Cupku+wvtFZaU8ibbjWmqWrnkOccU6ucN/Oh+6iMixcxYh1kjl8vLAEz3M55MO1bxL/kfLW00HxdNHkgyVJOcdBxTmFaf6XtjNPNZCL3ciReZfzpzyv/OQW9BwOMsRU0vT/6WCBfNVelg9wvawR0E6Ixk4ilE15Q4dri1V87TPqbCxzu5qhIxLw5Vxk9+RRkAk4DBvQFYMcSkxN/FO6DKOPcljZDHrt3i7+OE78L2OjyNoq2V54AGtDZJBYbS8KQ0fM7n3Ft+T/q6k4pKqDRIUyzRMm4eFkHaW2L26tnaYMA5ylOo86whkqn/pLeUpKmpBIulxYtzDKzRNZYNTh2T0osjWV4dIPS57h0p5APytee1Byg+yQUMnpCW5o0qT+zN/QO8/cTbKwF6VFwU7+RBxc8HqcDZlpD84MwWcSkwgrIJJI3mOy8M/jnJMlxBiPZx9UFd4ZgD4NP4VWnIOxU2QOTFVJB2HAavqU5rLJ+66oqnWpi/TYCJwfBb/m+Mb1Q6DVysNt8+kEg2o0b/P5QfPs1WARzJPqwniDPZXgVOl9iImS20JJLkwRFet9toIL+uofw/+Zn1tHvs+Mi8mjwKj5MPhNeBp2e3XUvJjkvL8rNp0htGfOdChFDe3tYOwE1jf/UpAYF5sKEQjP0QBYUvQ/DCJD01RuiVP1a1q+UbiwIpvHQjN2lWCNlzXAwb6ELsihqEinS61PUqUEAEJGU4G+XeHQUYcY0NKRYLWWG+gCCm6LN4j3qbm6zii6ftpZzj6NFvL+fCmxeCrs2D6rfyxwfTp9AWrr1VmXTwxpUYbFz9VpzImIItKXucNx498IQuOipT65Mo2LHVVG8QXNjhntJ5ojzaB8qSbJpRayjnz0jn6UnUXaWxGV3MMD1JZ0x6Wmsi5usyiJer/7XIzc/LwkjLGH0FhPGLdde8pGVmkBTDgUlqKOsdc4eVKTYd6wt/aBUoD45JTfVJPyNe+q2co8+5mdc46MB/o4j0+j53w+i+/8lnVTDLiip0/YKA9Lb7h+MrZRrR3S+xM7VSJQZHOGqyiq0E5nV5wcjsPxX36pYJgSxBI0EdSQStj7jcUn451RCoj5nXkLHjDCI7RsPw3Iv08KVtMHLCEQo9gAkT+AD9G9ZBz66lkrXqIHbQiIuDVwDIl4QwfKsHHw7ywr/j5VkU8VXAkpYnBZkuS7BvzwEq+JnObvYZv1QeJ3Q4pPOFnKtzOHHNieu+JFnh1yFIU8VVBwpy454Yf2u9pTlcF+I5OO+pu5e5fbKm8UjvuklRvW2NOWGW5tCkuUnh6fLma2zPJC599trFqwbeShvCIK9TGpKq8WRFENCH9Vrw0dXt0OW2OnBsv5MfgDiEKFkK5NqHOWogpNSXCIK8Ri57vN39d5q5F6ay68Q8bEp8u/NMrgvYLhWtdgqNdk/ptia4XYb+6OGKY63z1F+02qyKQY+zA9ED5QOyGJr1d5F/gJfVrFIXQ1tZvnAF7Y0+D1jG+SV4LbRuZGZlpqlNBs+Xm+FGJpJlePegfbQQyVPJNFi3sImaN8eZSLHY0r5CH7GelExUBjKiJkPdk4nywoCeq33qnY2n59S4hG1Lr4326TikCXX+nvEwMBHf/LbUJDhLlUTCrdsQQcQMI2FnZHFmfE5tXuQqFtHvSXtlyeBXAKKGn8dAItrsEpvNAeymnD0ds5t+c/bmoexVQ24aVkaJKeFhrGD06G7jRECduJbkuzBH6mOZeOYRnPeMifMNlI1e/EB9yLMHyfrf1PKIsKD84fUBfyc3Dj3XGO1nANYXtyyxiekDpd8FD8Lr3gA3P3LXpKsWAAeg67q8aUbEOLgQVCFGOMrMpB4gAXPG9kyT2Uu25QV7CUwWOvTWKwajtfzv63QJYRoCYFzdtH/peqnr6qum1z7h9VXMYGEJrcC8to7Mvul/VjsLdKt9exoh+bYI+2Apn5V1oEdoHyHAlwXQSBe58S0ta3y+gkqYUZbhkY0oEyHH5JePOq44CVU3QGahLC7awZ7esr9O82ohdtVbcKMuQ6+kfmVVSp7zfN1nPX5vSDZR1McUmw5r2KJAYiVE4N72JZIR65nNi0jxpfgqfPYo4rJOsfaipuSG+v7BpXLXsT+t9UpXJNp0feAQtJDUvq4ZoJtxDesqCO8OrrM3/4UJKk5MIdTesX9BWYKiiRYcnOaa3YkMOCn7zvzlDuLQQuyU8ZaFtAXDI7Y/tsfPy1Ab2VxPd9JXA5AYAxGzBy3fvIDBrhlSLo0h1fTY69V9O0WxpowbifM7hQ8JK+G/6/mfPOYXuesThalKIIzAtpnP/u9aY7R0Y7a2gxPUnGStpiXjTPrCqIv1UpF+2/RMiQxpXrmv0nx7dqMvI8CIzZQG8/PfFw39CaCChLPqLYVD8rEwLQ0uZAmieoAF1l083DJJrKACg6uPVkRLHq+nWEsMp1yUXIiyKG0Mw/orv2IKQPWhX5WZgYi2GANUaRpw05HMtXyF9p49rwSWI5NAdmv+khc0ipAkcnD8TU+eNIomKLMhukLoOWwfrKeQsoKbihd4SpDKfpCBos4Mei9wU5NN3yhqMxxvOE3wbqxVqny58UUshlNoy54vl9TyIZ37+f25H1MaA3PlK5N+7Yt26kgMSKGv0G12eG+0RfyNr+26Bnke0TySx+dK1hvVrVJHWbIA/IH7cAiC0jv48gNFX92VillAnQLnjGU5daZtx6lO8HXK2cBLso+EQhth0UQEzGwKcdMib6AM7wznHCwU6L5mvAtRGBPPzenakgdHUW84tQDoR19W8BpAld2PNFywhm6IjDjwdAa8zHe1Jlf/DZTtv09EOh7BwncADsNAPOUqZ2cmD1VlsGeEocTnI9d/HOt5XXmWpzAYpLgEDRsmbUK7iESa6GbFs6YFVwhO5b2QcVxEZ9TI6uNK6/RcZksF/bac8Lb0rN3Yp77z1sXQLVPbQaaOf90aLSrHD6g0qIKLcbWtP/MQeAireaLp5JehZj5WlWDmmbWAs1+nxBSnq23pZCWba3e+A/Pn4TMUEUhOA3XW7f02HtQBChRcdGTNt9aZViXiEDvJtg4XTXkPIWdkB0pMiqkUYsImucJV6fK68/VqKbsigIPEe4+euI2ZeDuG6VXIn4yFe6mVEPKEL8eDfJE2g97poLwVQH18RwYyqhk1VitXGMZ7FO7tqirPlU01G1kIlIaZQJmxvwQkfKQn+5ZbBPN3RP93RonxyR6PcWICYxWZU+GmIq0V6XjQlbvHiuppLWPjdm/IUUftCL3wQaFBizj8M/gXoVf7x/MrBWVMpI5XzAFJPxH+87sW7csFlE/D6H9hJJOnjC7p4QDlPhGxS3qPoaMSvDe9zebFJTl0limJQYudh2CFIhNy0OCuTWZ+sFojsJSFs7dvZMU+/v1eyXq5h/XLw/+OkpSVLhUvK0yAds4bePUkWeNKX7nnjci9HBBDkyItYJeMpDxtmeiPHjCVWd8FwuLjMfiSMYj5PSLN8OMbHwsB4kz+eXet13xYcJOyp++yO3Es44yX443nCmIIvIdjnm7Fs1RJx/E6fHCE9GKeoKqI9PSIc16pu4hx9Ncta7ywylI9HwI0bouwrDa3G028DP53+93NIzfM34TDQQtR1n35TM1XgESpwZBfJoSjo3pysXXMzOwwd+BFVSfPeJmlm79HVqj6HaICvlTruqzpgj7cvaVsYw0xD9w8RWG4BvYfHHo+xy6G6po2bmcNjeB5w0NePaED40rgJnPKXB2EO+mDkTv0V351uJnl75WIyJHBcHLiGdEGaZpUQ9yikMly6f6k+2KdKeauiuJS/SzCduwHeBEE0eLz+mnGhFcyPAXgCYNjZonXeU3VEmao6OF4oGQEeHycTB5iDcDzwv9cwzw8Yj7D5d3i9re2rZWA+2pKabcvtwmmoTAUX7Nw1ziAe64KSKTnEsmjBxpgahpOhVN3hTTFZPaNRGSdJtvkZkQInptzKgRtfqvQz3oRz0iawuNt9peEmsPe2SS8Ourx02J1gGvKQyvPfIz+cq5K7QQM71T2XxBCGr9n7/t/m6QxmFPJVr2OTDP4fYX1ns0nyqDQaEhRdZwpQZEaFMbCOUpoc2ZJp2UJIEjnqvvLu6D5bRfCaYqHBuIhutyJ7z7oEjK+2GMfxQhHnJyYOeKJKSsj2Xa4IUhqPTXVvRqFfgHlFDZwjDk5mYhr9xoXhdQRLlj6BaHhym0fB5uqL0amD6DEG7BF2L5uPNuDr5vidDOvJfSsgQWnxpHTruWGdZxy7N82voxMFmcHMKMoDk34tx2MqTWCVgDhjZqD8sYMF88f6Cp7AEYcaSJUSYU/s9XTIW84pDxLnVZsqm9Y++Tcp1pPjX8zK1VqKHNU6Mk/nEvTjeELiZTybrc08A4O9aL88I/CZulwEKytdEVADjGhY+34ePhrUuUQy4KIgCmNMHnzl0RS+VZtnHRC7pvdcS84KNwmM1Rb0SegfLpRiKu+X3I4cL2seLehRVuuht8bnZgMQun8gm5+6Oa4+XgGNEu3lH6phd4eZJMesqY/xxeR/89tld+uL1MWY1yWpEPQdeAOFBZj5u3gZ/BLwBnyXC/FRPDQ0Hu4joUu6N7paJfi5ZzGsnAyzX1w+WyMfWkH85Wmq5ljPQ9rleKw9idy/j3XErhXcNNjW7lvP2YxoHYZSwBpEfDR4bHeAqFPKVq7xO+8CnYIQSI8OueukSXs5RUy63P472tN9YcNsDQ7HhZmrXy2QWS1ZXHdR7uO8Lg48Egx+YI5xElqrnO1CnlWDLnYmx/ZEmFYykDHrfmI4QeTQbw5QsAGTsZzA5lS9SVSqD6Y+M5K49SY6FALMBKz2+fijLDsHHzFChviZ2x1wN3gggg4FCGN2UCw4qkfnqCg3RoBo7rTGSFojtUGlASdZuK3HQqYJJE07FEwYH7frcO2nD2jIZxaUxoR1B/qHVJ/pD8w8V/mLI5nwtW2xmIlTIwMG4V8++x8+egCeSwGTMRf3UlUm9h0Z9o2BoE0ijF5HbtXfIYnMtvDi4Bpu2CSMXCDaYV0kBPrI/2AieoJD5ek10AML8ufWaseqsx1NJxLmy+9qWaZhRQLawtrj831OpljmIBAyL+t7Sz62s4XJhzXQ6f7nx8zACgwiLdVzNvaEpRhCFpRdK8ouyxu/ES+C+tK73SsmnhcA/aH+LGom6tFxBMcMHrkEytDF17TIeraqhwDLIVYBfQhC9BUCaCdWLSaEQ6ORU3iHx00OIVXGu6RpkryfJSub95n9FZSmwe4+v+JB8kFDxvYQfQSsL3MjTot58drfz6v6yqhKa+SZZNvlKsE8f8J+oGvGZIGaZeQabAqTBXA8hQCyEKpLIzLnHf79tH3d3FcZrY9Cd+GtEJDplhiPTqngNnetzJIiQdQBcIsITxrouiXzF1dhDEhfYwgi0CJrySPUJg9KwKZcbO+/wkirMGkHZF8dW2/+S2FkkhB6+GBZ693FJhqx0Eb2zb+vA4UBXNPgq0JNDab1Zzw0xipJK21zGRmoJinTSbXm3qA4Ju2dENzE3HSKtitbGISGKvgn027XLl/ZyYI2TGl0zxRXlaGy4MOVH7IM+tNlu4XObSp9bIvJkoaflpSOxlRFqJDGOP3KGERA2exxiiu/tWWZ/Dbc5BXP55U+GJgDdeg/De9F3Ux3yqHDbQ1Ievatd2xNYz6/VUFg/azlg/JXIKATGIRS2J0u35Nbd6hsI9NZgnNeDspUaIfjmcrwPOuP1Xt+u1tlbMDaQs3kqwGJ9wcspYARZsclZxo1n0iTQ6bufnkk8QZkAxFUFBHGDKTetsQZkP2D7fEGU/ue5Q5ESaigdx/+yaCZP9TjwLkvs9EgTDkZFkphx3VxX3tM2vVurBiaIZP0hucdZmaAgANkBRYA+w17FN3ONde97Hb6O/aTvP1x5JLNy7QDg67Q9lB0FQvsA+ID8aN8g3ITacv50c2xkR2OXbP0vbbepteYz1v5rNXERldb4j4a1R6zqW7fyNIbpQgyccZ0g8Dhp8cJGBa2aNCfl8ts6/t5Y04PIqJrktvTQaAtL5rqpUrFmhmV9x5La9C3csc4WKEU4X9wEzOkpMg+XeuLtt4cSftzHpgyj1B+5r0ht4ohupMhEWksPuWJGt2hAdqWx/5BNGHkRVPbPvbIKcFZ1KdYyYHjPb3TsOfgcq9is+D/22//1/98SZufQ5l1ZqgBKxI8ydKKzIs9qvpi173AXf2NsrVecadWSGB0lC5uORbb17ZzfN1D3FNScJniOLi3WUQ88vNmH2PB3NHz1kGrK+NwiEsFOIK6uTUtRc+P4OmawfETK7E03s52EnkITDHx9wPKCqTeWG5sPSsE0m9m32Wq94WZCR7++ynxdxNV3BsnoFJvYiOW6A1hCIDxQ2c09+IxuqyCldlDB5OCV4iHnNwzBfVQSBIJh38xYDoBz/h1N9A9mP1RCP+6uUm4ndFj81ik59C81t+75188t51LviOHsun5JGwjwOyqYpMvk1VtVBuGckUDm9fT4k40jR9+ARwGZrb8ZDul+UD4Ns95PHlrwffEIasl+MPdEW4fCVUNuaAh2SybQc0PNrt9/jK+MZa/B9syB1CMXoSc0UX9RRKQpFEdXL3Z0rXWHgtvA6buVu4K9UcsbBYLjC/wnM8orkgOOKi5mydeDOHR21mDUu4hK57B9b7I7ixiOF6P5JTpVcnmUXGhTwlcgElIt5cZSysw+TXvYCJQVyGp+fRo4sr7au52+dslzU123lgCGcDJCjluQOqWzIx/7wcQrOG3YqHPCx55wgLUZ2qi8ZPnTFubEbXEqbInGaYAC+pV9IxT+0PKxm42QUgQN35dYfyfvcC1y7Q18InUh6P4YxRyERsMwiXzDEgQ5luJFLMgTCIV9EZLC/LleWCJyieiz1Ya18urFfM/+Mn9fdSZReYY4ARQEUBxeb8LImdhFKAFXbNJOAbPDI2kcsbaus05I8qF6e4vkQkVlVsVm0Cp99f+qmcJuNEW2jki6ugkgQq94maH3nX6OFKtCjXajnC96zg8O9EUaKobr1iJcFweLITy6DgMYnjiwy2gRaPbugWPmJ0dSvsg/K8X1k/uJT/M67FxX6RVk2omCAXdIMWpazYgHlhhNAhyEDF06Th6xf5anxMwWTaUkWOlHXCBQZ3lhuHoPHrqsHJkTomSFSY3GqnLSeWWPCjwQI6b7ihYS8r2gXlIDeNi+5+NJhb7TkTq+BJAb0zlWwawSpzjkDHWR5DbT3pHybJeaRQphzM2KLjdcqY94/deYUQ9WMKW24TMyPMtgP0NkZcbW+fU8q0KsPKN6NqVuSuqudNJHrTLHduOmRJonbKLUvUudK1UkJZDXR/XBbwWGcbRb00GTLuwaW0DDHmLrXrBI2flxqxpwOI8BbEx02MJUj5KElEnv8zK7g0T71so8+9hJ5jfT7Y13OfzisHAJUrCPWg3j1HFSXva0pdYDBpKrNFdQwfHPqFZjp6+jxtIw/heH5Nv5B8Y2goDw2MlTOhdFOUOdXDTwmiqmUPM1mhM9PmV0pLd4NytpiX/LFb20bgNAy8Ed78RSovM1XyBvEORwH3lR4v4seq1syz6sRJ8PO/mEElnWcyHmZUXA3C6MMeWZMEHeew4OpDjBsysOStMYLaMh42uljpxHHnS3oOTziQQAgi43V2rfE14V3rbYC9yxeuLEYgcDmv66pJ5f9KZdvI7Rg02MfBwnHcqdkvwd2jEudvOyPu0d2jWSJ8yRxNniuVOnm/l4/7uPKRN4HQLTz7rHj6J4484IyfM1/utQjajXWL9GJ2qlzzqPmHjEQ1ZYB/CpzoZTPA/xp8RkiFLGeX+ROvjsLH2QqnCD5hHs/olTFOmeU662QRVlTCZN2NW7YcdkRnHsuRaWnGHN18j4PpBvKF7QOto+fYS8H4myvqkt1dR1bq8x/xcTvI1PQoK3pdaagvY9KcsdyGPOsQEioBYq/QydHTrjhYWQqfv+YVbQ8Bm09SHbGbcsjDJWc55JI3xMN/dLogKd6YeykajWWOehkHm+wsXoxV2Bu/leklygun4yJo9Fenhfq3DsAkQuRRysXvxHRAOLx+ce2f03cxObPSV4n7zSSBkhjHqp7gcZUP0gBYp0Gaa89tNk7Vnky1AIg3mXlnlddktNln+KYbXllvI1wwUGl9i7XaBpR14tIp4GQ/LkaBvCUPcAZxzlYMABjEeBG5UFQJLoEGDS7jN40LHTlA6Qu/0xK2rU/zwA9UcUoOlY625F6dhRrvGkxVB2bUFCMDEM4iBHWSrot1Y2TyUgpGs/ZcYCkXpcJCrZEVLy8RZKxYHgwx4j4QwMA3QN0ktK/1ql/yf86iAMvplblWvcTK8xdfiJdJu9VBV3rsrUB7QNEu47DaYirdfWDCSG+ZloR/6mEdbxPwJKdwRj3gZi5ikuswZit7Y3UdMsDPH9UOrX3HKacvegMXSZX6IPAmWGq3q1K6mIFvDrGQHV1BMaeY2kM5kkEwmgk/KM0TIKv7r8tkNA/i7oJefbhFtmlFmD0zpxd2jdiLUMPYwzSWq72zgA1mHjwWA/XGUFEjw2gbz3DvaBJc/mP2CCuc+RhUJNAODj7dDYpCYNVtPuZpOB65fgB5lEL8t/9ZqMreC+RA4oLTj7r1DlFnC6sTFEvNhUITBvnmMcVp+paxdOCHvxU/UGNccpGbcrhdnfelTROwcDA6o5QSB0bNTGKZt3pA5zNlbLq+TBdnYqsEdroGSYGncX2BPB0M53HIQyfs4Beas3DJc8f4uFGzxY7XTcwDu03W8PG3imorjNPk94KOcfHphzsv/7PMH5T6YZL4FhZzFgUQmKLUxCsLddBydDE5Zc25zIZxlsW5o82JtxXbrfh4zwiCx7N8xqPjh1QvL2LCQpZ0Hfv4UT0oszwE/tTiOO5O0i8fNLSkPGd9GUwGJHZIBp1hkkl8OrXv8/Cv5u9srePms5WZ0iVobP5RlhT49Qv4Si7LZNFF/W+CWdfjtQPdy6l0XDRmUsLX8CY+E1wCLbAjeZH0b78EFsRBB7oVy5jgGTR9FV8WM1x0I7TSLZN8VgvwGiZC3dgBMVrNXQdXkA5JraCzuR3sCl/0YLKk9X3lTiWnZ+34lpilZPoPpyVDb+AQBKRnKdRm06rpGpFPSJLRkcuZ2F9fYvnsra7pu5Bh5L5uDCIeRD5GpZrpVY6qeFHVbl/t6SDshmHFnzFsepfOYGVBzHaAoupnPw5pAM3TeHb2o5e55irJvGlA61Fq6hX5y81Azmzaq9FwpLMq2voy1jkxRymm2HPA5nlinp8oZWOsFC70m16Rco4uDsLHwywbp+fA49YJAuUEvAdczYY4IfDxgdyNP0rAPLrol/3oMo4xuI7CgtUmM3sr9A3bYqzwzlg3l6wNN3IxcwoMMxMEvr8J5/AvLHMv7IDyohXC27m9PoYgQUEOSO+ad/GU4x4zu2hAJiLSdmrDIOuOhMBBUbfmfoLW+LBB1KJEz04333IK9GWu/BUoFVLk9teZPqmMViM6YGzPpYF9tsoWmDZuMYlI3q9udzH49fAq7DENDW3FrLqy4FZLPkmr7u9pQAXWy/zZHcNtg7/PQLEkIH5QML4tbNir0Gs6IaoqEivOGPgLJgW/ygxdekHSz8Cq6JLGj3gsVuMzY5z127RwtZJjrKf2taYYSUiyukZ2qiwsp4W0iSZgSH+oHiASe7uVdzJeVCu+KxFaXr82IPqCWLnAR2Z8o/EpVB43d74SsDn3GBH9/Vb7C0NsFPcBRFK/3QmN8lrJa6OWlnWifV78z+jxgRG0RVlk4dCb0blF3SbmqnAHOQphDj6TQExeT9FTPF2wlltgnKi7PQmkfVAbkBakGVTFMl/IbJwQtuvuw0y1r63KSUZS5Zld61U/UCq8D/U+oOGKFMwaU7wRGTPlbWPSBx88BSDXiEQCC9WcJVJ3BXhFssdr5BQG4pMUNPfSaqzxLBoBVc6ZwA5YL7IjnidlGJ1qjUuhTTDAdoO1SoFZv/PGsVeracM/LEwh6cO53CgL4jaPkjuAMM2yQ3Y0+czbh6b/va8zv1NvcXNDcb95M1ljLv2L4vtwhXXQTDqKeY1xutp7Ttas4tRKLUNzh9ZA6qSmXoJMtSXgRPU9Bt79EUjSwPVKwtH37vfp+uf2vkjJta2H4oh+QSDSHgTIhwKXXzxqcNfpJ9q7Ct62gjiAsnlfn3rU7YehtcYfJafO+aRJf0bZP16mhUqF6TskM+dAEhfsImTczIfppek1AVUxZ1Rt8WRxERBNFtQEJj0YHxQ1FcPE7cKa/RGrypuFzg2V5atnMoNiTJaEDcEHicZeuNwn8g5EjQiHtL2OTY+ZXHTjIVGME86JnI9Z3RdbEr7Yc4lAi5CqbM2M493kfdNgTXH2u0RdMoDpkUk59g8oPy9Ww0eAUn1WvG279Y647sRWv1tOl+ks4E7SerqR9LKVtPDWVCGiYGL3hbIpx3q6K5CsL2owE2WJYqxsU0QxYywCBQbWdcHrLFEnuwwFyyNlej+RW35TF13tYmbcJEEKgHhDySGkkqbfFnXh+jYk1AIbHxDGZ4xrBP0LR8szgrzLNQttkTxSQEofs7aA5dOltrWGNbjiboPUKNgQqKyBe4+svPYXpwkuG0i0BgiOH8C3ipIepeelEzJ348cfU0CuruqLTKwu0E6jgCyNmk2e/uLhb8tvPCSyiKhmEoY4vMxcUL0O+E01nfs6nNs6klla1sUyRbEF6aGohwYcRd9pjAwsOPrX+9DBxZ2ZHGVKwBH27GVpPDXlIFaf9TM/Nq5dpPnqmXugTFu5/OH70Ri9+l4gJDgypoKGfK7vB3UTX9sVHCWSLBCiis6MEK+93dNk8OuyUp7vklHkSjP9ipEKFEFiP52IkyQgSnCloMhJeLOYUe8LBZL17ztMXc6I0XrbvoA6aYW/4LM9Q5FGbLUru6hatz64EIGHlRFZVRlSYN2Q7IxI/02mceJCoklRsDkMC6k7niWQf2ItKk895Dhat5qHpWyYJhgOHXEDPMdmX2cWZ29WQyRYwKYP4kWFqPQVBprDXzcGSaAZ3DWaypTTxcuVt4EOWpX0X0agsjj0pMQw4eZu0/bQ6g94rl2eox3223ygMaLuYDZdR8xOWTs8bphfoLXiQf/UG//vPkT/e0D2b5QLP+o5tiTBqyG1XgFuFG5VNTGAV8UOdvDI7G8IGuup7YRtNCC/uB3Wv23Z6oaeFw+dBOR/Fr9sdKzcFq3mgNWC29A9Dk+XQhhvRAHogZoNtLjfMzX71RG1M7aus2Pzsp3otoWjRSSo5uq855+FNIh1oqkakAqPVmG1eUU1n6Wi2E9smfvHdX+ErzwCOdaC3xUkD71Lxl3LA+j/Yc8vDt/MYNiNcYEWwt0TF4ah5QIhuMT4gGREXTZKBHVV7qJP1qFDl8iihpgFlo82iPc53wGnCYVrq4mVsdZUVzINAKgW9pjfp1IKLM+tbi3WzP/jzyR+/VYrbMfPA+XSwPFXHflqdIYsTTpJEWqQTP0zcQn2Vro60h6hltp21mSgDTaeBaOFJ3NumcACntQniRPgSR79SXEYr+4tEoon34nRqXC1XSNvbpNhnVHgs19TVvYuIqlhKWTefyjAwSM9hmkEGCAdmqCtmW0Vitd1p7zDc7z1k4FWhW3ctyDUIlHvW115oB5MMe0J/CoNiCE0fbyiaIpIO0HB9NuUl7cvYDzmA/V/Qhd+Qqdxxu1QiNHmRDE8Ate4flS/GdXbQ182hng2GcuCN8pJpEN6psOEqy7wrGYGH3STwXlKMov3IcGvxtT9RgrEBDam8DLnKYlf8uwS0C9NNg5vLW8L0Qqfy6KsibGfD1h3pHGWxLh16qXPbpOJLD3lwPeXrRYNmdDimBQQO/9MCUIG1D4lkSv0XcqJstHNVkrZmqrV3srUkxjW1YlUBGhVsmdrs1ElUyxVasz4uXMzgk0B5fB0WwPRu07vB1+cRnfbwOkXCc8qcoyWAyiUDkZMYcmvCQhx7FUEKDwkROUts8ZUeHYo/Cw+1LV5MlgwkEWMAliVgy1Amnh+GQJahLkYOSU4aDQD/MQH4ev1yEIutJ72CFEfuBwAGuJvkSyf/sqIOg8e4/Wd6zTuOWj2lLmOMkhqQfxT4L+iZiH+Wx7qTjr1MyAzbL/PKc9g1dr5v7fIg46IcZdsenRA1xNnEmoCEqM+q6N/iaSgo1o1a3bLSwLE3kZmRt2rNwlGC0+b0ButNaclXbuXsBA/sG3N2CgIrpGpmL0UxvdESyVVeB19BZf1/1xXH98hn0MfwmBCaGHFJ6ZmVL4f8xVGGKN55KYvlOQGPCGpn81MAHHWkRn1LL+Ln7Cvsa4wzIGBkcnBIQubGmt/AfaaDAl+VvfPrNCRqZ0KkzNtFGJn7YeuI43gMnnDtt+6SGCNdyTBPdPULaPGCwg57hEicCQE+X1ynV6Uhgx7+JOQci92mVy5rUpnYh8Qi+mp0QJ0WeeINdEswFxRh2wM5iXB3mY62u5RUPYJZprHfy33oNLRZFU62GAKAMqILo3MobeHCzzwbd8m7sNY4Z6roup2KvFMUUhL0MCD554BFEy+tb/WBZhtp9jCx/SXSgGnTSzBTuGJm7YVQK51pQ5pLF38adBHh/OF/JYkR9JxCQUgzyIUqt2jjLRcVKyotDfgxOAb/9daySWsznot7QYXJWco6c3JjFB25iD8srXapq1UZXUAKZq0mvVNNoLf+Ytx5gCjAxqfudrzwHeMxzzRGV9H/9X8mb6L7gyFEemCIM806sITcHNYvnjBCcqlp9FS4ZCFd26GkYaLHnAvWUGYMpNQBbtXppDEy5GKU3NYvkZ9+GQnUZFhd3YXE8zN7mgDCeAxR3T6PFN66gs9VQhk5BFi/60V6Otc5XXHaWOP6SnDSf0P3uDfVxqh5TWtbUEdAe4PcwW/uFrG8mfeT5DsxTzml3B6/wygLKHBcYpdldRmxsEILvEWdLEWCWfoNiCdjJ2bMlFfpXaQbqwo/znWQgVF4j1lpNMy9isD9ImwG4rg0Tj0D8gVw7uahx2fzphxp4MbwXZMebVv3j+IGXmSh2nT/fHYmm9Kj6DAj4jx6+yIFsMNHKCY+P60lSHwM203lx57A3xvIYqyvJqdP3mKBmopgWDuqxBRv72LpVzkF6w015+01/Um3vQbRZiWOFLXoxblJhhX3vP6gMBoVkvFUMuFFiC97virH7gG7YbDAxaJ09vTWAQlzI9hWi71GCMwidpLh1utxz8Och4lm3S86Skwq9KOeLbmadzs5XqaXGVwej6+ABV0kLZUKxiaQohTx4FSpxaH4DVMAoiP+yL08xqG0hYMJ1km/YEwneWhftND1Iq+4WL0YHXnzkLPwU4GJwvba1+H7+qiFXWmByuDcihBWAf5G87jWydpvPTmvpVkMEsay0f5FlA2LfDm4PNVeatlkkCN8OcW9AowLMh7xSaJ1fiz7ltU/bRxjCC3+DoyXNpfnm+FDbJTbKSytTB9X6aOVUyRPoNKiRCQYLm2QFfx00x8Z9/jt4+ofGc/fzcaWi/TMWLPP7ddxGwq1n2fzTYHgWSA5RCLjV+YMsNur5DCqqPk4GumPuAf/7K8jD0dru4lymwbP4Q+CwvCYzXaNSmAyKWvHchE4x+3P9ATFmUFAvFDbOkR3vO1yq9YK0vnSCFrcFz9zj7dtewWXsJq0FxtN9GIOBqqns9S/FHhbfc/+FHFgFhtOU58+4uFeT0jfMAf7uvr7Ou+t6vLQsK6mTVpVvZrAE+hDf2ADVifFv9tHDPpluKrISw5TNDbqggTUrWJfPD72zHNPqk05os55d+JI/Kx2MY1ZxpdQ53Vfo2jL7qFaojlYDjWxgvKM4y41kX89Ldpp7sW0NwOaEFR89J7PC7AiOm132pkQ49Nk/FU6f/wcctSHerzoQqe0Z6AuHuPZQJPqsgr4Lv1vjyiDLjuDoOojdg/mvol4y9HBxOa1pV0yx5ZWTSsyRw5xLOJHscbWb7kbKvVk7lfU/tWfy4oaF6TIHCcvvBI8eYOwW4QSg6E7JUSlGUrfC8TW4WBB1rGekUez0p6D9n+8nnShV0cQkFx+p6nxbRJNbheUTcYj2Zlb/b1NX/ylERP1IfbMhvd1wlXHoR6FwdFvagZDSLwf6pPowtO/08i6qJ7pQNjKt7F2i3kCBJ781eFfAq7lnwKa9JoAFmK83Mk1o4H1EgSj3d81jU8iWbHT5/dFoWW3l4dCP/GsIagluHLMfOzOozWKeCJVFRjOMpRKfbyN6dM9o4dyLsvvLubIYm/5Iilgu8S0rAk3bfq2t6PWtOiTPGa5fQ0Neq4lbKdvuyTrnffIA0ji/rTRuFxTme+xHD80twmw1BSl9QHmZpghQ8G3DHEF6xCjioQCyeP8uD4BL/5ZO8P4lVDv+nUpP9KLZgtg4pH+YHmLG7L/mvFqJN9oRur4ZcNivuprDCZrX6ViGWLIBzQ4DUS/CLzaEw57rzs4tHyEbQQjSwIc6NDQ7WHw9bKtKf2BbGG3WRtSSbelndN5dz3CQ7O00M2HLtRa9KlXt0VBp20XQLbZ8sSnxY6de7lyKkZUxYSvMCxvgUqBcf/0UHynH+cejIZFCA8HhjB6kELUouSbgs/5+wGlKVOLI37SlVZ2sP9qBkUnfNCRBQv5omKuRUFvSIfvCrpaATRmJAJS8QePiC2usTrYDW7JwMRdPjkBavyzM8RjKjYvkPlJEB1kM+ljO53ZW0l3ctgyUuiqEwI9+0wV7b/YxttZTzqYHxbkXd4MrYv8RPP2Y7Q8grbjVDNhlvo9bUokJusXYaIJjSYAxeUMdojGwqq/TnQO7+wjvnrivHWR1yofhSzddcWVG10pcJkV9VfKef/1j0kMJVkWn2gIEs8K7NITEW/6pHxhyeLl0FN6gOSbp5fCiGVrQGO1PffI/gqjuRmqz0g6i33zd6fKWIhrD/dMC7loPs208Jg31T5PpO0269aWQTal5gHyXKZa7voERAdZnmtMtKUpXkGxh7wcwVxXsAvSnFa1l0LefWvkI2FmFT5qippdW7ipo4HpxkxHw9tfRHslBvCzL2NDn4jIirPYmCsIEZDPLYxLZK/uX4dZJ1LTGjVvxOZ4eUnCH94WjUHpf6fv+hK5OxXzMW4ODJMABEA7tLlSNAjP5NhMv9p6i++tWakLGLkMvHfY56v0HMDf/1wMkdZaZxKR9MfzFJvMR6eZ7WNnYMzZ0h5vvcE0LqakDWq++87SDwVpwyub7r5lDYTPxf+8Vy9luaYnb8p7RFQ2k9MFNiZ2bwv8tWhECVOQzXwnIo4iqq1DhcQrGWVj4466Efzf2xUCo75QG04UT4MYjDkEsOiIu7uvCsBiz9s9AZtOCxA7L9ShYS7ZlP1Wkhq5KjD2nkdr+TT2VLz7MmsSey7xJhdbACg5qYX8ekL0e9Aji/nradFOj/LKTgrAN0vfvtTiT0Aaw7CAqXoQs/LkNwld7a/KyF/abblOVLlnpgz37W5IxkkTK5LqI8SIMPzSqYJKfTW4Hp4IK1mV/te4/5vF6w0u+JYGBW+//3BwTX2n/+c2ioy84LRebCOiCUXN/oaJpJEeo6bMGhdunN9EEDyj1k+vjba/9LkfBDY8OxVUxZqNbgRSCAjhbFVyVeVzo252waNtehvhTDgGdfSyvRzXiEz3f8te+gMpDEfIt5W5V9NLvBjQ3ML1xgkYWD/yKHgRK9N5egqctu5xG5oHKAROlcOtEKpFeeykNDHK16viF8S+ZBdml0kW6rkpnY9Hl8ZnWyQ9nR8B6pIMp8APDdKU8hAGiZVjw5/Gt7NeHG78oUBV30TPZZeNg9mQqO4u+WIh0KESDVhL7f8aeMBRuy28HPV7pWVat6rcjPSgygzPB2vUWAxIQpmkR7GLmawQZ6mR2IHWRsK3FQSOvfQ4+HfEo4geOhxHYNco0G3QG6SAFt+PBc8fZvHuokdAS1k+WhMHWn153wMk/VwBjd+yzq6i5+IehoAo/ChTnNBvyk4hgS47gVoja5Lq3AMrLdgNvb7aOlm7VRg1Vd1kDEHGUHc66kOs1v7pv4s9zxX28eHMUYCToG3NaVxVk9jutrPSeFN6R0xhQO6ZsH+q8/Hfp82xMEeqNdrZlhbYkigOK8yxTe7XEKukNqsH6CEDsEzgBZYkGWkhI1hYP8eNLXdVCT0C2MQzdK7NmQXuU51cPpjhhfAzYI9u9HMQgf5GLxZA+CWJ7KrCeEzHp4eb1Xl3KDXwakJlmquArK4AOB9Mb0EMPBLE4Z9kxBQIXQOZO+v6RFky1iLLNkgvP9kBjnAP6jhINpYli/mHNCeZbcYqH87nQdYVXU1F/BskzIS5wcACliBSG8DIB9Q6EugNVa9uBCVqRhFtwdNsL8AADl/Sdgy1EV2jGminAyYAROdFwTEsLkHMihS9qhieZ1ykFKLMKTW/9lHvc7elHeyUMu/nGRUFqKDTgKloxjyeGKi4EwJeHtc9/7OVrAxmcKv7qc6GunhZUv/XZk8czL1iEj8Z3IvZJKoQkRDzaIOD2Sf+yt72m+6Df/2csOtqGdHtRj+h6nL8J42YwRRzT512SGsXQqat+LX0ZHzOpEm0fVwHK9nEjPw1dzLAwVvlJFHIa0dZPkiJjxquEVGwGY+k4d4bYctsgU4M10aJg8RldrSU9ro56fVT8KeVpl66m6FphxfxLJesVYdY80LrUarH5WVTB2dgHXHmQ6RNsxmFYhHgpaR8X7l8JYteHyhcLoB8i35iajnX2r6MWFrNz9RzN15PR3cN6zbWrFcKFT1Z9STmLND4nZfdJiOSc0/cNXarIkj5SH6ze1A6AN6pzycHrAit7hSfnoqrEdk27J5zp5LxhXb9sRPPd4KSE3P8rWlLOhA0p91lMAMeU196d39E4EDwLewpWFse3IjIn3Znw1LsKQ2QuATYojXs8jZuUmjNIhrYoDhp1+v+fPS+gIKyj2D9znDtDHK6LCGFlwEQ0Z3aEIR+hIrpWjddBg35DkowgI5HDm8LzUD4LcyCq19GnO1+GUPLBFIRufm36Lgy+WkfVrzA0JwD3KGnWEDu23FCvaRuyeI0SH0ljSo3E8isnMtDafCSGRQQcKMEdhlwm1wVIps7JMUHWJNOeOd37QlKSC3Hv3WAroVrSIZGYvGgp518PWyecsmm+QI8FHfOYoV+zK88oLkuRytYd17fVGNGjbAjTEF6mBkrB695GQVzGVYN4yvBEQi9gaAyQKsHSmDorBAVn3+Gbcv1haLpe18W3rq9Dh5tRGzP7sMcpb/Oz7Y6a+lWtx25SclPJOgEFihmptUYBPhN5qXXekaOWD4VbQq3dnTwdfxp/TVVE1DasNumlePgSm8FK1M0NGii5dbEuIRuukwILxPveNGrjiqqL7jBVc/FgTczobMjFuH55VqDLKMF9LZURSZELqlD+/Eym9HUoS4vc1VzqO4bWqSkcCikLrZGdjoRXZ9NtynGkXxar3dHL/SeJjsWxKHKHx13HKTUD0mUTeHyGvmhJlVpN8w0MfK92HxJgCkooGGgR1JJyZ7ftiNqZ9s7bFEnhHA6LK0sbcrSdVlZ28A8eTfecWljUcs9fO2RW3jEKB5NuQdrrC0Oj6DHgi9xt4l0om1FTZ8kTXD6QWajp/mzMNIjATbC/QTHiI/P19souhVSU9G7XipfMPeMEgDvIRgp/OJmYU64V+yEHHWt4ILuGtEdTV5QR0OspcCQpA/WFTWUdSLfBvXf0OaaIgoJNR8j2Uw4F4Id/ouqFW5ops1iVQCEmscKSFLrWjBbVdkwZSeTLKt2XixTT/v7UB5aTMyjqs8P2Q0iyQsXXIR+uun3408Di2K265s0lvUDcSdWrCUvEuZnvhAmZ8gw7b8tnKj1wvydbe4NC/24m3BEwB0HtbmO93N3rU0LrXOklsBKw4XMFRwAW9mmQ4m0kPzqVAZVIbeMr82b60vC1n9tpJJ95f8Wh80ssCm5M4O4Vmu5pupz2q5dCcpm9/TQLRoz08ucu2fZLy9h5tMlArzGwrysH3NR6awmgpoE5zGe7VmM7SqGQh56JHSOWvEjygHR4VQ0fhvz5GfHc27RTtXY2aWMph9l3GXU5W6VT5MCwB707jnYgL8kpsfqLMmFK6i6F1c+cJrdCatWlMC3C6zXZFmxbjsGkkymnhoebfVNDf+qsRoMEe512Jx4vHuUjEQIU7efr5kNuWLX3ZyjC6Tbnh0ngydBl1KDsq+xvNpuPxf+txqR5Rev2MqmWdA0gHZ5N2T+t3VFLzQRSvjcXeJteqyVyg1dOTmuDRIeIHQ0WhIpzFQwlxYdEDfEXZsTlD/2qdMd8QsrWaUId9hwhwBlgzrh3EvQ6RGs20HNeJ8FGCTUp8yoJzGJzOirIfFlnHPfzlf/MLsd0zclUDJg+ZQDxrReAlDOuktPGexpLKWEgBBs+gM+KaayYfSwPEUAAfLsj6fmhPYu9ikU7opqu0ub/9HbD7DLrWh3ZCsLfD3oMslGrzV9pBym7USM/HM4H8vq+jcUUREKD1SuOwbLlokWUFfrvObws+D2mfrcvbYiR08TY8pkzrgG23KZL9K6S3JfcRjFvDezPp8Aw4Y994D18WMPvApZ3Nz2WQ23lIFJoq+ZOc6oGU/GKdlTI3W9hH2co1VrKke4KH6lmua7DtAsAZDQq7TC5KzwQMxCF53uDvA2gwr4TLZBjsgj2XN56bzlfN8PLVigc4IUuHqCR7POh3Cpk1czmIwN9kZOhe4JGXV9zA2+GoNbYhIKV1qfcHM48bR8Q4LKFrrlbOJsNqjFthfBTYOqkuD8GBm1yLwHtVF1IDmU+VcPYg7nXzYbxuPu1XIZ9resegI7CR2wqSewNkUf23xJ6N0hczvJ+cabziORW/VVFSU6XC3ZGvnqqMkSbvaAWQqgvL4rrX7hAuL1mGQ5EnS6Wam9vkMg9BT7mf7DyJrPrYUxr702sOivanfcTOERhgXQdXKFWVOyFEQao80Wf8omfs6SsH7TRBZw7KocUkDMzJvbKgVE9TicoALseIFEi1c5QU7ElBgkuTRRF3XevTOvMyLTLmD72qldDMc5sQXyXbdySW+PQ8fNeH69QDeIiUOtN4QYAmHc5Rtu9NRNKsXDLgjiaUAJyoZJqwvYCESJ8VvfnIQs2Nn297lys7SpobFm58oMXHdKefIAm/RGXRtI8GhPlgrtTR/5forFHsIm4peyyhRyZ29e3Z8Q80mDP3pTN3qeP81Ct29NdDw2DfFm9IjJ8jtCHSVn39It2etdaxW0igmRvZXF8FOJFd5Fe25rzBW/OCMfV5tnbVNh1MPe91M/63O2y4gVezxQnM5X37gd9DATrwa/ynzY7spEc8GwhOlzyfyamzILIEoqUJv2ot0vTxmvmXV6ObuklFEwB1rHAVsywoE9lr9oe0T/71fZ0G6AE8N1TszBl1qDOt7gqDwI/X8totdsfxc0dhzS0EI/uL13C0HxkfqmhFKhWB3IzdUbE4/Tg3R8n7l8qq3bwvxKfPKYkWFVx5i7A9bOakAtHtWO3E2U43l7c+MpKqnJJRruj+G3Gq3YV+VDryZ/MGRx8HnBjRr8ERmxbTVSJZ8eFUXWpSVF7Vp11SBuC6pX8QfRlgabMp/ehQHmQsijDuY57Jx1m+Hg3Z1XInN5CNeDxZWMF5RzRX1B0/iI+spQLjWTDC7cYgP5C+jX9MooIJVZJuzpOigI0ATlXYauBcV6rdovQ8+hCVF4QqtOezli7ZIWQSxCglMiLHp2GvF3zAx9HP5Q8X6wzEq9OO+5uqP3minGGYoRyJJuvU5sOz44pARVuwhxKt7bCfoPIOpDNNkP27YNM5Kv6UV0ZiqhFJSlLSZhOZEjaagvh0C3DNTdbd4sc+3IBIQHw8OD4goZjFue14thexzWIjCVnd7bI3PxOiVop8XE6uraDX1f0+JPNGyl/dQKDaxvsMZtTuYT4Po7dTnY4TUv8G6cK2rJOQ4bDKLrIoNHvWymsdsgPR91qD2ajzeJ+KqFBW5quTVR7IzYR7Rc6MgS9dTqlc6+yP61XczZb/KoF+wp3DkVILybCznISV+yJAzwsA5SvxrL5qB1Qi1eDateSlUsYMkaoccL3mHVcQfwZVfGFFG7sI9Wwoz5mS/3VUX1Dgru4SdJDTSG0TFfEhYmx11F8mbYbXxUsl1nYqFBMHaGPu+ju3rSWgBjowxpFnCR910ftXraZLglmP7Y662XRsfOehM8OjXMg0UsFHNle/cD7ugLjqLJrTie1EjTmRHcBr3z9XfH/R5md+f4Iv5UvRNahKRqXD1a+xB/wCZvs71/xqwaz9zPx/VfmQ2Zot4SZFpKXWL1Rx3DuXAbUxGa0GvSi+Fq9AcAESNtMLfuV9Qulr+WZ5nNbVhhp6pOPT6VAxbzgsH0nVmnL9WKC9QkLcWI59rhysCxQqwjLkiBV6KyO199jrwKzxtGzpXoAhrTRqvtwmXK4FUAWx5CqCMtaJvFmwu/sMzMT89f0zDSARkic1s48+hFyEss6A+cTAy5jq1L4EORXDBwXfG//Y0xoaLL9oyD8CgiSBcWJlnbW2CqXvNrs2lTuwIchyPmSQsO25UN/K+N5LYS5x15okmuJcHAx/xvz6U85GvxfSbo1xgWwUVc9oSsMvhZazF5tnf5usp7SoGrhGtnOxHmi5snDJDLMMpEtVoIvVVdU68HWv5uCtGYI47vNrkiO4Rmt0JOMrLtroug66VltKNMdMN2sekW7k4vPh3+9mpFD0J8LEL62avvBcTEk8xyimPxdG/1BfKs+TCqNn7rqnM5phMUy+8hn+ycF8egSfOYE/sSd4bBi9Z7pMs7SZCrhoeICjvr5nJ7fF4toEiHZgA3gxdeWefkZ4hyBQeVOW/h9/cN9gBLKhfUQA6KWHKNywjmKMiZEoUbjfWAbMSn7GXAPrqZHzeMd0vXPFrZUssCVexgXJoME3LISKI8orQUa6BJ/Rwk6CuGhdMAcEAqWInidsDV/HtSiV0RcLWGRk4WPJuxZPr4Mcpg1UHXIcK5GJoGp/HDbUPyhBImATJLVg56zibytnjZFbSJ96A2e/DKFcHKANAOOUQGe7KgecJKw71oE4p+4Qzd6t7v1bh+4hcnBPHrw+Hsc7shslkIOPUlnU2MDiEPN2k6V0yZbh5OsoBeKGl7wQw8M/b/7gq1HUWo8KglgbmHOEy1ZAFmhNj/f2Ijx8Du0LtyATNdm/6h2ZzYNd6+evCKks8TIoE1eSKvwATuyXvDWp6qOEiuyy25SzkoqYmQRmP3qtl+pLnOqbm6W4Kg9JORdckDzgiS9qKeerxRfSP05BS3QRGXXYgXOL1Un/lnEE22eUUJCecLHC3f3GT6vZ0W5dSEa+GyRYM9rDfhsPfNUTcddjeMVVSdr50iISpMnxCt3z1dNQfCQrd93ndEmcuEbszQpJu8R3qHNWbLGugZTVFglreqWi6ktMmeMUgmvsRBprEGx2UfQO3ruOaSn0GSLwKzykxLz2a9bFFlX2Vx6IifIkjaD9ig/xKs6Qodf8jomSDQgQxF1wrKzEDFgGHa3eaDn1uKrsZSZ4PdpLTSKGfO4HW+LQBfSCER0BCS9MumEleu1h+njouiNSzQ9BfClfZ3bB8XzTL56QtFSBSE5c7wileDc9iZWrxdUk3T5BHZatyZHnma9xR4JWb9EcwyQKX+ao4LP4Oft4W16PJ/YQEF5KEM1jDVXkFBCARkH7e3F/miCfKvnWPtQicVs8ALJiP90wo47ozyI+LSfZFVQl9VChhq3wf3A7yr8ItqKty32dkrLHtlsYlANcT12g9z2vh8LjiJEimfNp3aKAFlIM+o78tfxN+pNmr4F82nU4+iAeGPuZFGBRmV5x6HBQyD71IlRV8Of41hmY8o0HbGsIaOFhY/hOjaJTYWook/W3HFGGLoAYXr8ckVZsB7lZ8nXPal47Zo0930rEzrg9k5dEW5eK7wZVOgggzGNjF5JJHxYIRvmAQMnNEB0WScheJUkrFl6cIH//OfC5MU2dIh+jkFxAugQBuK4bRHmmhIuzMqTSEUEK4Dd0ivPjI8uQiFah/uHahXWzQ6ZQ6Qi2nxLNVEBD7hXKWGqyB+QGoxHpz8CydC26DJU/oNgCLKlEOvDfa1CHPJu3UurTx0zD4K059l6pmuJf24wxWBMM8rNpR25J5ETnWY3ty9PDjXY2DR+QGJ5yip083hAoMV9wC2vGGYYQ5Ce7mf5KMC/AvW/XPVxizh6DnhDqr+m80So+KWu+pT0umELg3iMN9YY5jXE9FpJDBjOGQBNbkBSAT4sRyMNTFDrad6MkAGl3w1aQt8aJ+nESy53YW8UxZDanf+tHNO+aYrOCqY5Xvyyc1pG391piQyi2kHenEzR+duPP+LUKlKm+/fCALHPai6gfu7+BLcrIy6cyZKvCUVgjF9XquR+DBnXWxzIRTf9hhT/q7hM0diMZ2NZRl5hfIXu3fNF/VeRt/OBH9qLFgVt9GLmDK0rJf+XH7Gk225wdm7SBU0WuzjHB7ggqppWlsC3DWMd9dTwwf+NpKeJVJFrKmor/FbbUPQGr9Xj6w8zUnTsB9ZQ2Auxs2txSw4eVds6Y6Cbj7jHSWv6kbHU8Y5MZ96GWoktOX6CKcQNIL+Dyn6T4OpAhYt8cuVPOih3ht3wvDNTCTSbYLcFo+dp5J+LdMjIBx2e25fgdV8JlvSpUIkkaJ9I66BM/pLlFISRyPAT9KdnttorUqZNv1GySaiEmRV4NfN0MH4HDcU8VDJlCWRbaz3IYk7lLPN9XCsMN9HaQcY/s6+1GBlcl0m9kAlSzBEmizpSXoJvyg07xsJMLE9mOfQFa8n0cBs1Fi9qbEXs+0v2n9+hfNt64uONK2AOaxcS/REJx1PdEB2rVMmqF/vmZSEcn1+dgfMLBEuagVScx+uQhzUqvQyZT9rGFDPMh8DItwx4VGVFIRvblXWHBODwLroSKwK77K0StobBCQ0OdgSExA5xGZYKbJUDamsIv6NN/txL5DDnU+XpDxiP2tbHZZVQVBcdv4Xs+ZjW04G9ukA+YC9Y1zyp0RCuuyTMgfV5iIHFMbnElkfUa+7tV92fPiAN2qCAbYfxU86QSLowV1M40txrpaVaeU9LA7JqtdQuyZthEaZdlOjejkp0qjJ6dxIZAao/7xKWxAgMzzlP90JFzRHpB/ErukO+q5QHeI1yj3P69mo85LO2KmtPxsy3w/I8NOUnWv8TcAmFDdjNSp59J1+nCuMAg4ZZhJLLQHCRN2BIv2UfULOt7lie9oir/OusMBhraNYRPst7IEJiNd21pmXN02sgqErb0XDhTfn+7f35bX0v1+f/2HJbFnHmW3BrSQ4wgcMVT1VG4qpE3oPGi8LajBaESTd9bELVjxIZB1D4X+sYG/8i90mXz9CC8tZWoSe9DgiVb4cHjGRO6ra72Jqk6XCHxswkrZZ/r+5gQtYwhs2hr2fcr2AahhrTR++pfEXaNmUdFD276NHWnKGjv5eujqqpYSzv7tG4c6Bma+XfKQumwt7yXJG+DIerAKlE2el5AjATNJ8Y127/hJrESlxt8mFmkzSVv9IE7wZOvcfqSqy6flMxJjGrvPdE5Nz8Ao8Sov7vlv7r2KecdZvFwXds3TosYfaNbk5KSEm1UdaRMDv+i42B0wdOcz/JwEx+BHrn9C/56qH4sIK6FDPypYRAdmeGbOaY3cH6Z+DGjn8gXUrHtqscc/zE5u1wvp1SEnLPTn5jF7VMq0SwavC46UTpLHRnp62QPZ/ARbNDny8TkwcWoFZ3PZ4Yb37eqJaN+bVL74WBe6wNgLsUhNuO6eoCNVM29cWHqZ5W2OBoiUy9zN8rgdQhrbIcEsom51I9ghxiO9e7BihPLQ0nhpJElYcFjVRPh1NVhyQJyJzl0n2crIiKuHG9D32oJ4jD+r+COfPWmQbJJg3WNgZoNrZkZ8MaCaEdbxnTknpFPcxcRTi6n8ql+T6+6Q1rFQnLTUiif/pVsn0I5ospBofeL2z6OcEZTnFxiRVbATS7HbYS83YtwkLL2iNOnstgnx0pzGl0W26NnFiI+NULcAIbtjj62D1/3kzAgWuX3rbo7Doqz3wGl+csx91ITmyhU7YWPhjny/aTpltyDs8fkXXx6mesb6brKE1+GKVv4p+gDLjbHbbbOyM3B+LoADjlf/T1Hyo/yMELpYyxgYep/buiPHVwbHCT8ycERyf/CgM7+19GY3oqRmfAZKl/s9suOpjdb9pk/zdTXaDx9mAhwqrSqlc12Uk5YEFkF1IP66xzYflDMOmnvuiGf2oYfg3Pg2Y2yWtO+Vuk/wjkV0fy7LRRff0fH00IMaSFWF5FVtPHGjVZcn94FffmStVddJHxslbSmL47zArsellEjEoQU4h8ARyuupglo2rdQWzJ4EHU/gyqRMs2i4AkVy0qJIDaMWlWSxSpV3M+n04DVglYEAE+AzN5Sy6fujnZBdCf6Ztu62IQWKtTFHz3iCnHrgmoajgIgYlQB5/S5x04hhzdZp9OrULh+5IXPFyaZrbXODhqEPJSTTDnQ9+xvN+NPvHw7Kko6zgD1+OYxImJBI077DdSDgSRWzMiElCUsv31EAPwfwqlw9FKgyVfcN+WLRqKCrcOyxC0ja3AWGkc0rJgXZ+KXPfG7Y4nMh85sJnRMDo73RraFFdg4JxU1Xpums4dCQeUKmWSvU/288rWjiSr9OAw6TTr8JXujXoa2sTB/PYmd9d35LWqyedyehygtUVNVczaCMJ3dWGVv9ckLAQJrs4ebPoL8vCBOlLWHRlVL5PPhp6rncOmREzFtdVGc1uHchLac4akWO6b7Jm/vmG+54JixcNJvGdHbCk3le4Eh8ZY814el8Vq6of6lvD4+7ECQIDxUx/+amdm7L4FW39T0gO9eK4CJx1u/1bGT/lG7gqGZa62T5RkGxh9S7ReOt/lwE5TPSq1AqkXjxz7lLTiHqxTeC9z05VMU4CdzEihi5khMHsVrUkbC09LsnEneybqOXkAdrRsAWqiypTLfYRy2RJO5Z9aq4yUNF/omWB/ah8mAwaJnEDbImLmff6K6q8B00OcQWr1EBtRguGPvGVJClaIg8mRya8P7YtVltdZUxR7moemJRZQf5oj0iSrAnqaTQ+Acpx0q6oy9RzIDKY+bZbQrnBVxZB9QnAOWj34bgFJdJ22ESKweswBj9zeRVqZMlAExQcBshovNRJiK6J7GN2R6G+mkBNxKlpvZUrFBnBahlN7gLorWyFzxYnOPAYwBoxvdrRB5Y23ScWvY1gbBBkGTv07ht96d5mkJ+9IHivMIRP9H0zfT/Qr/dDltZgxL9JcmRVLU/W+NaMIM40qYb/PEdlipJxjnCXYHKPK5aANbxDz72+Vp4TX2CFtxYbs+MAUrtxe41DPKCTtOMye9gEYZbzFm/UHFXQL0C5nHrcWcu3tCsfaUt3D2V39C/Fb8kRrgyLs2uxvWgK8UYXzDuvqqp9Oqu6q/kZplIJC8E/RrD0eFzBVsHl4vx/2bKvb0NPxeU5MNVLPN9S2z2v72rwt3+j2hSt2kozhsjcPMXXEFxa8znlyEkUi7Eg1c5NVve8lT34+YYtyNd19NawzLgMn+Ge4HGpsucP0UkVUOuROY7yZaQRlRjLuZsAO1OKTsEQeoH68SQ7PZhlEIhIEnKiR/+2ZXy/AXkIEwDLI3t0xFqJKmMIEBlRohqJwmcewhDp3IcFLP0uS7ngT8PFL8SMSa+t+eHovfs9lOQZvoNvKxbT1CNAg8OGFo+xq/J82iarnBEpiINij5RZaoGK1q5sE14ib7/MBy6Tf3eQ0Zs10koO9jRuyN1Aebm2+3ewtSJpS+0T253w/GHjeRdvKtmrrh5OTXuK37TJZWV/B4ZVrilo0daNJ6etAv8qw5gYQIhPJOA/MGbsSzK+LSCgYin+o0W+8Y5fsEJdcuqLWSw9ueNbOlOr78kVsTawdyBrNGQgd80HJ+6j9GHtYQ4HAJ3y0RWJOI5lzy9GwOjyWaaJJhyMJ1WQyN0qNPDakq6bfXu4YXuOhc/yRlP/DTRlqrCrgPZMdyU5G1Wo17HIsyzxtkjcC8OD6rjV3kLrQgDnEWiEtxGJmyxjCNRip8BXhObiiqTAggLafP6VF9q2OsfUhb8Q2HPb+8K/lpr4GKGeDUjWe9ezlz7zZyjbbZ/gOC+DdZHTFVgX3icrt+3fxvwkzCOeyjwX6D7XJb6w4QnEWLlYTOcn6B1GlcB0H0Wdkbpp4Wl/MMuu5atbO8kkyQ0/mlBsGTJKfYGehRbJyeKfLA+3zT0PyKiiBLi6TBh1kgpNoxdwS80/VfEIY/EOwYL9M23TBG4s7ItQKpwoWBW0C9KNHZIM/Swg0hRI5HC4AjSHOvokTTCfpNgkM9fj61sQSgJcAQr4IKkfcs4kI0O47FXfzbdAXY6KJp0NIvFDJb/s7ymCsPneCBtm+PwiUhvLGSj8JYPch6F0igszfDGYumeNI3C75yCqeVtRrAsw7GuGiPsjo2L2u+dcNGBpWifkNTHs8sytWiDt2p4Z++qeXfkYV1Bkwe7qrkW8mAMyKT0oSlQOr22NHVVeOwYSjhVWGWTT19Dd9SH6C+yS9gvDoKc/lcYCJFLT4mIN4p8lRqeUNkVFNH9OmPpQsa2xqwcvkMPD7LTM3jVDeLjx3yegn/FAegC9WKA60ssZ20G85NSkWVaISUkaUMSAlPXrqkV4kB5WkEqoD8TAGIG4twcnsdLpWCdypK6tysKMBjZlRtCMBdgi1UQooN2aeR2RwBh6MAxkSAzeS3FUXPDf017VEJhs8pq44l5phsNFNVZQV3IZruKFnvpX2H7zAJlKcvmbtudcnrOn4ZabBYqKbwv0FqkCN6AlOFhPtsRKWXAeSjHLxrp/xWxvatCISiSfxMfuNNNwt8a9UOvnucHzQVXQdtKSFQrWMWYK65e9FxpNKkpXZHvnXlY7msArSIsga/6e5+0ku2UUBTOcHvaiKMg53fXkIOSEaIsSScax/lRgIzVnrbXjEJ+D6rsm+93QKxlZ0Ny5d4AEBV/KOI1xywGylN54f7la+PT2nXdCtL5AshVMeJxskyiZdG+ogrx3IBSPOGQdnSpDe2pSl9mlzy8SAsBXAStbb6vVkH3+XZucV57wgpGHAaHac71W+hyrq7SvdcfprpKs0IQ4w3FzMzlJCiV8GSWdIZfPtFb9Oyi2vmTt0HyNksfotKfnCQDfXgSYBySqwLjRi6lpi7pJzAi6MZic4S5ghdyL2B4vHp7pse/uWfN9XF21rR8nZbESNT8RHTnCFSpgdK7O1Nxg9fDt1kh6NRhcOnm5wvyeIhgezFl8uZrKxEKP45HQ24Xbh3Rv/+TRZgSt0b/ayoRDp2Jcerp6VibqABXwbIezjyPlwGxFojgAcSWPcaXgzCbBdw1pMBRQIBGDONiQD7yzgE2IEqpJxNk++Qfp2sGDSH+HF9xKiLM+cOiQ2Xal2+vQ2xliIJ9fqWbY67E8zhAiLJP5qg74d+Fp1CFFC8O5B6r37HF6yT07nRMNLJ9yEzfljlow2srG5EWnXthFz09O7/bI/aYfBfiD5GxZOYyymxvzGlOt6Fp1WNzF4CBNvCT3l05g0DYcE3DX7kDL3l0J0iMKrok70tZHVbcw1uruO3U9bPvDi57xz6O6MrmofO01+KWmCjyMeEyjvLhirBTtJtrFKtXteD+o3zUARZ6TeIm6v+4BdEbUB8oHShoxRMo4tqy2LVtB20bcdr6gi0PEsXqEfbQ0TxBKXJRSLakPIBJE4ca4n4Nxt1i3O1jjkWvvkhCj5p4gHWc5KtEJ80kzBMzAYBvHqZaSnyk98+vLCQGK9v1kCbEc8ON/IIlaEUgAw/d8KTwFOiJ0872tF0sKIMhIMzy3m6ZKEeyjTvZa15U9gEQLx4H5glUkXftRUKbaPEB1nXh4acPXjfRY7ct+5RrPPQcY6WOcWSXMjDV8aGl0DzCFAdIKEt/eg6MhbG63PbUm5a/J10D3rywcY3grBmL8KQk5AtfH/OCW+8IHPa5KwbrO8dTq1TSQpECp3fqT4P7tEAzYJIh1aTWbEE1P5+jB6Qo1l/kUIpaVsJkZb/ln+j/6VRokkHHL7a/zVD0oZ6sJuG03MMKufykPWnj6DbL9x4nIX5lBSEwJkFA0Sg44KV3ZU3rYojXlAVWdjuuS7ybB/9tSJtCGT8OHgocE8hzSQRApI+vO6/yIiRwpmYlsN9g5q8juXycNxaQ4E4JsUpZInuaDY4XFinwmLVH7itH0r2hZ2HPBNLUqRjkNhkTk1DJbE9SHzIZvwpp6F2NqkGRAnn/M4PvBct8A0dfGJgtX8l593GKZLDJ/P9xwMuBWrZniikBLqVoUholyhbpZSWNs6K5IHIUSnxGoUtCMEyZCDceMWl2OnsfBp97DHx8yKe5gIDaiLHGzsDyqyU4CyC780q7CI/3DO+3eFPmO4jJ6mM01nWsA2TuS0GXK2U3gBpBJ2q7qE2bnGV92aWUsE8Ct3bgSeM1FDBA3mQBn0aKSBDzyQb9pF/sidOYd06inJ4gRyrosOrs2xnn4mEghQnXbcETDF1MUTtwhwXn6xTxhcaOZvNLonsuTZo9OGgF/x3nLr+fiRLQvEk4iVELskZjoDyQ4wZb/stJw997exTuMa9xoic3xSXtUpAmtYGDRUg8iYONT2JlsaNOReMjaQfUGKBjZ6iM+qwEqIK7uLbKA5ipNtd6SP3kyeUlfy/+PjVLHg4lVAOOjjASmeAl/hEIWUmOkrQlzfEgpl5IPyYGpAWo9uRP+e6HOTbd8UcPgDvV1zN+g9YW8r5ToSh6hMvLaXQCVKryWK8r1RfXbRD/Yx2y6dlgq15C1NcBhPxA03kMuBER1cnu5oHuQceIi5V6+3ocra9kkEs96rJbr7/pEBGiV7ycbsgCAK5uq9WBsmmrrsSRFJBIEde8oL/Z6LR/36yacqJTcr5PT4ImIftvnLafrKZmKMDSC7o1F0MbZ4vkFGVW9SOHA8mlAQyBAxhjJoHPVa38o6LFVtIEoheWrvhpfacYw3lziA+9lci6yJCTzUc1gINQY8pvgLJ5aMmyYEhlPCkHJdVyMW8Ka0cmbx/C9GXxkqzIzXVR4ZOD9i6YQe7hHEw8X5whM5J+wRzsX/RZvXIVBvlQ8p64NY0y5amyX+oTrOt4pnnWdwoaSZRr0GrrudO/XKEe3riGh6rZ41A8gC7xU8ao6ephLX3bqSQujV5f08j9bFvNaetglD2jaitilWTw3lBC+nCEPeWvxCGo46uD2JYeKRjvQTb93jLOPk2LtlbmQQllMM6MaXAD7a5mQib+ICc8YZGLoEhKZPc/flnpLMYFfCSuA9kwfqAQfGv+58I92HA6DiHEdBaRjdpTEstHR97TJ3BX0tkgNgpTAB9Bo9XGQ1WmYs1Zb/vYxxozVbHBoNZSEeExL21V1ZsZmtA/wsuv0D8tpvvLbvlgkhe7VbizegXv/LCJZXK+Y+BQPvQjGTFz15bUr4A1JGTkgXQc0E5ohzJTaMcRwi8TQwxlO/5E4oulEf5x+wYT2sOva/vZO4DctvThYjHQHCOymLEWibKZDf4sCsXIAUMQaQUpnbk97J2kvtfsMQKDOv7mGuJCKMh8e3Bqi6MDV+MjJf36db2dUCXDxP9kREXBR806vViw70gXscwJ5yGmSs6T+gW3DxMQ9xWOOKM38QoArQJZlsvctSbVAbGHtZfX2zDQsBCXukjvN1TGLdIlBsn2qQbnspQ0BZiOABYpaRA4whvutBvJz6qLlYtM4jfKsgpkCZdU/zGJR0od4g+fjEhTEAucd9uaAxGaSlxV4xwtZMU9DqOMn5BzWbOQGcm/IQvAJLoOQg3xOdv1m6lbCda4izbqzmAjc8GDyQxIgp2Zt6ERU3J3Zn06gklybiSEAFNJt+eRKvVmQPFjYRL25m90CiZUdSRmC8+fOzXfEIKBwEhHhE+Gt9V1kqVTWXT/ovogbdyh84C+PjRHFx7mBS+R+xCyZPCvyeC13Dr5rrynxfXN1YfABodT2ZKf4/iz9WZMA6bNnDH7+qrgGh7YeBXXbfZ+yN7dXH8ZRA1GjmB+opJOiBIwAg1BKGhfk6yBzvlH3AcfAq70LOm1ijUnCxg/VDfDwbOpiSEUaHBOM258ALH8Xv9fSYeno4aiNtBQEeUlgoCmuynM0mJsC0PqzAyH1NNF1FRXkCeSdRZFSG2bvHty6NCHfielXBARQJ/5Vii1nGjkcKJozu2saPYXrgmJlnpJZd77cMHgcee5ZnNz2SY7MFmCpQhUyEHpGhgMZjdyEWImiStYeipUwKkSwkgxHOjlVsN8Sc8fhPrmdaS00+G+hEG0ueCFuFO3d1kKAJLnrmwSZl/FPu+S1FvjoOE+0oDwEvS/yOKw7plDE/BUtVOO9VyA9+wei7X6aIsTIQhqhiDl1guV/WxuJdnH66KAuxkHnmMIF0sYpv9mKiYCP4B5TGHVhKtUEDYttm36Xr1y7NL79L6MJ1MPZZZTz1YAqkDJB1jhWhzMOU2jczDNLDtx8cSqgaVyhXi90s0HQRA08z2lkUiCANmv/qKXpiB6K7zrHPo/0RdLTo73WV86Nn1avY7Xy08LklUmffJ91JGgpwT7zYSjxhXPjBqVZrIh5J50M/WF/OA+2yjqpy4Wz2DH23rejSEFFOsklOqyjYSS4wd+8zhHohwFievD8dhq2g70vMqEGa+lyO3Jo8RIj9AYFNG51knPycOHLNrhgQ47XlIDJw4atc21mvQIjOWjkWsDD6E704+rv6C5py4x2Ehk4aQKpBFRCB/oBO0J+po5ezBLNSLLrxvBASUGIRgyhQk1yBGH/uHEnTWRXLClo7d9Ragl7t44ZBdMHiOGQdZPwW0hOxhTZezu+R9fNZfa+Lrki1kz5R9scG/nZKd2isBZy/PZ9oo4wt22t08PxkAOPoZXB9rije7kdz7y61jHa1FQj6gf3aE/tGYxCWCSCofb8Pp0bDF46B1rIeUMbGpnMwEObhbkcZq893qenjmKYQONBQIGh1BjDxRtVh3nsWj1CERGD7TXGCIQNCxAQ05NkVwejND1dVRKwjhSG4XrM1eeJacK0O71xLCZrBKR+/z2f7FgvTL1JBvHgsdJpc8OPMee8QvJKIk/b/Gi6oM9JCT8J0aftQiUZhBrClw1UvAon6hu1TAD63z4ZAuq1KENbQEEz7iaqnqw/O6LCv4yn7ElP9UA42UMiYl+G64PTmsO1ZRKxyI1gIV8pSN++JoW5UUCfo8UrkJ4+We0ZzDxGgqC4+T/e0vWEe22gxhWtZ+g+XTKAvmPOnJA8TBFUXQyN9MSCI32ZXiFlz5dGkwNK9Uj35hNUqljziqgS6GYD+wF6LDF/bRGCsYWtMkvgtQzzCy1J+zGoc2mor/tv9O/ZOwXPiLZOzW2/oeZxXPDVx5eOIMwl7B2Xqt6rngatlzXrtGoV+RMrVm91Z1pZ8NoLN43qubYmiYC/hJn1WqwB33OVUpsve1sFgK+qgR9eCIupHU65GI6L4szdN5bt+EaYq/HWpSgnBRno5kNNCZzeWUnVgTK+6ooJaZZUXM5wnja5kxaRITtS6vbv65fcFDyTR3yQTkyFDti09646AUUG6LvEEYnuftkPMN1a+/LBh8DAVz6yWxvvXc7o3G2jCTOdZnV+dqWcn3BIr8M8CweUA+gTMq287zDa2bmxLQCq3LwdMw8A+uG5efWla+yLHIuXLIdS69OUu1s2j+/uPCQVf1qMmAWyfPKIhaW7brar5U4vl9E96m9dJOjBL+2b1Kx0LQg0Vm8m3B8KQi41ydSyCSIAfF5X2K7kNFbQKNdt1D0jM653cNVRwOvnt2xpcfsqxykVt47k5xOkdfGN9j0nqEAtTFnuSWdnQFcPASoCj2cx7Ggnx7DNrzdRwRTdYlDOanq7RKQV/v9aBNxkUx+VO8D8rC8fb3qaCeuJXqfXocv15hCYOBOSY7ThmBQ+GhZ5Eg3nd5W2wrjIHxeXpXsKUGk0GdTGwR+F411TcAOeZh1GBhzhIHyzZHx+20erbem3IITubbTIP+ptrQFiDTpZTTQLLmbLdAwPK0tFoS8A8hYeQM4XzexOsXhtp/DR4JEQIsq/GmTW7SJfXTQkvqbGM1WoIGViGoKAEK1PYiYoEcRZwhsCc/oW655iRQB1gexZQXPC0xGbW7leBK7FA443+UxjMPRWnJR21xcFqtt5/LE/b84DfdKhUsdERo3cdE/YEUtYI1018B5QL/T22qAO6SQk7wRJKO9F/pnvlgQjDRIEbOHtAgac/+f14kSpYYb22xVdexM2Eg0mBJnGCK7JnJL05B2pbmmkaRcmkfSc7kQ8FUO88HoyotHKLQNyePcpO/IeB/wSTTskzLPMoxC43X6bna2PGZDSsOlti8o6MhxSQ9Pxr9dhQPADaoMNXrSq1OYBpwOWnAkuFQ5dN5qnzA4iQ1MYWEyRhBSOfOZ5PaydEt429h2A0j/oX70Vc5Au1b6QefDPxw3uejn9AGXWXfAQ9g/tx8fbe7aw00BbzkN2luxQAReu/4j4YAI0qpXFc0JVzCW2fiO9JiRZNApw9av7a9F8b1Xz2xt65i0hRQqSY4LGXcyKWwxmPNiZpjirTb6QS3KMlRRobw71NddWPt1q9t52fAfznpzQFtxDnVXNPo+WcHcL6uXaayN2JE5eoMJCMifuBGZaULExHHbqQOWCK+UIpBL5FOgCpaEQqBqs/QuX7qhC2fS6I4HFYiIiPRcAP/hBw5ja9ia8YmpIItTVx6zlIi0rANp2NfMzQWVY9eQr9JPbrPq32L+lqRRroC0nLLaNuI/RC6GSFa4/5EEd4ioOH5WlPYu0eUxJysYNSXPubltiknD8JItjY5wNr5CXs8JqkR7ToWDhwDxe74ulLMEU8xsATBRiObjTTkTHqa5AvSYHcDhvFczaQeMdO1T/iqSg/3aqJlySgJfVn9CxrU/fvquq96TCsOlA2aMJUB1cVDFCTza1V9kSqk9ZwLvxAuKxat0OU4zwrwoz3f0HZuqHRMLLRhDou0L2djljeO3fZZXvGc7O/At/5gxhqVNICi9MnrO5M1RdGHhWRFKzzgXsmeLJwjh591nC4Cemk0BrKJHNGWrTUYYx8XVu1V/BdSQs58oVxwvRN3Wh+/u0Ui6NaT0Avf3J7KfN0a3MQU+bzuZDjN+fbx5EFjAWrx/Sl7R2uu/mGYQT1w5IW7Azpi4xsueZWu07/H1CWujBkOyFKWGfuG/jjw9+E/GD+q7liSzl1J5yBwaeHDuZ3jtB72zEuWtq4LvkhOC03z4rhZNuEABbdPcKgpfrx7S8WztDSeIY3yDIRHX1kRrCBoCa4Xyxtb1D0tSYRxcEK0mIO4I9PfjoPmMsAznZN9F86WbTZaiwvI73L+B2DiSaoJ8EWGaRcoOLOeA4qybJANCkSLNv921QLmMkAdW7q5cWuYR0OE88W33kUBkovcBKV31Hu7YNp2nepIRA42wl4uSRK64G7BvAMPOcVLDcqXm5lEt9kPrdkfza9SeUsClY/fF50TYrHenSAJfuzA/QtgM6pV0bCr4U1MEQn4jCg9jLNFOC2UHORr9m35KP84cJVT5dKS6scer4C5SBpHtqTyaITven8Fx8eo3mecu+vokC4XT64rlklkohCuBWpFhd0W4nFr3odBckCzPccfXDxh8wOVXhHkvLbcpcwLNCiYBEVLCHKdRzNSXK6t5OamdTzQPalaL83r/U+oZG8+WlOyTkL0kjfHHRnCCiIxbewR/IbLvk0/oNeIlOX0SAcQY7xOSAaX0C+30jc2UGJZmGA0UlJ9uUucoERzMtiJZsd6OYxZWL9NgoF9lpz9TEC8nulFw2xQwJ8+r9m4yG52GsNWO9gJmYtoZcIE9sj6Lh/4nyHVVWnrsYLee+Pd2rS4dYNuwypqt8YzpN1BJO6e8vUNmcX7Ed1uc/ja6EtjBgFg71Aa3AkJDy4wRUIps9O0pZphTQBa6scGxGGjkKp1mfdbV/VCQvw0lFdyogy+UyPY97hC3MulMutwLi/iGZ30eGeQ718FjHwl1Z3IqmFt2Gksb7RyPH/gtUd8qumdr85wP+LbX3qhh1zufKjYdbxTkbjmjju9PYRKY4LWOVg1ebstayXy02qej8gPXsXkuURC5oUn8nJDSqo1AvoDAn8KhwVWs5Z2Yig9TKslDkCZyZDqrEpLgHMg/1dbCl7ny8ZWpsXF9Lgi/M1hXays6onnk1nkECcu7yApogUN8CxOGh5w/xUR4TQK4Qqe09rAD6h3bJ88Bmvm5LhIjtxDmM7pYBhiDaDNyxwzkpO7JSXgN69UmmIwZUiIQ/55lLlFH1V+fyabqYD7LtaqtmKz8Jus7W1fYgscFSoDRP3HFzLkqxLhUTv1hS6xiYagx0Tm8NeUN7QseKPCGgMCvuK01iudRPqSiBdc41X/fHFUcQ6UcKbrS889Peb+8n0IlbRuZP0H7djhQzNKRfmWczmM4d1a+nXJaRitSKwkVnp+BlCpl9FCeVLTPH+jzVHXV3t85u61wRwaUgV42s55YFjEXbRDANojEw1RTXjdh/K8RCMPhd7AfLMrIkGQOHA0nDG+N5F3LxMv3JvlMVefEKue9bbkqklZ1aECdQWJVZnQjIJWp1WFWve6Q6qK5k4Y2eGIp8TuxSRuHj5I4jSlircPK1ZT9/ZjHHS4E6NzTxELO6Pq1rDH+XBfXnUTyxjgohisVgevwBKex+3XFHkay/NZI9E9akgxXfBVW+QylMMzvmv4UyjlzZSIlRyjbNZBKIGhUBGPe2UIvSJcoiJvrBFhUT8Q4RGsW3P+5E2joDvlm3s3+7hocQfCuZPavTOAznCj0AaS8EAKEoX/ml2H7fk+JmBiG6K5rAHhO5QqnbFMcyP1uxOox1CJ7YBxIoMXqpTrc+UFNmj+01CU6Qzav3gYxMzO01QZdlx4rT5erDeWDdoMvwL4iJAt8poA/ZyuNTrsYGvNuWyDhZVyFb0pZYTXH2oh7EEX71o1Wz4hETQ+JOk5o4kgwf/U7wAGDZy58ADgdavjlPIbhVe4erdQyWPZy08yenEVa2FCY8gNtAGvxnWbpar+GrvhmdKvHUwoHMumCAT+LVuypdjRQyxfD0ShM/4nh42MuhoaoDG4dmD9zdRQi4VyBz2YAeotzcLgkWnhHXDYtoGpxmsakCX/JCe03pSV7Tn3GFWwtYbL5EX2R+SSJs4b4rmL69+GXWy9/LLnfMYYKfHhwjVm+mwIuDFhtTs6m+zxnwn/NbHhDY3tveJFh+NS65IZYgYGvoy94mSaNYnLim7zfjAV4eB8OzN6rvs+C39YsYsHyhCWBZZmh3FAXLDUbREJbfLgJecbDQt2/W7+4x1zrED4bo9IRE1Bi80Lr+EN5JcUfXslS+iXU4aMnjTEgAGxf3cMPt2WJc7hY05k52Gt/y4xSuaHHmJ8yKN2WIwxKotA/1+G+2A55wfk7WojswxC/8tAsnmLaVfVvIgJ2AY4MFa5Unu444mSZRrB/3ULZaobhna2aeakOssiuw1AYJH1ENOrCUcBoIb51xUkDGWmTdW/gy8wUwbqXgE79D+l3mvpT2sFKmgDRwptDj4LRYbrKYp8faexFcifl+be95o4g8CZbw5g8a6bV3IKnglb/r+7MCCN4XXoXjvWeohRochy5Sab3ZxTywmg1UeepL2DaKhm4eowSzfj/bcmrTeFihEhsANht8dbytuifT2Ox2hzCQFwMy3hzFmwNOY5VtwYNE+QtEMvB9judSK03y2toJwBoFp74ZAi8mA3Xbsuma2zN5NWmzARxcXfomqrGYblRWFd+donUXl7R+IF1PttnQcb1dQuObN4M7ODpCsD/X4fGQ/zwYhcwq1vQ+DgHWXTTxwvTHGQREvxzBuMeJffD/h0ORUTmmv7h0417xY8zStvpJjaw43rflKmK5kO6oXgq4UZ/SLiXuHwnF8qobbwpap92eBOWrZD75/k5ONCDtgL/GxXaUWPbbcSRHwbdmVti6vr8uadQfRgiLtpuMV3lTTkDe7VQKj+F6ETL70e8A7+RMZ9tF9xcQb87+Flk36e4vD2dU5Thg6oTNYAU/Ui4x2FpsbHJGA+gmxNAn6OauPiad/DJPhehSpRbGxmBPyoyiyhbpimV9S+pNdCxbMfL98lY7cwsuKoIX4d6zVUbOCjYQLduwdbLEf/3IxerxWCW1AVC7Uf4OTVrCZMXh0Z1Ewx4XeoPyDexPs4gZy1rfoEiqUs9mXNrW0940be2WkDHUQceTMejSILYK9/3e72cI7E0PHm9hJHpA0tjAd/RIxWzKQvFg+fdIOO3ZCY3sdUxsbVOMNZdWCWyy0Wm0h3slLJYaBAgZWmAz65PZblOYzZgOuyokMjH69d/CtCcxgjsMy9LMoGywYTB3pXHjt/bpCPC4cp+b1MIFI94fYUPc3lqyCo/W33kwdClRbSVRycFFFyuZ7qciYRKAmzduACiui1DVc7JWory0gVh+rCZJFf5Ky+m7zZSvjUIxJUkutwr7xwl2o8ZH+RQYIrj451ifE8f6GK6jL4jUl5IlPnTdmWs1MqD4PXGHeca9mKDVpECZ4GYfZmxHd0+dRI9bcQ+L9cJgrfAC1/U6RKBIzmqwPF/T+bUZ+SPDbaSBrh9d/SRR7gWdsmtqUsoqLepOYB4tLb6vsd8UOa+GztQBrSduXM5cqIHkmaR5hMrIMtgAFkXb5GOlxER3583Ok2JEWm0uXNTsIq6L6kU8dOS0mcs9Gej4yYF1n4wE1locGqNmDHjB8kxUUA7OVzvJqaFVAVBtY3+IhyWZqbxky2sP3jHmQPt5pW1RrQZy990f9IJW6z4EPD30WX2t1Tuh2vxIQg84+5kU/jQmw1kg5dSkwPX3Jc0bWlgnfp7KBgry/pq5t4gvKNo0JprS919+LjvszcHD1f67yA8uzYpmWqBu9cZ5XHl0AW5yYyHPuQ1M15CZVvDDXGusoiMQK6bgvE6dPDqNXEzOedERhI73owJRbXirLWnIlADQbGT8SsSpKSgsD0jDqTPuQal+1Jh2HvfR8pGnBOQR7LkDWgw9CBmHR+3f7NLvwIlV/4oQ/vIaQ/Y6StG7Lw9qeJpliZDGuyHFNR568gM2xd8hpfXIJDzfVFfo5B5RebqvgFgUzt78LYV3Xu0Q4zwsRsrCThtyP9VCAwmXIQJBEAD+Zp7PYS/HCua4TO4LuAinziQThXlcPzgn3CCn1mg5EPPPprLtvPIFC/9CeLBXl1wRjqLRS49508i0Cae274i4NU3Em1nbcUdXyKEhvq77/B0KhqemL0SgjL+r5liXSZtm31oNAWY/KeeZubh/5KNRCWN0SR3p4Eifnz+KUbZB5PV1ttjOkZgzbU5KvazR2Xwtk7zrTuUczNA/9qN1XqWQDXUofWubHaBA14gz8R5rbB6zrJOUOZL+wFhEHQuMyPLgKf0sOggxofCZrHOZZOilHvCOcD1P+3Lo3Bd3l5cvCDcqDoDPsFhjiO60JMLsLs2w3GTlj/NpSZ0fxcnDoKk3cwg4FRd1xjB+nwwrk4Dl5382NFzK1yrel/IIULX0uF3nWYNVI6I4vB2VM2wpYLd1yRHANeKGcnQdovuS+DD8UC13T4I6cFguojFyC67p3HPhv8wIlUGmdhSlzFnE+G/ew4NiYHDLgIo3odej+R3H2X+ltIzT2lbVktYTtjFImBcJgfIHr9sZ0dtq0Ww/l7lFqKGNdnhZLqC6xEEezSQDjqf5mBncUn6sXhPdOqXlozf89V94+xRmYmHQYOErzEemHZJfcUxXIEaC3UmS0SgahqIgYMCYyaBLJHnpR2iRNdHMT0EWc1QLwezmfT0hCcc9imVrIaJdbIu2yr+C2kjb8ceneY2v1bVVdUG9xgx4PimuFmniHMxEj/2phyOMHm/Anl2v4giQpjj0YhbZGY+57QczierPpHSvVAiSNQTjFLxlraGZgpyrdK7alngCKQ6VH5mk3OL7hBmWOclG8K1oLM3Ysoy86W/VuYxF7VUmRotKPfIJ/vznhXuRwsXye7yyMN6r4SLEBbSIeybtNxcYOTxmLGfTTjKnLF0WIhIIFAy3T2eQdByCTREFaV6gPQOCf4nYzhyx1dAr5R5QYX5AlPbstyUEGq0d8wAToMwMdyHUB6u1Jw7NMWmbFNvZlyh7B8kcN3uHP++pCAAfBbI1wpwR8pXDtZ1ImFT4hvw2uQFtOyXQv9xie+UIGMcuQ+gCBsKcrAn7hoSHvmw1s5rQ0m1gYyembppo69bjQQPJDXudLvCiXuntLQOQDj/reZHLdvkFAXUWZ6mEtstXEqkhCHxcnfzkIGP5Ooq9O4FfUtq+t/HReeQ6XY+rCkjpv7h0nVpiZ17reeSCBgZ70drubE/2UNITFeQGCI9fCyPKVQ0e+c6j/49rxwvB+KXABQkHj0Dpiw6rR4T0Df01HOmeVkrTufuBvX3Q7/hbKBfy6RcF+JWIYeHQF7B/qQ41QF+MQgjT7xb50kSeTpFtzrYBVKvvEvDiBOaAg9TjVFLgcUWq+vQw5vWbje2tMp4xuM2eoZozDSqfFnB+93VoJ7Q40dcanvyRiBpPJlpbYk99nDiXFnyN1UmGbAb49+lfXeBGvmvi8boac6YjrALl3Sj+yebK9j4uKDsfBJb/bn+fsYvNzn69lqeFzin11OPotf5QlHGtS+iSXYeAmrrgUsZpvZB4pxgn380g+aih2t5C06u7ks2srOZL/r96GkBWc6MLp+OGHSi3d1wEK25c0E5ty0oYKQtoPGSuSaz8NUQnVDxQyGFH0W2SCVj/ooqPFPKDw3l7lmjISA2vV0JofSudD8kiefxDZFUoCMNWkMniIVH1hkbAow+BJVAJZrlsDWrEFpIBRHYHu1tZPXVBs1elbCIZKvvFBAfRx9QKhPmClQCjnF4E0U99rfRbfNC2AAFwpLkYqIw5OjZBKiIDZJJwlKVqhF0306jRspEKcqHDUkkhhlxbZa8rT5JhbF1/bavImv1PkRdcVZ29Q94/p2y+deoIh54XcFBMXYZkhcBT4YCPdgsiiRNAmLF0qPwQ0LVdp9t4NsRxpfKo3VKenu7mAW/CK+0KDFehPSvGtl3sw8GIOZX9rosRsbpaPFtJp1PX/2hwSWKGxDRO0cHcdYXXqEEpPitmn6vZ9ixFLM3bRm5xSrauZdSis1U7HJA3WIdnHtZbJOACuf4LPmlapUgrk8fhAktUavKNOST+BeP0hJu+gLiZaTcKFBAzUJa5dzn7q1zqPpJzhpSCHPHqKl8Ng6kxs+TepyYQLSZBNBKiTGT3YmnQXTFy/drP3ViXal6YtxWdc9Zf1ugCxtoW1qoqJ9F+cDMqE/aw2Ql/FwPn/uwKtoBGSGS0XZNhzXYqZ4l4SYHsYZJvyPaiiG1nI4FJljQdHhAEBBC7YW+wTtbQP/m3zsXpE+K/0sC4nTpYHS+wY8ytMWyLy0FOvzS3SJLwpeMo0SEwsFmbeeW0aodJ0UQDNTn0XCU2xMkAxCjd5tNLrXZhzIkJWLnP9Pi9wJi861SWBU5veEKCjIdHMH3cBZU+2l+S25fVm65A3ycjx5clfegfea8gygN6cBuychajY9OvOTgbrayGXpJa6cxQkZb2zW0x9h8bwdkSrCe2D/VOcI7/iXHuhs9wtoOVAgqAJ311ENmtbciSXum6/Kdq1Sq8s+zLHu42ZQ2mpAA0g/U2RSwBTfIIHYltPtkxOaYx6srXpjSp24IRbYT6ssp8+/ydP5s4rCWdd3kLN1sweBZYeDma7j5Mec2bE6lyFSf7K0/fUluEXsRnAQscAtN2g7Ew5XaxpMo8PX7K17xnfX0eAAUWT/UY3cjQGyRYYIJXH0YwCgc8zCEW6GGmfG5ycWQn6WyUzghel39xE1+MilbF7rwIAFVskvyb4n+gvVxWSBe+R4XIZ16PuOGDO9RB/6Aclp4BDeptohQrMwL6MFozdsnATmPz1+lrovJ4HdU66F5RWsvyEYkxx0xwoutzjOxV25O1UgGiiwKPAD5hpmsAmI2AtfrR8j88jSdrdyxia90FAyljBGvbGzAaIwVi4PdbthSiV3TE4M+3eSrpaZ53WX6/JZ8oHd4nchAZSvK2dCPQ0rvif/mRTiH2tVFRUZTEGh5PxHvFHhdS6S+t/0iVreR0RdPyuhIgJAfhQqW/rqnuFQ1gNdrG76R80FELQBx/lqvjtS2KMv8JxX6NpquLrSNN5XgpfrDyy3Sooah3nnenUrBHs2G+YmLSto3OHdQN8pA3kK+iuWtmyclsAV5qUEoLs9Y2pul33tTks3uuplyoZnpyBoJtSr/WYKWInonY2G9dN5TkkxJNrhFtPjxbsaMh4y+gzFr70jpRnPA8DHGV4UAsCeD6lOwkECEUE0fRaRCSHHLVUDuA0Fuo8ZRHDH37eWKxNVkQEbPMipmY7sHXm5e7XtS6dJLshR9XBANhE8d4naCeJJH1k2mmONEIXgDIBZycNOxbCPvfW3bPyrm+AwM8vz4rX8S0oJfjs4NysHlQXJfJpJHUuQX15RsqD29v76+fAi+ylt2n8tBYi5/T8auVfHosCF3Xk7vhxZIIwusL/EJIWcOcgXHbqiAY8L5ykQttn+yks8P2l4FPsaZkNI9C3i7vMomouiRoYCYKbXuzVSdYgB9Xl676GVAa5U0MzDUFeH+zaoOCk8zZoFmr6Mx9F/Ueur/y3rDaa9o7TdPuA2yEl1UThNDeqhFW2Sp1s5EbTVRfkHaxaFYEIaGxmKGGuM9gNFGTUMgPzo+ZZ+mV4QT2ywthREW2ERq3Hou14r7S7OTaFa+hUDaOoFJ7qDJW8rBJtKTJQqYQJFtjmo5wJHckuXYTh3zqEILZIfJolthGwcNIDumvJUBmPDTcG5MOsRPM3jHety/ZTyo5O9ZlobdnRfUMYCCyIBQJ4g5noz0etO0DYxgpLixZkJp2u4gSG85/4lNgdri4jNrqi40ZHst11ajuTfPyXTUiQ/LhV0fzHJLRIdP//yrhOckxdVkpLa5ff7EfhWS+nkzza+wDaTzGdnM3QWnbWC17Gq/cuSuFP7GmiLvwV+sqv5qo7Fa4pUkTbocyDxicgzeH9IdehW1urqh0KKOOIVnvHrIPo92jIt8KnpWJzjmMLDNOHQuQCgFAcSTugCUeTXsvsIVBrFkpHeS+Be+ClHth8Q4Lv3pejkjTlzjPDS3v28gm4cL05eUwSzi50aJRtxgxTNGkp4XhpdUCpLol0CeibR2JhfbQ3GS7NGkB6y6cxfAK6qMgYmOijqeJQm+A4fdctHNJ8iWJKHSZbLVKCu5LvBM3j8nN6MEG9FJuulsUqumdicaQaNviZw1K+4Q9SizSPn/HCzDyMErWiY6zX1JiOb2dIau4nZWBMKB/8bjFeLm7VbLj1Ivbo7tuEwKQay4jtRBAjXpWmlcyOEzr2qA7YyJdR9iq972HjtrHuUlYExeYPOqNJaBtNb5wkK0ODb4UWAjL802rhB84gAUcF1YYb+ybXRf3lkSezwC4kWkUKfqRL0k2BuiBIIPoViiH1EgUKlZr1onG+yK2LAYM2qTTj6YTzrPE1QOosORSf8K2i9mvnyviTsufHwFGaINQbekiiT3U6oG+TBg8tU0vYYE777ta67inX3I+R944/IJv58mFw9+ZSMo1ElMSHqnD0+ezDjYCDg+UfbvrAEBwzy2bVepLMoforGf+3+hLoabCIyHHoNxUVPEBD0lPl5hlMXKCd9l29T3GXP447CSAifXE+VOiuKSTEE30PB4s06pMqR1kjOBKPNAdGzhzVuapG0Vc5XfS618wogP5dLHgQoTAvTkmm+IUvE7/0P+uLytjkabmcSiK6glHG4w17vlUFEtra3aK+NPPrw5bhX+WaooTP8s92yRLU7buMecT/6V39ANIxvPUFqvDg2qjH7aZWxlILBXYAzlwGZEhATdwVautec4hDpcxu6fHnQ6SJe+5PuJUL+f20o9dfBDi/VeyCEa7/OcaJCeGpCDeXiozUyQ+EezEZ1LhxHRV1qnbcr9V2aALNrbesGx2FHgXXR9SlTcsDo06MEg/FmRsUJzxRD+z3m+GsEBGf+M+Jvyh31xi2nqA654cO7446KvQcHDAmtQG4p9g36nVzUBnsvAr4jGofyVwgeTdFK7G2YzbA5w8/WOMkzLPBHtPiuolztdlsou26N3q3uN5hAiF97LHWmiMDs7a2cntzgFHdM63qbBulO5nHGyGk1a+CenKa5HP3JGeQTj6rGwZ5ZFi+cevTyT4NScwhge2dKnJNHFujmEdNmcoLNUs1kFbAdmCqriciceTzvmkJDaqyp1p0q2geC1y417Pdq0wSmrYV07VKARzx5rAZt70YZcOPStUC5Et32C31ke7r+9bjxsy8e2+9MFIiEFIV/6su3snttSEYw0vMFlZVwxiwQQZq2msL2trqMCQBIx0JKKDZSwJ7lQvc/2fOV2f7QqWBLSKn08JTs/gRsZ5siWlzbt4muinoQrEqs2fZh5FWTK6UvXp7Xg1ZDj5cGiWAOYzG1XNqN6euMH5JQ72fZ1sjKUOa8QrCZ1HAseYNKDsLgt6M0c2wIc0WMLnlvB0ZPPlZ8XtyqlN+Faa9dtMR3lHI/3d1DYef9ybbjqFD8Y2QL/XAsxbja4RstYWlTrCrr+JF8sT2tw5xXFgPbKUUo6mwEEuN9SiVlOEocoz6bmCqxeVHsrffvmklmfTW6xu3bs1kVawBcX/f/thqYNTn3VTx2lDcpBo1QmVFuRi/TGRq3RLQUS/O/LpCI/buWoWuFkbklraKpn8Sg+6q5PK+lCwieEYyaka3QzrVjN7ppMxcuENKaMesjW1OBrMVkmX65mJ6ocGfU97UcPme4inNy8RjnBgXI1jnV+WyqkKs2irTH6mnGhnBEN3XpZWe8WkSUH43I9hcNHtOSuVA/c34/ib/X7fkPrZSZeQsJTu/EbFaGmSa/2ybFTaVd7pDHqVLTjYclOlfONaJzu8iViaban9SpxneCYuJHn6U07jyDELKRqDLIwL9XnX2Jx7dgQn/bQYB7PC/m/sZUH/bWD0FJ2QS8plf2xi7qaGV6jEsLqj9fWXTikPr8cx0S3KEPyB8fg73lxzzXaklb6CjKsU8WXk3XWtMLLkElCBvkuei79N3FLcL8/p6Pulc6nnEsQHRiZuHuid7QZcFw9Tki2eOiDkR+7mRBahSToWxRuhxLqeMYmuNzVhtn8oE8fHTzGdkdy9L1PC8gA2QHNlDOITGMvkC1XHzYeicLHRl8Ex6zSnX3nwK56YvUH8Iiasj/brOQ32mmzmvwbHg/auLvZzJrUPL3ge2ub9J1mOujtfu191C8ap53dHVoUNFhHeA9AY+e0NiMKMqCsktmY9aqwfeRfxdNpRoDvhyawSpDxKdobTfojGorTMGa90QOfU0jKIyDPMWZy434LOCG6l6Dx6EQTHO7R7fHAM7bvT4WwtfAOxF+JjH/tkeY1TCdYXUv5vpshfbohLBCBHgRb5x8BjqJ0oOuo+IT8Y3ldbkSwsj/XtcIKkAJKzkqq4WRzqMg1F9BBdteXNemQuUn9qTnCppobYg4LvvYdNWg5j/ghbmBPu5/47J/hO0YUtTXuCkZZDuXP0uqB9obLw0BGyjbuNefD1LugVEiXTq+Hs6xTQd8CkXZ0DENj6JJ9dn3FHv2YRFDOfHjhfiTaRNOAtvh+4xR861NQwFZOd+LupnQdu5fJyIyeIpWnsWdwIvsve3ud2SMkYUC5uUrwsobuZV06AimY2w7c2pA83KTpujQ5Ub+Omk9EK6CDkMVrMcQojrIdxLWZlF61RJIDIeZKnu7g2d7ScmJSsRj5GkSsD/GkQpweqMHHqbW3wnP5OJ1CypX/7aL50wbCeAavzaD1Xv0DD5KglBtxVi5iKQtgiLIf6SqEkqC4GAtnV1oFFxx1VhETAVSvY2F705Ei2mAvwkAnQGfmY6ZFP7+fNsYKdXol9w8HIGHOVs24pJhVRppHy60DG5mF9teSzxW32ZL9Wh6EMskN3DrOKAtk0zORnd70LIYRBOr4Sfp9c6OCZJUsfBxvSEF1j3GNpKzAcRuFaQgX1UvmMmTZS5y5TDh9bCf7cQU6sfteYTJXXDTm1A1EXV/r4AyUXH4zm648KmwPuuI24vnX8fxcI6XBF+fG5n+nFhftBOj9X4RNLyMvmukjMzB9XUhqwX4Vu1G69x22unJ0ev/tWyRydTx/hwtZkWjBEFOTW/FUZ/KaG1eDWvfkb3QA/3oUmyaM7z7D7a420qvSw2Hpva5Kl8dBohopcu+hMu4kj/3LeU6QpZgdivd5QPiun7o+aUZyqQUobLYQTxJl9Cf6QvLFuThQ1EQii470kYfDwba7P5otr4dyeO/Gs0yXytkIEz5vpldz7biw4RwV5P0qrURKtPbfiFSBFkRGkGqmMOioYrDnihAusQumbokTV3ORQ8AdNQvsXsHfVMSwE0CYHGAWErpMILrIR8p7TlJhUMhFOJULuLiBC/amYG3eEwXAhaCe6vIRn6b13rhMT4ibgZv6h66YQIcascp059CMjY99VVii/bO18ulaZHDSNLFZs93lQFrRs66PrBbBnl7GrKlXikwRnoVFDCvWVlqr0hORmfkV4IW7wnhrrK/XJAlQP1L22Ycx3Astqp/rL+Scc0iMRYNK691u0yMhjv/QmYYlUsxjrfUeb/v/ZneXlF+3qoIgI3iJbh4L6k8HSyvLlKfbdgeG6isx1Dw8jfvJPVWfNm/PZxlHvxxyxdqUQNp8yJ22xzMuUrCdgqg5YMeF16GRnXYvVNlQ+Mg0p2kqbubtV7RwhZlUcg+wOPWyBZPdEArSi5cSC1YIdEUnqOB65pR6awlamf4LER4RO7iNb+tZZwZlEsNCjyAMG3fH5KpnYXMLszc5FD0tmU06Sdk1W0JVJOT+wD8oy05/CgEe+w42ogrHip9kUJTYQmPUTql83RL7Ueh9xpMYmI/TTplD/jQfix3wZuR9RQXgNeJJIhiVW/q4YO3oPxiIXHlsT/6KHWAH0ZLlNKoZCMhpbwWuLLyxvBXX33rKRjilviZ31IJJ4y4TDl7FwgvKk/Z5l+ucdgji8U2XXqoRg9wLSqxQHOS5CQfIGXEViPZ4mw8rJMmdyM3+W9Ijor6lDn4ipkLu4kbjbSEVoVb3DAj9lEDD9fOLyy2JVNJf1ROp0H//jd/re7gdw4XbVTN2la9BM+E+AlFImcu2A5x1K7ONm7HHq0du/RxZdhQ+Rvtnet1ecbikoyDuIY4+hYLgCJNYRuDR1AhN7QI+G1FTcpPD2DHRBEJCMwXQsZw8xj18vvIk+w7My3UusGl2jK++vlgZFkytpBNO8ZXNBJvQgZj/jC0Ekp1A0URVX06LDuTqaE4KR4RnTedG4rD7OzI57IL7Mw92syhB4PlXdY8/1Y4Gy3tWdrgIXQ/vDAG9BxpGh5+LTnnFSUC2MQpAjp5rm9lcS8KMCR4qWlTbw4AMqd2Fn41P6BjFqpGVUrPCoz1USEUV0BwJ2KKCJusDdk6qHSSOBvpWAAIINN2ZJ6kYAKbd+PwTvRIs98IXQS0b0IFgyBKJcJHXSbkpzoQp+Jc8vF6b2LBnChi2twQjg8A68FJKF/o2yoDjgVZjzEW5xDUkh7tqMHxuvR6diw4rtqC2GbMIwiC3ePYLPwOqyfmq/P/wttQ+GCBCWcMdNw8c/lJ3iCULoTYFjlYfk0tcseiy47wNd/xNk7YmGw1XevToUREnm5XTjugNom82eIJAc/f7t+a0nYiCQzhxlvwC1txME1+CCvXi6ekcBSPgKRYv/8Q4m0+51W62UqcexYwIz5uO9TI5RJXDZzJ+HeOidMRDl+bzG9EfnphxF1WKS566CcTJ0yKjthuwZedxPn7pxGbrkUfhn9IPWUmbGLk+dRSONkC3mRTC4XlD2pNQydlsS0RFmySzXrL5AIMSHbDd55n5BP1HgiNwG7GC4fMPgPDNPN1IhQsJT7DSl5FBDBkbYf4BYMA131BR50Pf1siw8VS1l4KGfqgBfMlm2CATCoodyT1V1nq9vHAgULASbU2AEeDgs2p+JNy/ek2D+cuVO7TXP1JUbJ/rNWsQYm/aeolZ9YQ1AIqQWUUez0elJcmb6sRcdz4SEf8m1smgQwz92OnPDnChA3R66gxoxtVrklMj3TWUCadceQTwER6/XZiBUBnFLmipJSStLlkO9yuN8i+gHr28wTtmU7e0phL4D8p3sKponHPijxYnu03mxfuLrn6B7V3cGbCA2GElpmTuMme9R67gNQ5S/CcWwKvOv46msNz64eGjpvkAT99GwVS1gfH85lGgOaMwdMzaRr7kWLBtpl75/8CzWu7sIkC8ZiZgY2GSRpdR36hoXDcenM1S8gYeUYG8ausp3RyaBrSPD5faono843LFH3d8aSO7g3nBJ2OuTmzKKySeDuCEmQCvIuNo3M27nTLFtD72EWHEOEs5kgwBo02jfSHoNVPtnVstlkC6e6jdFrRn7Yt/KavZKptGnpkXIXxVTC+e/iVJHrTrx3lTuqEgwth7HzhBA2ZC8O+44Q4hFsMPlWm9QDI+fOSHFRARrIEPM8iYNSR8/dEjoOcXpaDU5gnKR8RU29IFeWOHrylUBhvAa8ElA0WG+zqh9aeKfmTKSs5sJVn+nwM5Z2rUjI+IXcDS3tRt48kb0Et5g/VwInVYfEcO5nUngqgW718OZIuy/7ssbPSWWhhmo5OPUIfFX8Maj7PaM4VC+qhDOKTw2QbRXbIOIrsOlSyObN/gv/2Z949YNsYTtggRyXyTcSvofrvnpU5cJUIXwQWF12RVPqqy1rix4kabIVX4aU9liYqaKTTRqJ9LXRbv+wNwamD229X/+4wmF/W6lMRCIX6D6wUZ1UeQaT/yqO4aXQaYvZAInZ7KoN3wZt1ue45fMJzqWM7YPS8mIC4CuX4LXfpmSD3sj2bPxUxLPlnYTMMxpVtPsXaxeZIgCecpF+dqkM0J+YOW5PXD/MGlES4My/7kTR2P305cru1DelYrMCSOWEr5Q1H8rjo+V250jDGPXQWb8nF7N9XYRKAy7uAsoLHbUxP5jrmmn6G0fMczS4rAJ50mJMgzk3p1Rv1j4qGYXCaXuurHm0giA6T5gEWFgv6d2COKitkuzAYw0uQEvp9zSdFjhqfZJ2wAByqLm9Uuq8/3IuNNZFJHJFdpihB4SV2TLCEWEN9x7r/Eu6elrqlmNYgiAN9e8TdFwowGrjpU1n8Uris4+GjZyOT/Zd6g5DO1SVm6RcodleIlqZJW0Z3rla0ACHmAq0cTyFe+aC82+0EiEyrAkWwoni0cAJJ4L6Rv/Tvr2rHm17rhmeR479Npl7yD1S+ayZacZQ6mUF/16Uqf2yUhlTo9xDy5sDaEkUJDXOSqVSmo9jijH18WLZ2ACEJL8s9SAtdMYljl7n5IRh+TtQqs0h0r7QJd0ctcyvy2xfE4UKQkwrDEDXLHzagv7MxAI7No5CVdFzCgxq93pVSrHGMHSOiJLJTdlvdLW86yWtSMfdRSgHFMc8jPI3dBLTNGzzIX5GAE8IOEdRvOAtyekpWtKvY0vOnG0To8sfl3h45kyK6TckrKRpOE9Xy+KAeqkIyqN/4fAGpHeQGqpXrl/FmrwoXE2EwleuSMYR+BWsbhySuq7zwbESjHbMAEjCm5chgF6vzTdNEG4VORt/qUoZNX/KL3OMsZ5IqbtL3C7cLd6JF9hesffwRwPzLSU+XoLu1xfVxUHwB0+a7J8/noUU/+Z+kiRIG2KVtwvpirstCHd9sC3iGoyRkoUctNGD3D1ZwbUfX8KHj6CMksXVmlG3Ew5OmeW9EfExjUqN2EnIS4s9BsliYlqbI1rXCKhZBRdDrS7yE+P/siU3hNTRkGFeEIZN0KZ4TdiEnTyspoCH8NpZkFFxg1AHXU7bfMjE4/XckGxciVgGnUQYyehon/jd8a+s3P1t1Q+IRnzea4fyts8oLfeKbYb4xE7Lqbi8Jepem6ygYbz5TKI9h05dgifX0BSZ8EpTZeICskikW8MXc43ZCOqA/K0mD7Dp6t8mQYptOb6+0qoUc+C+0Vu58NhkNvEDa4Fv8S0bjPclUjj8Eu+1+vuHEuFcnX1c8EaOGFjxrTpzSbo6ro6HuhuutTM0RAfPcQnQrIQfskbQ+8JKcQibGZYBnSsDzaOlSey/9yNWBO1xJio7qaEZNF212e0MDfwis5qpqQP6bIwzEzV42vKs3EdxGBWLS3qkHbd6jLdVU6hTauT/naC55+j+mdyZYK0yXadmgvSrnwIo0VADlf8MC6fxecVv3KVmuE5EMGi//6gbBFnbsVlZwZKtw88Jr9fktlUpmBwp3S79owZyQcLnK73iWmgZmgxmPni/ISrqXYeCW198MNUClvRpaUxkgmfZf0pNDKVDY8Phk8RWH9b2i1mP33aIUS+ENDkCbblkPL7UjxWc3yL4HZtGJiPjt1JKo6rk13uG6NEKSk/LPNizPXCMaUKYUsn7IlPEHQdjzUzKVRM8nrE/3jYNIX9ikznn0iTpt2c+TnQEVzuKirxeAaGXPOpsckEtw20Ehqz3MAh0B6b6nREgxTE/raKegLP+7yKwcB6LQKDaddHfpz+Go1sbzwOPmcaj2BoHPBrB8Ft4OQVNxsvTQy/Odm5oYDr6LlTQsErdijUULlL4bZ9hlZ/A+rGFJx4W4AMrMr9RP0ZHKehkq26A83fEuFc/df2dgRNj9trVnXyIoRF0+v2D9JA90dfo64JCb0MupeWOCBO8ImZa75Ldb1U88LA+ZOAXNYgkLNC1V42Y6cRBrIss2Oww/r29DsFBp/odgnZrmJgbjd9vFgfVCUrI55nNpVa3ULidz5stktsKkZ1uzYscDP/fWFO0wAauS0LECuOPmhm1nqQwes1SvX81bqiyCSYhsTliN6uc/lL3N8rA8WyljivxPFtY9XPJmsoMi8EgJjSKPbofejBeWrLxbiYX1NNaleuxhfiUE5XT9wJ9hBTpvTXBGND+of59kN9Cuc0KItRRJPa9c9/mNa7fpkxOwMz3cQd5AIoLYQOTity+FWw4KAFzgyS/OzsjFe85U9EausDS0BdC4bCJjNZipcg9mPH/bA4x1YDAXxTyiqoq0e5/9v8tyShL+HVFbIJaY+Le5ACFEoUdAuJgsnG0PcL31lcIRb2v856WJBpb6hlBJUaYE+MZfNscRIM4scf+3L1sAqGmZLfqaLods2h6L8fnPoKTDzM7WSu80Khc//+e8JkmHLbNyb5LS7XyGt5IqjgGzyWzqggE6jrAMflX2A4XK44NMojlWaWcHSAsHNBSuiTL2pQaFI3z1gTkIP94KKFIF6yZQ3LXfemD2kGEjy/m5wrEiU6XQ2yyXD+KkRTAUqjpyD8WMVHkHvGDt9CKPdJWvohmIHpPeFez0dFLrx1L2gICFJRyrsXGyvzBTguFF3sbJxUwHpIfRO7qh+fXzJavVdUw5uw1huN+PXtHR/QgnhO7jANn/Zz9ZUFAMIzYDNNN6PPhTcNrm3DnK2kMWXB1uaeuM/kYHETaeQaE/fRZWEeyrDSKVZOfqrIz2nvjTOjDucYKEggiRBvFQr0CtJTF4OqKgT3saSWhBQrPPIvJpH9tCEy/MMvPO8f2dOlJ9IKyRssPjDV8POOeIzY3cCGUOrtkD48qkWN07Gs4ll3OcXogr6qfjM6gnXZDNQjb1i4c0zzvWeA0rkLmjgbe5JTdfqK1f7/DrJ8Z16nQWUYWJW07q57h+i7Wb8sy46Yp6uyaI7mNbBryuFnehGGw2PT1iY0BPXhsJlY9/XNsrKPODg+ScNQmsTUnCXKpz2mCq5OoNpQNDtz9nH3tafjOJ7dnXwm27GfyfZe7L8oIAVuaJSIO66urZUCWDrfA7M/46sZ5UkMZq41S89Wk1qBFJK8znk6/JVD1J4rML6i3lj5HiDA/dLS9xGvQNWNvWxQVg0uJOf3L+891fPki5+bhIA8VR0Ak9Fx8e8nwrempz0uoQw7tYrpdmmuWffMv+hUAsY/CKpUJ7E2oJ1r1+gmK4AdgRF/8wQ/qzmzVJpfox6WS75J/2USid5g4O6QpX1OhuubMP1LGjoH1s47JWnOLrWchhB4nmJCpJ59ez2+YwaEweeGPFC8ReL00fNUrxV5pu3lEmLJQRP/HcLtnu4Ilfx7lK/V9ClDs9yPCX2n/K/2p8DCzPbOEdrvBFPKLQqBLu2/8bsKIJpiNAE6vpa4WuSfYZZoqT5SodwqM6Iwv24jW/q9hJ1Z7heZTHwFNU0vqrnv33YB7DpMRGci5FZ/jQwkv6d7COlrH5E//7PrFV/ReYmL7BL4r8xNFx2whnaKc5lCGOezY64F8mnRQFGrDJHTImnp3y9KA3hW2c7fB83JYNyeZ+rasxz6/RnPBJmtkZGOdzBztibR55clt4I/+jjlYbx+QjB3+kN9hGSLNA3bapIPWcGXoUg5Di3sRGUi/pe8G+UN0Cf3Xbd3kO6xYQXPfjfquecjj4TDWLwlzy1Rsx+y6F26zcV9XeSrI2WpomKo2LHmUWCz9O6vo8cT34Fp+vD61JwyC6Soc0dyXPiN0b8iIuoPaLcyRJjFZxqCg/xk7dNcAmIDAiaIIwXANkw1xRPYpOf1b6I91DfUbX/BJKkgGqxQnaV1a793wdYfwCzEojcmoHVnDvYxMS2FmS4quLvw7fKWVxEKHxFtSzY/OckJiBjkgnG1VDdagMwfmi7RluRIJyXV7LlLDi0pGDfvGdJN7kUu7MKgTEMFVAFLa/dv4pNROgFmZxStQZjpYwTvbyjMW0M1E9dUb2N6Cv3ixtreDCLHbq+l3CrPTks1bA/6AQ5uRiY81nZxIhguXygMxQ35e4g0c6rBVmDrP3nbHLDwItVLxTZICj8Jy2beij4RqBAVrvJnjJ9WEgPRwKl772Ph2GKyIwPG9bp9/3YG2EmJp+K1tWSyA2NH4T06tF/U7gJs3JhZAVmBULAjBRbeu8uo96lMJREWnaX2UjZM1ur13ciL/QyFcwpLSqXkYhRkTeZFTgz8uTd9RDPBfoEYL64SYqSJVwSFy1BMzB08ZjudFQLuo5N28v4aQx3vAWfjF8j7wxOGtJZ396L1aeVSWE5QvoDF4OExwLmgln+q0habsY0KjugnhtVxOIukAQeQ2SViRPCXOcecKAb8iAOoTtOJO+h4pWHEKn/mWNyDBqCuJRh/joTzKZ2Znwdz6azPnUlwehW/JR4qyekHgAUqFq9i8UV367aFp4v+0OsJCU9KsCmeJ4/gSxCS4dfK7i/1uZqv//wSE1jJvVClhpHjx4GC0OOUQPYtMw+qgWh/HuQC/qoZIyIvCxGYEJAjEXXAP8mA5Fvp+TnsNFt8eUAZOcECLH9ureq01dktAorKy2hclUEtjM+CkRVM1oR9k0gTDqrrHgx+BcINt0UYFYKuzsw+FqgJ+O5qiCklmUFEEMD0ympuZ03vTmVYa1RbM6p9T9qtJClRFFc5uPExc4jWSr3UHNNRd+5qDQrvDzral26I2sNyXYCJleEpVUvUsVdAn9hMvwfCsdUDBL8tPTbwNqmwpy7xrEbXf/CT2QY5IAuEvBOm+UmSDXPIX49xL7pbUhgZOn7HjiKHcL5WemWaivjB9EkxexMKjYBDFN7/NZEPGqZXntrmRM2zEPDWimsF4LHOTw4UFOxr8JmQOV3bAVfpGUFso1HCmONYfn9MkkO8wkgWyUtPxbPbq1izNsArODkClSx/FBaKhJLd/8BSpklX8ROZzcaHmU2femKQIXZjZDDMME8tT+XghdryGDQ9apjZFXIqq5wpUyjwt5vkBT6sNzwigUl6DmbrvSWUeqAOP88JwXSBgr3QQHsE36mNKLGFpIIOUtGeY0BBDUCw4/Ls+ALmNo+EzZ/PfkQS6SgBYPjJ/iDaH2vuQV0txFEmEDeeFD5HexdmGNjxVQxiiNt047xD+ZaaUvVZCgHYywkcXt7fQwR6dyQozqUD9CAKJQjhvMu6xZPGRHtXVbLLOCdfV30VSYlPNMN2ueA+lehFTLAgNlWS0LWkGZNYhRfjpMu3Wr+OlPpvK4zv3QHCvGBQKjer+EuVX/eFLxHRCy6lN9WqS4YW0nkDPA6ouY7eOU1It33TRM7i4ZDad9acWzNMLEhKR/PWe5tqq9a5QnDnVA0X8QZXsZ/O5pbi2V9JSD6ORRaBxNci3++fNEgqT1DXCZgySYqg9gZYXx7FvRNwJryyQ/KSR+eRAhO6qk0rS2DqFcnE4wDxnjUE+T2mWssFcs9Xu3CwC9CEPQcAnILxAJsrL9tq+tz19a0qwu1LhGFKlZ/iSXXzF2FW8lgVkkSdMpvZsQytPsqqcALmcfRRVm9qZPQ5Fzo7l8OjEJ3pv4BHczoJmj77yxy6wtMo3KQyIfn/mRRWToGmdmIzhEwTDk4uyuUpJ1YpY3MT7Q7+0IV5sz9DGXjSOPoSPOTScGWx/ys6BW+oLYaNbZqkec55/PwKcdL3hulFAP4CS8TaHSbyHChEqyWHpvyRl3uz7D4rFwDIfVq0hLjNTaPn/xmwU7kl07Su1SOniBndtMueyr269X+J5jYQzSdvguszuTQWrRheOANuqJl2dohzp5EeWxDtK9kdxovD4GQPjJXlyL3sWI/JLq1izC1la4X5SUXC9woIP8Ot4X1GRUn5vVubKzJnSuGoFgj4vSn6VQ57IS2ZKyhqq7kAXIRhd1M8y8uqmtkKu+AtXnjMCKicQMNIdKWW/Jo6u+IW7xn3TVHm6QN5KW2ZFvFDhVum8Exu/LrOcQh0pZa1uEC09HZfEoX6LGZ4V+G+b4WXU/JgQB8nuRcdvt+xB4wF6xe2byzlO5IWj00DIu878yvGbXD/t0oJHOEjUZsfdhzr5j5XSbE4XDbUxCvhW7H9BoX8H0cDUHKzeRHQSaHATWSYNGUTiyn+HxbND07xcz8YKs+7gZ/ELDLxlliRUPQVRUOe+u3AY5wydF064jsZdOwoiyJttphAiQM8yHbKPghsRumoJdmOeollGD06kaQgDrUxE6Dl+ul2YnvIZhX2GkLmOdpYOJeHCUAXve6nUinoRE9Dhwp9iLHBFqZpgmaoDyq3SGmrn8pVrJa7ilIlVTmKuvokD1Z72b/ONR7gjNXSkNfslA5etao+sV++PFZLURrfUzsZGDF2UUlSJ7cJfo1uUFxCU9R30AjSM0XNHYl16cJbZ/zGszFWfNmwwCtKqjfFaT7OJZq1o5zRAZRSET2/5jco+7gjcMozW8xcTVJDf9DMEIKZOB28oNjqqykdGVXl8569+JyqiPtcOyTlDVASozzeG9swT++M268/bc30Kv7yFrvrXc9FKF3xBHGNxShyv7em8GGv81aefkSU23JNt2u/6ew4DjcJWNNEBcjmNmBCiRHe39gxqRWZ2I2OTgtamysjil4xWELj3ZTv8EYXorBB7GgHUZ4P1WtL5nJCnq2cChUdwZ9Kg9dDD2sDzElF4G66uHcIIAelNpctepd01WmBEhWyzBwL8Eh6GrxkGt3pggdy37EECq5+bPBNJB7AVRm54CIUO1B5XEwINJfl+tE4IksRpRAUxAgkX+Ggp7iSiBxQB24GX1UJsMipd30pe2fb8uTTavjSYf6n+6C8KqZe87CtD4V6m0RfRBmowhqEPo6MuUJQXzvRiZ4CjnE8mYTlbboywX14QNN9Sa4d/Q5rSt064vfL6qbdHQgrRF8cc5C0zaQOk8LpQiAAh1apbTGINYbk53sCREbsVdMqQWa7b9Wjz9EpssJzk30INkRfcUTDXfqEOOxAQFblEDgMxND1kqb5HDFHJNzFO4x7l1ONoIiQIXb6NsmpVC5OSkbxpj8uNfxOfQNRSbFWMwBHIq9bLI1M9vIt3B5fmzXGvc241Y6Cv/h58c78S7wgMJZykfV8BsEW3dgAKPDyk6QHnkLMSSA9oR/YRSerCsUZkYjQQDewtnFLv4+oNJM/Wi9LG3vJ9cwnunS6TgEv4M4UogGvRuI5vt05KWlJh+FqzgIUCisM/etcC7j3Lvb6SCV5DNAhJLzlubA62F1APSJORuPpNJLGksDijfQlY28GAM2yFVE7hAtpvbFeA3u+empjRm0gokpgy9FSCvp4d1L8amfsgx15w6hAdBKU5ucdVn1Q2OSJzfN0ZKMZ9nCNaqBR1OpHk6SzmKigUW9PTHVpXkl8lI6NHov6OTSd1llnsQdSyvberNLK0u3tJttGYC3hkVkdDnp963ttjcHxt6/AXbmA53EWBNcSEToklydhqI0ACsFMaUHOdzzcJUyW1Vgo5LaTcbQUkpLHNiJqO0TMGdSFpoh4FjrQMiDx2KWQb+ES803LyNP+p5HJ4qXotvu6NNGp2QEqyk8mWph5oksOpdh7mBDYkJSzpyK4TqEmz5OFBqfZE61LUmqbwjDEs2KHplhN6bL/vg2PSszxw8dyDRCFexpONnRnZvahRSyOPVQ4L3+uyFjjgSYg9nEflsuRHkyDGE7uSiKuZ9qLfskU1p3e6lhJ9bZRK0x/FsPQIMl7nC2UiWHZRaJBW9IGs9mp+8+jBOqVgk+sIKAVIYXl7SX9wzWVgn+OOk4kMQAYtTr39kbz3AGAvp7cURiTBSfxvEveyZK0+xoduxRgkLjWeeRNZyPYpBrB5HNlMYZ6rEUCAcoweFzOYrBW39Rv5s+twUNBjGEgzfLODwmr3Zia30Ek64oOwNYK6zZCqBe127AOUYCVsLb3czz/QimIq7LBmbkQUrEw3WXv9eAMZzaDDrYrofGjbIxITwm0fHyUrmQVOFDN/lfbCtvJm/20SIWq3aWcwPqlvRXdUEWrtDd2QE6Uz9Va5IwTzr2JLnkKqybaxisNgokspEdqupsgiwUib8f52QFu0cAYuca3HCL0qQpXBca5gU47gYOXvSXyE5+qB4DV4fM1WAqbcpQ80LkkXUVIuRXzYrxFcRkVl0lBdI632RB68k9h08F/5S8LUCNdzNv0W45S/O8xiv5iIqvlZk1Ekw0KZ6kaJGRKoSg0BWwymPvWWMiQIF5QKsdQ9NGC53zGb2aC1cNPI81Qt/KNRjvqona+afism3YOUwiQpd9Fm8/Ek/X5CkYRG9nhIL3eaRMJ/ZIfSzeG2L+pDuLEkHZmigD3l+DRJPyex8JpFMgUu9VIsy+yO/nYT57LVY30TIuAghU7ZM4WVjqoFsyrRwwdy4TO18awdebJmco6XiqN2Bp4vqk85KY1/a8c09JeggJg+NCYR8IRaavNbpRtdwXAjh2IbCnuWJy+DkuhhcoPG1K3dGW7A1gVFs7/diCl61c63v1sNhSDnvw4ZdNbjZqkhj4HWZCFDKvSIauOJ2ZZJpU4es3RcumCOusmBIOiXYhYrU7l6i+VC6O4NRo6zprFGYUDYqVkjJXuUZnReMsZhl3HO5Fp2wQWSXjFWHwgrvD12BoHYtJRKWOyZ0rPsg8jLPnkPpwsqYMVV41KnmTnL9UEMIDJehlOiXFy/4rk92fwI3tLU6sP3JoHUPe3yngWbKOm9eBhJb9zM6oqiaDdMfMDHWu1vPMIqVD+FH6UgQ71SjKUHBrU1sgRSmN3m+65wK7siyEWmbTHr9XzxT966AwIU/YzBbXyjwoTnqFwzmLh4qgnYmquJwqPIhV0VYFPLyOrZPXIFAtNyiVEthKNaqRyoIP03wjDDwpOfDUhXDq1a7StowOCME2v7db2SFkcdGVZAz4WWnTJF2mcepUbdus7XyJtDh0p4bo64AHRqy42j4mJ7U4Wd+8RqPvGDOAkCCNWK3TyXJsMSu6W9XhfZxe/i1Mj66e67xmhiVrxvHz3G/t4pvm34lUcc75KF9P01Ok4T9UY8Mo0kEQZLaUQjXnmiigZcvQcVduPfg6iUBK8fLhCQfV67DuMpvzDt7Owpej/913HZCqejHGKkvo1FYVDjk9M398SEYHV8hY9R2je6U6dRhjCmlGJ67p4qfRtlSd0nHX4z+Jbz3LJfL8OD9ug/0EM3wWJykBSDFX8CxfDWHJhVAbb7CtkpyjhY9ytGz8ae3DwyolsXa+14qta4Sp8VmgYOQ5pRhnXJdVqcpTiWKAooPEZRlm5iptn/mltMujOR9h2eW8ID8V7xUvHkRjlqTCkwmLJ6+eZCYEl2fihQxcaCF98Jp48shizI+e61dekmGymSgz7rX8MTrpQ8GgC17y0//hEaxF0wp+JVRs4StgYDskgGr3WskjEL1vjRjeajSiaMsUZwG9IY8pI2iKRNHuUoe3ffeYbR9Ci933AOHYuumnoqKHGZnvhl/wl5vr3kmPnsundPzOcYPigCiTg/NvrHACXznqxL5GWiHqNbusFeWtu7MHlc92gVe36ah9GhqpLYli0CfvYmL5fPV/mSIxyAnm+KNpsTVO92iGB+qOPBOvcmHTAPJhpQlPYQZGzgLna9jzrIUzs/U4Ydz0xjzHZazcHR8Vkxj1ki+TbmlkOUulcJKjkWD7JCorn7GzgFlzaZZzaW8uBr86mk6OeGviJ89ctvZ5Xfzivg6D5E6HtXiZcWSMWtyI3HkFiOFL5HWaFSWaiseJlr0kzeg8YQynENl4H9KfT7CvTEPFiR8Dn0Ece7QJD3XJOiJnrchh4eS79dD/jSIJOANgyW1KuwyJLy0lwiYiFjJKZ1MbSot5NqxgFjCa3kpFFbnw65XJAwe6MnHUr8jlrbEVux+hMKwoNsX4+6oxGX3v6DIjU1D5DKmLovow+l4yq86jI6z/addUX3KTrlqZruwO4BjQmfgiOs52Bq56bikm3WqUodh4MgfMrUkndQ3w8OIni1qVWDs0Pc0/BgJpvUwZKNZTCARY/2xHi8rxNdqmpq6rf3aZJ+fHaSeFFd7teLJ12inftAIA8FGMUvpdHVQsyxBaUvvVER3AKsweNBBJ8SgUjMPnmiYzqxN9oLvqZaLbdhml1b6ECaihWog8wk7dk5yl/iG6vppSvi7sKA/l6bnYOW6DWXrLpDoxErYjjUaR3iCvn282OZs4Ny0Rwd9NlsWliMkGbeeHqvBgQm0olHkRIQrBNxNI5KRMJTp4c1EzoFdm1jiX5gYTWl8/W5rUIrIPxIfJooom25rA9JVh7ey+b/zmQhGvDv9uKTrm/MTixb6aCY2dmiz9P/Xxa3Uo1GXBE3ojjJa25y0Ru3q7Y0qYzLBqq5i1T2o4c9evN21rG+ScOQ41eQDcGif/+FkcstQEQkbnKqYOUqiRC1HIEYGdjqQtv3ZVmMu9PFt3dMXGlhokRS22wML19lGjDvn7y0hBo+GEMH8iuuNUA8norwBBK0h454eGvxJUn0rtJdCib21yfh34DCJvSaMe2HXQCsZU0Ec2efUUQAal5LPgFJSXQfaicJfNxcuQFhBKdT+n5ZLFO0kvPLUlkaJEpHpaLcQSI/dWlY17SmOuFo+NCDmx7iAek845rX3yCiG0BFeF35llLVSLgkpLCSQp8t/ZC5WSOkJOaFJKin3qikcxZE7XNHR0MJmjrpFf/NRvpdN1a1waKa8pNRlkiPjwCq8Cmz+7h7oypK9Q3430D63XuTzH0GGXumnwXJDqKve9qbdPkJnZ4h/kJmosduVOX6Nnp++LI51zrk7iUdRB7P0sX3z8XasFb56N9fr0YbRoYRCeFXmv1lzjiU0W6sCxkQSo5EhY5lh6J4OrXfJFIlSTbCD9LG8ODC0Y5D6+aiB36fV3EUHwNB1dMh82NC1i211XPS4B1pWVTsupyCEQtkXh83JUr8PLht62AoRtXuY2BGj4rDOADtQ62O+qdLxm025rr1efZdD4PyeaXGaaB+lQu59UBAIe2HPmyISSEWb5TFkTsQNd5l8tYoF8sbHOHANb2H/QjNF6WSIaf7fMjIKsKdMAonCw3TmUHhDpjBYT45smCX+98uYX+Z6kHznz7u5GqKi99Dtzd5VflVDo0U4WTNvEoEclSEHNgMSMg0+/7H0v3t2NfFLVGEuTMOeNb2fVifc2jCySLdVBTL4acj3rVOQibPz/b2ojM8VZy21FZdRFUoRP8TQatl+B2fAxhpkfAx9do3XNpW926Iqp5sl0k1fzkRWf/XIXQePJIIaCF38my9EjBUrSmzowtYBQeZWcIoaeTW0b++c2jsulE0o8M+Drjz8ydIhNt5b4RqHzqhPsnDtK2bFdfAZ/wve5N5GE8VYN4Ik9SkKL1p/l0y7P142TaNJuWvRCh4wrNu3H3Zl2wDf9Gm8rL/2fyMDHEccK1U/LfcNixjvffTSjfsww6WgQ1diThkc5KIuK99u7Q5EXpgOpN7sapONh1fXx4sAqNYED2e5rUUCLET3jWmne7VO75QXPukePAoRDVfXBU2N5xnq3QyBFqT2/LPCmw1iZgJjHbOwDS0kgjHFKrhpCjg1f3Vf9gRbiqnDoi0gj4iWPmnazR6JawFxMAtkSHn9xEWTD8AMRSr6V8mMKPrJnMqBaht9TN5MrENyuplnwWp/OjTY9yW56fZwJP6H9+7nWcovZZw4ITDPbglDUEysQWkGOPB6tcOAIvFBHjvdkRrnUKaPTTnWOMSAZugFURQM++e8YvfNYEik86pJWZd5+4zF+lohLlecBNYvMHfdivM8axRugH5ZUA4VMt2MLGG0DfbeRCr2T9FrRnGHhNl9Z7cnlUvmqMxxZ356uzK2QNcPmb4JAMJmy0xH3HmzGyrWl8+U36szp1PeCQzyvRXcIDb2yZt7AvAhB6kxdrLzEJ3eQ/ny6oN2r9+iLTrpdOFbQO6VTd+dpl9gwj7klIe5OH44P/vVWeltq5+TubHgRevU5Vf9o8S1E9a4BXcAmTLp1goNtOTo7Eee2O/+cCiksjWcSSqFHEDCQ6csL+5AYTNDugFuwOVml79cjRkWnwcKV73BzQEl7QzqfSKzJvWkUPGhLHaOaG+mbGjBXxJBocNoMipn1OesTGwrJOCCR3lJ6SlxfZISfhKJ1i5T8neUUjxTqdn80pCtfFEVBfPoaCr6aU6WQwBfwrNk/jgOCbfseqoP2rCy47ebAOn45Ie67/Frwpm/IWo9fS55qi5hcyc74ZhD+ppNTHmONUHdw2JBbxVYjkOjjTSOdCuJPWJPGbbeNT8cld6E3HuY81C79VeJGnB3PoihaJq2GBpcEwv/dB9+bhr7u8+2rC3ByPZWWek0yJrkvF9uEiOvVfXvEU+PiDSlZMIWcv43gSB//sx0rX/j/JrAp5WpTX5lSlbd0iVUG63p7kk+aeS1smctHk7R+vd4D0FkGq0wQMAYJ+qHNVqR5UUTkvfukHi5R1kJy/p/IhuqqkWz72KG6Sqv14CH0xSblIatKcm516jTFdB/5glGQW24lRUeRI1L+oNz0612LRBJgiU7MSIXM/vu8uaosdjb1rvNOU2prGbHNa52vL3rBFv7TdfQWq5n3Gn2MxV46dbHxL1+WvXevgIwCyV5ayqFJ9wd0YYIRmuAzUthBlYnjt8JOhIe6jMMdHVrPrVMxqC6NoNB0fXJX9kWA/vNli9/+VLy3TLi7g8Wfdz+u9FAHPKaGvFmMKERspF5w1fnBJA1n+iFohCxsRf0sKuSkbf5Y/VqZUuRPsw4A4NqgND8LpObArTzkhksILVajUWYKs3uSP2QvqHPF9K66VWm+UcHvfmfWo6y32okggzNetaZYJKfPYgjWA87ViIBK8wSYzD31AevHA6D54V5AhjP2Wb8IO7DhbuugjZ1c9h4wRIxGzc8PXez2eNAZ/hxk4YRGMyEdmFxzx/FkVMF2whxAzPl9r9xElAlv+g3hS+B1H1XqjAZJHUjBmKS/3j/i48uIGVYX1dxNnhWl9wQ57tS3pvb22t30gk6KzIP0I/Cc14U8/Nn/W+hJ2D7gh+BRxh1BpXjXoPFdj0wm3qOAjTToM6OXMiIprmgegjgQ0OJoDvCiuyEyAQ7kad0E+QzeXoAbvpyLbWkK900BzgvLKF0pv/0IA3TGU1gNaQyaW4iGbaX/7kwz0AGPCTNoyO77eGuHJr2sIhQDawx42IGgtFeMniiJX8BQKAYntDNm89JZMMY+rw6Se/f/Wc6EmLnJ+pueNwIL7eIO3eWJ0xY7pvn+FgcWcyjOsHelWasCLaajXyiJwENMrWAZqf0V8Dq5d4Jb8sLHD6XjVHV+4VUu94U9bd4AaOxKeTZabDyj0qwNZEWI4vVUQ2Dnk8M0kgFjxxZm76hJDqgg8QMd1dzTg5jMTHUljNQVTkOqsgp8KXC+jGGchbyFTS7ZhgqzxzFjf50Kay0XaeikIavlLAMQq3+KK6AU+XXJfW3wCNCm1XMlt+Iu9wcTYdL+1w26lv82IkTJYPzhIN0TNyccJs5+KlbQyCm4g+33AnNXI5giB7ZRDaS+wpZF0QSfK+pmZyVKXD85kkehIjOeXYrvTDc7C7GaxCY46szF13sB+W2P9MNFhtpufHpzYgFnLN3wEm5RoHxQHrlN5U3QwZtRixkaaGSkrR0QCNi3QIz8W5RufSDmPlOUmtSdmhlLjnuXmoIgfUwwNa0ISle1fQflZcMb2MQubprY+WfKIkMxi9AJzFqs5yQdbCnndZ6OYZbKKGzqsPm//k6x5DWjWvrykecU7r4I+FrP4rGo7eNVOi19rTOgSeoK06IwDSYCfrXBbpYkXdT0PKJGUVRt+bN8IKoRkZRa8JKcpch2j7ze3/E0VWjYIDR2CTemfFrhCT3GGtIBD7N51CtKt44EAhvz8nc784AqLyvEWT+grzzfo5IYzY3Wxm0GUHX2j4dDnzdrjdVMkwbvH6KaObGrOs1M08Wej8tsdv+YwLk40nuQtpHmIUnMa8kXBaE0cpzQxsSWfTprd02AUBsWfm7Gfa5ZiizmiRr42LjtAVd7gSGSPWMBfEiobA6yuwhMBtbHluaAjSSzTC9cMB4ssIWMzLpt/FE1lQoHDEe+kvQBPSQrZRUF+J2o7S/k2G3RxFKW2wFgAdvwMsGW46YiBprsH4FBVsPUbeyip6Anu2GJQelj+DbvLq4Q0nLWJpYIJzOAP8EsFXYVncqV8fN6el3gw7OrNr8XAft+rgW3p2L+hsLeSohD6D3E3ujE89B0Mf5+yInixYpfKFi1h2InViPVjNpJfMKQvIa7z4Js/ReJMka/y9zZj8h/K55V7uhRUaL4WM02nWUvszu0VIS1pqElk/VXFq2H4J0wkwuUjR0QQbOxXlAl4wtBH7SybYVrxCyx75vbubgnbyYfahugUPHkILQXh1FlxQrGxJeLHLTe7VU7+PrE09Fo1Jkf8O/9n/kJJwkyh5NX+ClWlQ/gX40XIaMGSgBp0CVIdb6a38nrhwL+2cWpZkhtzvtXj9QlNbGS+dSZw0ZWEU3EAsZoo98/45WeObAILKn4XRxFWdv+4NnfF3YUOWUoSxgTAl57Oq/U4aPybxWC2lapHPxsiQC7wmVFakIMO6ahdx9FZPS3XOqdeZoaYNe8znDkEo1l4PEpwxceYOfpqh23fchG9YqyyWPOibaC61ewvKN22KPgj4+L6+iZqqat/7IK1+cPa2VEaiX5SvFpoYekmpbszCVA9x4jqhWJ5w7EkSuiFDeWo/nuWIO5B8JkZwtfwzfBM3NqUsbxE7NQqboDoG4jNI3wdvI5KK+K2PvNzt7i2WTy4vMLos1JQiFvNTdpzJi+NP3dI6ePJW58QjCnQ31mKh9onZCAk8CdJmxmISf+feHfUUClG+Ix9aC2dJQMEABaZ3IPVtOoSP8qwELH/UvSO9R7OzMp/eL/jbWdUWlJ4MDu67Ydj5bkQZ4iS+FzgAEDkjG2s34cEJ1YJQB4hsV0miy4dzqR07vaesZyDu1n0sEcMi8pqIM7Lb6FfQMreK0zOtmb/eRUKE+UBTVNgoTj72Byoz/m3rIqI+x7wx+iQjyi5h/Ic61f2rsiTC4mhE6N3h3E5kPB2edw6jDiqF0qk9OWbk69ZW8Y2jNxuuFwNgtuTVU7qgJkJLhsdid2vzboJHctIXdU25WgfdWBZbjKE6PkCRXMi5Uxz9xrJ3mpmkV1RlW8WFEyv3XGxxd5ei4K0N//3w6+thmxvB++7kIzauMoKN2ZF933C1otGknbs1rJJa2Mc/+7gtoOQxYMk94Pc2bOPF6l6yf1H1/wsdEFsDgBP1TYXJh1/CZqh2bWA5AcMJZgzj5CEBTFQAXKMoYFbMUHrpcipU6ygKqv6t4Yxt8fxR4nB6+2vdE0JiKNcIVImvTYjoR5mQzlNMBrF8M5Uc9MdNIP1unDctrS/ZvNLDgUlVTn3xHJZdkV/YuwIl4PssuozKHy2Ic/Nh8PeHegPVZBzvCVOdlMqyJRfDrPgX6XQmk5vYFC/baZOcLwjDbZgrUoG7V3JAfhezek4KJWS9lqcrVnUiPoGse6zZlrsgM8T8+4hUkpSqvYskbZLmS2zKltPLiGMofBFgkoel8k9bjcd4K5qQd5wveBV8hDzE8PH0Gw1nCR5uJLBo8VrzbNbGttTWI0K5pASvfz8ilUeM1Fe8C6PtIdTrYeSdGRDnyJ+4PMIdFftM3sC+FOrf8y7lidHGz26Cie4QzwmORbx7CSQkL6ZCnYNQQwTSTuplrKi2bVdVbhtt2TYCQQhE1vVJAjrDkHdmnzRB/5enCtfhJS107jEkfbCCAl9Dy5RZx6hp8AbX5Y6JRAojqRa4MJQjz+PGx4K4/UGfLpwkmMp9QoaI4bcngkK4iYWzXP0z5LDt85zm/iliJMPLW9ZtApiRGf8Ezwax3ySvjYPCmAngce0+1uejaljeCSefSjTEMO76T9PV+gWFV9+0KNYEQqNhtCsR7dEty1CHuAZtAU2atXhk1pmkqisyz2IiA+j6ZQiAgJmqJhd/gOhzsvDDgV3YvnSStankwI9WMnnKcmivXcmx6lmg9ubJfv3O+JrnSK9M5LBJ50YptjfU1WF/gDndUFaHgx+7K12rA4G/LVI9qspcF51usWxex4DQYiKHOJ/0ao23xlO4JBz8GF6LV4SMi89sZfNXeViQKW1TJnTZfe3eF5tLbe71hn1C5lvYpfuCxcz6aZG7vO0QVyKpggAGxgytCupOzj+82F5mU11JXH+fk0g+Wxs7uU/olSQrnf/goLGrSdKEqIP+c4zPcz3fV7zSBFidYzYlPZ25lGX1aDHcsQGVbP+PjOgWsplf263tsxsz1fiQXviMifTQclD5ypg7SIL2MxQgJg818w6LuPK2HR+SwaHkGoN91cRFXT46a1O4qgTVHqN4R8ouKu5SoErAFDP0N1ibC051DPGdory3Wtap1FhjXANHpARmIJrlDk1Za72jMnQjrxW6y7xtAKAMk+FkL4EDuY+wggxmtkxJBm7E7WdTpGdz/IRmj0w0iNHk+IlFSoDMzxAetQXi7Md410r7X0QO367flyllH9E2YRqqMutXD5G0DJWIaXsBMdLkjlJRDv0uI2uW1uEC7wmATKlXOaJXl5TL2wU01172cOc7WUxSHzRWzLZU+9qGEOo0r3FrZPZ+3o0xpmYYpYiYS1AP5fQiPb2o8ccHFK8009o7TJcf6V8230YTuF3z5PKXd0MG7bX+rCPwJxR4GQnnkUwKtJNF92skHmwNALUcMdjRXerEevBlvAiXhEJySGssnuBMx9ht+UFpWMKtdtRTabwlimw6/fVuGEAOSM01+QvcnVABTEXYmrDn0BcTpVqzg3F8eYRByWCnEdjQaPsN96VLDELn7nXcxXzmdl2IpCdYG+824eKu1XJadx80pX7ASlqhWwwrnEKsPBkQOIk9Byh1jQW1qfB4flYZqW4upVmLqkb6slpqC1K/sBdj0oCK6D/x/y4H/arphmzcTqLzFGaTRUpCZo4GaZS/KnW6hPKJz9fP/kzNgOn++DzRbvgQN7QI3BvQWA9pJ325kwUlN274U/q4I0OjOLCsocDgmT7Zt6h8EqQ3bZMdmORV2O60JNdakJRhVSDD7zwFdi3RIZSvYRQRssHFicsxcZxzG/lF0XrmHbMS/v24QCsmsMBvy2jY8YdeENHIiJ0ytyXVHLnW93/3/vbQl1Z3mkIICeSwtFBlbjq7pqFdJowo6KCxh3sQUefAia0UBROYI5CqpLpD314leHwWgKd96Sk1rL33S8qDc3vQmiYUd4vqRG0xZukXr1bQd+FGEmWNzFGIEMySsbJaGFlRaP9AqAPZ9vV4Wxz7UgT6xz00GextmWamPvdA5Y2IDAfjB3RfnpAPLMBu9O7A8oNUkYxO2p7Vz1nbOgADpqzBIg0YtmoHi5oFrbzKxzBrQLJ2rKBmB0Ot1ShD63mq0YpFoEIaNv37AWz8vyr7R4LHiPvx3psjGGrMjShG5tvnk9lEI2fHOK2v/FQSVCyGXSOCYn/2tDEFcAAKmWeoCPckqKYd8sjX/t3uWN28B3wMto1/2QTyFEQWStFex1gp6LqMNIuudYPOnm1aEQa9WTHOrUQI/45HqXRgSNOVun9sfcoBnMg8YtjUnGqGWCwXdbUyKImJyldeYtyIPzcqRL9nzxM9ycYCQBJ2py4WS6clSC0n5yiORnAXzREW2+IWsYywrEuBQ0QlN88Qi0cuimQYsrCfbk4tedFjNkuLIKTSXYfVIqgNYlDRJYqvWmXrTkooA2BeORc9JGaLBxXS+RwGkus7JaUZ3llUyz/6U55cfD8sBHIV8aw2IpEDB+FNFxXhNxUVuJeErkY2t/PwBsSIozhT8GNUNqzt7olpSR6AMp1mxRx5Q9KxumCC3+0b8+MvLkeXv374DsIK6EpQV6ncs7nEW0ldK/W9fW9El6XrSuKsFsFa+3/9x1o/36CFzC4Xwq8b5mD1rscmDzn6Ppw2WhFbM47IM3jHamMb4Ez9uUCBFz2HoTMh5vITfwRVcEv5iuRcPu0b5zXCt+6sJVOy/DHGc5ofCXjHTKLMNGqsDMcv0bBbw65ftjVs1ZR5ZkkskVMx2r8vUiU5WxnNb2uq2dBwUkUCaSPJYC+CdSqRomnRtnU8loPHErsNQBIv2h3pLta3sW5/RaLYtxoqeGb8nzNbHDrgASLtPvX8H3SqKwl4yAvnJM6oCiyKoTUyu/N3SZ+KhO3K5YNlQ3DVU860Gn8ZgMDcTdc6qTFxeTLuH46mHqAEBaHE08pDSsuhVjJTsrmMTUHJyGbxJTpb2Em+9pknFp02zhNWRCcEhzufYw21ElSDTiMQKtfakc8sJYAA+M6d+CvVCZqG/hWYB3MYHyzFsRBBRFePJM9//1//qL0RXh3I+gkl/JYiwq36gfKfcJGJUZ7oNK/zXPxPn3b1LyORlY6+cDy6aMrFroL8SZxMxeH0dRBMBmC6vbzDX5J7q7eha7UuiK8pabaLg1j/DOQHEE/UDoMeyIajQj2epIlHGxNQOuiN7DlCBjs2pTctPT0UdNDaLi6SJ1orbzbNSIzlIQejGwOgt7eLYkCMfhltsnrM5ie5Rfl4IOngW7eu1pATyqoYLbBZSeiP5Sb00i2ziixmv92AcUy7sNIv9ei/xcBHR2V9Hbka638vX1y0yeYXM3a4Gzgg+fKmkjCWaDbvqbOBd3aKQ9z+UbiWELO1FqUvSkJE5i8pvIzuQzmXiPj+ftPgcD+NdyOD0e5mP5N++7SgHZXzAYN23F+9coMF6GwtZ+aHfyvNDu5fo3frz4V/v/lBRkRxlR9Xkq3X0+rNUofu1bMb1oPBWHKDRFlGYnas7EurUCiC8afUYOPbMpcz9tPG/lXdBAhvp92OKiBFep72g3vUNQFz8+jh0QNH34Rv/pRYVI6x2yr7V183FUoL2t3wcZ35u4tc3PBfwSBMlexOdrSbAoIEJHSwUTnwHr1K4KAqR2xMKN36afossCi70z8TRsxQEC5BwJ7OdShMFZHT1gawL0euuRBEIunls/Zq6IMChTbW9xORozKoR3dr9a9O6dHm9CV7UsRK+5MYP9YzpRbwXj5PxSrRzj5qKWsP0tUG1iJkEJyz5UmLfqSnl1b0AwoupVax5PxFMymWzbPB74EIk0Ng+AhV+KtHydB+ZlCUTH1DdMsJI/0Uw3uVhYVsvkQoAQziyHjmO0WXoDq5nT/6aebCuGpUw9XhZMiGOIWb418I+RsDCCBrIC/pAynhMqlwAndCgEd1WgLh2RCeZBL9kCwPNYpQ0SVg78fH6E9DC/rjnxyJSr78K5ZPvjFaQ2l4f+YNOBleGwTyDALSjh++g64Lav/hsFz9wi4l6mW6bn26kgOvTYBglMfL2rtoHhdgyRo/AKrFr+6wzvJ6e6LrZVBwkFXdH6NEWdWJ84to0To3ZGJkCoCBULnj+FZaAlP4XFydetzHqHOOoOMCnxkm51be34Bx99i4w1GwOjL6FcezfloL5+I5sKH+ZxiF/IkqFIMwuUlebm81VC2OfCijyP5HkL/bZ3AuA1tQ/2dgdjg25VDntKtZ9Nq7/r9cGIxShwa9SwRpvlncIRdoUY83CO9KVoLI+ZX/2FB+XCJscojQKaso3QGT8MO6DCtMfTDUEOLnpQmPyGcPOd+8mk67ksTwM9mnhZdtz4CXp+x4FgbwC2eMplnUjyypgQgV1eARgIkJh2yfzPvyYwZB5JcpnbVem2c1ievT7cHgRjisy42xroDWQqRX/qV4r/5CaFvbkpfaKx4LcJ3PdXrvL9eYrGV2EPvLKkkoF12bszG6F0ww+gKmfo3/uMZyxF0pW07nO5nyppZ4ZVK2614xqZZMVAUItveyM892LQ0ZkgIDl615cJQBMvGSB2sh91dFQ9Uevi2IkshwYmTP1GkEZFng/ew1WAzQtNZiKtBzWeiezPZSyatrzRQuoilHFQ+uypRUhUU0kbkULeUuj/+8XhsUTgfhhRys7lf7oS1ZbmiEFzefMH6EwTHE2mN35wO5y+5vCKkixG2cpLmYe+hwOcw/T6ehTfXX7pVsMYh3kL3yUnsUd1ohQYIsNof9FiZsJwF5GDQOvPX0VBsOobM+H9yyOV9NlnE3FxUIPwWQDk+wyz8SRWFMSwJzXf8YYXFbHWcx+NXcSp1m2V2Kg0ZTzfXAJK4ObnuJg4LEc9mtbL7NpPcr6BUb9AUSLHITRwIeQ8bpegcHx14jkK2m/RJbi58uDNK/orckTfgJAT/5i52eEiW/E0prbwRwuwu1KbEqqNHpTnF0HqdHtDQbZ0MS5h5o2qy/F5V7J/cwLqe5PWXDCJ32FgFe8kIVvv1wfF+VOXU2dEhYS9+7TyzOHP2pk5TzcUAg5DZNW1nbv7688Kjyh6swm0h9F3qF4eh8DIjwMTXgQ+GsINsdYsgLRsi4NLI+gLGiEBH2rAiCvYyXDELozab8sHh/2I1Wb9Sak0KuKXDxTeSHjkaXutt56+JZAmzSOSuILgQcHKNlhsRgCWUHVB3jSt5WDe1yP0TeZmRr+B59YfgQm7deyEXgpW2RLHD8Pfq1YmFplNDUaNpTCRZLcR145lgbE0xgJxa8TPViZU6h89YOlTFLVlL+pEdgzRBPbNHL8bBTacjlPjZUyak2uBTJAVeImBnfdU/vK0rzbip14t1LoZFFl7Qxghuq4F4MQjvgYidocQOWOZXx4c1vC/o7tc0g3fX0B8LdFQHKDs7y8iN2d+y5Q7yHJ1e3S5IYzZo4Zla+Y0N/EEjW1Yaeoqq6gFfgib7HT9RoRVXxnL/46psDt2xtzkqWF/MtExtifes2OKfELf3Wgxk6tZIDKHd45RD/PxWEISju/fT4hALCmOtr2bvnhnFJ04wj4ewAktPRjW0XePP1c16CX9rFdjs+XQGiJGqjOKeFD5otc/iW8Of2GjInfKjjfu4Gpn4fSkewjb0JqxhxPGC6zxkqvqv6CGQn4FtT/YX+ovVK8eabOlPE0okCariDPg5dgj+jLqpnJYjPS9V6HlNsDKnTNK2WNR55Bm6lCB5Y45TOo9f7/n8gLwuIswvFypjKat5so5JOM6+nG6j88Ydl5a1tdiC/um90CQhut4gc15PTVzbeLKOaYPGtALNdCOoWNulLA5KniM5YJqLfPTKaIGiMrAOV0/BAYrXknl/f3tkd4szssMK5qr6R+xX02ChFBktCU4quF+Pk/nqz5akVqHA3cxfArZSriMTxc0d8/+Tbd63fZfriUpT4HsRCd7n4p5Lpf3IFDKvAQolRxWjhCkqc5+rJFjpt8BB3RKYEZhRdkaT0ytJ2hz1xqKowLQ0DRFeVdbTLNdD92C27ntT3JpV6lWBj9CGglV3l9rbrF9fRo9wDn+8lxNQXmoT41Uvh/byd/7BSd4JkI/dCrrB8p7JAIffKEeXtNna/NLHvVYDeHKj6dv/q7bPw5bnkwIIj2NFVx0WpBB8s2GgOHwBUMl7VAe5z4DQ+aa0pmM4BD93uRm3vg3LwJn7BQnZSWjx5OVfKAE5gf9OSvmC5vTjxOaZrGYYrsBND4r7xyfwjuBstQafrQUBS+uFgKOiqf3LHZzIwz+PMIyGXnaQvuHPFoZ4rNcEXkDhEVhc2BhQxmFBunC7ATG+iik/YoBZlqV/IJuoWQHQwiN5YeCWk+UmfqiSY1Wb6bVZ+JO/BIE7OY31plOUQAclrd+CcPQUofrmDBRhQNc0Iu7UGpGONZncTn/xd5OPOiTzmql5tqZVI/8uyBzfa/RHouREENx/iGOUu0fDV9tSPxXxjFgVmUUaNl9j70h4LbCvx5VzRJ+6811GWbXYnZR4GJ554yR2/4gpKIzEuWnb957UiQ8MAzIcYAreNch/NhYbnvswKd5Os50tSvjsI4VbEr2ASna4RPwLKHw3cuZZ3OHXPRDsC2AUOeXyYwjsrj+yCVpiKn1b9giYQFMgEEKlSFmZSMUfqBp39mWE0PwZPBGNb4DeeL0FHaJSTdj0zDfVLPBsw/OFBxU/oGwVz3q+wET3DaKXC2Ve9xm88soR1rSEEsreugKNaDegWpZZdE/Su2QE8tYjMKYGa8mFaAm/UjF5LFJNE+K+9TlG5gktsTX6E54uzs/UIsO+9WSAnx1Ja//WkRjPUqed92xhb6tj1AvKSih2mRqzKo1hqZU+v4NquFJKr2g341FENzHoJRbYYR5a3u8G6M0nG7tm4pOixeBJUchVovz969I0+4NynygsmRxCRlwHTuz6eTsBxNn4pJYosZF1kYOYNtb3pLLVdBgcOgGrEGPY0TrQCMqcQGuMnBbDIvmgFRzLgnHnd622CHhACE2lQl/Y9qS6hMRvg3S+sHYHzCYA3TnlBU6sxIljIEvqON/8nFuCz4HAOYRmCMS/lPSf7Ehni60WFIGY/Q9T/l3UZZvQ/0ggCBg52DmJ754EEXHUX37QRqJWrWUv9SDS/09H8xnRiYnO6e5DoCx19t503KELW9STRT0AukBGw+Wzq17MidVLr/M2YWvSGle4/ruCzLMggYOj4rDeoglbCzoFq8LmsDXApcQgchyheb1Uve+8opZzKc9aLA06jaMnWgXDlyOVxjWulHmTDMddFcyADs+9J3LpcPhKT2k9uU9ufKEtSdBBw+sm3h324aP/O/tHl2+YUeOMQm0kY5K81AGCt7MIQrMSCQvxgooR6grT9HH46N2IIFue32tbuF3179TdSu9BMfKIP1So4kizMJdPTLUmYmnNIDxASakMnKa9KAaUXkakX3tGEwMhK+Pi6jBZjkl6nQfQwCITr8TAv4UL1h/jtFKKirzlfe/RYw2O/t6Bg8piHkMzmScJSUrXmjY5ebyHdRSARx7R1fKIjAWDTlTNmASYe3m3ZY/VoU0OxjewSh9Q1MgUn4MWxq8P83dLN54vPBLjmwRUggOlw6UI+xuPnVt9dnsclSpirh6CB8KdHjLTrvqDVvJSVqono4aRc04PimuzcEikRyczm0QTfQhRKAkU99wI9JcaHI+717lfBkLW01TryElxFSJ3e8Bwf8oF3akptRx4eDeTjbnept/kAuVyG7L4roH0F/Ek1/ZfG5monBEDR/Smt7GZ6C7wj16/deEMkpMWRQPVt0W3kW5c9Ngjatk99UZJr0FinDXFpHaoGr3n36DSCamV08azqY1QzuaprB2op+LcMn5Q/tI0r/pOX+E0yP/awbgsNz1XShsb4tiRRmOROOjQ0QwFt2mV2hvW7Cv8CZlu2eB0O2Kv20AJEJ9qij6+6j7ZRHgj/olwAVDohKpaMS3xsccWCjl0NGHY+vNrWKcBMe0XUT3+9JNPskvRFJZazrjOXIi0q4mBUkmoSiupWb5cvZuk/WVjjTny8gQNEDKLBQUOlOcEzdIbaX5oz2jCqi7URmvmVXCH6ub8boaexYLbT4RxPvfJN4NDEePFk12ePe4Zu5uqZbDiEQ6C8NDQ4KLouwwvvGVzAMCa7QTHKj0+S9EXMUb1uj+Jsh8EF++WCxEjJ4XPjIiU4rqEaR8ClSE/lnN3fEwdXV0y3GB12VbGhPmau8k4E9wgXH8AjTF2qblxD1xGFmrkaWZhazP+b8+iZMyQPorQSreuQ5KVqPmbVCcES1yUzXpT0ppnTrWFNl/BiOeuGKZB0dUiGqLj+8XccIJ/mRde7Gpnc8dDBXz53q/+SrJ8/NaplkD/abuXoMuE6DG34iY2ZWuXyZKysJRCadGHcpEzk54URkqDvxK9yubrBEUpuhiVdx0yKeB50erKC4LDxLMOl4PvdL2RSXL7nJLmrY7luaW8hgsfGbG55N6TFaWD6P1zdeP+i/b0hFcABbX/0jRnzq28SRC8lVySBmLEdAzo6t/3fT7r3WWwXwV8fZP7u9CF+DmChXk1gFKuCVEHB29pY+1XPDMdJCKWmGG5Wcgv7cxZ8rGrdxFbnbuHgyHfzlAgFjYQ5CnjTv/e0C1jFFgBmVXszvQbqy7vGiK5Bam/cRlJy0gmmvKfF0hPNa/8j/PafMeWiEecWvy3SNdv78ETQ2MdlZkela59pCYfQHZFDDs9augyPEYJF/d+vLbtMep7wuZlzXK8RtmeCoqyk2hvrNQohIiAbA0BL2u8Z8BpTUQGrzCigTGGnZxUCmcGSkF/fww3wOlK/1GDbCirIZQHipA7ucJKp4q12iIWhjLNhNjUo7jWxYby5ABvZAq908hEf2blk03ewQvN3kJD0fpieEXbHNBLok8nlqgY55b+t13NIWci3Lv0MPNeepz0Yw6YoThmcova+bW4eqs6CIzX61LzRyjv7cKJ+BOhc/rzWphr0KpAyroD/jAu3AYZdZTj5zuWKqAzxu1ZOVrgL7w+q7s/LlxYURIvbcPXSOgSW6ReWjkplOwXhE0t8V5ujtMapTx/xptqdoYgUhRKPrTj193MZdUmyqWEX1at7GjJv8OKFQH8VCi+iikNAsXKOK13od6w6KsE8Wz6+7jPxmumXXadrcKmrgQ+Jo2GQ2Q0d1qrhHmzGoclSxs/rUlUlWmxMgV6o/YoDCsJ0t/abfz7qTLgwPDI1rAUl5+ZrC6Tx9gicPsV0gxUcR7FTNf1YxaNYLU6kOtEwfAdR2HCnrI/ORvX7lO/jy1ijTmRLVSSpS3NtbO60aPxrBJ/IJ5cH2WaAQ8x7lTxndsdZmJ0KcG1na2ZFCBwNNIcnaweKc8pXRsloC6IXddbDZebWhMPQ1SQm06gIM4aCUokfULciiP/DCEYGJkqVvCMpt5pNEDVF69r9t7ZFSlPw5/ucGy1M6XLn/BE4pOffxNavl7/uozAoD8aG/Re9dSz30u5vpu+zmyzkAARiwvnZyoch56MaqM0IugtXHWDhSzsqJxrqxhdlo6d1lTvmNJWWI9/i550ROxhPgV2tO3VVuJKQfXD+W94LsOwFqyQlx7P/1SVE4R9DsKbKCpioNRB1opR5Pe6IOxgTL4tdFnu4d3cbt9yRjisSLImHornZglmwGPmsG9YActFPiqV36Uiee9L7xix4wua8Z2GTC5DFSRcYx6PGE1KwZK+y9ruan2DThNr8Q++U0KkA1l1peYSHAJ3I9p4uwNokcV3ra9hN7WBwt03VWFCHxWTobpiT4Pb3KRlHyzLPvLXLKkCNZfIgqxk4Uzy1O2WLXzIa9Cqbw1JmjKEN65nfoQt/frYBPlnXt9xRIUZ05gAfVBavllDvKwglBDfbaSTyn8VXzkBteIVJW0mJ6mZ2QGzEZdFDBfPmw6+N0nL4pA7bmTwWVuMZMjooSfh1oF4Oa2conL+vR30Ri936s6A+Xrsckpxb6f7hudYR6BrIE8LHslJ7AzPkW/9vd7uvKfEtopTe4DPQqSDeTmWR22wDAZKt8QtaqBbJf18B+feXIUZCKAorfLuejTS4dWGbIsllT/5JIvv7qH1cmhPtLT61mjFOfCyh0iJVUJhYjiDRpbIjNt8LXOOXVA8YYr7ltG2pRDvmQ1hw36yvcJtEQlingjRlg5Vzv+tHUQufkDLzStkuGGCCCoko/HZM7jplsghgqCtPIuKsI0+4GOzLP92HC045LGITtu+kbovsx1/rT6pHlK/ezqXPwh6MPn/cIoUy/g24OFbHLwmawExvTmu5AdTDwJreSfdNLfdqdwucecLjxRQwM/L2iyHV0vLonmsMPTqU/bz5hE6uT6SBsQ2b1CN7HWgJuxUZwATPbaPzAZflv8DCgUqr3J7iRoHSWxQxD7qIpSUFunTAKm+WPFgLSHbDynyUPMQxAkfmaaVfaG6sZTrmYI48hZEZEji8ELMT0NC5/To0vedlVVzcgWO35iDjgaPg9cHjS97TGXeZgs1uBYrwgJFMEOcH+utD2WoNrDFnOuW9xNApqiD1mpnzh//iYTIgI6fPYPy9BUfxB06ylRNZ/wReDtUDVuCtRhm4GAZ5mO1nM3XgY/1HJFrnuTQ7fKu97yHlb9hJXDcBb/5skR4M7HlGY73Iq3uqbQiVHc4wAbuNyYb6Ea1GyrHa0W8Uyyd8yc1C1NuEzm+zQ6h1SHTQw4A6Z8OEWZFh7VhXGjNON15dGVbM6HpuciMEqrS1jQeIxAWqUobutFJkmzOtEt7yCptPMW95V5R/DbGqfv+FsCKSvYXT/KWNE+vO1ORjw9rLJE3/7xRDxDILRH5R79vkclOLA2dKNFdZBvoWYjYwur2jmbmydiUM84vfRueYRucbC+rNuG/lcN8FLvJw9ixg/zd5TTDwFKcxDZzG2nYyr56p6q7urTd6IGsBQRZFYkjH0BrSjqraRZuVzoTWsrfVP4av6VjZWQkEMdwxDmDJ+YjFui3lbpu9/Lg8ATFOfQfoxgYyL7loo7L8tWtR4l9hBdq/L/svyiRVuJlDxrkqjsRPEK732qlKlCNV0XY+HZLL2mE6cGT2PJmT8asZBikKsfZbE8DL24F3Y2jG9x4y7dT36WHROyM2N8XJRdH1awSNpd1gVaaowqzAnX3hjsPh+LPwyh2KQXeB4WIcMM7JfDOK1Tx2BepHApNyV7BBQ6FoLYTTSu+IfoyMyiKi4b7DBYbSE4HLrJgkh42U4QpwdQ8fawKvk6fpsxJMQEN8S7VSwE5nCq2fUOZ9amMXbVsOzdjMsH10UkxbOYHEdeXmoGMvqCu674H94xidvlLiY2qPckmIFdpaLPLhB4aTT3oAWqXuBHdgT0RWMrbzJiFG0AupnL+YyDOCRXDSPAqnu+bHOEg6f+ZwqDL95FWBUnwtBpniQ263T2P88iS9RtIyA0m62AF7T73AWnFEAGH1Q2vpFqSZYnjb2TrDWGRjRjDYT37qfs+2OHJjosQpqCCcLfwrwx0YwzVXlnYkfBMmCPvYiX64W3cYllm3VwQvVUyqvXBQG/31N/kAXCG/Rxz3m/29/n6azWeafXoyNoGjhXY/kEkZcydnwV3ubiNujzAHOAa9b59f7x2pkceojmaIAH05F/gHj4SaQUR+DA62WOciTU/Rf+aYxL61j1EeU9QxU1XE06tKCN1rWHNd3ShCdIZfRehN2P6D8rpEN5dKBBRdrtuvsD0PdvEQOx2R/LFtvz90iEZw6OzG/f4kwb3STegYhzklui0IZ/X8/NOYpRkhxKtYGwL/Za/UR1wez6MTdLyY1W3DHIUH0EWJDMH52+fvzk1R86wCWwVUvPMFyE6VCCFlnoASZv1fUfR9Azcg5pKrjm48lM51+LXvtnKuRlGNeO7x7X1cHEN6791P/0DnPzM1H6NDN1cKIQr+ivmR6e0IPdtI0WV4tv7hKjEgau5AM64nAI4aW0J5biAEFetJN2ddkZde5VSh3YtqwbtbeZlQMMhJ3Pqgn2Rt8Q64uwaVWzs4YuORHz+fpowEHLDkz4qXKaBef8UEt7I61q15PVvoxkg0y2sQSqHzzia9RdbQ7hqSubfA3C+uyrNJRY2ACKrUbICDbj0J/p07dJk+qb+IsltDVpot9Tswlc20uRk5UzCkUBKcuSL1BMPUbsDZc9Hl1HWDI3X7XR+tg4mmOluGe6qKBcUQq9sNE/r1gzjB1iPz+f4bJ04sA+57L5idrRhhX45Ld68eicXBolCw0l8hZzhIMYu3xehh9lBJkO4t5OkaqM1VG4oMLICU/L3xKW2GPeSnRfGULk99UXAD5XDTBuciQnIeBQOOCEz2J1lcLNCWHliojHtnPxl8vT9PLXqflhSYsb5KxhRkeaGGYAN0RZZQLHrdgdMcfWFie6mb4DoXOWtssiUZB4i+NBdTY2p+AktV+84XP7YipAP+c7JvechRyG78epzSGJuKDSpvzOMP0wbruuI/o1O2p/y2PNjuYP3BlUfNd7mH9rNWXXWT+mhzV3V6LV9VsJjFYxEUWxQndRdLWoQsKEYHqecf2yup0WJ03DpwfcVoDSLxCOyqhZ8i12ECIhMTJaYT8/ns/G9pc3uBpPoBCeJiWs8NLigj+K6zdtCnMlxi68gGVP7bZEER9oXC15KtmD07px6tu7Vszqs01BJrGaPiBbBGpFwWmd0ymzlOpS3ZBduzErNYDwkcIVZOqcoIjAeH+VoylYwYsG9qwP6zjagvxz6YTuUI6vzoseVnfjJ+xZbRMkAj98C2cLfq3T6zCQnxvrEfbzUkVFXyZ5IUdJBaPJz+WKvhIBegW5XmQVHBPz9LInOQi47lZotHgMPCPiBxTusG7Lq9XltcXpytm87VdzUwiDxHQJpbzknzgbscAe+Y5hfA31O/8EX3sZoi6AMEFEZemQXvV2TWtrNEzjl2LODJk4ZmiLZR8QaZhdQqzWD5aY/5OtI+Rgjhl2FOAmJ9q8Tu0rqFT8WGpJfQ13fqQ7ScaM6iVS46K4wqQkJseAqV9n+qIH4xz0pvR/Ua+tCKz8f9/dWi2lpyqeo1wl3z+jfABYwc9ft2cF7t+gSjkQo1sHRlRgIa9PJ+U4GgmA6qZ2Um1pNG83Xr7J5QXXJfcM3E6Iq49fkE1gljjJag0FHBh4bTTYaaX35Bmd0d+PtQOPaacvyYUm5ktARtLPhrz70+Z34rx6LDk5VlLO4KBnYYM2MwhLPq2yq2Ga6qPRgF2YR39TSM+2bVQQZY3InCOMv3H/CTPJRB0iLxLbuV3bx4bfRAWr6mzQC6LlZv15/GzgC23NSzwQqHKBy654MFRBp+m05Mrpw66dS0otA7q8Mk/SpejjcLZXJWuuqDEQmEdR9F9gSJoOwlsmoUQdcHQ1Tvgk7M5g8fknqNeq3C2SAivUlERFaoifwiJPWjuC802Yy4ZDBOYGBNLMTYHBkf8jxAizmHNGW3lO4dA2L32m4sXgEK5evw0tgRAma7H9jEqHR6YYaajXPck8PpUk3NtqmzeuwSVoYuExaWQd6JudB4Cl8LqvMbHkZnISQoyZ/Ha6hNk/tge7I8nwfsF6m9oI35z42bKrV8hctSS0v0Mq07viQSsCrxCBGPo4OxSNIzE3lcZNKj5arLcA6y3wUDTOnyhzBlaOvY/t51BvOkkwicu+b1b512LNnUePCoXdkp/h5Z6zVvE9qllPHCMED8YIGOwTMCoefsJgMbTQaL+i6QWwKaG6qnlAA4fllRta6QGX4Ik5GUG1qUNOkpo5sKPikMACOKGFxJjw4gcwXVLALn6jJnU+vDC8bKhG/pCbARbv0itW8eu4Myi+kZQ6xVfQOArYmp7ScF2daLaQ0hWXBLqHMrVKYQ08Bar12t8ydGjkpzluZoiOfScRtlmvsq85iG1RmLy8D9karl48utvBZHg9Q7qU8JB3jCfsCcSCFV28anKEQp39ge8G+L40q35PKcRomezZHoFdpSohv9oK//E966Z8k4kgiFdX9ikq5zCqVrugKytdCEwe4LTyhoeecp5Q0VzzMJOhwjvCAYlvTecVAeOYoEf1b980HQdh8f/BJcRVE9ZAOFSfhn1FWOKGCLyTCBsytcoIVxmDI1dMtJ+7JsalxjlqbFtJry+AlLdVMM/xckJI6ZYheEZ/7mOwCeLFAKw3E6f+/kq+xMLlNh+ibLIEmyX8iTUA6FgvQ2JXQ7D3MfxlFhasa3Nj7fFhszNJCWP0HzZZq+NusToH8X5t0sHwrPLbVkQ9NB7vq9xSmIAgCCM0oO3Zz9jg5Brh8EjHe++74XIX+kDflyJ95UvjEk/hBrlfRMWcoRUb6TKo6vbmLq4yf2XMNL+tDsOXAHOF/rIwfys+dFrRnu+ZL5kqXy7H1XV713kPTA2CIyd38ToBS3TTNJgwmQTzb+fDsDyS04pQwm/htMYT+0FpQraszMJ91bhD7KFDYV6+VWz7CuzXHawFz/yqBRDgrc4f3FFYUfyY0yItKF1ozhGBX4P7otwi0qxfkRiiEIulVApjXYogcfZS0sX5HxJA7rtIveA4eor+OXnvWIOKlbuyRNl87lZ1Z5OrRi2x7amQAsK2BpsajPeyz9S4HfZWyiC49fQt93iycfEZY6sWl5AanJ2wwtZq9EvQRrNeL0ZLbSi3r1ja95WhsWPKjm3SwcixtRnu68SA66leTg1OfTG4ttuHTLCwi8y2HkOUMCS5w/5SZER/sI+G2DJpfJSOXqA4x+P6GUfar9DsjEdSV/wLwxJ8AQTZIdA9cmCK66YqnjNkp9ggZS3idg1kvdw8VZPs1s1r2V0ML2Ro2MlKxW1kKnucpwkR+MHWfMOd2u/h0z+oz6+DNLKnOL367XqniaehhW4Iq4eCV+iGfFotYUdlvDx0JvVL6vlln0PUqLNQYK1N/3NSkkYRiVO04qLLAZ4CBloVFWd9i86cUprCnxvJJzYvolEcAnNq9lw+GAnzlVDx9UFjJG0LuM3h2hPKGb5t7oEKbFtIik5ouhYfMQgi2dfb9tv4AI9PPgL3HAnIjwxNeIZkS1IVlvEGgZvYU4lldVy69FnU0wZje37Bs7wm2wm7hPF4gzqfHTQWqF2y57lJfo1bsncXFpKa523d+5Moef2QmYMhWL425bl2HO1tYfiJSRqADHY0dTIZdD7dKQEd4vD9mA7BObslRzlied+d8lb3WY/JyX3t5apfHWb7b/X/bKoTybavTiEdGR7JW0gL/a07kwYmHYm4T0UsDskMY7W9Qd6VWIq89ZmjtsCrxQphNnmu/b34j3FMl23G5IlKAhvf9+tzDroRYOzUTtll3ulAhvnFaYIYCwjCBQAJYOlG14fDtKB33MCI6L0MoJ0SuFAStNnMcGsesPO+X3vE7l98i1H0GG5dv7IfkFuvJlTJKrgpVY8sib5pK1kJdcQMDD41IVVtLmoH5XKJ2TgqTiAt+OHMjQbUHk4T3DU7L8r/7aZttSk6NeaQsYlt3kWleB9gy8G7277LV+3KlQKTUqAXc1JGhT7JXpqWYPRt5sCtMtMPBlv2QAkbvmUUutLULwfulz9VpOszjsCDxWPdAcOdjPqvnL69MVJ61vyBOKBPKipxOe5D+7+zPla5lIwJ/5iiTqW+snVkPAFtfePEjOkWoKlshLKMr3RwkBpCggjs+XYnjc7MuPUSzbwcnDEku2NJq/asGj1633ANmJIl4qPe2XwpGUa4X1Ew58Z7zZw7D+821FdJ96d4HvKukT+Cnt74gu/9nQKyCI8LYRakKohTX7iuJtjigW8GjfgkjoHK2Bg45uWoY5T1V72vaNQ3235SAJqwYS78FPcX4rrhcWNzAAjzHeCRtbTVE1LtTywznv7vvu1bK2JPDxFouNkRs6fgJlsFVr8P8HWY562cyhL4BQiLimGyZfvS/N7HTrBhM6+6YXIST0UsSaKzQCesvZgEKyB4An/1BmgTiqgw4/0jVu2A+Ep0YuKL6oDRywOcBRvP2B/CUTlgbG+GrU1qOSlGAm1qw5MNKjRnd7OeVjYqj1KOh7KE6V/kXO8ZnraABhegSrz5GdV3zw6tEQNVxF/3DbQHKHaZhjHS08w/OqsAaRIoOTr+a50n8v6bmWT03qpCl7Z6sDpqERZ+fa+0+ZtyPAUUlQvGwrr6xx4+uUhBSjcWEjMOOU76uKU+jCh98jpvywAuRZ8yTcn2xeyfQma4w0w3bu25+7YXFL1XvZOBeRim8tX+UUxnliX5w/2R84FJOCYe8oQE/6s7fEmNqjAk/KI7mrx9D4tlw7UgAYxoHWQRi35DOFs6qVY27WRFrTov4SJgXs8k9q3p+mllVVxSuqo91X8vbl0uoXnXK/1+pYoFk4LB4gkW9pW/1cs5g4eqLZuchVyzuGkfmvqIul4BNmVeTuKTIigJr5BIgcfMPsME7t2e2oG0tuNLLGTr94fLwIMwf0xeiZvbzAHZjufzQRZcu1CJYRc0kbQbgo4BXfTZoBoRSjLE+qoOTbWJv8IRrqR5VNpFvsEJkFadLyJTv869qWM2MHeJbdDlrVNo7HWBnsZo9xfQXDRjYzVmmJz4K2nMMFpoB/03HrPUQ41jNyKAd/JHkcgrBKRyL/zo4NpL2e+UpD6IpxcMqHr8i4lN2DebxsG7EfS0xLaFWEMKwzTrHIqf/1OmR7eMCrky89gTkdixmccx4rSW9Zi9lzRBcUNduFOdI7IA6zoX8vYlnrV4dxGU+elcEl+iMx0N/qjT/TUVnPI8WT35rGLyr9rsVuV64c35CK+sxcN4Xsd+J5PaOgn5gwhweZOWofdP1o/bjexkUXToOhveObLnyas6SoGkB8NflSh12+5wjDkwwNPkQaQcm0xkgu2R8lCzNiwerU9EiJFKgW8Kj25Arnkbpih93A3LvXmLaCM8heFjdO56SKg3dIA/dBD93qACp9lvEFfZQ9LfD6Efdhln397rbfnQIxaupnjPw21vaL6tb8Yh9+s+hn6c4rlMsLamQhFVVz+MXjm8QpZJZyrFYGFoyyoZe6IYuZzKAAxTkD6FuqLX2O2Qry5adtBfW/uHEC5d/YgJN8Hai2dQeMQYIrlzQ5WlBqeuX0Dz+5VC/dD4H6H7Yvk7igh56pZhr0O9wSJklkmnAU6HIG5ZKNohMeOOx6PhWT0vqKTEzlar+pMil6llZuPMlGialoyIMTcVO5T2dF2+Ky0fuvJxnj2+P1CJqmWWFoBfC4MO04Vke0bEEtr7QZX2sFAWvpFbaFWMzbZDy7+AtbFtNXmNDD+kJ/SlgwpR6kefbyWTPFPQs7A6mJyvoMSk30Lru5WX9H74Qk9Vcd0r8S/TFxJ8o3VikJNknOKbfpkeEopDZUDcjx+9cnvzJQP0uo91q+u7Ul1deLNhX3v7zuowKwVjwqmsdvankyzyYgJ3Ud9yLOSF9uW0nff/Ptlr76RGbU/r6rk+FAs9bDtK+uavdP0PHXWEEb2nNETnv/KJHMFHpY3ooubK04AiNxoOOl22h2eNNgCicDRWR/Q7kxedgnLo5BEUVVdf8cbI56Nc/w1ng1suA3AcX5oWlnu9LqGIT9ro2oKrBOe4ik0229MfNIDOf/ts29jgsvntnGkAnskCsxpd6IjnVQguCdTMGs8RS0Xt57jlQdK7KR1/is8vOEbObr9/+wV4BPkfZ0ppQd3F3pQbG/uX96iO8Kkp6JbUTDMkncn2wgIM/1VVls5VftFfOPRRrzOHSJvMUIKOciEpolf8ORJrtSHValbIfYeaObbf19j/p7BNTRifyPMbpVGwCo3znC638WItPiyjcljVL7rOC59LmG0cIaevsLTozHbgJcepPtrboxG6CuHkEASaTAFhm3cR74ngWKXU6x4s4dagmNB302vBh2Ehxl8Ql4Ea4yHiONO2jYmnwcaNdrWcZWyz6TRy1VGkZOc+jDtP064sT4loxb2XvkkZYCKtbRFLtAZIecAzotJ0ELuhj09UZmYWfPQgtLGKxihB6rCltAa/UIkfHy4kR7wLM5WWVSqkQbrj4VjbvIfYVGJ3FDFv4qwJKyO+w8nDHaDcDlQh1Nu4DaUzmw8JIql0QWkf2lkFjkGdP0JDOmNAzlVu0dq1hZuPk2L/g/Y+5IQ9F9Atd+rdeGKd8jMQTG7csQS/8/WVxQAgTOv51R7JtggZ/xz+aBFlQT3EphCJbArDXv8PMe1NqdCmGN2gZ3dmMn/Y+3ASSo3M1Xju6t1Y2y8ZezWXD6Bhp/ERGwNJw68EBM4IUx1c3FdbJ45sJqm33CKrqfCFT+0FykZQ9L9483qdr5x2ICzdKqaAz4F0fQT+iZYclSOId+zYn9Zj+ZLclsPbxrJ/h0alnbbwJ/w5jJvVB4hHmZKDqtFKrxM9OeQFh+PUu8/0fMwX/xuc6hzN15y1ylG6nqnZZndtqBKq9cbS+tpRJ561YGkiDK7HIlz47dDh0ZRaV1S81v8xUGbYthNY9McwPSBN8R2foUS9hE/j0K0JD4CmV7zMzs3OUKVvID0kvruc0iPtkJx2BGijcRDy85ni0+6y7gB2omWyLJsyC8m6Z4PhF1gMrzc2gqgos7sfXEWrUGy/jY1A678TxhdhoQVezWP7YV/1ClX0pABHTPxFOlkq0oTS9+096PqA8UZWHM/3S/1cmdyF3thmC03ZEX4yyWeqOPqRqzaB/WFHirKS6j9ASFSt0zfwGS69jInBKaQA7HLPnsVEVMvOIwonh5OXi2Gcnfs5A98ZBsRY0mHgry25FOXqIpWO8rbye91VVZNiCK5l1TzlOuMdgRctjKfBqhcogKJgEWXii4kVYcxWqHrEICFBuOrp7FcRGBQswFWQpNIEODZI4NFsdxanO0Py5Bs8Cr4Lla/L1XGPYGpYh9ScOHbeuYpJq0wOh3zeGi1NLHyNf9zvSZW0383151jYRXayNRqKSfXTx9nAoouytjDHkOgHhdQsiGBSsX8IPJJywIgBrFSu+m0qAnS+VDfOvg6eiSDMRjSiYj8+iHTBasZXosT/RyEb/PrxvCCMyCKGstx4Nzv2LijlNE858+DIinrJfks15EmduiWzUsb1lBVlfeBN3z6xSBsCnQ7F8IUq+PMA3GqQnwc48w+wW0DVLrWWr0WnLYeebs/hHASZkdezNu+730ETJc2qhkKpABptDMX8RZce7UIpilM2ToGfDTu3kakqrGvpd+7yqv2xRH7raEX4ytN9c1vvYg2pBT0hY101hqLEAYpMoSpoYp+uqJ+c7ZzSD40i0tawACFAQ0Ce0Zooa5dCeUGHeqg85MYW5Lyg5M6ebLgARM7qV3t8x8NaA0miSkI3pE6pZqsH0+7RWi/1pzDwmM1HM5lJWFUpBYwHF75T+oq/YqafCYngUel+xUFP48sB+3YUgyGnOEZUO4qW30ziMfOtNYQyxzCKdc8/9zbpHISyA0asiboRnNGWMXCKZLFPYy9hXb09ZSTioMe5GhtJB4yeexlp3RzgHsbHVGTOmQLKlYjjpPYm3inNJ0XOZjPlAvOewmn3Em5tf2LJ4oIMquSU/WqXpT1Oep5Zv35mzdLiCd2+v653B3c8LQOCglSXEMC17BYAe/7eVBPInO2ZyvfbvbPsIzqno9mPvYrB4iPlZmNuRb4PwqMZiSGAjF+0+H0pGPljoq/0hAxuMdG7Kl5nK/udUcDThZlutbzSto3u6SjC1FxZAqN2fYxuYXDKsdnxPxbj386jqmJgOkDy60i/Js5gIVcASiCUurGhniAD2sfeRH2XBSuNKk3VAlZFE29r3LZRap6gkyqOPeyKa61H4zj6RlncW/fSR1rW2QeUV3lLoqpJI1oyvYavvhXBCI5CcPcMZCsSkC4gB+x8h6vnYG5HyhRRpwKWQxv8ULh6t8wVca8wqlmkTFtOnWGS0zlm/qfx10J2ydy3hmfaNvo1xSK1cLyeEVPp5UJQK+q8Vs05QgX/HBji+c9pZT5kOdhCA863FgxN4lbVHKq110zxLrUrujaN21ETtYZH0VuMNfvQrarZkO4PT0pxPhT6dQY8uBYqOY+lgAT3gRKTncuzCWBKak/9Hz8v52Wru80Jw2zSLKCcCvgy9dBxjXPveC7d4xDtiZYIowaVr4WwQqlTUBCgZ0i1RjdMiqcTbA/uTL6Q2d/tONxzuW8eriKFMFsUKbXdHgYBx/EVe7jjW9/aLkxR+vZd5e+6+dYnGhhvkxMJM/vkhlOoOKzfFN4NiGWAhKbLSg8UDi8Gt+oCk4jJ5IUAvP+oWo/240+r+xfA4cwWiTT8gBcgVx+2rokvIFm/49agKK1j71evNTFD+z7ZyTzMx1fTnW5zgeZBfDrtJ5AGAqRX3mPyvWAzqBaMspaQ0RrIoJVer/nMD09yUUri73kxRCTLyHzawejaI/Eek4BVnTd43DWrmJMze6h755KU/u5z4MKgLNv4lD3TCuAYD/1AjTbVYj7qGtAnmAX2YSIA81T4SY49ORE84SPoKiyVkYkUyIkf/+xZerDrFhAsfRRGUcDo1Qw+ouO1WjX9MIyqSmPdo4xjzokVJRsFCdsyB1RXL485dywnXgw4pUKNqRO9WpM5ZVXWoWBxQIICg4mRs9ZsW/Yl5pgTF6f4vTaNcYS5dlI8QjIbZbpUqhKmU9LN4P89+PelMgZN+IOOLf8UMwQJuvW2W6xgAdlTOdujy2TiYa5OQk+8ZTT1yDaILyla0S/DnocMiGyf79bMAQiJSxgrVDADEYi4Pk5tcM6sEcPJqCiL6oU6TCJgaJNC6MdhQ8W8cBGcS7M9/xo/QiLFvJjMpO69BlKNIJ70k6QZfVlTcA03aXNk1cqFPd3tXYOOs+n73uZVO5UJhoIH9d2dzXuPsUlg3KjpBeizYgC5YDqW6WNrTwNzZtjJUizPT3nHvMtsV1sR3IN0Nnh+YdYZpFUUy5c1eJl6Pbhrgl8VGXKEX3f3zaDtjxlOSe584xe3iJZvnlqxLMGsMziW3isNwJgwZfasfMH8+DldcARZxjLy9/tPco3VJUvyzKd4UFRTfXqLEyw42dlMCR4z79B51SKajUWEFq8eYRDbmeHYSKHkW8YO+JjemuyH/u0XLg6otz+OgeJIoAwCykQapRHVTQwpkYKD4Ysspbv8CHpvqC2qTTQY8BpnLs0y3auneWkgihjXpvZ696d8l3hJRDKwYlxD9m7t0Nc3cc9PWsy6DdMMPAvyc5h8TuLEAFQ3tMEt0gS4e20Nc3GdLvT0kKZdzlHDhu6LJ8/Nv26DbFmrffK1NGThh0bzDKHJcf1wE6Vw8qDRwBU662i5k7WZIe9wWw4sWS1T3ZnyEiYKNzJRhCHn7wuvBWpKolkcKpgkNBheLukLTul+SKj7ku70Ffc/EIamUyZsHSNte7hhLdxZDgYk7g6ouawEvxz/cmYdSbKE4+B/rmBHR1WJVJ3r1+rHLm4OC4nrRiGyzT4pvPqeLL5bjaZvZo8g3xnEfl0z3/1ld34b/DEuIglbD5TKb5N0ntATlei+6lsznr10lhZhqXw/1hJjjJZK2UDrxDcADtZXZRNfcleakfg0eFY63GDqGc06X2UyyOw6kMuqBk1n9m/7mLWTMv47O1h0AtlRZ2KqpgalhNq1SUEbDA/QnR9zE4hPg9Ob2oVzcY7f62NZ0W1NkEo7Ss+N+Rs38vAe1afz7PRsDRJNQQcxdL3P1VGhtBlfsG1u9Xs1mmiS6crdczkADKrbgu3EzzwF1SFBNk7su5Rz6BJ5PD6orfgx8usUx0sOoyyF/WzDXbRrxcW2ev8IIajDaa+csPtv4VLqiqkTbUY+KCeDyn8CRArPgwp9Ysr7e6nKKRlZMy7BmRSiFhRlns8+NZeQ5YYa/I1h7lzChRyoKeUAI7Dp6KMqRRPGt4bsme43joA4rB153GaGEZYot3WhZE0VEGshUpYhdFNILrvcpjf+gUdu0NuPwep73WVpl2MqfIxpONG9biWMigIkyNiclQrteEl9ykxPc0pgOj2ElN6WVjT0TnJbMChK8ZqSG2rgRZ3CQIrOfDWPEv53KyMZWRe3UaH5g1W9iY5p772bA3utWn4DSTCI3EMO/ybG9Ca+8EncGxLVbqoPUmmFoC/jlmnO7Thc2g+wyo/EjmH3RsWT5c0fBGGJZo2MQEv/R5fOTYNqEdJWmBFruN7Q0UJlEV7FXkatZ2VulDaUWLAVtdMVfoV/YD4gtDnlWSyBxc+g5xWeQs7Fo84eG4EZ+Np15hBRWP0useZuRvPx6/iO9DhvkEmIMVsb4KQlBR8oas8TWFC8qgskff0aqEc+VGywYhsMbrJ5z7I9b6PmqeVMC7vbxuGj3MO+9NQL2YogCJGTn+M1mGQ1JOvAJdXobgJulqUqgvvTu7BACAiglDQMB6ctPa2ar3kPfo3kLnamqb7Xi5DOqDU3LVE3xG8vAqxbjoF+vZb3QxOBv6Jck/Aq8RULm41aTF4urvXfbC23oBm6Fi83MMnA4DJeOPDqSNvzU31Gk9jr6lg3pE3fsth5IjMnkuOcPDcAmpKPCIs9YTqxWP/k9izF3B2JrU1xaz0iuZvUMk6e34wTM76Z8HdgKsvJGH4p6aj9Jyayoh75GL0xPXWP4fLsGHtx4bB5oTcsqZ1d1caxrC6ryJwBIygOghvw+TI2gmi8u646sKHQhkL5YrsyJ4+879UHIX+RfWLx5uuAuVqv6byuPFVDdem0a8tTYIctDPKKxPCX0CBAC5nWVPxS0SABewufur1zkAOHkHOAdvKqoM8Wj3pCBsE/8Qm9Q3rpg/Va6fWQaFlmef21eW6LhINZDCiQfMPIFMWFwsP8slh6Xbe/vykSv0nJg7liCygKDWCam5V9fizaxpjDlrw+9BhicJgcXskDTIpeSWz2kntgUAfNWxkgU5Qbz35DQNspN7LnMioZc4jVkT5Xp6qagYPxFVEqfwQLoDn/D2NOQpuCvIiiphIn27O/jjgsm6uRQVI5SCS4rEr5mq0D8cI6iUwr/5/NTA5CX8qr3CxX6TIL9K2XI9Zqh7C22ieh3ISiO0jMxNKq+LReOrrXdAqKdjANiVYP5Z6drzf1J261SHLfgk7+IE150afmHDVDLBBeNm4lzmNtnrq91iFQ3srw7dnPqhHWbFIrkAB1tvKiONUClc2Ck7q5guBgqfJsDdeUTfZj4chOcEvcAaC5yN/GPSgSXvdhNOpZSz0kLYoq4wgtfvseUVEL+va5EuzdBOhkpQGa0hGPrANjLVKEwyXhASGy4hLuRcF/f34knYCTkES7VUJ9TR/UpCKedQp0w3FfP7cCFhsRzxEGeD9RcdB14n4aCdiZOi3cDy9OgCHxH7jDD+VnU+TxToEDjxVD34oOqiPj3RFRsAdy4JXG1zVPO8CsIH0p7W4qDL7m2QdkMq0kSP1IFngoQ0WHW8gfvT9vOgxndUDWQErUyT8JRkzB+1L9YSVkYt0onaIWVRha+KnO96zSw2Eb0sn7K4wWmvos8xvcK3EGPoLP+PV2gAPd5Sdw0g/Dozxd2t6kdCjrpw7SP/8FIkRW9hbR7cAr5twvPTn7/14GA7FQeVhvqnFFseqhlGZLHRFVAUEc5yodiIQpxxOj3Z1P6Kf7UtmYGix9thPE6+LmbsaAs9EmOM1bJbbqMra1RbKL1VuB9d/PeBeBlxx5bDONrvy7B3gFbPI4ZwQsP9BNTRD/3NbnB34UMRHi4pXtCf1NT/UenxzCWx/UjTfgXsOqvBfMDXzHu8g9F/hxTmZ5vvs5gasoXL6RCIHNEW3HKnRIkRJdUrQA6gCsikq+xfJjz4Lzxm7Q2vCAeEn2B1iwbm8vzbdeYUfQ6rRrPQSLrCEb5Tmxjtb3y8q4bl5W5GG0WKpXQm4IqK5j3WCOhdluMv2goAsJ06HGBv9uI580BS+Ko2rxZIhfYe1FdHLYcB41uh1PHQPm1pqKLcv582SSNx6Z/eyrVNO3GtMxgw2wzFCXmkI/zjOxH3v/Gd05becZ+y4WWJzFoPa721QDSMxjIPwx2UIH5S7IWflE0TLtq6voJ8uqYa8btQc4+ci2S9my4lViIi/FFRp7ZZUHbUVLtUONkUFK0w+GpFEhcfTeGk8XL2VNYGpCt1BpZhQodSxsDvL6sDcU1K5r04EQomLVstDXx7ZT+3/cPY92ib+Dxo6RsvaxDFmVLQaLt4owJnQq5oIs7omP7PgrMQlNX3PIp0S/buDc48FrC+gLI6ssvK7N+8JENH6TmBeyT808STgpqIt5gnQVwgvH1Wf1WMxeOg1mJ+LkSMUaPCpRITVGI8PVHe2HA9tBknw7LB0TMdNpGogheIw8nep7ApK2+FRsgHY+Em5vBRaTOKi5aXt0gFWvqcoRTSOWf4znbGWKp0tkEl/TxGEeZ2QdRejyZWZdd8Ua2nUdom639kv27kf9RoEUajlfZPfFet6WpA4QPeBnyPg9JmFY4qdIo1hxwtyg2qYirnl1QdKqCqsbXlnvbfRH0L2g0nV9H0yNWmH7gRzwkyFxWYZchVZNBHLAZ6No+oAooVdaFmF00FKz+WCAfuenkMoGqH0jb6kzRz1K75MxQG7IlIkVJA3bhBhCjSEcBzBfvlA0x2HEnJrYA1f/XSdAFDLjekRORzIWBD4jhOQzqRaYBay5mmZc2j/IhVb4tHVycCgvq9W9ZUns3xuY6BX1n1uPxjSS+vcPkTd5KoUlYXWIIAk1mjCoO2RnnyRcdov1E78HzMOc39kcmW/DGa1gh2CRddGfCJTgwq7urjW25VeXhcwZOFfgBZzHDl82ZM4xuC8ZL+hggExx/5pmk/Krz4SohHS3HWG07DlM7mg4aLf3VJlrsDObie/b1Ax31/bgczBw6wxiCl4U+mZP4z7dGLYW/Jyk/sdQwUOGbePbFZf5RKu6X4EXmG80oGy2fPiP7IaoA1+zWwDaFIKY7udE8+tBCMJpFOqpgxh2PeqXq0cWHbhnX4m3EJwhsNKKuexYD/zeY5YsQGbyh7i8rxkdl45RJ1HRI+aIb00VxFWbRdH648U6R94LjMF+Gg5BQL6hCnLXTRdq7qImLV28Drfs24rNCkrbTh3Yvfx49YYp7CBlUiyy4Sn5CrFRn5dd92IuLtB+NM7jHKGjGlsRKPZD60/jjk1qhZ65IgRc49DNhyPrB7QxZcHFCe++Aj4DMpYo/si+3e1Ou+m4KBxv398E1dtnslwXJMKMPSuTkyF4YmSgs0Jo1mvHKxOfmt/JAQ/EVUA+68HcjkQrBmpn0XWZWNmKst2oyTktbVt/7DuGrQvbIVIypaX/pZjyAp8UP4/sedSCcI2p33uKm+oRsH7diiviI4i8pKsO27PVcYagbWGtnJwfhhTaPqqLd008JBJ2XZ9DIadvkkp9reM3J1PWMUo0tfhp/IFoWlHK5HoNQ/hZVY8JGFxatucZlMxI8W/Vbg0gqtT5GgH2Wp8ShgUVHM+jhG9by97y4ypkaUYamsXGI4my6xVSgEl+G+C5z0bNZeHB/irUQ8nChbcFa+nxAsrHXCcMhOh8eqsPLQLQBVBlND1MrRNQDd85vui1aphwz79BHIqxSIv+GATS5z90A1G294mPr35Z0vUkTXQBldbeM0Xw902XX8T3btlfc8NXNnkKZya/hmwXpI9HvoTAhRclj5TTLBZTMPYiRXfU4ajylkRgIttmh00hqumkEk5QJZ/GshWliYFO+9g6D8spjzg5ui20VkrnJXZohaqCTMv7B2Rsz0s+zH6PeGxaFnj9kPyI6QrbQCN2lp47nM7rekdb9wyXchLhht9VW+c4HyezDVKv/V8xoG4QLGfi3dcoihGB9AGtLaTsItyS8v94a3WMqoXiXu/LD4htoFs+V/AhEO60RSXmhYMpPixANK2yk40QSVocf3RoTG+hbiUmxEvthFa0Og8nJdQbZM3QhpdjV5I/B3kr+3u09H/NHS3zwNiChn97jLgJCMrd85QpNIuNkOPDMrA2WtYWSrHnfKVKUWUPrW+1VYIp3v3mWg0GDxxSZJ+sE97rNCXGt0p4jNeA+uREezdjT5z+U80fKXMevEWtlCOlsXLDNGWHk29mE0W4+u7ApYYUJjO6hmbIaRtgBRte4ES0zceoDW2j63dpgKJCBRwpMxgZM/cnvjpiWVaWYVkN0xOFvlZXytHkhoYSVe51Ezm/Hg9bQWi1pU+V03VVbNxCHFQEasD5OuNeCfPSlemUBb8WcNhGeeHym4iVJ4Rt5+0pbHH1+sfboR/NxK12nkCaKTR5g0+qgIYdhkSyYj0ayMBrs1zQu2Nuo4MttX31o4kpQ7Wvlow5ncpo8gYSecGPXnmM+9s0kxdBR+7FcQ083xD7SevZWzqkTfxDvlBSqqm5VgBqkyY+thG6c4YsEd2jz8zPYfZvND9ZOVOipe84Pb8ngXNZd29Gqo0XODvfQaFJfC6PnwhOt1O184CUN05ig8lnHAymEbIBcGrdGjRMIMIFfgxmuzUePYbb7RR+hE6PjkemPqfyPbEZoRJmUOvmOOS4bZNhl0wBKZgdJ0PRWuB6aQxgWBtiyQZW6rzNioEmehNcce3F0yTZLP80zEhTPnzwCObRn9r791VNvuYp9Pu3Y/IWnj+UHt976bpg+/nfcqDF3MojFLMbDWS88iedrufCAPpf/WthFV8V+A/fyqOtKbtm2L3m0lDY/fteKHQdutgfyZSWTCJqWGE/HnDpaAXJrtLo3L91cy1jb1f45q+HYKKyIp0ehS1UY1v6w2oSh9q3B96+VR0JKn09Dm6B5lF6pjTpQsso+8ddV9GA/Zms8wWgLbZT1EZgqFN76xheQg8N+GwjvHovgvpmXG7UGZXyLgIhnGo7mLCv12vlupFqstJyfAdEfG1RYygk28Pt6dtCfbREJ60ryfI+lYHhKP9zgJ05q7wipsRa52+tKbGhhdGLTEM8/IUsA+JmUdy89/qrWc7XJCNRL5AwcR+IBLmvDPJeb5TxkZK48mXFCARNfemJ7sYiPPDq0xjuTkU+hLQAKXiTWnKYbMrKEWONAkHAdSpnFNUJ4oDexbx1EEPjSzIUP3OUcAsb6VvmpvRkXZ9ux2HTt4Tr4AN7Hn2v02sFgggdBBh2NIKMbfzKAgqU5JoO7lJ0oPAA6Byev+SQHHUJbbrj1v49hM1pp90zUwC9YfgZlzOEguwPjMOAw4MEVhedLoxpoAK8U3ARvkmGtv+7hgnkOlr5IdX2i7VM6x47/hMxV4t2Vbdeti0sbaOTCvpWXa9p0yHfMXCeerYpszfHbf3xrxKY2GgBOUNdC3ftIMGNumTD8oga0luzVQ0TtKJvfh9rzZF8u7Mhu+BO6J4WsAG51ZvfkVeOusiXmtNAsZOgGX/tdgcjZ8R4YPVEJsjL82yaNd/6Wd4kFaZID39wmNNNP3/Peb/ktiylwgccaoqNdqORF3pENfrvMpnUsAW1f53VBzqlpyMCuoIMGG/LMsioUtu7OqEN7rdxzwrmvdENHPhNwT+GYyqVm2e6Qz3vRgiLZwq/+9uQYvJW8FFKrMGn+S+ZMvVW8zkk87z1Ytfr2ZYBHYrtCLWBsh2+RKY71xuSkTfmAkrMlXY0kRhQCYOh0CkQqTbWr2pSwYALhHNnuKE/AIKl2bBEceUrtE2M2n0Xwn2QCR6GsTtZNbXslcnSaoZrUw/fLMvvMoA6UwffFQ424ZpIvgeHV9uSXuGAeexLeCviqwH3l22KfYxbvIjAtPLEQnGefK3ffqQuLKpId4SZkW074QQSmlDUm7HsnukQpQ/0Cu7gYpCER59PxAhTQqsYfsNBg7rIK5R7nqT+3pV+eAkNwPBWwwSllXD7WUX3necNSP66qaOMGvKZb437B5WobasIlaOexhs/+v2PcCB6FzvLHruqI/WiQhzn4tRffMhky45Ti6TQ171is1DekA7mIyK8SF92tn7vZB1z4Mncw6mrWHjhOtGFGDaDz66iFH5UDWpI+8FCLmtEhSVr9WzO4+Lz61SqyK7WpU2zF4UILDuWlRx2F5F97738noJpq+45RlY9da3DM4RC7kWtXjcyF+IVFeRDbDASPvXJkzlzXbzqVrP4q4Ytl59MqyZVBi/DkOLRh5MvGb1TngFzTwteiKLFEAbIi4kB+enkptM6zHXaRYrQ9FK6RVdbS0Y0isfZl8gMPBTskJIEFBhlWufOX/rwFKmDumRhRtxUkV1jJc82d6YbaWUr++7yVGE1/jrkZrPN+cwuMVFoYSLzfNcZIkrkj+2s9UJrIjj71/YI4twVIJDFKBORtWMN9jPHzTntXU1JJlFstVs6qoF+QQQ7bx1ZHjqr3Af+mXfMxxuwu6Ss9dybMAnYaRGHqGwYbcKXfcjgoE7pMkRA8cV+L7sB1U6RCKlGOMs76ZFHYPVkCMAjyDCuswfztjXbczcMXawGu2ExsFTlNSwRLFpFcTubO/TZVkdy5fpn8ibRLOFK7b2xc8XqXPhDMS1DiQIX668x7OJci7KPMHx7dMDh/BWG1ggeqdS7aI5mifTz69V8FodEFFAdw06eAJp0XiUnpRcylBSkLow5ABgrnkqnqT7h5cDhRcjr3wCeMPVPMHZcunBipE8fBvGSef3+paGWc2f0tQ9mXRP+sCKDdFmXhqy+k/bMidN8ed/E3LQOQOj5DoZdrMkFnhN4KvDkx6Cc2yi3u2rl3vcHiHla/ILIFl9rhhsPNDn8J2LY8FvLc0yimCLBq2Ay1cEcgDuggSfPCg0RfdhCCHvqHaCxfR3ZTsqc+8pYciNIzvLfSFwJmU+5vlWQOf8TYfNMaTpmSeTlg6erGIbtNYsoh8SmbB+umpuclWjyfudvXZDKoGVkPyZAgG9lUJfAKa/C2R5BV51sof3XZ0bHHDfsjlKa9xaeIhgL4fd9ydyZL8BwLiRIk9XEz6/nVQC2gpXhGIH1d74wcUJonvWz0hmmSIKPAqN91svO+7qoR2LYVaYkd2w0//DNf18P28hmqF15pfKExyVaFbwnPGoTik+idqmWQamxtTF6wHLEJZuF3n9wNMCUQjaNy/Yzokfgq5wuNTVBKpbBArnJp7Hu789x6KcfWAsFCDfryJZT1rDNWZl465pyoPxRi00UjQNUZLoCQY+HT6sAsS9Q6RMPCbF+cPGUzKmGo2NXW86O1xCMniogRfOEuv3nv+OZfjWKMhHCQM8ZOWp9qrIMA4rdkWff7L3DrxE0WPFyG7hqogQR777m4k9vWxHcaLrAa/p4EusmmxFBATORtBLKW5Ln+g0rNz6VncELds2zhpYc/co2oPwWWSoqhLxk3FCa2GprKiA1jOQ2a3RRSeQ0F77rQoSVsy8oSo7jg/UptPqNZAW8QTJIzUzowWw36Dzlv0U/4cEtahcLcVkv1o/dDf1C3kTMONaAubAAPWLLrL4m9Ebd5XWK6pklg4L+q6O+01FiyqiuypWO9RgqXBHEfrTcir9tEN4+i2owTHVr566lvug4yuIPqcYoi1yxPgyDtzrpsNtd4Vym6OJs0YZfcAGSaHIITZIzAUH51Dyu9kS0/toUIBU5fuAqsUxRH/QKTw8b4VQK2tbNbUtlQ2Bc7Hygke5XwO/3snLdgXy7bwsbb7fwxgMCn4AWVyAZeVkI1hBpD/wejZ53wJm9MIY4kWRDnTPY5PCdikzuxTQrRrvUD0D4CaEKljvNuuimijPIsQJaPIgf2g80GDlLJA7MTOoCXeJsDLexlXN8WIHX1UWe+R7wtwzFZmTcLTHXiVYtXgOkC3/lYfMFB0dZsJ8KQAUE9SX1dzBQn6brypWUIo4X4uypJ3Z4mSKZpxQQ8CS6Ku18XyR/tJjLepPZ6YzXGhFNJVis7fjMrhUp+Ai5pgpDuJ/BKfMqombMz+h50Te+5E7rEEmQLadjGbwseLUtdYfxVw9VnmwyvClipKiKi0fJKR6kgplAi8rpOLfGp+zqmwPOYix+5R+5eHMUTcs40g+9NVgD3kMq1Q4ErRWdBev6OaH6uWzaBjSFg3pkYbcT5YW1jp2LXncr77Ala3FhTYO6x7oVaR3nW6yPxMZuVZfagh41N/JgEz0vH/tOXyV+E0ByqV19U8Poo1j9IeoyWSFs8LGzq/wG3J/BLpVOk1k8C5Z/4p03u6yYUfDe1hJBSnSnjRFNx9VFbvYHHRovG3D+r+gsf/OoqRuXQ3fCsJt3ITqFoKKA5BsJQzSQrCmU16zwfskaVaIWFc1kTIrv1fDXyVSkprQ25UE82kw3ZtLJgcfN0zkNeVAKDWY1yZ3acJVNJKaY606wWBmGXFOfMlkEDNAmqNE9kuADucIyiO4b8wYQ/RsSUMJ/SccI/984nJ5zvSpPxn6c7G6/6pG1D2G5v6lNAn37Vbasf7Dva38i6V2Pjxp4hQ/NpPOc/9sn3Y8hHOlaU/cGR8gspqRFi4olwxXhAUcSUFAmBwDRZ1NLcgC7qLCQTfxeuGIGfe5Wx2cv2OxizFwmPI8ZhvrZ6hL1hI+Kl5y7WOfhIdUQSvM/eY+SIq66sX1w0PmpLor78thqIeK+oTYEDuiDnvBAchCxtjIX9mZNGThIrenilne9PFuHiYPt8vN53ZnBFWrsIpof+L6EUL8S0lxxfqK04YEWOS3iFdtiVHNI5zgGF0FCnwSYpf7/KZSM4MyCNQSIpMkyVZiqht0bn8/IyUc3jh3REpDCgywLRlz+Lf5dZd024pFyLM/U4g+tQa9D5S6OXmgmykuOwgHRbfYHlNoqnij3w0FS2FrylRWFF8Kv/Zv1XRPdz41y+uygtG+TO8TVwWJi+vz/Z6vK2VKsyhfmb6eXEtismHxOIC3f9slgtKWSbTEp2tlvD9Owc85XQrVvDcGqvUzGRTPlqLWUNOD6/zh/hUuXwyZdnd2+LyXTEw49Cx0sjet+c23mDxVoA/t6vDcgvxS0gmMghlAZVymIGKQJ2x39WzrlG+KYHCT5iUj+IXcewpIRqdUTBF+7t5ImnmoPZPJP2ReXQXw7dJcivOal3ScdVR5BiXZOeZXj6GFSPmABW+nXkEzZ4oYcL63O4PpLZaAxo/rKZOXSEKYwW6FsqdKy9koF0yGWgmA/C0PCJDLnjNsWB2WpiXvt/P5CX5slhNCCE4OZViqIQVDAaNXhEIDiYjxadp3gXCjSsNJD2WylOL7wdxaEJQt78f4K3hokwLWVB7oB2nJtYSMlKvP/RwO81aUrrd9wB+W2a5Yp8RNrrzdHhrFAhS3obBEPAilDOfs4KHnZy+rs9Ce7szP7OvwcjI79T7Ki+kuq42lKusWILbsTsyrgMtc8poVCJEE7AGduk3SIzsvysffuFrukKj8uOPpaJuF1YfPyVX/4lM80sqfzU4X8kvkW2cUO2mKJIVHSPNS33I08Gxi4YlzzQ2izIPMo8/f4BvM2HcQqopd+i6lVDMmsBZP1wPwqeUAQmYIub/D2hgN7rSWYeHB413jxKFwA2DfQw6t/eknM8jC7XokyAKlJznIp9qKJB19x3dumbT5Khaa5Qvr7+hSNYT/QMRu79QDw2yP2KruWTXgL8KXFe5sT163SZHzHj4jYWx8IB/x2JxD47S3OqByVlt17S5OD89FhpuCS29yatyLDdUcAC4P8CcBQ80oyt/d1nVw89dG0K/cdT3t15UANt5a8xupqQMStQFDq+rQjolLf2EXxZ2JwTVCPQp3m1J1VtuPeDvmQ5w6VI3Znl1OFgXKM+QaV9WiSo5mO1LzJjX65pM9z/69WABJOHPimytoivTi0sRSb/OyulQkib/eUOPZfr987LXLuk7w/ZbfEm5e3yKsYwuJqR17Cp975kAjwDHRXRp2+TnoiWi2BncZFdqZKMnRsljQFLae/BxX4HTGklaKU7AvJbuOfpwqkXTdFBDNDo3Vvt9sdGpf1RSY88ZlgqWrQ8M3XAwa44tADi2uS5fV3/E/npAaZoCFVn7TW+/VSRM4jcgRi/Jn+UmpUReJJi/xEuaFYyiNBYD83QBEV16pcWp4sJ3NfEXc0c9RDN8Umm/e7gmyCNZS2/652QlDUZnNDST42c+flxDMcaQ4bSIJvjmor0yZjRcg37WOzYi66U9Afl30gQCM1ngzF/siEs1k0ubApJwuV1Y19Gfjt4OaTbvTopnsrOWc5WBq3n3Littlv6nXVAHrFXcz/I5KqCx8rWIYCuVWJLmcpExoOKXeguJlB5Z/Lmv/N87qtBZJKw3kqzT6iGs4j0dKMTNadKQKieIExav2zRUA5rbYPuKvIQ5t2yzI6e+6qib5UY2wi//c5UA8sQ4AepB/rHlhvpFnyTajrYYPZqW0xft0mRXFhdiKssklriSqQq1i/TirDWK1C0cG9+yUjTb+HzBs8moEnLn+iRRUddy5AQqMOAyPVGkbPi2rExPyhG5w60Dj0WIj6Bhd0ybgTRLja2hflZjSDoeoW9IMuTbUr9rein2BlV4P0x9nrxcWl3oi0HcEbgLDjroO8RF2qUu/e7RkME07D1KZ//PP8hykaathY8n6imNBKQnnuNwbzMDWrOVFUtq0NmcxTrS6LGjUG4WTPGfahk4w6N9wIOjl/kY7wAFF8yu4ZXvDZmDe5EZdeud3CUWceoDU5veTAOwqJgks6w/qhkinoSUtBwTUTinGcIs11gSlLDgrAxraurmJNV6XcNSkw5oUp6StYctUHkZ21TKHpLgKAcGGHotSObxWB/KrjkEw5kNMczskr+8ZKcO+IZVA298jWUYm1p0B+3MKjonHHU8UrkUF3uzLfhz6/WHNlQylFRLvqapDi4LpWcPbz91r/EKCbycOobvnfls3YMQ0UgAl8yi4pZ7NmRr0TO3E65F5FZRMa2Hp6f7Q1FTsYVrlOitFZ80zfHNZy8MY8LF6Qo+uCFHlDjxV8aMxBGboNu0RZRHQ/gpIeYDl8+R+UoGBSJRE5ZHhcfRKLp9BwCL6YL9/nRyBmxvB7IkJURz8TRLg7xcnBT5eZFKfJrsjBtF4q6V8iYZSj0fVcoyFdKOxr/dd8eC5j+e2UQkFb20RqZsaJ3JKfk5/XV2MAOibZC8zjvHICOigjuusqGGoJLkozHy3wM/AyoaCSUKQmoq9Obtn17j4mimfqFIuSxx0r9o8I9FrbaspaML0z2dEGFpnRSHVQkmUc8TjIinSvT6qlmCIi7hGdcbJ1EAt9/Cyy8SQy4koxLocySYGWs6XZXL052YScyyY9/kjnlf+7UBeBkkzeqAJmvBSQrzmNth4iXNExEN5opjOpMoKQK4QOLDZfQlXFDXaLDgyb3psbtfQLrwGVF0opLLvFTFcUNNePmYI2umXMqNaa+zO6EjSbvxtM+c5rQsOHfwqXC7Fd/1GRzfMwNger9S9oWxzz8F6jBMkpzrFGedJjYV/jRlE9qjtTyNAKb+DtSdRLt8PZP7+jLUrtlPjcUIZ8Hm9vK2jUxBim5sDdICkM6D0Cj9AlqxWc/NBqgPeAAORPe6k7YnE/lov85qZEuCrYMxb3R9I9YOt6Rm+uWTsiaxtJQDnXLTlFu/QHxc1mSqQR1iEcvj7fytFr0GSrxDnpdDXJEWBOjMJv8T9rL+IAVE3r1N+w4567j/1vqxP+UM7BLZnlooCZrxethlgcCCIwOv0+/KOBmhq/LX0nJGrlW7ECYACmPogLqly3PI2eST6raWUpKgXbWPYi72/rcSLq5CKrQeFh7XCDg0WLMa3U8WpM6WWqZJ73RZ7HaADQNMDUIpNNRMM6nB2teCH2fb+6iHQVngiTMoMT6WPw6SuXptNDv3tmXViw+oTFGV6l6zTQeJnVbbq7ULWOxpXVeELM0cs14gqXy8eCEOh+zK4OsEg0Zs/BDZCHBflDIzASS1xTe1hUSo7OHq+BzdnR62vZFACv98Mhg5SUzfT6lgq/MKQG+9052ur6lyyF99VH8V1XcZ/AkcF4LsB/otfV2JBaTsO3LqUUlh7F5iAPK7Qf1+4JurBszuFydDBiiliokYVagrPez4dPXiX1DbkGNjIclVZyyNdxBTca0nGJrmyzU218T+3tCh4jgKuU1Vcdk6rLM00PTV+Ds0169YNhN19q9r6xt6rgxCDnQWXE0wfam+gmAwgl/VFbR4gEROfDGyPlUTuVDIz4U2pED4GOfDVnMO0WCVFtylwGYDJXENdUpJ3TeLAkJEhuCdh46qmGii8k/sQsOF90hOkS4pFm2aboKJkEYr8H4d2Hm9o2Qqeafi/nypSMrt5ty78FZjItVszHHIqlkqWWWQIG2BvDgj3Q0f2R0u32n5LnDpTAMg8sUY5subzWkDQ6BKbT47pButlKuFOpoS4jcbgzfGWF31r14w8aCLDTQ3HLdX+7PnWovCmKbGUi6Rf89VTwR841w+NwgZUCCuOLwS+++xoMtIWaEeuvw5Si40yw5TrOPr0lxKzsWuOgR3qD+kjqJyxdQ4LuRI26OmHt+LLz1kkY/ZIt9JLeNXfE26yj4C7Fau+9EGrygaER77Xo6ykaYSzuUu7kVWAHntSUEV/um/ih62wK18VzsPuJySO5Qh/qgMa0n5VYfejdwJ7EHfl/wFfvIeeCzGsJA+C/L18YUN4bprt7jTkXumU+khe9DJ5PzekFLewU7eaPSYvE8r+H/L3nupiW7T/5voIO/HwrSKj/kgm9mRjchjFh27/0S5nemuCljudtJQjDzhb5VGZBJ8SRB8l3Ve/xgxAXQtfJpB3SUY0ngnldb3pSfy/cJ/nz5W12z1ZOIbCE6mKRe//Eb9EwWBdvuCSr8H0IFzVNA7WBORGroppdnLeLel7w0adtgZUkg+P5a4PQ6OfyGBw22AHTvaCz/MEAOA4rpy2DrpJALLoTWuqZur+UuXpF2hGiUMaR0Q4VT1v/l7i4IClZeaheFh+M5Mmja9TWz6SZzjsufFY8Yger9NP2ASivh3IIfeA9xYf3GYUIOhmUnm+ZUGPhhiwdEz1kBt14z380rsIWU+Uo8jyZyBJ21R3OfzbXuLdqjYw0VFH8rLkZMmSA3tAykXPgF9DyFU4UuotbZOqRVCjIFmF/ZZSOY8phZW1xbPDtU2pTrsypNvZ8NlUCY8DWvJnCJ1CctPDs0Cl4pLfQKNEDggMxZT3WsmFq32gWgAihAS2sLzQgFNHJZLXfHrW0257H2xhPJQwvfXzgQPxFdZOhfXYB+2Mb3ZEzXHJ80lIO+2gI9amkWyyzRvw9hqBHcStikPo1qs0y18RwocCEYnYppm7WCKvbbDC2luQDEptiO+42gNqGQJAK2/ULZuYwN0kH/BOJxwmNkdNcUYb6IVI0EgU8bwxJ+97hshUw/4RTGfZZxxx9REZwnaRmdmGffVNKiMgJtAjzcqwumsDoo3e5xRvv2zvGSrth0LrRpFMT/3hCMXhJIp3Y1ZL4raXMu+1ZHMC2yCKA0Su15bMM6se44xdguLX+l+XfS9j9kylyi37bXFkHS+yMY+hTZEXvS3WJmxTv60mfM+I++jWun232NjlUWKH0qNxKBsFTH2eMAyjD3p62fQVA/UqB6QxadueVfaym4C8QTGh23MrycU8OASUZjPc0DRTsCA/IzJkOFUaH7slZN/Q0xvAvFS4EVVAOmCsfLbhKeb65sBXzfyjAmut15qd6ZdcLKxt3J3ML3Ve7HCqMO0CHu4JcOWcBIi6A+H/sknCMjY2ycUnOLPIuGZvf53RazBamlN7yMSULmReC2iBFgKMPAVHtt9zPBF2Wl7gqhICxLgaUKI5TrxHrO5GPyeFoicAy02loZcE0agcMXQXJ5oh8XxBNVzgvAu4j8slw9mP9YBN6VLELfgyB33doNoMjvPmfJDNNk8TDOu2mSW7ArFVXAK2sL9TGwZUBjm3qOWn8amx/RObg3RURCDDoNUHTSMFR4Ns51A46Px00L0Ml6BQrYWbGqyAW2tTkx6C3SDoWFV3e1e6KzML99SpTAN8gGZKjcDDZP6HYoupZM6iqiq69qzplvabbbe057lR1su9zk7BF8M1ylhXS147vKCV67qDzIfvJI2Gjy4Ooxza1ENX9xc+kHe46RYBV+h3pnUYSLnAQtBhbP8tYfDX8WVtwHMR2PSyKnbIiouYEVo+Cwy1sSLOWbGKe9angXP8rK+ERoYgeHzLqPCbw6VHl56m1sfJxP7i+K6cZl9j2gJX1CW3Cen06ya1aZdYJ0V00bYRGYRYa54187kgVMEByF2uzH9aiLA56PUjcOZwHBCAD+/UveN13Shs1Yw0PK5Ug1MuhHE+fLcfHU9vuUuM/gwvvDAxgIx9zDujBG4oz1jejhs1EbPE3yZFN1WVwqSLjQ7Nz1jIjFLj3HRi9GYljsMv6dyFOGERluj+OWawGz9PB5inep6KSqOJW+0C8dV5oLdE/grax6ID4l0l1Kd/Fd36OoetHx0cTEgWav6BjpCmV3YVtAQ2ncLFOlaKGv9M9jYh/Ar02m6xGlgIcDaw8N5L4B8o1t4hT/ihOXOta6zytGfP7qw3So4OSaZHVM8W7SlTGyEdwO54CcnzgvlkHzjy+/Yg/kVtS72FGEULS/MD5ruwKfvl/hMteofz95WfWuZmY0t5zMPPXGAwmhhCb2UhwxvadisdgJM2W5P0KpMZA7X0yDyNaipi79GifSC38O/A7jjqsTXdw0JZPZQG80cF8br97X0vCWv3RpuBJbBQ2erQXMvMTygbcaE+mnUZ7e0ynuPclHu2ajT5NaTUGwnTPAGHWjPLpdr4QZvotTuQt+pLF8SYyvagh9jWV7LL8iyRXBRvcj0S7WlSB/a8PeXECe2DTE8FraaNgAEW70pGorUE5zkjbCK8PbOTUiGq+qOD4juskr4umFl125rW4BWEWar6ldlCSIey03FPWgNnnQq1P7eplbQEgx6QsQ09xNl3y3ziXh4c7KIfTSUUgViN3DLYSZvfV7ATEc6JNbsV1nCMjebod5e8+otBptdK19Qv91WwI4+sxFvDV35lZKXyrRc9m3+8RVmhUgcdi5ZzVpv179DYOrvxqvvrIKNq9FfYnDpC5X3KVn0sf/eWgrevd4mEPMFEvn09Z82FtCvjk/CUmqsbrovVWwxnuptEDakxNWXZgWSvOH49nLiRWqnWUCAvqCGeCUr3gKhUxzh//ksClAcLdF4TRFozVEiNIUER3YCeUzssfQkbPd9Pjgw0ZDRn/P6huO+nHXxwvoWBcCopYdcEs/l1XxgMQS20DuvVHQuPOzs/JjT1bOZ4P1O9HINHGAyuyrDZTpQZOGIKzfSMfV/am+lQQxdaWW+N/S4EqhZ/V7p9zzW4cEpx/VbXVX4b6ST7Pkp8E/DPVxrac9N3NkKxsNzKSgr4TnaIWKyZRldn9JwiQar+5/eGCPcK30JkVLfQ9yGgQeNltVuVB6rwK9cYb3/JUiZu6tYQy3i2UM7GbP5wkCKtRFMPepPlR3vZFsiAOXWY6vc5dnXetyBhQEycNpW8bBTrgjvBCOLtW44MMsJxYDI7lIH9EVMkIUszvzh80YYMYU4aWu4uzAjvsdx/gUDqlTBCx+8MpbWTixW8+CoJb+hZE1SLlUSSAg69e2g1T0dvYbqa/tdunv40FBva/s2pfHRCagyBG9Xk1KYS7gpPe2Xz/e3gJuqBinXZy8NqxWhRycvhccL0K/C+TvbY9FhtkFWGkD0o5vBUamYDL/gUz1UbnbKbL+za2s9KlluM9Y/5KhnG3j01D2J7k0Hrc0WQVtY78ld3f2FLcaQDlJmFyZRPoS/T99F7IfwJ3gISc3vABre/NONvux5dON7B5hO1Eski1GCqWoLWzsNH01l6DyujD7nYht5YqQroB1ngHX5sNtBTTdKcULHa9/RcHf5eirkgy0AWaKxg2/8+cF/swUJlnTk0ZVIex7xPUJoNof2+PkgRa7Sxe6+6hjv4PrLKzJDcmOysXbEwftVpCRS4tzH/7fSFSDwFsvoZVU6aTfxxxsLTaXT5zv+ZbtbvTby0Tlp9rdsYXgpP87wEegkC9VXlXVHNbqW02Cn9CPdu4OsC+gaKb+z/EJGTFcrz6ZYqIeHVQoD6lJpysWwNUvGhLA03Ng5T5eWdXSzKQvERnLpq7gs2yHH7B43nh2FGWS3yFoTSvUbMKoSmNitqx4r4+fgmr8Ia/m7A+UKmUbkJ/XmmXbV+inb5GgqT4XXcW1s2QTc2EniDIMrirPH32VK0LqqQ3RUaox/BPWvlzkyvSebdkbH//Cr3R0AKuGwX1eV8qYKXU+l7xN0haHKWyXVomdcad09QCrFjhZMElJK6FyBruF5rVF/RHJNk8MZjIUdej8iU+LKbX4G6nYMNsmj2gAwMiHiPVlEBWTHfiRpoa9dXECLGyXt5KnfYM+RJGeHpvHzCvPr7RDtr9XsfrifF6FKWFMq5Bhcw4A0nqsb4tMe9oZ1n+rQ3xIOJ6j0qQdhebSIYWc1vlpONUaIZFnFHgJREPCQxAcuDL3CfdlYPiEVa8A/aiH8BZelnE1K4oSnwdHysouiMVBG29td2DUkb8cifUVIobEzknWebnehq+6Oto3ceVbudrst/Qs0sQ6mbr37ix13K/q0QXnHDJlyTEAMdUXJciNIi0Putpi7lrwO/G2k0myy77Ha5bDvPQ6sCickRPlQHOKVYvpLTEle7oklpuBYJ2TpYixl+IiPMq5lw6Dyd/d5u57/ot0KDxlVSigM4tlQ5XubUWlMpgFG+0AIlglDZWUdOCOucTK4PHnEA5MXNqseyCrV8mDftXDRAF4J6OVu2ifVathpKanUDOCH7nWS+Xx7dmqJhrmL1bRfH5OMDt260u8va+c++kQoTLaWzYGCkhesdS07V4u39IbLruWMJN6BgN2RetyMOAXxz5CbWxDRAu+AeWDBJLtdIEzHsHjV6bweR9OWFnGGlqkCFYXpbPMiLtCZpV2Xsrh46QIjIXFsC9w13TZtR/+hp5/hJgOtTl11RwtTtBr6DcR4Phx0Q4gV/n23YOkAmHbMrLRyu7LfD457Lub3fdo6FQOksaFrUidf83HoIF6fnCnL2vi5SqWfmaFqRBcJPJ6Hz7wEZKzICTGT6C4ffJex/WpwYQCmCkVOBM+Nt1aaotRmlolifB553sTuy4bdle8mfcCH+8xPvn+vsPMNsS6GWAqTfYC9bVfQ/WMQeptfC8SC+fs8ipncZVf0Jk7vchPYciRVYQhPhtD0EhWAb0xoo1UDD+DWkphdcLha7Et4ZwP89FUQ5z7xV9GSxxdKpiTZZ0HZ3cIFMSyhQ/wuzgNIun5odxY+EWFdu8r6P7OqhrgWgUxNa79oMsgZ5CG+V5n+QBuSoo3bcL4LGqOdl1789AMum1Sn5ofq1EDfb1aijj1TXAGM3j5DFSJFM1EBF5piNEjMDbqji4eoidymkHXTpNaNqgB+MCNAmm+lQjRSC+JJjd/JWXI5FoclQUf1jT1bHzkL8vf6SonoowhZUASvPJ+jvT1qNJTZq1DBw3OS5qBms7xxdBbsjoZNYJzDb/sT7ufsfp5hLFSIijNcdPT+yc/yrgqGgRh7WpKLDjMrMyqOiUJIEm85ayAVIFD2cEnwB3fIvIpk9lrikSfm54ZXig6IEwnaLqFm0nYnRgNm7K6a6mzI+RQ/ZX1uZE3dkrBmVimxDl9EaFZMrw3GrXqOmdP3OezVHS27nLCQZ5lW5lTYQmXo8ciBECKOeQloFm0eGmWRD1TaI2ip6Hw/77XhDuTZV1Xns93bM3jkyqnKCoIyy+5df5GIwdWcFEQ6N6Jt2Fq+28b/eoppVAcYusVJtN2ZEwyqNgu+wZJfTVwkCjzJA2+/RmMk83Cpqn8MiK2TpMig6ai7qhwSsQCBt94qOM3ff7H6GZqOqxELs1l99RhqVI95+8TRB3GWWxMi9aF8dZyagKHgDfiEqpefoJdCxqYe/4sCW05lrw8Ig08alw4ZNrtukn62OH0otxVslGvAGO7RKAED/rSterSoAxMcpyUX5VGNuvD2k8jKZ10OQx4XVNPnCvpUlFneOqjqput/d059fZ+jtkYfQnaMYP+6VP5vkp4wNo4rNHX0BsOqcAdpit+LCuBg0HS6LbJRPfFPJWxD2fug1anXFj+wxoATk7jEFjaFgKydJ0OymRa/JDHssVrLD29wfX2DTFEw5slx/rFRFXpbFUEb9zPgSGgXU8P+E+Uv1uDdxoaPkx31YfD8ySHqfIkBWRg7B0eP62R6vCTM+5LsSJ8rz+RRmIILULxyTm94Ayr1mfHrKXTOVWxYDf7vCZ5EcDMun2nKofKXTk8gBu0Ucsq0e8598JwTkeTaWgGSbSxgop8q676obAnwfQ9tW5d3wviyuRhbHmNoErHm9xDUiQpBMadcMNmA8LQDIOz8Kay29taAV0Ai0V6lZoaFEBQyf6ClwgXurFkkbxLItlODhNwUZ3GL90bTjDNZnvaVIgy2wsaFbJit7DegJA1h0S8hj7N8gGvrftQC2kFKdfBaX3NvhJtrhjIuOTRZoEvKkP4w1hiMB9IH2UJ9zofLBA0F8hyF8cBkYkCoZG6kC7gnCTbIe6nrK3ufEso09nA9RKddSjVPjLuBO0NOrEypWpQQ3LE4nCgfrHPobHNXdn+8HEvJXYyQHzbydBLu0clUb/zJ+nYNpy1aUGUN9PefHoIzIt/Y+A0yN5qCLtoIJKiceO/p7SvS47Rb6UFRNsX/Le0PBLlkOgvS9+1dRPjmnyFnG09jMEJWSAEgxsjs2c9eKQwdJY94eWQ/HoA4tLGSJUflB+0Ue2NJ117OU2E34DWiX6W9nX+uHnHgEUYBTEr7BNCnzQcMhE/ZcIsWgGjNnZ4/YKzvPuIQsCeHaMX+V8ocXdlUwgxL+/ZCYc5re9VRgNGV4s98Y1INmgtM/+1kIRfGKX5cn6ORnGwn5ndy7Cmc8z4Za/+bFk1F2Z92PHJzt54wRKshjh0DIlGmQaY3iuAo/hXS3SVcQyRp6i55+8CF3/nkbJNV5WVIfB/wK58ePQv68t4yXgx5NydOO4pA1QvWSnL+dD3qbzgvXoQcS1vGNR8rK47in5NMWVKMzjDfhBYUWNRJ+5UVfw1Jo2kIKzVZyMWn58s/pGYBq+7YoyWOibTU6LiLaiHMmy9viG0VW22QKjvBQIsr+fsuY+eqN2fUBDes0loXZE+gp5BbWPa+zVoSUnBBr7wtX3NkedAP7VgfdHIZ1OlZvPBqWF4i/dDrXQ3EWA5WDR+DchMkqEogP0H3EgvoFaxtiLaq7ccmtCB69HAn6gtDiDDm7+Y3yECpyoIaDkRm9V8icr7v2lOOIp52ekKTzSgagj9628zYr+PcnXXMokyD3Z3Z9IkRreuow1JjmJ4mtpoNVWocXApJ5nIaYqwmW3ojhzs/Yg+Gw60zEJoxZDcOIizj6QuatLH04tty0Pbse9zqLC829NNW9RNFPHjwaOZB+FGREa9uDJolmDODr7bpEkpodCmlVCjXOc8Zs92y6eYhtPzVG1075b1xiF4FSkz1YLEIthVcnWt20+e19ZORvjzKIcLxqEoVekP3HOBJuf0qyf8jp7cEdu2eF21qJXHLJX/oGcpJ8tnxml0gEO4AVYU94gcyVMJaP7Kw9uKWAiqodrw3pweSY2ejlmef+0C4ej1Xign9WK5RvRYyMRQRQV4JOmBh3uXZRcpobMA/J/3BrtpCqk+mD0a2Pn+99asRbUo3Fc3le9udvc7WPUQpHC6PPaqbmKkb/MgwMgwbZLsx7tX58VtDOW+N3/xB1yCSYHItKxjbcy6CP9o3m1IrrZTyfmec1UFJUX7YQx5LOW7W9bA8L0Ywa7Yv7bRxf0ZIZTVrUX20eCBYloMICB6hfRl8jCQy9OPsk3WCgjwHipNfWDMxI3eYyrK5hiyPksSzsu7rm7LMkoS+NvrX749RB90l/s8ipexQqAnQGgDFV02YvKPVRxinq+Kirqd09yCbep3gVN2a4BvmaIUTuvwEeYbtqMvRbTZ+dlADgWejKxe6Y45aOe7URGLVokLkU4NvFmJcGksfj+LlBZU//f7ZtaVz72Zhnwb5VwtmxqFDZ0jlVVqjd4jCWIS8mY+AXOKCFmAa9L1pKK/85P5x9oed0PkfM+FdNck4OPJt6OvZHic9yTSeFx8r57PUgLe2qPSXaLc984chfM4FltbRk6rUANYcexNtWQuFOrJjV+cyJOrEOj1WjQ89M5kQVa3y4CyqHhHN1u3uqYgXUKiAbUJli7B1Qc7E8v2I/IY9I2W2ubKkCS+p3DdXKpFCaP5oH5RUSrvFvRdc7bDAeUeapgA02bc3FsqUjo0IaXAOYeiL0+CrKSxcEKxX8/+o4EYLe2LQHhTXnLPuSsLn+xn/TBD/qnWzHqUtdTfl7XNGf9ML9MrllCdBzJhIPSt0+Lhfg7WLJCduu//M+cBVbh61FtR2EEgBbdealXpPcA+M/DJ7naG75OiaJfnyJQCLwLSRLIkAX5GHaxrHHYmqkO43SYfep/bpw2jAtyGd56h/6tqlRPBgsrakiSvR61bcwhip6V83Z06avEhO1tSPbRNaiPb4ELojYUXKUqp1z01gLpsdkhubzHj/ApFueW7pGOyrehcutrVlFaxZzcm8tXfSvoQx2NoRgtZptzgMADRv/3VmmSErox0i0UoB669A1smO0elwV3bUBce9o/c3Xp17Osq5tJDY5fZrERmH+Z/ebfMCiovZvXiuZX9RIXQn21qpNyJSVzBmjrPn93Ybm/VkEo5ry4x50WLCfZjsVfieDHszO9azowpe2Y1UKjuAYvTr6L0d3gmrclxNbX6Z/xCiaDfJvUm8gdxMNKFW0lu1mrb0ehcxpvR595WOXfrAaDW9WicxqDs2VBn5pT7JQvhvpZ4dfRoNY7yBBEyH84kK6+EHaUoxLC0huOw7/DnzSWzLBHrTz120vDMjUE38QqRpkZeD3mH39ipeaJypNlDr6l5Tq0XzDrpJS8+K06ZSxnSLuUhTN1WnmBUJoK1alahLL7ALVb5zEQ+ba/irqZK/vzGV1ZR+PsOx5Rbn9wwnQScnaQ0YGMx6y+vmh+gHjI/gb2ntiJzt/4ySC4mcMLW2XICyjuwfL4C1UN+ZnRgBCNoc1e4riKRa8k3E770oJprsrSsWoTscvC/w8rmedV4hjZZfJkrh7WQxo8IoBzG67r6+8ybrtOhmAr+5zbZrdjHHLb2IGaDTsuhzBW9uxnxTUgJ1CdsVpmztArNri40q1osqIBTVJ4v6LncjVpMkrDPKp8sK9NqIfECW549bG0M80Vd7kcvOVHElsJ2EolTrGSi+9vumQ7Bb7Duhhj7k4kmhRj5key2B/rUA/Ez4jWAdjevxDjHSB1vBr7VBmYCRaXYSfbz5F6ewZdGbLAXdGOqyC5axWAf/38JT1/7ZIyywANvJOp5lFhHpCiW7+m8bg3anwHEzaVzuTB94OHOjvzfqwSOyHcA6TOzRpifTjX/KezLaOYTYKnTw/KxlpyVcjiIEFiSpj/aPG6ZTse7uBtMes894DultzKU0kBt8yZ63lPr6Mn3dWkPCqO7bg/8WGmaWfZE32UwmmOf5osmynIZFCPIsmBJ6aW3zTSSY+V4YME5eMPYBCi2tRV4fzpf4nsm5zumJOD1LRBevOuOVgnvPuUboZdWfLf+mCW2YmvE52etE/lqYUK3JX5Gtx2CqxeQtV4J7rU9oDO6TjlcDlyEiqxeuexS+cqkyeGv+1bWAXeeL/Ln120X7HCFJPJzFbUpbSxi0N7mWJWsDWLJz2YFbgnTqk6YPfZY67qSxok4UErMMtoThTI2lFw/tjj4+aHuRVWvGz61I8OvRHrwOhToF0GdaJLLu0yGvcjcXSOtH1FGuoKZA0MeJZ4ReEzRJ5He/GFsWH19dfPYZFjtqUE/S+4tWCyQAtgHPsEJO9B+xiOp5Gh7McIymNerrFKK3QEf9zCsVixQoe4kZhS12y8nzFVoBImJ8pTGuthcA217KWMSnQEd4yutVpdRMRIrbtom1XRo5083grHlB+U2NgA/k1tZT/zpPYfsMoBhwS6EQgNabyamV3Qdv8eTiM9I9eWZPqqP8PmpXYnYTzIMzcu/pfiswnFf00yT08NpXfw0OiPa5uBgerJWfnliJMDGUEQVYxHYg0RO1N/pBTJmcHzO1gAb49q+DzR2aHNMdm5APGaif1ekiymwy1GcHbEHWoIuwawDx4VqCtnWBXDmrGpac6gNr6F34f1oeKxBj4FLeMpvYiUMbeCUBwxTCuxn82xFoYVIeXZ1RtSaTiTPLZZpzgZzlo+LOLNOe8vqPCZyQPLfj6MpK31HPTFWj6w9SixqCVawmKYRqi/ibT+QB4P1mxeI+YQreqiBolQ+UzVjTYD4iCYFlYyEh5CDx5zZAk9rgJEsuea+WcpeMEQ2T7M1X6r07QUxIVFxL7YTLI7XMs/RgJDWSM5Tj3S45SHu85NlMRqYdKqwZcQjf6bp5EHP2wUJSaMyI4E6F7dAdkW+bxnBoi+CnXrQ6rAWWDcI3hkS07xqXyOoE8zFweUsFZPgy7d8RjSLaEmRNy+Nwd1jDW9rbg4s6x/H29W7/KfBuE8B2uM3yFAmIHRYivLA/7nMnZGkCeUfrSgovrrhmJ/TeKmpOCLp++zpxPe/YwwwNAEQXdTK44K/JV7rlOdKrfw8UgoYB8dwPo5UilKth01Fhv3z7dj5220Vk0wiw5Mldf+CKg9yA1DJ+O5LYQhVRFc4bdTDi+K88lZNdEGSlz5OKIgyRxcEjZ20tt8tiQQk/suy8OnTwCq1V0PK3qSOUPF3Og4AcDwf71wlcJomlyWizY1Ibk+K/ApFM4U03e7O4DxMXW6E5c/OGjl5s2sF4qb8HBpl327BXEJzo3Yu8RH832wVvAhe6CeyHUPC7V7BVJTXSiWI/tYdgUry6GwfVvIKHfv/GinBfQtedzpu83fXs4ReIajduUTotajfoesRitSVmdgqQqAOoMvqFcynuAFuYPTt7JXeDd/pJkuUiZlq4deXJvrrGfBUVaf/Q/r6zA/RNtcGj4wwbPOSDYpCgdfNLYtK2KE7ep240l4cgfH7ovVrHlH2A+HOMvuKGYfWRQ/r/iZrU+jbEbO60S64Rz4uetjhf61xrolZKtqTc7Db2m9Z9qwRem5o4db0k9vQ8855nvU9qGkzC9to2RuMUqcS8XmAWNPNKDnQdxCsF/jmBcrfrEaOzV7kDkX2fwHphyEjM8T1KqVLhj7bK+WGLrhl3iNS1QMUBhEm4K4KPT8Zxyzzyh97MHDKGCUoqQXelc764xgGDSKj0HHK2120R8M95v2FxFhvjNox7LMzM9b/xNtvkXadqXLG0e1ipAmknqq6bzJ1T6PL9rHKhgj8ZrIvn9OTkB7s1vfWQ3nJJuu0UvWTI2a9ekFFmLqPiPUiZT1+euGNhgGzuHpu52JM9a+tz2x7NcMU9za263zVUBy2rgz5OcWZM7sbhzJLfiahZbhbeZ1n+eHhd56lL3ToTD3sHKC91WKDs3xMUmloAvxXoKxTugyS9WLnqf9Jhp4xBqDAPjF2MxhftODVevD0vcjTSWE9eJkQXLaQ8/8/Fh6+ShVSMFOxYe3csa9+Z+oWS/DCfTiJnPycTwlGlKmY+I+GRJ89vRV8LtABSgYhGjHOwbClY1SESV9vdCDFYaIO/6kGUwkeMLUzKctL9kP+GymHRlWR5JN8M6HwvpBf9JdSeaTG9oqoIoG/IixzIRRWcQJV2g/o+4i8aXbjNoF4swp4sqfOuwva+qNZsg/hVXjY4J+mrfB8pyw5pLPQ49CUZhCRWj8ntbxen/ls+Ez7SzIeW64vXx+4otteHOy8IuzH620NUmf4WUrKzLiar4SeUkw5UonWrguVNiv+2EwdLgL0733Y3vm4KZplN8IaLoVzOScLXtnu04/izpeaB6pES8ilOmVoOxRqtBW+mRC9WVl2gRcCroRjlj8Y2fxe1b8y1O7AMpwjCf/BG7C7c1nWYfVlTh5hDvN4EG+8xzustSJQ8bTZlIecm9YPIL/f19Ut4XHoLnbJMtcbmCJ69KDKMYg1X8Xm1H2EkqoixpWacgsiLnblbzEQ8sxqFw9TI+d8ab5VzibB2Rb2pOz7f48kDGPY1cD6U0crvJub31ETyRSN2TFer2y9mIFHb8eGy+zYN9vHXY/NFfhGEHIPL16vGatlU52XFI5o/ajQv3XY77UOLoVZzCVqIFcCXOTLA6eSKpH/23j4FQCFin2fwItJFW4hUyF5vVibtn3S3eFZGPE54vYclYTzHmeIIypN0QC4QGpva8cXjX4m/embi7xnJjP+j34h/8TomopXMDN5ojhIoOcLS7ngoSAUq8kBOARgfq2/unRgvYHoRa442hvQXYYGotzXcuM0OvWO9+ay9QM9K3KwRNcLV9YKIjKRSJnhcl1MaWteCwGpWuHyLg1pHDfgz8R4zhDby9WVMzY/CcIT5jDCoIna21CqTFPqpA8p5r3EyoNXI1pH02AoMKWA1scIBNh2jLqUiUPZYo+EL1vS0usBD7Dm2R6bi7AqpE/XNTcBYcZW0YlHsxyXqF+WhtQxNxWjEvRRGKdTBw66Rs6rYLu96cseFAjFgoBYNVH2AH8whfH5hdA2q7RTD8lp4SEcVGwy7Wq/GGfnoOIkMSr5EjjS2hn8X9Cu4lqRvtuuagxfTpq1USnwY2cwdcMYW2i8hqZMp2QemfwigxLoJABaHEjw4+stQRSMsHkI4Q4w1XQVmwj/znrK9idW03eviPBDUGkztS8Fua6D/D099XRpz1hm/QVA/5iRDeqLSsDag+qTo8bi879UzC7NaXORw019px0ON00D0iYjYHdZ5SeS/3fxF5sBwVArB8fDuGrPXGeJ1AvOMf/D/hqyld/wEKZP9ujfh+dUg335FcLj+01V6lhOkVlXtBC72GOrmrh1QouiJDKreC1DXB4QWBqZYyf9HQEBKbXTkJdXzXU79HYF4ag+tW6J7WqJC5I3PDFPsQa/zZojSngS2Ul9cwXe94U70o+r7Dqlq4RUAoYIHMxMuLQPhumknBJDMxTIAUPAzhEHpX9i8w47ZRPvPkV1epKd270468aaWUdjD3OOcf+oe8nWrDCpvftPAUDHCmTvbEFgOxvtjcWPUjg3QXJhLgLrFUxIncbcPiDIAwAtlqFR8QkjYn/JdH0n5FCYME39aQggnzGYKSbicA1hVw9w4a5xZyf4lrGreUfMqFkDq92NH6yoIzXp0mYkftEsBuYvzVwQUzoq4v9rbDnI7xclxy04A+pDDNIPTNf+8Nd4liVMA32TdPH4FO8EZDDFQ6YE/FrEAkhaAtvF9SYJfXj4r+teElvW/balldk5LhGlj+pEvviI6drE2o39xOwahjvBcp1QpguUpucxUY9m1VM52eIZYy505Hf5IxUCMR7qNBG1unYDVWSpGnvs64PldsYdDeFLx0oQT3MdbbqWxIknsHdhRjZmr8ZqRDTVqAXxiIq1YLWIfJi4JyPUVxRjFVXBlwF6AIiTqApMyheF9tVn0AStoG3xfvnOuThJ2gUzezkr6C4Vcw4s/UwPB0xpaoNH2z3gauZ3cqtX9RbEXK5n+GaQo+aYmi4pk9nTlVO/RLnzILByV1XrprMF2iBecS9Go8ge8e3FPEf2y4YeyJyNV5DmmlL9rtf63WOt6u7Uan/NiUPV9Y1gM37iDsXRxhKxAlrGrv7EZxbEwFP5cejkDAYn0uUj6OreJ6PWgzAbxSMGuEJERYKJ2elZJgs100PaivvRjLqqx7ohbcYY9SBYa7uv5JtQNMGNdT85sT3R5wqFYFfSHpuS5n843fTIXuOYgdAAv/jFTQ1k4un26Se4xxvgIuNoeJaj7NAbjps0+JW863rIQB+zk9A/3XzohWdQR4JldfCC3dGjJ9Z42COenzEb+gSYnVovjmFNiwFqGkTnGQ4dlMN5veZzcPvcwS2Dc9t7sLTbgXxcjcI46iieC9kIO86cR39q+mPeLjyOxBmsCWOuXdvhlp/Myv3zxOLcouncjzdmLKpKN4YGY1pg5vsYtZl8WzCK/1dsJx6BGNkiBKRYLYoD88F02224wta2PhCClGxFMA8ULwR/UGnDlPekXDbZnDOwYZclIWUNejHPqILHwe0xBtBEyFJLSSe5yIK7e3IAnREpApKqq1UM3oiqQHwN+YplR5DhKDbhPSGL3Z9E96lbKTrRwAZo688Z3rrIzf7PkxYtDRZi7QKMoWNV1gzlrU9vMb2HBANfd3qeWIaeOtXa/7QeoordCQLZ715zkLFU3ijnL7mi1D7w9ygtrtM9iMxlTQ1FxKoHMC+RanLz5061ZAPBiyno6cLe9iSL5XBrSY2YopYYnM1C2pJy/hie9CfaLR2EoNJT6t50aphQh+xrOyB1rVICV3ofOO6R9019qzOUt+vKibh+SQUX4jus2u9Ha3tm5nfGSLrv20ov0Wuk3ZNqEplzUP4LEXuuYP7K+iBOGrTBM5rPuOXMbIzIOysO8d9GO1WnNOzk8nCNGSOOl4d2hRy+XWArZw2BevOBl50oYS18GftADo2rcQFXJk9R8dcAN2oBLUvHd9FXUcM5JZxSMQiBoflWnDQ0CeMs6B/BlQo7EcFY9OGSdPelmCGdYIz1+Mq1sIzUBTbuQ1/b1iDAL2EhHV0QUp0d/viA6Nr8kFecuMQC8HlWCt9EA8Vt+JZNFjTgO2PCEORIV0laRkT6ow1hQE4vapJSLLUdbZWCdlj0axJKzkieUYgFaFR4eeYBMl8DCpZUNMSZWvbGhYTrjwo8A4DavKYnf0DOwJjFF27eepNO7Th/ub/Aw5sTYSKhVzgdJ50sQmzD21aDeuSdvCO2GjGa0wnHVBubkv7BxuOUpqnQek0JS1DhhSSDd1cD2XI8WcjZCu5CWejfHgu9/jE+UkIITvUx13Ov6DBd4/U4BvgCak87NhpDnKhey9esagn6rJ6PKlHRyxB5TX2uqdYzt26KKtNpLErIzz46Yq+mzhJI5fUb0xJnIJhhSOpnuR5lDZMqIgIbUeF71x3toZKTzvE3G45qmym2+tnM/2D+1fB72mkNr36/oK1xCgVU5NDTFo+PhYjVkZxWsW61UHQtpsyIfdhbvjjarm2SyZUNUp4df7hMLsoUEAyVnu4Rpylc5SRcyQeDn1PML2NIWlrgPgqmydLLfHc/tYtcBkkcY24FNgYtaCOZ/7xqKwGQa+Dr//+C6gqVfRukEcVbMpW6UVysDFBclWzI3bPjkUtKXM8JAwk3seZmUw6f+jlShUH61kZiU8fcmAtZesOf2yV2mxhOmFWqvIBm32SPTyWEwI23Chig/65CBMw80mWMpJKPYlPmIMK2XHERDOda2r2ze3sXpomQlSx22Hg3tunm9cP6TVes743unGGK2LzP9+yRZcBtO86x+E6IK5Gs6nhvrKlwqarR/0Yr7hno8FWh9opSU6N5PxDkIQa6ioy56/O5ldCVbMPuVjRs4JQaZF7zEn4eSXMkT4GP/oIWzskazXJ38beiBmMar+ssP53v26cJTjr8E50LcFVvD4shyzsjwWvWCQHUyd/CUzyrQEtMQpiv7S9wxVMRXCdUiDf+/rITgCphzKjjRkhetQDyxf/N6jic54fKOBfW2xhzmCyqIuh/o2s1C/PRQDCgesmHFqyvX3TBI8hmwnW0QfoppfWteq0mExE3h0GAZ4IzF9xrSTwAzkQQT5g+/qy+zkSxB1KVB8s6dzOuMT/Rfbx52lr4NFx5IrDXJXBYFUJIeBVkp/pGoRitmyBXQDmUxiGgyyRF6WklgOswoZ0u5xUFkrQya52xZLCF2a8nRq877r+5N23iKICdivygOy9iQkcSvahbRExvf4XP2flANXhgZ3T+6Dqo2uF2rPScsMat93LytPRHxKXOevtBdn4eaJKEzOdvCYrDtsdofHp7K5g7ZHfE8KTpjm5tJdKl37KwK7OoT8u2SzhiP4nYa3fPaR8Bp/dy//ahP+K0TB8Ia45Z1HG5gFd20bqAD3sCpNs7JA2vGmsk9Oq5Vzj6bS8YEmN6NO7K8Ri9AjnoOXMz1aDdj99OGNO9M0dyJGFYMdeWtqjTIM3pjd63foPGDfztOjsM1C3D9rEuUMSOopeKsuH4GJxCYgSu6RniKokdy6LMJYVTqYyVcOPQoJFr6KT8ihPkVGiRPwbG/hsaVuDwvHm+0zxOyPoC+qrwZzdQLyqBmjPgEqG78KaSX8XgExUJfnK0s22K7FaiK0qVaWiuyd6rVTldszHn7kDCSXEHnWPhyaHI3dLc1F09Az5M4vGZMiXjaAmOZGqzi3/WeLufn1tMkx/5HT3lw1wYYZGEFsjv3qmxmxfMsfSmD5d3FvP5xbAuqzGwF3FOvwMi0HKQuGa98tmkSbARuuQlcYEmhm1DhityLX8asvoFxS0Oin5shccro2KTaHruaq2Q70kD/QBhYN+62vnSeVqE7JyaOxzjilnkwd8qjhI3fPW88DYmUkIUbbROTAiLBGcw+1f1lIydwPPShJhpHKiwO63HSQUmb0ygdCnS6HV2y85xdtinX1cL616DvLSl8D6ScgiSkMBzoLX6ozM2U/ebbgKvJ53xh8NiU17aXJUEzR0u0m1DBYQMMNSf6Bl3xb2u8mWIjLOSVoyguf8x0kE8zpZiDIMmR8XS995QDwL4bB173afbT9TcdFtQaPj++iuoNFai0H+aoQue6zX+wLjnOG+MzhqyiO04GlOH0mP/R3ilfVuRFa1kbuo8CQ0dbwCax8ckNw+fKYeblFWNC/0iYJ9bA2s0EvFl1ZOYeGq07V5PpNYvglTU4zS/GF+Rr2qxk2aBVKEYyY9CUk/AS3KMZN/0a/YvH8SKnvnM8+vLje3s+XwtRJmAba2t/uWECDV43rcSS426XRQ8ks1cmdw+fiYS67XvO51keozpMo2I9Lly6hgfdYTyuiRunE9x96K+ioc4VIhKxslkKLJXEukiGCeXSBhNApvPIsSaMCnPy2qBlulKB2uZFYhw1uMYhIELyWnjc6X9H4vuYeSM3gFWt6dq9e7VzkHMnPBKV/+ZUO9DUH1Qv/fq2n3pWgnWQmhOEeFRscgQlLcwhLT77kirx+xQ2pWLsUlW4phg3hqHSov9B67Fwjpceu7OXLZ9IwfZvg4UISJqVElBytuJsgmrvO4ikgF12Op3IKjl7VoVxtSgylNWSJ9i3tPYUVBwOjCD9g8cH3OoKl83hCz/Kys5ki0gneITqWmdZ5WjfdrcsLswBpYcUnxnxc09eZAMKs3eOfw1mib1u0KaJQfv1PvHGoZqUsyq38g0V5odQDevKKpMIgxvsPIhD2EMHJiiIiFErkVI9TpJTjNdgkp5mf/VkcImM3u23bmGmtp4y40hQUc9GWPYxC8GqJ1cE+ieFWT5ljwRoo3+wmTb1GFaBPVudjdN5J2SB+D/WdF5H5DXwYECB9j2SpDjnkyuQuqcUJgbxWMjtz5p0zzPJK0dXbdYGzvh2pFewKG5zGjdn9ZK8Xr0jp12oQSBplcEBFYC8Ae98V7MwNIWPs26+uA/82FsuhJ494aIRn5D9OytGDFElB5KdxzylCJqheaWjGmm5FnPOce5FlyIyXiHYgRd3+Hcgo3VzWKnDZ4C7yJVliszQ7uqy8ecuB2YCio0ttKaFHHEawU5LdRAUpIhrA5ywQpVDuk7wJ4t59ttVDBYGA6FDXg6hpOnpfGeZ2f2Rbj+SsIc08qhAIceonJn8RTSswYvE+E8C3IGdkJI1kftO6x3kDYjPJhaGmIPQRRKbV6cqWC8K4Py2ym391ws7ZrQuJcKP19OWwT7NIHSVLLunOia620MDLEGq1VAHrMGuBvr/A/LDKZc+3Fcv74+oOFyfc4fKbEeOqKEgVGNyoRHwtJZxFZXEQ5+i4YbF9WbZHx2NkCEb7c2l5oedJyOa7iRwFIC9bCBn29JJEmDUC3ilEeAGpMPjGqEc5QqN2xh7rvSBlmuOUelrNyHRRevSwahy2I7ihyDfWBKSu0MKNq45bV2NVNRcYyncQAjU/i5CkYfSyRktW067HN6/lHWGdfKwG6YGdfcDfrZxB4qh4hgupy3yTHOfktdJTvMyPxw/NOxaC+DtRLGIieh74WP6rdGbadFQPD5FwQmIc6UmKqsVGgUFAxhtm2xH/d7WkkDU9UXJ5foYqNFVKWyf7JbWAGdHvOlEZoGIYjKlSPwDD4uXf8pnBwhaEhuXcy8OrNSE4jB+UPEyJfEG0vPOAkxn6KD9LX0YXCpJbt2X8McBo1zXLk2KgPh43LFBkJyB0Qnf7Um+ZRi7RBG/YpXLiPwRHY7OvvCylFHkddKVYPTJWnPgxx5F5cU5Jk+H51OXs1iLPcTBcJhB9TUw1555z6/2i1I7u8oUbVrB1i1KfIlo30uwNSaUEMrgrtddd/Er08oTB6rDS0whzmGB2WIIRL7+UC0TBInNukDkB/AotC5SPrwzG79OR6Tizx3SaEjGjb4D1mCt79hhFTCTsAsRN5QVTisA7P67ztBOZFztpUoyxOskuDwRRC2HQzhHJniecHVDU6ex1OIEa7CS5I2nRqM+78RiUjIz3IQVrUVlTPdS2rNPZ9ZiX0DhytrYXhi+u6hZP4nGA/7Pv9nocnsPY5+cQSeKTMd7KqzPRwSTv2R+lAuQd6cQzp95dsE/MTaTmOOvI/mgp7Fcdx0/GjChP6I95aDyhFCWb0tRsjqOeXjfiULikEBoVRpuYKatuII1s82i9eylAdX2cRZItoX5/ONnRm+t1YEJn//wEyJPVcRYa3Op3u7Ad9l1nPzp571/60rr2kDLWEOiJp819gsyrELGMk7X/DC/nQl2L7DgNImHZ2Tp78D3DxLceFZdTuWgzT6xP7Ljq4cSftA5BtIWx8vQt7+y1FQm3oql4FrwGDBZUpCIBY8xmBm04O8C0wlyfl0PPz33TDv+MuErGvlmK5wEqy0xhwdCwdpofPL+fNz/InL9NUI6hyk2vjT1xEJEJ6vg9OEucl/yRt8iCA25phn49OjpPyPyQqy/z7DXeP1aKCxCON/pzxNCOSbRCtv4CZJZkqorRZvcggPJ/WTv6MvvQChNt6IADmZdxfpMo7JFJiwMOUqox5cYtYlQ/w2eoLw4tw9wXUKMp2oto2dhEWvsHnpxG0ko3Jh8YLYSfy6wuL/NOOgdmW0BCJqwEoUUbVjYy7KW9LaLKaRO3VmJ8xubNknoiQZzOgLA4gQzifROeg6bwqIYAPoH4lLcEWZqTyEaVreOYYC6imT1uF5+IsM6uIW2Ah5jIeIWT3cxa9abuU+gDkEVU/UBliNkSP8p2/wnvdr0ahj+2QyIGCZmm2O58s4E+BCkZ4PTHJseWyHR0yK14rbtzDj42NAKjH94WqmxdZAWtwcnX69/W0+ZC2aU5fghG37PVzZ65A426kipjzlmcMZEafR18Kd9sdl0JfvasT9xl1tg2ZHue6CyD/zhT4zO+/6Gk5NNCcxf5FvuWBYA1kZLGlt3EtVcE8HL0VK8Tzu66PvVtMzAiPTLu9UNf3VsIpUB19heZX8jcGjp0Sml0nH0nVzif3ibzKZ2bY8L99krjIr9jxNbDtDc/nhICvfwW/zWwNXFd54+X0B83z5w1whj2xLB7/Cowdp0HFimYp52ywwkTj9F5QcPTAnK7ZC+w6+J5VTigveoHoCQATr8jjW04AbXa7/B6zSo1bEL+Ex67J+bpcxE1GyaqY9Ii22pwsB6wWpO/8TRLrWKJ0cnMOIuklRmwMCJdnaTsSQxyr9IGenEcj4T+to+FN8SniBUFD0XPROmJ89Gy8RG3rTTbhB88+U0b3CFlw79pH1J9vEuOD04oivDp8fuEClaandvx99J+7Idu/8X8qSlPY2rDdT4jXd2IxgsMhk9AXsPBi5/MOe74oBKH6FaljMwGCceuRN+m/YqIfp6Pt+C2QC2XGFheR+oB9T0XFHRVTQVAhvM84zQsXtJTxXDim6Nrw9VziPfmR3Aj5O400Q5xdQRJFrqqeKRgOE7eR39Mxzo1a4K/p6XN9FN6aAd5xk9mdIGJaBOGoUKcmba1aQLFWfKUTQ66iU7mwM55DdnlXWpZmee7pzpCW4Xy5UvjgNlzGvyJeaMA3YSY6Q7jylvg5YfhN/dBlAwROsCTRXVQ06jum7cWGNpJWwCX4hJADl7HuShOYUHMhIITODt9qA8/IxekpEgbHyWGHgxkxYPoaFCu7rC+VIDach/8hGIS01OLcVTwB+AXlSU0TcWfSsJvmoF5rF5UiU2jnlhNCi5piC5xX9YS/aVj4kKa4tkiWjjGonTszU9sg0Ns7RGGFiUoLKRQrzTWp8E39wcvaG9TBa26y3LYzu11FNC7YReZQH/LC9fyhsotDML6vaIgOpk5SDq/OJlSpX7ZfiuuJobttCYzp5RQTNp+1F6XZkE8dp+lZQfOAcRJgh3JYFeT+NyfNwGAAvKU8rSdLoN7YPm5/5gT//Dt3Q8HxjM7EToKyrSjuTuP8L997Yx2cBA6RFoL1ltFpHVVUZHdVnRGQjyvTpECSn7hK6ecFshPKB5HV/z+p+hPAivYd48HfPlesfZWPoGmssHIGL7mrgOeXLaiIMWlDh+/cTBgyytQk0Pj4xdR0JeC8bLPuNlHK01vGsPZhafwjS9O1Icmy79AwF+4mNqhYhkwc6u95t/AtZCn5K6R5zY7+RG2zn1q7wn7Nf991jKihTQZiaKCBV2+O7UCzroxYMFlcavUuKqWvrECw5eOxT4daelW0kXuEwCMv9eJNN9nMrDQF0EXkaA77MmLDfZSnLlr3UH15117CURIlAZIaufIQ/IJQfnlhU2IdcfPbYm9wcjUboyMYQqo/jSxadvG8f7v4PkZ58MtbBBQg3SvPTZYJrHAvyfhPgaQRcyaYhJc55iSSTeaBOTn3iEFE3zAeCDl2IX3cRhtDcRlikh38eErDiuJJjXDtRtfQvMthfFo/etXJxS3molKNRHDyBr9xs3x4/w0TwxnWE0SrexXRrihWTM/x4iRMsCMcKE2JeMGs6OOhTH0NPTWZC1atkCJ0+px9rSYQojeuRaCDRPRzN7R6DmbLlgEJpAyD+rgLNpngYHr+Yw1tq0d/+A7bx5GmqyMyEEgVKj0Hx/iyF1lsoiLwnn3nXjK2yql4QCggJG9BUasp6pf7I87vvTZLFmMerDz23vV8s1f3/UzlqYMMgGPmC6hntlB5euQnis6OuVfHGqoM/aTcwLX0Eo7kgbl7PibfrxnjqnE0D2ui6vXmPQK23CDxVCcxLmqmy7E7I+5m7nfVVlXV8he+aX5eizUtW5/G/al/49BCpGNW2dq6+fJRczZ4b+43aAf5AOa+Necv86HiHpafvHZs4m5qW7yKIOWRjIr0XV7B2mhRJB9hxgeIOnNEWVCxExn3V5+Dybdd/wQoE+3bNT41yOi1y6Bo/g0QYM3eSoVi5snrqIz0p4749l97px1y/gyfx2Gh0s5cPTzo4MH5iQOhqa2a92u8E1cOos8Df2z1bcgGf/atfQ5lPAG0qUPy+eYPoxMUjaPKXtBblY8DhAjJxSW28U9hK+uKU0JZplBf/vFpfsE08cB5KS+VWU7q+SL467FFvCkvBGe68sVgyjPUzfUAB4ALKZKh1RCvoeeBhG3VDt4c2lhaIAwkiMjLMGZ0Ha8+ag/USn/XVfaD8mEFbbyIoCZ9IRPw8X3pon3duChKgE7noUy3WaSMH/+3PPD+JGbbObkqr9XWZZGiD+aJlnK6YYgL1KrasDchdji7UJnxqdnJ1GyvOqLPR0/0sjrH6b2Wqk4/iDFhdTbqjClkEnpNWdn21S2G2+ZI470pivOOm2vSTO69BXPKzhMwezjnnMUBtTQ2J/qoVxb790Sm7/Vi8NPr4tVGhV0f2+ErFTrRZLRYVfBfTUWRrrRXlCm9eTZ6eEQ1Cy8BZktZM5vpNzO1msXkgiiDItJHuNdAj2ftcxQdcmtRexjJjW+caWDzcZFBLlBIz+BLNhdGMDWLr2UHtP5ssPaxpMVzYSK7udTLrWiW+KTTUGUOE8Dr+Gmxt2Pj18AzNbN3VfUbFoDKZi8OFjVaKbazRYU12wQ+vVIBrunl0VDVCw9aeB00SgeSD61jFuPTkU2vmHclihSMSHR9S/rCLu0JWckWNzfgonQBomWy8DK9dKx8fXJ5Z2h4TvJufuXsebNWA3zCxHQVRLylw6bsabLvKHm/khVkV3K5ihH1BgCC1zrl1avH3T1ghmfJT/2F6w1U87ToTzIufhPHdhPfOR8y4KRxt19kcl25iiGyikIjrcKPgLeQdwm2Yd003CgJXfoWM5/crvwtCalH0TD2DBOA+jHlLSE8Lvm2br7mhqPEF4KfENQQz6c5P2K0chLyidakH1B+4OMixFw0Mb8sme01OpTilts3RPp82tGoBOVQmz5DJScCJormhwzy6qIHsvizrOKzK+4i9DKqlITPD0n7/R11GzZCtH0R0m3zxPFFEt+PWqRZn7nZsxrZQSXFeA1iXmYfG3/F3GVJ6dnNspo/f4LW+QBCyjnV9dUEB918WeUl0W4VkVdA+1KP0qYAy0BHz6oC9OSZT8ZVLStufQxGTpxwGYb20A5g6BOViYCiWG8GAEk7zndv29gLJ+U7asqrswA8hG9+GeuWjsx7f5mTo5UMeXSCEY90/aikCX0zXYh6VRal+DMhiy9Lm2R5pLun7M7ZUIv1Z1oOHJDdzXSQsWIpj6913LVr01CUSSyxDMqA/vYnZQj1U19XpulT4+1J9rIT/kC7hE8HOk91P9xZyLJdE2aD8q74pLCCFWedpM6qd8xkpD4meOMU/6gM3HZwjRDxh+yOyT+BbPOGxKA+xSlnVunZ65HdZQhGr5iQpiStlUzvzd5AD9bXrDvYD5+LlHzVRCpUD8LXf6Z1Qh8zBOMOmtTCX1SDmxEST27OfSyd4p+55Z0EPJBljkUrfs9AmG8jjlM9fF2O3LFjqJbhqIjtO7i/yZMrNVvjAlnuNVZXtLy5DDahbABYEpc3GWKaeZWWGSBDbEBbs33Q60PtoA4Iqzlq278JujeknJ8aevng0Unzrqr5mDw3o0lKwD2cAsNNzEpfLoYZK+JrkaQSp15QQCcOreadCHWQBixv55RsekcFlUCFwET/L6Jh6aiXSlGkIyKziBYLFFD5f5DWitopK7c8K89YLynYwBC2gcHfVIJrPe1ZzL8KhqxUJaIifTrd1VxM3fzqg2xRPr/dgMz93ROAE6LzgZY8r1Dc87U9uSAfs+DI4v9w7zMbY8hBA3ssWog1tcR6sl0HnhIw1kBjTfh6rgftaObNWXchAKQpmTqc2lpgDJptcYAxbZepQ6XckDITds1SWWzZATIXLXPbtJn3yacm7crA2Am/goQAxdj4aBdUfcUp+tcCcFnoyh+UMsGprXqkBmPOK1d3+g/mT6um9TtG8fyVKQc4RleiDFWQywN460w2+6DDA/OiclsADFzfmgZPTOfiacVW7u8tq3WHxjEUExyzsZjBKdd1B4W8lnKWDBRqyJaQijI75++YTuty35JvOOBHdIBaUYg8o+EJVWRM4C/YzdXL+c+pdvBtx85cx1ucw+ZmsbvBeM09AW2fmkLw+90iNl7K7RLgoflVrt7Hu42WK/lSJ8jM1TKOvRQZWq8BjWxNf8m0pYc2zWBCm3Q/sojlDAXS66dUK1CUrgEikD+HYg/6Qb8JtCWFohYf3BHACt6RCwPj4tqnJzvgWXaavLksdxOUSmlHRPMBnVIX0q0kj5QP1GWfvw5JBaVikPXjVlKCJJyzYISEsDfUHhiW8V3yaeXePVuv8UmxugMl3NTt0kUlTRxpn2EGesyIo8+nevu+htjYbutLzj4+X/pVKXXnP96BoweU5SCV8ZlMiCmjQShV0xD8EoN/QppHdDL6jqrjFTMfSb+dhwEFOdasSlGbZ3m88FVz1sJRt2wCVI1l2yLU8imztwch5t8C1Z151+HH74tp4WWAvgoQJxzvjAZ0iTYNSYdGGOl24fy7Hqio6au4loc81LX06tQtUCocXf4Ong9/E+byy6UorWYdtO0voOUabItJ90Qy1v1SxgU1LZ/aWb2FKZEczLsjQcHwF6vyriYNNepG0/6Z7mBPadmW5LiXnVh/JlkG4aMRfVAYuhRAp//4GqIBVQsg8VEwG74Txr1V8WkaoWwrRJk1beX48uHxMOk9cAMVCZ5Actifcaw/OBATt77KtPKIrBJ9b1v1Sv1E9zV4eIOdyyNItpZnAHxWCDSU3xGJbChYb26PuhhicDDtIXEWbKfNEDwjzal636WtQeRGda03fweptgJiqiU4VuMJoQKgQ3Q1i8wSuAFfEhvGv/EGGlZdOnnyn4dCvliBi0yFsA7PDNHDO/inR0jCxdhl6+M3CacYVG8oBPuyiNV3dFNe/pquCsSymIkdPIFUeLEc0v/Ez4aEtszVIaEAwpY4UDX5+9/DHeM//yk5qNFSBiCsxZG/9c2mexkZ0qmYW+tnXWm5wuJh8GWFpcZdgczV1J+eNPram44iFOyXpdJU3hx0MGTCTP1mOVfTw3HJdbeFm4RDAkXXIpmy2BZum02WYHjzL/oR9RgkRa7fvIrQmYD7imcX4pzW/JaiKTFQQisBlJ+uYOF8iiImfYEHKNESvusnNhWhxjJupAdaZlenHbwq2mrx1VRf+yB9qX7QoooGvIRZjqpDBQe8mweowi1XBg7/+QDWxtr9MWkmND494/PVaOjwyDjnJSF+PmMHFT2UUgAfxVPyva9DsyGRdb+ha59N+OL3AUZR0VbcKth00PFw47V3LU5OMdbG2A6iNO9VBtBb8ZXnAcLwf91P7XVVmz6wpwOW86JD2En4P6piiszN/xPqud4Nx7aB8M+QaYxr5E2lJg65nHign9zLQ/I2UTMRX3QRf7FmReVvkBJNU4netjh7GJAbAoIWIlOZ0+pBIi3F6crrraeApCnz3LgX1hc+tBMEDjKGgG8cW6tZjPK5hmLBb7G+IgwR+ViJx3mdvqzRhETyI4rKtGF4WcJ4h+3R+LL/Nc/kB44DRBqGJ6wN5N2POWKzUsUKAa/lYJZsqqKb2OdavWIbOvsU1AG5Ki6W/mWG2daKv+CdFqV3sY0jMrg7hRtDZOu/XhA6V5kw+i8BA9s3GVhgp2HeGvWz8Sj4TqJDgfX8UF2iDX+zWU6aXWuC+z4Q2plUvkpFzm+l1+f+leNozWKAmIBbVguOdz/XBOhaxO6NmiyL+ELtGV2qlDYxqsAQa0DCNbN+yUq18G/p/c4KUObUfRs54hkLuuoYWn2apAyi3BI0CDDBYNapTtc0uQfoIlE1A1MBak33RJnByGSDIwmo068RettdB1KeYuBxptIQmAdccusKxvxraFrvfRfVOHkpe+ojP0yHv5VsT1eQ+q/IdmjZEPUq0z+8zNMcoiggz6sikgfICzrvwhbilqNBkHjW07cTGqTk8k+WWoESfYNzojx/EeRdPodpYjxMVo2JwH9dLACKqQ/jE7Clcqlx9M9+7dd5X//KUQ4EOzFoPjyGH+VvHY6ZZJqRXu68v/pCOe1O+PT6HSU7mi9NgPh8gstVwWTc6t6JZBKNZCeBSbLF2Bzw+nVbLpjb2zEZdE0Yo6KniCN74BECu7txSu/W6ztQqk9jCS5pDFQZP/3lXX8q72K8BoJrKb9wguQPEYeHlwpDOsRD0HL7AEkIOR/AdGnxRt0XzhcwUwawVWzRm+joqRbgLjv9hHC796KZngZmBX5xaDy/7YnDgyvKmflxQ2kj2P2/Jzf5Y0CbnW42TQ5JKyD9yGpbg6Gjr2c2Dfht2KZO7IVUt7kzXINzSGYA5lkKrkRDq9Y2xGf+PfuqsrXFROhO+FCpxTzBzaskYpYREtIOtrzcTOjajD7SAk/GQD6lefmM0i/CuH7Jg/b3945bDn1r2HrnNZDR1PY1R/Sag7oXrKJIsKOHWSov8YN3vXTyFPlx+1zIxi4pG7n1rwcIeZTQkDKumYjvJmUH8QHX7hmDkB6ptQTyyvhQ3nB0dGNAtH4degNZKbS++p704Sf4DLTlTZb6DI3Odxz7cvvk6Rk9aI8WAs9fyEC1iy7Zf7hSTZdxYvUL7Dr83aW1qMwBCBf3NROKFCE8kCb9zdIwjG0nCzcrES4qEXQczEZ0/wgHA4itI+PlPA52H4ehxJjq7yCeP5FJamcxupHPb1IXSOZ1svXqgtYRJZhq4rLzX8ophYerEUnE0YEwv+V/GEkbgI8WLa0tzW+CN8yQwu+mEUvUYgR/n+i9YJXx7rdXRdau4xqGhJIYVKXph9ERtXodMPmvwWK+leYGeVtl1GS1dB5rUE8hVZZ5XL7b3rAfPQVYg+z1Z9oSIoy4Ktzd+LNiSRcP2kidQsWQh29utbrS/MOYMaspoWxZwi/1x2Ex2Oo60MsiD910lYKbv461zAkSkp73T9F8OJIMZjuiCjMm66czqzysV8XIzv7G19gyjjDeHcG5pthNjKwLabLh3cbClMlt6cD1o8ZZ1pAnJZ1u+5x+Sdez79SUDi9rHaFVkth64HaDUirbRSS1BicGy6XtQ9i2ST1UDPonTfjsr9ZdaCGWIyp+Bg1fb4CpUt2+yES7bqe+2YZ4/KMGy82AIEybdYLOvbPrp5vy0bRL6Phn7iU2QiOG72H5r2gsHpuRUSGOYtSOTexOi69h0rsE5qr5j5279SUg1N9hBELoFi1DVgk6Kz/Twa3iMang2Hk2rUZpgNlHsAxpE55j9I6RW59SViSPFnfn9EGz6B75tAd/MFVccoRR77LKoK/g2bZX2wSKm3C9IzPkJEICT/Mf+mPICU3Qb0FsJ8TDU0Ei9ATkqEbgBGTpYDTmScz2WL4QPRpShSXjFvVaPLSxPbByOdzjZOtZXNmAM27sSa7oDgyAbRsRmLknbFO0auYHvolHx7jkgiqcL7clR0RIL9dzD/E6XdYFZE3r3bUWycfoor3uI0YV7rO4bqVEbR81bbDpgnPcZElQqanHZPaINTgLViXRi9UKmyASX8srVOQaoqJr92YZJo6f1+iWkqyhSEc638FOUr64BsJ7jaXuHkY1tCFJpS2Uqvg8UdOX4dJC2ZkBVV5bi61nDJ5JbBeLMQ/wlhzDuv8UsEB1sOrDaVtObh9ymJYAF/sFVDiTQ/KW9GK+bH4hXxdbXWHwaQC7Ef023FXO1eeJb5sJMe4vglP0pcXg0zrTlLH4iZRKNXe6Cci10MRU6Um+4bo6eAvmNB18qXjj4AyI4P/UOhEwkuTapKhCwxWlo/dtMGwRJwrdnk7QiE8y80odMmPnIwhtDSJiQZeuHYJYr18xgRvQ3W1X9PffIlLozI/uWK+bwTYWnZbnQ1jufO9KM/EXgQsrSW5OoTWfMXquMvuungR31Io5Oy3nisxbng1FVDKEgmcVcOZfrlCdj3rI6+yCyoBmuFMOuKuHLQSqvTuUk85lfLQ5WXL1xJY6OoOGNyAxixJxWwj7mZ1/LOXW6L6ldqJPschs3tTVOTVfNvmwOkZ1yUUkmQ8Zahk8LeDIt9UtqBKO1786uhjC+EfVvhwtLREAH4Wq8CmXvFMWzAxJaNUiLGtPt7pfpBBJQBh8j5ndtQ1haeb45gbpaGyvRo89Wq41SYfY5r9h2TU7k6Ok9mF5PE1XGE8HzRB6eTLu4pS24PZJgdokM6g1WzErdNnsJ4eXP9/AMAgJxKxQCLNcDB+MjjMDVxoUt0PxKADkflCVppmWua8nD3oZb8LjmERGMuZm7WFZbxZOEgW2iqKz0EJIfbTswFcTUlwFbuBTFsQhjZRADNjcNxhYUsl5S1WHktH/4YUb/tRM4dZR7Mw8M6Hh2Y6NUaUZe/YKuHKRztyfYVTg+qRJVtYshqnGYzZ91Z2fV5Kt7qs05LCIv2ux/4P5G9hV4+O9pT4D3ivosXK3NUdq/cixSNTCw9ZTkYGvirYWgq1xp3ehGoIHMRd68a+a3hJr6Nx5neqJic1WF2wRvPtpDIyvo/yQ0did6q7l+YcDX0MsB7VzcSonSQs54FmxOxzuChmCVpWU3xNVyAL/oUKF5/UKWJcG/06qjdjfa7lrhAGvyKjusWHK1l+3IcXVr5QRluoDF5G8+NScxk3ljSfirPW7K8kIdEFEC+HI1RwvqGSGahshZyRysXv1Q1POeyf8CW6OqUblA9jqy8nnBw//zc7SXTRn+SuWdNS5b4JZzUpKayT3bbbWQmLUYlmc8/zDlz+PEji7cX56uYwvGdt2ogsrknVqIpb4rNi+DP2Dk5yT8b9jGDxtMDQDNgdfW5GRSxiwCF+oiR2X0CRK2hoUIXFC4EHOUiK06MXENTaWoEUD6+EJTcDZasueIyiIBR2XhOwtBTEf8uoDGNvru4Yt4n9qdPnv9x1pkJtyYRI3UFl1HImR8pCasRPcQGlFI24XYwkDw6F+4WlpxN3+mrmxAH4nUNoC0RSJQK3HJD1vQjS3tz+fkKGDK+cFfa50mdEov53RFh/yDfgjr32mpu/Um/E/RkWbDnLhvj2xh9KjO7PHd2HHoLrlZx/6jep0uuyQ+IY2RLPSSPzBra3/hShL6A6F4HaDGt9xmyrF9bN02uGuWp+ro9Z5vWJHtnt5WU/RCQOByuL6pLWfjelCfmEA8SI9KybVSPKYfuGrGC3OuSN46uoAcIcp8mddWO5zFpdWedQoepIZOmtiUohPiyeX5bMNmJCPVHKkPvPC0woPLFajB4guL03R0pMY0NBZ3fdlkmD3DNlYKrIhA9EHDMU2LWN5bD26f2E9eHkaom2Ko7GldiD85i1fKTSw/NplcPp8S9yGIcIot/hHjcGaA0RJyAQNuzedPgtfE1tGk4AMZ4rVgEsiQ/yT6230MhH9hJm1ljvm2xgRxqPTVN9qwgcmWUTYfVkzfsyu9ssc1IuVKwAld/2wzuHFw8RGbNudhTnIw/WJ7UOAlwuzETO4pLOfS4Yt3byG7EYIeMeDtq8Nrqz0K9Z3v4rOqRxsRvuq23NgAiJzZT3yq/kEIUwAtqq9sdKNg7VR6VnD7SFjy0UCxjPdh7NjXM01la2jy/XN9CQhss2pQZV5QUlprNNaBOpNTkdp6tUfVuDVX5xlb1RjaqtHytR1LRwmVMmhfKeatgnZblFYz2P4S8iL4FY99bIGVNEwBWhJiGJzoj53zlvedPOg+LvAjGvyN20lqVcnou2hL7XtjHTGY2LWbkDZsWL6JGOqcqu7O7EfMwlQcE0TVGfRG7pduM4u+U8vRKhKPys0EMjbAeURog6tuMjXdqQRe1zQCFa3HGTTbvaD5jZgRt58LemYtQYN8UMxep0nXbpkiLJ/kf4JAUQzYy4HtGzodmKrTICaDz9JUX4GlvH48zqb3bfU4AZ00WjLgCulwgywtCGTUGUSH2nTZ6RLBCOufhuJ0PGAImYGA5jKJ0fxzObWUty41DFvlcWUcWBDDqxIyB8q16HrXYHXxc/1pFA7AJXDeUq2FY7MuNb6sSBYeS49gS1+XKFvy+6vhmrHiQcWeWn5MpCeuYnXFGhjEAd/VOpX1beK8SebMrVnFhRjsK+WrSNX9T0uSFQsfR+66nOuDs4oN1AlkDqJRvm0xMc2w6JQshg5Y//h0GBE1Bvk0SEVbBN3SBd7Mw76jzktxgF93StF2SHn3HR9TDMkMvOESLHY72jHK6uJ3vG7F6Tk+O45PoWGYgPcIgShd55e+I45QTv2X3tj7k7MXLqGYJgYK06Owlbt0u2+2+9ky6vDaZ5E51gIJdlJPNzFl49umF4pbpYcfPeyXs4p7HmexX+UtotWgp1ns4ZNK/io9cVQFxCS3JVLI4m0EfWaHjZbKj8C803pv3e22vI4xLWRjq+wFbBuQUaARingpAu9iJkZpEOakQUw3XgfXxO4orx+mIz4gD8BcBtdbEIBSt6CmBxoUaUMsLS9cmkpyjG4LrG8aE5DrSirNnXC34kK6WReV89svTLEPHHe8fo3uGC6gwsgGiAaSwH6zI1ERfq9mqFdjFXWRIe/nYOYM429p42cNyoNtipKbZEEKwYa+6LGhLlasIFFIG9LqFLSKmpkJ4sKlDN0vahXJc4Z34jZlTuYBPIA+5UMQPfdqSA/OH7QlxA6rbCWBTh30uRCSDV1vbh8BRaOonNViYO5RCyAoUetJX/22UMTQHrrLg8dMnnkrriZ6XlFCaFwyoGzlCWwhIWOhncatDRjbiVnWVKVE1/01Gyr+b5Yv3nsxNL2tViVs2QW79oUI3VWo/w48ZrrBmASBOuYtk659zK0301AvtKVQOmPBFCtPa8y/StS5XfrNb3tltDNm41ts3tUUFLOmOLueDvii1RBJv9Unl+2qVScUHLkvj6rSY+xqejFy7SEob76ASNVoXWHfAUEHAJd/yEbxvucBUe+tYJINLk9a+nEh6oVf3+I7DLYAjJYKRBn5ITiZ2g9vbgw5eLZcwri9T27W7PGApkNDhjeGbsAKOcMv34Lyhh1YPQjNVp0Kt4NA2dajrfOOSwr7LrndLspKc+y5WiDCDPllOFTS7+4cM/aNJ5uzrIyKuwn/5DAiG531wvU/Ruos2I7VMzkVaSyNSJsbiwEIRyO4UVij0vyMzRDkkJx4iUbPOCasfWZW6KdkLswT7T7bzYv1eYEbRKTfqt1lrn95agy6UeI5gQeDhsnqbUAg/QgVldbDMXgxFhPH7GC4/cVi1moD7iyx+Xop/6Yew0RhGhlL2em9g93Gfw84DyHMgCscmX49PdQOQpvZe8hq6hjqaHfrJDcRCy92eYbCorRvAOkngL8b+s6GMuORZEDgoIZahB3kAQyor9FADDtS8LAb0+XMgmKUwwvE2B1MSTBUKhpqHnTojEs0qDYMcXEcneoKk79uSr7tBq/c8jfCbM6nfiJL6F2v3GUtU2AEt7uZT5TgkOWYu5f0NrtThNR3nkdrvMlHoe8/3TJ47PpNh+izc3Dkp1IpuTR0rYTYfWmelILF+WD83IWol65xk4Y8nO9HiriZTz7vCK7gdExFRwrGZIGrEAaanJdbaNYwmN7aC0LeH941d/tl59RrRwDEKnzd+XuE+MkFFDe8ECwqp88itoFapZv01bVUXDzvR9UeWg3rZv9m489LElUCSTyV/fjTjPOQtRehMHxXMXjdhvDyoCVYTHGHAVSVhLzbMS3lXZuw/MURGFLPjYdas4XbiVb8Pag8F9Qw37Use121ROCC5K+ZlMIEjDrHkck0N2gZGDvobYv4AlA3UjBxellggnepbOtpOsLp6ED7Za2+nWp8RdXvY7csOZu7fXjVy75Vsl53Ekkgf516BUtBjmir9RaYZVy6Og38ILLB0tPxtHF6amO7wNpLqpyo5wNHJ3BsfSHmJaw38ZLsz7egpMpLT8AjOGqfxwdE2W78Dp2mL55455zuC3iC9Vq/y3SrEWS2KCM2kahbGmbOeSyW9m5cNCP0t2ejtxnrV+46FuXjldkzFrj6kHZrNZePE8XF1OaIDTNMKCds21LQGQQm1M6pXZh2tBqyIsI+TMJuN0n7INv0BAjHINS2apSWU3kEixdpF9IXuXvQjFn+vQ+3myvhmYenKONRDf2gZKcEBC8gIM5r7+vMRBM4GXCwNOxuJZA9OaSrPnhUK7QIqhQ+R15c9u6iajkdfHOxPHYhXZW+q3H5tEqnvu82mtWiwCYaC4h90zOTmwbGFp7tje8ICVA0gjHiibJg5gg+wv0iiZnoEdY5Dki2xM5KJJh1E0PR72Eki4l6s9iZzr+TcoxwD/S/1N1qq9zaGmWnLmejgHb8pNOouRX0fX78sZnnB3BIJ3GYlqTqGzfxhBz8OLetO0j8r271QgjKyKvLsAp62/ufSRttqz9djMd29Hp9z52+6aLaHTupeaT86jggCFOrXu52Oepw2ShCTyuETA26VfMYSR3Xs7EjAlaqsn2a/0qKU4B9u4xZy5mP59cXL1wx8idMrGUAeeY1qUFh+wXNYlkyF9I0HiiDXcdsoUN/Bv+lXudjn+fLGy7UpsESng1+y5uiclFh6Ajpj2bPncvLIhOifwxdQigaA33kyoOxe4CVH4JawkWO54BrSuPwiOBLCh3shaT312jx78bp3NIHcKCARSPinxW8oFHN04DknLWyfsa+5g3aL3vDvxiv8c/8i0v5EZYG8oJCTKSw147lEd8RncaJvW5p48drOZBtnTt41BsVtr35wYqW0gW9cYLGSNLSsU/pyqYPjMYmSzKJg8Z8PwNqulLsdYnpRN288QVpd8AAiWJ0Ki2b5Db6/Woeu3R/6hwL6ZZM+dkk0OenXmhu3qRzDIplbuHSwRWUV3Hp76yoD48QaBw9Mgp4o8u8wBINKBOIcSEyIBo3zq9VdncjxHsRq10bYUxt4ZYIlarsDM8MriziBJLkpkOP9ADr6K1MpL+4qxklC8Fp8CLmaE5mon7tM2bFezXjFGPCMBSgvl/94ejJPKsj1HQKglc2L46pEO+VpG4UzHthiZfdBUkqhfgMqlKqujDUNtF4TC/ULncmDPCgP/vO+Gri3W6okyH95trUL3q+mgN/xtZaq/i5fnS5NC3w3UsPX9KYKBzPFcyQ/9UO4Ym5BlbBCFAKaoAA0FYHHe7qaMntezvoPR+buNT2aS8g3jsYZx8vt8FwBcZAjx0v++NwFH506E3h0/fNlvzUeG/bu4wFMHSVRVRg3/LPMejdAsakmBw12PdqrmLWqyqab7jEDZP21uZbXYpsm4BHp4PHHjLlhjWmvEe62CFn0csP/1IJvyTdlGNJJHF0BHPJWTir8WSYTz2M26Aje/dKJK5BIQkMl5f+LyR3f/nsa7wzl2pvwwLEoFdClAOJ3IV8j18CxWw8L26l5TpsOs4JT8iQz82ECrB4pK47o/V92+gtcsTgdrT1G9Z/Z/BsfmJ1z1xgkJU6vCe+cZvfUCowHad9UAbCI11fZ1EE5RuAG9XzqfxsoHUt3P35VAyUfzMaLljicrjMf7hlfnjAEsR+CNk7rXjUAh7z5serZ7dn5yJ9t0mOkOckeBtkTnur3E6/Sn38pSeaeHNtXipuMxx1mIiQYRFsyq0E9xnqE9baGW0mQosNWr4hckY/YeA7+JEiX/5XFqvJh5T7m/ytY0jv4vSdqjO0IObdd6r9GDo3x5TiqdqTrCgRGvBeRu32a6Yj5fESSAiGWIBxkxa6qBVQ9fe579yyKFl3Et+Qf2h0JQMiWTBm9FjW7cu5hBLYx2pNabkYV9WOejNY11sHeuDvDVnANc/qy1snPRPJdVhOUElchvyA4ioIg3QnuuM/+WKrWialPAlOfinz+4Fp+bm68/7uUxwHOA2/DATSrwFfPJbUxJi6plC1ngAp82FGKixRJ/DFOnsJoR5L+OjO++8l2nGEv68NreS90Z1rP27kS/cjpBD/qxoVwgtvwQ2qoJZ7QAbfazwoTgEYhFIS5JXJchPU7aMAGGRE9QEFLVnlRAHU8UiLpE5aC/q1nBO9yx8+K1162bN6omy1p/UEE47bTVix+C0+h9AKJwu2bDC1NhvGAiTm5t6b58oFErAuUZGHvFbkLJf+Kwy1g6dVo03Yk1NRH3t6qt2VaA7wS7cZpN4CfWE/PVoVfkcbuqyhKNfBsHncPfNMn5JMIhKXXOqfJ7pJX84q/g11CYn8323MeJKmevOaIHdaC0VVYcsZ2ahl+6VZEvrJPEZEd+dc3BjfS429aQI80Mz1zZrAVZcweeHZUwM69g9E3v7GkhWI73F4MS5nWJScQOM+in6VqFepTPWoH4ymGKpyB2ddpU/+N/866LuhSsRTFMKhmowxGJdJvoQH7rp2ZXIAzuE4p2iakhvIZssw+FKaTQQwF+jAJvCG5B7ysMbByQfOyTa6ZH9TWu3macsRdOBDrgDMAnYxRSmWItaB7yZZS8r0xKWgaKICMNDmVjriwggg1LNQAzCCP8oSjW9NEUX/XfUGOPZe4IT73tQnUwsUXXAHP/rnedRL2P1pYJ0PSK9pSAxr5j6yGA9YcVx6QiyiSQSfm5RROFrc950NkTRcnA5bVu5FqX6PAGC3TCadxIWaUiZPBiegyrWPkSlMp6s897tYteMccYWWCC768xPBovn7hcNEWkfx4OOuu+Swht0ap/aeJfmrQJzuVl+LiMKX9nsTVx3Ba1vNZ+RP1iAVohVOTiYvTEFlRGQHuMSOuLK+cz3Sg3d58InhAZZKx7oS3fTtOmUIbpMELAMlGUVsKbHM29SxeEk7SmZMyVwfBHXxYz+C1PKybKNgxU8a+rdyhFcqyM7MnsLjRMOEzOb10zedSsvanhwzLuQsvb11l4wS2PjhOZZoVgjpYG9IgkpFqJjpPMPpkopdqsyVQBetoVhiCGRrtyYX0rcSl3nZSvgHjog8xLUkUObKQpVv1lEo9EkwjwEXgiNXUgaYX1+u2iuBZS+fSMSVzbW4Ipu6KhBHFutYP0GBfqWgi7YMEwTH9gohLr1CXoEqbIL1n3rlLSqAeu55yLFaw6fAUxkgkycISt+991/Uh5sUrOS3SV/FGnjvvkhFlyEvXrgIoMb5i1ANq2v+EqlI7w+ngbxwA5G9i2E1quSQX/M+1N60SxB+nNMU0qu0iiYpc44bOjVafd2wiUhRO2/Hw3ZS2yIpoq/iDUESWw+a3zVOJU2w+STcQb7IktWWQdjrUk3M5BCXj8KldB1TGEBQfELSpoZA8dgWU3ur6qbnprKLMZ9hvMZ1TvTri97mbO2QQXVHw5qd+TAU73X4JCd3BrotstP5Rn3k6Y8ca4wYcB9lgVnQIuAbj2Dnd6vilyPvOlCADnRqHCMZw0Dx+1l4DvQx95LLzX2zI/9npyhFn2YITAKXtQWPQCfJrZOQQSvfmDtb9XJXopclMjac/Nixldie1nUvjryh2poBLVwvjgbUW7bhottNOYAMGfYF0L2tR5MNtFtGxzhTm/xezpsEUqzjdx/xyE8smMVL6tMA9YBbOuupiVl+xxScPO5+lJZ/n+7Y9kiEcaMxBmZ3KRWk1X3VqBWeYJC9LHI3HPVcxfhsKpvxstH/NleLS7yCNDm0cRCy1wm4NXnvkMVYMCLFS5t+0OmAmHBLNW6VEgmNJkCq0kfgbopV/lNNvz0bA3Si0jo6TDYGyAq4iDdk1H863QwDyfbhvoRO8q9Mhb9qKk+WLV9dyhoziQ+H2lNFVQi9gu7qmOfOTyg6/x69BaXf3cLWN/AHoywoYQX1yECH+2CpXX9SL0vNFLvOfitjx+MZd2kTn/DfpBlRGE7vrC9+SK7W63y/FlCTrz073PT1Tr9MZ3KQoBHuh92TvTocbbvFUqwefgzxKIel7wbAXxcrFwlXUCFfEZS04XwcJTLydZ3sPKM28RvtyIAes7kpmN/jqpsACePbCUVxEKjd0tzFYekXktokWiVq2IxryB+MKq6EltSgyHDMMZJsHPY3Vnx4iDQg+VrReihQo0sgLmN1kV2/50d0eSDc8pXG7HoiEE4jIlPW+FZGeZayn4CLnO938TvKlDvgFESxQQZLaNd0nTbucFDeC1WGQxZTuTbBKK81+S3dKTneWuhqea94NeFyb9k7YBMAtBZtyVgCzaOi/OXCI0iUrHyNiHORFVwuq5B6fXnGIpJl4URs+Y9Co5/HkYayqqclO/22OOwfS96RqjAzaFyNfdQb7Tk6GMnSTFJTz0jbwyFfORO+Pb0/cYYaEd/FMSglcj2xi/nZsaOVNqpNRZ62qmcTkW7nP8MQzhANQPaTysJTEJRGYf9fWt9fGpQGewdYntg4xhRxWGc64BqtpA/qOj409ENsrGtAQwLs+N7lufh4hulYURGNOfyXjttG2iBR72EzOFsr9b0W91MdFD1yR18ksr+cGpFFvKzzxvhtHggM9xg3zGzb8xx5paoI1VO/HFRgg5dZ8JQOmaT+eni+KC+ySuI1v1cer6pq1ecgItp3gVEJEBaDAk1GHNmqw2kX6/EAb9s489pmbZIcHmiVIDk9buGeUMspOQjvk4GMsNCtbiQ09Hg83VczEfeo5N5i68VLNfBZYHweZ7exMRwij8O5Id+btWbUS5RImj7S3f/mVDt60AF3jmIj3SQZLA"/>
  <p:tag name="MEKKOXML6" val="uRmFexQysMYyrU8lNFoa1kgnZHy/aJdczGaLKguDMJ3XU7kCTmIW2usipmzsDUnqN4fDR0rj+dJ/dpd0lvZKBJIIx6LKTT7PJf6vvcjisZtRCZ97ksH3D7DvuyFmtx1l81BZJoiAeuDuXbx2triNrNgmRGN/QXiu27wi4avD8jkIfZCOMXPVbtyE7TFr+iQPBS48DksPQq4eTNJ3z/G5cxKwM3Nj4OyYuNF35RIlrN6utnN/HvxGMci/odTsMj3ZL3n48G8alHLigIBrY/AizOqbrrxagYkPYRQkHsO8Wl19U7L7XAKdSy5eKZYt1Js6iNe62q5l+010TkkLBzICyU1pLsqmTajdlj5OLymPkPg2Ft1wWRof+/cRxTAiY+Bsrn6+rDvmHtA8cy+Xne7M7CTWhH049isQcaS9+8zcWrHgtpzGCIETsf8/8WM7tSqUHcFCpLgeYxOrtlWc8eMVnuL5LOzqdkKdRxBIhhIj6g/y5ogkL+sC8nTfVFS2NHdqSHV00D13eefbCO4l8tmlvWum92aCd1gvUOePJzCVqQjyY9hCtTqNN3WagogaJGWXjGukMFdU3DFOSW71wqupT9aGqI/oJ4oCZTOhuIAd+URJgVoA5xw92n84PBoqx7mVirtb72gm8iPP6nWodwUi4XdNN+UsaijctmhkbGt4kR7EcKUDccwh/Epq0yjoRt6SVSXGzTu7PK+O7rZlIhCKZzyGmNOWUCUcWeMdp1U3xeOAPnBJ8nSMbYyxd1c6QvqaNS6uNBnynS+LuQ3fSidNIH9yMrR/3qjzZa4jUqlCg3SaqHAITQKLvnLCKbFETcr9o6Q1kUgPujMN+jcvmumS3qggR/ViDVGj7/LvPYhLC6iN0Mv8lrd5SYTgVc+Mqw4jse4ZAbMSdlPXZpi7tam1XuHtEEitr1d+0yFmbkAWR53sE3ayz6yYVtN4CM0JUaI+gnHE/ne1UkLiDpwtSxEyr4QZgDUQYvtqoeaLV1Nj2TK2TUO+KHzP8pCNO9+S8oI5sWCd8qcA4Em/Y6OxbSsd72jFhBsoGyZVWNZgeMwudthaLbsSppAcG88LxPPhZQs6+dI1ieWanxfq6dWXDzYxJpvOsfQk0KsBqmUNP8zl6o3MdSPwezOLnyLV6qkUYgA5gbhqYuWZwox7Yybg6LZLvO5ogGDZeak+ATSxgGwaB4ZI5TJ1MQK8U2QSnqJl5X3vpdGiClj3xNhH8KykzCFjSxDYJgpWQXfnQdXpqBk0ieIgalqXghckq/Sn2soX1C5RU9OiNXQs2qzNJCe+hvjn2zUYbQVeE8veZQo5yb5BC88eglowmmhJVuyOgI98NYsRndhwYG/WByrKVdwc2rgZPy/fZILEZTLmcAhQcCkg9E1hQGniffwTMOp3ZPcPHRmyYK9R/D+ZTLEYHSmEaT/JELghrfHSE9kctseCpJwkv2lVe7lMqEmfl86jTTPGd/YSDh5JB0NaMXOi9F8LeRHxoEtFsirTLprrFR2r3pFuutB1cDV7sowiHPS9dV4wy/npoL7G5eu0bxEQVCkJY894Kdhl3l4eutipSod69z8fGJKRZTFnz9R4I+uzTBDv/R0aoPIfGpevuq37njh7UHnXmDS1O5CMuYSJzsTEyItMnlqHw7wbwCD8IIdYIC0s3JD/rTbLFHglww8suS1RBhUITL5k9RweefcKyPS2mMc0fSqaoL8jnKuVCB6pJr52fvxv4MTbWZodek7XaEkHqtogvz2VZCmssB1hmKCpTg3RyyDCO4hc6BgRnK51FF13hN8JOKWMnqgDzcdTo5l6wUpD+sWrkJmjNP130eLylNspleYEA14GSMo12+CyUke/FuOuea3hezWdBoiITuw6YJfcvmtMMSNdrzOx9CQRxBoo++7hs1Wz2ngRKB3xsWtCp1epXTIUm9pPwWcd4X7qgdGe19s5r4/fft8MmEpmCdAFBAL7Myo9aQG7ql9X1EzDt9FlvTkrTIRJecBYSwewV8zdz5Y4IKIjgNjqMjsMoAQHMzo0lhZCG8IpxTbGG6ivGlmlW3v8HmyaTNPiMFnCPbLtkKZ20ZvHSJ+/X7MY8kw5iuaoRB4Oj6cOBxQjah5PwFCULm9Gk8DAlH4ir7Ntg9Pq8YbforeHa9v2uQGVU9L6kt7V06nCL7fxfEwdoYZ+CURJpJ/2yBHh9t6DubN/h0d+3yOjkXAchKoDrt7fShhk1amcPDIezMsjJG6Sw4HJ6qfzM0EUFuS1Yw3MN9E3elQcvWcQFsPqfRuOKiGf9lfJQpp8DUSrKxPo7Trq2RUTJMsLUFRKYmmxel1Km4heHc/sD2bcyy9A/oMWCp57w9Iar496u67rYR8QzEt2WJf9NSvX39Eyd6iLWVmiVS6/OuSrtAc9uWQdDIVe94/LkKIK66DaTdXoAQtaI4QUe74t1F/H1R9zcS6bn9durrf4VSuCEBtm7/Mtib8yhlHli4HjuBzDXOeL9P97fIRO0y5EKTKMNJd7SIvuqW2LoWUkBXu7Qf1yI30LyLjUBsIDLG0v6iss+J+nYrD6NNNd/yfqy+tRTs7l5fotSRUIhV28hWjPzRqaTsRxl19RzRKoWUIA+OLkEuEun7blFnDYvOuawpIQY/eZmDBWzssp+7UZwvRrpiNTrcNkA4YV592OK/Z3K/AtTbdxTMqXO1/FvPCl46Ejhb4KY5fZ9KPBJ5hRaWYZJLPWipQyYGLm10IC3eYsW92hXCszsE61IjVopFOEBNWQZYBz/mtMKNPrrpdtYJa7P6kwslWT72zsWMLkcl6PnjhUXV8buqFJZ4fl4Kjf1zOeN7oRJQDTFtuG5lG0baMriqmAgD5wjCzWt+cNsCY+b4+CK7MX5sTWNZHB6I7eLmMw4tCM+E9iXvnLiFOLAl8NqG6sUrKfA9o/dplOfkewUOkp0pFznld9LFwGSXEIMtUoskHdQRe5rwb1FgEb47ElbKdsiMHb7X31o9XrWQ3ovMnA/AtaiI7QCi50wLNCJo8L4ysH1bZzp7j0GzNBD8TEFoQ0IqhQ3MGXgxR/Er2ZZRUejR1HvvXJoUDnM6LxjwishxM6o7g8REt4Fy2vFqCsd7sSJoxlDCJnGWRPa49YF8thFjKWj2iFxrv25F8TvyVogPVCTVYVCKy2udRTFURj0iswhNqjfBRA3lVNmFEHeAlR/8FmQH+Pt08BJ6QV1h7ivlPtEryxGCBK8UaeiCXK3mOPei/QefeYjNMsHfG+eA28ei4IqVvm2ulUktGtmdTCg0uDypCSgzJ1d6z38HJP1foku8bITXpf/uo/ZW/M/GOJSPy9ypN9J40w1qZLS5qjwtymy8EQKYZOmRejSzg94iNxaHrC7uhdbF0PFvEFOElA6VpI3OYTsEgu3G1IphUYxBJgxPm3nnnp2C8zSdOyMct1j+5e/7osESlz9/Vb+VK2TllwY28wLv86aR7QB0O9t2iWb99dj2wDcdzlAj8ZjAu8ZtFGRPCu4ceppQ7hVEDuMXoAe4OLdLUqkz28xhHcTgx2HAbHfBc4uWoaHh+4VxtuIaE1ImpAP2NGv0CYvl5LXDpfpy1bOiNn1UWhPUi1jwMoa5qhwhi1wHkqvk0slk8WzF8reO/8urjWkbQYFM3zEd1D+OQZbNOFTGoJ5+53ni4LshX1l8c6Es79Y5jBmZWAGLFM1EY/9xIu1q0KWgz1YaowqrvG5zCrY1KmRC4/Q1eAcM+zbYVzIOPwNppg3GVYd85WSOYv+ijfEJpQEGP+Qn3/AWsNC3rIQ63Crsm2PxKvXvuVdWYjYtZaOm6bMlms443y08u4u9rZ3Oj8ZIHNlRxq+McVM5t6zbWRkUVq0+Bf171nOHnSz+i5maBMwOClFOmQAt1DT297aMtgaWCG/9MgaJYWIoVGsFEo2cTSKm8iB4o0UlunCUCSijq+M0MsM+0HgyYKsUBvbN14LtpnQEw7lXxQXWanxHndBdgalb6YIPQNUjnXfty6XRzQRf6WvUWsphxV+dZBC2qIBViuY0QFcZjLNXl7kCD4qjo9QEyxGSMmY9PcEld86NkOF9Zvo+fr56A3I6cHusDx6fEAwYtbVeUayNBwngyw6/99qO6unrnnI4RDp5+nmaKlBxWJbLtLDkvE9PYftRyJLEHBJ+hdiHBb8eoMUgYZBXL4JtvhVBtv9ewvxCzURBzgHxn0OFDS5cvtG27fX451j4M+wjiUi5Gx6TDcbIAReJPCvj4h7v5hmyk6bB5+dc8WbNboxeqz94AZfhTPAOelkq+uahqy3inMm9NcpdxDB25RZGbSwJ2pRv18ufdT/VKPwSp4auCxQ6t31XSjvjNt1js7jQgX21G/1kLWMH4tBnQQCrZXyis6fx8d5dMcoSxN4SMEnPRP8MEOAgBlXckQ6+hK53tvTKru5njisooSDObNmauh1bMQ1U0dDp1dQugnhpREnzJhdJaNvz8L8RusWu/bcSbl4qgKeIcBR16IeUDaKPGCpkSIo9swtlDqImnV6yb2aY7k5B9fTrfFdJ4yZr+21toOxcjzct+ZKgItWUdTagQczcl7/8wrHBHRES1KkugMEm+3qzOIG8aZ8s6wp5Ko6dYs+okFK3fJYnD14p/ImgGhBrEM66SI1qWWPK3dmlV14kp4nD9bktqhlrz28KhbSKZwmDwta3FMFOm5miZgp48JI8eSWfBJCv5G5yUe+1tMijYKpkoXGZ3tkKmJX2PpJrXZ0usQoVdp09ea76qfVjQ+8rYXpiSusmEkbtECObaGCfNsA3X1FGMQyzNXJHN89vIdMWfiUvFOQkfFRICezXZalsL/4YMh3hPC5P4fgT0VrX14kG/gOfEI3Q3JcBVAefmAMvwYraX1lvW61P+mYNPNGXeaPCtXWqZs5B5VAr5aM7plEQYL+xwFaXA3RcLpDCKmdbxAthXskN1rc+/EAQRM78hFMxkPXA29rda8au0gUdldkvXniVz4yUjm0kPCiKzk2gO4eOc8Jum72Oa5w+9qbhhsZ9GtyrhaOf7AXlnYPWC1SVLbsBw13B6naeYo19z3fdgWIZzsb/l5ZEdM9l94jY+/MFjXY+jgeU1fNZeeaLhhBkXsb5vUEP5L7uk8xhn26lK578HIS15IxPZwFYxyYUZn84EIkcCz353bGb1D40ePxDm3HQtKiqRE8v2VENWwXVhjtrA5Us4zDsLgnBcsNvWdcxiOAO/9hjHvxj5GoLStXUx1XijU9AEJ9Kq9gPD7VSims8zUsqZ4+cLbGIH/53fJWvOQksKocBgL869e7hN5qRncYbsAKsbyx+mE37dGjk2k/8T3QVwAQ7Ru9b5hFjUlstcmZNe3tFJRtR7J/Iga/JpDSWaFmQp24Dvvg7h9h1KvekAK0u52n8DPtOtUhECPaa5qTRkCf4gdoFQ7kIPUX74F6XVNdIBmU5H/q+W1aRd6/JpayaImJyizglRYAK0VueBCHVpsEHitTfPh6cIBbSnDr/a07aIdUhAozNh37g27ZxPMD+ux6QmSpFJlkHiHGLs8Y/99d2djLBYswIYERNdevPVV3nhn+TOEtBA6b6WGbI7ZD/BNVoIKg354I8b0PqHMb0IGJ7QosjeaGI+e23wnVifUR8hyprPoafXKTzbb+Z4wKA1q1fQRxP/HLzHYbgvxMFBXOKaXcEnJDooYwmx6Y0Bc9TmfeMTWCOWf3dp2ekXVcvaWa3CMENuihvBv5IxSw8/toPQ5Zn+xW5RWi8C1CgC2pJIU8DUrjC1JBwWHXXCB9U3aMVTvezxHxpZVgPQ8YJ8LOjwfb4eBUUNmjSVb2gBINQTVFdPxlpwivf1QVQ8goQbM/WYZcIBvblH3Cr+bJ8eAUVd/nPFyXS+LZSbMmMzHfDcJ21w//1B8pEPeah35gnMqOjmpP4O1Qpqjnt7orbFYVkiMtbcRz9O2YKKJw3FXhQLldzq9e4J8elGzW22AAf4mSzDrDVzAzGRjb9sAs+3HcCsZubRpSCr5Hr+AXS4GPi93MCVE0D8zmXtZrdVYkXhAHN38DkOnXdjSGTo2LSjKkylD7eqkUwljfcxeJ9k956IK9Bq5opC43J/k2KP1/MFuGANpHd1hhzG7dNzt9+/T2sQV7sSlO16O0QjBj86E41BjMuXYamXJ3rPoWLeH9JCdod8gyqHNdLlOfKdjpAUOmR+VrReGJ9a7AXCM3Hs2BuJhpA6mxxts0TmJMi07lhV1FV2pnNPgjIDzmhhpqhQnCaJ1odwB0KDrB5Tb+uKDHNpqE0f0LLn1dFaKSpXU4bpZWPh97Z0R3LtBYOPQhm3pWuwuVrZsCOv72cBycpNaUlICQT/GS7j2piozD3fZ+bjC5r/7fgxxpQGrGgpAwJi95acpoMITf2GzXp68XIJ8odHHiJ5Rrkphdpo4ET2p3GlPJLLEx/liY0B1PH7cg1RS2BRA5FHI5nMytJR1RppqZOTRxWz/nQ/GR7SZQqnMIs2gdhxts/0tq8Y88NNWFYs2TODsWYe2uviSWBXAa6bJW+3D+VAKskeiCQLttJ20AfEKdpSwy/xMwi587OGq/R0z3wfZXOoXANJmzK+H6MGopLh96bgQOO+UePSp5iODTskfZzqbGIojZlA0353Isv5Lm4ITw1Uzz/O/4KS/Ic/Sp/kuBJvpYKQCpuSU5aJ8ehULAX4YB1HzqJ6LrKsT7/55RLZuHDr/rKRbQ+p1Lnj+eGBVDVo/ebAha8IgNSuvx5zUcgAINOJEp2HL+DQGjJXNI7yj2EqyHTdD+APsO2eMGA8rGfn/RA9P7myCjDuRlykGzz6UEIsogT5epCy/bFuFZwkxLKSoA+d7EKw2sbD2k1MCiT+VL3/Siv/S/w+0KZ3K4wMBJlbBrytpPQBGnw5JYcbp0rHMYVNeysCiv1XmEnsi7ut2Gnp1x2X8Cc8163OS0G7EeKXDTFz6PVOE5lIhcTXfGqFyrJ4Lpi7rBEN6lxcospFgajE2BKTJcJAlEFWTEGL+uKOVUCtXT5Nt5DIoYXVMGQcgGYuq3U18CYlFAjKJ05ZzVpFtt9XNF2oj3OaRoEMMzYkcr8WJ5TppiYcXFgsytoCEKJnsD0QAw+byXsdQml2zMrmB95IL5u7QSXBlKWCDnNO+hqs22y9xXzo69Kl92WkFZNgxJlA7iNNOP0hnc8VAn69H30zBy9CpRhss8bfyrgpNwWGFUBSShccUokUcafm4z1VetPt/Lq3c3vJEX9zJfI4FN9Gp/SEIyIYb/OcICdZ2z/UM0v1cJVz/5e6DaeYgSDZR+llr6smowHptxbdnh4f4UAcNEnyyq2COB51sR0QSrbNQn/Ko00X5zG/Fi8hyW4bWLGfpBEy6oEqLmjANhp57cw0TbdFMan+QsMmPcHyGK44N9DWWG3aK5QzUUFe7Au+UjGGRTbyeASTVtjSRfyqOvwhQqOHX5Zoy/ZnKdEXyMl5SotwQxcuRw2KVFytQYKjnwfzcnEV1YvdPQnCZBWPEfO20zKujM99ZVZY2f1BjM8SsWE/iM3KVye/PaaCnNEqNhvhf4zu4SOth/9F2We+CFCydMm+fagh/zia4CRtBfGBNZST3/FCiYo6uEcHZNYKwrP4Y4RF/LJQ1fX45fb4vw6zIB9jyne2cizCNawQQOMsPOUW+/9pBoV34nOM3C1l5D3fGEuC0Cr2Kj/2VPrYz26AGn/POW2r0aj5a44wGXt9rBcaFS/eGchI3At8TXvAP222PtINbMhTW+EQ2stuFUYj4fdPErlbAP6TfaoIeVLvhPhL9YS7yDk6+9fuK9apgdfNCgvrCJS27DhzJ1AqwN6u82+rxPUP9lmuTNnb4f/E+qJ2grEKOtMFyiEwpwlVTA+v5oCIJRwnWkyMRK9UqurViVxz2pP5NQE5qkz7gHRivQILsgDveOelu1pWHw8CW+1LKq5d+0oGsFnLQhhW05VemgJcGFey2DxAtAFE06qiKgzfqArWK+o6aW5qr2TrgGiXqLjkZaAUmypqx0ZQvu9Yr63M04aR5Xjj87qsaMXru/YxWMmfkky6aLva8f5yNM9kifXsYcUTXJqydK6RwC8bZxX6WDcSgg6K/lgE/zJh7jWlPk1sldE8xGbSgVWfPPanUBsVp9PEl+7E1k0uGNU4qpg+dO1Qe4sTY/nF37+m9UzHZ5OthfKV+JjRWOsGE1l/xPAZapRRzykfBLgBLLnA6G+++a10AuVp07rG8+KragpDXLYZN1UumW0CEHn8yHqJPIC6BuAs3cE71+qEm0/QcTWPhp9MlivlZMMsfedYvJeV7HJ8mIFtCLI2Wyokc8K97W6ZcbnUfpl0ohe7U2G/kz0d8k1BaPaYnC73P6qbV+zHiiOzhjaW2034tU2qkfZxwBmCAg1KoXRFkRp4S+xyjsRUylEw1LV2EhZuz6Vo1tz6BLME4/qV+pe7wcOq2tV9DbGjZpZM4BzoxW0CWprgORiYknJJ0N34B3Ss2VAztOISZQHLoRCl53FB0A2mGjL6mNyKWDKtuMp4QfWvar+iInRlL55pL0vayho9zci+AyRjo8NFfS2rZvIDJhlFRlyWr7j0az3r+MZLLb5F5FE8XWWlZZVEE/EXW2qFU3YY0KlLnizoOsrSSmocRBOR7CaVrjqFlFQEv64+PNHSbCmtj8Vb6IUvCTUFrY0TfQvTlovTkrqHR8JGwTBkiXZSjFYsBQAi+sdVGSq25Yskb6maCCxw5ZUkR/6f5I9tkLLkxgeSlYUj7pVz5vSVy6aWV8pF+jlV55OQuuqlBKfjDSOCgjjZoORH/8TkOZir6ryT+acPtuMwGMG4a5jpwaR56Yk2J8PffAaqmggLWjVonO7fdO02Vg8/UAFAGhl2u6mjc3uZb7uVN36vR1qojLL/JcwOHvClbQhDR/4JPToMWyfz/0XZ6hlo6ogIL4CHfwtbwhNHFLeMSLk62ohhZC0n7U/qlwv07YO4HPRL4ZA8CSvr/eumhuWqv4ych9HTOagx9RTuZaGHUwNp8BdQ21ctV8xiHYy/HvUh4nwRewlZprGav2/K0CRNiSVTQBrAsrbDR4vmNseGCgSuYr1w+f6DE7lA1KFgWCDDXFR9WM8RfneCcJH7SXUyu5YoMgdT/qbfLFzs8mutJ3HXWZ9cOiQBiPr//qBV9FftRgY1wGvXO4PuhnpWn+qCooymc0H+AnI/6QaySQQ840jeyejbYtmm9q72dMRuUjLVCq4RmUr/1AulpXCmS7IlqPqqsFp4mPzRPz8kDMxrPUU3JoiMATPEU9QUtGlsajUjPnOJmVB7H8UZwSVvB8+zjYmeQ8vny8cFKUXCDB+18uw6OsbieRrk56vsVvQaYU9ouJvT1FGaSiT9TkQtnBWMv3U9UMTthKL82Ihf5lOeKeheAuFOf/7414UgmNKnMGSkqt0GMwquPDhIstag/0UzHTe63gVM8xtIHiMTuxbM02NTpuHF51ogbHVGnAFN6+vjxDuShOm5yyKSqQ3Wq6TMaP6gHRlP6UaqCyYMyD2w5shkkZVZ94/8pUDqAsuXk4UigDhCabL4jp1K3FGsBk93IOAQhejyN2mz8mthV3tHbJR3XjT1JGjYSfAcoTsfVOuqETkzQ+f+cHZSH5BkmFJzXG6ULRuThc3s79ytFL7+wU+Sk85rbX/C17OyLs1nLICYX3wJHTRD6Dk0eCDpu4+wqfhh092hCiE78/GBhkZ+64Egs3N9aR0mimNKPVkVLHHzxafJnVv7YNXbPfs51tTqY+i9Nn8b++8PUsfEAA+6bAJfePX5k9kvi00ORFPoZfSFhRFDCI/UqHoleafUShWfxD33nNYx91DUIq+RQmJhp6ungdm4loaog+Ccms2fznHxwu/oVjDny6DHRCLoMFYBLna2Sg6ipMNu3/3fx87mClGoj+qdIuaFTpXqgdjP/s/q7xiDSoTK/JfdFPD2NSbeNnGqKbpF86f+bGjKA0XRHcF3FuN3+9j8BKsuVFzv5YweStJNBq8ZkAPzUukQOcgREHG2ZatS+oGrGviiFuitt7axl1rTMvdsABqF735F6hE/JSfOQ4DXM6Sg4BsBm3feguKVxT1W7PeOjQ1SVEqSjRdHFRjejjTOvUBmoBps9bqr9CA0OtD7bUehlbW2TjkE2azLji5J4O4ZvNO2rCnsrh+F6ClY3lrq2FJmu+S7J0GIZACnBObK+0gwIgeU0+WgVA8gVvjOYsm6vTc1lfgZITnYz+7pjMsvIMl+mBWEUBTY03qgAuE3PjKL51RUdVlDIaJXyY2N4kGABtMaMN8ujusDpHAuDXcWpa5beIl2lEFH/Oz9X0/982NHRmVd8kQhOSaptwHD29jltFCU1YJ0XJ1JHrtpXWoBYay78kP8+Lhc1iFFKLhw/BXXZetO1pDF5HkWKCJbprm3Wntbbf75InAR8gxe6439/nYFelXQ6+ubWxVR+wc1TtDnfabLh3QBr/m8Ya8tDDaa0Pa4SbUWlyIr5BZbAYz1eIyJbb8m88pu021Vlc941zvqreYy7jC0aeZZmkyIw0rs6I99vKvU1zkZa8x4Q/kduZmGlcGHVZ0jUjnlL/VYGY2VfCQ2SuX4eLAL91TkSLC7FbXwpyZ/hEZOTR5vLBFRQdJqjQEuoeIo5vXMqwDzpXBALFwRYPUZKNNCCcSZEWin89VuTC5wdeMOOB46wb1+C6K1v9+5TwjWgtLtSktjxJHfMAPaH5GmbluQSjeSGwRScclAGnV/HHx2+PVYaTNY8Gm96WGjlimuL3yd52D/d1RcyiA5b+03mDW1Hbvy1AxmciSmKBDH5RcmZCQaK3oKlkSqMG0T1h8W86yMFHAC2DbF3JNHq6MNa/h3PcbmWr27QJCTFkBf6sg0D25qutQg1O/RKMPVDN7QyNH/ow507f2B0gBuBy6nX+azw2en1+AZUiodI6XU+BvQkCeULC8rmHE1BZw/p7w9+/IAFO9tYV0Y7/RRYsAKQBhO3XRPeNsvIIQpv3tQEO52e17FNbLcvHQLxer7m1mAnIrGc4DrhXUK0/LOdY1KVtQtx4t/snasYbZUyx+i245adrsb9PIPaWFZ3hMuejDqeVlG4v/IJFSCQreO/+jTYExT8mA9LdS5XX4qZez3atPRJUNM1ncYxCMGjTFfbLEsO5921E8VB9QoYIUu+e/BMZDjlW6NFd9H3+0flOnXn9iXJJ2tGkZE8LI7sXa+45YusfiROLV6r1pkJ5d5jsDqqnDSgUehhnBDvv1jHu9l4E6uVOUIYqnundOfNdheTeom1vipzzKayD/DssSgTCfu0xrj83IMd5M7tQz30zGcehj8cM0Aw/AB3BbNgQRn1qhC8V+XpfkebsMh8JIlM2hFrbY0dgzXtgiJLlbNekHA8dE+319B4wjX9+Qo8/0476Jf89igOGvzsgrnXhpvXjSDRPe8UJuzCR4YmuzZYzlBOJjeXcNZORFZSKUP3M9e4zCfguzMsWXgbPfK2XVDdsDpBbRBvD9W1tJ9CoZ32MU8t3aNTkcrAjPI7GkFbprGYG5eIZA5L2ri3hlU/Ri+ciAwSUndZZ0/NRFWvnFqj//JMUOZrIpD9zQEhjZ6qHQIiMh59pLATPRsG2Pp6vKTcZsLLHgqZoGbJW3VDfGmETcQ31UGBmV+9i7BjGxQC0GWUZVGDU4757IRGh0c1oPsplAgbIE1mCpdiEUpMcEsmlvuYkkxCIy6GGNANkkUYLiSYikUy60+6Fp0znOhdcI6qK8+0LT9kd4l4ZY59AZ55d/RP1ln8cbrEFXS7ReNnaDbQznZStIHEDuhdTMcN+klTVgIL1iR2gihXJUHdAtTEc+s4M6aXQe0ivpDPYDFIHZrQ0gT/F39/gTXALRig4uHCT7lsyN/Lv1hhxIOmL7CeSd7IC4FzEv55EUbhTL92NdaLizA3UXtSd6NNo1uLIW+Kk3b1T7OBO+9YlXG9sF5vZOmdjPmGj1a1Iy5qfFS35xmsHKZVt+7bUa+GiwopBYVoJGcqoeTBxKUgSbbwmLopna+4uup/2GTrNZBL7mVL/qYNwcWwy1+4f41WrXRr/BXFWWoZUuvmhYyPDQh0f9bPu38NLR/2+vXvyVhRBRur6ZHD1Wo2OU06/VsXQJaWv3rDhwSct2iVYLr07mJhS2naONtkFqz27TThdQ5dlLQ9UFbVYsWWhTL44jT7/gTofVC4lNNtVMbBHNmX5+GAeTDYSONGyM+QIxCVtMwjyWTKcjmrY4dC50bRTtEAeDTAZgouR49+PVQtEYquP4e2DF9szWWZkMU+DOO1saDMsfEq+MdQhZ54NridLYIk0Y9w8R4yLzmjzozkJ7HSdGDmV4rLmiliyMWq89d7v48oZqudVNlITSBVku8XbpmCvTByetQPFLCswNNE1OFjWCq2d9nRXMUBgOgcY9dxnH9H2v1GBFLCOyhjbnlqUD0n9f3oAfzK+KAzoZ7XJ2DrQJqeX1J1rTwqGLw1OHE8XO8CN8Mx+VuKBHXSNLUE5Zku8ye2CPkHfOc8RXSguITvdu7HAEwmsgK4KKgv2UfC+EVRDitVAndmamXvOICzTgequu2ePpvftuJdDkQlw2FwahcKiaR//UDMeRJBZ2Y2py4aOQ5z8rH3eJJKW9cDQkWpxVt04lYlETNSNzOp6ii8Dr2KuxLD5PY6NGGkVxKntWKx9Ftn3DoaewLBYySHSeW28XCTEost8ETn9rIc0caDx3tDpcQVLJE2lSP+Me+oCrQ+KresOsSTg41PkHHy/Z56ysuA7LJoiLM6v23X351fXDr3jpo3Wf4yBlyNQ5SRe/BubdDh/n2BB64b94bBnylnin6IynWDBrayTaASoaLQH2EG4kbpCMYtmHFAmqKGTmeQVhC55EULmTYtxXvh+e4fEBWnW+W0TF2xIBpx3mUk6MkOu8zzZgh2Z29Tp1QtHRoeGVdTZHXk/AUBSOT3E16pNRPVK0DQUUdaEZtwu8dB/KSb43nsn00vvSskvxe3+X16tS3ZE8hEBWxicqn3uSjiO0NRFaTRK+yf4e/MuL2hrH5FKz7010NoWJJ/WpnTgRDDMoVlBecxKrk4fkjihgKNHpOECUImAtHL8hLjuoFHKqxscXUCN+vXmjNilZb0I224mmCVwNfHM4VQ7EVzjf+RHS4HNqCr8kHZ9Y/YR/SEYltS3SQEhdX06Clwv4CJotBWMeun+klNZX7PPGWBWJhMrncoXhs/uI5eMcXgRSo2RuZ+AlaOePf7tqE5D/oTjxNzVG0QvtPA6Q6ycEecyjV1K8P3kascYwL0kmfdGPZqdJpM+5ED1yfmfS8tRHiXcoH0yL6hdRwfJXgt8zAJvBW9m34Oh3C+qK4QM+R+l3SYqkaZ/3tusPYeP4C4gplYKVUGKiABSMtZS04jI0cj5/G5brPOZz5zv7YVwoMAiJHdtAJnRhTjliShpCZ/iiV1U+52fUON/ju764oZZ+5XKTHBaaS3/ryI6eX5JoGMXz1Ahsq84+7U++QxyWs/X5YUDYV+J8PrNcxYD+hPEqnaw019a0a0g681EVnhivXEfA2/U1X5eiXJ2LJTFHTxPba0fLUVdiDI44x3HyZ0BXkrFGwJczzo/Fze8DK25Zdt/L6YpBbTJ6+M4iOLMiz0UMKMGDeNnYt3E9e01Ps4Vx9zC4OIWPFdkXuspvQFnDDTUbi56oFxnKkhigx7nTVgBS9CiRlT/6V9OGBTCZoOI/QfNIesOHDD2G5otzRCxK0YFrZ470WS2fPyL2fsbJgUF7w7SA17nA0NNafO9yrkM2tBWQ2ZxmL9yorCZndcc0Z9maqfYjAjXEAJgccgP0ZI9Fbj84g7wcshOEDngUoNLkgH0rGS2jf7oJP9Mnb0HYGFtOvIh1MzBd9pKD1Tznpf5Y8CoE56CG/8Nc0DnrQUW+xVrJjX/rLfStCzSZ18K8EnprkIwLxU5DkRIbqcyPFJaYlvsaWf3/7N+PCoAIFcUMPGAc4g0csQKqDjSKsAPeMk0vEpDUqWRBrwSvR7oba6t2ilPk8JuSnpFofc6ZelzKo3CXTAw504K0/PH3xRijwKwx2QxN2Id/OE7fRTZ+QpwtJcu1qcm+52rRhSKKn0BokCqrlaFzeaxaGFdlLnUtB2/oBa+FpXv2ttCJBLY0/0QvnEo3u2tQfhvOStiV0jVxaDh+OzhKj/jd9omasedVv701z1TLvFSHOahwLX6Z118w0W9k4/BFmus8N7dxkMkUkbdAPePpNDY3LQ/TeNNbJKpKmKpZZxAVFdrCR/FsBgtYMsVFEtijpN45jsj0/Pzh5y7IgEk2JnNbdgBac8bbtcQSwBJ3RFZtwH/Xo9uk3UykDuc4mBnVCR/SPWw0LYLMoWS6z55JpAbdAqCkG+GVMVZRjoYikVQ4QbTnganc1t9cutI4jg4Liny8tDHq0POf+rj/R+RmiZWlCpqDZAaNuWQoPEWP7nauG+202/6qurpcHZbBaVoQvRuDR2ktvXC0458A3CCiErB4IwzR61OCuGxZSC1cne7PDc0r14+E5KBBdmnMBm2inVJalmlaUX/EK+wR1d3u4648rxSUyCyF+BykXYgGNp6Kmpfyj5m9aKBmAiDGQtlKiX27peliAMrUKic8dbg/0crssH3UfpadN4Cqhyj6VCqEAB5WMuPNTrfcbWG2wzQojQOfqRVSJZU6OBdtkFISAgOAs1f0bpbescdBxXQu2uaFezgrJXX+AHoenS/jeSQhmcLHAndG/dHj5+u1FNj4OCSAhc8PxOnA6X9G/8ks1lMu7kDwXuy1Bm0GjjciQIScfk/b717KR+EUwWKIRy5voZCfJs74o72pw2XuBsn5wqpl1MwQNbEplaRrZ1uSKgIdRZsp5LD+vsJagREvHUTvf3uGzh0yBoRgYG8i3XlDGKN6BgUvjRF4LGSy034XjZd7onxNxh8wBUTczRphi2HAY7dnWONH9TB9zqlrpvhJQ4LSFU7vVLKd+3x3RPEOXUunHHNaHvv5mPPH0WO+FA11anRZlrzp/b2Hbin6ImoZwajhyu1QdWgK1FoIiYBTKnYSlsEy/Xf5zom1CFX2lUxeX9KoUZ8PK0/Q8xN5Ks66hDpGkGIwAUEYuud605kYC1xfsr84LGRc0lyRW98DgxSpUFJkU3CiWLy83cmxq7n8kAE/r/qcI+F7eEAWRUJ8ug9lhcjqbmFNCeVW2PMA6vLz4rSVBNLIXyEGbaqtJwKyQv5fzUWP9T/KVuRVd1fdG9gt21ACKsa3ZchImIsHJDW/PiPQ6FtSyoVf+24JmKNOvfjqvajz+SJb2+r/2Yy/+ZzkJ18CJE6fhqCzc4pKz/4e/zV57LukxUz2RJsJAKxnCiZw7DFT9kyPwRPLKH0UWIoa8tqI/pCOjq7N/pbMZtrpppF2pIrKwZqeAVF4cMsifAw52Wf9car4eWMzk2fcqaINR0mBGaZh1uonC07haMuISDkPuUvBBHbNgnJY59qpKNXcbr9NtzrNzrsKd03xvROI0Pz9FckbZAHpgtO68RlQzoGenx9OG367AQeiR6wE50+14wuCpgduM4+OfM3WuWCgKdsnf279kH5v04cvaEOwl/tS6PrxxazxHl2XfSFiMYihCt5Kwv7knk5oNW7DtmHf4CEwi1FMkrIalgqBOsgrBmT9B3WcdmwMb/GVogrMBeSELK44zS8PaZr8XkP+yXjbAWXQaK5jIELWqEbT8EIurjTQ9jt058cR8+tHMQgsCSfQ0mfbIMwgTEPVY4cnqr8SEDNsUN7LWu3IsoepaIoVwj5S7lYp8CnN4y0ZhBVQRpqH9Z9xPpzQSEhg4zBgoiPVvA7cgy6pPysi1RCemt3UNDRlPzpQT2bG50KOvhxgZRGcFcWIdOcWjdraXH22mYwl1ndQax5orgQ//iFq/r0FOhtTGQNPHw1+fcuKUwbIiGyqjoL7tm/aocgYIL3F8bAEcFuCv8hLGNWNtoaCJG52areGOkiKFu0ZQ1R97ozThP9h4N7WixHaFf/LIwX0mhRS6o4P3WpGl2WAzwErBi61pzRg06GZu0x7xw3Nnm/gVg7tYkZMkHIW01ALZxFze202unCsiCit6niAIrtx0e57AH+D9TlJvOsBMywHHl2mc2IsiZP6nHO34mQJjD7XtW6lQQ0PTXDS1op4MjMCbGagZ1mxyywkQt4j5jFqaEdtj7pUFjXX+JVPnzcirHS1exueiaasFsjVWxzx81xyncEalX3AHGx9a7VxSvzEMIBzlmQFhkCOv9Lo+TtmNHa7GfW8XT6QpFUNxx66bLIMuc8nDmMXAJz+cDKlAq5/cRjUOPG5a4ScTuYuvTT8Qnk6uZBlKmleaAef2/eny4r7VdIa6cjAwzRw6DbiV/wyOlESk0Wzv92zvxWHIu3DIsMpflajS3EhR3xAM7uFGHqHAKMTo/oSucPlhMmwPy1xBXmGdb8YLkPexDb9UPeX00G8QRxSx5ZRzyIuqULk8mo9wG5EzbYKmMwF9QAe7N4rRLBPcr4fA+W/JS3Dr4rQrhlQ7kv6VaYbjhI3/n1j7mEN6uId94TJVYzc4riUGsk850OBKt3NdLfqhKHnPCmfMNS6YcLGia187xF1du03U/F1imcu0QBJeBCAcgbB0LC9M0QDfvOhRJxLWjkkgks9Ujv4mwMOAOkAGnxE4FTYiIWWCROBcYhPz752dbAyLBlmyebuDJgcr60N60xqukrgLZhYVnkMupUCIjmEkihYUsyRfpnfP/tY8CJY/UuWKvd+KGW7NWbSLnRztF9xg8i2pncfL/cHTcSl7EqRdFlouQdOwHUDvVD0lLU2c4apN+5bsyUc8jsFyFeKVZMWc4uCEi3XxTv6bOfmFwf/MgVZItVAjE3SIxOv+gyYHa08Tu9/3bb3kZpd4abwP7uor5CptbSUVGYvRuEV/MhqUdAOimBhCzfRBVOkCgBTLi+SlepQVB4fb3ZdQ8jXBXyTLb/BHdbgEMFJxVN+No+oi9oDIFA+uXd+x97VsZMG+pCADKksP3BT19eO8Pfc1u02aXa8HjQ/hJiPGi+kd3KTxduseKE5o6dmbrWNEyhnkjxgk+hebLVEl/cqVFrcVmKMbzDFx5OZ1MPCy2C2lhVFMAH+RSHJhcBcDOGtxGvI0TmbBQ+kt6M396p921QI8TvG3KQEpXmL+vHtWYFxTBJ1wJN1dvcZon9Gzc7bIYF5+YuecGIYlXw5DN0l/UXlngbWJh3UVEVkaS23bGExpKuE1GYfdE75+L2QyvKV2NNAk53TqPSa7RqwQGOCPv8uozPy6ixXGQILU9/XD9BnyP9cM0mXAiGxApppJDMN5/jU4yAzICoizoxZzjvyZg4y8ari4hv8ZnkL0mrxv18Bz/oPfFc78kxZji8Acu1FJ9UT0JY4hrpQ6PfeONd6WJ4sMvtPGSGenZMdytMe+rYMZeIpiNDQfSTfdWCGwMSJc1U19mr7xmGIlLykCwzYGx3eALJkDkHmGf7IhVi2NCEYuh+XdA9h79aYVMnMRMHf2ENLaehAY/PWC3G9QQhm7tOeCFhOseDtF/wcfbg5Ii5N3LbYj3fpUnEr+3k5O/26J3LtKejr45omkOl39cEmZZGMw8UURUawuKts9XEIGS6e43I4mINUfKJuKM/aEz1gXJLXyBdxxDpUDJaN47MwnOXPVppEVQFkLibTw17xzJ9AEYeOmDEWMrqqD4hpk5tW5DNA0VvDvpId4B/5HMRdifY2wq5xaNVKL1XY2qSXKNKjXJkoIa29grPkUqcTpRC1083YGpSY1gEMQzfPfqb8TfPMnZK3SasNbLiqd1Nm3766z0jI5SR7C36I8otqbgbmDDW+CzUkkXpWzg6xCwT9uSWErnvoTGVNE2SsnvENjlzIu0ewW5ThS9Y3kwMIh796y1jMvQDWxs1chXSeCUGsE/3VXEuK9EKcfWQ3JO4SRuPAnR+gZHPKT/8DbZdXX6KZROmztvy4HfU+Okndw8nVryPb3/JyraJ5I6nsrreYl+3sPjQSQykgtlwElgOyyU79/jSalHrlMJLU+rQUMkSaAOye1caozu+2Q6he9BCNS+8R4nnq2A/LT1hDOc07kXeTbxqQVugtarVyv4FhPxM34J13gV03l2Y8Iju3cYfTBdj96+u0F0Zev4YDTUuUBpmVyAxVY9ItDC/ERVaovDeiVdbyb/D1uiGDW6v3oK8+VJBx2DBNqf9En51/gVt/mkRD/vLRWMFeRypta5z40FMpNsXdA1wgcCjQbTam3SDx1ArbJWWpF2EtSHq8NELoyWx7G0f1IIZLxz0K7C5Il4AxKZ3DtTWVYgNpANNK3RSYCMHHwcLRaMoqwjDOJstl3XV6J2L5yEU1Zo2wqBs8l7YSApJaQDFRdiSFa6g0774o6NXUYSVww5xY9Tk1R6CvHyajAcJKhen1cV+i/pjuIF5XJXARKbRHvIVZ2VK6D5Frdsjy9wyAT+Hn8FSEMIrB5Q49bQyeV99vI3vLSDeEFhNp7/INTqwIQDO3gPbOqTm+D5h9JwzhuMN9ttENMJ0Ji0HprZIjC9X8KVcrft70oxwbIJJS/QtvFv2x9lEkNF/NPRgCUpsxJVbHpl+JD3PH9zdyY4vt7CFW2sgmwj8UW+SNg1GxBPv3hAU3nmFg3eFkIEQdRqUzELBBDd9G3VQ9M4OttLjNYEPyOQJPeyoW0wPef224Wl81bUgAQSAh/hW0IxcRjz6cxdAZ/ARmFcQzaKQ/BYYHzhrxlhTzsvEOuCJjsb9iMVen+VQwyzhQKZD1wluaBn/5ElF0aenx/7u3O7kd8g3rZumPr+CmwN7Npl9G/eNWZa9hDGCgPGeuQBTGyHcMxcivj+03ZEYmBpovOX+CD9L+SKMeQhq2/d/MTovmu/swMavVHkGzUvjIUv0T64gmGLB/oDcnzOZZlcEab6kb30dEDRyAbdLIwL9TQfv2yJJmhEoiLeob4XUkXGzSwThVrnD37H+nc+sEQDFEdY2smDS1SLH+CXrVPb7x9+JFkU6ebRp+ySQlsQML9z2EvDCrIa3A+tIebTxwV4gL6GpgHFD/1potFXt1APUAVxcGmWyPReaSI4JfvGxTCqKw8w8BZW2gPbc+pQctZqmF19u6ggSw+flVNv7jK8Em3jTotTkWpSDNsTxRncmIa/wh5xYTJgYxRz7Owl2lfhARRCS8y1U8vDdNMzlND/9cl4opkD5OZA82klEXwmwHgpNZTNaScJR2PhAtOCQITghwNt4/eRkiTDLXMAi77p0s5M/YOk/s6C8WZqPxGwg9DaeIkpbyGR9PftVqJ4pmFutM2xXHIkrIUto2sRedCcYuqzhBxKjQSixO5znw9mP/xOdqqMbcM8YlzdHliZx13BZWzDri4MgrULQehroNrVEc0iIqItpq7mV8jSuWKEAkwKRSXXZCpvZEWer00YuK6GnALJvu8rEd2jYoMfH8jGiyK7aFmOPp/MbNBjarlBmgkgRiaTu078bZtUkqiVncf7NFuJ4O1dOhQBhLkl1KAQAVyx0IhitZuz4qrQEpzPyYexlxv5N70eCj0AQAuwEgRlibzV9cNvcw5AHIFHwMrSEnfPVbYpIPh00xUV+DOOgNEA/Li/1K4wKOiAUGKaDc4H11XDWbB1SaCZegpmBGW6NCFwRpjlyZHyuu3fnTnPx7nzJbBGq6bFtfZHC+WiFv5fWrzY8W/h28RAiV9Wd1V4LQoLifE57MTDrBePGGQF8TctKaUSyIYfQCu3f6ZrOuCHXynbjYPnLInFmEbI37QcCnaNArtCToTTF7jCb+xF5eCRRrf0H8wMSdqbL9ZmiSCab0LTxdAf3lmJdtcNajF7qCXE2R8SCnZGhCi7G8WZIK9vtNU26Uw8APW0+7Zod6ekhxpz2kcSeZlIxZu2OO4C2r03Vbe9mCmuW4948FzdLyRcodGaIgY5RIjX9Y4NXG6kGWgonR1K99PoQFTdai/32OEMBPXze0z4SW8Z+xOS3zC+lJPGdaWQbIBCog2FZpaaxuYgYMhYWjhLbh7nk7WqttxOwkJcI95p4xe7lZxFeeIWgvSGvdp9IG17XFN0gLWg1n+uR1JIUQKy16AXxNubxFzfWhoeMSoE0AAcg58wUTEgo6dOq3KJ6oIHpAaNaP706Ke16w7e8f22/LQ0TyCruH4NAVM5O8Yb2fJP1glTxLHQAanfTBTne+h7WLEe67poA3G9F3jX72c15q93dD/lzE2Wnk2N3GgMDeQ7ftVFIrNM8D8bgsO470bBJh6xoNcx1wgwriepnTtd+b4xKIWDn57Jp53z2WzcFikazJMQXUlkLj1xV4SKw00U3qZr30j9YE8hlCzKIQG0FHb1ruPXPdGZoc2mU1T62yCm4W92RR3nXhplkcQpbMi9bNjFKi8fvaREBarrQZ7ZgtdHV/6GPde8WkInowo/4Avz88/om1Zo0FMI52kinDZXjFsCh+owWO7mKlJAZNwZsZ1NZs1hc1aI7gwo/wiL2EqGe9aZHmYMpbt+vP1+vfJLb3Pvn6kLdjDOc9AI+MYIkkyMUSahYVOQVwPF3LKSw5smVnQba19bYspct29IBCAh7nPt5t562JZBVR3jXX3UzAoTHiBslLTirFjZweICMsBCdP028SJolhjiO8KsEbKhS56vOEMUFKMZ4MEa5rK+PURBv7rBa94qUlx13Xt8bHfKVlq2F36KYUb+kA3elXYEPxaVabwowbXNh1DtGY4TeCcFKCOvTIqsgLIpjswje9Rl7Vbm8SqvkjfWJhBHygto7jlDMM8nmC5L0wVx0P4Txlw2eIqyKJFBM21a+7AQ/x8csf8+escpKJNkvI9+hOrbKkG+TkHYPT5W34eCNm15igG0mCIPhN/FDD4zeNkwvHv4Ccgdpw2QTbEJpZxt8llZSxmEnCn6IBP+U89RJATKCxcjERZrE43RRIQFMUM7ORtOCw89Qd3lnfNe4YJV8O2wjb3vORTgp5KXEtxphg4itvX6u4icLChe4UP2FtmL/ppNzkxCtVNEgqZsKSGRUYtKjipVbzm9egr27+lX+uOBUf0Addl/rSSJ8GNg14eUTNT4Kc4JXEJ4lf96z874dOmO4ZtPlEL+GdpcUyP3lE0oXrja2q9ppuUmv4OaNmJkulhV8Zdvp3yFBvqZjsVWhrc3Wm8CWOey4pkFH2M2yaEvNuuWfxKUVtIzDh7jlrsI7/TnSmh63U71cFOlSmRWy7/eiOxjtGZkn2RqHFNwDTyJrEK3jHA8zHV9A9hIoKPAYNxCa0+3hqMZffzcH24a1s1z2lrorYP1ZV9cRC2DXJlmUfATjy/KV4VFZq3vB5Ko6nSOuTLB1Fth/+7rFhmv6fLBUNhuQCFoH/axjaW8rAYtehxUXi9qoLKioP4u2pb4rvZxgHlZPzkIDGhvxGAEq3Xo76IX+Jzc6eYRPK7UB6795wPeyyn0HyAvJc7eHkrQY4zAJwRG6VoPThYNr2WENkNtVkO3Rof6TwyKDqMoTYaRhCjRqFp3mq6tVLpYBb5GbKjlJgAZ2NbHIZ3FJD1Ulsgf+FAF7zycUTuYWdfQw/ACJ1iRz+HkCJddx+Kzcj8n4uX74PXrcNJpOCKMv45j8ygnjdVdEISI99N1VL+b29asuYtWlexhOfVlbhFmqGUn2PM0pvF5pCw4ByWRXckjHtMF/7/gEkvvhF8l+Z93LUBGzfM6PdofLwc7lCzp4/iDfOe+GZ5XbEbzi1xUdPiEQUa/1771q8QLC0gMt0H3ItOEywpAf7s0MOI+pMXBy8c/M9N2AwmFq76g87mSLA3FK9DKYe1OL4DidYAcxvKUa8m3tBADwgG32AXbAvM3P7eFFFY65Vo/sLY2j6OI1+ELQpskskWoSkMF+XLEq7SlIBU5vKecVX/7Wh332uIX5dL7Rl+JjqP5qAvEU0UXxzmzRrGpGkDqRaSIyLqb8nOR0ia63TRVzEqWCQJvCK3vVaKPP/42BWKPNjJS3LPnSICc61gZoGU6GXVTm2Rx2bC0Afz1k9TGeii0cXfbAu9ShY2jACUC5GnW1qy9a3nu1jS8pF16aKR6Bqpngl4RsXjVADiPB+ZWj1jZXt4SRymVR/IWwMbLDQEpFGgUpwYzSyxh+KdcEsy+S0m/rLcK+ndOtt+QJbOvx+RGyPgXJ/V98vSzXCp3slSfRZRZcSg+V6/gVFTvYc5lIOHRLBOQwzOGYkVpRiKnfvFDBcISJUpN0L86vqzYEr+x/2Ykd4Ww4rv71VvxCFYtR4MCTbAQMDzKcOJlHhBJ3bbYtAzrldn0lGBwF2wWnwK86Gb/zvRQ4l08qlYlug2vBTonAtbB9aNVsdTvIGhyEmYx6kUC81/CjxGxfAAcvlYPWX1gmvcIztDIOYFyBXFZghwjWkqyE/uvfjobgx9dIWBU8Sd3BHPIqdNQ7QQI+P6ro2JmGeBy/kzHqVqeD036p2iWmvz0jQ0O12r5NHic3sJ1Jo7CVv9H26Qj4NvSbBtYTr0l/2eqmwR6EqobK7elk93hh559LGFsyh3/21w8m5AULOinteQ8COukCWZl9xmKLuCIwWmldx+id0pkNHQrFzDHNyx9oOxH3pDOBAhbMZzO1oxVl2wBJPaBzvLLtnjnrShd71vWWYY4XnTER1qpjhQ/AKRlEYNduRaqxUv7VS37JSvkAuj8pJzUvsYK+SQzwHA01WnBk1Kt+KKoDrTUHy6+a5JXAFYZeXTUbnPq5cPs0q7yJzyPM8S7twP6H5zlLGPu9SLazd+XP7TG/h7HCOLEkZZQaXilRcJYIygbpBdFUXy9Ggp2Z81N3haNWJa0xkoiKK5yr0SOu3ZG6C0WlgQ+3dI8KIwhEkOP8WNXMtI4TKR8CQc5c9zgQ6yDJjKNJIzGH2vgbICMXOUT/LPWtK36Anz2KpwSXtqGBcrc7MW/Z/fenjWpgFAqU8K//FLb9yRfr1nP/6V3B4x9pZE/LaPF/2vwqXqUP1H2S+Boy+jlpGvYnEj9NNlF5WoRcHhVV3Dwtbe6cYrpS5CztxfIBsqvJyNQZevr+QbKamcaVvc9lpQJs92eox2YwNW9vt8fLqjrI/fiUIFuNx47h9uj/Yl008na0cfUAJdKs70KxONmufKS5XJRmqDkKx8OZWba+8/0bYSQiRzyF8CLzfbJACBu8Uas1tQrzcZU8O0SrQPHmoLn8dklyY5j/RocUWFhRh73NtVHTkjZhBYGEzdsnYpzPhV3D4IroZLvEdjApBjFKUUWIJWr8I8nqnHnMitzoPe3Ntmg05oyhgsGoM2yd4XNpirT7d8vY0y/ZKOsJEftxgD/z9JSlNydZDD8NVlPU4nu/b51w3HWK5Ko9jz6smrqkz4Spm5VkOB4EI2wSto2yNDO0lCc1/1NSE/dBiu2BQ2gMU6cd13jeqDwNFMutqGmE50Gga03G2hG62Us/ZFOwuYAyTP/FwZwCRIctpgEyzGPwpS36ri6SNDSMcRYfyznwN6Y1fA9DYNzgOWJJsjI77e+1ajlh5gnltfx5LC2mqegiB8IshZBSBv1SEd5+sF9nhm5WXtxrShRXJd7vuIxHQleoPY7HV3OgHZTfiai4O9QB6h+s+o7Pd9BCBn97nqMH983sTAZxCOLpLbQxTxS6MrlMpl5q/WfEswekEvrN1YrMYEnZhDjnXIukwvp5/MQHUj5ykE7rpTPj/ck8q0oW3A8PEPP+2JuoF4CMqElXwnjyUhfsAlXYHeEBv8+rGtW71iGB+53LBZnYEnx78jXKXOgpmTjp0OlQn+gh4aAVqjlkTXdHwNvMAXbfQFVOuWPfoH3gO3NRvX2y/8WAdrRTeWZcmnyaDMMBmp+rHUypCTSpNszo8jXbsac+tFpiXR4F6O8vPkSoMDxtr74u8iEVSTWw1+0A4nxMOlCorQbjIFtUwqSAZf/HpRjGM8VCwyCAL37kc0PsCrPvL8qmvBa/N+dfPAd2RgyMzgorkG3SmM7nObAopr0BCdk0c/I+HHssN5gAbXfVLQN51Wu3waiq+M8sxfgDKO+2sEsYLs3F9ET3SEZyx/9VNCUoj2poRds854VWvvw/JkEBfbwulFApoqZwnt1tK8EJ8AL6tWNhEaUaiDiA91U/HIZwReIslaNzXtpnvRhqboiFe+4o9SAftb3shPV0S8Eu19KeEu1spNCulmclTeEOqIURr9tdgUlZ8KQY9YBC51zPd5xwRcznWlWNPmPoFxhDT+nqGM6dFG+x7S5ZqxbyrzHxQxN3TlYdN9PjES1SEn4SK5zdvK7QnQJ4kBMSrfolVItDeCjabrLeaXPwjEo9GAM8NRIA8hIcITbx6geCeEo9uOBqDVDWQ+sg1c6vJkapbRZmLn1wxfiVTgLqFjmSYGXGKOd2MRJaN9yqAgo2dQt5cXGE08ch4G5cUEVRLs13EUAo/tobd0ZuP/5CIYUmdUTNN2Ty/Mp03zJHywK4MCC1zil575YbbWma75B7GPqAYJWgBRAnWXr3PzdME/Ke7o8uc9JuvOTndE61nppl1YNW7n9R/QB2yG6hAB1c8CznqFtOOxwxm4DapVQR1jNMW1tTptxkdckfvoaafKybnPXllSwZ7FtgCW5JxOua/sLRDpf0gspXoS+IN8O4+fWRUQ4ID4MlUM+6k1FWcCvilUFDobsyD5o2IG7aMkAmXoan1mlcBY2rCUxcNzxqh3iTKCwUEtd9kvVM0Sf9XswB0MYyC2qVu3x6MefZDnXLc4h5TZMjPacalcR5jjsmoECyrLMb3cerXcFfmfOkNse8BmL2lVY4eksYttb3uCzTJSM5m6HVnnk3b9sqZw8++gg8fQrX5SVsFRpR+j3xWpgouSIFt4sG9iL6icLBsi4Fz7xb1R69oc+r/rc3KHbFso+6wAB9IXXnRD4WfJ0XhFWU+VfR7nES155Yrk+FDw6xXlwLd1OcO6rI2818VnSfUb1Dn9b9yoV+5ChAFyN20VHsHXRBWy8PdcmDWK+bUfrtW7RVYdBnCq0gHRrnElqymLraE9hGSRqtJFwRDxZUmbMpdz6l3RFmfmvwQnSkrCDXTgINLHqmetxwEuLRlKR7a83bG+W2Tw6ohxtW07M7mnoy3h7buurOSTq2NGxXCVdjLATyXd6Y/yyeusxxQyPR0lxbS8qbaF+uTgZYKYXiTTIMMPypCCzoyFS9089s9cubeZjziEjWUpxgm5vpYqu7Fk0CL7f3SIn6wc1ERbGYefhc40qtA6FsCOpYXqPIR4ueFyZ+mwWdxJPkelBzKu1DS6vmnJslLJnBJ/a8+7G5QdlXuQ4CuNEVE1ApSWE8BPiGEJ3F+e/HFRf4KBg008q7le/NrMO1tUuXs4/zFAlLTInp0JURX2ZGzYsDUMcYHwyIQvhJhfq/dt/Igy6ZNsjliyZ81oBj6Wxf1CP3dGUHKPidCv2cYYEnTuHdfC5vN7XWIiha/geH22TOm+noO6+2sNBQQVxvco4rHSTxi1oBDHakvNgDGG3hLLQMXk23Z/feJIVArDZStzjpTtY5i3uBS90Q6P3zrEYzsC9e1UDU0cJtbSZcEnWYKTqFXAcWxdGNGsqe0kIDdTNPpuHJJmZkd2at/dafSJgKEBCGC/blMjxVAkCUYHb20XPgXIHVg+gq9ruzo2eGt5t/T/RwNRu30CUrZaOK+oWL/yiXCrlOfshRClsThFQAEdBrdVDA2Lik+OomanklT++v5M1b8sshOx/VTMmEPYs7Jk3F+90dktVGHeUk136iiGJMn6NMlLK2ROVKiuBvzL7JAp8ASUU683E/pyt6LxCkcPY+gmYN3nYqf1rpmewSA5Mi5pzaE3CoxzBSUNV7CA9NrPIr+959k2CRY+vp8gTnJoIkQbsy7vYTNL4A5xMqla8gFLAFqmpm5HfJb8CzaRWMK51W0Yviuu5sBgG6Vys8ORok9efJfIA/hlXIkmO8XU6ukUmoIv4cWcPB66wDA6P5DUKUny49QnZh+oRbE0HWYOp8iWs9BapHOnO0LakDgJjwW+W3rp+LwOIWiQUuBzsboArK6wZTH3jxn0SYmwsN6lcrHGoT7HhTLg3oHN2GbLiubhCKZv94mwEJ+0AQSU4xnbb2ZxZ1BusOuhFNgB++39BDF/OmJPalxd0ZYuUGiJBbtJe1QfwKfYrzdxNu/kefOOuTH7ZZ8Dywr9/YcY2CdgvRiGItyGsD2roBMtVBnduCcVWtagLNlhn/6qttOIVmseBqFTz38KwcpSG1QcF3GvsuJuAc4Rd52KK8FVyjB34NDmvbnbJvDa2po5KgMXX6vPKKUkCdtoffQ4o9KC/nZBwMnsw6vR0G3tKwPxFak2ZCAAjYtD3732UsZC4OmFs8qhOqGlJ0z6dPUvfL9i6KPmS3kKaT8kc52/53/kSNSdIol5wtN20iKkgpG4AluW0AAZpEjXOr0UWTN2hAOjkjPSdgagLCNWEZW20E1Go36ZK0BnOPTJ0auNb9zluJno34VRYxpKo/cIXh8F49PB4F6JKP9tEYEGXMdwCdUkie0SkY9oavwzYB58J5jUDCxfzT5I76bPcuSnFOArAldw+ko1SwWFYzdj2yNmKjpQqsV1GRHxHJobqr0NHj+m7tDL+96t/jn+qEd5hWxOqtOboCWqyIT8+9tT4qsFtkDA+FFj+2uMLgt5+sbJNX05vWSWt3fxAC3DJWpHOvFzWUxek6BXca8+JMxhITJkgLjv8tQWZDzb+T7eT9yKH4d0/bYKnkO1eDajR2Bo9MXPKSswNbf83U7av7YQuBqx3N06UT5ifcZhOEWVJedYll1bRJuw50/Mr5ICYAoFUniRZZ0nNOLjnJfpGVmbiMhlUWCfEeTRu4laOTpuajshLqrD+7l5OHo0A1aYDM54LFk1rKrmfipgTDXNShQH3N8QdBPJfpr4kTWXjSmuzhbdXrZJ9kedf8sOMDHCO91HU/jDc4dUtx7C5jOk0v4B/fPNJGpFildCb+rNjSoBAT9/xYVNLxhd2a33pbr1mTbSc8YddLws9qaCAuutrb+K4cv+vEHjwwxvz5fed8VQCr6uEJsL81nIznAOp+hLIA2RMhPLkM7lhTD4vp+GEouvwxlx0lmxsclMgcoE3jcmGIbhW619wRylatPoZ2mTBB3AIZtiNYlcwCH3sBXFkI3EEQ8rglbMFcGx4B5KTVh+1ZCEzmFeCODs49RUPb8s6SYO5RCk5a1rZ6UnoZkKItIrr+7Jketm5jrlI7f3046AhYwYaj1xlrbvMh3afmEjpjj3h8w+k41MVdLE+YD351NveXYw8fXhIFgQtlqsX3QH3Ef0Xkda3N0XhXJ24HoKbnCECCYShOv6L7FXArdx5Uv8/a1DLAwO1O9SPd02A47h6fPD5GUYvr6UJmxS62hmeJzm4SoTz3ATW4Ofy0tx/ko/YQ6/buToGr6xK206ZEB3PRrIiXNNM01Vru+tvmhktIvmOKSEc0lUpKrz821W5J0nLGWqV7Cw5pU1Urctcgc1vwNmQ/8tDiQODgrlbkDJFIbCzeI+PDaxDuU4ESrRPSzpUpQpqgUU4s7EzzDBfWhhVfSkXw9OPq8ELxldFgCwrZKAVC4uqLxJWSY5NCd8sEyZt9JiHs3NyR5CvchwsLexi9HmhRK8E1M3loBvxpZ30MHD4b16daKgVpUtLPSeB8jySXFfjhH2rHiSYSeH7muEdyWfnq17L5FQX2akIUe+LthmE9q7YpoDO8ZQd6NIYSjkNvOk8R6Oj5DlYPUx7iE5aB9pPsqXA2ZYpXUCXgC5Kq0s8brv98BaJKCxTZbrhwWhQaOyPXSEBeCWXmzu/oRDdPkyV0KSCqpbRRVRC5LgEHomP5kdDG2z3CegmsZCcdwE1V3SgWELWB0D148ZR/O1L/ELWCLZBPaTmIyFPkME9z60GK3xCNz7KqcKZRklBJo4A/cAOXPjoPn+5bYB1HwqFxCTkmS40uAlYry1J60hPpbCO/6RSD9XDndPrHAHwJQdvZ2uPWtk1zJD0cJNhkrEaTOgnnNTxcx6VUAomh9JV9I1GTJ/tN5OpiUzL72ev5yjhpHene8PhVnPMuUC0SrY7QEOZYAUkQ2/fLr6Fla4ts85QmttBYCBtlxYesa7RFe8HCAIZYy75CsRHdUcDstjMMFAfBUh1LD/D2AnskqvDz00Ety/CMDN05D287NUbyDASr4AmYUtyZ/Xk9p+mjmMra9j0vRh/OaoFWItYT1sWK9SSL5Z9+4PM3UMtZhEALhmDBvvC1qbrIQRtS2WczEC0we181qpIRyHbsPS5kz7n0zuAJfiEdBjngBNVVbx0kS8I5+dQm+Xeu+6FOTbqq86re0ZVvCMnWyzByZqTappptJ4KAunWvzq+CyOo5Z4Nc/4afDeh8UEO3ye37GkkDqv3fP1KcICZg3e8gqFQ6rJBOmuHU7PvIVVw8tzitIComC96yFpH+aP2StnGu+tKE/6yEaTaBy7UZdO6hECouhNy0SwYVQ8J68smKrBHjTILjQxu67TTiqliMvCjx3/lhStmQSkNpHLV3x6mXgVpX49Q/9uzwvET5HqTA5o42cDFTcKBdorqRIYE080aN/CpwOGLGnG8sOSKBauXA+CoPdjnsTHELWYVkq3Zcwo2Jml/3tchU6H9lqAHyX1/YCGU4CM4EnhrL2TVUElw7g9/Hnz4kjkwwLyZfEuvgNevht5itJOh4h985DsAuFJjeDF1cZ3MFXhvx4V5GOOX8CcrV/Wsf+jjWSORbAtXUMm/AqiB78ZjLZrBt4XVp+T7B4tDaeaehYeM908Wz7gJLrOGwaM9IW7+IZ5j+5JXb+HlGWr65+kKOOyK0h8lrduv03Z7uFpWgJMv/qw4RUmRvqs0jW16iE7ArVujoZ8Ed7+6U0cJdX/vjN45woaecp2RdHu3ml9oPcYidgW4ihRXOqgWe17Zv7nxZCxMoIBfKRDe1teESDQdQUri3aKMCsyWSiR+owI8gmsk8/OoFCSvNMHFSFz2UnAk1T8SJZWv00r5pecLleU2BZjgQpNUQ2aiDdp35lATNgk2t10Ir09eOjtxpcFDEuA/oyAXj9rdbl+eqi8a7QrBbNjScs/c0W9C3MYCa/7crm75oox9SfYC98PuJ1SOFDPxFDpXmGfxqpywNJOodjKchnZon9vSWdnG5Lcv7rNORIpDQA3qBD/SsBX4gwjbCuapmB6HVJsaWLq/tIr1TIX8DfEr3TguBUJRl9X1XAat5hKhndhxtQ9y8dX6T/NI89534MGz0T20Ue4n2FEGn7GMKpwXc/dSQKAWR3fQlanpCKYWqhEPO7NGIwZwWKwQUY5tZV06rBeF3fQiRt+r7o2A0z5+1yhb3j9FFMZHq7PQ38i4Oa/zMJQk6qS38AZFI2oo0gi1tT0DZb9a4oS/Va2DNImRk/N+BQzK8Kd1UO5uVq2mpO5C29Bn4GMNge9mh5kvnLI6dL/k9zY/H7Vq2uO/i1gkQWdsGTGH8D5SNsFz3lPktKN66uxl+pV212sPlX9+cd4RKKUDZ7HAgBm5bTBnc4khzcUebiSuWq1E6A1Q3eLFPET6SoU7N/Cpbg+yP2H+TI8/Q/L3PupcDXAqB2qJDkrqQAmhcoQxer5T/tKiQ1vQMl401J78aGVlIs54Lg5NnWs6oH2romzZSTDtbm9iRw06Df8B3sjbuDrQL3vLG+PKzlbQxGwKsmRn7H2cCHX4Luo3FZ97Qq/cRYN81qivK514upkjNuB5hjq/8ywF+6GSvMFBvgZx4LJYz5SaFEOjNZSdjEmvPGz3T/bkfn9PL4SX7g/a0Cf5iv0Y7CKPxtd7kkkBKcGCuHWcOnuJ+bBgAaRgC/4FqYR4knALyw4vHRJNWkioP1D+1vphAC6psf+IFqIr068PT36UQC3urL8Alx1QHBp2rrYn78uA3DodTuJCL/im10No+OUJ7HFws4cqHAY0KGlVddwae777SKTZKrFZdkDGRRlR9pB8/RG1MMT0Kw9RO+Jjy7/Nxx0VpBf/2UILhZBABptMNZSUHWa3ZUJ8dWSw9C4fLJDyEim47EaAqIGS7AfshB1MdPvlecP4A48+pBQI1ouaBeZNlA0UMqUzypePHdKj0sgerdtxO6qZB6RMVvAi0KU182lUTgcs/oeeYxxYh3AxOdGwW3cxGy51acPuOgC6MFVZxdoA8kZqTDOhdUuuI7gGQB1I9TG/o3hmk+Bj+QrUwQk6j8TO1AJRTgdorDt1cwiJUgeUdJthJgxRqLoQtBdOXQsDcs9jkPDqTXOBdlOJy2W5+v9n/viBGEvjUJitcwSBwTNDz+voprTM7wmYUlSNdXNfTzSo+UeCFIYb3jPy1ZLunWRw29c35VjZH0gnidDkd/fW2/VDHe9R/3ZzvDBuIg8h2VRfU77li+9UhSLFMW8rZPti5zgZhHMVhR2cBycXvM4KvusMghAFla+au40b+Fl9m4gvL8eGbLF8XzrsnVeypFHXbbks6sIKeYRmPZNAxKx8yVWaF9LwzBtHXlKqR5dVfhBbFNbiLvVxyf5zmLE2hq/8XJMrsiJYjTipuEiPA5de3VVFGZOAdUq1ksU5bvyKnZXYoQcLufIBeQN/Sx7FVnsa4Tp+HXGuX/cP7RWFFL+biGbaBz+ONKS+CekcZym4MperCXQoXt3GLFrYOoLNdnEa9miMVJmBQior2dCT1ABYiHxlRXni/xsgRlJbXkm0p2KLI49sEbi1Vdd9Tn0OshjpiJ3NEiURhetOUjiYnbHRIy1T7gluPgAZZHmbQInoxRMdHscWTN0hyP3m8mJ/oirbPyJ255shotZVx1sVfbHz7YKlY8gvSUcknlGbTQLoC7ryMToj3sILjRi0cVIztdulfRvObMMGJnjE498I/TOwd9NBtneBv4CqMxQvIvY9pPktenzf4T+MM4LQa4rYFYzGhen9tXqov4Cw672lpEWuk8P6PIjCI/gO++tBH2DzxBEI5Jl/lIrx/lBuTW6VF3DOdVESlo/MaEFiNjHp7rMOPCYceoGydV2+YlRsSQy+tgnQ2N/DAaqdN2CIWPXuqaOeNiLleKuMojPi8wmocR56dllqhJnsnnCn4ePm7kCwF18QvIa2jVc1E9ra/59ik0rwoPMPFuhSiZ1pOzSMfWPgqkC5+MEPLiRS4fTanKzZYwk8NpLW/B0mz3K1tgus20LzVUldoI3rzHguatv85MTtnw9sa5g0FkB2OujovMO+pvlZZTOF3iZg9vy0NBc0JFI6HBDXfPPvDpUHnupzbKHaKbytCfhyaIeOXFiJ8wQdxD71+X6NCSMSVT1egYapkgWpXMOrYLd2EyREEpneHnmGPANMeYc0r2kevm42LavzWPv34KlY56WRBFn6dYK9JQiVUiWX598a3RR4a5jBaaQ/8Rwg65ACMd50uJ2zo5NfnHOy8CMl0ZKFAjGExEvrr/ABubKgDAFXt3CnmrYK0ny2s9T9otjw681HhARtaF4SuHMmkXqGE/bul1Y17gImrRti5bCQvFgsZCqC+NBxVO++sYc6ss90PKDpTjmwJk1/KtHq0TCX7jaXo203bxiOU6Srdex7bkqVSyUlI4qgchldW2Xni7rF4vxgCVXfMvmIE9acEaVLcZ47L4WSzHHUw+OJC8sp+Lz90LBKXAnLzam48zi516vtFGHEzWtLFYQUJur8p/CNOde4zvXE1mKk298DREyUY7xPb9cUA8ECL3/VVHlJ7SDlZ0b+s1a3C90UX3BnRYdopC8vb2/RjiqLZ8jl0O0HyFuQ+PW2/bcDgVDr58wq85qJDf7+QFRP5FdKXEUlIZrTcC4BZmt2SSiPypjtSqHpXBOH8g8XRXEFprKP668JxDB2hzeQgPVA8yNwlSub1W2LScvGERyH4N8BN6ZqgKDSzoZok79FP10XSNjy+yjyk9TUt3RRnTEs7/ixbI7D0MBAMQAqWw1S/PgLfPFbfA35a2VhvtHWcOTtQkjIGmeHTKuex50aNkBpIp+t56zzk9J4QjD9Oh+wjn+j1YYgP5GO/fOzPf+iRzzr15x7I3QSkQReGxeW9abBeyCiVbTg4Lb2Fyf7ksLt6xu06avLiMCAJ5j//kLfrliyqNNPQjhRTO2ZLBSwKCeTVMnD5ui2FqWBZ8XJn9N6X1EFLhrTvcZSzLauWAJSdgUlH9CbD0Q5KvSj18c/AEUkjMg4Q111X7NvMiwfpqhsmAdep7II7iAXUnKbSkCvesfD278NrrIl4twWO8MV7RPWq+UBlda0GayLuQCrCpL6Z9DhMkAJmDg8IB1qPa6XPsZ+XDs7TsI9KI05spm8JJFvP+H3DpS2rqhTxq3NlhwIgBnEmb1SkWKj02U7UALeTfn9xpQ0eH1b85DrFtXGwjj6kPksvuj6MLTOL5Lc9hhqe15kbJrQPtw0L436NWZwsjiNgvUiVKihjuEPq4YR7kjLCVy5bMxSGIf/xksSdbnO2rXdWf7K5zvTtq0QVs9AzckfwHL+u8+ISoY4YgMFspZZnb/EYnW4U9DqHQRWTYiq4rG6smmkgdiJwRHlPSeiGrL353KwREnnZ0KteM0dlNBbCX237pgV1Rt+1xeMatCSpKfeFBsEK10x+xsacuY9SehBKCiZEoXdJZ2AbJ+n+p3O24FRVjA+a+zuWGiWnAZ9q2OzQ8abd5OZ9sStnLHKGluYN06Ym6gnJEKaogq6d/uxnqzMn0F/CuRMppkzdppuhG85h52ET3W3T+osFZFudqfaN5KAouaeB/ATn6clicEi83nwK5p9gQqLVGs8xML0vkGg1tZThmCRu7og4pgFIvSElUrrNK96HfBYbx2/g44sSrElFLcH9yNQbN2MVWqGtJYExh0WccxnD1mDaFUIGklODinkrQSrHStupLHB1cLMPpT+FZWciCi3bW0Dzdntmnx41vGgN6266bf7b7VT62eNOh/JvX8+HfDcenyNjnzF6wvFMSjouhECwkjVm2ZS7EIwwoYPakhPQ05lviBjvGPsSuIVi9J3LLO7Hr6boiJJq/ik7rms/36cIZpP6mImtOiPJ2bkUBO7fLBtTSVwe7+gAsTo57R+CFv1RPW7hjFfUASZYmUQb+FaFr3VOJGnM5JlayenuI8O0vp6J+UXneIfs2/j48PSogeOm4LgtPyT4iTbuV+nWHWNvWAwkOggpYVcbjbOOu7WnZCDDV1Gnk+P0ULuN7gV2GZnUQT8ENlA9zVpKyqi8n5Lq4Bnd/hKht6DUivWuVtkQpHX3ZWJilR3Q/ZRwV8XlbhLEijwSjMZIA8QNuWXpYWvEfaHHDCwI8/UxHYiqJun43aTxKO6P4EwPUajhJxd+9qk4h+bAflHLGXB079M+Lye8S+NCT21puQd6FciAbi7twDtAbddfyUx1aXhXDghLfZi5XQODuyvdwDLd6veyyAgbN2NJwBb1Gr038Kodbh4IgUqVyvGP1U7bnhQ4w48zaDZPvth/ygzYt6zJBmu0VxhvKcdbgo4bLHILsDivHeF8N6S2L0I4eo9N8od03HgDgPIHFlkv5Kmw2QJaEXn0RkbO9HXvNAGwm0WjELas41Wb7WCRFrQeHU1kru2YGgqVQRzFW5AIhikoS/dTJLiDqfivZg4827XPG+U2l53C4uhAiNABxmG8hfKYPw9/mOVqcjYN7eY/Hrd7JzzzqEuMuKrM535nw4lPQFWB7H5uoTozcK8yLva569MDBDKVFNvQSVIqLhmMacfOXAiQGOFqV6QREGieGnYBV51pV0sU4foLxHZLGddBxd5XK8RHJJAaMbzREmCwo+2GZ/Ao1gRGehdlBsoMSQnfberGNi57toakktMWFtVtMe9sRmBiw79fxkuEdXYX/XE11vXDcboUP8HW8pp5pugxnh5sVftvDR/7GWY3/sK4GpDXwHuAYYFAA67/d/R4cCdMcGNhlYTWmBv0Elfs1I4j+LlF6AhxxUcXS948GYrTX/6DxyG6geGiEYVSI9xRSuDW6mt0HzO/uS0/cF7Ls3OOuMOi+5ekHT67mMmcznRHvoKDoR54V8qtyRloJXTih+8mx6+dBhOxzQYm/2H9u5yUwtrjGACANvD+KrsNs6TRZSJ7jG5z3UuVV9aywoW7Ho+0OOGbtMRGem5dbc3fCIlaRWJ0qyR9+PVjmF3BUo1ZntC+yNVTb4h5SGOn8pV+otwNxWXK87lxHIRFdXb2+bv4c9CrEBDvVk7NbV+q0irsR6IvnfUtKMtGDJ/zP8jfdUSBxCi9MjP8QQ4+TLXvld3+Ez9e7oO94K7JVB8teTSsazC0Pt3PQHZvJvppFTsi5whi0RSCNO6JIzD7ZrIDkIIiDuTcg1A+q7zppkE+zs0e49lO0ZC+nLPeGxZMk4YFhy9I+CYTxNyUhYeb6dQXRBxCHd/eJWqpP5rlkUL8JLbzdqCEprEU9zUspUyut/fMMUexkAM/dciuXoHvFWeLacyVnSag1TDPTIG956APLzojRpp5v/ytyqCDnuU6gnyT6gOlWvVi+y7NJPn7m6ZAGY3LF+XSqwpi6tdVWX+i/vamcmr/W/TDE/+6V+2nA7VN6eTBiq7JqWZrX9Ii5O5EBW1PMRl7rMgt05B8qDa1EBSfNmE8opcGmIcBodSxapI/+7Iua22721Js5zymalSa5MQZdJfNbSxl9U5L6KAQzL9n4mSJhKZh8SytXnMJLOHKZ1qoPDxT3JyYZbwM/EuFQy0mpb+WkNOOdIfx8K3VbK2lWKCnQvr+49iwrAM/QMjI5PmUWEwyTfPAdwLId7Q75gqFQX8DhtpiHdOCjOInzAJ19UNbLITTevaS3wkCsJhYM1vIJ6Qp2F8gR8ErVTcevl7TiRgs8TBfb3oCxP7zscfyX6wKwCMlhrxskd6Qjma8MMmhdrXKFC6L2lplMR1RSHgwbbOEoAF5iA+TK76UeZUtef0ysVhiMfz1/6tk/FeX82wFqKsWqdk3YVgFqj+gvELuVKgmp9u0OapfxjCgR4CC/372sbfJDhbZMIOCxweQ0bpRwQU2LgcR+IRQ93O4ZmsZqnJMNYFKTMh0CPD1yl7GNyHEpxlJzzdiGiFL34b0WNwmNSq1zM6e9htJjEo6UxWHIxmxiGhLq6/ZDgrpsFViLfNtnI/ajMBGGyH1fRafN0+KtW3eDhzvs0KXGBb9uuTYImxVoc+ND8kXYZ84EM5H4p4e1yVWA45KPmzkI4ffTY6eo2DF98WQWdqXliZ9JncgF7PfD9+5+k4J2Nng1DJG2l9uAN/svJsce37a2KeWttCu2HgZkbtkIyV10+rQyCOdnraEd/3ttyu2iFwyOItjPADfYfAtWGGNmDrX9NGSw8cbgJgjCQivInWL06sFknJ3ulicfwUGZeT5gUoCpqRjuHGi+Otb/cft4RGAueGUqvlrYn30aNg46+o8UBm/fqTJTnmEGGbSuGgo+AyaEFsRekkfvOMnmDIWxroJO+vPxz+mcUMDqxAbl0EZCiTcn7kW+LQ4G1/qzbCfGZxqTtpaw88S6o7M0HTv5duUkDWtR4nPl9dv0ZTLGVw0Ki96ib0WmeIRn9n9kURjD+D10dDuVMttRSoRO80t8iI0AhYbO4nNiwctMj5NZ6Ue4AjsXyK/5s1RBvyOitE5WMubbT0afjjzORR6e+8EFr21aD3i+H8owVJcf35yd3VpjxZ7TBg1yCERJFszo8uifdqkS/6782r7EoGgWlSo3z2D079pBXNiH1x4gfqdqx8ROTPIS5llXIaMZS0IwOpGrWaRfA0i6BcpQ+vJ/olJOMYbscZKK/JVkeJPQSp8tx06qX1D5JZkbX+yE69dt/E58i75UZVeNckFO8xpKO2rvDqge7m6NMJfx5pDhEW6PfZ52/wXHQjRpHrC5+uPrLA8VZnwnDAPfd+d5fTaO1t0AY1m0ip9N9P/QhZPpNqsmN1N5V7izgEi7bYFq5Cy9TIzbDR2wyWPqp+/H5tiQgkvbjv2cEjv/XCoMGCmsWe71Vrttn0KcqoaKNTlh91qde0HVEvSlEuCm3KYdyZI3zDU9wiImlESgUaaUsAHB7HxrX5ajDx+oqMzeIcw+lOuTX0ZwBzrOy7aybx+oL8WuobfiUMgxX4B6BKo5mAngrA4hAhEosUXlX34fJ8Vz3ffaQtjkco4nMe7tB+1RyWNjpn2fFncq7YPansoE3+Pswaaql5m6cO6bGAgf/TceG9TP8B+e2FfHyQ3x3qsEWqZGQbYUx5HyOHasKYpvf1NBoa8a7s/y+DQh6ADIgiolQ5Qbsw8bVzyyaMQJw2d6b2MhniSB715qwhRvgRocHTrrW2JvA9hbrDhksCkGRAwqOwSmUqmKyk4dym4PcdECT/oYi0oyx8hHQ1D4u+uTjMkca4kPL9CEcOcbdkrIZ/X7LQBamha14i2PYKKDSDmW1mP1wUS0de9YTmbUUTy63wVxn2dVpcrRL8JXSdmhgd1P/V8bvc+fsi+DQcUe4GmfD429383d339G14YvGI1BSUV8aR7KGy2WoxwkvZVM5HFO/4Vqof2Nr8nqIBIEiavFZ1HwzKAu0liYhmSjaXk0dvBHFTeDS4FP4KpQuX3RpKwMfPPIPk8DsyE2EUKjt8i3Kk9iaBzw0LAgqzuaZYp7q8yWUS1NNMtbkP7RpLR6+U5hz5RpJNMyxbU2FBAd/HbRq8WBBVlT3mLHvmRkWa8UnzUFvIS3e+VJzWNCrnIYi+1ujBEVwDzgCpXH8gVOAnHJY9iYin+1OEUA5HC0/kFGIezC0expqb3pHKIVLNrR0h+ZlwXBHcla0T17W7/wTOU4nd/CgOrEQURif08fmnHErZpanP0/dAEBKWu2KEN6yhT4m8IYf/CA4vrsysfLybKvI0Vz7gf5zBx+aQMqTKJCiXhjz2Y+wnFS9BeN+u20QCeMwecRvreckD03WZJVMrEfFI0Gr65kwt5aY0cQCqQvz4uQiVgsOme6FnM2EXDuD0FhtpwCaGn5AFFASBjwqehbkDpTQ9LI2xYGoTKWSJJiVEvMWe9QAteHNzeq+lNx+6XWIpOmUwlFgrZVCOYkIMQ9bUeJuwVYP0moQgL76Z8JhshIkajMEFdRg/cnPqjLPviDO1ky6sqpfTy0K6mODCdP/nl87Ki/CzPzwe1PunED+IQXK+iVko8FWSESLwndh3cQDU/fnnUNaqlYeHI55P91ijGlvhcEqL9QGlM3w6oWAxGFKSB4AEwyfDMIidDso12QQMWY/XWKyAJ7wYiQ49Z2urBMQ14H/b7Nw68iYgy4dkZ2A7LZFttFi/kRLVBHdHT7JwQdBzjdQb3G/VMJMyrb17SmUe7QYC7KfiWBcJ7Kk+BCoiQQv/PEtNSMlSleOVhPS1s78PZ95cULY4HE5K0/QbdyX0mdgZJBYtd2helU+5Ah7GXiHaSut3MTgaVAdsNkY1eZ3rLCiKAc7bBiUoOoyhK1Knxt4e8q77+fh4E4btR4+0UmMUhWfnu3pmDge3QMmlkDcbDRvJTG0+jwsa79LIbsZVg7jcUPFRG0tR1y6mXCAC9vkjB6zenqvBKUi3lqlvpnVZIMo7cNa1bjH7Xo2SRMEBxOPG8z71LmsjD3gjitcGX6WiokkrFEEoq++ZSfRhLsqPUF4BGtVxAP9mmHhGDskgpb53bXaqkk3ymEH+xkrVPSXpACbw6gJ4pKL43QDdT5bjk98i+3uLunLpFyRtZWjfRaxVyi+b/RLSsnSD0qAI6dozt9DTmvqGqsS9QkaLukG2+0F5Vd86I46PNmVu+viZfUhVJM6UopRIkNbOqupdw9rC9cRChfFxU3+/z+YKXxPTJAqpSY13npdX2Ut54BP89nLTdrrURx/ZL+hwMjrvOzniOpvnO3DKoKtSK4qDEa+lpMK82wXlKxOXR+P0r4ml6fjfrM+mFzY1KSn5BP3O3EGA8atYds/Vr7KKI5v/V23DRJrt8KVYKWjDglId8VcBptpA9ueAhWOp1k+a+WhEe6ePVF69AX8fKw8wJsJBsCu4PlsxDCouEMqFVGKZwca0IltMgxGc+ZtxG9RDEjEUAj9od/+moW3LJmvW/7xGWp43jYIyUg7PJAxOOxKCy9U38Bvx9YTKZKFC52xt2C+LRq2sdnUFKjtKD4GSCBusth3orF448HdSKf06oLq+cDgHx78UpsZ9ZddR/H0L7mXchI1XaOHzV0nnTJZWuIa2UrmVBLoVfXq+YlTjgeG0gM+L6GH5ivY2jHx3pd0+IWyT21qyjyOi/FeN+naYD0nr94+/KRExpaBbMCdH2BCknupSo+nB5UqeP8r7oO3MeH0ZjnflGYkzC71dnUQOxUF360JVVx/ZKm2daKVkDdl4EpU2ZIrKl8CUI9KYcmD/DhJ0KXO6hzDaDE+OtXZtIa2/vrsVUmO++vcN1x3RAqWatCvqQgc5ZednPpfx7F1Iosu2u1kAf6QOA4vX3SQkJTdbtIBeQto2fsA39+998Q8Syl248ISQihOexV9rOBpnSCd+y+ofKKmvnrzK7Jq7yqWRlcnLDyMfwstANm7sae3eBBSUb3MJo0+BAMFG+PyG17GV4J++BRB28syp9Tf58Xgw1vjJ9YujIKnRiQi9OrpN+LaLRu/PUHbl5BryZZTPOt9tR1iwiXIbw6o8g7ezY0qB5c6Zd23T0wFFFg+DvKqrDtxt/WG45EI+v58bCJw+3cGGRbMxcByUIGELZ1G297iUtZ1ZbVYOweXDCGThLOqP8cnemtNWM35fEB4CzfQBfZGVes9X72owmDKDOqc9h6SV54F6FvbbcabsaNPaILrJuKKLm0zkiqS3fi8QhmB8VoZJ/Uy9DLTr5P0XgGkJLJNTJM7LGKlSRJwyJ6Wn7M2rYwvClWm6B8CxdlWTCxAgQg8LYXRcGN9a8c9W9Al7WCy+FE8OLvz9YgcRrNQaL8uYkcaf5NM1/Eiczc5Xwl9PHm5OLj6RL0vIp5EmE8PmsRu8OYALWwwgjrygATC3NHGr+Xb847kNfdjvmnvgf1pfm1aksK1Ou8HRodFy0qgXgJUwv2VrUBBFq+R4oRTkKkmtnmqPbAKpYmngNFkS6YwoUsND+qZ2VVu2zm8YUj3a4CqG+5wyMN2B5G8e9O4yIHmCWSge7ryx/4NGxxu+M4ZDzPC3Kiz3qJuupi5ehVDYei4xj348k1R2vz/nR838SfZux7dGcoMAW5bCEZP1hLA5Rz73D8/n8MYgwzkh0gk+4+03fmcKFgxabbuX7zI0FHgGC0jWQzbe36z1aEnH5nXAIX7V1S1AemkClOQ4NKLtI6g+hBTuWpsbfRkxQ4VTgUy7p7d+rkYTzxuhO5G5/CqKiZGRel4ASO5OyFZKdt0zFI6CZM27bbbX4uKR8wNQ5kSxmmdaOFQ5xhf35Ji9Kd33uyvKi509Dz4vPSgfX9qsi8colbeBkmOE9nOWDVP1vQ2UfYlFcR4xAt0x/FFCLapgOJfQv15kdPlsdEAS/p3RfQ+pn771TRIJD9gHTGbVwzpEmnGqMm4fjSHjOk/5Msnh1k50hNg35jVuXittI+LA3l7zvZJnBfRWQOOKDaocq8kpFYKPDzUTQrC/IkK1WLn7jxklu0i5YgaHp4JJeJ5Sg1XqsmnfRAPN4BHm9wNEAn62dH6DZ+WngMdJIOQ+3o0frV6XxnDa4Q8zFcFKSU50z1tBXGe/F2MacyKAAFFB1StbjfRUz/cGsZD5Fz/pEmuQIWaCV4pkGUG/t7i1aDnUM3NHUTVgOa5s/SDLdbF3efv7Ckk/FDVJeB3UWUEfuCVbRTnD4z51RpUXyoQaTNexKPqrK9caYc5diOxxUp0kE69PiMZOnHtRn/lj9a2RujkFvkCHulIzRscWGu5SzV+rVSOsgT5vInAw6/kkCiXIWisiNfWiP+t5NSM5fqPjtDeYy9mlsFK1lNcBeA7TXu7KJvf7C+uqWZSRidnhAOPCK3lt6kp+ENG5Bc5Tk8CsIw13Fwlyd1kvrFPa/3a3/yzVSYHMFvI+lSl0HOIV9OAsLTHPi6xUBHlKlvuT7pqvZOlbhqHYHf1SE2b8+sHJwuBZgH3vxuRr2EikG2gyXUBBokHyx6VB+OBNpDcBMQlxqDkmRu2+3l7zkBJiiRviPYwf9wL5Cqhn0IibWcAxhPskjC1v8OrzW2YRmVbi1T/Os8lVAu12EOIdkfiJI9MFV9SjxOt2wFCjNkW81Ozkz/7H3VE8angQb3oac0vH5DQVeGPGFOa/9ILX2/3f88vH5M3EwBnaRhmwDIyZI6L+1HEwFcKGEGnrq8l29J+epgk9P3OeCC1pCH4x29zGtkk41ZUJ2VrCjSSj0SVjWZFdAuEQqyUO+M9L5+lGpvYtmwk/qx5Db0uF1YKTx9XKHl8EKAJ+4V/qRjTs6bJ+dfR2pLjk7mO/RQulGhOPx4+hxVk5UKIt8h2zTRSI46iVZLVZVHUxWdbdBMFGN7GVabSehYDIb2eE6vN5YSpV6ZWUfbpCFEi4mCm8m0xW0NUa5u9J9QqLAfU3X0jdMEZiQlSEABRtRMFcX3X3+0eW6MIC6+XSCrsU4vprDM3auoOr73RD0zezfFyBbFr3pnWfq+SUTehh67iOI+Xv/e/SIA5X1JMd2RfbaEYpWfbF2fgwWGJikenanmiufV0CwlMx9VW4JJHNxU1DSrUv8YQXN/5+eT8gQ0sE3WuWdoSPgmwJp7ZVTmNR9q068PqkF9By6LgPbTi1vJZgLLOZ67VrQ7oGdWIAHNXdBEM3o4LPZuXKZrKiBasFCYQj58DqNROtGpvBO/u3GPqrtWo1yGuK8vyAKT2PraT9bAlPg/TLUrmKvAEd92BYTjfCY4WI1MTa6vuIMA7FryZi270+I+7spPHaNpg8+dTF3Rhgi6uykcM+/mWvHWIPBMxmTAuV+PTOZ+RK59aa+7+D95k+kKUNeiwTwmIQSnAlFOvokqZWj8tWjme6GYsM8PkIw9TvYRI4fGZeyZSjK/38Ut+FAx61wq4TSiClmXTAHTPgzvAq7K3CoBSYTEMxA0izcfbIFHYiU9uqyBgg0mTLevgyOMGe+2mN0msoWKeHB68XDez/+wv7ZMLeha8rQYKNyqVrjNoajedngRAs7xib8WSnOTbP65hcvJxcZdd6fDnA/bSab8bd+MAhNASrXcCdSOWMmokvvYzYi7700fTbwziHjFwIq8R/BY5utXSoHmU+Dd3nUMZYFt+af2ywkaMr2tou1pAkmiibdzDyyNd78OWGrs4M1ttBI2DfaK38UQ/RZ4jH3dAWOxJmE2fax9Z/GD1ghGTk5DTKLc/mKOkH5EDi8AvZKsfT1NTwDHmQ1JeWwTcya8/mIX34Rp0DZfoDEMGXNYXJpnn3QkhBnwKqvsvSZm2/J1srouBg4mcVsmD1CZGKK1oeO16QEPWxicXPk1EB3Tz3QtmenRtMCQpLsx21k6NsmzOE+qcFmtuUiBHOSRClq9LIvYlJqGgFaOOA1CeSRq89koKIobl9CY8v0s6h+oNbHunih9pXscI7BGWGAdUO+Zm2vUQDmad0MzjfVWh/7+t4EAx5Wgc3hACfEbUmeBz3B+Ui2QEZzapHw+vgOhoggOYyi5E2kQzW4ym+KHPCbjljScLdKARvT/6wWTqL/o8M2Il2mXuV68ompGYxfVZWRq/e3KHkTsO7ikv3O3hhmy2Lp8p9wdKBgZK0f8Hrwi1In5wyj7Eid9IF93RNuyTvICcEn7rAhKY3xTBeo42SnQkj0fOkx1hVDlzEhcb1pOmxEoyIWDnEqVx8WHC9rGOYRsGYWQtg+GLkh0vx+uhdiuuhMWOWJJCqVmfJZDp1+soqy2wHTRc48wCQZ8CCGdqeSgVWMaZH6Zvpodhf6bskWqwiECIFyIWWWcmF6wXrBnnS128SxZ1EOjPP5LAOQYWHiUswyk/pssPJjpSfBya7TZdmJXBoaiMGkK3FFu3+xEHqLdwdvUy/HFic1JD1+o17z8W63a9dZ6AKr7a7IoKVMgrsVITHmetBJDAQ7KKQvsqiNWTH3C2n25TWrsHiQJHOx+Hoyw4UEahXplbua4mlp9v+4ts8/n/TKddK17WcdIAH7m0sbPrEASLtZ7kriDBq7SvPCINYU3R+JV7Uf40PohJBmZJ6Z1vjFw+pBfFraY8wMkFJNPQWq2ynpYb4/FeiwtVljSQlj7ZYFUFPat+wo4ZS6LqmRS+jMA3nIkqsJlxBCT7uP3uxkXjRvTU9MP+ShGzN+WSDIzGG7ZiryOOIXL9nCMnjbQh9NOm1BPWF0VN0+Hr6LHsPYjpAmqjMtjrL+iq975LpDlgre0GdAF/vEbFPVVJP/UnF9lf6il/u+sNShaSKazNjn+xqdGu4NkC8VgNDKj5IeSCY8HXcoPTuDBMS3/eOdxGSs/AIcVTAC0pGL4lznOIbmgMcI404YnAjYLaXvtG5TzB5AGHMlYl/zBBMLB6lSWGGkVe10hRcN9T7MfREkosH9jcjmlWvZby5C/SUp5+hfh9RbrZI+DXD+NXgUUkWPA/a4bSN2uIDNbgFDwqpRPJSeyxEwsN5QukEaGlJATUOPCLGIVJRka2m+P68gSzR6VR1Adf/V71JzeXAb9lwmSU/yId8YuyqQYY8GwiT8RNY/wRZWD0cbfUeVX3lN6O980kjggstIwfx80XGclzrONNC7g6lY2278w+cLbJzRtDN9GPTv7lPidCGyFZN4MAz0OG6HAjQrzIxgmR6m7k3IgrPZGUdcUGmM5t/hF3v0K0CYf2KRZGmtnyx5yY25+fYsnJj2ge2R3o161SLZG7iu8WEGzUkSIRrr9mumo/rtGWFodiCXb0ifrtMEbRnKgcubEjVc9Dq6qMGJZ+5PjgwJjpmqF2U2ZgJ/vK8fMZSs14u6pqgR9tXZmOxF8sl/2HZfd6Oghk2MRU9wEgOwmdeg+wPcUCCQK1/6rABq5XabBVZlTicNIrHQJpxFEIprFv/wOq77eIRh/nD0kdCDZoTyEF1Uf4NY1kpZbyNXt7NbHUVoZnhdrEVQV9EgFxhpnrCgVNlQCsnxSs9t55dQtHfqGzPEKerEVNFckb895Jm8r0JemccY16SO4BaGbCrkX/+vjN/eoGBSLsSKzsFRD49KtcHhCZC7MyRQXqfDE0bRHKeKFTew0XfHk7NyBvJI7qePrfzt9OQjyywZhPpQYatwCTivSHbyRQaU9OKS1w/F18beHHRIVUbB7V8wxeKP/QMXA5pMb65NOWGeTZEhQ6Kcu6ZxWD8JQCAHwCR6ARU/S+PlcbWC5/2U4cylj6qV9Hj3kcSerCBL/Ezn6zLLtxNbeL2wz6T9rMwLiGCUU0dyrTChqRUL/o08csEdBXk0KWxQG8tMjKdKGaioh0HJfatrPnBIWMPZE9VzVdvd7zn48ZD9OzYc2F0WClRMH+yH+/UxmZ2csFSmwFJuSRvfVpzD74bN0ZJ3OBRn9AajTuLkHm/cS2qzkQJmQGgTNoygLZszfFY9pksJDbPrk5IBWObEXQwiXOv/EOYpON9cYMBcx/eD/+ACoa6qizt6Kjz7L6IJwZ8AmYJMfyYDQk/L+nde2+Daf0zryGq6Y9lYD3ojuvl5qVlg4991FXZUWV2gGs4cDSMgX58AeMetydLDOsfAyBw1q23pHFV3cJelMDMvtHF/Z2hPB8dkMxsmKhXV5CE/Bf7Zi65P5WTV4+3+Ti7oa0XGEwkr/KQXu7jku/SvQgZ0KpVC+JBQu0pWRDD3O/d/YTIoeAbGQVidsIWR/uJMQGq1iLwrZWOd2q5j+H8eiB4xnotjmG3AdOTu9THwUlMVsqG3d39bHHA53pKbvwYZEFztpxaRXmybFLLtuQzHhJ51Su2g9b/PkvQxJJ9w7DuDmzaEvbCynjHQRgPtoAttdy7rLzeo5guBkguIZhnbnZSwTElHvet6qq8uZcCVcRexzZiguItQZBYPoqTt/DZJUakHRst0sixnjZqDK8ZZmiLqA1AHdDTYYrGa5wWSAUW+ZA7ADEONVOdac8t2NBJ4igzVMaAToIXnV+633MaNi1BnL9ixx8s3/wkjoto90t6uz7je4JhWT2Nq1pZZLZljaVuWLwTUlhcWWiWy9ftX4QlGewhQoaJx6dzOcx9pKL7goSTp6+FrdDq58rYwLKa6s5Rf7Ml8MVToUa0/cPkdEnXmVSYPNVUojMv5JMcgJHrqqTxtk+zrDXY37IrslrtkyiIOzl8Fvxgsj2CRVyADgXQ9eg+jxs16OKMD1+zklbro2SGOIuBHutdo1f2P28wl0xdiNyIIUEJAGTpe9Toi1yzF24sbxK91y0IGzUIcUNK7qqCFLzsEwWxQVLtPZtP3zeDRgTgNV71BiiyCXnMvRcY8tgY84sGb0rlotqquy/Pxh6o9QxSIh/PLwpm3OtAl7xm5aVkcTWF6fD8Swq1/c2fmHUzFDb1WiL9RwndZyE0nSGIw2PA7Oy7wWrP/fHAJhTZsGh22CKlPrjwoKJaLvrdy1VJ1kkF65hdDZf9Pxi/hrRjHrGZB58oCEdPkKvbuDkQYgcy70+r6hUa6NyGkpgAxjtl+BmGCcBXM+4fY2gOIfDapfRifpfOXtrhJzKK26yYjOEA9KgfaFGnO3cPkg5KUeOCxAaW3VvF7pkkDd0MVkQLkTelydJ1sbZMqBCr8wWOO+xXo8iqix++V+tKUuT665LD3PD/K6cRkU4/v9mly8xnYD+WekwR7VCl9+CsPgMFOXrOOdbo1QqVbU0T15RIzEh5bj5q7mnhAw4mCA+u14lwoINHlhQM4wHGYKkoy5lOKvuN/LuHIglFpqCYF4sTqPF+C8kkKG8jvoGES9nkOvqkPRNnzFpYRvFsZiMVZL6Y85kvcEipEf7P/GotW4fNbl03ibHsWObWdsHhKb7rplKgmlLMv5VfVBYNZv4y6v9lzivSfnph7twLkFHPdmM1S0CTOZcSvXjQsOKm7ClpqqD4qjW5N/2ZJP8/BII6MVzrdB9G9k8PBZuxHSbaocbJXRwhK1BfytreOotF82E497sNB++QYYO+sh/u8bSQoue7edo8IwcCyPK7O9Zj7FqbePnv8tl8sPtp0OZ9Vpg06hVjVxvY7EmF+lg429hIj0ui9ocoHofgNHAN/L9GqLRNb6MTq6poqGYcnTEGbazbDGTbWhwibdlVugF/5x3VAJ3/7veDHIYvnVL5+ZTqUa1X7ogRQ5+W3S6lVsc8uCaUHVF+ibklUayZ6wr2mOFHCjBYt+CZ2iRfoTlsJ76cVhduY572G3wNheZMWbkB0x12fqpv3yErHJ8SBC4ah3gLfIGewYEtubY60X5js/f2eN1+yVnublg0tJGB8gn0yProdyTXcNWa/SJzXn8ndMNLU0Rks8GGGa3SJgeuKZPQERQQ96+75uXOD5UB7hK9yD4FCw6y1LrsgDtFJ1SDGOpp32rz/bF+hm+n3Ple9qS/JyGHFN66kLEL0Xy+MwTko9nXp5h/6FUyD5Hg74P4Q16mY266J0mGYUuth+hg4hdvHLgNwPyjF8am/N6cAzZyLpZhy5q8phXk+KpV6ihSjJJuxA7oeo1+1H8kCziNV6IZKH+XGjLyn6oSTFtlLB7Ay8wz+BPzdWB3gp/bN3ItH+TplGu6tKPm8FTgzzTri04irfQimYKWqKDriCKdW4Ew0jXD3asWaVRSIYhogNUFlcoiywEmW1mCfaZ8GCCyJz+c1fW8laUQidMcsDYAqXEfsnFwjo8Kxiw5f8MUu6DeapNi9yN7FWHF8cqERDlgPPMXzUyPSdTit01Wn00CQ8VzyZDf8NoWn6G7fURNehAErIELwCraLkG6T6FdrF64o7Ts0qlyYSj+lD/NT+AIbXkIjGvnKVEqS4CG48WtQV2P7r+eV9db3AYhU6nYsXH6vm3RUogFQQoq4yntshYW8iaJtDq/mcNAHKZIhcJIDbvvVVKmbYX/DFMhOWDTagHijt9uqA6snzgvAJz2eFgSeF74w84bGMudVOMRvBjYlCKZXYNS/Pbqd/9sQ5amR44kCmiEHHhCwxPjh25iAJadk5Nl2lr0QqPt0tXqkmJxBwYUViBBz2mcYjNNG5Aiwv6jff3QAoA3sjhDHC2HKelK1FWS0yd882xwmOU4N5mbUSnPoMgDABsV/Zmw8crRDA690Hr9w0H6Ix/SCKwx9VKSUdJT+alKAvUWdEiHHh+LhnJa0fqRq8VPbIXhqsgE5VQPsS9usPOv19jq/lTR/rGRbLhIFr7jqW/4ve3UjR2nla630bAf6d73WfqL4maEeMnG1/fliUGUHMJHqm3Xv6CgjsRzcn0o2EOLlJRxOHK3N+9B3pYVQLPd/XpnDQBABrnwpueNK2ccQ+KNgGjjekp2hfKf/A4w9kbpIv+un1L7bK712KQOis2g0PdvqCMu3tvpcXwhxWvms9p7Trk2WfqufoeFuGgTjXuWm4CdzbjapiQxr/Ft88P5ye7hwnZ0A2vMKtLQ24mQs31YfMvBykRHOjl1aMg6ZRSHYPMsVZvbAePn+u/pTXVImpffw5mPsxoZx06YyWKbQu2kp8E5LXfifcAA6GU7AUOMieRTLP4ylMCXggWxb6ju11ejLcf6QLZJ8YbsM4caXvlOONmYBKAeIzQGzMatg2Cn/xa6E1UQ1o7iQNfMegRftqHcSdRJzV6JNtgT/rc+xJUxW7kv0KM4Z8elmqH7vqQhxy2Da3pHzp07TGK77GV9ljucQAiRBuOHoWFSMwBn00VRMNj2XSR3gmoLhty6V5EASUcHQEUMOu8NZybSqLxsTfaTXuelyh5acrYYWMB4H+Ya9YhFiKyv+brPHAtWndTgKn1iidymHxwtzZUZGTQ/txPvp+Vk4nZxNa3AYHaBSCFnsBDUvqc3UPLA+ir1DSz1vaO32dop2KNa6X64G6tSpcvEbu5E6D/6lT4RBXVIYRW+eOwaSoifFPuqrUyzaV6xtgWKuEsQTMlbky4z0TDrt+GmLQL4cVOhrkdhgMbFq4e4IFwd+tDWuCfMzoDaB046koVMxdRUs6S6HJ7JIjmp3/HfqiELbYPCjC8MKz+nD4IU2WMYXrnU71Tvib+P2oGdIO2FWEhR5wAArr+IrJtKXCFkIxr9Y/dNiwJEYOwhMr6aaYOeClSSqHtMx+IhmL+wAt2Tjh4iHOyAcgC9ll2GsQ+3nsH1npoCIb1is1+q1eHHdKmq5yiYuuC5gFbASH/ghSkbzR6icZcSlpEWts7DglkQyXRHGV20PEAtVntwkmGGrIHQZ/PHG07t1RCAmpRvi/7tPd1yaajgDF0c45F/9zNRpJdcnRkITuus0y86CASZ/vFE9dzVL3vFMV7KSw3L9pYUA2F5CUQhuN66UcfnMAK2IRBT6d8r2Rkj3N9ik9IdqJtbKQAiU71aygJ1Yv7VYJ4xPM6xXdIXi8x0v0uyFQgIMFKCexE6HJeUjU0b5/PEbKYNQR2nvIh81tuxZ4pfXXuY1Yi+SZMHJP6KiujyQDx03E2WKma5yrWmmV5IJqJ964abH8QJbkycyzqINIdLgXWD0Tv2oP6l14zgfBRzJ7AsDxlwtUAT0B7OtdbEJn8MKGlYdSXoOXVavxObAAX29Oa+ZWPVIxpbgt9voGzQxpsqk1zwqIr3TcnKKApbRnHdioXkdfoqQwomY5dr0kQTq+TBpcbisZE5VduFJiyUtBtaCYorjuS5BzFcYY2fBgFlJmtLrZZ7Xi17H8Swi3ZabSiJQJLJCvlwXit5/+Su5Phtr3F5Rbjalv5i5icKBlL316pPoGiejNUw5zyYBgFGbGjprRDldKzwVH+FGCPiLYPK849/RCKDcPV8qnDqhCd0nkXqAqXNo7pa4mJmxdFD+biMHTn1Kh0Uy4IrOBuqeKiJBcosUaJk3ibT5xjrhKXBgvGnAS53YFyR2bCyvu16Peb8Tukz2SIqFiP0lhASeLzBIF71HyMAe29bsPW/JU2WJeW+lPFbtl3dXdHOBqh+Y93stsZTvpdSr33TXeITjBmOSmX65zLnhfPtNFXqOfv5glAu+EKLtKP8t6CjHC3GvVNEkrRxjs4x/OWq+izagsDJBMr5F7XSWMuY8uDUi7CJ5BysZPTK1JxbfPPAhsMvjCcGgBSftxVkXQJE2IGrSlYw384vxAcqCjBh55GKfYcTRNpYKjK2XIBM3xMfcXjQ56wHAo0Aev00aYADdvhhZfq8C6p4WTw6sCWu8GBnej9Z1y1EZHIxkkQi11mJNecHEnRDgHdxqsI1g9drRMKryEPXSxJ0p/4SMlX7Fz843BANUmZXZU8LXj90m550F0lquNtY2x2wmzkOv77IAAEI2TGfhF2l1hSXTDavBw37HWJ0S/opMgt1wuDjtz2Cu2RyQSz1RUxvw54BE89qyKnXhCBDnZTzyoI3ap4hXjv2r/sazrlPChm8mBZFImyNS4t5gk8pwOzC6qEa71RMmj+UW4XGE1vd7GUmrZCuPaAKdkPw8EjDOEblrCVDzcEFsKewVucuArTzgxJyORFjF/pnJcQsEHC8/8zh9cq8ZIZJV2T/rHq41iklnN5vLUUSgMlBrd4LU1vlE2VHJY7bGiUo9suV+B04P+WiN7FhpSe/alezC4xQoy5oYpBVCUBr4ljQuw/VZuuY0UYBiKZWno5QM86l6dyTyc1t6ZWj6M5f4eQZiCPB8dPkVArCetY7737rNsJUm1Crj7GACN2nxznHemArWMgmVrjq7bE7ys3ovsUSaJ4Ii7jsHEeiTSjk59ZINs2uQxN8a+F6/X+hhI6ZH+XzTcLXKtuCLYW/QVa1XJ6gy8ZG8D95J7a73ekUE2/HjNzwlva3S6A9p4ADFBsNDAHfh7+JV1kdSjN89Ri1YPDKhn3OUQEnS+5zpC/rM7G2YlDIEEsfdH/xK92btj4fJJLbtUM7eDMoTQ2zGreVVHE/AypdhdXn6r5SLt+v49DAno1jfBhvScF1fQrUPM84cbjFUaiRvGH0j5I59kCTyQV16mQz6hsBcXHP8nKL3tctKyqaX2LNKyP9OgxDGEDWVMttQmJ2F/ywjl+rodcDS5pRJTNWtILLLHBlQmp2vlMMgKsSvFQT348GSdhCXNjA9FiqVZu1U+Azc5Qmsz5iGQVTzu06YrzPFzpjQvSQzqbU30B2awPkUqNMz0Q1E+RShRvx/5XxS957ayjChfusO3YMYsM4ksGimBqk/y8bsdoeCgxUMQrTfPrOBn0/4DRhNOBquVAZQIqFXpagstZiUSqbqL1Ul5m+ACRQWSrtEnCsc54mXa6o+3D8U29xk2nGknXEYKhEw2pD7t2HBzB8N7kLVLOmxcyj44ubfCnX9N7NSiEghyUmNCsEmoZcU+NSVx68b3RCvodMKN4beBdOVpAy7ypACvOPok86PdM/KFp5iXk3+k/K+R4YNCyopcNwkIESaglZezVyUOjIXbpHQC46IchJ88eSP5bG6FQtmkYY44i2LBCyHR20x3AjbReWx43Z4hgp8yE0Ttz1puuWjb+6Y5JpqSWuqIh9Nu70/zYHquq8aLM5aoNnKvrP24QbG/VVlnh1GrPfwgRYIuIs/Xa5ix11PGcUUFdDaIEGygqkg+0NA5nkbB+A/uE0wLRzW98gt91T4QGcSFJ//nvMHCyPvK/CRnfrba3lraPbeREMtoXNl0gWl+jmDce0Ri/beSNQ8CIdBDYiqu4/SNFSQ+KsXHE5D1vK+070SjIW5+MqBJBPH6BANT9j6UgiekxTAFrRUQtjxcf6XNpVU3AKfdbvW09egcfoDwWKzHBilcpAbLvBTqeExCUR2OmsmVJQ8ol7Fzifn5nb6LucwRWraTC23OIosPiwyj5iD3Q/eJiNMZF3/baf0COggSNXx3muOosaHThDadDo8RXN2IzETNNWLPUfJmJ0RkEnqXqcGHMhFU+8K1aG26Oiodh4Hw83zX1QqTYGNWtscNLnbxikMivuQScnHs8B6vUT7v4t/E+xnGqiq4S7ZfjXfDvL0LXAJOvypiuZMz48Vh3HaYicaCvRgzaflzgXE6MuCgpLxv60YvJuaN9WCQW0a+kF/NSvwHZ4A/lQLuZV80AqPuHcPM2ilm+ylQHsTbCjbUVkABUmtwYTPA58Eb/ICjz5zd80Jhx7SBDE3EsJLwXnVYaqZxDhVMeUpcnnrnK/HBZFklRfOFT8XowB8+7pdgp6qu0rf1aQsKaHyWL/LvmDvVAo+MLxYXGrtINv7k2EAHdWOpZ9czpggZQk79+ZJLYaxTXVlhR7ZmvMoH9BRDlXZoNTl60r2sNtB/Gtw4y7qZxl0zs8rJVg7GcFxd73omcEbgi+V26cqFhMZO8EGAOGp34GlaCNty0WkpeDsbOWIqkucMWiE/Pd1/ZrN/RpEyYtq2CA7K5OrujDbw2R29QOFyMTkL1FrfmtWyqK3ix29ILH3XBaRd/pE4pBQ+gJeT1usBKYrTunyiDSxbs002K6zTHoMVZlCdXreLgj9rdFILE3NSHxtZQGA5AvWbcJ/r5YyFrhsZmPaN9oDC8vzvvk3giG9W0Uv8VjRH9FDEIsaD/bxZIQLMFmkJY/cWXa9cVbx6fH/CK3RZ74lfddSrU817L176H2FAQbMNMxJy7cQm1I3W1BfHl6FYaLD3Qj2Axa+5KY/xIiJqIvNIXetBV0KwlDEDud8DdJJnZ1IcBRsBhDgUS3p9OPNvrDkeO+h+gW/Wv6QVHrkZnEer2yo7Z51tNASXpkQuptbc0r/tkVAUhqtAFo8RUVLnofpPgfRZ5DBH6pQOlOCwEu30hoUibUBmkj+qsOmIrDUTqNC8qam5LoU265PmhVJJPaBB0ERiQW6gn2pyHp6J9NTO2rFMVYPCpLixioq12dug9kloNGI7jl4IAb1d4sw5nHfFDHLI/SQ6mzfZuR2Q3bpfhHSOFvbIThuqbgnyFkfkpj8Rds7B5fAiHkQHunlAPFUe4qpQwoa7wtWFyUhA/bvO/cOPqEq4OhELp3LaODWJSSRows9T0+8g3MMYe+zX+TfFCBjT4BQGoz3cvutt0qn/NrVHaESg+rxDVoTvhp2Ni02fECZpdp4rRRrWTAZGNaTTjH26o5BaoYwj4vy+n2IkSF0iuF4QkKjq61uLp4ee10YU28w/NgyCjQDELLRt8PnoYzWs/kPefGTU2mPbxSTzz9mIj3n5sM7Dla9ZzZGPlIgjhshWNgq+24GK54esDDzgSPrpmYoZBt/M/6oIOPORVAWXhn6+L2uRnLJIuM61WUe9pMXRrpbFjdSaSMWxKjksqaI79q9fObzeEucn4EIZd/yz+6PnA2vHEYI8Dg/oy+YmCFClknzErOiNhrd9KX6bMggwTpq12FzQjZrLzKElRHSGZeHtjRm9MHSPY+R4jycPpVf2f3qGFUSPHvHN9iOVQm/Q8FbyqEVorBKyPxlNyVabLmsXHjO/nv/mZB5MB03A1/3saUBOys5cWFMPAT7mNCakWvCNNNhaZjW6JjbD8ZU4ha0/lPGNYJTFCeBUVEguIyPgYtRM8VljmH4FnH/OWx5sha5+bU06BQQtjRpaGIdC6JCIkPa1EATUkUxiWZfPzyEx3KFj6W/KUUnEX+DVxDLuFZ12YcxV+ktgnofFurgnEjSj+XGj1tzuaFnyss14jyZNGNTAUygq0bamNxQgX3jk73loOW/4YkJuZXi/AYS/rUzk6T3Io5IdAfoSkXsXdjEQjviR8v74PrABBezic3HEM8z3+mNLkEadt1ijcXQq2PxeocdmVe3YVTP0Tvm0UdTAX2m04gBEly+CNxhuvnLjyuodS/Lwp16bKTPylMSrGzzTQVgTLWzdhv3+w4cdc6+WAklPmi4iWf2i+dvJ1gAui4KT6WEb2hFkWEByyKp1uaNRb9AOLkBm0XPdynIwbLebeybPl8wJHXvovZLPBnhZtp++Q5VlN9raffDvFoE0lujGlkzLPNYouUVcs1D3T1OJRwDu4kTlqh8D3+EOeqm8MuBFNUm88PILDCifT9JnokrlLlUEwrVFMaVyX0dlbZ71phLR0PvyNkPZh+/jZ+FFV8uIY3JAP04Wt7vn3XlrRfMRWaBZBZGbqtzcItZF6vaYpRIynEwarDqxNdbNKk6Rq0jYjJ+UTEIQQki+bkA0KW8fTg6jhPfE6zgbiv8XnEYxSvHZ0opWbn69M6lTvVBR2WalUtmFqSd+qcdhNVBPijMKG+GNXzu4Sm09tNcFPwgILxqUfzQqfDfYk88i7bUl9I4JsOmy5bmWWIf4RwBbb7biinbHnBgBZ7KwOtK7vZA8VA6/gHKclgR49IlmH/uLCHihZkv9uT2Olp9l4/NyhWEfGWDGtqpT57jxPFklzn0FdNO+azCpAKGEiN0V9dmtOCON6SaES2ctDU9XVnL+7Cj20rDGU7OwmSboDUymJKPNyaAUyrp5ZBo14J4hjyw1QYg3d24RacnHe9UBG8OlDmsqoDdPnkadknWB4PP9+t7/bv/YKFRaNKIdzxUK+cm2cFBAUKfDF8qpCicEcRL7BMsZX/3ebVWyWRrBotiDe6AX6O1hmUWbqoN5xNxhVuNergbeyjPy+KKPAkwDxJbKLgdOK5AkwvDEGU2ozbKOC4HPZLIMPXJlj6j6hxKy460ZtUu2VUKkftxkRPt1ZtjdmN+9gTsu9uhayTZlbPVGHHK/W4A/2ZcYIu65dgu5Y/+jE8PLF/Xq09ylRT8AZJhvxeX2paNqCiWFfkWBw2gIgkxBhcBWrtnCn7lr57xKwfCG4ONNxncqMEWNHBPt4cKTssTk3BNLvNdm5WMJpMQgINfjE28r8ijyQ+S0YJ5t2mTauquOHoQzaizUr6hLmze6mVObo7YZtykxhXML3hF420KM4CYV2FfqpbFlbv4tXpUQziHeg/A7y4dXCWEobl+2Bq02bsnmNPVVc1ZiAexwQ52+1+48US67D/H+HaLHQxD4G4wXiSBzPriPJ2uuCAY3k715qlIaN5V1LHjrjS9kP/W+KtGX39kRpC/ZBvPBi9u+y/1p0ASdBjxIcHFGGLdudLUuY1HY+QgAuXtyrZZGsuc3prdlpT5y9xnaa5X47BCtqhlriUZpEM3r1Z7LrPbx4YDlRBdg5egwwi9w1j4retIsW0Vkyz4WTnYaYJzuGEtpqE68/ez+3/rjFKzWoMS2/7nUgXb79yRJvXdfxFvxiTjNHOWrVUt2nuHcuNa/lJJgWVCGkpxa0847TQxNJhfvEUDpro4wsJ9m+XTYblf5pXnlKSUJ7xoUpuhkHtKoBR4W7vZ4X7p8lI5t5FTXXUvpwhXzC2djzpxl0bl9y4qNl8PEkwObQWuMF/hl+n/AVSH79DTPUn+55ohohn92Tq02xs+CAnylOb4gy9SBygAsVothSzwn2iySP0Q/rh+xi9m+I3hhZkOLATm9RZROGIPWvujqvr+K+BVDes37zPUUHo5DeKqZ+nA+/5OQqhpHs7Gk3dZCkXOVVnbe/BXIogMhRND0jhgfGDJ0EgyTK9//erxMQsHyk4tz5bdY7HSUU18Aa5trvUaLGC6gM5UkZiuuMAkUaFKk0/5VExR2030b5zC18ZnUh41PcyPmOoFPqQu6o4yybgEm36dVbWAGFYhDC30GtoPY+UyXiB1ByvHvNwfeAezujRzw3vbgJEye+h2xLsb/JXtV9aS/xAEQ6y9/6bwWArqKJqkxqcWLpCSDa6zxyEYiMON6/2gmsUdM2cG36vIRTNU0eUnP5IsAohcdvvbfMLsurQv5iC0SumKcpr3QPug/zxysIx8Qc0Pec48ewmmvMepYx9JfmQtyjznmpIdEhA1ikaTEifOE7OcxfCUVH8pEdR82L5QsmJyJQIwrtxzLypgFlS+Seg1UrBhAlh8nIC8hiql75bzAeez+T8gIH04jT7ZEPkEEE44b+LV2Ys6pLekistb9vfoZ0aS7BOHXReGxuf3Ajwimq+MGcgj/5DpOMtM6LC2m6PbeAgNUj6CgpgOj2f+bdWC9IYf6jl+v2kkh7qNgHYoYvgO8MxgGE5jUe7zBSENBaSXn4YQDoJU1Gw7DaU0CXaBwo49kObiz6BAi3WAmCPMjvNGqNpurXGPNBOjkEiMS9S0DyGL0pZCrVCP1lAhhYX5agOf8Ak2R5I3rh5BGndMasqTeRObZFgpu679LSCefQIwGyXibrptCkYrH1dGk+g/6RPLC04UgmkPNkFbIHxsMVKXPvh+dADgPBcZYW92XHhRvoIA4g5dx3dS7f0B1ZBcGEqGPtmWGjUE3l/aQyq+TshjiJTgqog5mh8VUehpMXfK7Rk9q2AZ925ErbXG/sr5MpSnhRGuhwD5AHtHrvRBbw5OeAo2Oiwue8qTQgBeMLEx5LBPC82fxz0kCABalYZWi55z7LueJS7F+HeBYFyp7yW8POVUU9AMOa01CPMWfRDcm6ECM2O0LlhxwnlmnTU96RzZNzbdE+JocXQH14tcc0N3jOYtNlJvo3DEtXt0OE62rhwcNjdsssiBh4eX/yVraezTsLP9VZzRxYgR3I7lZyw7fcIyx+RBXdehsT/9QBgU3VAsXTZoJfymndNA7mU4LUqQkJ6YbS/WlmuUctrp4pTUgmJEpiQWC7NaddizaTyPHoCZATgdOundomjgvBiBn5yU5JLJ3+lmh52YkxWrQfthOJ64rKxEDT3k3yjG/Xe1YMigOF26g0BhNmu+1of632oWJ/OKGQ2xLhU5/WLMHgEIePrPWU7KC88NMJccxliDN2KWdKuZLhnXnEMJo9/0NC0xNlkJB0tB0RjD5mqYhRaKHUwTj4LSJ1rbDMMhwQ/oFM06TUu0DryEtDyIuRk7QYo+2v6Kzmoxb0eyKgxlw68aIhICbMpF622Wkry2CjMbuApUcezoATDRmrnWaWwSTu4lsdoCF5IblzLpGJt/Uq9uWwcVwzVzQpmvNbywaX6kMQBu6Nxt5ZXnWU2c2tgXJ9YuE/N+B9MlUeD4X+katDumP3FbtHlenV1wAv9hm4un/nKVgwOLiKtm3YJVSCR2sOYJ4qk4ioq7PUMWXBey88bYMQVZtke39AAPyA+kyP/po/PEGfhejWlN5FCCcCXnvL78BktyA3A1kRiBb/2qfgTM1WaUT7u1DfptP4lF6AvAo8XekM41hXOHAfX3iJDwhGxPMc0olfdsczQn58yMeKBrfoNKOsoUBhytjFzdJj6XoLwUMEvqJ8fPA/ylt3JIqgmvKZwjq0Fr93pz8qXffrzi9RICygNzvjbsxsSvc0sqky9Nzn0DZPjk8mh54e0y9P1gpq7ZJVJi6WLty1iXV40n0GY8924sCCgjSDVGv4zETN8fH4ZYs7xDiAkCYMj3N1INGm7LeZ3H6RXEjyRFGuTNPXcGx70GDLWq9kcMFfhUi6SS6lKsv6Az2WO+6DaaegNtuvDjZml/gQtwRjN38/LCgUhz5mvoFL8s/884tx10JIYx1O413yp23iGbD16blt8V5m0OdFz696+x9LnzzcFnxwZuHvsbyk5vFXfin6nyAfpu3kphBF9CGdizAK6rA3h0Pi4abxDmAwgow7tJgeodVo1AUdBz52ezUPxB8R0vcloVqE4FhpCFBuI17xSmbRNXSIWbhrKYhrzbMho/vXlL8DGvDvihUxtKHi7AI5CuyMl97qv4yh7Aphyvf8npqRyFCT9YAEj26z1H8Jj0nP2GjlGDVkoDwRTyFWdXFSHnopjQPOhrAJXpkcKh/GtBhJoKhyWZ9eNkBKt6UW9awoBwFeTe1pBoP8sERCarFmv8HXk+i9WBUk3qxLgppu84zTujE8iiurCzXAgygWRGbGOcWcOS4Ex3/7bsr/bgtgkhr2nMHhc4jjYBNqzOIlMXfg1lirhocMJKdiA07ExtUrLEbNcKuikRupveqkfJjo9y5i68yKPuQ3UduPJ8xXAJoSrFe9ZLdPmeHRI92DplOf8Qf/ump7r7rfwrzm3R0XzhqtiJ4KGRi5Sa1rhFYM1LiYc0jMwVgghz4ro5G3wOk/599dmylh/DsNMH33JWVpTqMsTUzLGF/s3GPYTMeJZ/TztFka/IYYivF5uZ4Ut7swwiRrNVXasxCY2ZWSzjmPGoZ8IeOaHVNuLBWRBKzQ8VF+HgFFWPj2wBSdLkjpO93IVtHFLSpOHkpWuWL3oI57KslXjGQBuH3ajnuXS94n34dym2O0K7XqHLAjuhK4ZC1L2YBl2SHVnPj5qNLBK7ivKow/RL1w8V7EdltTit1gU3Ydys0lgxy5A1tsqDbKK6ifqRRAzK3yu90iGQFPNxhtENQmwmGxb8+2DzY8bIp22PnAaLj2PU0MErcc+EFFZlSBiow3KHYCqLw1OqEcoUdmSWZsy0RLowVvzOZQLxaRefhDAHkGnmLt9bjuThcHMNGeWLoTqIH/ozwPNJgqUk6xx7V5YMrSst+rs+o1xpSQPA+Aiak6UfIVtInU86Er99oVAKGfpSgtXBxI4anIp1568QT1yEwVnsWGklCNxWajTBTPm41747Qdk2qFISNzCQEZNugtJltT2KxhcOyG5Z8UmViVtEX26owrSus03BYtBKYTKnQIxX3MbM1VHTt/PQgMPJivjLXEQgl8bvb67qmSyAnhfdiiA9MqA4E2PaVtozZsNbMBuC8Am9gJ1Rt2KQ8LpE4afni9W42JQMxsftVio2a8MM4F688h0c0DNwBVufaaU35Q9Ha35FACvpLnMlJvph28HIG+r/XubRzkg/alDUWGI1bTcqR0DrqGqs2dpO18AhQ5GP99/HOnQwgTmzWS1U56HnPZu3GS+s+2bCe5Rh5RG7SY1Rc/gjBy5/NHlUR2Eiw3hLX1IuA62pNZoRdaursWuRuTW3Zcu2xY3Y6yVxxsAD2Q4eleHInn5KDgPq22/Fn9MJAmZz06JDpgOtHpFF/DcmArd55UHzAGTRudF511F+nu8SISzzI4lFVr9H0J8DaLQbsfL96St+zcWpuEd6jKl1Q3b5vCro6i5811o4K3tCespbwTf+MMI8yY/dfc8LwRluPkFNlE0bgUGWBdNinZozqnR8l+gQGBOUU9eHtJzI4zM8720VNk2ltI7mwUEi9pjY4wSlpLVRCAQkJVVwdFEbGv54jSfY7PSLvUNxeBeUb4C0SwgAQ8oAbcJ7uUGuvKjP2RBN8uHogKRPA6q0pQSIGsZ55CDQov5mHutSjoaR0poXm8uCfNd3guccrO5uDz9QBg6u2UA+N4H88x2X4t29m/5aYv3/FHDZXLbJMMKk/TZSh9sN9F8q6qTWwpTr8ftrRLsk9SMHjhNISipSUr5SIDFvZ6cVA67S9lU7dbQeDCqUJlB3nAGP5uZ3n4mpjMB5DnRjaqiFRWZumWG77sl8SEB10gvIJrzMSKSZdh/6gTVVgoavsztn7H1K9oIojDmoAcO3NvrRRiyotM7IsocSHNd1vQrnIxLVSONbMm4CRTr7xl15SXrk2yOTN8TYdXRo8MXvd9d21G2QGJv0t5Xh9gZ6VP8KMZqgj1wRMd8VBcrwa49F1itWmNRF0HCw+JbZCYRSjJci9G6smMAYjzh6RKNQYgxj1b/sJzv/L7IMz5eG3H0cpWtXsJH3Qugp5G6P65NdxSODfWE69sWpBFS/mLygBMsvj+/LITEaXWgKJWKEO5LnMILq1jdCI5swa7kFTfC2sLOeHPpXYA40qU0yleeUYY6Jmuyh5E7ANjyCXdN0nJfa7WiswzQjfqIREMbYFGY4iUsg9NxQlHOs0wQAbVQuN1FymuvoiEpgZzGqmhWe2Wb4x1dJZmt73y4g4ckNMBAlnndQNKqnsqGFHnZvvc/VOI7tf/nJYktcXVUrVZQU8jKPSHJALoSmS81LNBxv4jqya80fhdJeJ5jau/iBRvEOdDfwpcBURbFPOLpvOwnV0zopJIwIgrh7VkcQSBGHxS9gi+en0XPWoG1GLV8o7Qvt41AIg9vyYYBy/QMEBGoWTebTxxSYs3hqvGXTNUuM0kZAoKloHHnLLu7HuNOViMxNTHMXjRxN+XuYCHlslAEJQijNbnQcrUXhyin2CC07U1mzZijI3gWFmfxV7hVc6OCZAjVmGjqABdTlhAkuxr6gRGtfXz9LF8+eKFP3jwOkiBrLLbhpN6AB+P3NZqYHxNP2VCpSFK1xrmZjjKhQG+cjejFvfsjj0/Nvu5KrQWW7KGq3r3zwsS0UsHTOtlEErnFhb917n7mUmqZguF8tNRUPRt/Qss8ZDPdsbkKaGUNh7faS55Suq9K9iJZwfqo4JSK0Gv4zyiGtY1L2wxU5KMiZTsbQNI0Zw/9gLzxTmHpmrISsEadZITooJuv87K8nm8EThQZNHg6re0TDWSVmfP2FMcGvXxS08y7RJU9B7przsL4jH7LkBtAqHdI6ZjLcBWkAvmefEANh3h8uTdMWHfVMR5iex6QyqX7V0lrfejMNwUdeUR5er04FXKiZCkg7LP7AvM+FlB0rewfhMi+Zl8EZFmAnAuSOYQqfissKKgzYTew9VapB5XqvNniEAxoVwAvkjv5ptzu3mvY8R4KFhzKQUPbjnXClthnKiJ45Rd5/CdAAEuNQtlEopT0v00R2LbqU7I4s3Xd3sSVELHD9WZo1v/ownhQIur+oXquq23z24gFoymlzFTShX8KK0I6GNG5IiyFB4SbQHOoygQb2OV8j0PPCUXw/2CPkLMM+sL/CcNzLnNYhBjYj+5m8om4LdTBCxfab4TS39ahLy0AQSQrb+AkaPhXIuhunmKYLrDRQCeo+GQRxsAHTMDeCBYyw9WoNAAKSUvPhiwJ9ZHJbn45r9LYh8igkRADNFtrJemeE8X+4U4G+7UxZdfVDWNS00chcDp33JPlJKyItBr5T98YJV8TbWAnrSyenkRQKM9M9ossW0dsg3bfPh1ejMBhUYfLpHUGaTG8CW4GbY6/1ptP0HE+WR08L9nVkclnLNUxvUPr9CbDieqJNHp5Z1Ty6qsMdpWa2M/Zi5P6LyGmX6UdGhQyGBHOW/zTY3DVEog8iOCzTw9GPhQDQLlyTWrjoeMhcgaXprkBkessipkaZooOLRQEof4bJyhqlMLuC2qWijPvkG8ZzrkGfVwggTl08T0ymzthXnnoNIKrrEutmai7RovPeNnoAXN9vB/DOJScUhu6ftq4+EIYb424XGDSjBSPwq56ycoFrByJWQEMTXrdP6jemVHxu+r9KGpKw4GRKJBOiIB2v+W0XCCHUwA/0Mc4UtoJiVRBHWlOheolQaPl5nYDSkZqQnVSyrLgK+VKcC/o4HzLYFXKsyjL/krJyqNt6RC9+P9nvJZTiu/Ej1sX4CNV+h31napR1E2Toh785aVRYjm2QhaqnhV8nrkHpsird97VitzNl/0wCmk27NjZBR+3N7+eyl0yhufxUiBiJbVdBOL0u1Ss1TEhiQDvvKga5EowGX+k1+e0jM9/Sr1+tiyOlNI1xvYdgUjLhG8q0aj+ncdH8S/Bjk6J/zbqGjE9HWrcAKqe0cyMQcg4atKX2bdn9+sKy7ldA9tfNC3uUs6TAZv0sRPhsWEROJiIP/ayZLEO+YnJEFOK+rOxtyd9p24KMUHOf3KKQJHMO1G4WtKgAjePVETNMjze/xqKFlT9DrxcMYT7rurDKb9KwmCwl9BDKCTeR6MrE+cc2z6Wtg7KdDzBGSyIbRsgOYcrBIRcuep8Oqak6uIWVgcW/rvCLqjJNp6eQhOszsxKvYoGgYlDc6iGnlvnNsz1x7xO6YuT3X8yGW9v258iyv0gzUEwTWv2KaeaR/eJNe582SeszCgvMIME0lS0rwNgDfyrmcBq1zqk9ACKwoegw83UT3FFNpdnlX4tel54cAI44Hf/JoEHVekp6txKz7RJaSGG4g7w4XZpSMwfG6BhxLKVDqBVnJzxJAcuGhPeaJZI8+tjRQQDlBrgqCKmrzb5mDc2qRrdeh5UrgRaRB5w2Zj2ZD4km1Fsr7LESaWFvbiXKcXUOUfcc7uXN6nIvPYFAwQErt/l8jlXsMsaphWt4+km0JRJ79FJNssaSBVvT7lbhNhBPSzmMxgAIzzj+AnvPAWHStYhO/vvDghuZcfR+o25dQ16LqcEY79F1vdpZ3VuPdXKfZeSO3y358++py7kfjbHTnlW73/VjpFgYjH71zvvbssqRuKUKL9ECDxL/50ppNJ/NKTq4sX0pUDDR1y3ERFMyBsoVIjz3Qlh/9cwnAbHpweM9fn0j1lpBWIM9bL1kI7LtOv4EeL6/jwybjjZsTRKRDvmNghU0w3ygJCbOyXzxKWzBacU3t1CpiSYOjeoAaiqX3bIqPHVGTzmuiX/YZ5xctPc7z8QOZik7S4mUYeqhCTS4cMMKB58j1+026WC8Z2cnK8lmFMi4IA/lVB3jmgWPJC86a6GiIqzkFbP/XzkeL1aJjlrFSNYqqy6iY2ImCkaOWrW/Zhk86IZXIU9wPZGDyzQoRnyunmlSWB1hqpM9YW+gxURJvpv3M9a6DBSKi8r+CX4hTKVTzT7Qw8TgOnvhva069W9kxSwqhObepks3Ux6Qd/XLkhAYofWmfNvka/wX6/5PFY9HXVWWQexwkVmgtpS7HsL3cuCPVlJdZLecqOiKPqo8s0haxqE5cLDsgAENZnCYQvrSbFJnKnk/me9Dg5db6+6r2uyzG5krkB35hgOmQ1gVV5BMFiO4fcvhNstXUb2BsLuS1PZ6UkcKxOumUaYAayhv5oeeZWjOr3yrC/NGFXD+PoFxs9Odg1m4AXcCLe3SwqhTk6kBi/WOgVjqQeEXyv4blChGBqXQZtCNJDfeKhYiSEOjDehS+Fz6s/VAhDdNI0V/rvF2LZq24VvzRs9TopiO7v/NnoJGqOIuO4jcqAaeWqPEG+60/l6QjExl+TK/n2amr2vino3aEBpGVHh1lw8eDx/IGOidDKgKD5CeKEMWjOwqBZTpBVX1/vo4yq/hsREx7PKqrU+OrzQST8X+xet0QYjPIph3C4p3zgFyzCzZV2crEfQrwjfHAOb7Pt2a7wZgVeHj5QgghGNw/8XJzdwAMog4SxoWRmXoZZfvYUxCum7s6ifQDtqhCqDK/5yWcFoaIoIz0LRerrT355GI2JEENDJSUE3NCZZF0DVzGYvhdhWwxS1EE08Duk7vU87SK58nu5CHXDmGLUdLnef2VhLpNaNC4yXyHsWYiBon4+S3Xqkv54kwUZ/TNrZdzENgTg/rviLJKEe3MCMTKcrjXMUGXjtCi7rU5OrvpXS9Nu6aSld3nTLMiOEvvXUdLsZqw274IaxhtZLLOXgii7Gcc5ZSp0sd/Wd1Vx0tEflik1P/55kcQc9ZnV8rirK7LxKN3a8Jf9MU2Oj0I02yR42ilVxG/6kmX3zEM0HsBcr1Im1Nat3K4I6bvFEb7Drsc41bwiTL8D3lB0zcNqM+CmaKTkP65AbrQ1BrSqMziBW8NRTXG5uNXQ7nhXT8LIs5zarNnbTgxwH9axVSxpktS+bLjOkIU8rzqB+dX+yW4YqDBU3u3rP3wy+5epfOEjEg6bjAyOuFnch4hCN2kowL2VAW9y1vWHSW+is398LgSKQ9zlljeHoqHJ7po/Usogd2PEGh8FzlF2MFL/KBAp+L5DVD4MGD+nqJc6vgUMDRTaq5R6H934hRdUr+iXX+2PVINFw3cGTUBPfAvqdIRe5JgCbf44yfr6CmVVskNE84bdQ3Har5UqZ/22AIeLd+nfSe28eg0yXbyGvJsHrLZQTgvFR/pGuUp6JHin04o+EkFz9p0P68ih7WMUjRS3aAXy8pEY+Dwdca6heldsSxShhq66mJrrIU1B+Yja+pGOGJitTkIZWcsDfGWrZGH8yI5oQSE3fP9IfXb9mz4ROYcXMKLXow9q3rlQIaocx7LzFmABPjtMo5qg+f7Z1aHtY3kgy33c9coThZ/ty/yO5I/hBNV/KYObPM73JocKPyStJ2fNwIRLpnuEW0OFnWrAKboDGvFbFAgR3o3bplAQqRpkwBH4c+sm9EwOYSJ4yEiukhd6soen48IeYTEI8MiVQJppelPR9VMtoGnZEEvj/U8DQTWG8oT9+rUZ8Xy/+hphZyoisUaoVu7i6cKCs8HoPaHU/IWWShDXdqDqzsz2g8K8W0ZMQ15AKdHL8vtjUwa3glSsVVSZH0RjViK0/33MsPKhoOFd1WrX7r7lcGTDvyaucGxhMRfOe8DU+Tic6H3tqBZ6dX2w9cbt+/fdZgdURPhoePFiXSWhTYBWuwIkWUrEXV9+x37ZijsXcIHuIuKeGvAz7kUJp99mz80/3QkGQyLR83QeCynQCWOmaAsajG/cODUSZHBhWH7nsNVifr268vxjpqCvWjlynq5nWNTgDokApCpw+7QFOHrV75aJF7cdlWJ/lw9rDWtss+E2iBNmhugGeIVyIa5z/OUmDvwtAGt3S7k3K+ojrByUpAHRqigvXuzOV+Vz88bVCsKkosnQ2dbU0VqDYyuZ8lDeOpEYoVE7NJZWxF2EKecPsYSh35mLkz6KF9GoqX9BWP48jHW5nkuctIW3oHJQkLeVSqbVKx7C4QZ1zvGSeng9Cd9qeVocHgwz48zcZ3f6gNjOPgF3IcZCnTVqjvDxCj62nwRpk106O7O8N7PgB0+TFVZDHUc4t7z+Mob0dHjZqo8cuwHWUFmppb27IPPeLGuqFg0MGjwd+L4UywTtFMNRGB5GfqoeXAq7LYAws1LB/svy4Zv8X3ptCuFy9mTXlIcaGXAc7HDGi/yMqelZHO2SaLmTrxV7yfLokqF9oTNi2sAifW65GbUqOg/gqDax0Wva0NPeG5BBw4jzmLeX0nttQNS8+aeSU8geBVyqzkdrRVUVLKWz6Do172Zeon6XHbA+I5YqCgQzUbYjjTzq4GRTU+yFP9hM8NNICwblYoJ67Z0qf2qGe8H9RZqw5mIILMZFEl7jYzbUTyMRRG1GqO2d5KnS3Rwmv5pLq2dyD1ZkOdD/5zDa2wmYYXEXrYoNaWrdUTeQMPglvbuKLwZO7S6jvEzjeEBaEBTeu0HbDvZ68Y1qi/USIJkUMEWJ9xZ5gTYx1tkBSi0rqRfTRunSrLbyiI6ywqrg3YjTs1erHTDN7ceKBnxsR2zgoObPb0QpHhrjrcXnQi2tkxFxvGHtav5vNbMVXpFMP6s61BQ8SaCepP7t0wfEODsGRqC6MeAsSfGs/2U8O4lpgw1Ey6sVouBnqBbNmmlC0U78qZuRzSwtQ0i0OELRwNGGj5Y0LtfQG2rKaYJ4JOFd0ZbJSVwFzFTm5gSbGLUNHv3+ivcCXWPe84EVlk9Ik/pd/JoQTjnEpRRJIKj6TqAUp33NxL6Em99yeBp6G7vvFvyyYe2/v9AZGGoxA+v0CLqJ2bN+3K4WjjRSy2SyxYqcKBhW7nrdzS1t2JsNtDfvKzCmyJz/FO/cks/j/wV4/ir5vayvzaBTQY529RIT+aAqkE3HEbdi/0h3GOA1KnrArEywSa1KnZ7EjME2G4DJwIx5Har3vjdHJvKjvdUOQtGhGo9RlJIwYTt+Dhb+gSixFm8ifBdD0tA5oWala10pNTDK707sO1NqeahU2ObqprOlrW0/nG3iv/wh2aSXDwOB+1cBGZhcRZjiH2bblwMfMfnpXiXxZLyScXIQIqNNtYtalrWGRgGKDOSZCmn0FIlH6CKaprbtoAsAe58RWZjLNKDO+cOsfZjJZNJxzkQyBypxA6Booy6H7368Y8khkacpJLKVgq8ZmskUzG00uZhuEidCs0bBfQwteeuGMxOztPMyxHegxvY+awh829W/QFSmg9gOLvaV7uwqNTWK1unKn4ioRvG0vNesLRHp4NhUYWS51MSpQNzNKQgaw3Ku3k5yeyX00sCHMB3PvxkSwNFhXDixWXkRaz9WgDxQZxu0G6TuNhA4M8BPYE/lJGHzNtpFma/8liEQKEz9R0jV2ok761Sh8NjBw/4UgvjPut1119ltU9e1tO8s4YDUsGHc1rgqHycirZShqMFIGWFYZZ1AIXtLmANoSkgS0nxh6aefoVrWDpjgmCPBOsMJ4pXdYWT/j6/CifYlRLFktOnoOKDYsxCL1g3QQjpw6o0+BiZMTUVJV9iLYux4h9KjLYepJCqt2TJka5qwombnc8pA2YSzJiIIDBXNdBMd8FqFoq3uE8e009Yy3oZhtyWBntvPhpg+vozGjV1jS5VhkKERg/qwuRufV0cQx2XXuNJ6Rqc2pDU4YlY/qUjI8dNqHcIXAoUQlrIkrX6yOUktNEvSzPwk1zZbqFzWqIk/W00t5ukkLDh6ThjG1Cfwjp/pkllwnVZhDY0pOzxqHLzOXsK3nkSDbuCrVlj5KNBHnDDzjMLy/k8MhO5Tt+YIwbT16t5Bo1F8z59BUq/uBLvx9ipkTpAUMQVj5hAIxDPjEXNjaApq6AiPrmqmb8T3sbFx6QlxAcRF9yiMm/nG0O51BAqmWsqkb1gT2duBydK/6CEIrdeTlK4WHuUd4Tk8DeEouiuuju5+awgmFE+DgKLKzLsf1x/n0pEcEtQilSHLgbDzQJ03vClxpimeLks3OC8xEB75KufIy24vkdEUHntVMY/VSU6K4SM9pXmgyeMVp2LHRoyYsEqEqFrOJWxLnjAqwYh/FZx2cSvJcoV2hPxC+sg8l7o5ZYMmbSHYctzuBP5bsKT14SPolgQ9UE0iFtKdkDw7QG6LuT7eUkau3NBRl9S0ZDvYzXDJcc098u9rFDy6UKLqHheFR/IuFtsfNJmT1i5qtlBr67s5ucui6C1ZnjOg7EUAD62wmJs+2qbI5AidFJDobHxib4BJGDTzwF6TA76OcexbPNVe9Y2bWwrJEPN+F+MSeMGw4cCj/F3q2zzrLuEUAK0gr112o+AUGVRYCV6eQ5jPa6iX7ujA8imBTMl0UNruZxanWSP8w9sNY4PU9EY6esTc+xyHq3FoW+WHlgZ5yVrziR96GTUPusnKfp3g6dKFD0TP1+EDVqPrg3RJaDeIB0WvaFQYpxYjY/gV0BHcZ/pGPAW6zTpYRVT6Fy1EhS89H2XH4qaipKorDyT4V3UFCxfZTxrZMczW0XClk78Z0pHKsWgaNdYIJANguT9mM2kipU0cg6GTiAVbUJtnlTz1X/XtNDRDPQRh4lsKqfKcIIJTwAfdD+X8Wca5ANg+QEmgI4Y1jnE46dCJMXBf8EcYMgEPyREw8+muXS1OCsZNEWLEJ0s61aalgm/UrKGXCf+wmT7HnJzwFLny1hOnGaXIqSotkP1aU9XMMSYB0WF/ONyN3WV1AvuPqVlmIgPwTmlljIud3BGZqiqA+12l+qjA69DnCRXfgWlajxrn4hKZ9BRAdryOHtLYf9C6dbDShSQxW74DGTC39+5eNAwfWPKjgkX4s4oYdF6aTNlcDMahtYUdXowdTv0f8GPm1H3hYcCyUzQLfQnWusXIpaYxTy/tBFhORvn9DIG3EBVH9k6aY6r0O1r8ymICTRlUDXsNVODyYxpodmkWgK5rV35iG+Qj8utzvDqKvvxkbP2mcbG/e/Bexcmk1TlJu3ELgIDMy0vC9MnH+E5LlTk0TZWubdQfVV50yXEcFr7fBszJbJ9M8ZfZVhhbQdjluf1sXV44vlUi5f8IxKrBwFWh8e9kyqGSRxgFdAKUv55xXWcXTrYOEmNzvF/63cUosh72Z59qQQmv6U3avcjaP9PEmx1Gd3Dmp4ljgKhsEsQqSq8BPBxCMqcQVBESIDq5yYWfTUMrXCZAw6yJZF29v6FtxRqrjD3/47WCdqoh5SVuIBBBBeQKI+nsOnVxrdexwluZE5eudJh2c6AgVRSP13FIRCl9ei+dEFTYGkxoqBlhvzCWeKe0P2xbKh3yF/QSLyo06SnqnfPXkgYE6G1wpABSC0L4mJoLnLhmqPip55SF468tCa1WjVfrs0m80s6r/P5ZxE/mXNLT58uBh2UIg8jN5y3LswvzkE39SuUoq8rs1JDOdcuRl1Xor7dqk0AABGpJwQkIRlyX35WUTrrLESypcb2MWRUsbSzdbFftmgxXfj/hUqJ0rie39TBHAWq7+MfZcyg0C7vFlBkUyJHALVQyxD0ElO8HmNyzHve4dCMIK5tSI63HAD3qiOsXke/8IYHk58Cudp1pwH02BywWI0uXUVGlpsQED3R6ipExjp03KOlhqGLhXjUjSDzdHulKA0dmg3HSV+1YYmyaAnta/83AxSM01/RXOpJsCMvfxMpbrrGCoxEUK3z+Ti2d9fUwVKu9qebQccM9zzDH1FP2PYYNRnjIIbJGMix+sXU2wam3b075v6HZ5GgPG1o/XMGqD6ujSXDtWGqIoluSn+xkQxmLvbtXBOHORDgMfBNUsmA3WhLLcCiCED0Tcd+9gMPhvLZXNm6sbOhR+kwJXxKA4m66sv7ezRC+lQ45ZSKd5z3ogDuzxJg2i27OYCm6Cg+/3P4QY9hbBbpB/TV8Q1BwEt8gYTIQoD9SMkWMqby09jSF+AMO8k5HzDqDnSnOIGfQDby9RzSvw4j77nrWfhMZr1UKvDz13C0uElqK5Ju0WK9q3TXLfL73AkagaaakcwNUfTJaHj2JZMBehceujTuQyD2TFZItMXTbt9HluTfpYEwgAU9kUwOvqnCMU3SJessm+86g/Rlfb96fGwzavQwfQAlkqYWcF/ZQgrjOnei+JSqRDZ4FuAd28bPUMcgbdQjxnm4Fs8xFlux1lZxuUGm9ioJCoXAv63/d7No6clW02FN7H7A1iwLWFgrll9yJyKKduksk37JDJCfuNOa74afPv2+DjLl6ItZQcFeqpxhBpqP06Mn41w5WWHB+0ehlxh/taMqVnjOq62CskGn+JYzTwlnhcV1hvHuX//ofbTljD7UyEMb67aT3WDLjaqR5TCm9qXHgQu8snB5F52fIAl4D0ocI7+tlNSgNGmN024xHtH5SzzEjllOrjFjCL/FBqAjbOIxiwm3Nt3Z/tutm8y4NT9IfqdeCQe8lBTxDffmauZrPteI/6IHSNY9p0LOw0Nc6OFJYm+NkWSRqYHYcLruBSdr/bmxAqlZKOvc1IHMqnX0MrpKVE0vv4/RIFoXas+lpheP34DtAtG7WbH/J0dzU4nwoMn78fnTb8LXwAHpRR7hWX8zumDiul5lS6EcsqoDSH+kphay6Mlht53mR/gmdQzpNmgsILd4FP+xUedurJp0R4MEMbvo0BoJekEFST6uB0qEChDtilbmAbG6PcZ4dU88Sv4iGiEYuD4EYvSZNXl/occZ/Qk5Ed7UZ5zb44YBxwLYabqNTgY4CyF70W2N+fCUfIx79atTHoHmd7UgDJKTc1pdnUFAHDc0PIrxmf4J6fU13WgBBRSQ5dQfbZwsoHtSECnB1fEP0VITho8YP5zp8CUH2NQtROzyfJItARJcneDAQ1Y7FmPv2RuACjSlIvZCHVieR9GKEnOkQOrdlJrVEoYQG5WKEShuslgS4u5cqa06KdD8JAPs4R6wi1EQ2JffyRlYLKgh2EzG9IrIjYHYtNIdzMRhSIh+1pZLAYfNezNdgOJb1kxtayRIFej9kk1ZaBM3W2Vr6BrUW7cgT2OWHUiX2w2TjIpZyPPduptNlXd1IGvFf4/HmBfuZhoSewQ6GP8NcZ0EY50we3ZMOlR+LuogxgBEAjvIT+Rk9MtYm7B4tYCsMf8GJMaYxMAEF7W7hNiRc0bRGBFWV05yZ5ZHZljTUIfr4Of9XDkPneQC2G+vbAd2IqWMlVMbyF3mJtknKEa3y/ya+vnBg+vjM7qDDplVAzjv6UoxU4ynJaQDZmzTzsv/RkkT+FkpLf5d3X/u+c2IFOS5BXkLq4HEWjsYO3sEKav7etZ9prJop5Daiw7P/SvKIVtKjyoA6+AEvxZ7HH2IgXxfJFeVp/cO0fvzqJOGqv8UXT25oNOYhGOfUwJkq1YqqBaUXBaJvs2ImnFFVWwm3CK3805npKuOlRyyZv32gds6/krYsEBcV2mY/V0npiRZAKxa5zcy9IwFxy9bu1ZU/cF/vIhVKeHLGG5yg0tnXbM+z4FSvjq6/UElWueSMUx/HzZCoTE36/DtiMnUmvPGqIUEixSQSzDZEIdnp/pNHvKnzA2AaGp60PvBv8AGgbgZw8vu6jmM1y+IwVEAmnNQe4PvycbxjgPvgqV/aAmeTKNmdwazGissPoRCg6KNyLUFtpK8sZIFv6J3VLkaO0LrbFP/otCSApmr0wfyXB4DobXtvJQzXLHoX6dTqJU5gd+6su+xbqUbeQ21FGVegQhKw18K4l8jDq6wZrZxDCQgnq7FPzCISKKXCCQb4NNWQs5KQHlP3ozhB3KapelkyXZYxWlccX/JyQui/gOsFjNWos7NPnXUzv8rLftI6OZa0YcEz6BYWdYiD9mBBKg+51u90N6U5VVFU6VEx1ubBrpO+wBSSvXhZH+uV9d05FxBEDOZ/impugAh/iOLNGH3IEbIykAORWi6+4aqwK6VzXt9rc9PqlBD11a52e7quMPO1av8Yi/KcRnGWWZmBx2rO7OaZYUS715q/PEU1qjMwjv//5qywGOfr77/PWUFjVQHv7DA9eWGR0DbYe+TviaLT1H/M+bKTXmzYlucntRMDL+6mLopMw04VpZKxNsuGmPkXeLoNRcrGNE8/6Y8VGyoiIRkSOX9P1LXI1QUsEostyw891ozfZYWcC/Mcnokml9zDbDUo5FLwsrvpEaSXmnnG+wbcZ/xSB9ttmVRisfNTMSm3KUF1VH8NRwplbBM4LL+sSONOBJSbzVORtoOzT+Cmtv8fjUDciF77ZC0iuZibdbFkYxdKmvyMs9a/d1/F8YGMxNgW5Of5R7XTNZuYc9QyKoXv6glmDfXqzo0DXpPBrwVM1GpxWY7RldAzgb9kbRs3RiekkWb6BYAz12rgpDTu81LGqw0gDJP43n5U69F5EzpnEsG3nZIGfdQjxOil3D2/wfbbpigFmuu2z3oRoF8Cg2QY6iMG8R3QXMtNO8edvj/PfVUGAzXoZ3c7soTZ7GN0DZ+ZfCOEQkJ0hkUdsHOXJgGbhRzNimxQikjo5iCTp4ed3PnUlyaPUjgCaaNgv0TgL0aqSsY0DbN41kaSHjHNLUHEAvPZ5Ik2/f++TykcCtMbFTe3Z+4eqClomTAoDGDMIObMHsjPWhxUvWuFP6ONPB0uZPwW1b0tBh7dyvE/RtxZABH4YvtGoCKVy22N/iVZIA6JOu3k2FDbRn4K4QTy2GNCdyZfrvg+n19U5q2kKnbwOGDm6k36veJkz7o+Kq8OY0rp7EUQKCKYZlH9xyf1dqmUm0MypNvSbTCfccoAZxZmJv8JSOnuqwfcRhmXsZLMbTMcu2sBFZPpLmVrXS5+lMGBg89wBuE5JVkrb6lQTOYbz+ZELWij97cR3Fhv6WhcJAVAOKWEKtgsG41tMnnns056Hp4LENCF7cUyqHzS5PqmBBTqLOgnIVUW6kVGlYwNgBD3uKsNbx2Azhp5N35rmsMoJJU3uJNFy7XnBaK4WXBfE7Pjw9+5ZwOu0FlHl18bAy0k6jXiqd0A3dfiO43LKoukclDCttRTnmMlWJcUtLSKhV4RQOGBaQ1h0AYiKTRPa56/+SG41T7KNcDb8X3WMApWGXRotQlVv+bvDRTGEDb0XE8jDgSUlq9TyIGVRkpT2yooIA3gO7rQiM7BlTOGoDvACxOOUtcGxxZG5qFOTa7UVfknLY3M9NkpgEYCVSqi5Hw129dRok7855UROTDZqzUncX4TcxEr5bAVRrxSPmzmMDu1/aESFUmCr6QHq2PTR6D5yOH++8H5J1BsVLEzlhom481n0EX8PuZWYHTniYVkvdPwuO6W3qcT5SlcdV7Lk6OLLAzRWAQctUexsbo4REw4x58vG32L7WpRy109ziWdnbFvSEIe/IL1tagpL4FLxurpvjBU0md/1jzzqOLmI4qSSp3U+CbxQIyhyYEWfgKXEfj41NRmdS9R0tHWBF2DwF7UtW+gtHq8eFHOOzrQsi1jvVakvw1gGxfd6atll6wJq41O5t+CH+fxp2Yw0Cf44DIXNB8mqScPBKl1a4BN6osre7RWQ3phT2y6xpBykmE0RYDgGR6hB2432qrPeZN0z+QtCoUtL+NUzeTMQtQQ14tomLb2LUy1jtCncSwIwWBXACKFTY+exzrjoAj0MYd1dvDTV5l/Mhzq2q8ckdmh05NgoscNaTiBjwjdXYs0q7TR2q2zG5UiIcZswlksG/ly9yOaRp1yxOnhmR0QcsKHY3F/PsSZ39e0IKM/qAHp1hW2y87fn0w7keNASy8RvPNa5caIYTPGAl3DA8XWe+JClgzmuH8M46501N4KJG2L2u9s7wY5m/SqhNuxQUHvuH5OMw8SLMVc5FRwlBzZxzDTh8FiSgq/ftEl3QxxUMfM1Rw4ctd6F1o0/Xc3J3R82PkG76lZxjMpfbnU0dklYPjAMqUdUsUeDRjVBJkHlxlo5bjdoC7Y5yROSEZIbgjn3VA6lM2lN0vLK4YtjnDOzrfE5KxGT6eyQRjTH/W1m3BUe4EvQlNPWFksDRo6AYgRiXxhPpOTmqutsgVN6g/ynB8yFO2LkO2bz4WH/xBYq2oq+kmhrf+f6766isH0ybS9RNvr5vRzUOIVlZXECLfEQi15QVkkQjFu6g2lEfbe9dblcIr3YsPlucdObHWrhLcTIzX6/l06wdR3Kwxtl6eh7/YXQgUnIpxLK81HX1Kfx+RYYf2QgRvyg80CAZtkLhUfyxU83AEJjbcUiNpWNoDWpQ+qyntGYmtSHqIYkMidMQulYpkM9SPrt1+S86OCOTSCmiGQh4ff0yHSBsAY1nX3omu9rS5kIqATBGnCg8BIg2OrJliI0x5LDjp5gxWORjP90nLhCxVtNngD2Cq3E+8aw4viWyXCyUoRYtDVXC7jdbHr5gxcU+0vQyVKbqIOrhMtA2ToWum+5mWrlY/Q1+DXhR9lkACROORnKK+D/LgU73CDck6mn4+Sgz+EO7yz0vfbYs9F/IGRX8H89TOnEpU+kZSuNoXdVFFOZLRxerdld8uROHSbdeTQ+KVIuyqpZlGVo96/mZjHnBNg4L+MJF87U89nUY+iSobI7looRwd1qp2f85tXchYm84gSbQz6nniH+/J5ZVNru81S5N6FKSxXEgrgqjCJtyGjYClQa9y7EciHYlbEUUfQ2GW458MfQSvmZjlbB+OrWHrCIDgHsngG3YAEXbxRhQMIdYeqtxoRZXTqOK5JSHPOGrE3HpDXj3FvdCID6Uywm7euO/zKlzYmlzSIlRKn3qUyA6+0Rn3mrSyF81KW1LRh/NyL6D15hZ4iTlcQQ9siYow9RlWKjeNZdY3t2KWdXoUzJ4o1TZz5Xv9UW4/inynbCn4eCKDw9cB45Dblh8jwKf3HuROhz2O+JEiM6VQUOodVbHVnMeWdPTutPYCwIMI7kbgCDmhHAt3rR5I8dOXEx+15D93eBcBb4F+Uobt2s1NeJtJ9o95yvCyZmgvz/Yufil3P+MuZmJkAqvsDyYys1Z4Uk65I7efa6ZwHLrc16osrO8KvOJVaHn+K/QEh9geFsfGC8OmKS5uTbyhIqqH1SseF1Gg6qIG1Z3nDP+10KL35zAFPJJlHJ2UsfsSRVUCHWFPV/TxT5r3ZGuuublsXpIUiEwbntyQe1NzkL5erpBh06GAnvof3xwGZPtEe81144eurcR2hZJglzPywFyxxHptZJQRKGRjl5XWgKpAaotYK6LMg9yM/pg5GV1ZNSBp8gi6iEZv0XVW/x0HcHaQx7yRLhSU2i3AazQqVnRI5vAxYvfpqEyGL2d2axc8XVXNe+AkzoBSR8PWrxB4y2ByP7VkDvm1eReVQqCIXG0qrVUJxKabKwiuOt7mXmZ24oK49ZemgJJ5c/jz7CLof/0l2oxeOQtX0D1QKorjo5u+wvzwXKvHr6xP/eoOP9el1OeSjTEuE7qNpKeqNl8jNwuHczqweg79fGCy3aAfl91m+UXO7xmz8KtPUTg8HlWEq4zFiH1ccsyuhBijCqyli5mIs4gWFK6qRHSzew6yx9zAMrVlD2SwDy55bBPl17TFD+DJfsXtl1vM0wAPSvgtcfQDGv0hKTTTHbQ89YVIB2RUlwTi1lhYyLOgOV1bPqTMB4pF3hLE09HEW+37/P+jk2FSRCQ6HuKm8Gr5CTtusAEyJqDeF7g/cZM3814ThA1+fvDkUgO2b9kdDsi7BQWLuALJFeGzgA3v9Bt12ZS0lJ7APA6Kd0t+RH58OYJl5gSxrTVLgC2Ud5Kp4UxXVZf5pYWRHlHrRBTXvfzulVAft4F9iTMqGtby1MQ0cGIMewrPEuAI47fBykULO4n/SZdzjBwy9giWPX8dF6ZMg4rn+jm9J4wWCTZXxkKaen5zscH0zxaqzeyhKqNVHKlMFE01oXwklZOBP0gA00c00QTVUZZ4omCGGERV35cDlu5/X6pI7w1cy1zyPQJITNnKtQH1fgnsuS4I964rN86p7YuXdQmq9dl6LbUkpyyErZrh2XL+TlYgPlzN3pi6xc34YPiwWhTO0kIQ6jMfwFdrqhavZ7lLBF0JLxpwYMeHOGMGd8QLac9bOE3kvtoDnPNIw67DOPbJ+6p4yIbGWw59MDBH4akAEoQIRcUJDlZQztj9Ub1ERxEda56eTcjgwYtpBY74+1Y0RtiicjQOnl4sM8AMKZMTrx65OztFiEUP8e/YsZUwQPKnE9fA6gcwEmPgcLY6MNgtcdnBsHLxmg/vjDZ947X9Vab27HjsvQskcH34k5P6mOkpyLhAsw/ZyuVqBleGq0I6b3CnqvE78mCjRB7vVijmD+8AaLI3c583XqUO5JhSWGETY1qBeHi3Kt79aDbzdhFTipO4lMfTTUTiIeIvnOMVkalY0xN8j/pXjNSykSixfu++q7Dd9sVmfNEoocw8BlFG6sIzy0xIV8Ash1FapZFDsd2Asb7oN4o2wzrPHRv6UKDnIqxzT0uXYelNIZTXwCddC7OVIyAYwVSvmUob74ZowzevJlY5iYhWbHrKWc+f+WxG+kXjpglEgg2dSqe//+XmQkBptPDsuDRYGSbHVtYhH5LWosZg4Mjhp1S1GCDqNIfSVVHYMCJVf9Z01scMWslIeaWpzGdGcS6DaMVMS+fTrbrX3jq/NT7Reb8MTHSx9QKbCac+ceN31zAKOpkGr1dZ4ornmIzEzdWYFEuV7Z/fZsHltFjAivfW7MjTFtvgw4lmpxKZMFWev7azzkZwIBJZ19X8g3AXJXgCcHNkPyi+EgWkvdt1bGWs9if/fRM6JK9KfieK5XpZAJXFrUaWzuLwIgZ1ItcG+kLr0vXTtGKR6Nk/y3MbA91AQr/C+CMLHiO1BPNeZivnSBhzOtI+MrSNGTmlN8amfVTaV55mv2/9Tk9dW0kVEPp1goYhiGxXtZJEeA2YnRhkW4NNvXUyrHT8rRzxip+hOKtvwf/cY/M7/P7VyheQG0oYFVeM6S1zpHIo3V2wbECD7JZ8aCAcn0QCMKwpUl+rZbdzA/WTKXfU4LaIRh7AqFcyl8guVmLzI5vTGqVEG0EpuPAYfCuTB+zgQkrfq+bCgctmekS9LHXflXNpGYIbSsAXAK3EHpFrKxANW/NkGyBvMhvwJSd8TpGCAX1RZqrcCmBDa2LXZ6rYZXomLdGkioNDWVET0BshoebaaRTz2UN5dTdSqcra36U7U2YUrSTIQQNhL0tLUlWmr0b3aeStSXI5UfjpeY6ABUnMpWGaNcyurmE+xysBiFoI3VU2ubDyMiQZc1+nKHFu+oAntr3g7Q6MbHfOqtCTpcu85m206SeBtyE0XAQrOWaqvpJWA7AJk322WGk9dHBivh+U+5VhzXF/GpQK4kNhzZoBX51s/WHXgXBDG9tid3XNlYy+gV/kgkcEFvUcCBiBPK4/r46Ts3FLhjMFLOvh26E2/SDO34xHFM9UQOOZDyb2js3Ma13A0q8AEqNwUSYUU4uvuDuzbOQoJZcl1mBmqhJGb6JSoEQpCrTccv7eMdoOyXBQDKqyIeb9VAI0XY9Iy8ueDmUf2RvFIIrmftap8UW0GUZnCbd2LwADucHC7ZxiGqWmfJz9VlsJamvHdoT0DfHgNTxOODlnHTSBz6gce0Ryud8yjgPUBVHa3cEwugpFhCoWdX0zzsFxepZ7IdwQZc4ak7urDkV81p1h390V4orqJ7Tr/ckkbeFgNmDn4pBx7JRRueSxCbLEkp81lfOEMazd1FF7RvLgXKEpJcSdhioCAVB1AvIanrzK1ybSHH/0zIHdBeh5G++nYA0g0/sJo136j5xImPNJCKKhrWvCOnrABXZCSTPNXLg315JmUJOIKyFl7tVOdZGf1pMkUYpK4RzKL7FKh7rej8eAT3pMP8sWip1qAh3QxW5YFeY3kxapTWa+kwAfdzH6eQXSTthVX9Bi+aDqYww9x0QRDmmYfGwsYad2qJUP1zl+UPn6+QWff7heVpDRJelGdw0vB3Ct8oa1qP8W1kZvhmmXhieG5WR4CrI+xMP+JgEsvwZ44ozIyj5HZC5wYHUJxs4AZcEza4fKzOzqFyXDr2caX3NxlfcK71GUZF6tFGeG1tMcXq14cEj8Nti7xoOkLk7hnbE7irtgcmeTepaCVpNezEO9Q+4DxmHUN8Yl7MCDEolSc2i6tI3bDeRMMsYuZpsD4dJWHr6yxmxhmlJinyPqR3rGgH/ubY3XuqD2HnWOfGuaC1xkEsz/gcfZdZVyzFJP3qRydi7o+WOfY4Ru6AIpVO/4O8C1+84cM2+js/Ky28MYSmQ9wbepzp/G4194ZOcuFpr5iZDWs3MUSlJnKPDMJ0HSEMQvoeRT03iC7EQfAJDhGfI6hgURw1ewFzQweD+o42nNM8eGL8lVzt92ZmcEb5ZBps6GOtLDpmE5q0/BhNAwo6cQ0754CpmJAmHWtDoa3bmXc6y5f6PoAxWwfp4/K7g8Ky53nFAWWn9Thp/k2c5rUnObApgY1ITdCbw0ajwpDezYpLEsy/QCrW+lC0HxSWVFoUIgKRM49bQWNQRVkYYUhZP4ZrhlQAvR7zIARdSbP5XM9LVJFsNYx9gL+CxwDNBXdChNWu5mkGtrCpXLFR0gGy2R4ABEsH1OH+ir4t9H/w1sXgKqZJ85Z9D8BTQ6LjTf/4ELBAD7+1tjRd2mKCq1Eo5kDdGbG8GeF+Td7xVrCrm8DZVqs1rdRhCRxzgiUHun9cpv0Xrf6PLsrpD7x/dgd3RuNgp26T+rJ6cRu2M+0gAaZKJgPS/kPeHlK0gCyCVY92SIGAA6wEDYUw23fi8VCZ3AFSO36iAgoyN9ssYu5hbscDTgt3JzBX/Jc8P1VezmO6lWvNl0gGKQCiZW1bb/VMaS1LmtqQquopB3fRm0V20IzCqlATWWX294yqnZC8+wxLAAwSjIGV95oVmuaRcByO5KWxB9C7awB7QrrfsXV3vWGbDYs0Ye1dtmPKAy7e5srCOeLvPXYtCk9DNP1zzf9AydI3OSeJZ879s9avm/ZKyRIe4/2cajYRZf2kNj+v4JWNnyPtTJsBrps++OSghJeGxgaMTN2GYAWaKm4ZcJzu1zZrHjUD0h2QTgCl10wbuc1Jdy5bWJxAqEmlZaOAQX0D/FD6mIUwB3WMrl6kKP94an0jRWPQajdOSJYbRlElpFpDEJZOdHmQpR/1zXnt2WLN8ZO6ocd/ymD6MvN7eLOZWvh2zA5q90wma6k7QvpCvz0BkB4k3VprSXiPlkOPtx3R1VJ5cBe4Vz0W58tTHTu/jCZ10Yu0LJPJTeGuSE1/+cVsu/GU/HEI2+urSPlba0vbxkRvFMMTxak4ppbWVwYsoXvnvsdYYxh3EymrmFrR1yz8xcjLABbDZt0+nf69IP5YP4KvMSAcMLtpobiCCFDbDiaAvs8w/ldoaGJu0ZOGHbYmziOFPqFHX7VpeF3QhMxFCKsjU6CVtOLEt8UYt2YQUjrwXDKjNYCt6lN5FMX6M5Qlii/Y9k1Gz0j1HLikS82gl8ecF6eflj55oeInfjkzZax+sHVn3vchQhujY1Rjg7YXTATYw2ObZfBgNRydCkTzgb150gJZguaqCJKxD8ovIvv3j5rprykTXCi8AoGA6nQB+EGPfYrA4NDKHiMe+hLZ2bDGshCPMZQDj8rkDZ4PbAarXMxuSrwvymaUHZUfILJsaDgyML7I+JGi5GSc016ktdnq71JjDjogkeI6vzrGobLXJj66kCk2+cUgvYxiBoe+vLai7JnB/tGiOqs5/Jca2/TeP1IGCqfXobhlyot/k0FoF6ilrEAtDaY7ABCmuqZx4hMfU/BLGN3PMMcbiItKCftrGephsuILfy37TlPxb3RlLUqVoP5j/gDsip6qhl9GUhVbvi65DHv4GMrSKt1U/CHUE/bBJtMQaTzHx777+kRfhzu2tZnrMdcf47HrCRcUMek+nyaOxoRAgRje+94PHd7ABdNSXAKk3fn+tw3sAnU4tmaMOvEOBfJi8BxslHip9K/vfXupM/v+C+ZYqQhXTStT63mpN43UeOyBRlXEap4zJZAO2gENp/PVngGY8EoApsGiLXEIXlr2UuvCLg779ZrAJ7vTF8iW8AMTTfBJawL8k58f/Oom6CtfGXMz8h2YrX8g03laKkuFQmCXdSaE85YHQJibajpp3fPLvbJlhsZRbI03+kR0wk1RtdzWugVpagz+g0hOCqbRzCDYWVTjZDp+8uj4+LgGpgNqLxeiKOFSTLpFlHLioQGI8bkebSKMZft8zG0o06OUdlsRC9Gdkzlr7wpzXXYijAVaaanFjMyE3BzCfJ7adSLTat+6gNiS4SRwPsXe4y0oLLH9w0IPgFFXIkMnE2nNQVuIykaoK187+ZGyBaVvuyozFXv/MCej0CpJSL4R2FOfT0j8CYbfhLg5XcO6ftvAVJk5vl0kmop+hhn8N4wnauB/iVZefJ+TkqAg3B861wHJgtuBODxsV+sXv297WMgQK1Xdv6e7OpuX8x0Df+AgxPLcj9LEi1uliCS2OqQtnLY4MVaILGO77g2d0p2LGh4PGVo9sqLrRiWYQi5hpxp2ioyV3Bjoq+2mgHI6b9TYoyv/y3pzR8u8xnPKqhA1GZ0Q8ril+PVcczw3TMrmdB7RCvBxrZabG2zLa6sOSpcPt0nB6agQ73EBIryAdYFcUzo5Bos6OAleXiKSL0jVJ7vvBhsAcxfpy7xSzbZyFlUthCDIZ9lQBNO4HpW9vhRif32Z10t7hhrcPIehwejF0zxEdoov2FAPgweTUJ5FLRQkrE6XCys6hLWksd/bsnussiura+iFTuNwyLJ88nV5+RUYmoxzNVqZb3GkmTMnzdn4OkcbSB+NVB8eZzIu98qiwkci6n6ExAaVaTEOxvJagbCdaEh5ZzF5bPcpLPmBNo+aqC1u42XNQwcj8mUlSRQEqBVY4wbvZkdssZZfU7TuWAGqrTfVymPL+KxCq5sOf6aStqw0Jk2xflehm0Su7lH1i1sgfQER7UCRFiSsS2MFX9TkYSN2U3R52Lc6kUwJbtJGFyHYsDIAYeQlK2BKyQ2OaYLKiUKvY5wnv2CBelD8iMw4siAae98N5b7TUSXyJWOui3MIRoMYYfoxRwkE1GeKAaEVotnZE8ztf7tvHhWVwJbWPY0y9Vdydu6BSNvMIDhwWgZsUkINwUEuXNZKSPgyE/kzofo+unEcKrtdENEID9C38CbnKOGRfHh6qxy8P8vfqrDfapnVzc9HO5hpV5LuTyFjPERPA48XtVFG5MxVJUxxVZ/sKjhnYGTlsTFWPSO1nNuG/YRJ1L/wkHAHqklVvfFrn08Z4mnlR1lVaC42P2BAs4r1M0iDRIdIJc2uVU6NTeRR9xukHyGYYC8W3926La49k9nLXDhjieKSFY/Drt0Lmo/mBval8D+rvuZ152cZzU+sittJg3tgg24R2v7BHw8RyciaRXpcq5egPTJQslMP3WbejVNxLlByZ6JSIrt6UwQOOn4tK++2TzpnpRGY6zMSCk7wmXTQ3u+rAAkhujw8XwAxpHzXo6ki2P3bVOq0AebkwtX4WDxwrrtMJbAuxC2nukQcba2GVzeaTk48YWAVZL1QeuLhH9872/rH4YFQCgyeXl4IEGT2o6r9p5xMGsOdp3S334IsuuG/QraVPn+++g62tc3Gv3GcP909cSRdiZXtCfJwJj4GsrNGFlzO4Mmm/p1rKZkOEjudbPMXvmDYLic0MT3WKnTQzUqdekhgHLKxQzInzCIj7yGDlZutQL2M/CwoZ0TJVyI0yyLcW4JR7eP30eg41zXJ/dBipK8SQBMHnoPDZGv3XCLyQcuupXTe8sEbdu+GXfi56+5cFjSLfqm0/B38o8Lo1wAVicl+BSJNaaNkIncHDkTlryGFsCRC3ws7beoePl3xHpAi3mwlWENGYiDgghqf+Op4kb20e5S8CbmnCwDs+dU4wcQsov2dIRaDo084i2q/qcQ3UgA9gBsnuB527Cqu9tvTh8/Jkdi2p0BXk8UR31SktPp4sS3DEI+n5tOTDtVVpltCleIYEUEPCfsfTJ44lwpqp4TFMJWlNejc4Gz3RCqRhmkPK7YxbdXMn0pXW74H1ddPe4u0vJuM5vnBt8LsAxrX32ijjAQ03/+5JZzCJsXdN8phEt2MHYpIcIZoJnT7ihuI1Panp5DZywn4+h0tbxzbI2Ib0vG/rptZ+4nxKKtXYlCN/8fliRufOAqe67knrQKHicf+a3iFbqTMBAgqmfbYriemdjCNGWrb1DS02lr9r0z+WC0yjcpeJLb+XvwNki8rs95+3hxJK4nsbWbW8jqIQqfiIHfo6n+KoDtYpyI+zVTwJawe5/IAHOXrhc/q9shY3VN6McWAkPHWVewEju1yT5SPwpoNVQ+qSJUlOfMtwToJXVzTL9ESLcofLv1zDf/q7A5BnRji8K2oGVmxkuF8OLRyqy4cKSjWhL8LDvyzPHpb4k/A2c0eHMotVtFmWrMYWgCbdRXAE3yd9dv3zo+/FYfstCxKwlkInOAY7Xi+tA2aN9/AXuGe4VgA16gq2QtDlGyvlaZEJkvPNOfXoOeD3Y5qug22uYb0MJaCm/9SUa4g/emoYizQU4FUIh1XzdKznQjs6DdVMTl2qmx//BpFOlpYJ/rsIL9L7w34OH4/cn9KwFrQ3ADF6pn4iz8IsbQoqW8jNmbKQ0BhBtfotzNkfebk/2E7Et0JHkFRn11xdJiJwEEzPKDt3gZN4yuOYabMQc1YhcEHrTHbbRMNufxV9mFKOcSa9//hI/BNnUVXFYxC4PNM8aFKXdfzp+Lzi38rL3dTc+kOx7ZR3iY2+3tH8dRl9Rrrzd7B/1qlPJvLgU/nCCf2fbCk5NXnXVX4YJQ3URDnrLR564819oVWLtbUs3kX5mouiRZ6E6ULuBx1KHckpgekfwHqvF+7QVGdOWoTk2BVe05faW6rDutgDlM7i1ClEwwb9DaEBLDVRTLTke+t1m1K7qXenYS519yHY+42ZdlkSPKNpF7+XEW1jNBI+9nc6cEgofFuNul7D9mcirfug7/BkF2etDmGA26PUKnP2rxGH1XBC+uj28VSu/dsTl2hR94ezKjTOvUwExYKmWo/Ht+GAd7bVS4GlFf5X17X4rsyFBXl02APT2jygofPPJaN/SMk0+JfG/OeMnkM8CkYe/ylVcums5HBFS1KNp7/TXvb1sMvPdI6MTfk7whoXVfhECtXoAMgWt1Qa+5usn+6TNhVyt39YNoZmwXvkXt6PJUnQ4Mv+11ran2TASf0Bv82r7pa9BmLzc3qp14nxN5y0MphyOJ2QNKcHBsruwobI5jRDnsqLZT9T1XNnYb3uSREzYTPWSOmoOd57GO8sQ6BHu65UtAxv/iFVFfpj05SgSN+iOrfn/fD78LKB3Dfu+Xu2eLbmHFjCQGkX8zgmUSX8rZILTJQ7J78Lu6JJHa2axbA2QZwl9umWAx4+qUdQloka9m8xLuaUlutaieyvQ/FQFIuzoCYSwyqrFiihT8tNXhneAHfK3pS8R3/4+UcclCXYTYe8CMnRQ5i1n8m8ZYUkiKBCjYPpZ8EicVyuXj3eWGhmN/Ns9pi71UofnX3mbV2k0oQnXBWWSOFpLEq5ktj9iy5rJtQ5rtIrGQBNgQSpYgmsUK1J5KXQRzPHTWO1lj5nBhgVTjLCp7f/KXvQMH3+kH7QfcoLFO0xuOi9atxssFHSWwd0Vmpz8NRe5GMUCjOegr0TkwjMJVoTo95opfgrnflv8HoBQX6mUmW9qx9XbD1pTly7oI70NgQgFgu4J6fhtLAqOk7n1yeTsidQ45TI0K2xVndXD75cOnDdSv4FnEdtzBCxinheE3w7B/0Z6wGh8pboZ7dB79YEmNtOILJaVw1s89rpWhId0oAkxI0Be/c+I3Wbrf9Nu4Ue6L+07wxy5MidQs0IS22KT2iHpXhY7tz8FSmKEo/vw/+pcva6uRBqeLEil9N3Xg0oIRQFXsrfqD2GhBH2IedHUjhNltlglaLxAVbrkV2t7WUrSYRYHAiTUbdL0YtVrs4hOXdd2dzD9yCbI5XMozUX5Xf6dxqObGLeQox/JXcdFaeqLLbatAeYfubr2kspZ4HAFo6hkbwMbi2ThW4+P2g8I04qRgQ51XXeuahi140N4/o5+U95/nUdJD37//jOck06tgGkC72LxjXklVIBEvVTkokg6+QVEWcZC27S7BImr8+AmQYkv9Uzj5PA8/5vR5+wF5hWRNk9yRzGp9Jtbzi05ugfjHQDGh6zzZF3eMaYKbfsiiSli7jl03lN9k5Onk0WkXl/gB9OwD6Fk1dKnDBhZ9T3LK7WTYbTdi0p0zIQzLPL1RxCz2SvJleWXBj1cmNPxGTyIybV2c5YCREgyc/VDw7MGG3FsSTIsbcx9vjH+qeKZOD/9x7NyJqjt1a5WSTsOPU3lBQqzuOEpqhQF9+hLQefPkCMiO4dS+T9enxKbpqtU4jCOELbDF8v3LVPSM2aAsKl5SjstHzXmmDwfK0bZTb3fcvv1Vd08rmJdDngd01jwsyJnVSU63sfZ8dsTgLGzbZ6jBIKpqLTFxsE5VaW6wYqtQsOBhZDsyxYIVDgWMlr3d1VwZVkrMx6mmPRzRrV/mpjCIEx/Mn8r5kX5EyqOaoyt3wT17rsr5gnuEa7pkIFcxwp30xTpcIZ+Lqjj9Bcd8HAiUo/CzF5n+fYe9BCARWTbTt98ult7HZHqSjGNtbY/dB+eExoAAhNMfoZeuozTisk9lmPzYHrvyVF4nI7EAUaaeVq1lQhdVM3ZizxiZjPQVPp2HN9ILMsgHcgiQs2Li80YYNSQSbckB22gdS8lPdr94nbDnLKSMup/juo73EdUQsb4pZWkrofpsvfU4TR9WH2yDel4A9u3cvdT+Ecy6EQouBTUMm0x8Qvb9czcLWelbnr4RS8QjkiPyHGK/fQDvZ6teT3GnJjdyDC7pYyxrSw0Zg6XeNPaU5cNDYpADkxXj0UQDCBHHhfmuZVHP13MXSD4IFuuk4siuQ9coMhOY9OcG7Z6zBxk9YK4oHt3U4VA29QXysB3DaM0eFMaz8M98X02Jxc/kF2b1nMR1CrW9JXpimARFhSuE8KcwE9jIPnAJPQ3OA5BhKR0jg13WdmyBSzDd6LtzVLQuKRGX7wfxNMzDTLvsMZXXDX1zkhLWG/56F4LUjwvLtNw/jpWxvIrK1pOrPHiRQl9EowuBBjbKqkYRU/z+wCgBEU/reFU4UVAIqBBFFT+7VY8pGS8t1ejOSatyszHAuXYkzw5DwcO2tCNbq3xvvdX1yYrx3j1kQJ2K+P6miW3Vm4gjp89xxCJGB2YQ7kDp7E84pa3xpI7U41INwzO07NCfoP/q3mp7T8qWLUZg4sGGoW+NxTqd1AXTs5GF/mEF70ccDsN9MA2ZWIpKSYdh2v1MMf6eNMd+YGDS/7luSOZSUGj5shecJo+uex2Z7KcAsqy9BLFzzrHSSO1NZPQpB0t9JI39CPduD7TYRt5lzxg0AneKQaWIltHR0RwpB2vznqD2aa13uZPxDjXA94fHGo6vZhzjU2HkpeH3NtKr5cuM4BKwXb/wHpWPuemksIHZHvR8SpkkXu2OxJp9+6eRKp5tQ8q2TV+6/Vnh1rKUUohkf40Rz0f/fqfiyAYSHraxgQeXqjf6Np8Om3BfcsHejZSwVrU1lB1tsbCnOlA/5cxEkbggG3w+LSYIY2baVvUyZYteKgkaYojEEr2tQ26BuPP9/Uhv32KXnOCnSKcsy2h6E5A7OrCJhMtpIzPhGGT5nHF4RNtXmwRRSDj/a4VA/V+vEItnnGvaZC3lzlvuKET4dl1dN2IgIPa8q/QaRntIYzjIQjdXECRPaku3/wy5VacB2k+26pc6TaKqdU8oZLRRYb8s4USgWsNO8qWcrFqCjwaNrySvrmTmY8eqad2G/tUNWho+U+UlTY16+kjyQR+/dt3azmT1Wr7ytbzWe2GthQwqkw/MZ4LYIHm9xj20JfuYXfhYBizoea6vUmLTT9fabCS5Ww9qpzLFUiVITY/UFw43tG+J64WaSRKi3it2qTR9BphhrKZ+t7w78AlBRvQXVfDBee/HlBe0Pf1Q9S7IF2MynM8f9J9MlGvrm1TseJt7lbmX3NAH80ZSj/QnIqapT7MU2cTVKgv+PMi0xMrk4LNPufkyss3KgwtqmHYb9xknl/9IUmiJsPqwJsvN2BCU14Cqp3YJ2RXdteVKXyZdx7lKzLMwzW0YDB+APwpjBxuSSv7LQzbEJmDaBl05Vbcz3+/k+qAlBBKFP1Crz1NbDIDLBa+5+0nLf4G3c8Dpxi624qTFJWHtGqAcukAQZMXTZfmZnmEnpQ2mYYvgegp+nd2VNmmX0Zdi9l9TjF+qS1kW+Kr97WpNSIxiSmDpCUA3L2hG5O5jcUETEIcoObylffmfL9FCsMAaqzpMFq/nJT46Ju4eOGQ/YMGjWNhxE9YGDayp1KdgImwAHPFt0qNzRhfvJ+/+qHRt/QPBcSipRZmcOtgEWd1lFpBTbW+190a2ss1zbBso0daaw09Ylkws89x8CkzKokuUzM2ktjE1j/2aVWoanSnRzBiIozjgtVUXcuBYTo2oDuFNiT3cv9YXSRyHrgBk9GbhtPFJjAqD6gSpeeFPLFkydYxelili8P8ajGDO0Wvndsx6pArZiWlmyr1cOCRdRNMscVgxRtSlE2XclspqQOdt9Om0VW/Kb8kZ8QmNB0muzLwIUoWAtslcAXdwL3+wwSTwdfHiOzYZqxDD1dhCrio8O1JOCTjPhoyItLV+326zQz4X+cTk7H8T4OBmqUtlKCIl2anNcZ/rDrtxN7cd8DRML1w6+R45iqZZVNKA3moroxcbXBXq+Yzl82Ui/nitzCauKZ4KQ2MfNvLY/IVSL6+orF4J9SJ24t+gBU3R0UMdNObHgbAZl4uufd/f/aE3ps2ZOyzFGlayQoc/70xChEnv+UL7pGgAzCHwvWVO7JUW7EOY0YtRB5FLVNwSEFaTe36DKJpGjDYsgDGPNuzGcpj0jTY0F5j80ij3gCs5zvom5u/892ev9MxVVlWC081yVv+0uGbvte+n3o2BFvnSBmXa6FkvBEDlqoC3Dpl/MCe+zQlMa9fIUmJTo+I0l+KraQHWx2/8r0YrsHg8Ua2Nv8zQ8uA7RE94yK3Jto2mzVxxkARsSfI64IduEzuYt4JmRXf70Vry9MjlilQoejCfyKxtGG9ukxjVq5vMC66CAqm4o8LPECzCMhOzk+VXNw7MhgvrM6WpIJkNTsbjdexTcxgMpkD/W1wRm+GOd3tiP58LbtR9qOnVM8WWtyCAFxJaw5MJJma+CERG+HjKz5SWqfy/qbGFcOIgc4vc5i9G+8sHTPykow+e9MYHAhr9KRVvRTjHPIygP458FuvsUWtbz3iLqFxl1cCtqSkpCPc6dsjMHGk+l1tPv6jw8hPjm1buEio/x1tiayr1WA/6Zn/zb85YZfbTqHn5iPQvs2lzjUNkKwO5tacdYUhwk22EsB5n2zY8L1grBm6sFZMlT3Tq7oA9jt/cfKfbB26BDwVLH+/gTFbfKvXOiQyly2wifTHPEinwyI8WqCbONiaOEh/8CXjZzDA4KOPfzQa44W/gGmgc+fqxMqQWtmx161KmUrIHdTaV+t2ij6UqVp31b7WSLy/SdiptnsplMsrzbm503qNDrObwhruSqfrgFVacpBf0KDfUGSGhg8uGCRb4bRgIVrq+Y42bxmsojJZ1LztJg26/cOCs5LcucePIw1XCLdhPdwx0UquxGPklrGnBtLboOtY33qkcjnIaEOxHEiyBMXBcjEdEjCLeEdQTaE+i+ykMNoW7eJaA0giSV8UEByUqu17GxN3eWrQNtURwWn4y3ccfd962oH3sbe3kPuN1kBCw2IpA/vm6kvyrfnMZY8zj7DfVkA5g3Kk5jQ/BszoMuuOE0AJRl+YRbXMiKleHy5B716ThGhb7zd+Ncdep0eyei00+VAuYCLaMIS/FYlz3JL54HY710Lo/9TKBeMILttfoGp05md4ROl1VDiibIYsJXzTkTmOr+DgO31fUUR46xGKCquXzNbaGmoe9M9qWPOi4QZguaKJWt39nMOTGBfAq4yqubLF1wSt2bNLQYhoHnmQ3v+nfV5cqtPLwrsXJXSSzH7SuDa+uNwauVtR4DAWP5Dv4kR7B6DicSDsJBr1H2/1n6QiGs5EsKWBOuTQ5wZ40KsPc3NPxDN0uWIA/B3vprhcRGylZ8lHBrt7zyiNMMhkj2Kp+rMjwE3wDNsT6PHZGb8M0QZUold+D6HgN/jQCE1mmGCHTIAevE2QNo6mIZhcB8VSH+vncfMphemDhRQEuGZFSXlfgXh5YCr8GYcDHad+ul87CxEGg1S20UPmAAJkXBDOaNBzOAjsVE80Z8hTQX+53Tj4gwc+XcmxZzLoz6BqpP1kC++Sy7GO/AWQXub8sjpwO+JxJKRgl6qukycQ7KHMH98gms5DVKD3UXFo0Sed+kM/06rAIK/7IxUMTIxFt25JYQEhORvp9ZWMgaPH5XLRWUXot5FOUH3ZiCopKIsjXXXBWO8LqT2vAs9IcSTByA7DvdSAxeR4BEF/rKkPclZFNgK4oDhKKXKjXwXQ+PZg8d6OT3z/M2lpOP3m8O2qgo5SOg3V7HOYhkbobvNoNVc+xUzNqevtbpxp4aixxipS6IhraFxgPD/+M11DwOlNNpi0KhNjWRBG+/FtNOahiLK3hVdTwx1hNh/7VSoZbWG7c/yXslwhBw0KaHfjkssSpVI2veZbgteRINMr4jKShSSVCdmndEu5jNJ9RuGq3QgswrkJG+IEnhhSApL04RNCVXgMpoNiY1UZRmkoW0SXyEHBvL/QN1+XjKts63iFUbaFpfK9CUYNuakIPq2NMixinHhXZ33OYiKLkQ9tV8XCUKo0cZLrmXoU92dHzvOlygcQkbak25GJHQaZgs988XWYfxDyn8txkKQfBtdsghoz0VEfgJqZ6Ac7JW2t+0qMDeitNWuotGU2SmqpSTVgqmpv8Z8njTJXjLN2sbMKuzlMzAXpCZyfRMUCtOADA55EroiSeTwrqCsEOBMXi0rcmLaBtreAnoy7sLpjLq4D8o/42EK2vm4ie1zRUmxxXBmL0NtjH0YqxeZY6bJIngE6wgjD8bS9UQ5KB4zC0mcIyc10r3MqgRfAXMtjxTqddbvAvRMqdPOjMB1NMT9DfJwZasQAUMqVmrN9aXFa4v2wdLBSe4iT+kyrJX6uJq6+HH4YDQAlMX2qUtN5s1ogTWzS1zops8XpxDYo/Db6TaJFzdDbmIfa12bFigbH09XwDxm2RK+Yc2boiJv58yEupmoiiJMBJLgar5QDXPCiCsco8nwYs+szAqyK2Wpm55bmN3WQ2aVh/zW6Px8+B2iUXSbZy+WpN4Z4f3eopEXPBuX7MMBFcl2NvQK59WzAQCONYvyPViJceK1Wom55Va7o4+BRBTHqXtMD9y693+jsxyc35zMB/XKK9SfGi5+BFaLBX4tDMnAuIzkHCY3gpjG4JfzqRNJ18qMmg6KhjKY+uWaX6XHqncc87SaoukDnEjobJdWyIpIORgVq1QGd+qJOMLhhVv1GSxKqapEiJD39sQ0P9heJNapndwwr2sIggJtwzrOjZZABZBhgEJW1GR41GqyEUeItCyHk4Z5pdArL//UAq4Vd8GiE9K95zhMFP4RCFTJJ5LN3RaQXBHyylYljKovSPsUTA/iW+vxsWX5hy4HK6osPhqhyN7fscu/I/KbRE/kLi8HLPG43vXBMt5IJ0g3eoG8mwi+KnLGHA3uR8iru98K/IN7Q9ULUpIxXsNHN4+zPwe41wLlKaChpZJN93nwbtV5cVkYEHu1I2xjdfav4hZK/+62BgLFLJ4ypR+pPEHLwVzTFPl55Jp23APe1K1DqDaI11zNMHOrOi2Zfr+JHcgohTJPUW93kD+cMgP2qpqAYF0lFoXLyOboIPiJPVkh/B1Ll4KECyAxr7tRinc3u1fios2IiCf/AGpYT/nAADACZWxkKv/IXCIfO4HLIHIwSfzBRdeFpDP7wMy6L53uvO2COryqlat203rL4AbOQHUO0Vtt1iszatfwm/kSCX1YgelIXW0+wFLm6JisdvBEqICBuJPGfKLDDHF+oAyimZlFV7tsMvKveeMmi0aTherua0EkcM7CNXuFa3EmhjyNa76x8m2VB/pSfuDMa8cpEUZa4AqqklShYvsZhXrL+lH9d8SWz3aPiTbMoSQk34LUM7YapagpowK38KpJRbbyRidM/XWjvNnsiVmX0KZ9xmGxw1yot+W76hRoYu+vyE2iPobsUrx1grSo3Mm85a87+tqLf3YdVLL6yC7KxPDopuND9E0JHKt8DGXtxQWql9xkaxdMmQZyRSRBQRtAHVVC/9ghGt7TyOWJbiyjojqgegvZVF8A427i6oviAkN/vhT7gMGBeZo72kuvMYc2nwXpD8ptPH39GEmyY3QHylliZpPVCHdG7Y0fmkrki92+4HhW4yoKxSXDvjEuZRNQpc9DkoCHkBfdS0+bec1qFZzWG8JPR0lUv7Jgs0WEtblU3psV7LyszELmzVNjzgvZNa4hhOHNS4E3Fau6qcwNRHzBc3iazC7OOeJRAanypXBJeuz+x8GYJYyDoc/FaGXGumZNw3Ik3Mj+xEiYgI06MUjHl757xYD0WZoSwIT+mLnJUjCTrL3m4NVP9JaVSFDv/7MvRnIJ0SNAJ7P0BN1d4CeYxZf8L9Sh6a0i8hrNHk7DhkDKzUs82R2afq8nfAJ4fkk3SqLbbFn/yzCYvoD7w694luVEGRvjyOspNJvLr4AL/uVZd9H0GC0ggXtUMcXYQtwiNvG3Y1L1AecCOqHwV3gA9rmRaXCF7KocaKxOqHaJJEmZQIQb2B9YC05CSkk2chl4i2XDWq0UA7hUUKTvw+P0C6kF9ti/Yuux28egJU18WnO1E9y9cCCBf7Htv4pCCIMTX3UaaXm0zL90oC1QVcSSk3RQy3NDGSilKIVh2blgzwBP9Nwk93rGEskvifHEqhixVBUSDrGz4PM5W4NmGxosSCOdk1gDyuKAkzFC6VhAO7xh+dcnbeBZ0BMaVbsKVQYty/c320gUa2z0fPIVUAo5OFRUWfmJJQMEsFwPduH0L+0LxWYWLsl7X7+qPCQqW6nj7B4LC5pII2YaJqArX18Hxpt7k+jIOlpDUVKpdp9TZdMz8a/wZ7QBI1cMoeTt6RlHZqD3QCz6ouSmEAthMs5p5DAcz3D6CjGFeM6TdjVaIzxKO0JG5yvTzdCJsIAwIrhzb6tnVSraRRe3WKQIpVoGCxU0hIxKr8Sr0t1VHGdxO/J3jzVpNUfzJ6osobHf85rMsQgsR5wBxE85z354zy/a3i7b6DMAL9P7dcKAbdMysgtlCSEa9DrEdTFKjeC6MyZknrxOyPaRd7IttRG9My9DuIeOQMamNt+o/YjhjZ+d9Jm9iET/MX1EbfLmUAiwk+3d+K5tx+KGds9vLWmLRJvEAtZpj9cCwzhdclenwijJ5HITRABlaZWT9dfHI+VQ3dA3ZnOueDKPHLy1KkcPBtiMWhO4TjODUsSnOsio9qpbKBIlpCpMjG6hYOWbMlLULcrSX6zdAX962QN+JVILpkweV+4ncyQ5WQyxeKeixIw4lETDEmxIl4dhUR2BtkC9/aMjswSivb6o+cqa654BTsdbE7Dsq5b4wb7K2KlHbUh1x57LnerWq0Z2KagDSXe10RCvDb/NNUwSrpU4kknsCG768yggJ66PKd++aSFEBGmKqoFR6m3EjicA7+Vn5Yorzrv76e/ERMOHwJBSNgaKLA8WFjFn+ORAE2AzxBxQcShzRZT/I4T6nhowx9+4ujyfS2LG3EwD3BYEae0Oo1flZ1DU12/t1AFNeHtSUJQNoo/5R7QE8COUfYXiKrsQpOqMxqtM01U1MLUXiK2z6GYUTSTfNsCLo56rI2jN0ILYJ3tm17mvMQXvfmD22WoVerOzNt0uMcuBWrgxC4QL9HWIi0S2/Av8jf+Q/paWhKHOI72HndaAYNJCXjzjzbUlwlZpNFmQ8WtE+k0hzRMEO6beGN5jmQ9uRoVR4yMVI9bAMYmTnmMnAhlumtjLBpMjJWdpYpZGXKICi60ye6XJmKW68Dowa7VoG2xajuMMH9ErRaac6RsyvjgGr5MIPc8g11sfuhPfbwmp2a9mNk0njOQOtxGHmD7+ISVs2ryqGk5R7KsfZIzEIc7/v0WtZ5aNae+inLnWXJIPcKL3C9m4C+KTgtkXzK0Ve9TPkRWaiDrH8RO64bOEKF2xDA5PL1L8tDhXMop1cKd5HMfsdffny7+Poi2Ha2ZUlc536FfxaL+LSWDm+FZI2FXpHL4+xDIJ863o5HPEiVdlTpE4GL5qJn6KiYTWLtW5ilJleJFkWV1dOYMY0iuNabEwxkDq5UrJN/J0i/yDj6fP3wx4Wa4iH1D/lvSFVcJKSPPbJHGDbKBJyDeY2BYKAS+44y7cBl5j7B5VpqoiWfqVbq0ZCM/jGpV0Q16R9Ps1kr9Vx4BTHFINdB8MVvthYpq0EaTznGkWZ7bO39rkKqMSjZoJToedW9qrhONpkBPjIVQUv4DSaP0WBKkfNdpHYCP63WtwKvQhj+RkyL/2jGbD4B61Bj7yls8CTLpXCltvJpH2HV51wJAKBFdUIw4cOpL1tTpBP7JTjAoJgMNzbg7obRARSb2vG0eXkTi8i0Qnv5qeyaAYu4ty4H7aICOj0cZa7xYcmRY4jA+ekkFF7mHbxW9bUV0toUq+MGlmE2IDYfWn/GDc51gwqgRTbGc6eh2dPMYnfahzOGWe9H/gQU6xdXpcd4bvNZMlj5ktA//hfHkhvnfu/w/pR9Kt9RwBYd2MUXSPivDYdadoTT7rffZUrUDUrKwjJlA/vU0I72iF9NlrVKq5imJCg4Q6ZYSMFaKOSKm8wiRaAoSznCdBp6M5qQsBJlGs673OhC6odOULy3CqTrzxfWjS/sLIvzfRcSfpCOcpuzG90C8QwYCvjEz7m1xFByvTdG1ylUb6ZGwUSEEnwAZMe5krXhQA30s/o9VBJ0WJ7eUOtj+JeKlQ5gnYux9T6MuElHarP8xUL1oy/9pM9fXpCX0zu+S/wFvnF6F1grqY2iz1AYYFTYYTNs10JyC7PaylIS11J4FTRRWJUwu3jSSYcGuZqypw1n+fM2U5pIJqPd1jYIOO/i7ddStYt9bq5IBW/ywVvxQJxrAApVIMtb3pupz0L+m3ckwK8k1H1Awt4ESZvvIoxJ65oQFRjM/63BD8Syq+LK4dkrIdLO6+1+zk54YVBksYE7l+edVQBCoTtgu/XDDEIHsC8yQE/JvvANx7IhcVDHaFYmSN5+2V5YOhekJKMQLVdI15w6sKbkchvpBAIxjMNsSkM/EqE76T1JxVzymTNf3L3gn3att9mZn1xEj62iWOoc7/XkDE595vz8IbhgiDZYhLTddzbb73YgMsX+7fr14Dl00hNrEPKX3bMMGg+XhtJVQPV+i7ipIBwfVtGKW/5CbWlAMgEKmz/zMNlG0pJEC7BVENS4F8Rxwb4BNObsRa2yCgNXmAiz7yRiUiAABR+qg1kyih9EgeDzKOpXUFX2JXGah+aDV3rCf6csTp7drfwpjAz1B5DnKtR5DMsSNrWbllClwmJxjFtmvYDRfggieibRI/QT5XTw6xI1KVjvHTV/SYl6kLUB4WZMzGyBwAT3/vigMoQ7w1021y88La/ESfLjhA4CQVw899BZXMoaS4k8csjDwpGRj2tQuwOAM32qAQYTcYY2AfcQzSqmDhdFYYbcjco1coW+JiCGVPvTlM5DD0+iqdOtIa1DSKGK8ybdmFdO786paxwsJJ8Oyv6S3hjSzoqswMqaaTgmy4HXx+7bz4CrwQDXqoFkMUweXPPvWAO9Qy8DyUtZaFGuRiMlKmbMiAV/DLf/qgisqNfeny817G+exCg0yoKCWmimj6bHszvbdW63PyDHpGRywoUel7XqUyHe/5Ns9FVtrZEjCpI0aOPxgSOBX3/xCzoXi3PKM+9iU0grSAgUcoMdzJyEBmvoQB1EHYzJPXqdl7i7fMM4YPATi9n0Xh8HS8HxVUlil6A7tmstaggyNHq9V/LxaARxgN/h0LYNbrPNB5sTHltgO8TiWi9JVqUkLWZwCqgqA0wQ/B2Cx4HMBqL7a92CUPz73ChqGlTPspyDYysYv9b2DgFwGznFLzBK+qLnMlJeHC1qgR2oN334ofbrs+id8j9sDoXBmIlLUNgyq216v7lViBpS1L7EaVCxXb2Oj2kriKp6Vkdq0WlR+aqhtyuH9fN3jnT6VijYBDDYIOZ3lvDlrf1pXWUFJC+jA/uT5bGTCrhLkUoVW9kizZEdiCNKqlZI04cOfgvWxZowqAcr2FEp8Iasf5FGrMBSKJPXx2nYWbXRD0K5JEeQ5p6r7aEdzAh0unNvtQRc8kdfaBti5/1fAsDSLpd0dSmSB74F6mKqZJrJXy9QgBm3MyRtZuFOL9e/Am8iYM8YQoPQ+Mi/3if1J9fcLJyg8bfEbGfdFhdrYOtjKX/P7Sa0kMJVAl+pq8fyMdiTZf8Lkp3ERjf8HQH0Z3wZoB7LzT6gk7gAzkNRmP6kmBCWBuHGwYuxA7uzZ8Rz2sGoVIYA+QcVw0hWSRhDxaELoqbtWD2qgna0yCKYoD2oVTb9iVrsSWgohmHn3z/lreWjD0ykhGBPWnOJNATQYf+puVbP8/Ci8rSuHSRGjihPlYphryviTQ63T4o13T3xpg/e9e6/C7k9+Ng7mHZsbMHN69W21eOmtA38yzOHRcdxe++0Xs2pHFuuErNcGxRrVficsOVCFn3UsJsiYFLl9v7lMAodbS9SnoIPlSazE92LcLXfz2owyToDwlRwtFur6/xlPpd+K0rhoauMGszuIoa5EW6Eqt6HEkdpDROYdLX9bq5NooqRvF/qGJkaPjxqIM/U7iHpXdcNnffpqNwheYCWzQxpRbL0121s0joUOu65mW81EouC4/d9W2Uc2ZH2owbIyh1GPYUJ02eMsAybv+q+5n7O5cC67hQ61PN9N9+3TS+oX6w9Noxu4TFJMbAjHxpehQwZetYY0r+Pwr9zwAZNjId2nZ7dWCi/97lpalV2DCoLZWqFsruLWsKbjOyN1hiyGOMNyNlQ7dggUz+lMK4j77EL7TlMrBBeNiB88ujVKA/EnQHaLabzcJDuUY7yxKgWPjYDKs4FFelbbSTTs2yk0zx9RDRx6X428obqKjdsTEexOXM1TzcTT8PqIS9VOMic2t54YmJoSrUot9R9oH8I2/ysKaHIV5HHMfOyWDUvNwOb71k4ULNeYd9G3fsFmpOd6VEqAzWmVtTidNacnnu3FxHZFlY9S8w83HyaN7nHJI5vmyXC+DxVXjYnnURkyzAzGEQ8ydC9QFXEC2QvIlmMAyvCcE2Ax7bYOVZbtrlmkkW63tp0l6xrbRdIaFfaaQQtRDsMsFtLfiPgFgRrEkBuobC3XMPmoP9VZdpH562tn6KU8k2vYNzjINAMywFFTQs7gon39jAAjgPskjGPGuaL4sIwF3bCXBwwgOyZQmY5PCd12W4zyWjlrTq8d5wJ59L4JJu4Mz7YRhFTi164VXD26yERg4dfJDbnJU+aXdnmU71k5JUj4BI77Ri0nsHNmftv2m73KNXeXNFGk20y6NjvKiWCrA0CkjFfSGt2kkTq1qT8bN54AkjlyIHPm7zCp6niYDdtdxuMsoBHy5N//o48BP23kEKc+2JozUX/5yScBWALyqoI99RRQawtdZprYlsxcc7HVZyAt0bdl063aHo+azblQjvxttcmUSSH0x5mHasUVxzdpZ2NcpVS71UF5ijuNfiX3OYNOLqTzY/teetMEHZYSg54BNYX7GNtysgRahmLKEPeN8JNvjXQ2MJm4xbjAmFFiwHli9o6HrG2wHRHalHmv/tlJaxJTJ9+kzYKzim8lk77vFf4O+b+qNep7UOISdx7StFL7F7mynBPA/xAoxof7IiqOrKvutvr+Y0KcsBI9rMm7Kf0K5HXVno+DRDz5XjuW9/efcP+jow/Hhy3iNim43OYKlrjYf2VV7b6Sbg7oDzpfVQhSlkuymycUMU+aWo72DTijVnSbH727c1IVC3E1cGDQou5WzGHwMbCFnsHdvYjIRIu8zbS414xI/+pqyUUlki+KEnu+V68e/IJAM2R7DINrN6wK2WiqqDbu+jTsw+DMG1OYSswgq7ITGYhLeuCH/Kppx3H1nun2gkfcR7/WdjpUWRxVmCyR9GHKgWV/1Xp21RDElauoRswDwOZpwBSivQVQAAaFczixIjHycSzCOo0a9woCF5StpdryEB32CkyZjqaNTLMA1eqQOnF99MACADRiNJjDa1+ghfiYAZCo9TRoxTWPlBZJaDJ64LcrL0z4XBMKAU9Cl+NntnbH7HLdIWXwFT0MAXjLzh61MCyYGiSMart45N5E2MeiAwCX6Mla50tIJCWy6xwfB2+wUGhktegWnbObn08zo6Z1RqXS7MetoIZ78Y9ltlgPlxmAWypvM4uFRdDAh3LGJXHRnuxEIk5KQCVsOpX7FogpA8gLs3hs8xdXFimrY1zRiqYxPgDE5PINCbQAzHiOL81Ri0vdJ8extdLEefcTPI7voWDlRPUG/qeYcGDdk/CG0IQNHmctIJTNeujMHdK/+aQBjqzIGWJpx4iU/3Qhd5Th4VXcwZTcDBXNcfmNUqPl4Kg+PIDRyrLr4TZk1kw+qR6LQhM3oyI2pJ0lhN9Lp2dW/lcp9Cc+JmkUd7Cjr3IhPKk7mitpOG9OzwnWhx6r0eSWxOY+uy9pHtP+xGYdEk7sNo14c1fTIHWPIfQRi8QlwpAe+mWCXi/0I2anMS8CqOjUwssO3y4v15KYmdqLSqGKawdmhsqxzMDLIkYilnUUdM70rfrxl31bawzEDig74ATlMeu/MeT1+LUfc5BPvMbqa5DoibDBRHGE1VD6JKB6byy0DmLwrRI26++NJ1UnnvTFe1N12cXffyKVK6Ecaa93yaGqZx+jKzwXFxvLQpLN74qSgI/iwP1ayqrB9aue82La6uvjtY99CfoBfDCcNRd2spdM3kjW1TCAPMvRBgoVv8g01/qLZKajQVwg3y/L8xyXonz5ojIPMHPOg3mgIAdNsOLFTyxdrhO/a5Yo+k8fWFsXs1vgqQI/LqZE+QTuIIpiBEL4tCR35++XWk5SU5sn6nKpHvWZrh3pQKDijNDzYEhojg6dgjOaZL8gOeNXiJtuE10V3Bx1VKs9SQR+DZE36NKah/N3xU+QXs9jOYFDCpQba5E/0jdmS9uwHMzuLZJFor12smK6kYr5g8fq2JrFHChMWtHM60bEDRlrfXdJrzaJv4j4w1spa9CCAtTTbLnDFf3FfHr+MzFGtMHprekVstleN+iLLAQTf62DWHAV+vIJz9s3g7wB43UrPOfNkIdDZfWwEki81PLmOtUJswRPrYqoPyxDghd1tgQ39exD5Zqx+THUzcDtpNpBzigORzTcoiNJXTY57k6pp7YuPMOh32p+ksIOTMRAQNdgoPIoFPV4PP6JAw9ErlwR+3W8Zc6wCBEIcgPNPJQekHZhZi8ZsSVar4s3UuGNKx90WeUXtCr0hgHcUwpJUGvichHtz9FJ6PvR1OKRfqkkKutZIIgDgVI7claJD9gdGx/IjWM/QdYIocl/TzFvusmYMDwVMPABtLltd1PYppk7DDKsWNoQn0LgDdPzsdJOryC7JHnSXW4aIyjde+xAo1V1HxZ2PnQX15+RGsZgPGLGpdxcHq78uLmhPbSX++ME2lzjTraxK7zfQ+jDQFcHQLzI+n8KMS9f1DnUYUva36Du/ZuqtrWxIyWSsg+GlmW/5pBGlrzNnpHP4KQ1uH3pJCdKKdiA5Ov6jCeZIL2uV5cEx4KcJj4OIs6FSN+rgaofEIRaJx3ZdMy83PdPVvpo2b0RcyAC8eN4K9dl7dQslAIuoaUfiZVwSVN1MY9pK+n5/xGPpo/2nv4ZRfkPVcQfK2Hrf6NA8f2ujPgTCiKU6WX/8DOkOn8lYs9rrxRpJKLyPLzr5BhvIh/9vGOPMgU36vd5hYjYPipOyuIXf5/jx/OAlJ4z72Xmh8CBeslw8Q00hc0u9JhDV+nrxwUFaRAxYjsBpVrboClwgDymGwWzzN594PxsRRb2nIOp+bzZt7CawkU9aZWPhNLZPmkAf1zStE+4Qot+9segiZfONkLDQDNwKsM4e/Z31YLy4IqzGxIG0BSW4fpXi3GRgkYRrfwYwWwRlUCvwJTXfwvfc67ZIBUoUgjrxpIRnsvr/v98aykMFfC06QbFO5hOvh6AZX5oc6gA7fhN0qrYY06JLVs0Qry9qZcQfyo6NcHVzhg2eoDMv278UN87B7ePY6Cj3ULcuiGf8lbOv/R0IYQDOjskXwqRljvDbSDJnryNo4tYqpUCdvXqv1qJ5lBnlR80tlJwQhPX0MpHoTaGvtw7YLvRYZhJxfrlARh+CO+z+hM0F3NW/vnFgMprCaisRyhTPJ96TZCYGJ3V3IEzGZivaPoqKC1iW9q4rKn0NQlNdTROF9v38vo3mImImR++RUnBY2FnXhI6knaM2qYpzg8ycUjlgRWgDZS3UrYs+EFopFkVgNRM5EYExvDDocc4ZWiB6l6hPvaD2IdNzVhhAdlAJt23t8hpQZGTtI/ahhIZDCmU323aU79L2RcQJaW5xbJg9tzx5NqM1snfNT9rI1SHjNZYemt8JbKy+b5xC6zDHanF/7V8u3bFrsjVodVkquZ9QjI42Y+/q8gHS11J4qyv3bfAtm962eXzNL/TrQfa224EVFhK72J2RfJncKddDrufODTGXdr17kkabCVidAk9qJd8m+vI3EnbcLvUwCY1PNrvzsWxDn+TTS5vSBNSVit0yNC5/IfQhU6uOrbeTRhQF+YlEyiVGLSOLwgrVQ9Wc2nNt2Hm3JQM0HgmXair+t/n1uXVbDUFcxq8YGSb+cSObtyeAMBYVQtTcVIsQ5uVVxwCElTmgAxBw+hYLhvCuFlqB28lP+IEsmwzKG70Ilsz/g5Oru7NCzmympqsf3d1JLaTojijMI/kArpT3FN7bCUSqtaNKHj153ECqhi/K6egqYwW3CtXOnHuYzIHWawogP7aoDLjN60zT1G/IZGta8ROLmEZbd7gyY/0qg55wwhp7zrMCGpEFKyj4NsABDJkXbJ0uOMAf62VuzxhjShEb4a6v335T4XHTHDJw8DxSNTZRTAJ/3A5jki9Q5iSmkJfw4JfR3oftV0vGtVNPUQ9Gxm1LBbYbDCe9HyXpM1J8UfVZKwb75KXmRw+98oxVsvyi4UNuEEfY2+BH4hIpms8RhTdE/kegn7F0e00tDrH5WcKvw4yCjuUqwA9iAmZ3ZMC+Tx1hx72gIFih7zZxwv/KFLO1qpePPr+mdom/E86II6HKu/QrmRTqibUXUqivUOBVdzR+ajfaUeDxUYq+Ad+kSznIpqOp+/MNhepP/RDkOz8xrNhJfNGhpOAkbed5AakYxok02Y9gdsYyUq1Fs/icZb1E62qsbEhdm/0wADIVh+VjEWgpnl8nJDUTFhL8KmR/EpYTAVOxEs0BCtCURuZNYNmpqSQBtk94+f7a3nAMXJY56B8cwi1PcScV4/yWPDp1ITr7Gg2ZxTkFTBOAgYCwM2wI2SIY99eyQ0TwEdY9Q9RB7oEWZjIZylPFpJ0lHyqfvIKeFf4wDwXQSBcdl+Higbc8DeiCj29mpJzVPMkDjzxOrabUutFgRbdV4jYHrEb45uIzaZTbAcvcjqqFyxiHRUyJNKJ+yCdEYzj8Hzbbd3R++hTlCzwEFoavZ34TF1wQlMGPhV9E3zPEf+WdZhVQKz8juJ/1fKXQicAledd+p4enCk/KAb+SjPcdyQXW2A2S7tUIsoCcOyAY20CeI/mS8DQ1MR4ZPnArY8prGa2Xf4RzGhFtr2CSJjyQwoRYN5dMgLYs/AlSrZMiA5GF27gWqbQls7pHz/Zlxw4k2l9Q489RM3baIhubxeRI1NQBNnjE2fOSrWQ6R6lCIV/GPVqNQjFR9wuhPlxhghoZ+czE8TsToLlGSYqnheo/WlSoec3j5edB/FSk7midRo0QkvVX4I2IOL+Kq2vpKLumGC1j57BZBuYVt9CM9Bqei74WnPqsjPX4ZXZF2CuRwhH8IkyDQD5UIycy39Y3uEawZW4T7nYqaNXfYZqvjEnio7HWr0Reef6GXDIKhjD8BmVNqZutWPxycwC9PfggNH3e8KpUGJkPzvcA8HF2cUb1B8h4SD0bxi2W/vwBOaT4iB+GNIJq+NgTRux5AyMUgUb9QCKtrva5kveTxab2KczCKFsxlbi2nMHt3UCDuoe4WAxKCNh6aF2JONowSyFl22Wi35oHYhqkDIDSh+t4japPBAaPeYHQ5AwNgbmFXKOUg9HstZ1511SiyO0/kwCu1Uw2KtK/UTnArvcySJT+rLiMAmoW3HmfYw2tqHCbTb76mGyLyPIa4NklOyMaQe2cP8TQE9illmXPgadmL3WVMyueREmANk1gO/WRGYCiOhRlrEVTjMJuKVOSoHV6DFmm0OCJXvFewxrhQGxrJwtCmb6WOOJC13/VN/yjHsV7l712RzGq2xDfYDAgu3SlVSDFYQ2Am0gs9oS4iFnplCGMK2DNpr0ic45ptnBePZ9tWf721khf8kdQIe5wXhEY9+0EVGopQOQpsSHh3NUoEthlNet8Y0pg/FmrYi/GGChJu7YqBTbXXjgl3SEp4HjSQOQaUFQdeYIFKlEX8iqoS/v35/LYGRwqQaBKx0tNW7TsiFex+co5e+Kde9om7EBIyOFRISbdx+++vB28cfRFyLk+W7/dBXwOnK51PzubJUGImCfZzDIjU7LQ/TUtFelbOdANOg6T/UHl1BevcRsaf9xy+XirL4bc9K1Y7BLlxVu8t7g9sD/53f7o2DgUcjUD1hAH4fOZ05QZEkkUXh2rmKEZF/yKPlV2rl6dCQi8Y5wTroJR/fx1PF66cOjxsE3y/Qk3dtTsFfQA4fc14Oz2wlr5kDMn/tEuE3Zgj4Oi/14MMPnw6dSWWyEhUrIIxzS327+1UwlGp0WOB/RqcngkhUO4ipb4eMJSLViB/V5/Z2DuF2j8/nJPO+/M38SMQaUo7mC9ptHZhGVOSnm9sfbB7IEzUPKoyyX3aBuj+IDzeiuzs5yrqy7pWb6kRs4ibd/Ja8G4NkOzHt4wHR+p7DwvbAWEaBatw2Fdbo/9eiLjqK0HYPP/9F2zPmv8DhSIhcdlqmACBJyp/EJ4zO1kxZkOYRBHKzwSUwTr5mYIPwr5eRgX3+yam9TpWJLfZf3Ggyae0kvNe40oRpSgExPlZnIaCcqhQ83G8n6rAtalyZxpOwgD+jGiS0H8ZMW6IWgU15oBnmyg6zFQk9XShxbpY23q6DOMyM3II657GiFYw0QLGYlHL0oD/MkiNShlHLl/X29r0Qo0EKtLP7pPJkMBxTOYtIWO/JgNEUYJrOZHF1ppDygf9zp3teN5f2dD3Xvjx7obex/SEYzrLT0TatVdm3jserk75blhjsay6+7yobaMljz8G3b7ULMfCMqk2BAh37x1nesR4MF28XY1jrv+3Uj5GYzMYXg3lvt1UvmFvUoOlgoXW+Cz021+xjwTK8hx2aFf6p4h0ks/3J+YtFq8TYRG240sLC3r+0jlkEyryNcARfgF6vNANh+mPVMLRoXMTFR7F1NZfg+AEBQs2jn8vVawMSfvy46Iz+dVgcJtOnrEmhmVPszzSrnTsSa7wYeM6mir29CGbAeNkA8NPHHIr1kCO3vSIm1YGricpXMctOvkaVfg1NbeofBuzm1M578AnozHJ8Yfz+RYrlF//eGhU9Vp/ElkV9vg9zYijrI2oMSPH+Mz9FEj8HZREzk2JD/G0AsTGvqkr3LbCryhaBpJQHgpIWiAZmVxX/eWneeLJvU4gTURMSNE7RJH21aSPEIr9UqDkx0hPivZok1HY0IqnEMoDduEAv7/9supQ/hD3vxCeX3agg2Cckr8MsIf/lVBbmOZdlBKxjhbJ/DHZkgqiHrlbCbmyJKgqZVNBp/jwLEOcNr3IVizGUNm9eZUKRr4nNyBezkCcfNXuBJc58pQwo4Jyfj/gOQK5cKrFxsNdtHeyjjMnbq+9kEW8csy+1z0PunYRYYHewOAsaCH+XkDhlxVbKJTDiH7pSFgW6vc8ctcf9SvQVz+JcipMKgUxfzqZQ9HDSgy2lLpoILs44aJOuxKmyXXgM81hybwpoBwIzusKolv3sn2vJ2b9hWBIf6+Qusr5+/Ky0l+uMyukfTFDiI020gI2WxnT6ztm8GB778d/W35C9Rw+S1qMeKDJRWnBhxmYlJEH011cN6PlqVZvln7vu6DAlxW6K1b2gthPN9poLXaDcIpOwSn/BVEOKsxUZ59bqx/QGHPc9H08WyE/j0jPX7HK0P3rr9ga0KCwkQ3Gqo5+MsDMFJF6OkUEp7zly4jscX6AaGGk8XMcOUmzpYSrxVds+i4XsBGrFP8Dr0iEV7wU7RvVXs9Jh5dXzOFALNXYcpQHJlsl8u0e+bXmNOvr9b9miUzkMCB4IhgenKv+kBBEIlchRVa29K1KowRuXuxf5D0use1oQw2m47P2JIZfJWlmGif+TxuKWoc6y0y7X7fHf2thsg0+UPgGmN9oLmxi4r/GZXjC6uB1sG8R4LdMSn1QvpCVe0IYldlvcKpCitqzjAyq2I+SLbwIf697g/M911ojYfwqv2Qn7/5IorOJ33kltZakLZF5bz0ie/0gpiGkDb4mtIfObvz91NJCj2dhVnSfZTWascoX8jLbE2ljw6QjHj6cJnfoQcNOifLZoJkwat1CbHTwsVTnyf3DOx3AZhu8Ww5bWkXTt2vWtUHN6g1fJakFVQf2xepzb8mew4TNb7Ndda56ary7HW81XfQjJC7IIy28manpk6kptJhD5ho9kA1VllFy7Hc5Zmxf3UpPGFZgWou5ql0hbLFAQ1jfLtfTzeK0uuqZ8xvtHIOSL4a1j0lHUdLngnLVeZKA+gopp7bdREAGPk+B4Ihzoq4d0PDNn5j5BhPd6+xg0srSDOGSOOp2T5EAoBrT3YsTGpy7eMr4a7r1CsjYaTGfIKPbvtzQTsUupyo/nKettEXWy4UowT9NqIyhF12ZpJXPrMM5IOrO/w+jncFLkzQWnputENrBZNl9XU1sbAjncjElr4r/WEZl9cDZ+XRUh85TXNXHPkL40O2MBgVFz6uujjYCN58e0rXEJx2PNzv+uHa+wOD2dbqrVpHHvHur1RjLrSw6XplgGn4q9uOpursIwa+Du64v16uFMsOqhDvsbjnhoK9ARGenynPC0nxVXOeCWBNseh3VktM17aLjE1z0uWX8LO6QsLULGZxnGlQIjNew0quYe7tBzHL5456fnwq7dyQeEnMSN9HVLxyezY6XepIBvQTFBpJTEP8Tb9c+jHnVJFK+jPxa3HfZ8DbUUIzkvpL9cdNTwSFRviBGtGWxqFeuRy7+RJNTZKoMcDanj9jyEcXd3DzpApXYcWB9VgnzqVS5PHapABnMrCuTj9g/q8ZQeNw1IVH2t7pnnaTdRWZNLkgyMWKQOP9bNj6uGpoTiTNtp7LgVfp1fTTFvoSepczfhk0yQaehjRYslLBHhKtzqG5WDjf8L/0Kz0WC2sN0BaCJNDPLZijY0lsMt8MgOcgtzntNa7fSwp21eX9rcY9R5lBGgKTX4ITU9J1F9M9G7oK1GgsbxGaCLc7zL3o/Oe/cVbmBC5uSxU+vZKaI1LT6FEoBIT6JIAdnb59p0woEZsRzOl+SzdU1IFKfN7d3jHoF7pFe5NRX+uKODnU7sCDJYcK0r1BXsqp6g76HrWKRZ+L8qG9omlsVi0u0Q/kK8wErLUBuZuYjVDwiU3deVm3H8O7zTKUmTu2xcO9ODoolLTzftEazSQ6k39ayGZGk8wxPhKR074VKOO7bLsx9PRMIB+iVwxBYnyX85FxOecvh2e+qN0UOILJfYakXTSqKdruVPxEH8bMd22Zbv8S9z+bPnnjl7enAMSe0ABmEb31aYa4UXpbxuUE2uqSECgD6PwVOC1HXXQFU1yVao7PweTe8Uq1lNWECkEz8w/o9SbNKRQLXTSB7wHUIKcz4hdqf0dtP5+GTeAqRetUcEVt5r3Sg2EfAbwZeXI5wgz9VgcgEOqqvRFUqbTjx5zfU4r9k4YDnCNjMUpFrqv2yzamkis1nidin98iKneF44wpS0Su2RKl6NA16wspiWlSkuYJwtjhY9c9kNpKR+TvgP8PVVNtKZnv0Gr0qGFVv7AIzwNcK5wKpzNVYF4bsER8M7KxMmoyc27X5cPOsdAuP229W7e4CNEf5H1fx7VwgIUxNZULaaRgQnP/tAL83lVi4HFxBnS2CYWUiDjY3ftIUsTVALPtshYspI9kp3waXJ9UoiPdytAixL8bC2741AUV96zl9j5I6NPnNwVEy1KD2ag7wcZsyFojxlyyBfRJxNzetPOkwup6uywphdheIK23h7qxJsjrjk/G+ufhC+12kkVmvypDteIMjpptAzGqiiswsitf1ZYSF4vh1eEYhxfHW4nu2RsmfpFU7aIvOMA/zLGF1BiIpXtLEuYtMGljtfmqjrEwafR5qP2d6Sa4g/NDCdVZ54FHVXiatoklMitbAcBZDSd0srPCS+2/BPXjgyZgpqMRjUP0QmkAUbdJvlo34Q/z6HSfJwE10/Mc8bodizc8gXvb8wSgGjk/z1qYLoEBKXnhpypbivkSqm42TpNHAevge36pgc/73zxR6WdmSZAPtBqmeGBtRQAIQQ2KDYjQGmnqqNjnfA2KrZi8E9a+u35KnlJ19ZlofEGSWNrhc37RP/i3IUzLkyKOe8KQNQnoGFFuTxrcSBd9C4qztPnvjOIh3i7zhfrmmc8Qd3S4Xb3Fg2mjM9nEP8fj4Q36iLgQbuDYntWgz1V8feFRhP5vsvfi4/l84mMoxixM4WnKmE75lsBgfZi9GRSNMFmBe2XLsYDyIh2tcN9s6+T7sVSpSvxl2XpxNmlxz/WAKI9cCRLxH0jlPmsNBvb0FQqvImXRVrImSoBEbjEouGMGk70RS8G6QbXr99jKHTQ+VL2r27vhi7oQQanQy+26esp/IujPlM/qtbvdEB1y+fQSvZaBbiVzJLhiUNLlDSihmssRu3X2EUwCu5onZSP6NW36/SqYHey/R6t9oY5UmZx7o+EWBfA34BsjpQ8HknVIASvH2l3hMqzsrbUuxfAQBWIOKE6X5Nt0I3adBzeHeiEPLsTCLmfcOI119wfhPNCA5Jc3+TJ2HtEE7MMcRPKdsWr5mTWXqBiRehKH5u+Ve29E/+/BnoYlbc5yVKP95K4inQkwDZIEILZjiAaKtKuOnJRI2z24oxkEiw3b80uGPfFncV00CRD1jlvWray7ucEFZDQvOPOzBsyu3bRvSxchyjc5w+jXxy6rL1sqMj0XW0s2TNzN103pZhsZRPUZMVctRjejlzZCIdAeIPnN6xalD3vJjoOgP2oqcDJsoc8Cne5QDuWx7jOiUvtJRk6xDq2iKU6XOsYJMboeQftWhbGEj/8ylrhPNZ+K5nAb0E7JP3tnEXSr1NyyZOgnqDS2ioDRce2GZTE+RoHWsPZTjmzs+guEReNYZbit83c2uybVjW9nz0w3zDCRvT1wyqm4LeYk2xxsmH04HY+Pang6nRavLx74TbX7CEfuJs7RUiim30/Ua5EjWDps4Sz9r94z+WwzfMSicHHrB/5oYJU2ZsBtx27o/IoRJbqh88B6U+vOXYmwMio6ucXo5SQQ6/IuBvFyno7sjjeci/J0ZI6EK4X+Xf77HXWphiYFlDTMucnHVOOxuMjRArZfClvPrNxz4Y41wWXKsBQiql0vLhiye+u2umsUSpRaIqvbgddksDYRJ7iQhJCmhjW8ZqctYGPsYhS5y6Q7QS9rvTLhesyeGHMsLO67OhuqRMvSRowlKDCnryqTFaWCCXQiYibeQjz9SsVZZYUEfcIWuapXOePDE+chpwO4N85WOvKJINsKmUt7sZ8G+ervF+5E0d4nIuTkMu6Lm+L8AP2Xdkv8kdYXD1Og/l4IYArM1ukYSjdLJIfuCxxvWl/kb8W0PDmh4m1BFopsh28s6J5mSMW0Q0IyDsW5VZxUiZeA/yKWMXvew3TfRTsXqvsZJoCyIgPZtbva8G5+5wxr607ElYLirEaFocldLvDcqLElbRkNdLf3RLzpJukluKfkpAWpGzDZeAZCglmvO8LsA4UpdMUr1eHGXCvhqBjdE3dEH9ydH1omqtBTfcliv0VUuCXpqxIurOtXwHcYP81qwSDibfnZ7jhokhmynyLnA6N8OPGFIP9VdV1glhxMU2vHi2uFUTa6GKJIjByPt3+CXsUFpkX5Wd2r3zy1yLmw8DXZdSXrC45U+AhWcu3/sluaZpDdMqz9GBGG0ZH1paj1xVi6ytLXETVCRn6950IMDQZoebrftYkqrV96eQUFOZwokzwA19VlioI+CKp0UpuKP1tRJXQvLuEhMVw66jkf98x2Lsavma0mJXzAQd8947swBeUgpQ5Q/bHnAXeAYeu2C5Uys1FpXvv6KPF5kZ3QkvaDJ0+nnlkE1REedwLsdNU+o4UmXqdbWZAob2RYTWTP8eDaMJ+73yo1aWytdaLWGXSCyokUIWkHfKp/rCnNGaBGCJedSufbQw+qm9O5kpmb2RXG20sQw2XNN+1cjp4YaN5AdScZOJSRnlUmBVO8dB8TL0XAg2u3K3IyuCtw5TEs7q6TuS7BRLLqKhLx5PA6mIa4HiVnELSzk+HVwSFGwB7/jp0Fxrg0bHw+AJNbH8JRjABzXhxLUo166tSXukS+Pr2ARD1/b92EVAgFhkMAkHFRTjntt7jIg0fE7TX/4XKyiU10akkIZDM+6QuJ2KNVZjlU8Xg7xJLncvdwVYex/VFJBTksKMb03UhhifyO42GBxeGRWg+JtQJ+p/vnd/XuiEbc0nr8GCB1v5Hz7VfEWwE47V1484balqCFSD5irAaTY19W7Bd7FvZ5cBwEKTTU+iqcpNeZY/R21fbtg3+mUJbrJ1xEWlOXTdERUmujxrA5ZwCx/5Assz9nxLOpcMccxjbdTKQkRlvnr+tJCmoQkulSzBoztzr6wzjq9sCvRbsAl7ZvA8vOvCWtn//rEgEX16wi+V5Sn85qtoaDeXF9IhRMoEL84z9W0x4Xq54DjuEh7JkzjPDjTP73FfdS/oRSVCAZEBILadcRnMpxuqDd3L/VW28URQk5fC7UiGIQ6vq3ZVQDcGoZIK6hyrJ7qTJFa/UwG2F+Pz/TJywWgPk3iJdQYzdWbfDbxyURqoqBY1WCqDN7yiJi1/Mw3laME39yiO6GfOj3oBMnOtdTvzVxaIlo7HNY0TXd1Isnuex2ZueFkSYJVg48kB3veI9Lw0GNIKvpfBhFb6jl29Zj3f+KzpqvhLDWQ5aohHDHqZdcjkNxsgCEpIYlrhfzYEhAq+ck7bCRq7P3qTBRS/NKs6+dP8G69NX2BJcqxT723zK0tZXWVjcMRdy3Zlplh0BzDSmwfp+aQ0htgxrw514BCUtdjqJeTyRsmazJA0DyS8Ptm364XvmdxIEAIsjCBbZP1zMdXOCo+zC9aIZnOibhSIQ62Rt9FvG5eXMTV/cDs0iNDdRbg/uuf7ur65sYPwjz9no8zAB594oQuWrf9ulw688WsW13oQ0xHA6t1eeosdIhXqMeoomYQEh994MfrVc3V1dAxPEb1Dyt91GykfyHygYlJ/W55YYiByiZMzwBdjngpwhCY3T43Us9rrcUT0IWq5oy+fVLqJHVnxaTKYE30uFmJJFlXYLDKsHfBHmU2lyobEYp2aOVJA+ZcGeXOJvF9A5p1amu1fPxCytR2bwL+M8yTuk9/ssOft/tER5ySONkXZiLkx44YClEYYOJoavZ3G1vEfwwFqHt1NrLLCQ4coS/AqMGZh2T6kcQDIuwIHdeFDr912wFdZWa1oq6seD+044pj7PWogCHcuzHmIOLtRyA3YNWXhPFvIMyeO27ue9AUDmTsgh3ZOZhj1H6kX434YgKKt0oLFcUbTnUyn0rmo3n7FTkrD0rb3Bgsb03b2Xe/gym7+aKOr8yV8izx+iyGbu0RJ8ehcYavaeniihfqJEX6u5yOWpkixyahFaDObUrb72fK0a2iL1K/QEaWTUKedmhg5alFOKMaydn5pZIP3E/xjOwnXCGNpy3pSHBCFpbxxcND+iXTfY/Dd4UJJviKHF9V9lXm49a3Q8DA3xOewnzgqVXQ0QW3QiYDGtMaI2LT19JpBFKLKWCRb5nK3fY+QD3qGwquSYlckn/KTgjLfNhwyYkv/M8utREUGxdKIoi0ELu7IQ2yVpznmg7tcOq4yThVKoumU/SULEXqtyzoMNKMQI0BCvqG4FHeYUU1ivEx6zEmQSZlAYvZZRgURXoxlhhPYFr/3Za+JkWpuQW+3GTyYEoVpvYcTHDq5pQOEsvwdze0Y88MKtAkvyH2bvMa1xKL4tjJR7fvujt/ezWMF46+ca3XpqZzAp4Bsj942Toh65iMDxW080et4W3o+1lJ49Vba3B/AZpPtVx2s8HkVI5aRYHl40PUPt68MiyFBeo/qLTNdZpMa8U5P/SPl2EIRs1zJcbv1fUczhQLF+sYaAKGT8LFYebeRhMRbGVdQDqKOIj2DnhY8aZcl5895cUeEdJteeSjZwLIUlAisuJmqVnuK9axI6C107r5IJ+ynG6YdSYkAoT0n1tRybPFBkK0/Xb0Zw1crIIq6wuRgXAPYTWrXTVVvqpkIGrReSihhBaDtEzgtij8IMj8tYkVlcn9FGNacMdW8Nlwwmg8RXOabqFCFB/jdesVVjefXDQhpVrBEEJF7T1JeK7Aud4xrIFUBztTIfyyaWrkYAYZbSW7riR6TPwsV4JxxmOoJMvVZp8km+2a8Ky+1RgkvXycuzxMwgZtEN0KYSY8bzgiJ+kv96l56NaEA50aadryVkDwzeAEeY9Bb55YSLdDAkSphF5sPT2P2nYPMnk3cFCG/jdLNf/Vr0j6/KaGdhPvHkiWUSTGiajAtzp10ZEa0Ywn6sVNlM6aWEGdPU4JwCyfEaLOmzH5zVheifnubQHqaMcw2eIYugvrW6DakdvUb3Za01rpFYagS+0jsI/CH2Ml88tTNub5yDgvf5OSe4kVkH7EbtOJyMOgwLLBI1iKrdJLBzMxcn4ADX74HVzN0BUDbJA/v5Mb64XN9A9W2l3q8WUcPiipKcjDyaRdBqhKM1VxomKfRFWW7uGj8HXMw+cKPQbP4D8VIsuqqts1L7fTw4yrwelB1hLCXIX64oKvB8zsBALbdxexXY38o68ezW/W3FdxUSIvGYQC+aAFAdS7TXVd2nzibXpKX3Zw2TAA+V7fx9sfwDCEWEZfQ7HU5ujtBoc2bFOYROlihOOpf0Ojr2CkRJ2wjSn21ctfSpfBxSYlQ2ReUVbXmontSiBWgAMPAGCK1Agjh+E3hQqsNy9mDA09bFWj6Ys1e58MFy/xRt1+QRqzV18i2uJ36XqxwlrS8z8ZZG0sEwRO+nhFNxfGnX3CPpy0JtjhgL7gHNkwmR134SD/TW5WvM6fw5e39oM1lTNO0LniqWTh6TSUc1NLUcgvmYDwHMHJyTTPSz4Qs7oONepRnEFR7XDeIjjR/8sRcP3fuQ7+5xhMD9nFfZZOyWc99rZ5tfIkPlo9ezh/DuPNN8lRCEnL0vroyhBcEIF/ExEfeJ3nx0PQgyWNd6t7FHLpVOB6uNfeCUlo2JoPXPpzfpyp41aRC0Oyf5xJKCtYufQ+T55IUG3GCZVl59D0zIqJA+OEqsR2xrPrVztqlJusuAonBRYKNGHUuzT3Mk7NpVzA5iOjOsNK5k2rdUkEQYwaBaWeAq/7UVA/YdxdnLzw/YvTDfczk8vFVY+Ng9FXhvqV9Ar41RyapSurf8iL+4fV1UiSJCgzd/47ASRbrXVSgUI3va1lt7SJ+iiqIr1DP6XFeVHgbi4MwgIf/Kc21cCEcawFYGJOv2WYRKjT70gR9YqVVkOmU7l7nnqq5GjbFTFCKkj/RPiNKke6oyvAnl70fKqxprQkOEV0JNi59HVXiHegf19a66P/k9NEa4Gw31SsEkHFF+Vo9qUeAV7ObkXY4Rdl25jLltNc11i4u8rVOGeMrkrSpp8JMbtKXQFSdq1416NoHlvZUwSemvcoxNvlnPJxzn0aQdr/8ZnjLDQYKV2DP6urybhPVLq4x4gdy+gz6H2tJ6xlrzAxu5aRDUOvNFKpg+pvUZYzNVH6pWjo2Fk0cyAirXLWI3tWriRBEFu5IICQjrnV5e/54GfQu8MkxawvFOBF0E9ceZfB6SntdiE10B6EOhGhlJcG3JsdMBhlda8SOF3zyTdWhu7FOfwopXVA6etQHqaOe0az7usLaD3NtU6+Bx2+/5Zy2JOp2vZhDUvpoH9is9F2PclHAwBaNoGfbceKy4i/9twOlh3Qjxali91VLewnGVyIn1yIyLcOpfo99OU44aFK1+DYRopQC/ZKHgqhvS6UrPenf7bbRpaqnf+8XXTcnzJCZn4JRyqWsW61b8MgXkvf020QpfvhpBDMIHUYu98+h4NcFHDyBe0bj87VEqh8KJ3oIHsGxNINgebcgQhHPgr1ZskQsNRXz+Ekoz7EF4Z03bLYfO5NLDiGTALP/gbXpzwgHZikR/lECkjf2koJL2JLLEFRIlrCZ/hlVvdoB3cpihWC5vKzQ8JSo037hklvOYLG6/oppe7wXqP+AGeSVZeVPeGvCk9f7O31CH2EkZNycLpdD9BEy19Acek1AtYAe8my8rMJGQxVE0A2rf1/w5LsOxFAACRV66CesDIApFIVaLUizf1uSjgbMDy3mNQe6QJc6GtA1QgmGXq8nVviiQXX1erHGcv80hbi12t0yNcKLxN8KkCMIn9/6jg0O7Sf3ZCIj5ENgz3WH2IXf/SLSzIHy67rYSXr/ukyg3pQwzgDvFrtPS8FRViu+BbH3rBr3+fsJ/Wu5n7CqPiV4FzR1cF/1srFc322DcZq3EJxw6DpX8hHf2L9LXhSqBMDfQyIhLwv4usxKvo1Qzu4twV9qhyGBq7L0z1tavTWnPiSURWfqjD3kLI1O8kDB+s0PyYFDzkqq+DzfVJyim/Faa3FlE2v/KYzHGQ5+gX2zCbnew43RfdnPJS3lpWdsUiadWMlY04tbjoiuEKyhLp2UKuMM3zOk3VCRnIFimJG33W1xfpIKoMkxx4x2cXl3q7pz74vNaGuF8D4WmMV3Hic76sX41vPWK9kMcGQXNxC1hafUrLbUvsIjfs+GcXO8Z1TWOf4HGsGgOONH/rR/md5xNVk0lD4/z+uO2C7xobEFqMxd1pTCRLW4XUUprPXK/OJkKjWQvj6Kj9TvG8paZ5yBCmBUwNAjP89Ew1FmuHfkzJqJdyZBRfNvnkAQmRIS9ArrFw7Xb6hG5DXCzVFLoSkKtRPXgRZ5qlfuIjbp/Tz+bUEB7YRFynQf8MttPe31641BaKzD2r+eEsGUcTBRyAF3unD1OLS6zupwtTCrIUkZXC2Tc1YD/7vwjpvp1JGQA0FZuLI6pWsHywN+xc7eWs89s6ZyZIBVpYsuW0Qjmuqvu/n/ekAYGIRA/qNsMTs8McvXOd7CA7TypIrt9l32h2wEfBmwC+KtAX8WsKJJOfFCJRe4TrprQ48EA40epmglNE0ysMZVXmYIgwRTqTdN614ih2DwqrqJ4djycz4bWDb3c2XR7DE+aweXxoh62fi7puFPYag+dqobrPb6QVm28aTCW3CpVE+2Hvq5JRi1TZ1OoCZ0aI6+xRUW8LfkuDoWvjUBQ7Y24FmyBeaVV3DNm1dVof2O8GDzWGPcxxRhovpYJtdNY/6xrdnMVbcK+KReva6T2URe5wIKvNQuf/ly3sD3EFcn3xuNX9yonILDm24EVCjw1/P06YeNeU9HbVrE7aMbt3uxGCERnF+rEcpA1Gs3wF8JJghtJJcyZ8Inbxm5XyNRnzaXMvyEEvlvW82n3O4HGgyAFVCvbqXgHNTN9NFR4JqADNSi/aBdY8NA1IC/dOQ7nG67vKbf5C+BOny3+G6SSuQ1spDIB0HcjuqWC69qLoOxwxVK110L4HQzNI4//U3ZQ9lLv0CFvAPf2+NBaF+y+KIt33l9qbvB3Zqm242vQDLz591ByIRVSxlh7aB+TLAslEHyZm9GNnKUkH/4DPOvOxP0d9dTUspUGfbeE5H6KyykBhUug65NmQxT2drISGlou6HmX+vcmBmH9YWISZZor7nUVzv6megiB3D7rZPUV+Bprwz7pZ6cHwWITpciXgZXt9ZnGgtCxjDI2eigjAyZ8BbvCWXNRr9c0cEXdfL3tSq/QEYPGDKS29CbcZzMzqlTSO4skOWYACdabdplYh9aZyAWd5f0EBExxJV/T+i/H0mhT5JfTO2deVhVveu3ZGWw2x2Beeip17ND/obtyyQr/8Gn9AN1rJmDoxFFE5qgInUnt93oTSlf/EgSJWY4/eLeKEDcAG//wlu2gE7IzCjxCr6cySX3VSG0+77ymcisldEedoKoEeKHVe8rQUCRvLr94QhWaZnpD7Sk28gMv/M1/pZneXL7Kug9b/RxDeqcqR+jbJhGGGENxBYjuRgYzxl5ENp4AzYJRArMm2uI+wITaA44jQ29XSsoZITYGKT0yCgvy+yLbpBNN0hiOv0ZH3/4j7gniD9N4ga4bYTIMDvc6okO9MyA/Bedpv98nIXtiiyf33uDOdIUVpp267SzA/rWLDV2o/p5eZWTG+6jX+nzvCupvoQqYU/ZUs7Q/c0r1luKsVTFUtHtjDiyaJETG1FCNG0zpNOVaK1mEOPNbXmcrTtIPhs1IzOV1Lx1lBSbnuki99TSEMijaQ4acq5Z3XsWxDQqKqKnuoC3f1qZyIbacmYFuua9tIQ/c6CLN8ZrP77eTntkrtJ0TdYySUxje/NUG9Xv6Xox/NoaZvdEeTBLVfQyziUZgROCdzfRU1n06weTUYk+CvWPW7sq2iv2a2LeTtWpoJCYMzZRvYQd8ltzwTkRChp5rU1eNiK8AJT9gjvniUH/gnovFq6MtQjNbtFF3bxPOv2nzrUg0bkBtq1IC6ByKSxrwbux+Tto0mPNIgQGs3Bb8INNy9RiE769xUHk4jFyt81jIIo6vAuCgHGt/sIr/E2tX2+i82rowJuJfJbhQOFx1/gz1k7VLmVufG4KJKKK2Tqmz/ueDa0Kgl/blslzRF//j8MEEElo0/yiXyDRFLwNEMI2Sp6h2el1wgNJ3O1l6qANzlfWqdDX4P6jrkgvjyIwrK9BrO88wvTLHapZPJlU7N0NHzMAPE+BJEXyIQbTmDlUTWBcisuVbw6fNjtfMVnk5WlMHD5SuWM1iETseONFTOGCJpAR6S9o6MomCRniUobf58JUkyWaasVhGzrz3cuvMrwQzFLVPFte6p40CerqBMOqldgxOs84qar+r8MmDGGKQDXi1WrCBYYbvjh0L6yVkH7MkwRwxpysMOecgJtk+B6TdHromypZ8BOG5s0+B4lbPTISq7G0rIFwoY2dAw3yTZKwnSjbfbuqtOaG8ur7S4GnI0LRui9+wlKvu1f1K9JDkQ09h4cJEBKciQ2NY3QTkqbB/1hJTrzmUdLJ+eJnMt7kSVINbcVYNP2eUw02wRZL7Ih1pstcpmRsgILMsdLbTwxdQ4m8+N/lsYTjigm0fzGpKVdf62lotGB1HvT38IKbairYT3dMopu9huqh4n3Wj9wFslxtNZL6vUt1WBpmfEacyO4CCrn7fjH0ytcIJ8C76U7uxIqf84Xu70UBz1WMPixq14PvOZaTe0FpgmQkiEfyb7Hum8KZerUEV33ndI4416pptliqiTlOHx8YHJzOPEfHQmewMDsCt5qJTU3yJefVU3RUZZW9ACMl8EVi76rcxEGluCYUpbq89wP/8U0jJomwU+XrCp7eYALVL0ipor1e1UKzZ7mUFaJvCgYrJHKkPhQsRgUDjRFjd5v0EumD6cVldJvTYF4vqzXdpJXx4Js87RDgXNRzlK2KdNzvQogIJd/5sgmyIPuZRoe3bLDe2NerxxvopMJidLWet0Fu9I1Meq++kmXJmHFIxvMHk0urUscruj2o50t40vrwP4xwMJkAQGwSIX97mC3MgI2aNfpS+xAg8z1O+Av0H1XcIFqqeWwybk71UAWqImOFnwo3+EFeScBKnsJxni5TTD4yo+YUElu5nJQgAJJBTg9QDC0dAFRaq2T7odscgFFjr8u7yb3fAFyerlgOfF3WrYanNHeRikMTfjT6kDm4gmjS6j22pVWiMxXF5nIpU/11F3JtKgzEtmLifwtIncUkZKwCNGTzKazoBB7eCKox+AYSqB+h5/VXAobiQRI6mPKpqtuyyRiXcdRcd6v5QjTEK3z2G1LK4cHL41KPtShbAM/waCdrQ6dXddM/WvJiDZ273JxPbi3zzVnt/m1djoRMQqVQQRd1r+RW5QL+y5dWLr18/G6tAGRZRsj6Y72L2vSmPvLQr9YzPi4mMKrcV9nfVVajMy1F14dw06XHJ0cFPx5Q/J093MT3RjCfhlA+Zg5oK35IoJpmU0hAWaVAh2c9lMnU++fnNC/AGL/GitzwWaQL7AaU6QkDTuBNdOwF/Hg4VF3Esua9uNHOxt4dWNZP5jL05AG0Y05UnHEiDivSsDcDdgJU4eyZ1eR7jsKf+klFRC21JDIVipbVOIsUH+zDY3hgKOG2Dxvo9sLr8cLUMRzbJCf998jo068nqjiiUMVysKlWLA18gaNOgAVEBLmLdUkkuGVYPZvd6QRQIWZw94JZuy0JaVSJG3JL1Jobs0zs0UJWwMqgzKGUyOFTdgd8Cfg6Kx1HgUgRAVkGNi/sdS+wfT4uDRf5V+ARHZx9OFcG2vrWMqyouLdfQXAXBbl9fUdJzqYSJjsflFvlHl8aHmS/XNCTKhfVB9KfZyfQrDSU/CP5k58phhvxSEn7wYNQu8vwB5mQPECxwIHdPk8qQQx//Y5lo/LDyEfjKkPlvOKZC6xYmLWn1iVL5CpZsx8XFsrFII4k/FxRbh9M1wxbJyttSwC2XmnOQnZ1ow5sGGyl6M/YDUVdBk6XkABOcqLknsX4CqL7qVLYDvBE/YGCPBlFvOg3FGIuZbkQmDTJExDCXI2Ju3sQj6Y2kdbxfjldPlWM0wBPqzv+QSwP3EuyROQX9CThfX7wuWCeOQFsTCAOJpltM8LM7Rtv5ctBvLVVtYFXrX3oJWecZ5vnhYC1iIiSPLQ5VLPTH+DnMZ7mUw1/Ag6zFcUW/0jERFWnXt6f4XKtO+c59MpFNqdjtu2/fE4fpy9wtvAFs1332cVU7DyyFiCma57nxN8QzVODy5JnB3hcTTISY6HEn3qwUy5xXNASF6zfCgEoUwJdQ2c/e1VsTfTisTbtyfUv6V9GYjmuCY/sYfvb0qbX+7vfG+XeLbZUWXQOIa2dsC5+vnPwpYm7WcrROGTBIl0Vfs/pCMm9ZAYo2LWoRw4ENxT8ILDiZF4o3YclZozTYf6pmlKR8kDuunWLw5dABKL1bevcLBBXAYK8B+DFrEAEn78fAexqp+VodaFAfxSF5jsh8AxNmNj0SQWjH9wITzU80cphmDn666eM/wjsbEXy4y9ZP2WzbvzTo7IIVrUSS+mv5iEtIRgjy+zsstSqvU6Qz/aCYpp2RJNH/WCgDdbTnC3bpcD+ESVSWWLf9e0DoIyt0sWrLSr7PjieP4fYpeF2aOAL1NkKARLL6Tb2N9IQ/U6PP9holK3ue0cQlLwBjo6bv0bSvklz6loNJp7Pqp1nLxEVil9SHue0+WN1wbFoXkG7ZTNWmk/OEGh9TjaoXCg4mAhkWVxtd63VcgYCThZKlNlTFH8HuB+4q05cVxntCx83SEHDsiuXCI13QUpHK3dIVrRpZH2e4svVpPtFB6aPtmcmim6/02RbyWzN/tu6lGaZMJCEfi4QZ2MTuiw7PkYN6Hq8hr0Q/FIxctw0TnwGxGqB6c1GBuHmDd6+1awCtQK+hUeQvD4ed1crexvmQUdhSRIfSXvhYbvmS/jdXZcoP8BaI8S85rKbtxba8B5wUmfDidvjGRdIbNMrrzPIeOJhrTlXug3vanSmu7OZyZaAM/BLe7dnDQxMomE/7VNHs1/tkRyxaQGeKnh3ZRSbgnQjEZ+qhHmIXZAfJm5USEUen2DZUxi++0IQHrV5F0Bk/WzBUmeyMvrjyYjQncbQhMJQ4Hbh82DNEx+BlLS3j53Egln0c3BeG0imVMvo85NHTDgTZV7gb2RxWFIV69g64qGa+eKo0OFrQpqVfMuqB36gZ7T4Ez7dzfMK1T1WPNGWo0yln3QBGdlgyUnhCbVbsQjTtB/+zFv22c7OFV7k6Xn34ZS1N2eLg7/4tcL2s9uF4va0IDd8wKIN3KdB7W42UDMjdv8xJZE19vObo9SBLEJrI7mA4leGaSOoygUfy+FwbwgJ5xQ16XuXdGzF/M+uWguboMZa+aK5SguVZGRcHGryT+neNXC2CBP20SfOzV28QumnCT7Kf248g3daliMIQ8kCyzFQZ/djy64Djq5cGJTTjXc10uM8RhuV7Sy3X3wg7mWHomkfKBCC2BuaAvuv7Kl0eqfFaK9I7MpqcBFmGZGPE86bg1aBlzxFEUGflzkYS2C8IJePpH3NLypgDEF6VEyr7jLoLHty5gf2kCYKHKtTjcnPwhnRFNac2N1p2T/Zev9V92JMbhoGKS45+1yHl5faDamOo2FGyyGkQZrZF+KiExHrHwPsbXMlaUZoPU4++nEk2bTSBmYNjGNDVVUnbC/F/Xx9BQXvFmblq2XQ9Ts+LJWs5Oss7A3NIfCoBdGR+bIOlwxFjtsK1f7gb3TNh4P/6PuBrdpRYu1AqeoUA9iVcn8jy0jcDNjvvVtlvAwIXMVpQ+JfnLjqhu16aIzmLMc63JCZ+MH3FkiPkRwjBVb2cPemNyw2N3bBkfs3e0yg+uXkGn6pB17j1rEXKRa28EsDSw/KfE8xleVtPMYZFo4JTeCx1I9uFbOb39IsiHek3vAff9mwUbNfgw2P+c/iiw7DxuYIT/BmCpjc8blTyiTllQaHY2rtUhhX5A4rm2yOzjvbTbi69ylW787hD4K/CxWlcC51bDeWIYwwRQeefQzcejbNTZ6j4GKtseIbLLqxBQnUOR+mtwOcD6cukiYyiTdHTH45UewxOu8H9oLkZrQeKf39vxGIDloRO+Xi1CU6K6gBYzFBa8e9/apluFSpap1zETd+UybsYs5jQ3z0j9HllLhRlyXr9uUiK0RyIaeYnFHKAYrlEGE5XfueStYarmiUg3k5U4BKCRlW2OvaIy/aRWf4qxBjVo4phD5CYSx2HV439NYHyIZMVkOvic8eQyXiomq8N0U4F7gjda/hE9j9CZ6DN9ouXD8O7npynn2vKJCK652919IUJaZf28MkLgwiO0OlK1YCNiWlUGL5V00ymTm3zvObAboo1YPpdpBqk9quDXub2j0ixAOR/fabVvEeweTWNZMz4/qReWMDebo2b//bQpdem8Crutq4Ym4XXGZYtF/tQTEWxo1ySJ8cKX5emhJ9OUqVYzUqOQXzRRqyJZotrsueHyoDhah2N8TKJK8UYPPFlPVW0WI2Oafj39eW0SVuWkOEwBWxp+NxX/coyQ77ra60X7M28JXL/JhXUOiafPidp5ZRSNE7SCIoK52nQFGphM0KC6EUM0bajXP8NhDVYDUwa82jiK1AL6NF2nnEclMzHNiAD0mHKoCslmuL45nOE62RnVfnW891wwomk87tmJSeItJHnxGfKRHWvjUYQD4TIe9/EPQeKieDpA7WICHCjOiw5MLVzsrBhxQ8s52NmhZulobQadUAht0p53aqR0cxLUHLFGKnryb8f/JaX9KTjejuRwy1vuChxP/ur4eeYcZ/gd3BxoKC00k3w/SU2LeNcFP0QHlcptIj2en+EnA9UXpxNrWmzI047OvNzjNRnnzzCfn/Wh/gdm9kwkBCNerl97gWZnCa1QGpw9PDK/54NnAwFb+oqcQr/iLM2XZImgasQCYf4aIbirVKhbEgEXkbWfxKQvgmSirTHbPJh9RTTdJ/QFS+fdaiyP8UaKBIkrsgeknq8cVSz5AODN8THj0NQcg2rI2e+urC4p0CsIUXqPv8wJJ1SqEgQuEwWsyQy5KYbE3e0lL0rykeFjKVUlrK7MWRLo9gh1xwhSjwoMhmZKMBnbVHF+JCostZ2N2kSmrnp/rYVulZn1/gVEOfbyRMAGThHtoyLXwyiE8EGCXlcly/CbZaeSkMuE5JNMoVMVKV2wvXWm4R20qAEg2vPZ/5WmrJdFBO6Vk4c4J+q2D5nI7NEnMo8BPmzm5AemoUjc1nJUrOYsjwZNCDuijVGWGo9LMvPr0MntMhO0/AIzCw439S+D097Q4J7YJRIMT/WWvQ2uOLo4z66e9dEmkmT2VaODwpso+0Cqb+lOT0hLKq61abnq9CjAF6eRZgRRCcOWVxBT4z9UUqcfiygPl2RaovvNlNK4UAlA0hSOzF+Ezu4stbKds9Q/Q8padnrIrSkNQ8+sW8lCNlbiCwgW7xolGjmccCsbmRyMoeQWWz9Nus9TMomazsOpKQumMSirEwtG1Qs3cFkblulib+ZxRQuinqBHBw/zzoRDcRdwwl0KZ0IdXadN+6M93ntlU3Xb9UyUBun8FWpjOFiuWpvAsbQePpNq7WDuZd8uJvlX3U4Kdyp9Zt/tErB4cCmNXnjoXE9lwWVm0QuZAAQrS+6UQClT+fllOrYrGeJFyil1fH4qk41XlWJjHSdmBSu7HTg81IUO5DxsM8pKhtb2usZ/3W08sDghnUVCnpIkrlMhlUiF7eDBtRYgL8Lxg1JMv3/AWvJ6ouu3ER/NNpWBsB7LjyvuEaUTWvBtlM1nmztoixsbr6uG7Jm0quqlPGry/8+RlnXmA5LxzMAr7W4OE1f4DgjieLlt4VELmh6YjTDjuWwiUWiqYlEbdEpEAClPGi8bZK7/RieNnXAwIVj95QNE/yqGpeZKDsoNRDM20+q6mfQkuWfk8WXbzMt1OY1loUkKKn1jzyIS637sY0FBRAWXtdtc+spnnWtG/0x8bG4FGXNyV80pTw2whWnXmIAmPWaOeT3rcSR1ltI/oAhBAunX2eQrO6Jro3vdW/EkOmer2tzImcj47uUP2KiZ6XNl1HuuoGNVLTFAp2EOVV6DbT5fVGZHqzTTn3qvi9HauG6dgBbhT1X8+ArkxapGQRG7T80ov254xYmNLft6DvCtqp8lFwxu4NmdgR01MpKSksRbXzkB5Yd59kSCI81sber8qDCe9tvZ/CwK9v47Abz+S8gii/N/RtOWGwXhFKnYv2nwwQLWsRTI9STdinEU9dBj6dQ619NrWfYGAWrZ3FXKg1T+e2m0rs1FskznT3ywsOiLKDv7pPuo1TBr8cd25rjjyRi1E07brcKrPlchyINHhdc5fO/k/vRHWr16k6DgFp3r3M3y/Nn+C853xAxYxSL7e02iUdN4LmSyiRqZEm4glwuLDq79ao7HtUeRC2GjhdDd/GnQZif01LLZnxxMK/GseKqMbYIzVD7Bi4y6n+cwas/YB4Mty7/hRqYKsAkJbd9yh/s+ba5QHblM6s2AqUXWlyavoxQb/776eDZIHXJEiYcuEUg1EHqPGaLeKKT4gUjSAgRIrDhgzFLAyZrLznVznSMmK6JaSdRIZSwUxCYMYSmO44l9yYIA0qQ1e+U4mLfOnnns6ebvy6SdLtILeHwWZd1twRirA14b1wsX8yuzLZegGpGPFENo237GkHL1+fJjCHhfc0LITTwTEEUpsfqdjNI3mgYHi1qlYc/HezmSkzHPBFzBUkEy5O/0+r28BAS7QDo6ZFu5np8nrHE1RStCOwACp/s91B2++EsBHqdzEhe7CcD39+tDeqXTCoPCiiB3ACuaJuBGaV7LUCNvHe+CJATD2+RYBueHXeYSRgHFYdMYphsZMGI70gTRiQcUXzQxEkamGXHlKAAwUeRiYMyKvinVpB4q9h1gRQpsyHPtGNizrt5mdyR9zphXEEQHzcBgoYkxDjEXJXdkKnQ5N7Pgn0NRgsPQnoK4/u3kezbDeuLroN7oyhPc1XZj6hUvyixcN+25sEosYSWr143lMs7hpsPQMxQpNR777S+nuW9T79w+jYaAMIFFHOZk8zjqKSsfPY3P6+czVHlnEwpHs1r5b3kqFsIU1K0ZCAoCL33wNR92sdTllWg7sS9XDd/wuOz4jZRHyeb4oStDTQetUuvP8XSTS6Sfj7ieLRPwLdej4UfJKkKGxdKGYeVsFKkbnkrP2CRhFpI7tK8BmjLG8lAm0tScg8f4y8eRtaYW33mXptrQaW7E8x4hcGsVOYAKjI/QXIUhOHQtjjqE3isJDs5cza+HBi+BjIQpLDEmF7zH3xX/5LO7/lI9u4bpvDbpHo7UNbdTkRVQ187Zj0K2w0fY4I/0aw2K/zHNfU5k990BFRVLkPRHCxWRAwd2ZE/Zjo/nHe/rcRQC2P7JMJRUkuyNAz9hMIAY5UlHTeznfyIgCuKcQpXXQuN5LH2kArus7mYhtaqDeGkKSb3Dr4V/6aV3gV9C0OLmdpg5pY1v3ZpEAqhNSTVDzkgA2uRGeQwRjhDwundGwBGr/4EnsA5UX6ayENjV+AXDEsMuteCE5y9UgZRHZA1KaEjolVa/BUmvtYDCtxxc8ICfPagQAf+NcqOTMYdfTHe8OMDFzozmFaKtOzPLLNDqD3TxlzOpsigpLti4h2snwdapb0XHYpe9mx66qsF0WhRkqGEW73zJ/Hm1+hzh3B8TzJ7WUnakmk350aGsLVR6+I3Qpn5bYpBu+nVSJ0Cxd/i4Y6D+3y3g/vmcmJI5FAmkfln2uJgfNMzsnQ8G8tbpmqprcXhhrHFR3Iemz6JTR2n/RmcZfXokYmS3/GAB7eANH5t+dtUvbhxcm1CF/poCGvrD2JmCi+/QLocnZQNr1kUPOot5qaKDIRlk29BRhzYbvzWZJyMeoDfPruBmzqefFR/hvyRcrGE+7Uspg11Uuj3v8qQgrrkn1eS72KsZ8OANszHohLa2GmR2uKEoP7mdYhz673jCpbzsE7yjUCAt2kYFwq5IhzeAupRm3rv7Y6FzwOupJTegyL3xefW8Nca3ejS+tUpdBSU/cdwUpqWOxYzkYBXLl0cY5/tFvMz/7DtPu6anUCgmOlQ5w70UbDpUYwwo3DWaVKCnziULyGgSgh3qmo8i+7ZG3IknvI06kFDcuuKHMINvEMuWLVD7T8nMYJTNOjvTcNGg0euoHXeua+Rv0Cv5PFLFyNg74QsMrlWdEhkltMAOxeYz7HA4inrfVwQGCNMad+KdEDsk5DF/NA4JeCPAgh/JQpaOupBn5IpneX6E2LWqj/tpSqylBqBSnu3v7pTRdm8YNsbZTvO3cJTHDytmT2lNBoD8EzA62V/3po1zkMBaIi0bcOlZvcBgo67iOF5DMg16QQPtMWnbGZD18W6PePXQcNKoGIkkBryYV3r8+gH3cIfqvxYEvX2ww2mZASo+oB+gI5sqsjwQxLTpNYyCcZ+DXGWM7m8FVKTYiL+zQBtuPMB4812WECxE8McDT+UvNUxwwe0SVqg2T0bPDdWK26GhdmMxxKR07+9BSsXQsTzYIYj833MRxfTeIcOxDXAt8ermTi9dkojux5A6oVfYmU5eyIi7hI4eW+myl3X6Pg0jW5PQuCEKM/4Z/EPP5lvgt1Ph/9tDu8Ecqbo6EqA57NKj7MzYeGjXBxfPP9Q7Id6k26U/PRAYrSpTnNvYb/905QCLf+zuxAd/7WGnJBKHhvXitJZumauH+l5VYkIY9Ctx5FdtF2k85vsrUMyp9FZfCj6vE3jyCDr31DpdZwmG4PWkyVnkHSx5DRPYEjeQ8Cv5EU1RDTPM7jkWls0D0LTft3SBWMlbyybYBaZavTJB8Ntdvi+PSxd2SA8U6R3Xl4sTFkPC0qlPPlFsMwqUuTsHR9+YnVxiXPA4J9RID4yEgFzLcoIuRNnkANdBgbhfXa36/AIw8onizFeTbnjTNXWyDEdNSp4gc0aCzYtbQZ7aW5bLpaNAXZX7zOvswCwcMansB9BJQ6jKfwjnHZ7Ghipaj3qs4yEMxmS1t9a1kkZrOUCXZdv2EbXya9FW8mYKCkRasOK733uT1ZRQhAgUASgXSp+Q2FPCFSQGJsYULtG/XmbYY5J5Su2O+H/vsC3My10AzV5jNds2y8Pka1rlmLvDDUUnDxst9G/Ex3Wv9nCQD5G8A7hQujxMwz9kHiMoQ3mIg7JfFKHraG289UsPCJ5U+/un1cRVhclQShKq/3TY9jpIFO9JsstmqmBVeDlLV6RKneXNbzPn0ZjQ/nQe70ZK6yA7VEgIP9dKCfR3aGVapZcLKHYmZhwZwLJcJ5PzkGnnfPIb2LAliZmQQWBglgkHmKJCydonhx7iAYk8u3a0LejC224FjSI/IMREnFRs0HTtQb4S69RtondRd5akbFc4v3skC3aBBl38kUlkehCwIncWOlfv8F34KxGHo6t1WFzzE3tvvqaJWRTBJ9/SJ9h+SeD+KtWC/0gJ0MpmoDM+40YL1vPBLH+OlYbmTyJHRRdmxaLyPyDic1AuEFEdEg5AkiazPGkpRBgr1nX6R4ypSyszcKlI2GZ1Ny5nEzr0fVPl+SAkWBDNvFBp2siU7CK2kNtpuur8NZU3iCs9nYm0RRH5A+V6V7lmhqBriLA6aFr/g9xIquL1/Z3FhmMeXEN1Nyd9s4pNU5eGR3fVZYH5fl//vt9wTJo4SCN5JkHAug8hzpkXRoEwP50NTMpXbvm8PUy/WR/29LF93Joe0R+cKuU9fwSSEQKDNBnmVz/En51DctpNobIGYweby0YOjn8fZPuXdQ/Rf7XPmORBHenRCm5VZBxevqUE3qw+jm5eCqVeCXzmWByFKYPULEAVlY5gUvzRMuYN0hYTARqpaKmG1hTDmYni02AkFfDcezYrhOO49UCGDbINklcWNG2LsE/kSHj7fEKKdcBf2NRbcFpvRrniOCMD67q05hMHvBXyu6IQgXRDZlLbVWUDEsfuktUpggjwfefOlF77aPSPMGVwbGSUPPGXCSLWS129qhr1r1oXkTls4LF/SeQ6COeN5l48X5s/6UDCyIMpl2u2lzsFjX4ckrZN+6nkE25XWNWDrICvDw2jXEjHEftvqAySf4ls+pSoPSx2UPtRccTOnSlwQAJyGOzlVrt1/mUJlKU30QpBEtdGpisuvOk0DTTFgl+236BEgXLkszF1CunKZTDj2fzltoxm1Lvv998IbnrtQ/LvbzAJpHimqarwu4cUP2PbQiB9GvjCTPzUdsICRyEeLA8Ulslh2+LysBkeY+jmsAX+Jsc9dqFfHLqsM82qoPCFFNiA7FGtP6KQQFwHiebC+Ci3qCE2LpGnaamPLGO01EQeWS/L2AD09ixaCGK/7fEyTiToYWnY4+0Mx4YH35p34g7uAtsRA1jfedBwWIfjBsgEgR0W62qiPV+uN4G/pb4KzVDP5RxypdiXlnCvyC3ZRfD9Wru6QtPOQuuG9drgCwuIlia0cM+ICNwXyQbYxhOVxduAQGFHbXe5xqESD0LEz1YyNWX6raowFuZj4o+7mObdlrqsf20R0dRnW9XYegNPjpvzc/986/QdRlaPrt4RVb2WteH6FpQen2mY8DUCxwexJ03hrJFfA64aDVdQtYanGXCVUADILLF2cUUqZpvxMmCBCj4YlRd2X+7Ehxrw7Vb7+CVCEZue7OCGFDRTyQyrRhBtyi6hFtsPu/VK896LZWn3H4K1KwqqHD7uOJj99dLGT6hQUkZnL6ORzcZy38x3feggwC8TztNmV7noURHaA/psoSBWvheK0q+h/75U+MjWvGQBYiY8vRcdjag9yrhH8LruwPyonf1uzXbCsbN4N5VYenAAa7/CyCCSEg3pOQCTUkU109FdBji7Pt2Zht1CsO405A7VYIwToH21/rU+oyTLwj0jGibXzeYyPuhb8YRazO/yh0rA99go1aQ3sn8FIJ8tsBlju7Kus1bI7lfl1Fq3jcAkm+kjR6HnIpsxknXQdfQlTIOBNXPZZMzwyCp5zaahTwBG0dwzcMu7aqgOkgyfUqXqmHPBYaSYXgzz/8xN8tElFjf6jv0gLf6Crt/tJhrGj1v8/1U0rmgV8b9ngh83nGGR3mYsPS6pGT9QyobKF2WfcR6eCz88bgNK3tQuhbc3toRpuULgrk5ZgIWGI0wsa4O2gKzuzC8ojxqcfZxqRoHtayWTtjfSvqKUq3C7UL2M01dqZjXN0mjh5jALvbLiGk9e40IQxL2aM1sFjQhZmJQE8ugdsJvlE6yWldblLWHZW2F2B3At+IBqaytgcac3RCyI7Swik7wIIegFiYbcmAc6RhRTiYHvPF1qHkhOL903LX5dlJ7jHiJdYer1d7XgsEsvGq+uIhv5fsQt2+xFSTcU3Mt2to+ZjgwHfN+9qcOu3h5kTkjXTldw55uHRdwBcAMSvW9NTiZsCGrw4wHzVlO47/taXvBCRcOHvvROU1ICwgxX2R1vJFyFIPYrh9l0vWwJqVlKk8ZVCfAPJlrziAar7WzzpCEPqvJ/IDhnRQoNUloS+T8LpyrNQRz+qHmg2XGQY+OFZmhQbGkIpUWLfyV+Qkui1Uxne6w9frtfnzVBsDdueFRJ8N2fgrlKfvIwfFszl5pv4yky73aNwbPloRMzyNW25pcAGQ3XLS/uIAaYXXdfw7doqiFK9FWo3P7OSX02T2KiHITARdKEYZqcTq9kJ9PRKvjy82l8L8cMsQswG+fuR9ve1VYKQHBsSFbGG0SCTwSqKmCDdOfS4uHDZb8cA6VNBIFFgvOPedrA8rMCcWxmxxy2c7ZpQc0KLg6Oo4YaXTmiiInMAYF0ZY0/v66l79fHwbtJW3bITNrZubI4wEx5HdgPtXQCNXMN5/Iuofo0y7/kg1Tme4kMhiuRtKfZ5xDlV29fvpSELz6NnOAsOvTXtw/0oY5pwkW5fWLLMU34hSW9eK2U9dQgE9VsT2+fO2e4prY4hDmFvpC9l8SPoMyr8/qYwsxknENaqjndN4st81CTz9HkKU+Djh8wJh78clApkOHqpwFXX3vyo5dUAskWDr/4dHIRUFc/DSmqQEfpqfoSU1eqGPBxRnsou75Suc+9E1ZUv9hTKKnILfxBGAY+njjk3+dqJ49hMUlzqtrolMSMhxjmel/fazC1Lqt+EtJIK+rfKinlRUFp6edV8ZfQg3KwBruDGi89/7RjHg7knj/Y+ztAPvNFd1nWx75BdoNtPntvyZSHf0mNhch0fWgjClvQLfL1sMWm5M8tvN/MAWkuGOjmSAc0KmPzPVXqUqKaN5ZtTOb1H5CcWPwQQFeJlvoBbLsKwoplmgNbqAnqtFJdaxoLlC741Z5VjRE3O1TLQ4FmZ82RESi0+t8bU6jAFarbHeDSXyTDXtgGALo5QTgFq+pXuQ1aCc+m7pJqKf8Gd9iZdRkOfYYQdpkFB4zh1ZYNoOzfwxU4tU7nid5S2PsLJUl6kvU6qR4aVCnih1yKn//hGSDDhZNexdPVLRG2/rajmzOLO3ib5FI87IKJ42DBOd1GqciuHz9npOO6GpGCm6iyrMMzQKbXIO0gMg08242EleIUwfmVftyE9oGMH80YHjwbMtDzbm8I+hECVKF465uVJidoC7TywAITLmrcjN6ImmJIGKGxnihURIgBLxXOKxBwrfRScS0HPyriw5kT/h8mO5m/vuKyEnI5Z1Xc+Yb8XLrqpm2FfAwhlDDEmSAA+nkCVIoXHtMy/YPARO0fuLnQ4M6CmgpE53dyKeHvF+/GfQUcxA+3BtwSDJrTeW0HCLSfcSxsN/rnhFWad6YOG/7QiRI+841P8rljSnXGc7ZF4JnWtuSGJqLRDCuBu+Q4a+G8kOE+BhORPOuWSD3CFq61vWnLiRxiS0IFNB1wFPWgITunUE9Jhy4Dkp5vpcjh5tk/+lDCxTFJ45Axozp1QYqBenP44UBPl2NOSa4bK/Tut128U+mcno6GSTpDerxTrl8Yj8sJ1Nhgcgln+2tnBDh196fjZLfv/vT9jo0y8l97eAFlb/EMa4YJZLkkEAFwGuqRYR3JubUplEkpalH2qYkT7Jg5+Zx9T/qKMPR36EnnEt57noWqpr1O5luAtuRsJh+Gfgqr543zsCDUqWDDkD+nG01LR3ufkm77M9verLYT2xvUQ9ERbbBnYmIwcxrH7TnLi0ZHQU0GlgWb0V0wy8wTEjtn/7lFVmZ1Q6PLGZNTvP5LKpDAS8ljOli5Q8PaBBCjx9mD2pZyvq18NgnQby0CHnam9rtgEQDJ6ouubVHKwSl3p99Yf334amrpO/jtFZIBg0awJMLfeezUrRHcUIy+3mU3kHOZs5NAqAiluQRBlR/tIN/pQKZNu/0NX04e4WcBP7RjhXce1+u6MECTxwDUefpS36NejOd8n1V7OPHZbMDzKkk4+Oz+cQs9ks/0pyyjkjs9SaJosG4fYeoz5dDwToqX5I3JKkqbmed4xcX5MfId/9Hp2PC+Et06VxlK2MMQzelBH6B/pICkgrsxpZw91gtXWqFmG/Mu76XSA0MnBhfiaCWuxB3AA7WubOmdE/XFmrow3f+ZOgjzShM8fURrJOmZ5OyanJSNod2ETKtt01z7Kkeqo3A9f3siFrcqla2JuJse9QwP4bjRpZ31Q3NrEIfft7k4m/EOjdpdgfWg0jwegfsCiZ5XbCaHcB0+/EyBTlnwG4md8q4KgtyBCNOMvhkTYn8/drU7MQ1NkthJBZKAGHT4xlPsXkRjUoA9SQ9PXgqbqHJnnUyXerTgHfSXuFsEBY6WSU1tDw+ditCIP/rTn9mjLkghDillenN+Kv18dWHDxuu5Lv7JLNVhJNmYKyXt7Geoq02OT9Ag24uvE1WuY8grpcP/SiADHppMSgrSlfYVbYb4HlASE6LJ88xLr+OzheuqaF2pm5l9A16uqw8dK93cIKiXXwvFXseemzo/p2eQ3Fq4Ico8xEpsYTjaEg2+5m9GfVLgvcpZuGqlObjX9tUT89fI7s3JOdLLIlu65VyjmTkxnh6z97qYN3exyj6rlZaNuCY0tbbO3ObdAtt7R5pfuhkKRkSA3tltISsq6Q19pIU7bJpYgdikHnejwIrZZDwtAVDMTfjZxtY00RuZrf6QeDj1mm0fPUQqG8SMngaI5wmN7pDu6QTjpRUrKcco9PIL59/sXU9yP+ijacjcORAOjnKEhMQjdJc+77fruYwyeyCV0EFcf2zawZ38KC3xOY0VpEce28SjtRi0IXyecVUnpT818skRqih4fkLWwvHgQPfKu6RmWUQ5U/p0IbSMgwDcJl4Nn5MgC8G/doInLkI55RBSNTamOP45VNVEWXSDNPXJgpa2kmcA9+GHiGTCJSUJag2t7Oorhy4SZhmA9LmIO8WZUN1g2+IoG4H71ETX6hTJhqiu6yZAlIDJMLp7t+19BwxSY2/xxTVS2CVGf0tiGJ/JpDRw6nJmMIL4AXivrle6caloW+zGBe6L4AB2/+p0y8LjDz0MvGSqdFHk2cNLKw+ih5bCFUbY3MsTsyShC9LeVdHZLLWYJVWF6ksM4H5PlQKGAjXABgjOeURTPRGfWp6cQDLWa4kFnvYC8ccguTYKXS4WI28JVCT9Lt2Y2jQT4jEA89a9azFmjnxk8nY7DdxP9Esjg/sI9cA6TNGCBoSLxVxudMQwmIUwws6VKJwW0NJCsW3YHsjiefLxtNTRrtj5AWRxfRizB5VhyRz94YU/cw8N5iy4oj8+vVRWj1wASWIzFl3Vr2LlFdt2vNNkQEmG9P98co4y3pXn16c0wndHXOC3G4f9vrd+0I9nx3bwQUuk3VCTB5224GnLNl6/MIPeRW3wdIP/Lu/XSaq72jbrGEpVoruiOtr795QivghuA2DQ+4AKJN0rs1M+j8AtufqQcDrRBcRF0x6YBB+SacxN63hd8wYhZoy1ou5QLZV18aEpSTOOv5vQw/3jmxl//8QoKxqK8nX687D8c77CdYTU+WFOACxXOvn9hugar2+sEoyj20MNBhwUGx6vpbogDMnSjsMD6PiIWKCM0TCRUUf9DtjqavfenuCkMFA6EmHm9F9hq1hODBMy20WW/3e3EgThKLic+yLA/DtGEmlw8iQ1wgMskIPyc+k25wbyEJgfZCMbcSyTBb+ww5lvGVFILgqc62/qYplGUjJcewgtsECQI5B4JaJmaIbg0eUXg7WYIaiAd3xd2DUyeLagBMZjItQQGtSPFU6MpI5P+oDfegcOdohcM1atCbxInP9DN9oLZTzgFD2g1T+KvQRi/jNQvqkBD4OxI19HFWF+HrQdaYlApAV8zWP882y0KhFi4DhAs33SVfbD+iokNMJoqaM5mHFAIXftdFpJK9bjkusz9PVNj4FJNeeQUkAqKlcLB1OaT89tfJLtqhrtTeXR4lZyKgwk5HMOmbtNd+Q/jAkKQE5guYE8pb18THa0xywB+q4v1o36pOv8L0UZohHEGbY0qDpb3mrJdJSwBpRNnkcUvTXgZSEhoj0AVxdZbxcP0onadpKFBy0EzVqh4YV76F3AWhbqbfBj7nyUJc5MXFBr+d+4xBHn5gSNxTD4EvGXI4kJD5q3fpeS1YUf0iBh50aTDad7+YNAdqy5zUZPQ8bsPovqFaAAM3NKEkzBaKTixpBgYw9X0JlpPSb6+mvDFzQ4d2kkx7T5Cn+vTePelkLkOKDTKtD6oP5K0vt/En3QIJ9sr9MMhk+6Jg68YLtsVJBma/Rmu8jUAMHaki33EYJq5mLBje7o7/RH9yGuZQkG/seaSPvMy70BCnASExfKP1Dd60nLzhDAhWp9WypkyVm8RVlssAjyZNCzZnFjehZdh/XuDSCcIqxfVobVSuLN3nsqpgRzDw72Wka1nx08FxpaoBctOCgWpldCbayK626/1mVrnEMdOVp0lohxpQ4eXLxIiVXb1TpCOOdH0Te1x4k1xl/uGmwCq40dlO1ov8XjN7r+Zqtl3lYNrpX/mf1xh6d1SChnf4j2CWxRvLKUZyNU7P8TEj0v8ADdMcQBsaOt8ykCYKpep9nBuo6RtBYRQzrrhB+QmFe8R1GXwJoWPnf7mvbZ79Y+UBLGlEJeYPnevTxs1Q7Z7ECUTdgTovAa4ZVupDy75TAb9mtvKCYYFFsJQbNyyRAp0pr89nQsR0caTQIRAAZeHDmtuMb8vRQBUGUMPFKQJfHiE1TygJAn9zCJ4CRCDavLwYWHkrTOtw7bveA94nyVqpa7rBa3M9CB5Uvfd2ir5AY0v4kBaAyA5RQXs7NvQFrQcI021E0S+PuzBLeqd+U7KPvZBmAU9GBW7allKCNYh1fMt4uYrG4yRKtIp/7UWpZKhv4Hz/A942mjvTiK3WRZHQSs6u7gKVaP71q5fJQ5rQQt6oldYcew6ukgiEe6/eWCCN2l1Cwk9iJM5oaWh7S5VFg2C1JX0CfOb1TZmBXGRjdU1bitiXhk8aWZmkQpiRVeypTvGSdEbZ+xMG2gw+53o6Wqn9b87i8uKqmqL0RJlVrb8Sl8eIlrOn34wgLkM5eVro4LYYTx8hChzm0eTHKKQAmg+T5SfmXzKX3rmjRDs2FA/UXGvfTiOldrHBnEU+d71N4KBIVKbuU+DsZ8O9SnXajllr6teu2c8ImYJaR2cZyOdAoYzrStggHvUusWIxwdlWVRRuQv6G1Co8Fx7E4GKr1yqNZEOHhGDBjUcKCqxHuaC0GkBXNSGYS80qxQ016Y89Wog/8/sCjep3aJOMdAhADeRQ3VX9SQEa2zHd7FO1YBdpkcWdzO8heiiHXZb3UBXJo4GY6WHWYsD96u9Wq1GRT5axJE4zGZYVGe8JTHzsLPBGYBd0c+WyL9URijJQDXZBO3m7HIAk50B3NhY7aF8LhtLB8Y6Chb5/DK5EFNUHm/YOmHuxtIEkqSR0vCtys/lIf207vbtzf0RFlmXEGGnlpBKdGJ+WUNivKkamVNvdJWGs6Q+YW92fI8KmW4tmPMgBtml26nJsjcj1SQ9x0VyC63SUw5Zgxt1wKWa1NpTnKQQDswJHIJrFBF/DD5D7DyCbX5a5FfWayLpSLVnm2CSDk7wSs5We0ET3S2QbPQ/d/KjQe0NXlaP6vZM0A//H1v1dahQ9MDwA1Vl4m8yfaXfmgD7S+DjFKtVHDJDiYCpCfC8AKkCcHr68eB8tpUJ46VRm3UbsKeUgAgbi8vf9YosMzbxKYma8nB05dCdDzQ3vSPP9eQtt4ug/1mdo58lY4c830Tuq+lUn3HEOjSQCvFeRpU+W+DM1T0+hNFyKptijdtKoK4zWJWioqPsnnws/r2GuPNwzfaikngw4opLd0kMEa3osQJLlyJp8ntxZEUkgxMxNp4WqaSLCaTwWfqZh8Qa4p+x2HBy3eUQQTZgBlrXWblQwhjzfQ8Bjh1xr4XUQgClvg+4GKD6PBErmucoIF7nIOR7S3DqQMFucAcEscItLmDRlDmX9M6Kdt8CsV0X6a0j3TG81VBrSG/xihqNfXLCYT9J8rGP8FtyE45cH9EXDZuzjD1lycYd6V7txmXI8/zPoH4xD6KNYMGWmWA55ukY0ct5w1pfaeBbwQECATbXwfO86IGZ4er49oFZBb/ifB9QxkMoif6QNL+ODbITLbiiyZqy2pd0u3TWlRXw7iShp1z+65I92eh9ISKs7j7M0BxHAjvt+95xgsbUOoITe/qOoTGVD2gwQfZ/hCCqzPa5Io2JvZAO0gui2xEN1FRH17kIS4D0kyoJ7GAfxmF2RmZIFf4ocrn3NrE9q69BXQ4Cn2/5mnRW+51gaxLFBrEWRfU04oJ+lEuyF9ACuWlCn+hh+iZc62BHM6exNkOgk2GSjMDki5R8Ud+++tZWB+kLcDD13orM8C7tX+9IYRQpsA7ZBPYZygLQz21hp+cpb8ux3TKn9OVQMH8KygGGo2xch7cJCNwJmBaK4iY6sEn+sx9asBur1ItPkQRTEGWyFH1/K28gWEGr3pGen8W8SWqcRMtxnhj+CRbLmEIPytLu2Uf7itM8xKqQ4eCKq1YKXJ99eQ0UwGONkGFV40vkdHLn0fMdUYEJoH2pm5a5SRdRfX8RHj5byEgjaZxg0Iv2otiKI/joO41NuCI2du+mY+jSUMgUOBVk0V4R4g/xgroyFnioD1Y9odg96x4eucjGvk2CKD04fP6Z5CkqLXFAtPVjBNCmI4cJZEGaASv7eOmnsbqvaXEfQobaVaJ/nyPcySNvWBqCg32Akybdst4Jboc8XdOPao6n9e9F3wsDFqyUpD7EnOjhazaIfZb+A0036Z9FTbulAoECAUKbx7ES7Oigo3QIWo2UyA4fynKJ46wfhWgnrlbEMM/Isv6DNOILNanZzI8Nwdbb6U+SbwQCn/vZfzeekYz4s36AQMnlC1RgzZdTLd3uD6ECBUAMzfOWI3DUN6ba6m4oyp+QqlOirbDWrfwGi3oMgRQaT7hO3Ti9AnvlXxeWO94T+GDLbP74EscWYGwVwdn4rXoZCU2zdHJg/jWf9YOpZ9mPNv5xCfQ6/0B5QxdqhQQVgk3khHlX7pcciAJDnfNikVa6jJVfKGtLtAI4m81lwbo0loulMqs3ohyn4Wkz7fGyYl6GmZHEZv3ZAJ7QiOZgSUmvj+T4yMbA6HYqf1v3BkpqjROooP9n+m7AgZOHfu9ZmMi7PwKi7Z3HwZ1TeP75BCEWnIzOe6wbfJ0lKU3gDXbLCzMp4s8dC7GYWc3/iSdrhviPB6jm5Ewx6Dmo3JoiX7oiQXrYrflj/63o+QI/2L3pN+9kKNtHCq2OSzixgahMaJ72TthUiZNWeeWGVNZvNzyMLNAEYpZ25Yt1RtvR+fItuMv4bUlHfjXnqrhsP/ltV2Ng5PjCkoXaLc6X8RETi8FFcgszVS8YQAmuyEdRYw9y7ucKgAUP5Rfwj2mlLze6ufvhBdpvk/AdXMM8lUk7PVQK1OvkHT98USJnyncFq52zpwaA2JO5szkD9lRkbGS7DpdextnwS3W2jDI3Nk68FgbJ1jaLABnxrSzQHOl63IWeO06SnsoLZs3mygoPSxs4yFNvrzLzLLti06Wrj32QawQU7Aq5u20WWfDVvXTXDY57ASh+4J7Kl9pyhMm61GsOREcpG4GHYXFpib7SGeeKvws42xc00cUi1xYQvBGB4lDb1B7C2B3xtUwpU8BuMiRcUFMwyMBMjEAeaeb89gZJappXU0INzTBq0KJ4ApK4oFqzU9j43sYhFjBk8Lf/dVdjWqh2iK5/dax9wofQgIcoIatxiQPPbkX7qwviamC7Uyz6AqijPnnVIecPND7P2SB3u4wqlhpi4zW1wKEpknIhnqP12KhfmoLcZhqi0akJYIrHluHx5OCgp/toJp0mDNjT3+6w0gKsyht0hEHNZgDIK/vZsgcmvDGsMlxIXnXJCKt9LDlzMvTw2tw9m98we5kDs0eTTqK0Qr2KcEa5sTtjwS9slgrk90cRpHhT5eq/C5TlDGdcdhKlCsewoqtOSg4zscs002G2/x2IVBTFKE/0WEqh5iUeelIgDHyRLgXf4Vo6udZqDkmSp6WY2KoDnPxere9GynRUu+dS8p2tawnalTSG62v/wugO+D8clwC5KNUFEqELlQjVhA+zORrstksZ7dUCetk0R4LqY0/J+gfrz7vl/K26LKBiD02OhDMVKkG8XvVA5V59YHE+chjr2oW3M6uISmOO2chiUJS3wa9YbkwhsarbpITciUjmLOqnjl2Ip/SooISEHKnGgHa+O5JBBadUA/3hdI/tRSjp22BdXdJc1LkBx9d2aPEyvYIWnxebvdFln9WP5qA6FyjVFfZ7w6/lvxcGTCLEJ8rAUTacEKLTRhUlnNmCpCbLq8v0xTmH1OZUErHLk5sdpMeyoTyD4WMEgjPmbK603qbTHrQVQCHvCcnaaeGn8gedY/WEk1/T2pSd5l6Vd4/tws2bKRtXVGSEO514x410+GKRr64CnsCwbnLEOYVDMYzkm5uzuuFDgeD3x4f3bBdJ2JlfnW5hFJL1Q3I7Dw6xM6Sh8NQt7SuQIR2lxAq07ldrZhxJoJOJWPhDd4GtJc/6nhaEWpQKEqSZNvRgd84CZfvOOURNQWst/y6vPMSMJnNrmfAzhv4PuHKWrd4tvnLsfIgPdQqEbq85ARarbIa2LslM02iFjwMS9UH3PAHNB6Dtjaf1k5OaJUi5cWXaueuTBArW0InqYVrXzX5neZ6aIdf2vtj2B61eG45ymzxAcJTSkTOR/DsWPEx/XqUg9vVPv6A+hIciSHjUN4KXE502lVmnDvawoNQO4J0EJSqxQ77KtAoHyz7G8rObtlG696JyRf0MOlkfdWtyTONXmSEQ9IyOi0UH0j/1/S55yeRfE6KDED82IasGjYRc/svUD3dvIMeYAogTyUpfnj/MEw2UDd5TgoqegtkY+dYU0L4oadxMLj8Gh+MgSw+KE9Kt2JAJnO1IzXuXjkY+aciEFavqQLrmZbCyZcwiPuqXP8+QfE6PxbOJN72ruqFuJ42Ga+H1sfG03Hc8BDEnrXPX9aKJb/CTo+1FM/dGqL6TfZzkYKN48B2cd9+RLnKo5dEmdKfX7pjRZvh9oZwlnzA79Yan7mlB+ARhrVe1XMzHRMH/k83+ZG5oAmJ6tX8WVFk5OxeMPWEvUL+G1rKsDmIFscdZpsJuQSxa7rHCgeYgfzddGdX+YFRVgXjyfwbeAuQxPxn93xZKkp3QZ3z8jidk3lxr4slIdZTA9SVGundyBv66fmo6zRlDRg4EwnHvfqOAJ+efWVG5eQwKymZ+RjHz70U2WiYHCQOYKPppCp+rSY6cwFrgrUhvsIo/pEaKLZ56mceMx7ac8XN38xprYFkZtIJSnNiG30LhA+4dFmwRw0w6mt6JFL1R73FeD94kOJodZsa+dyKbJN3fmIDurKSP/FtZdzgJgHB47RWic8V/P7KfJA3eZUaeuIyBgBQbkHJZ84HISrtOcB8yjDQyIbkXOWZ0uhRseoxAaDkmSRZAj2WGjOeRRaZCINf4OSv918jR8A3QtIrmNBfFjJzylxY/gq01va8w2AGBIgHby4x8VgDI4EgBfxSxaw4xxkLB/r3gY7S3GoklDOdReNoET+5MsahvZgPWY2p3mHId3gSo0rnL/MXvLAWB6BiFe6Pkyxt8Zb8klMoiwKP7YNHILbf7WuwaKwiMck8m5vyx2rt9Y6yoggldyqqwckOi5Pr68xgOidCnDN8p92nvevf5uoDlOCeXThHQ/pIx+/yNdk2ksTcl7WDPkgh0GfJeVJPJ+QeFtl2X6MR6LKPrF7CigUedOTPRl06UMTF0aGypb3K8vOFkP9neY/8tsE+t7rG8XIhk/qgyN6vgMqB3ZZ3qyQavelHr0DwM7hQJo8SX+Pz8w8l+OALbQ840N2qmys2/qEIXs7IynRraIkesfOcaGw7s5zYF/PFPiHhZmK0rTpTn0SZw6OWDDspsHtf9DisRcDRPoupiknc+lcK9ow9MQIBLdoQBhlPDXc+AeS63KL3MGgQ2udvcXUJUAjSGRkFqeVy+VRyeFBMoOVpfHhWZ4cweX3APsXHUHyEuZSaI4JSBOUJWmx08y74ajt20K7dLjgvoPilOpipH7ZXOAMVPcuiz6mebIgZAC6AG1o+CyJLUdB67Z8RuU9gkZ8yO8XRB9IWepjgkdplXSXkuOyGIXd13K1i701NZ5FBVYOJpEeQyv/CZ96F244j1NLxRWxmrdQxvLjCam6Xm3UWPEMMEfHP+wInC4F6dC2EHSq11TadrY+6Tbm0WJZQfQV4/B2OHPQWkXODtTtRxFk0Xouu4ilQ6xzDSISCHJGkzWZTf48oON+dBbYCB0Pl4GKliI6P1Fh2Pekl0u4Mf5NiiI3/KRh8I7lSZYWbTNEZqcr8RqhZJ+AmSFcHddxfgB2HwmwxuSHKy+xrRF2MiIfNlaIoUnOnzWUVBjEmM3O6heQqT4rSh51VFcyST6AaZZdvSRzwJA9sTmFT3VwW3tJspu+1XSNGMJvJti/SKFt7b7k+lFr64QHdjVmt6h/nxHSkWpX61nuYJVyAuQYMJ0OsCZaTn6nYFhkNbQzeGMetlNF9DpN+Pi39WifWyKZTn+seEACzIWOdOvhF5pvYQQrIAMY2SDI/7qQOcx4AhUewmuGChAaZ7F9HzljoqNJEVjWMpE9KaROOnuCNWv6yVuq6bAs/DqkiAAy1bUQVurDlxS4SVr1+mwzgFLviJQ6EPCIqC/bKqMOn7Rr/l4+DJGrFn2BXMSgMdfL+7grrge+Vs8HK15mQqd6C7sjmkpruddV+2Z4SRnv1F7czcOhwfLjWh2/U+rb2JMkIsaI96kawNMwqgwhoyvME67sRg4+7NfegTszZWYy3Ur64U9yeNzGq0Fu9u01hJ16HiyyueYLpq+QPuo+6/SQaMojq0y9FJu2xyWINQvbLCh9ACzh8kwT9Fp22kFmzGW7yO6FLPPq28SxKtzSGLy0WfaGpt4Oz0rbMD0rFqrQD1qtLyxbG/PquWXZjOIkGZCaeRxFpMOPbKrOFrF+DlWU36i4STWYWM9jcNnawllhL6yzeA2FQnm3D6pfMoOd3G2vh51gTBPnGLRM4s8xo3gkFaQqSQPrsPXVAHOyyroLSThJZx46xe/6Sfz8vDxMmB3e+OrCGdK/5ELpQMEXTE47Iy4oVF8G1XXnbPGiWdtNxoI8MGbQV6tazef9KmStcTiP7hykw0bgY47qYAz+0F67qqTvcxYR7WK4kp1SwdzTpOVzPp0WjQe9toQEfrglYN8yujUOB1yGhsszACqwrmh+bmwTX6mrdTuYODcyYCRtGMDYEZSoVTV10jSdgFYYQCfbZKZz8WPJXlLlksBenAQwPY63kU812Xov4EwFQG/tX+ubW0ea5HmkLFmbIfdtpyN50HONi7cf1SrqoSzl6AAPf9w/FB5hcXThkSwqTv8corF33TOFjbuQwwvsyJy9RAT7iFVvHI4Ys4N5Roh2FUkzadVlrtVJdyB3gWAT4DHwn8GfwQ7n44qNQ8BhTxtU/LaHYScKmj4EMtHUn2wPGCVSJERlfQGH3V7DCpGVbtgH7ZpB3rMIhdhPC7lMb3z7jD7XPtTTQcreTka6QQTIO2JhmZirR4w4Mf08Vis2v+BJTa+H/g5uIuHTU582IE8aXaPYOVcfKTlkKuYubWKdBZdeSjEbX8BuQWLq5YfELVkDrkED6u/Iph6Kf0JlSHMZCsH7VlS5FZF1MitfTxwdxoh1LEdGXxs1/aihIbxkdqdLnSreWC3oFHfRhsRJFw2Tyzmr8fGt+tEzxlxfrVymF89QssQrs2w8l208CzVcE9k6os53QFCT+7RlEGCHyFgHYRspven+7XpEbahXPKZ48M32+8WG4t20ilxhhQrmh+MDKY1G8Ni4B+dVVyFcAtpxBidr4a7Ot7HvESTImmBltZZTPO9r4w6ymZc3Kg0a9wF3ENpIAGV0EKyKTLfdNCD6q+tNtYHSGOFvzRLAyGkP+2e1C9eQ3adXT7QBWAD28KLQnVVePIKaT9wKnnOHsZS3yaOlVS63yjREAFtjiRXZlPFTLc7owyEw19Y+Uh7lzNHiMubWvsFlBPRmJKXpy7pBh9Hq06lib1yI8SY2CCdj3V80VIt0S6DdzMM6LX0vxFDWu3+e7QOBYDusIONJVPy+JtoI/KsdJGit583DO49mcrVcE4FdfOgCasI7Uj+Kp5hyXgMswng2iMtmf0lAHXb5rif8gF4E79fUQ1n9qTAo6xkFeWXFlRQLNmNXprUwj6ZGU5fLfNM58lelCgfeNmB5ZJV5VeYDYAWDMjIRFkwHzrrIX9DqorfLSsECWNRtRvGyx3yKK9UgqG2ldg0LqdfR8oCu/h5pdlPpDSnkF7rBrgv7DYyPGI6Cnvx9z/WqtTRI8eqLfi1JyFq8cUSLUfEbxdTePqaw+YmadQM0It1QVTVAZGEOyncIsnz0utH2xYJstF3HkRNPa6H/LC37SEpyoKPQpG1O8yb/iU4gnr6SYyReaU5w3orJj/UL8Q5sQarPj2KMVkN+GcLtvx5JZ1pgeaYA2ngrqN9V6TZaugyly1OwH3U4RYDhhx7Rk/0krTAiDDSbFMZc9OQQxbnPVBSbSBHkxFAW589ccl7Hf8ITUB4D8MqeIj1Ek09j+WWD8bdqsz+XyPIOw1bpNb8JJ8h6FjhM7fEHw3fe1523f5LZ6AbILTzfkCwgeY0fVwDXGQNa5uDia3KSIsOLrLUVxmOgfgGQlXKNPK4qiqZm0F3Rxs9h85o0cq2XrwVp9/Rz7PJ0IcPDRytXduuy/q+NnRUCSyizTA9eMIrgUm/wzt+OFTNKJ6PTLHl+cNtJpx5Mj2mPONQWPov2lPcH8Az3f5hfasTC9Ao38w2V97BVjASxUcJRQsU4HaYfpmnPXoklgSq8P1MzLBbr42mOtjAcItMaBxuoiqXerG1P2GQH2IOvkYS2rq9iX6+myC5eBAxwEoH7JqSEYS4l3YIxfFq08LPnd9x7fIuajfx9BoYDJY1fKYZa/dA9zL8ZoFsM/nIDKZvAcCPzjeDKFmqkgD8Az7VJ/J+LrxlyJzHMIGsVhv7/wH7Qvm8UNq8CgPLXYCBmGrjoleME9rWpMMctbvBQX32cLJ6eDe541ZKNvSercKRrzqnQmuAAbQ/7IzPcI5X/0EX0ae/GGrSlBZCEchTrKlnhA8QLI28kKzz29upmN+csTr5hx7i+05egcUUaP8PGfEBFraxpcB/TeRqjxDl1W/V0YhI4Pu1gm7MEuM8ebVO7fjAUXH25cCNGTyWshiMhGkkQ/HZ/TQrZv5wuGVHLMxG+223suD+tRPkOdyoHUxaKCdJjbuhC9/X0UazkJdS8oyOZ230sH3JlUsSydKj/8JLtaJZS8eu6mya4t0Oex3MH4f3vlMQ8oL9gMHxOwCjHigaekj5N5LR9EBh0juRbJfx934OnUyp0cidbT0naIxClpP6yfSvtArXVmWjHUxWwzjZsc1NwRKeXioFmc05zU7pLBgD9JJG7nLtC3YI8TJyNuhTRs+89KPFW7ZtYs9dkVy2XV9i4zBrpW57n6L24Br8ExuEz97F0KuvW0sVFpkB5L8mdg7P8ksB7h9dAsJRQOmMC5QjXaLaOjAObmTWM25kzJVuemtZEUHQu3lDqAgVD4KreASFgv1Ed6ReZg1WQdMAuCIHDrolrKDl0FRxJGepd186o/i/UAremoIyc1bY7JVmETKm3t7CxtB69z/gIjAHvtCHHLlieyxNhP/FWxuWWM6t52LtXugaYn2hhnDvOtGmY/LqZmF81OxilBUH7ph1XPe+5iEdq5+Y7Ria4Y2qOj0xByWZa2GR4wUuS0YZJECGt1Rm7mcfUksIStsAvHoSNBMy7RX2t5eKokCNc4Xi6JB9iVGfTu8d86u2lwValghamTox7nSbsoIJ5/uWZ1SkUCzyTakc9fODBqnPtchfV1H2JmDl69vYGK3mqBSO78gp6jdcXKcIL/6kaMkGlxIrRzGuu2YaopoiHky/S9RMsqWTRqAxfMl+xahNHkH2DUpAz8M0BEALe+lX275QqYVFCLH7WDL/FsW+FhdFzkMt6oUalh1z7iTCL5mU4Zaxjr9SEJSXbt/f5VvDpKkN7w0hwnGDTRxR/Ma89NVXlkTsXZ94lyjSPdUWcgA7g1DwMVXrILNooYSLv/vv4DgrsyL45Cfy0PKjN0/DOZxVlR/n4d+OyJDnPs81BvRvqDxpTpq5iVEnOIS+FLYWgZXcYOgaurOIfha2NhimR+ykdx8TSXcp6pynqLG2pthW9ln4lEQsEYi7RsTg351Xr6fdDV8lavw9JlIfQtsYniYH381XCTvvsTmx4KevzyMfjbV88MVz02LLYTgCRr8xES/6usIYHmRREnDtsL9nc9XKWDOufnoo76M68zoNjgm9BjvUFhD6jgf/x/Mph54kCGt/9zfkdzRDabpG6rNTGljtPBz3MB3kD3MNHf2mhLGBcA0axPI5g19OkVUmg/vc+q1Mn6zxITKY3sbA9T2ymfrSQywLIqTXISwodpZQ1FOp/WF3NVaKJam09T+UBgwXdmzQ0ciXqEPrj/KT8a3k39FNQirf13YstznS6V+X3M1BXln2M5dLgRYH4XLPBL60cJTsi/0/gSwe7lTPhagqE77QnSyTh7QGxpjYp6N951cuS5ZQ55B+uC+SC1MW52svlAi8gs+BXYHYEHptq5gofFt/M4ooHZhCR8aX6AhUiFNmkVDnBqSugqJ2jUCF3zL0Zylp30bkhzaA8qO/QQQ2Uzd+OU/cRe2X/p6RxXXXdNJeiZt+lb78l6bybijYb9LgixPwkdMx0OfxIu0fMR4OrlucVNIQIGflIIN50mdY6/xrFlVMz/vKqdnaOkCyQXLX6LLC10otbJi7/EeSx5Uf2b7gf3x9xkFUKo4lnCeu1gfrHGLyHcVhDWpRSHJqM4+7QEDqbHqcTEym36bzws9R7exgE6SwHlNvFf/GP8orwfhIZoSqeyAac74VHonwYsw80+YyR3L3qpxs3ZEddWQT2C8TG92xYnR6zU0O+wuhGAbC4rdaj9mTxfM0615utRHtkjeEeS1fTDS4OpI+TowGkyZD83uC1KBa1fEkHM3FgV3cvb3ndk7qtoLpPBIooYEZ6Y7YXSTpfP8eWF4fZr1j7J5NrdtIkKHtOsYVj4RvNIH2bxQP1PqSer5wBCsYbXpXF4aXz9lpFfcHtPW1iHqTHFVQgUSvZgKEXsyIpPoWYIgHnWOwkLG2QGhorFQdQlmUXo1Hi9Hr4FxrY9wKfXSRDIu+iRZq0Ke+jBIff+l9y0uLIoZeLSLEsto9Y3Rra+Ag4M8U0j5kM9jTKQu6U0KN1mNabWjHMGbxRHqqy9VPMcgCk644GgbGMSdr+H09GfrmdP+oeHhuU4KIXc87Q9aBEXEV5pg7qthf3MX+5dGOlWNek6ogaHh28fl1DE1s0/J2H9k2cx0a7Xvh9/rIMwDoW47U6WEntNcxcRY0tWORkFPJhxZoxw8MuY/CughUIiqgw0vtQVXB3DhzH6NL9y1iVw/bjke/y+Rf9kra6+T+aAV4QVwrraeBL8APy8RqHb15AePZdT6jMfDrv36EMh/ZUjYGiYKCNq2YKaLOHjyCtVjjQcnA4FigK36QV6uBUSkDOAJNhuMi0rTOkkseymdPKGcF8ueYrbLxEUPmMTKDGhezj/hY371vysKJ7eijT4t0E3olcbNgi/9ku8sWeBNj1Fo6a8tmqJNgX6rwCEMMmVf5wEEZqBoWdaGd0wRATHpMxnQZKyEEo8TrIhobjl/nWM47kRGIqDtzDoMihIg32JgZsi/SKz+URJfeFHtaz1mDmIpSGCD9wPXMPuFrRbPIl7rGJ5E/tmKBRNCAgcKuB7QIojNiQ4P1tsDDUvz928DnJB84vpFemG75FsK1NgBvkxlGIfqLHcr8wUfzhe79EW4yN7fPMyXd/e9lDcodFmXc3popsXJObjrgknopieUol7NwYQv3ri6Yu/re+C/fJtdsaK0AYqvmBfgrfPpzQkSj/f1hqYwZm0y0G9dscI8gsPPCbnw9NhZGhOG+Fav8eb2dAvgjlFx3pDUIYDH95RgJGLGyr7HMUFxxkL/2nnJvFRdpbk/DNcHvhdPPClImXcrp8GYHsOjL9NRsyollyfMwUJiOUnedQPSk9LleZoYZPRdsrGLGq/5T7vcvChOPra5JzXDp7kbKuUHXhz3u1IGb3QXb+3HE++8P8YQ0IAyb9vTpu95Q6cUDBoCJ87o9qQ9OtGgELwhQwW8bXkhv7LiJnMkhuKnolV77I8RtPae0vRM1xZ5Al+jVfmOMEEM26I5PPsklZtytu1TV9YoBzUt17b/nE8hhA2efUd9JFPdUGLGS9TnELNfoEmEkJ7cMh4EMWLkZOJlI4T/1hZ4EW4FvEbyE/K1bad0TG1DD+2asq9PIWV4ib+qFIY42LyDOK5PLB4J4bYlBrXyPCAjDUvD/n54Lhc4apktTFfQD8bahMFJ8XnEsGeb+t7me5pJ3dwqckNhZou0/k+jBBHgHc8NKv+Jw6baE/RKjPEbK8/BUHkFhc+uQJ5n/yur4lVVwb1/A/QkLbi/fGpj0hKOHEXfj+D30JUWPlyvnII3XBigCQJHwlFlHtsTRX5BBVGBokRIXEXBFaHiGdlb4THhulWalgNoKl5qIJUPHerjn/ubISE5MT/aYm5YB3s1Mkit/EtTizFZyv48x2dylewHQHoPMY8I9eL94XflR6RUW9LKn0z3CDR8Uc20/Ro3sqU6yLdqQdUFSdfQ+hUHOsva7u+2NqUbJv8jWj19s5ec/w+XQ+yTgTvz9pc0t14oZpYl6A9M6ekDUGgj4L/GaC81O0zuDurzbejEDY2bMWpoKeQ4ZS6fWB5vmrkRXVXxXxFoddSZmsAOyHyod9SXTQ2pYAC7VBMFHM/k47/6klRnRsNUrSfOc5t1t1YyKyBLH1vqdg7YGBmxwLD2YYzqMVr687xyy/XB874vsGBwoZFwNQE9Z0kAzLp4BU7XUa/tD3mFwZHOjk9ElSQHC1Eux/jsDtkG//9mEVV54Xm2lv76d8aBdOZlrgHK+UEIlKSebkOtaNmcEbYbO+zEx2bmaVnNwz+PjEsMwXzSEaQUfN1y4/jvqRlXfVF+Nj1RQzfg6Yi8s8bK/BFpOCu1ZxgePgwIdmS4Lm7p9vwePBtrzYMK8c5T1vYZePEHBsIolDo0WlN+f29Ul0ga8qGpsKawGd6dQ/7Olli5xxmk9gOOXqK/xMPJbL6HcmjwQ/Oq8BvzDGEk5MoL3kzEpcIVAqj7GUEBlGaNnnnCOMMG+8DisLUnNOu6dTj2upSnMnKCBT8Qx80LofMT29Qg3MpnHe9XraVQSyGfhOqj20NANEe9F+VkEhkaEO2VwVwXAHwJ5j8lv4DjPE/iUqqDk5EyhOVOXyU2BniL56ADb3zEmgd7A98votDaHdeqXpNOPXzWhsS4XUaLKcltwSB3IumcLeX8XD+v0Z9GEcJaXQfe8dZN53cdRwOioab6lfmjqBxieUIRB+Xp3hrwMapwNulRpkGHHpGoXi1D/UmUb0BJtLSnFtEa8n/0uPfZ5BsEWS7iVzPs4+i9FxUrKXadVeYitflUYP/Furrh3CSfzUD0KJAublS/otkwXzwFVgZuzLRwbwJmAQZfpIBI5xnkL5l7osHWWBd2SbMe6zalNrSYlwOI7S6TNEuVWFxBtyf34qY79RrcukgP0o3rqsgVcCiRNdD+prgJgUwbddB+YwnqpmbZgyFxIRX9n0k+1HhlriI7UDanjB4Fk0qC0em8eMQrPGPO7P3gI4o8x1zJWfrJDDPhpKfbtAXAWendCJD6n1U5fCP5kyJyYVxNve9lYago6fiKL1r1YGFVYFwGtjDTblBI+3t0OvLy5UFliepNr+MAydNnPUozGIld+G5eCYg9hyk27chbckxn9CyM+pvg7VtrnlPIlU1Pi4KyShuNwV4e8fJbMolRdB6a7jQY9kZ/e56dRiQMyU+y0oihftnDiHWAWYY2Y9rWAofjFrVIOa2D0Kdi1S4W/tj2yfLqTtadmnPECu8XEYVrHjg3COWN5ZubL8Upc3x5F490l8bt4dMpWX+6/cYoQZaPREVUZ32XqdLEnxXQwlkWN/vGO07yn5rqFs8kAooIWqGFRFDblUDvGPaJ9RfcdsvqnJKpIKW3StSfdWvmw851TARAb5pcuwm+gpld40MhCxT4B++s+dM0wg5SQEZdttUIxm42AC8RRtZF4ZPw3eTQuICWrU1zGVUOJ3PEp8FaWPicNBA73mlQCySslNQHnXpEyY8OY2WJRdJtzTDLBwiViMZ8ma8tLpsMXC/aLU3SX+iXew1v+kSeNZrs8FnjSOfG8SzCEVhRGWDzthJ93654kI8QnSbTpxdQIHD2br5XKoUtS7AgM8Xnx4Z5TOENblOfj+tU5ETxijpL10JW9nYb2vMRiEIxMJ0rvcYU0/BcWKPcOFtkjSdG5/BX8Sn7iu4Xsfg0vWg3YPKEpNfI6aKcktYZLyrxffOJoomm3BNU8W8qPzUp6hGF74ZUOX8l0TC2UvhmOQZy5+rKxYD4BqtQC2M7OgXE3KZFiugb+8lfcwo9NhMaUPEEiakuQntnwgm34+o0oEFCUUdbO4Q13iNmGSNxx1MujVJ8TeQrDcwi3K0T+QUaxpUjMAlZ7W7p/DwbzKPvmNBLZRRBN7+sSQznY2KW0ZtAbwtRAY7XjuX8LMt+2TaoG/iQ+xqTJzQefM4/JJ4Qvj1nOtN3TakuNQO2wGn+UIhTNbZ3CLihUNEdW2DpVOPBPRjioSefnpUF7eIlFutZAdWZpg1cGg5+G2TbjfhqThnm/0Uz/g34S6YbP95L4QzwI6B4GOUVt6b6r8j1XEpZeJQAwwbqtMeAX7MkJeev5udUdMrVmRupFAGBNkjtRupDXgO2ITg+ceTT2yHoGvu2vzTXi5vSxC1+fSiRswjFQVKNi8CkpIcBLrkTfVE6ZNcxO9HY2wSdez6z1ohf6rxpHSoipvNP9Wt+n41dednKHdatJsTvv+rfU93Qe7r9C+uencR6f0BEVz/KuPTfJ+RLpIyXmZeiGinOutnJAxNDLSdj515/8wrMwiUcFc/cJeYwuyQ4H39REfhZOa0pih1XATc9yHYVGmafTP0pYsZVej4RevhcTi9nVTx+GJctfblits6z1OKpOiL4oBcAX4ywfJH+ervteOXvOVO8gO1xguaSTqA+BXny0a8uR/hXK2EHOZ2Ny60mlhruB/gsoJkraTGuXbsVQQYxKoNo8MJ7FGnhyLGovUvVSoCXbOv50rE45cbW7wVEocwcgx2ABy9IHDeiAHyOL5S5IhPf+RSufo7Sl+nIzzL7qQPvhejmguiWthubXuwtD8/mPTE3ODhtAUv0TxptfHokYNy8OJ4kVbcoV9Qcv+/ZAWdyTAhaciY6AIOVr/fp6ednWjS9Fd9i9IUVsZpPQv+dN4m/kxclLVXd5hOVS0xikvl1K42PsTXkRggLgF6Ui7zkO2QDhT3XjTl7JO1nMcMX+gEu7i3jhLSD63zAJJfdaxoR+UVK1ckjnQ070VNHYyCitJVn50TdOYhhd+ufmXoeUnZJjJVW1SKi8eBypiwEwiKw1uqEqYtP59vTBQnl4fVkqxIoE6dqzC2rw8VGvyCbMure5t/9v2Ob9MlpH9kgOx71PgbXKMlhx/0YDcN4lb8uHaV8MGE/oCtHLiVlQk0hx0FYYtH6EK5n8Wn1UNc5lpyLtpz8DShFbmrlGUO2R8yIlVuhsDul7P4+93Fd1sqswBcy+lWBmJ5DHn2Hq93/4isBtURdJoB587x748mTzmekXAclY9l6IdXRaacevytn1Jz1PqLYNEwEENhX8ufD7kjgV4heXCStICfUzFPz/ipRD2bOtvy5YSEJcPP2PwvcGk2BVqjnJIK3MP1j/adgClNutaupv/4zoVGDwNbK8dMq/KQ8NEtVs7GR8p0Yrv1eadJ46hSJmOD4AKSwgTkIxDlMk3xAXeg95fz2HxspKuAvzaTBPh6Uq0AMy6gJdI42JQfvNNd+cmzCnCcRemcrGrTwLTBax1M48D7/l2Cn1+/9OZXyTMBRIDlFMEa0osjejmZYNTY2AlZapgQ10BL0yBCBBl0fhu5N6spwVuT+nDQYShxAG+p926tv/Mf64yzryi+57bgyjVPNLSMDpStAVYJmQ8lav0S+/QEPcrKSXEUNvXyH+wQhp4O7iBdHP4Hsj74C5LuEzL9hIC4n/9Hvhh6s1CKTAkULKGdlQiIc3HosfEh9mvIRWEP12gIzV7nTV5L0bn1eqcbFc2Q7+qEE+OEeIuwfC3kal3IMxAb5MQpc7XMvmLEj7C9745FVAeXB56yNNhzUE/xuy7iBLFJenrpV/4IiobEZve4khkgJ8rFq2583Vq++BlWbf1PxE0AmD/im3kGalFDE11oIQSLhaEnLUGKsSCxoC/4qtFq/YgkMSFC8N+Q9vtdt4YCssxJR+z5eaDdR3fe0B3+/MkEnYCghSvjCtl4nw6VZl3L64Q/3wW07G60qnoKKswzAyMjEtGY/zltHQBRBlJaHmG94ZOLLCzsWKoseCxcTqkpFDkW6F2PB2GEHEfr4EmKTi6ZbOVkZWxaCI4igkP0q3z2tZU47ojvGyJAMxyweK0fucjgdwYddrulRFPB5E+Dgp04YQ9fDaqrGiyARuh+UcNAC/arClcq7d7zCSuIxSE9G0CC3KrGjzXTPMGBfOruuiI9GNyuUUA1NM3hZEXvvapp8CgVSLBNDEQVTCFq34IxcwKI0FDoI+66CEDe37r2u0oAcwieNIm83lmmAIFfc6xI0ihxKBP4on3qoOXWdMxp7jIFKPZqs3gxLqkEBGMH+lE6lxVdu2tjK63jgmLdUD6ylOTRm5+vSFCUBZ17YsNIWugY6l0atgESUbyQl7FyTYrzU4CKZr6XRYOcKY1uqeyJsUreYENjiMXX+CXkrr075aM3MAbugzzzyR2sUwD6819esubnveKBIUqaVEBIVj70fyQeIKGaNCovtIcQz4ZQQXxofOQBvHFANFKrxyxeJM9w3B/OK98IMfFxgLdHy48ywrpdGjibTGOuVFZERmfwvy1Rk01Ca1r1SGrzv8DVgmLKELgjmJNlhUCL9JdGwb3tjZN/fR9Z0pQUue7GK7+oEbz5Kxu2C+2DfAjfvL8Z0EQG3ZvZe44/K4bY0uLoX3gOVQxuRRCRjxIRsAto9qKmxFFSGPIJNhPlcuIhPEgEABBj+xMckhNMNIDKmDtUzMmSbsLhrXXbkzazU5dbgPm3OQ8YHaFG4B/lwLNFyTF62iJy2X1LaAbW6W5jthCJ/alu836Sfd1gw5zKzpOcQ1/rMnjEBXkB2r9prHxLi27Xqu+m4u3Rr+p8lxojMOPcFnI0bjRs6ZooZRYzvDuY3u2iIEznOAbgiHO1rhAunBZbIThvhQFM4tuVNzx+h+5lOGRaS5DXSpQe9dxNgs+w7YULLGS6LrmrfrTrH89o9byZ59Iv6mAFAVqpu4eu+KojW1QbMvwVeBaY9HPWAfA+wYB/xaoTUxQa6HbgrL/mK4XWD1D5J+7rHA4ss/Yv6YqZ4snAz/1h0p8TohIAmM681OnySD3P/KtxBWjhSWF5+xJ4B7LnPRRCRIwzXuAyaLld4SfuIKa6fcJfQXD5GhVqDOuxPUMahklEZS0YPcB3ExRfI9jBxKqT83DzipLh3Qk08SqPY6MZe1Y0NXDtrrKa99q4KZgnZNtmLa8XgDFORysl5ATHMb0JpC4cMVAKoqndQjQFCG7bSow2hdFa/5u3Ev2T3lYHmDnQM1E+JXn4TAxVDb5wf80pF4/OuQmAwkZd7Bv1iFcGbAlW9bUazv5gPOJptRVYwW4zd/3q0Ig2Ynuhimtk0+BYkcQvTObGvqGWC1dBYjccSMqgNmKOGU+ocjhl/BzBrmUUkBwxJ+H/AgXiyZPSbPzvNE7JuOmlzawq1Xox2ROoEw4Isp35OyXEf7WqT0f+IUW7jZfFyyv8HrwDdXxupoqbKKhqHmDRoPyLH81RVy2i5u9rx9VJPzZEO/kRrQZGu8JMQBys0xz7P5H+cOMQAfDL1JdntRmHfwM9DlpVy5PR5ansu5qBoJ85PzU6fjtjB7ItrZJ4bdRp09SyvkEwdPuyoss6bStTY5//XlgTycNsR3i+ggt+6FouuFXusByilzcGfJHJvlbq2RSI5o/Dx+gH9LMq2M/q/ONRt6IzqRRvFlg3Q2QsUv+WuPRGJl4FrHOS4xxNfu6948eO7XjszW0REdhA7V/JVDNBlS2UNdwqAC6mDcqqqblfT9bAKxDCAKg8/sE3U+nJyUnI4DFHCKOJKyyg49tenuy7FRvVubftHsiFlT2KYZPTlKPvEjHPu+o6Z+hbQhY2NbOfsBwGtV3WJQPpyy6fQMSL/scuMKp4bqEhCQgUy/RBeUtfGXfwBT+vG4P4DF8pSKM7lO9b0uEB1+5dPzRze5bZeR9qrW1xc4SpSBrnDhJCrUfU4lGq/JVYOMWDKZuae7LQPrIqHZEAUBBA/6ubDdHRZtUgh03BwC/hf6u8yXqYGRRLnpRu347pyEFLl3CkEE2ym9mZdjqcq8zor2/9cvbwxtscfBCgekR8hFPr4n9Hv5AOIk5JbLRUvDyuQMawqiSVtAW5yyXC4DA6V5IW/AkPk0Ya1u50IXmXA7BSn6mWZyX6JkHYflU4cbh74VrTAOiwbW7/bP2V+zEhiB2WJqYAJIceIv3Q0SXoFaB+fluTbn8dH/1XhGRYRUBoNOUFw0U6ejQivDUdOr3Gc6LKaQaaagmKi0g86wMTA4uwQSfFj+EaoElsyy89Vq+cQqAmRMJpDAI6NQnOfR4Zz7SWB6XeeeDiOjja4dmiOVV4yeoTLmkANQU0DhgN1j80bJ0oAIcKoVaE9MQ0lrt3MCrK0c8UABLMXVx915DJ4Nknn08uoHkk7NDZNUZRD7PJGb5kbQEsmcTFTzTqWrWE+pyTdrqPGaJaskyZHIR8btwsKTspvGlpFlwdUiCja/idDp7fwUdaschgV1z/3RhVGysc6ffu/Moe7z1KHiMf7l8wu2idx2feZD4jGyvBqaeyM9ePtOwVGo+qm3FwsA247DPv5ir9t+zv5/Yyxv1u/PTNqthWlLVugMq6AiRJ0ABSZtwoY9UV1P6fSX4/dSxRnMwEJKHKoaSdoyCkG6P4NDjWi5Qy4o9ZWCDbibvP+O8Ve8F/ciMnL8s9jqutflv+HYncE+dOuAonOi6ee7fulFhWlqBG5Ujjfe1hueSIX7VsuhzC6/JpxQdN0drebStfgaXCcrwI6FjZ6KHCOH8US57F6AQPWaZ+w8aLeuI7IJDjHUI1IKZZRvT7o0TwLiYVrk8NnkFluySVovH7oYow0aCHiWZAl5eKj1ichvaR1qNNYZvUkxMTRpHxBlieEXcO1NIAL75SlcflEE9KDu5CN8F2UTV/tpIJExhKzxA7w2WMF7TzKQ7Be4nIqW287aESOGitscl9LnEZX3TvGKW9RIVVQELvyoFUrHCbGB7Woq5O/5/x5twMwhOC77/vZgg7D+fRHAoN4HprU8WBx2ndJmRVXWelNlS3WCCkgVXQolyRxNqi71mXmehlJfMN+vzrCvwLfHOYeR0KBgdoEX54RiRuojSJrL3kECf9od3SuSmHFmzpPTmHxPo38hXjei1xZcDUxeY/Kg2pU9suOHnFTY/BpifxCNWPsl3QSeM7EVQiioOeD22amOYlELhoVosLkiRWybOxbc7yzlIfUXuN35M2/OqOjTn5NnzqLk4GFRsja/IpWH7Q7CSDmERxR9nOyCZV1WhP87MeNXX3gyaRLxTvxAoUGUSzzsb0f97YZRKq9V4eOi8kXuiSvEn1NbV+u+eIuHxTcXj7euaZSGOd1kFu4f4OcH0v6nKg/pmoTlyUkNBbL9SfqCR0G3hjGVp5JYlhuWoEcxhc5+jjDjp/7qWObkdyLZytEpV8GzUTX0zTJHOWvTS5+9TMz+mXgP2PH1msWoxrGaPacpet/a0nOHZAB9csET+9uw1ouIxwmfDEoxDCxV0Omq99jQC9gvbv01EtEcfkhwzuUEdi+mF11t7BikeyZCF784L/VdtY0NqR++ksfsUhevrse6I1prDvJ+nCSLgaoFpms84FoqnJlFCvQ1wXsqimGvTAwHMGUSPGpth6VChc7p8S6TEDCxAdeUQ1/MqmlTjwETOR64JJ1i/U6vl5SWDkEW9SpaXdKEqSOMvo8C0vQzOyXO+rk+aDXWEQhwDG5YKdcIOcamOg4ejeKDEo2ZaUKOsi0SPV2Z5BRmazKb2JA3MfHJIYEKbd6Z82KBxZtwe3t13cBi47kdK/qbk8KxSbs3eNWg1NLjf+2HysSFs8QPsXwciIy90hzMj2K8LuM6TOX+7oJq1l6f44hHQ66cuLKDKuNcecvkBB0A8mb91HKiE1H6yXki56aGNYpYjMgOEEnajZil0kS0VAd4VtGM7YT8JYYWp2xP4YCHLkYx09L4jH7yOuZTIirlW+EfjI0EmYRfndXhhCUxVeS9WR0wijOHxcgJmp21eGztrC8cLtOLX9CcVoWFXPsKqOHycpeydMYWTGCkZeDKaBAZmv5puLElzU1lVFUgefI+dLt3o7SwwgfsyiGEAjiP+N00/UMwhC38gvQkyOeg3uZOaQWxHnUEbKTcl2TwY5A9tkfv/zVypTvhXoAvBqOH7f5xISGOqNKO/YF3dyi/851jYTiaOWfj59geeJx9OlLvd852rBp0mI9ooOu3RPFgGVU4CgmvTlFe/o6poNJvvTTiX3cVx+uMDFDYgv+FmKfGPnmFoO7F3rYWXKN/ZmsCRdQp8bKsDocJ8U5ebI+8O9g8eYLwOg+YeQcw/dIFWx+jptcwUSskyHSFkm+Sk9sewLYjIl+6rSEJ8MecPA5fu+QFyXG2QH18b/NxzToQzsj5/vqb1flY/KfaawyIjUdvEfWkfwO5Tc1C90Qaa5eCloyf1cHGCpcMMhuLF7c+k0vvxvzgK1PJgcZ7AxSJMeO/q1Gh031Su+OFePtuK1FYM5sj8NxSclTYycamXJNkm7ceBHnIZggmfJuQDtJeHensFcMfbVZ8HXPWnfNHACwZltPJQz2juFZaeyDtEv+y90oXuMn59uCTGcOpnqGG+4tKNXoOwqstrWORsKU+eHYdRSqXh4FGQX1BuAXuhaY6rzFWHTMu5xVicS+uNg/jJloAMIEEohN2EnAlHlro/NTU2mZwwrIExvEWu05SunkygKReGEOziyO79YcIa7kI285ZjcHvK5nPXW8YAOYYNyUuASOxvqJ82EkltZeuWiBET3v5FZdPgV1mfY0l7QzsNp/uxdzzp9l4c1mrrJumCIC6HkmhkMJXRsBT0pAxmPhZEYdPaC3zAxpQ9OF7mJ/mqe1+IL0wOFMUfZitqEXDeVXETPUBboMbU5jSX7lgVVYgF/Z1JmV5OkSx12Wa6BKUnUy4mTBKCfHfjVgiylMZLbB5NtLZVIw04aZynaiCr5hR6jO5aa3K+ivDrbVh+pHKB1ObVfBNXcZMqkeEmThIJZsWR2eNSyhhiVSgDc7w19YhW0YdMWyXJeZIMWb/37OsusFGtKbEZ21D0oCRwQpZW4BHp2Ewvfj1rnzimRpAs63UI5E4kjq3eAKl772R/h2lyFV/iEx7zrz3dTjEq9ltTaPf0CvjymxtyYjIteQilrgy+Owlec+bxIoruHh9n85T3d7qMyj7ZICu9bYG6IwOhxdO5msBnUaWSjfQ9FiDXEiwV4WlnkEX6hDOVMd33kZouaC9KHTCbO8iutzy6pZVRM+ydL8UpPXu7rYiamtqA75G4wtXVcJD47dOS+qemOUHQpSzrC3gO1/hc+6L0gZRwvBD7ZQOTtH4JF6k0rS7t8Jhf6SH65KuEsJrDi2SUQsXJ83wIXUAR54fMvKvZuEIGr5E2fUvuVZ1EiUg4rMmAQZuOi4xBh5LnVFOBeElhpeHzuKtW4tPppuigAsQvogiErUFwEGi7hxpLdVelbHlUtBpDQOvo4PPmqPkupFTrhy/V3X8TXfYPItcmlzvwxDZlf6hZlYQf7bL7Sfq/r/Af8+ZFsHak7BwpjdeByMfOpPgy8OHSAAEBW2d2w6n+UWBA8Y1orTIaPHVe1UGTh71nI/1jyMlww7Bw7uRcVyKM9sZrmaXNOyJePLd52Dr95XFiFIEmgIZBlODiibqCV3/uBPTJIXcSqeDVxGYrH5kusJdaZzc1WLTHNnKL+etYjtz/5ep/TvELjWY5oxEyXRv4XpLCtpbVh6Cnh4RsjHt6q4Xlyv7UBuJalvykcjB6h71DJvC9lypn46bJxKTnUDoJzVNY4YwvxUDuTc9S8S/iaMua35Wktlnfrwplp8Gu3oEGmLpaGlYFb2Hhg/mJLWNrm8TWa3F49mi+JeJ7wm/arGrn1zzdoWzVWVstQN5raBciS7XhsPTNWBYUW6i4gTEv0QsblWAgCDBLWFkpMScr/0tLtAcpv2RB2JjBxIV8a6OePGZiZXTR8n0qLDpbH94LAMcWzpU8w6e5VvqwbD3SS0RXLKJaAkQevzNqcz6QQvhsqfySs9/vw5jjxkZSU4kevmRKSMOBBGRo7NcEC4ME/gjG8ux6B7WMl8y10vbfgN9SJoavu7EjnyFxQ0nh2fJBqy/WC4IgIZxVInZTZKbC+t9R5TuUH+xr7UZbcSSiikkSfbWk0mbho4HSteAz28/qR9Ir85XlHP8LC6TtYKlW0hpnBcYkoJTrVC0oh5v6ZPd/GtUsprwgJs465Xa6bFsYC/ggOXXhb1jt4b0EniOehTxGc4XDeIKBcdjSkTNSiNrr+NowawOtj8BUWjyzCGsvrTimjs/EP0wvBYq6Ue69Tvk444jqB/OXWe9AwU8vfQmRGUNpwLgyCOJ4Ayex0Bc4Nm7qUpTaGhguui2QqdrFbTRXzNc7g+vW+lOWGToN3x7fMfbcldyQPMTFDR0NKSkjxGs9Utdsldc5zE4PNjyOA9RmAN/XLV1YwHjXIK2eY31MAB9jHSCnBhfVbZw7JlyZO8IWWyWwdUSlPFVQvT9AP3ZlKxvQmnp3RG4dfVn9GFmWKD5cRJ8o/UeWZNtLqWkysQqm68IFFVNCAh+AwAeHdmnfvLsja1vuc0fbu8KXoIUSv4dvBM1lmkmFaI2qDKLWamE3nkI4EePeKqD2L5Ewv7VVfubIf3jcsHULsQtq8meK+2RE4LCukTbo41ED6rYSzOV8TF4ypUpHO07kKZEKW73sR/X6Lm2YPVGt9Pgi66YJKMAEFnVCxVT97/V9Ex29Gc4qcbEK8JejCjKiHnjKBrCr5S3mZ3SEGIS+qoIqxeC1ETOmR6eBmGcbI28oGU+0WYHWgYJ8eGgmK7EkZIutd9T3BWh8JOiDZfm081butO4+WomDOyWVyIGAs+i/76nU2C5Hg3gR4eNxb/nY9K3s5T3hwisJ139bnDJDar22xlBO5VFMXS5JGg4nCnRwg309VtUtGNAO04Prhy2aVpSBjoCG0s4KDg9094xhMpcZfakYKWS4IwZSuIgQr7OgdjHZ47jrz6S8ZLnk0X78L3wTMIGCicE5NU+J9Wuh7BEc27Qv8z09UO2L1DhWQhBwHFR7/QIPmmxmKcqkTmSEFQ8z9H/vyksTJQq2t6tPb8fN6XBxqsBZQ+i7R4ts/xs0THf4rTkLHXJ5ghnxKrwiTxwtK1wKy8dl3wr5ImRhHnrhUEbynh4vtF+P0lB3zeK/WL07uNeYkUFY7FXpIzHo8MCFodfvYd1QIF2ILlhmWRAq/OmGUxcNeCHuPHhPKE9+ctvxoX9w8gZ3rD6JfUOPWq+uH5xZEID9kgcKlQn+qy1YaBVH6KYNb1Va3AQ3INQwPTdc6t7x9J9aR2CRH8ptZ0xHu91x32tepcGAVZHecfxMiod4Kv7dOc2KBhVF4L4yHtfVBeW89I3kMIyVuhnlqIChMXrZv8dHcM65RyIdmUwKnYsPxzdY/bxq2KsW7Zp4Y8TDcEx9EelH7288rgud/PcSqC3Kgu/gLnkFNKFiliB2IriqoUhieiHVuK29X79/qeO7WDkrv3FH0iWEmqIR/6oDEflR+/sDuKC4UkoYGvQ5XfEGecgksiuakTONDSl2npLsAwZSASe0F8cz7nmqTftgyvJq6DhUcNqVVZjzrvKy1liDaFopS5ZS6A6hvGN2pqcTF4Za3bHsK2KkFOPeW6U0iqZNswj/EuWuoWO5r1IUHO73JIgV45OkI4oUZkatp9KdcAHDoza3SoJgevBmiN/nVWzGe/cX20dV0GtUNq9lmTPVkMyL2SXZlH9dCakeE5KaIwcFr9xUrKNUA4pq5vcmbs3q6qxqFZmeNDjDYtmAWJ1+PwoeL4kpgkPXGQaTM3osuv++asnMhggRsbvA1WsVEENf0eZqb9pL7ZwRWt4eax8TFiX/5EvcmGoIomfWCN1q9UbaVWHIoGOtmy3845TODDtuNDnncw85qnmGfOJUts/adb3KC9kNOetJx0YL0RsoOzBGQSCemplEhS3v1CBt/sLVe7R/V1waBfy6g420wUOpS1m/cX47ndYPI0PFgnAt61VQs9rDx0KpEwpWrzc4HSOhDr6NNjukHtco+nmb0WTOTEll8YXKZaIngSmuJw3jWwD4e1Y39umNR/DpMjWbTtzBFUqWK0CXaSZsXenMcnQuznZ/6aGJzJLVQOT6x//7eYvM7PzJfOT1eIBzksGKP8Pza0nC4qC/PbxN8FwwHjbe2vMzWBdctBVz0HSXfLVfxnRq304DusFe0OldE0oaelqT6rQilpxKPK8S9DlXk2qGNj2hPYWtrT05eYE9mUi8FV0MTqZD1VpXRPr2JvCvWRJCx1Ls+1Qk1fhqAGOUzf2RVAkIiXE+ms7AcU0xXzevdM4xryrufO9O0Bvxv4O2VyRgECiGGj45IJCKN7rdzZZ2KpjTYDEm584PfTdGaRy4tvCPgQYu2hC58h76lymjFXWzQzGg01RZzdkyhpY5zKRbeV7Gc/ZhN/dS6rTjgThzxXeR0AblihqY+AAXPj0Q4lJxO06TDgcpSVzmAl6kpVNudYJY0jZE/VORtFtdqsH1E0i0yfe6JdJg9ghpCuaLnlcvNq43ZU326eMDdVLAO5jcIRWqY7fuberzVqzSp5zkCS68mtnkh6GAe/d77h2V4xl/3aK/FXSaChsryW1c+S2/NC3mOkGCrgi5KknA+Ys0xrnRgctSAkyG+xs2CdUA1rih4rxkOX2g4FGWwvpKES/EVyHWtAhnmhvdpLb0jPs1ZyRbr4yldOy0aRDjp9Hq9mxBYsVTI5zEweSuSiGasvz/50Tgla8+UNeNlSsmMQWp8r+BjYAm5IKjT+sEfGUG56nleW3Kwni9Dr1UUIHwjKjijP8c+SLdJKSRosUAAwRMsFSB4tniZJZQYyHyLbg5+D90PDSka+X5bCTiVEbV0+ES+AK2FKrq7tpg0r71myD0SMFsQqD8VZos9eD5vLM533MBhl5dO+xyo8cV1a6SQm1V1l/9TAa5FSA1tqKTehxgZ50Lz+BvSxciwoxJo26VxLpKvohaIK2aYZDcYlQoV+ZtLVNSvOwHCTzqG4WxlQ2gRu1P3uZTERDVznGjai4/TYOU0mSzQL3dKLYe0XUTVVWD17PAK9B8yt3XpQDtU0j/2U5H9hf45XrhH3Bnb6UaXLFhQnnjCwHCBCoXmZRrwQM4E5S7msvVM2OcEvKBNtWy4+JKiFTlLFzn1AWgIufFdQTzYosxyXUF9Bov6OsAhW5HcFsR4PNWzQ6PbNieZqLgCkqOTVMSOBBOHYTPGH3qxa1irm9fhZnav2tWVy9bJYtBBfYUKPqA8Dhb53QUhMTDJ0i1X4fmdvTVyZ6oZ3oA6aeQAXaZEmkc/IBY7MOGcZ1poZoK8Q+A8k0upOcnRW6HF1CBPmF5Vq0Kw88PZSceddTJIJEQjzsF1fqIt7iVL8dcPTbTrOyUoUKoWP1C3slodHJmyZ5jXq0TG3qIoeOaS+hx2Tue5knPF6O0UfnCkojc7Pdjhac0zbB7YXP2E2S5py5oD33IWoh22kiqZiUIdZ5dTSWYCYaA/SUqbc8Eq9r434oLPNxZ2QrjY8Q3FepB4uof/F3NyRfm8rWPTHGzPx7hghn+Tr7Z0zGoZKWJT5X1DHLyT5iqXgzluEFQRsonjOT/yzB7JYbqJeL+1R9CSINoV1SsOdfXPW/3EjMknx5ORzwvOheMuukfkx/AM3xb3kkg7bcx1Ct+00VZjCZTM0nAuX1ZlJtalbNG8boFdnwSUovsbm1Ha1TaievAn82zVyotCR4OYcwrzmYFNfYwxttgz4tERw7SuFQDLIc0HwEQCLH7+rLB0IpBH1dGxqE8TyrsQZRj3ZF0rjXuZl9I9WaaN+63sO3YrM/iNAMMpZr+7Mqk0oFwhhCKRa3ZvAdsHh9ZHUMOhhWKjgO5x5MiqkD3o9R6vbKw3Tt3sbMfegEdqQjCHIBLRfiOe3siEo1gUqQ8RmJOB0In+JNeiWrYiBfqACKCMhkStQdmrFFCnMlHV04q3PABKsigtYO4HyyOAROe4YParJ2nXGF0yxPIIcpdJHKlidGw/zsao4ql2bQYr3rYYvk3nZ/c4HJaR6ys528Qk6tRPOgPWnFY32XPAalAwWKjDkSyFOxaSW/KZz380HyxLva8L6KnijTP9fbgBPgkxRixaiM3LaNVO0kbSuZYJuc+yBYdtvd7MIL7fR5Tg5gbNSuQRnf2bgBrpkYDT+uMXaMmXucvylKyEv0Vr/8+56urFxS4Pr1OxvPfaUtJRB7i1O9suPIOTI3xNsT6ds8rOLgn11LdYhCnHKxp4mMs5XV3F71rMYgLOE5wDe4knV59/xBhLUM5q79Zn8rVnQ5Uz04VRtd93Z3sYJho6zXJ4j1zOpm7ZiSMGMJC1zNe3iseUEap8eQGaZsMorfJrE/TxdbRObYWF+6pKtMWdGJkNGL4lEI0fJHES+me6mOX0AplT1TRwYkDtJiO/RliFOsfvVriCpTWe54zNCO1C6hK+gKOyPQSrJzJQmwSWv3MTX9JkiUdxKNI18HIME05ttBBqNRvMbuv6bB6+jo9PSw2Yepir4P3B2K7V+3T8sJidMTyYm6QMCwB5SI1ZLUGAKJMHTrk3SRl1xMcGYONoIde2CFetA0zDtnZbK7ZWZUX9ppxehZG9aF58/fgBi3NNkMF7Z8VpGdMn2Kg0FwtJX7bvSUYAheo0mUoBom3b9StBpIY5ZDR0/9FLMcNFAsfjIaokhPUvN0F1/irdBVbTP5VrnBv9x2whUT3qVCwEGoMPBeh1DXpnSK9lJ2xE/zcz44hTiRW33kC9CFihfc5tnBMGRxyp+OYRqo0adAt6+Z5SzV9gO0LbRp2kqwjAym+4Hou/50qAHy1lNG/Fotln5pvaYd1dyGh6HGVldu0VJD++OkMZzOMo7fZuxCQVLs6TFTKcvyysgmc+qT4uS3+5xhs82pIYSurM4Yz7ox8sDzalYyBT/kwHi39JS0StFG+tdmff/BGu+WhKuycGbuhUYWclzSOaDiYpwwgq5D4tUE+DZRVSiD1M9R11ajT1g71OFv8cGPyelAH+9O8SBPEUudTHGQKyPo45mtRMiSEIVrRpMBbaynWFLKPcasgS9UgVPs0WnXstFi8RFqDyESi6RQxj2Anu/zz/VWtzJj4Ok7V2ES5gKs/KrnSsNPVzgtI285tfGTUKNOTHkAmaBkUjoh9JCFxGXHiUqbNKucGokDTqpB4H2H/DMYqSR3LJHdB0lk8HVVAW8AokFhMpaYxd8TRm8fid0DIzKSc/vhRS69O03BykDc9b4Jc7WIylUZg9Bye3ncLDiIJUype11duw3d6Ja3iWFaD6qkygUnwke+KNBxx7a6v8uPbah2TzJKAydw6nIvHTUUWDRADYpcy+b0oMNOicgv+Y2Gt43MArqUKd5uz1TFXxjC1M7egMUtfsfER/eLmX7kF0NJsWQ2me/Blmeh6pwL+Uv7TNc3dpCG4Bq8OpOS9/j3lVerXJvX6zujAIK10lmmEk2bk9R843tM7mfV13pHodGU7t2z0VJMuvB4nsKzJ53HbPZPdAM05WBmEqHVaU78gtdHDbPZZwKr5rvcGaXcI5lCMzWuXHhq3/s6iuyDtoDdBrXsNmXEIIZ7djZjsjwGoj/renMrDGa/7rOoP1Cc8n1P37vvlfYiBB2YZZEJ+OtMu8s1DBW3RzuOQDzAgBiv/GSKAOi9WNYvWUXb6P3l0VuRHS/xFXs4eTXyoBnXQR7Kw/lcTEgfNrAU69FMWXU0hQGQPJX4LZJ+RCElq4NJJZ70ft+k6jSLJ8L36n+kb5i22R7hXRDSHodkoZgo+ATYJcE8xDPw2Hr0tx3QYZ2OOzFVQqPfN1AbCET895RJsUaxCqdHveZMv6cuA9rK+nb07iONMlLhS6sor6qpq70vrirVc1xyGjMaPUVWTQenFfddpHMxGm9xzmUYh+nRI9lhBzn4JsDPqIv0qGBDuSylz2rDdWJ5ReuL97i+AUwX9t2bWR8Y2jIswJE467QuQy+vlVjej/JGD+TQOcwGSOaA0WRJQqdh60bK0Yl1j988IUaJhhsdYADpWvZbWPxYzbXZ3bMOfspxgy/EbZycI+slyNolU2ILtsOSDnYGqEWgVAlUOZKktN6EE5epfMFvEdNEWGNSZvgtNNTtN686DRklEmZiSJhq5TRf26EW4Qs6foGefoEtk3PICxH30WBRAgQeoOzZZs0wUyNlEnEmF0+4951gIWk7myh8EZPhiOEx+QqxZd6RNaENzi0TBAOgWtdyiJUJ0z1QAWKFWOG8Hh1eVMjzBWN0ar8mx4A/Lrzpqoe9Kx9iZKheo3XThErOmtn6GZdeuPj3YZlSMdveE+B/paOZk0ErN4BjbOD54/YGzxtyyD4pLzgXEPss32kkSU++HZqmeKh/jTXx0U9T/yq4sLiJB30wYUpcEyUywpBkZiGCWzOBDfZxGlGht/9zR35GNtTdK7zEPPdRxlGHO52n0qyqiVKTKa8xNIKnvcLmdVBp+Q+u2+JbR1YAwlaNzULOYIJKXtwPDBmpI9b+XjHVoyTFoRfyjsuMb4FXBOW3VmJbATxR6mZkL8dClvfH5xk38mL/RZyhFHsr3bbYoVTWuo4+Kkn55ecG8A0jQzlea9X/bqljRsePE3VWb9pI3OxvoHb3bEZC7TJ9K8Pfj+rAPzWRlN6VVBFJBm7kXoRQxazwxZU0ZVfAtoFMbtv2sXqTd+ml6qJ4GKnXDgyREOUTnTes01AHQYjWJ0BquPnGE+8IsJMNm4ONKRzZ/Ga2DTrHJ7gFj2Ft/OGVYfXCk2VkI6jz8ncLulLw/HQb6No6sm2F2z9Z5+kkWqR5ZT+nAPte8fYzhBiGf52PfLV+MbZCBDA4PnC3UZ9rkyD5+f7e6DdvhN5IbjPCm5SirtfwKJk97JcLDzyO3TuHzazWL3a8OqkAiCkO4CqrYgge9J5kt4zNQMAtWk7+7VI9ceu+3uItMGvmzs507iWUoj1EjuMPM3OTJ3A6dkjLcsrUECNwoXt3uaZkzG8SF0AndpZUcuUiqn1mda+paEjgez7w6AauUfRCpd0qi3pDZbTTNp3j4DMR1/RoK3QP5vBpeT33jAat9ApYOLdORJ5ElW8HtKRY9UuMMG4KVkswQVXfW5a5v0Tm80yrbSmVYbdNY5QfY2D8w98t8ARU1uTR9n1t+wBhDVOQPB7tqZhHSHY7zyAMJCA/NtuNLBoHbCv39xEI9otLfdKjpGwhkcwuC1FGAMG0UfSjjp+PB7gYHdFVVcJUDQCpBnV/MaV92yynHf3+VU84WJWgEbLcSl2Mnn4dF524pzQXXkh8FxNZ+R9/XyzxWwa8nAWiSAn0+rphZHfMe/vYSDA1x3EB5iJ1ncUCm/HDXCOW/NNfzJAHvAslg9qVKA1kphMTb3XvrNB8okvGlMV9Ei2s2ZZELtSyELh3NOUJhlMwoqHzJY1INn9VXW7+V/9OgUHdztdo+42Y5QS6Eza67R++3rc3Pm4tYlZT9itURgSQZxiYKTtjh8L+7VQqGxP6sdZLtZsSdjXn1lxlq55TXoS/3foNhbu65bV8bb65iJ22HyOhc4O3NoynYazmHfTEspKzuUwGw/eIbTnmFQbVxUWVTzfSWxTWOH2zVJ+mAAQfzE/5xKGGbAMYF+aqKADGrRttgAafid0UrHigC684bGrsb7Plva8CReMD06QbN6abWr+A3GQtyUMSRwYrOcI8auH8jAqDvu3MFznJBCL5MATJEl0GVJvGyJzYPfeU6kwc7lpAB1yOPHWiszdHL/sOy8Vp49e4lKfa562+nNJo9yNWUEgwgRh+2u/av7EzxLDRVsEB/p/J1bpSrTGAE8ROAToJ0GMU9tG4I8sE+2Hnku5GYUujUk8Tnm/SMqzIHHLhl1FwfcAvSkaG+QN1UILCZnuXd1XKU7Z+tgWYfjSnHCsT64Ksp030lR/g7kLdlC8a1fdDZUW/rRKcg+hngNgsLy8FKYm1sSirZtxhFEcRrOSxeZ9uV7xyUJjo90z1nH1ol6cTPwDaqXx5pA5207wX79ouAt5mr7PJlWGJf73SyS5wX6rXE62W/hlmJS3fFpZVmSqCRIRXLJFTLdIDoD8U9sDHoR0srk0jpYSaWA8L1GwFX7fnpYp2j2CqG2+QizyoxiU6vw9gmrnH4rJxMqGpGUeZ4yZ5ntbvFcCHwDgo4tSpJgK4McQxaPLUxRl+LFQr8HFBckOhU0DCtAFhQ9PYuQR1LBeEz2F+VaqlKLqweWBoSydNm/kdQW/p7Mi2utzfgftOrB8MQ9lc24qDDRdGP2E/pOlGzF504LsFesOlqN6BIwaSbFcG1CyBR7p/kk7fVXqx5zzxFpMU5kCh84QjHH9evjhTclz2rOli+MTEGbnwctA4ndIT4uGrWjrV1A9gMdDD1EaCaTflXa+ZlJ5y8APgKbLb08+Z2l6SwYtE38C/rlI8X4XI1RsXM1VUFKzUNy6kPKbV622xycOSo6A8U+lCD0Sc/a8scUuNhVjy4limDWt2ux12/4FAfOOHN4KKMeZg7J3gPFBr3PdR6hDYGPzQMKkvYf9qTWsHydc5xPzXzrHGcGxQ5SEfmTan+wuYdEV5iVo2r3o/fT0+iZ9xOFL+3nJAN3p1II+BwNQiecT4CG9NWBU/qeeZQQIEKzb+yCIVClo4eekHLUEJRwPEghc9Z2ridDuZx0yG5akjVJbwLOTklA0h5QQp8ikM31YegjwlmiIfFacJn5snCubsfby3CoIA8qCbv0/mtxMfZFG6RgzPxvASJ4oPQa1nlHKr24irE32f7DfkmQeQNLh81Wq9FeR2eKq/z9pKTg0CMwWJ03DVSFWRkWl+7XZNhZR1mxLTZv63vubEUDfXQTqTneQ9A7P4tNMVi+8AlMEo2vWYnezXTPvaNmxE5NOtI4L7/DsaYheF8oNyzEiBJzJnQb8TSsH8PTIJb0NyWAaPGn9blet77wJXoAm18jZ3houyXWZPglT1xmkYwcH/bP2uUnYKE8WzTO2eJ3VXl/DfirKv9U3L++YguXYuL0iZG6F/hmbgmNWXAzGJUhnExBD3TvGdZPJ3vjqdW5aGaGxY2OOT0W/5nG2d0wYUvoA3IJqA0vd/euKBdtmiPmYl6jce+RZMXiB29w9fnaomyij/5HzNLcCEyZt8ucvdecohD/oX5VxLeJFFqFwB2dlDS/Xmb4vcAjImd+fDaZFeLbPY8KdaCoVzaDlA5Q0UJdGQOThKB+ZN+efzORE4aYH/rsgl6dmMKkqUJN99AzADXlUlEjpKtat4IfjXHfm0tsSitdbVBLM7F07xto/0VbonxsKHhhaYs7T6aYO+kXVpvrgNoBiDyLg860J/Uufmf4GzB+M6AHNj/060Fi4e0luQmbA5KQWjiTdhLUemEkk2lneHX4TlKnvM6MsB7MuOGJHtV3EvawQnfTm0gkYpGvq0tm0Cl61lAYO3/xBzhiAWBLuGOzJ78LteOJidsgy6YHlUMoShqpSykNjkQSmK6FdHsq39AZ7f51L+ylQOEmB7vONVOGJoPx25HXWg/wXU5/VZB2Aw4A3gEynkH5UgumUfC9wXbnAK3QH7CYQFK9eowYfJXIAVvvwSkRBnO7H+d6xWMMd0KH/UgFKk4Nao1naKgGnTJ9S1kgx9gX2+UY/iwK2PvRcewx1xUeRIdF5oGhS6lC805QGWHOpJomzF1q+RersNvwIiIwVwhvIl0EFK65OzikisaWGjpwA6ZnUCjHqVC+r/nVLwqxKUsIlSXJ/1mczxcLJST2mVDWFKGhVv3em+/Ga+BzFX9eOk3hL/zdpGuJPUTqY7UbYznw4YfyjGAfBYhwXyi28/3Q/Q0HEIQlHU0mNqS2TyfJnarsCQFT1cfL3IYVRwWNVWTEUa3xEqgypysu8186KkrtKrjhjaL1gZyczbL6SYCp0EvqfaBbbe39UNmA5RYbqbzNI5sH97uar+EC8pHTLunN3TMtVmgDkKLeCerMVyEaOVhf9yui9Es7+SB8+uj3/kPB9jOE5VKRxB/iIHWl7n0qKUgQj5rWGN4Gn8gMphcZqtLJUBmAcvhUNYhOIi4mhZVX3jjLa0aM4PdLvtqHL+qyuj9czCfLJBkCooM+YjihXR0h/+wCbukMrjf8aorU68qDc7UmqVUrOaSEBAG8msXROF0TVm9434z9BX9tbLvZNhyoD6e//CteORIGKtoRGOtetKwRFUruhIuLhXmzoDCc7Hdokf7lNfJsyzKheXZp/u5I2GZP3sB32o2XwbTDC59uds/PoeIlY7HVLdrOF2dPF+EM3M8722hkgqy45O8ck9n9x7fvyjKvE4Yc1ElwKwqC2Hp+tibnuT69Pvv5HLmlO9AUc/Y612ZDG7tc6WHr1GbhknOHaGPvikgUBQUQ2wCJAWsWgxgN1poKHFo5Zu6k0n1c0/Y0KOND8RToPHPLnZwEFp0VXem2nGwJBJtFt2mtwJ1qrTkiksXTIXE2BZQs6mEevJ0ww8kb1xammEDASc1Z73ZrX71E8UeICgo2lcFJIPulQdLYLE/jTbCj4vattOgbnptBPmAYVg/mFEYXyTXymOvZmWT3A+CKZZ9r4Pf38m6PhDSHeSNmhHhy0UKw01qWZ9WvoeiUlzY5c1jyENDF8g5XvmHm+q5KSrNstKbQvpCqBtcl7EKJycDQTL17La1UDy1AC6ytfRRIkrKKvC8rkndcGXPkHyvKB6xw5A29D2q4DJsNYSZ9krVZACYNHX1Sqq9Y760LTOgjbaH521NoHTPO9cJhIMvbdssPdsLXIftsPlEakeXMihEuxcKGom5EWiNecf94QBL4+I/bEZWQBeCmHmCzdfWZOOOTJakdidr6SEf70E8et/OLRp0Lhdh7ttC2R/ZWJzhYtacHo1bBjLSw2ibvh5ME1Fy7KrW9IvOYDdUJCR6EyY58/TilpZrRyTtxY6lQmMuh3bWmz6C6u7qvwdLxdahS2hDoyC3P64RE19uwQDtkXtbzE/MceR6g7jGTFd8ChXpnzlA9LUKaHaiTMX+VsZOUAFsvwyAw4A5g8ExHVY/xlUT/vJABVL1+riLUwH7OIqjdIMt7rsNS2zlSPpwI0y70ucgpTcMKvp7c3GipdVEdmMjqBYECc4jTcEZ+e52d4BpWf61P9FzQ6b01xMa/AUrMjPll0NpThUbHd6Ia0dLYtH1tTknq52T2BDx93Y8nK7sm0l2szORa+BqJ38oZAxGY4NfbX6tEWfl2Qa0rdFaSYv/h0qW6YllEqz5CaCBQk9W7vvKf9n9wE3dLJPNZoPLTiF5Y1UyTAlvK082xxKQYqoWIaz3YOPKeMWqJuKQRxgPIMj+Cio0z6otxYSykX/sy2BJPXPxxmd5h1AMtXDyCs35aitWPJCJbb80Rmt4r6AL8NoGxPBKxWoZUrDCsmUcCMpJwy+bdq/BIW8A5w+n4oGaK4Ph7zyo6fZ/o5p7caQDyXovI2AcezXKxSgTuOk8AQZZi8ZBwHNgF8qmuvE53/3k1P2Rn3Zk0l1F6j5+7Kp8i2BDDmCUtY1/p7aaYs1wnpvb7duo7vWJROIituk00hEXY6f/lFynmRrKGURlSGegctwWT2zr5MsIu16xt2vigIPpP0iWB3O4/NC7+5sLmDAn7dFvHvQXam+GtQFawX5WLLOJXm9M8uGklIl8Z6ONjKMYIZV7FNCIMFWOFyxjta39nWfa8xdx+w1/bCIHKlEeTQxsk3u5FIiYXVKeAuD+MI19D8zW7a1XDzuNf3Chicojj9nmnjAFk7adyngf+OhT7R6lbhkoKXWPxzPfCFtlt/YsyVOKY00TbIGKQd+Php4VCOsFPoHe3THHAcfw0W8bg9YPBfwwVT6a/TfwBj5nVONpJuN0OFVPs+X6ZldI7A8QUe7XScu3o7HwnBDdZFBdLF4kMPiBfnNs3rl7SIuGGfpTOagJnZH/ijGeO+GyY4abp510h+kTIVi8UnreJWULNvvPskVgSX/5GyRpkPD0e91S1lzsJpJyoJ7CTTqVvtjGWShg+nV5QI1mroxPYUoVuWFAXS/qRMg5a84X7dq5L8Sn/nPZDUMHyvlVKLRqz2YvmRktbRnZ4gGriZb1+rBRHmwYI/EOie5DRExU5p6HkMoVvURzUwE+IiHVo+JIeIU/ad0qu+9ZLQmfMY9HF7r1aT59mgx/BGuU1GkfbnAWMo3QTg2kTRjVnw+vsGll71eTb2p+AuwT+eG7sUz9TNQYfaT+W007pcOV6G/sfyGcHpQwSFUJ5/LqquM5//F86oaK6TqtUZtwHGJvYrfSAzggeSidXjGMxxnWjqbzbJC2vSJVUrVz/XlVVOz0Tc+LlPf9r6IuESUofAadGBLBSv63fieEG68DeuKVQOzX7rmPw7uq/8u16hW6bD1oWBK72/2WW9xg/woafZwXzyNBzN4+TewtFgjfKzAtyZ1Rq9y76VVVK94r6O/54ChfhTpjJJH5lk56z0Kw8xH8O1K/KVn5ZoMYL5d6cbjbuI31ooJFqKMwAop7iCroLsTWIpivAtRRTFymBeyvuUwqTK89VAxeh1+pBNOHRa2gNKsBr3RpRR8JZYUN22Wzfl0lHa3UCbAmnk0U7fxwv7E6xGUcqjO583JTbtDSz9MOOvIQxS/V9g4b6LynuC5nqXxfhSnFbufHOWJMq5OMv9UhUMTXtDkq0AajRqRA97LtcQ/Fn3bbsOKDb56bAz/m4Q1oyF4NAbrLb7/31++PYzof5Ts7J2DhHucHqVTx5C89tBAgYCAUJQMQwKuJuApfM6Yl7uDjv4+kw4VJZI1O8KjjAZDJqvdTvhKVC6Ung2h9KrvSQFmDo+PxFM7kCA1i5NHFqvZXBEpQPkPwrEoTbkyEGW27uGAVmEqpn3KJ45t1Fga54WnUNWZJxQtdIPYnfK7RqFlxd0x1OPVWUx5fMS+B0/J3KDcpQhtSg9qhm+GltStGVsdY2Yvq3+TMxrIQ/NslH0goqTO7/4SMyjYDW/KrLHJnJtu4enJO4xTp+0ctHfk/FWno8NqKW5lanU0brLuCLC0so8oCZVSUOkwRJo3Dhd6e9TNGviWcfsCuvgxoMhyzVm3OMl9DLy/0zPVB/UuohHBO0dMQZQNkmRuY9PiKKi3NstT2PHVEFA0P6ZU8AfNSmwe4Hf2j8krxCOrRXHdv4Bnc/1tWqZqyUBlWJA9Xjm2KrnYenRR2ZSaq5hMArDfEyWy5OiNvlJzivtHqKnWo48c21XPnWQHJfuMX/GqdqrEQVNA+Ux/lavD4GrJVb12TiO5K6INWo2zsMutz8Cird3ZgG0k9XKiSl7muFrbnlE0WM/wGGoUVgWwOvgN7pZW+O4LqRfKr2syh7CRVdeXmkZoN17QKawrzUBFyqQ89J0wHJxDAqw6F6Xut99KztvBSxVtoCLJkEQPf721RPsloS74UQNLXSEVpbc/K9tNtEADX0asfOfvwv8DkixLjUGluQfrZAmmc6zuYpXOSwlUyen7JlPt7gJQy2+ayW6UizI+VcBBI3xFieeZR1lwrYt0uIusqfSapVwe2+9aLk8bq33bZmihT2mlQbSOvfvHHdt1DTXjjy3RWgCjaIXp8XdSfw3Na6Pcr1NfMCNXzaSky7LG8DFGM2Tb6I4fBe1wWAgT7agncvAZpI5DvppHOHLPF+Mex6+i4XDHDqcgpVCwSjty5qReslkOrVaq4MoGdhKMBLvB5UEgbCbE+hftpC3/49TKF13jF6KW20w1qCc3wRjrmtrrV6JNIJ5XK4SuYpAD5xpwT2RDMrgucp9DAOH/cL1JZ3b3nSlJR8mOvA/Tvlph4Bz3QljlQZdjZSPqpnLx2quwU5RmcZ1D7itzOhWOrDXqbMOeE7otAzVm1Bi41dNI1MdNFLkFDE+s/bh+5pwBVRCQFJnZWNDnX7+/KOW5LdbR6U0ZpV5FvqLVDOuuLm8587kd0NmE1Brbslgttl5sIuM+eRSQrEM9/PcImYmpAPaf8oggYgj9LdQyIN+Rb1+lsQMBaLD5ayaI5QQF+iGe6QHPvyffsUAFvuXS6ccs8vsaPJTvtPmtAOiCqigQlgFfHbvPZK2ZX1QTYBGHZjLwbIbe42IOIfoHrOO08SmC0mXRhF7lLMNNlAvrSq2xHVf1ohduz4oA1K9TJs90YlMxy4Nh/oNcAe13ezO5s1nDBah/LmjYMQtVmGO6cdsgGKK6NzxGZZBNJeZgApaaa19Ud1ge3u0fYQwKHNi3jzH7kpGPJAoziRg2x7iBtC7717r68/N6bFs/Fpq641eaWhVsO0ohjbt+ek6ezUiC3mf81YtapAeG9qeBXNwcz9ytijqcw3QDizZ2kd5fhFX8uVIMUCXS8hFdxUnQFBBVfHNYHbBfFNcSbjmKAGP1D9wX/S+8ZxZRGqMhq7VMiw8a2DlNRn/JJgytS4ZpiNPZRrW7paM3l47QaHjctJHcbnUvYzrmyUtFEPx1graGio6Dx8LQG0yLvmGbmdB1x3pXXWuiyWhIH6bxs8O0D88yAfsifwB2Uz7MeU03O7HGmlC3zEFJQxwvKQf0jiMxm8fF1+YL84dYdudTMAMRCIQouU7b0Ih7+knRvPTm/AFHKGlDRR43GMM98xxSycp+7050SkqZIDQ+JakPyQFmr3B+0c7LDJ3G8j4IfisXXEUaBFuiWmIWHxA8tOQYZfDlxMys67zgKyvPPEypcNkKBseuk9D4Jc+iKGqRaK0/YPEMEyebA4oeIxZZmBwJD7ScTBG6/MdVByyyZAls+4gTGo95O2KVh5ir+1tTKeIjjxCdPMu94lF88WiO2M/qG0UP95lE4dZFjKTxmMrqT1nTDVvet8ThAaNgT2DJRUZiLNz8tyr8zaZ7gf8ksELcy6TYoYmg/zvppacKVs0NGsoz+Z3/mnJwCiFKvtPvh4ItI1QpEs6Pja9H1BYwnLn4GlyQISdQp0V4RnIzpz05LYg9e0sIQF2B4ZWHltb1aIfVx1qsJkRo9cYb5glrY5vTY6iLeWUOzGKilx4WrITLqFIh/mblof5k8lFzpkrwt2FQfPGJHLh0sgIjNzBP8WLGFGuaO9kh+DyRWZAp7w9P2E8u50YSYGCffn5hGarwhjxULxJ3xTQjE7SKNGOQqhyJkg/OV/W8CACa8EgBXWtupDrbOarsQZw2KFJY3/Rl8S0D3suJ0saxLt9RuEavI+y64VZeHlL9/ILHnNh24hVY3gCkMhxjRqjjXRtYFWbebrHA3DkCqTDzaCJWvh6zId55IrFUavn0b3HGhx9l5CauFg8tND+3r4ItCls9AgzNozx91r6BA/BicrVP6YXotvVLYRCNjwBQi6WwjS0hdFmo9yWeXGE+5aZR9hOI8gEfa68r1rAPpw69VfgtwOk3sLtBdK9/kydEGDa7za9rQgLV6uRgPpg/U3er2DZDcaKaippstpX8DsDVcQuHpwAmQjcqiNtjDE+jexEf4sRaTd57MZzq07Xv7Tey1cAIKDhLeMUVWsEvMKRsXNVVzzJGjiWsdvScVhrdNEkqJTWoCThHXxLOM0nGo8gk/4OUYzHTp12lAcyfgKYFfQd/YCV12Ztq5FNkCsq4tW+2qU03m749+nZa07cTbtUzXu3kDaj0x2tLBI1jgM/El0l/ZLg5Pe8t50ygQy7z/A5D8dOuttvLU+BA0Ttc2FMSusRj5VvZLV9DEd72xcJCrXc1S0+OLrItbnFjCD0E5y1W6UsLh0gj8deVY9Ie+8i+/N6U54zM98UlKDhg/yE6kYr6ATrg3e7Y7B96QP6UdiliJLTRuBVvpthN4yTEdyNqVzsGFUFvvxG4mZN3VSRLROI49jFOeeGPy4+WRXCXxSQcMSmR42PFgnkqjjSiW/KNWHrIxTFd4/mfhmiEAVap/H+9omBGtsxOsjad2L3yPxI5Xpk6p6fO6Nln8cbajBcq0xlcpdnzPXaf0sNCgPHp4y9jPFY1+LZZAxHk5uQ4UxBPOqBXg488+Oo/AtpORCwvfh8vIbpHr8nA/ukiytAknAUlrq21dWe7Y17y4LIwPAa6rBQi06hzxk+pOWbmuaGNKc3V9lNYHGk8sE3QjEL6aZFWiVje6h3lobZ1WjmAFCbNlAdPBiHBLsSAG/SJIF0Zd7WOJEnoRg1AnrYm4WrafxhJzRxUoCPKpvDnzs0kXIJCEQgudm1V636NRXnJfR7/HmeO1//a2jukYPSfHiA/0gFZn+AoqVWC6zU2kWTDR+tyAZnrGcbPOFZG9tr4guZ1cA1+JWA3jkL3lOQprffuEmG3YuMXyDxguChTBr2WLfqEcItt/v0SBu5AVvZvwOysjbqxlqmqcgJ5/aT5XoACIwpHSmKLSZ6H+7iYC77x7xwguPUQr1YxVkmyaug11wRN4hX+VrwOv5pl8+TTZfutT29eR1PSWy7CzB0bOfSkGtZh644lizRUc19Y1Q+/cURlCL3FlKDzZ7NT8wcQR34StEWK6tq18XTU9XshDt7b2GVRlLbd24CibGHeyqHl/0+ZQqUN7/EUVn4v8iaRfrbK8/2GaY/1oUJvXQ33rA0h04K4tjc+/hwXdlpzD2PRTrdAFM/bNwuXrRZnCUb5dHoUBOSs05H1P0zsEfKXELJiBkJVC4IbmsG63ahjInPhIJvGGYq3SSXzMLk+hFq980mDRm+txegTwLnuauDyLRkZBBAusiy3XGJz+1krytj53c3CkgVNdzaLXWrBnx4o67Mj8qnWa7Ovhl5zJqTbLbf2UpOJ3PUyViFq72YlOYfv+jp1qJYo3EByfYcIeYuNQ6KSQ2eEyCSg10zyCHF6jBOMk89q5OU7qB1OsZ4TCiZz2Rl5DtDmcrrFPhcvHW1QNkteXdtOY3UvBhfv/+U9p8MmeyQBLihZ/LCpmVUr0aSr/eMkiydMUD4G5avCsS5Du5dqWG5AA5hlthHPobbc3AnaT1Q4ZNC4wONmmWaE9HdDYShcZgfpSIcDP6UFDf3Bw1krideRqA4WqSDuP9LgFV/dcQBKx0aEMyH2vMKXGiIYxF3HjqfGSpem3pU5ROlRhZD6Gvf+KT/yBk1mf85PZKkowyQJC5WsGYzGkPOLk+BN1izdBCD9lEHBsW3XgMxyqSV/QGk49d0IgzA8L/GJVnuzbfWVJ67qw/NkUhlcOvadlEZJyQ4jlq8prbS9id/+0Jxp56KgrTTBkgoxIy4jFOYfmECC6Lg7ajxW/wzLfaGKbOyb3OK0HPp6SDYLeKbB41zm5MTEupL44CRxTtZcncV+uJ+tXtqXU0LrzqeYr7cdRnxgiU/7A8KKMEgNSmv99Pcye3OP+Sh77/fNMHmmlvtjwneA7E3otCA94d07d26wsktDrw5QxWYjTqPInySL/EBiTCUFwRTUE3z9dI0sOg9m9VnhutxmJV1rYBf6uxSvAKlZt6ucoNENELsARTBWdcjf7P9aVuNLPgvwHuJLHXZtzHXVgRO84Bf4h9y15I6GeY9VUwwcGK0K2gH0esW0Sq+GgTqx4a10JxVsQSCkUs0bmEAuFjTGQfSPWRcdPMfOeeRdgkVzt0sIl2oFFS2OGmhD217ePRkBKyK89IM++gyX5LvYfXeFT9BV2tVZxE0h/If44nNbsCTLBekqhhPCvdkU6h4FiZt4pMBJ1aMBA3EZI8XZcT+Mf+HN+RETQbaxal/U+uyLie1nBaPuyzUjmNxsu5+9KXobQtLEoqP7KHgDMOSTo3EU4TuesMdtbwB0M6sfu3/4gc5Yh64ulLecFQU09knYG70CkUyX9ZOZ6sUSLyD8l1pvZ5QHVhFvyqU2Ras5FZ6+Yyan/9N6vChuMqaP+NrrKCnHH6V5uasVsEVPcUytj57sGd2T2csFUtKkSAVMTSn1tz9RzzpyvkvCFxZWyDXGwqodpQ3ny3cI5kXFt+OgkYFwq9G9EfmFr+rvWyXZVTxC1GwAmwkSdP8HSPTwZRfzlKtGSZaw8aSZC3OuZUGRR8O3B0qrmEv58jq9rY0depZBUsSxe4CVeSSPuBGDh/At3kpS9f4BIsYSq5wbxu7NprNGAN+mnu79RZz1o5FeKgWvYLIC91vV/VgKXWFXhOnPQxEtYn3VnN5qfvsueLlWrJBlxfVxB7WrwzqTla6OaCxI6KDIyyzGoHge3kThEGLRRz+RklY9+1w+Hdwm617SyXzTTzpWjanohrs7PRbl6ghZZD5FKFfU6TNgm3JAPUq3vqOqxswAH+YX4jVQBuNBUQ/iICjuSUyz9+ZhUVVWX4owVUBFfam/eKXa6xMJTBLx+2ktfwUr8DreJIyt3ggQQc1aSyfeorf/qFnhk4BYj2I12KIU1+a42IDow93NNE3/xC2sXrEygr1/DMQItDPra10yPFClnJiM39kHvFhM/ku2X2EBw/Cmy9sKtxCX2Os334Z/vRI40iz8SF8NhFGCO+S6sD0eYb8hJLMD3xw2duJnZ9jPP6wDyRXvUy7bIKEBNJ5WChgkDwIMsCFO9gknSFcQv9QEzzGUHffzoQZuCwogllmy9il2l2SDrOaal6VKQE2qM4s86Q9wtc94UUGkQH/fYn0SnkE9/bIDnZXc2gebYNTtrbHB88AemUQZlYNEUT0cQQefhs5DtarN4HCdO0B9SIsj3yZYUfRTayyvwfzg1+WYxWFXgy62dJgZtlQO9V9+OANKyvpoZrM7xcvwbD9U2AY+itUbOaUxGu5HwVxWflm8D8DmnvRv7tYgGW5Ct6C/ZtNgszyJz45YSOAV4WCai4C0U/PfCHasd+kjs7nsX9B1asqziz9WwgVlwJrc/lL9eIoWFfjYhZTQrRYpB4/FUDvbY04Yk1kLNcE26usHQZebbilQM90aam8/Ie7swQf8xa2QX7Q3yaJjwFlnvMpBQ8usB/4U1hM6LmHQKSTAB3kApV4gJGugtnnTVhRZhlrYQlJTHBEyvmWjlI78ZHpuOxwhM5kn5y3qA0cFf4nsa8yx/78q7mEWtGqSgxJRy3cjiURMYLWWQalbRNairsXcdHyLr3aum5iBVelXpwriwgD2APLpqvMa5sRA9tNdz6bEFXmhBFv/rS8KYTtUPXJiIbjGmr+qgp7SWBPsVEuzmR7qeJtCfzlrSq+SKICoMkHIfzFHeqrn6qY3OCyyfgwW3PDy3Wyhml+BTqrmJxdy2NbHtgw+NVLLKEur1Nzy2rT6P/pUHtn1LrTuhaq+HurIu0rb8eObei4bnQ4n7BwmKColnSks8BSJvzO2wxTFssNtlnwG1fd2sUbDZRQdtKPYxk+JSlxPQC29Hr4RiRqoG5QE6c3UtlijtGNiGQ5AJp6HUGD4rcbmJ80d5+ZShlV7wo1eHxVu7OYd70c/6IlipzAp/Kz9Aqih0YKWdCGciZPNLi9BunHahAorhWRzfqIwPbEwaXB+gjmgReHMbnD2ziGXabkYv0UxmXZDJPkXWu2lINFkekJ/LMxZg6JhT8FJFUqXWKoALHUpx2Zki27twKwfjYxqeHF4hnnPOWYrVtF+nMNO6UL8Iu2i/LJMZJ11LfYU50+gEbMMJycsG+Mg2w/BASNRJKN8z/5Kx98Q80fUI4X1OH9SIHnx0QyZuNvNP6bi1geJS/0I6lp/gPl/DJKaUr0Rw2MMfWvILUAjKVP2E20tIndKFnUJfzGm9l+bXWCwcSdN7D/243T8tOmVYi5oEmEbo//lB9u2J6UTTULzaqvzDqAt/XnGZpaG4hJXJJwjnkiLAbBbPYGJFwSWqkJzBvAm08wwf8MEsQF099dPl8mQbYgCaUq9Wr85bfg/zleX3sxt4eg94FvgHTymiwDR0oPpQlzHf4QIl/klpH+27ZHHWNj5c0rDDYQRJMBqwI59BTrbOBTGlBKZLWk7/QKaHKPthfqzzbXPppswhX8PKYOcOYbCMjGB+OeaEpZbSbwGEWYdWaMR98x67dh6CRC5cq0NuARR7hzViY30/8Na/UYujq5pZzUIDVx2G72Fn2Xf9f2uaFWxpsyJKbEJOzFJwKELQhrCL+Zv2EDpselyjrJt4QOHlWex4erQo0bXReOJeDubUjci6FdacvTcmQSkya4hib3p6Wu9ANCIlC/hb0o9Lu+GEcFAyJ8Hqefxi+/ZZIdzf/foz0aFE91jYCrKP2VzIl3HjHAwM6AmLg1aOHn2EJqf3kW7MeCDXsjCQADB48oSty69XcqureADQP16li0nWYzMq4OUmLSBvUv7HRSF3X7z95VXw6bhtLP2cf7hGAQs9NJPGEVShYz6tRr2cOJypbw0qK2NndwQOWtyiZUdiJ11XW+sukL2YUVwVWKgHhID9vvuRMBg+0lzLNz36cBa8hVQ3fay9V57HVKHcJDGYcGWDBg6YcF32SvzbqJOD/vCZ/Xdk2XLOiDMeI6P5dsD8lk3C4LGBkGBml5Y21vp9FVUpI1SGfNninBdhOQEK24BSN46RXW9/Vsz6yooE/8XKRMToWWv6UypsmHmra1Pme3qasxGW3ShQ7AIf1JldpFDr5KdkY6WJXZlA22/Dca4CIxwqKOq5OD54MrMW5adbi/Ks8+gus22IPOg5FRAn+5m1g5z8FDsgh9uqyqR7ImZz1iPFOULzFypT2EhAtmLQZpYAZJ1e4O/+Nmc1Wm7Wx4we3/n48xdNbpgepvS/Zb1WB8ORswF76ctKTg+diCjaUNJhSXX+VDeviRxv9eesY+bYsovoAuakkGpedlEEvB8yj4d62gd1otIM5jWqtpQOE96bf1xsKsiNktysTcxdVJVOTm/+pLifDyozef3H6Z2RpQIC1gHaM1c7VJrGT8DbXg4wFpIb9+DLAHTAxfEj2oUKLDOcviXga9Bp/f0hOTo3IcIfbT6cWyFB6M6bvc2EVqabD+HCSyhoJdlJbnvydSGlw6D3WppMgTUUqXzaSOSjCtWZ21/JnsWluLxxD2V2sDXj7ly8pm+B9LHMgGrRczaTt45xjIo/355Fetazrd55g8GlyNfi2bcMiastprqrOp9l/TS81XPpzB0N2ZTuapCt05Z93zM5dMkDltMRj2g52pMxvOOVnnzasW0ic2hzCjedaB9eh4PMnfOWLYSQ3/FanlsOQ2FQaXx/zhP159z6XAjkt2BIbwkl/AQEn8pc905POh/llH7dOgFu12vLjciuuh/9W+txsJR0Eav3I0A2JR5yEbTflnf4T3mHfMflKG0/el4DpGCG3i6LYfQybKEhBiyuxsUAMojsEiPSyk6l1x+j2+BFGCCu0hCx+IxUz3nKzCM/9JAXSQHEqSCNcq6HKTDEAGdL1ilEdD0gkKgcMhjJhXYvuAAkdfw6gu6Mr8DNS4aqofzGaFP3JlSur1Rc0yRxR7HcDKgRDZ4loD2gOaoheu1ZfVIU7NO7bp4b+yIMOKOM9TdMuzinkA7Lm1vPSZydUo+VsQZ+SqZgHXrqrpRvYqstDXKoP9u3peFttpVjG1n28kqYYBdlLHnf1+NQPSTYEv9a+eDNB/rB8k4PmojRdUBRoOcsd/jzX14zrpnp5YM4AFlNn/Cf4Y2PzoXPfMAzA2EWnxEM/QHrCbPGc3G2aUt+AWCIB9lc3VboXvlM3L0FN/zUt+tv4XZv2lD1TM9PmjYdNIVC5QDs6AUASSuVrvky5wzBplhFFObZFTjgthHi3x/w9Nva6keoAbuKwaJ41C1bm6cxBjeY08DjUKmMLKfrXXBIAO4EAe6HNB1E94c7SPdMI7UdvbD5iQN6LRpRVE30icXrVVhXkwvWhwnpWd2KMiThWh4slnKm4u0nUBtv23iWLQnJHRra00wcihNwpopmb3e/gNZaa2LCk4xr4E/ZcRJ9r117BYw/OU34qxpMilnMHj8nawEL1d3P43E20NqhvOFhFm0HtxuzlKtaqTcka+6ZqfufwviSc8mKwjvVwWbhqiYmsICZDl9UmKNtkiHqpQYPAwntPlzHqNEZe/53y22elavSoJvwRUJ2t4H1NSkS9S/QSHBM1eMoZbhm54DnzCItVsLwD8zMROsek3pdpxFf+hl83r6ukkYZZ9piKW+OWm8jQCchHyRqyh9gO40MJeqAAeCQRhND+1zbtpLdVrLwiJ8cyp3lae/HouHXdM8IpKrLv1bBaI4szchfYg6A4m9VicznhEcSGOZ0dq5W0bblOt5uKAXLwD13vu4BJoWDkB6Asjj+mk+SgjozKJkNkvmGtdQrQorgaeoI6Sw4W4busb4lsQ/E9a6l90gu0nTQ4gtQU3WTOAIZTIyyPhvWJadpiH+dcm9m0VP9TXUmvjZYYfX9FKaLILcjoQ1BJMnL7f8arN0LkO1lKkpn1jMbUvEgt8u+Vm5WolRVVfuWzt3ldIpInnCz8PfDpA7S9GasL7Tl05T48F+ScqEfLvtxOuZn05g/EmQPVubHZTWMKxEDogKGF2JjK139iNiy8Y0abVeoHO5vSiK87SS5Z+r5uR8OPjmuVxp8/IQz1KabMFt3zsAsvmlDX6dLyOk6lk50Mc+QFs6Q6HVCfcUgapVwBaoKv+2XSRrQi4VYjQOJscv3A6Xx0K5iRovuQzjlGGvj+SwyRoVlVIWOA3JS+G6cZjxcIQ3JZqIEgVzSUKJ50n3taXPCxVV35BSFDaxNtYcpcNOEvbA5iArEzWJ6etvKLy3w+Lc+6Op/Zv8MzS9r+78xasoeG0aucSv4ts/PNyWHtxZy3rI2pMwmsF+IHtU9dEeUtaUOKtebTn9TiwgEHAFOQ3SfK/+hzal2dK6c6p3o6PgGmGP1akFS3oV0UQdi3forW+q7/5q3PoOq1T9cPFEzVfbYcrGQgtieLY2kZKmuSpBWB3lluh01xRzJNWHcfx9bDLGkHaLSjGAF9j6yZN3Q7whUda5UWj+nLB/GjO/IjsJTHYv0+6mK+STEgn8elsR9VlKAOdxbuz92ESzb5CiOWJN01g/lXyatNUFY+/HwvqaDYmAcUpbdMxcR+37G2ROoFTSs/6ff/lxur+mB4Tk9APKKKSU2kY9iqxwYwZBhgG378N8oGLm6QbVE2xugD0cxWEffxNA78miRgvZQ6GHeBqX/8RYe+hpWkU1EIGM7XDmdy25JXdQMNkwPP+1O99gKJNGLt1Dv2tb2T5T9cqZoQHBAshTMv9gA8ABcaa26ngRvqCYz2bh/m2Ki7IPo15nJh7ydchP/CPx+8qz0BHo0b+pmR9NdyuE6YZnJvsw6GRwNJFxYkFBZi/WsLz2V/mihSeRaDzG1zFQ+APOOvXPnCxi7vuQVmsIfN/wqGNIiBJgj/Pj3u/sfxv4Hyy3+Fnf6wwlbF7Tizf9hWoL6t51MV4/MIaCEiiJWYBxZWR8gkGEK+3rqWXytjx+xiRRYIyVIxGVKbXE2QtAZzo07k9UCaf9l+xKgnpyXodCLr//x7xR1NKZBvMwbu+wrQXoTwiJ95xMzJ5AwFBQgt6nKFMB2VvyHJm6mwprdWTVNKDIiN8veG8nbM0Rb71Ar/RbY9gWsYoT8osO1ejxAuUNyP/vuCW5WOortjcMkvHf2uDks3mAVUROb0CsRtHaJ+I1lJkRDYWcWZk6238TQoMKHEhYl6oN/SK5O0FORKGqrHXziaa6mDbxnUHEckohptvu0Wpz4vWJu8e+o7Aazw/O0I9UP/hQZfPOtaSxjCthTwghXDANMj7Q3TuGI6BpSyUCO/BQd9SEf55T0iOze4ns+c8BAlM4AKQERLa0a9VDlpNsgqBaIsYXXy4gwtBhRxTREHKeuRmcVxf1zuhKcq8fJJtMSdr1cTPn4/JsBgS1GrXDV0D49e/OtyYkhiaPh6g3lFpUloGDq0B8QHWiXgaHk3mLMYDHbGYf+Zu3XhUIu9uUNBA8l7Xxkgkt76cB3bMqBtXxZ9LVrsLxmjOiK5lVUq0Ft+jqb9+C4WbGUoMubCdHuUX7J2Sepos+Lsi2YXK6k+hm4bUCB+zF7qA8frlW8ElB7mC1UyFWsYrbJn+qajgj4DZrAF+5kaP3wyrH3jeR3l0sK9BujGTlmXfglsOTmXu0GQpH5ROGi1MRDrIbYw0m6sxPv0412if5w6Vewr+tNFgXVLRGRoYxdwd6W9fYkIzxHt9hEs77cC44Ph+dpHiX+pkHkNAf9UtDQSXoO/29jAxsnVBffAj33WXQOyeGAPnyzEynQtsRGMrsAvzzUVk6GHM750xf3Mix2ZR2jjRoSo1DDYa8ieRIHUZqroXm8D2Y2HQfhOVF2PpPM6KGil4MKI3ovqpgIOBTleTAyifiRPB4yMub3nopbstJgtvhaBDbYHtlbro3je8XxWmf07/Z0DL1hVsKGdBhf1HpMaSE6q79UVOb/fEmK2XB17gpLq3EC6DV56FVckoaz5uxkVXiHH1Cs5LKlFOAhPxtQw3utoHaTxLBqH31t5tci0WVwRH9hxTU2j9kcORbgIbMefbvzRU6EdRt/CfdP528wogSpBjV8orXUABdSR+2MmztfBoyzrCmLEuPJTRzyquPAOhamLX0UCVCLncRK3OqxPkP6OdCnyXndxtM7ZiaQOd+CaYXUwBW+h+F1Bj5WiZjcEgcM+MGv7MrC7vv3Ndsep5KfKVYHMc/Et1AgiPWsEYS77+MJxpvomKHOhFj2WRTyp2/wEc/tRH3za1sFeg7bavS1gNrJDXQXZl8+TNtaFv7T0smtq4Y+sBCQFp2fJ1a4z5GbRykGRrIOmJw0QhvssmgGVdK4RMPHolrINhvW2sd2i3w7DAZeGwyFUvW+Fj537X/xMw3b+kkR/7gMpq1+fC+uz4oMT/wnfMOo/Rx3MN4bpjZbpATuF73p/DSrxsq0FZvdTe74AmACySKZQf4spuCpPc75eFk6n63kjqtWy4jypnwXKkBNglpxQH6ATpJHvKm0ekTn1eSTWq06psbQ5wQJRFP9pz3rgHqjEuH35Qw6OB6ygnyp/QgJ/hOQwWKIl16WBiqsZmsV7LyRfiiajhEpxMTzlI/KvR4vn9JYfc3NPJRODAE7XO90sbiKCuazGE2J42rF3ffGoHzZVM5dDKwVsPFwARviSnTrQgNwI/gm3Rm4cmrlITTdIiPOB86JF9jmESB7UDtQ8NDUkTBBdkjcL+Lmkj7jvEYAed+t0XB2p2K5rkdyiicLO/VYLK2byA+h8SJt3YTfyJNip1KShUT4QCFIEdIrPUOz64cO3kAWpe5uZE1fYFr+AzuELKhFOVtcCcu3nkJd7vW7yutZnWRNYRZexs2zF9lHzqSDf2i4UJ/S7Xv60OLuhv31YThM4q7ZYasTGrO+9hb4RndVfWeysJ92AbkQ1ObAKU4UAK9cDf9J/z9GBLXp0+E+UDtMptpP5IzZUgrZ0XYX5q2R/kAW6ubgkmSeyKkaZNmEiZpFrc2TuD8P5v4LEJsFxTJCU2Rxmfywm23y9yh+g0XfH+KTJBS3odmr59l1t1rRqTlfyNHYg8JazNzAC+R3xpWSF5/uwngnlXtmwfLPDc0pPSKIgc1R76q6AItqIB0Ar6xKJe2niMYwNllFaAgQGflBBCg81P9sstVUiA3N+tSEOt8D4klKlIjGS8nHeWiBlhIV4emf7/SNa1Wj/PdlCjfcRsQK3YrxhywpPnKUpnoZV6GP8D7m7bqzpWz/oeKBQEFU8FnV7WZkPjxXLTQnMtBgl72RvZO7ffFUQ+ww6cze8VUDqMBmK2bRzmZWXIntNjuWfDEDo9E19aZfLuqJeTucWE8mgQrjogxsBp5lXocaXheQnNxwX/7ZafsKXtPIgS2S3d5Vc9e5pMoeYA5v3h0V0y5tSCcRE61STEAEA7TH2H3LD3i3M022slTY3jaxcrw6uVT8VbhktRPbb4b2owkMMl5VyeyWwFa0oX72ML+fb0HOAMKjzEC1hsgnejXe+7US8Ewlh5+77/+qx2WmFHoMvltyyLiGtqtJOLEhzL4hCuY38NsEzikbFCOH7YggIGybpjmIRrwltAqZ6p/0ueLWWswNqwg5axhJamMrIJ+gd36u2E+uez34DTGINLrcIbiv50hVL4PbA35ourS1rmSjfIMkW8YvKSsBWFj9Iga2n6kANxB/+or2lYhdzRtv/ixy2OV49qc6+4aVe6mLnibqtqkQcbJyYYV+sm9tVq31+/BtnUVBuavF4sDTjOuKKpY/gNWqEX7KUy3irV3VJCnxhRhAvboQvq0tEdx4WPTp36F7W0sQH22CkP7UD+gbGiyJbj0scT7xcfpOzNZFcHz6WCaVGWcLEVUb+y/4GE2kAoL7SYFxQncBTY69MzCrSgsbK2w5JgHAkINo1FViXJPzoQUkcL7hMMW2UTTEo3rACpmwrtsX+6FNTSirx/xRYdbPBKPmZWqItb0qIr+y3Dz8dgZhdG6w8oOUhCm8mfBjey1yPF72b7xXn/12pz1Zp0zJmzhBckL2aRZLKk3KkzTb28dfCbsGuzahvQ34PhNKN8fqp/A2oWTPQO0TQb3wjEn9Wy0uWxGTqy65z90AQ3USmYPDX7+w+fEh4pl5+Nptwb2lLdma8eZY7slzWEUda8qxeSRmJRVQDoP6KtUwaVVbhR+KkQswKGLP+eK6J+P1+DTT3LpCiWJvBdQO+BLzKxwYue6mF7BRhM6fct11sdh+KQDgSivJLy0aqfuHjtWfwLg/oB/wRRUXq3t6aXXzgtlcdfXNmuRll8rq9VZkY+U1fMOAQfXSWYM1BuHbFkFsp584uGmJDBKPhqUCTUr4PhfmPIlIyykSwSb5Y3XhLZMcenjHBeZD6hfAbxfQR9FWpYJTx3EapxwC3fXs9vGRiMwf33uoKUic7lg5jfL9eGkkjy3NX52Zf1ofsBHWEEcH8Fhey1MkWRkvQWCD1SB918tFStaFEinxgLUqN0mXnsvTcizXrvR0wZjzbGc+BIDtWSlqnlVO3UZhxR1VwQxnbPfIORi+sZXsCjORGOv68qbQS6ygcas6Ww3yvIsaS0BpZ1mjqNyTqNGORdY4RWMbnmH7VmiWH8z1Hr/p5xM/WZcAqg2SC+Plx9kWAXQT+8jbNFm8gYTz6QG71pW6GBuVAQsBvAe7xh9222S+wFHgTrFQpXlMYPYz7aa2xlVmnvn0HhCbs4FQWxetVCWaVwDycY4ZlnXnVjoILBQgcztgkcW7y+D/MzYUWTJn3+pPxn9xDIjRL5C0Uxmj9+tm6tmy90AlAVsYZ5f/qtVOCHJARnYFNI68ZIJ8zwJ/fhUwYeg/D6dzOCFstGiQx2wTw+vhHQMM5p73YwlMmIhdNTCyekOahVkO8PSX/OGKQnuYHsjCcJex5BildOAYBx6SnyWv6mwGB5NhrDYk8BQMLTZRxD5hJhipVH9f3mgLlhPujZHfZDzCIRqldszTPeBKK/7NwA7EUMRGXYLIPgoY1uc/evmNSs+tRr/PTAOOX9CggqA9TvwTl3qketjrCOj8xPobtf5xIXowZfwmWBQ9MjUoUY8SHwdK1znP2a3T314oJA8FJtQPPlV47GWglC7Ooa8NgxMSHJMziRr5VhCxvH+2uNv1+GrjkbB7N3hHL3qzpGdJGLMGl6FCoNqYt3aaSBXPEMN/bdj9PbQaU7DOCdpjTA+HTtTU3SHvD5NlpmH3B2q3ekmxLEnpyo14VN1Zm599ex118Io8ShWGyLHW1eV8IbZxSXdkvOSzKLpdew4SjEOUu4o2KLE3mnSUuJ6SUh87ClTwJ6tjhUXuo3u2g8OwH2JbuuEFDeZwTPIch8ZDULCILG1i+pGpqKtCUF6hn1ffXOvC3Xlv4opUBgZGcxIepBUlcfqdKy+tU3sumOWjXWGV8nT3Ks1UFy3PDRWwyegi14Wf2g3wbbr8oIr7TtSYCO9qxWW3reqB5hgW4EwOTpARlEeRh0cCI/6DLi5izWuIUI41q3pgd/jaGbue42feZfLPOuabwf+JGekc70PX3/sjnTr1Glx2+MvW5ErUZih3GzqKFqheE04K7Q1JXWiyRxB1p9T6EYea6umYA7y6OwzHS+Vt+s010vWwJFUm+sNFz6hQcJs0Q9UKZtY8SThLpm/pU/dPiqGo9p5MKQbkJ3e3LmFB/P3c43a4X17C1/gF0AZjDNGRb/ZN6LEhZQR1DnhlQOpaSSRrLwv9tcpl1axvB/oEjxB2fkvEAIt07T1SYE2rO7sr920tUZ4N04r59a0ARX/L1kOeZclm4X2Ra+zYpP3vL374pgZnkLayJAiAIM/YyOwZz5WEZL4PVnhY0KZBfgDrpquAEhw1KrfN9Pbi/930q3TLe9NGThFj9o9DAYTpZUg9s/tq/BTx0OlLGk1xL3ErMWoVYJbQjZGE6nTt68oYXD3NeDdFUTBtxWN5IXCllsjbpkrS8172+MplH4dEI+eKQ0NMTGDRNkmxDjHfx3JBilG2oZcW+w3hU8YdcD0tD5btH1E9XP3GanevZwlXHiwMOnSG1ub1Y2Z1E101uchJxu/ZQp+Nzv3va7ZLKweh8iwjSmunN6HXxDIbQdgPV5xQvYQ1eR5SMoAuw8LDI3A91IbKNT6FVtFn1vF5Jc304Jt/ebwW968Qj9BwcAt6sNGzIY+55H2xEaB7g1R0Y+usaPbYnZiBN50VqMFWVg1iOmUfcTZunuXuwehWg/1HYTUunCOzW+gI/X9jIKHLd8dQGIM3CBAh5cZMeKe6HsUmRDLcCZluN98lDZWi4oWT95ftUtCcLIZ1lWV3N92JZmgc26lbq5iQYaaokjPmmhKrgg3m6aU4KIppGgcDYmhA7oqUj+BFtGm4oZrd2Xwca3XRZ0YwSn/z/dWBcv4+o5Xi8te8Afd9GYQfkfYDUA+agUrvqM4H8W8XfrJT2f42T63TS0lg0yJFpDFJCgOlg2fteMLa5bte3ZFIH8S7+nrnJBKM4elVl4Ozb/orV19HrTY/aZC9dZq1iF9uEyvPqwv1YO//Ga7mbtjUyCsgRRkqMEzW9e5/FT5i26Qz1ga1a2+Ul7qbc4Qj1bW2bY4nnrSqMkzTnNy1v4o/woOg2sSpsb17fir7JXq9vnM1iorO4/rE9rlyneJQZYh5th1T199u9p08B8xAumPqdm49MkRvhlIA28joDSVK2fPZZvgMHWMNAUb+htGRtQD3hLiTGZW263mBHv66Bt9VlQ7NQMour/Mn25OJlN6XRX1w+5+wx0hNT7skyLTcGV/RjsMOsJHp1qruj0+ERPz11W+vvhK9UvsFqcDOM7quxmMr0o0miY7LDqw+VMlS7/QlIKenVoI1ElCjcX2crirrLg89clmL9xUAEBheESfCCY2lSPZeHiFmlYNzlCJpkaRJHhgF4TDxj+ddTSszxncjVwJQoOnwg5tv1VIcd0f/qb1wObmgFjwGF2Xx1Gj+bwR60CACtuIALnJ8l76LXaE8g4cr0gQy2BLKIk1ajdhjFAJoQM1d6rNqBjacz1u/EFDwy65m/vmLCBX5XCsh5PSejPF++SMZB47fUbtQl6EAPW5vIFilw/CJvYalPEJAOX5dJIk4ro0c2ZDVOKO9P7UcLyAqAermpuxYkx4IlmN2N1ZvCqkthADtz2Jq3XbtAaiawopPVuYVThQ9qWh1TjnGwvWE6BD9AtGUpt3ER8YfV2SYdl45S98yZzOWW8RRBHwMtgklhoEGGngQOfY6ESMk7CbUUUuJab/aWFBt/DeHFJD5u20EVlqXqcN++aylG3b920mXJxjjqbfSmsYjXrYRV0CIAMJlM4TouCbAf2jp1RVmKp5o/M2+9os+ub3A/gGCM+6VXHPaPv0cgE4HtNKCtVQwhjLtYJ++gwkHeXrQUeMV/FjGz9ZSg2Vx8tWSxTFZ/Ok0yJF9S0TAOsMpNTzGNbMKpdF4KHOu4gnGYV0zyRnueaNH4RPsE7NcMB+1kUXTJEe5wvgR1YsvRyMAWADNI+bBLJC0GnHs5y3swvE6GR4U5s+AWxmqaAWVN6mw5FcR95XQoySL8aEuPBCDyJxwdgQPWTSXTkwyRbVPKQ1LIfLs7y6UNV+Znx/wVvWrMSsMVHuN2QRnlKQo5jOvFFbhSaMu9h5xpwB1ew4JApG6/NGCAwyXwooIzPKCz2Xc7DlsVIC85QPqec3Ac4DiBMdCjZH9KSWYa+WyKhgO/UHliGbqP40QdZ0FqwpE5xbUP/OOtVisoLyu63UYC4nEWUl03MdeDkWGNUtJ4nNc5HVTD40riCAz0d9U80mXcaPAd7HfDllHJs7sawiZIv6Upc3Ai1AJD7HXsKPDQkCereclVgKxtFrCXOvIfqAH6shWHGnfp2HcepKyMSH/D68u+/xd/U6norDz1MhL/wE6QnSxhhC9mwViQ671bLU5tgkg7IT/nP8LtMsf95qOw8swt7Afcb6g9IWBzjcLYGgGS/ODzfAYQIsnbvOPHU5Bn07v89G35k3jp08ARFVYZET1169Ju9B3IvzAOv+tqy+uo8Xk0oV8vgbmNfjvR0HHXX9C6Stj4Mq4A2E1gLg78DPaXifXiKESTLvm7k0Tr7E3T+mbx6nXslzdbYekOyBQbgkfHHusEEdsvEJDKrxBXa3qlBgN/+we1z/WzEoVyLqmoCDHQTRSBYbIRCLaUF9djhXS9Yakb9HDPsaNJiUeRC45ZA4FAVAXFRdjWC5N29Yngv/HsiUh/yg5HxFord72gZXTF7prMP+ghYYWxLfJNAxsLt3j3ulUJT8hN1nfGKdsx2NnvW1gEK+aOa9DxNAf6UR3qNWmFbRr+q85KfPcZUFbH/NBWtKE3znFAIwiVjtDYxERMWnE7KhZhLMaJlcJtEfaJ0HY7yRGOW/S0je6vjYdR/Ppc+TF3UaGkBffFZXtUmkgnft/nadjexUZcr7c7qQ1ZbLprgbMzuEB4qrEqu12nFbzjqIcabdxF0GatRPYqiNX7yY/8V9WHbPNvRUpLax6z4ag90lH1SoZsBc6kTMOrpQ0l4F5WMnQtFwOcPueT3o6YqyfuG8eyuqhclr9gdNHDZq7yZYSjogR0vU2WiH5kJsHqVDQEtOLeqyzkCfGMqiMR67C2tuqlQdhGo+8MSGcMk1dgktrdZ3bITvqPuCCxF25+ClhYqjKgqb7LTnSJIvyzBUlg6TcGFUQzzFmJBKYaMnJwcNSdC+LuuSdcahW+VFMB1suChb9U9a4haPNDKAnO+UH8I5LaQ5979tlLED5cn+3kkWQZrRjIBJKCI4tj8X1y5Wa1DngY+UL0PmdAWD2aRmxovACmIdL0RvQgrp3Sisz/db7+Ab+KuFDKom3g+aO98+5cyV2jr1SZbBaIVeP6H4ll15JrVU/FTKpjMFZmv9F8iJc2lqHauPv39TFQQpBpja0gKg3SyJhzxyC0BT8QXDeOElyTxUTuHiDrFC9W9U1O0yWkQJ/EaucYV5vRZoJ6x9aYnfIaARTMXM4TvM742Sal7/phLOOSq/tOoJoaW2THjx5Ybrg2zayLl8DUNne4cGcyOKX6+gk4/nU0egHE7kLRauYgYXLhgURmcqBZJSHCNWGBnyKYcjvn76BllQE0+7QtM4B7a9pqJvF82ntqEpfrmz38zH3jJIeLL66glJEm74wJzPbaHfubJoJtx14nuhximCuVaNrT5kOszdaKGiml4Pge/IMb2ydXP+3OFgZ2FJ926moKlSk5uWZBJzrsYcywMpQPZqLIx9cBCyNoNl+uLgmwSLz6ANPhjNdCZG3oco9ltYD81pWu6sbNGeRB3YijRCYxrNYN6pGzEaQqhF40ipd+zSX4jLDcxVTAtXeS9ptb4n0ktrVF3p4FjtrKtKplo6YLGYP4pyz0/SJqW1jFJWCvcP7povLAzN0+RT64bNrrJh1fF99GRa1W0KhI/qSxKwujXf4C+LO1I+k9PVOrzsKWBq2cYWuiUSQ3sj28ZUJahnWKcxSqwGQotnHSIlfai0sbsgt+CPw6ocefM6rEFlhN21+OwYo07t36Qm8OjbX5cjcjmpr3liTe8Vgto75hahBxS2pLlZ4+Ej2sUdAsUSVcpIJ8YRIB646t09bjL+brzB5J/mflOlGWPgqwcqgGJTIL081qlSA/epWEk/PAStnekm03YJF/ruDTl8z+0L8G/AiT9/LerXH4hwI5gfzd9UtP9/aw7tZ92OigEQFbzeMQZ/CVQ9mLchvwTaGjZ8lXwd+VXx9VtbvAdgaHZdMxssstxUITrC3fkNvm+tS8LiSgBsvggX8C76Ac3I7zDdCGSY30+79T9cegGtol1Q2ZT6XMikeYBeYbKKWqz75OOh8VbmaNtSyON6sthL+O8fjrSe/rSiQJcvpAKFVdvxxbtL6HlEvW6dVhgBR7c4mSwKzb0868fZortT9zKcrWEDkJ1ybmdhOVEptPCqv+Mo4qiyu9kljPrBvoWK/uuq2e+aksCXXrZVZYEKbXoxNB/gWFhhbaHQ3oRcelngxRwcYrtXfyodEPFeU//5azCYqclNMr9ppIcw4fIqcnAMRsOufH5EKh8Jfo2vAjKWzB1TUphdu/Whupis04mRbuGY4zm4lUgK/h0av/ANrYQgUo7AKFerY/0C0F0RoSXJOdc+WrP5FeGjwm/uNa+5ZhbUNiERR7Tqzge+m2P4TOd2ZdYU5Rf55qN3BpxNLMreEnPAE/Tmq9LimeJ6lY0fB8Di2eo5Zbrll1ADLwVF9M2LQnwhUKP+DYi5+lvFuDi6XDEHHkzG6nt3W0XhHzx85lPWooeoFZMAc0Y/rMRv8L79RmSRk+SSfedA7uXgNsToWkNF3lnx1BscpsQLnPqU53ld8vUxejpybtKW/Py8h0vwGCUxpT/wjVKP8Yf1BI4UJofGfqfldzLp/NFFX45PxNar30hw3nJ2rmR5tcK+1B+I+6mKiW+/A6RiRZ7JBqry7+d4guGhx6inJSmjU7i+amfus1jbgc+G+30HdCbFdz7cTVh1T61cr2At55GUd0Nv+GXiS4WuH49WdXQewLN+buX/b7vQWmEd7gXNgg37vkhnmdTz/7EnxLurIHCK5WIbT2j108Mx3yGJncuDD67T0Yw8TFruKUz0Nan3z9C60c+nO0bh0QNSNX6JALBfM2Zogdj/oqelEcB6HzYDfO7BO7WM7x1y8Hik1yn2vCSlNCUQ0yyholjwWVtwKr4MjmHf8zGfnx4D1H6uEhQAT3ptS+pi8Q0eBViTmPAYcCFtcACuulzeeRLnIu0aJwJIImPQ8VILBMv9On3R1OF+C+YOd/G+/yolTrz/2rlQrjIPrG1WtCkqtsQN/nAHXPmj0rCaFu/6GqEy/ORjBHuUVLgpheC9g0/v5aHVJrBbcSCsfzDFpmSCDlA//kZENmeKWxzpljSqChnd+g/Q5wk0Sl5LIdAlNYD6IXWCNNeKeEf3k+QDxZYniloEdv2XJCPy+z4P8HBH+kXOyOYxc7wwB70Dx3OM1c87CdSFelY7FAg40naaAP8lCvQTaMEx1g8cA/ZZi6imUvlRjKV3RCOrvonz+9Y//ktTas2E1zWDmSynUB81qnjdQrLOqMQoxYoYDquGp6Cbf7ndisJdU248VhwqCnOkwi0LR1xcIjHhuWUdMsBBwXp5xQLJZTKXPTzz9Lsj1awUNTRzAWPH96ohyCkAbXU4zRzg1Ky4qRJycsRt9B2sZw4NIsy/mkqX6XxdSyYP5r/eQCZEMqHD22mxxUY0BAceu0KcXJiujUOq1STX54M0MgqWS69S57tPr0asD11s0ocIMjToXgfUpE2uZf1Kzu9iLuDxedla8QW4adonFYpdBw835BAkIGoIRCrBKMnApZemnvKFBFKQvtdx/N3CJhBs0FOD0FHT0YEq3DSPaFlNAtB0/pb7RbODIDsJhdpTPn8Na5BUAk+keSAbnDY0ucFNXBZa7jVWAjdugkK4BBjghbE6A3RsEWV5HfXmykOrR7wLN0aV+PcceT0/55Wxvzji8JrmFk788U0YtlG443NelZOiUEDZ6WH9dGOsRpfdOGS+a+HO6NlOdvp06CK7ieVSmSoj2p2U+01N79k4aT2iFAhbM98k80XpNfFJ27KwSte317zJNkX+kQhTMTOBi6zaOJxhS2WXfJ7/5du7kWqtuNIjzQZ+vdtZEe6k3wiGouZKGkBvdWVMuwS3nqKvYuk92XwjP5GtY075Yjn8qe30UVkr8QTFpcn2vfVpTkD7HAs3lQAWWhgYYddJDK+mUDVHP0mlxripvGuZWqGMFrRa8EJXbOvpOF63QjtsY2GYRFugciBZUd58w6Dko73cQh8zYKyuKXVzqkorYTFYPFOY1NPLEjA6RKqFIQFDGUOTwkb32HAWFR+KP55mQsqk2pnK7OlNFXcLB9ywxqHcHVD0MyA49p7X20sPD5H5dD6p70yNtbPZIqTuSwWbmoAthEV8NwqeBkeT020or8I9rLQWP3Q8VXDCNLVma1eE4VEzS7TphhGrMtQSmsme+RQ19A9UIXykvhUeZh5Wn3/38KYgGvAeiPguvjkTBD2idByxTZXL0e6QFWdfP8QUygl4N1X24Fy/P/n9L/9aatQp23L7zIDz32yBYdc2q3VTSNkWuz4S7WonulT8besZCDSTUM1CiCdfSpO5ITq1a7BMN8o44vQRyo8ypSxnRA3ZokUhdn35IE3WZsfS+e/oJdme0gsKrBxWRFzeotg8VMJrdl/lA7i089XZUmixO2y4KoNTzU+6O5YhEFIAnG6Mni8KpcLqnE/lz2Xc+TdT659UsbQPmaVaADe+CMVx2wm2gNG8KdBBLCDaGTrq2Thh4RUmu5XHWiv6MM9QnEdigWZu3Wgwu7vypYedxSLb49RoJ+dEuExDy+4JUvEh8epyAaUaV0dGP1wR/xNvubJkfwKTvjHMjg2+UxEqu6p8hoGMhaOgF/nabG7Sjo6Sgd8Y6Efh4EmJI0298803unKyvcdcvj4XDxRqEkVx0dxOwHsFqikm6iMYoNeejMu4/1vu3ZTHqDsf1tDb4d7vZgKwT5E2W37pyeX+38x/dJzPcs1veXLliDS8R8Jwsf2E5mGdVOJJPadjQRCY5F+G260iKh7p5VwRqJSpeSaPsSC624Pk3j14VyOHkXuDWGlNW1mUNrVHdL0RELubrfSyvb9AcvHTNZXpOf8BZcWZxHYp4f2/guLKn9NcsmDLoEc6CnsXebrUSJlMhQj+QcpdOfaajY95YvaQqcpei1tmeD82LXg2MGjju9rchvzZCIY4sVd4NWpyvGl9/Ld19mD4ZMtgoV4XkWZWZMpufqfkzxufkYFQ9JsJPGqYQ5A3YeBd0z0Q0w10ayBD5qeigzf7OhPEugQt8bg03kTviCP6znS9iNWsMCsbuK6mCtNfiim8or0BX/pfmiJhzU+/r6qoaS0AIKj+lJcfnrmBNXBoxSTmo4QZ94CFIhh/eDsilqfpRnSeQQ32kS88kQxhD06wkJ3TKZEY/u/WN8ME3BvHR/ByrSWTSJYH0AkxgvDtIPQTxqqKCywgY+6FO9wUsiifyUkS8sQ8mZUY+yEh9q5uHGr8rJGSIVXOLgG1VvBaI7n30IbP6ufsT8Ao2kd+AZQLnhN72k4zmoQs6iX4kKqm804+Z6aGeRBog/npxEYPam6HES+7xa/uWbYNXHL06q3EPmS6u4LmkH9J9DqmKEVlpiK/MaE9FlOMenBgvvm70Ys8k57Eio+2e75o/gYJHYerY3lOem60GKUw6nxafCFC9ESKjmDKCWwryQTuurZxQP/llSihrE5kiLHAln2OYUBG6cxtpBfgyWEXWzqGiXCUMfGtsLsWRSCTVnyP0SbB+VUutaZkCqqK5w/5JW4eb45uH/8i68gU0wkghkjpYCEJqS+ObF7yMlal4hyXwxN17lKa56/rxr//IVJwsD2DONS8kaZg0QTRglXucnA5Pot4T0QYD/U1h0tq/tlnwI8IpwyeppGfpcdgXn5OEApFcgCyQvJUJIfYwEOKKO5nm2RqpcwApbCYzN7sCbHz0L3eu0H/AjOP3z7YjDt6XYbNq2UAhnUw5owq5gljQYbBYiJF+RMLxZRrqA8fzqFIgoqmDplZCZrw+ZkdrPiHmYok8pTOdpVLO+EN05CS28ABt+0WWBziY4AKRiYW645WBbQuyeSW2tayGoSXGRUrtfYwOUbpTrA7NKv26XqxyrhpsycPAwnekYiWAeY409G8LPnAZY2ybz354AzUY3ticDYgn0QRF6QG8B6xi57xZZ8rRcQxxV9Rra9TcU6Xi846rY6/55fyd0cNx1AUqay4+lqIzvxDsK02gb1mGvjX3y0IA/Ynx/85yYoW8gYgB3aVXU7d6Z+KKyk2LcS4QZdqY4LMIGFXYDRKrKM5iq/KWK6m8ZwCRexdIm675T8tJaCgUH9sWMTYlb3CXHMDm2uDeNDbdSY5B6no5nocncf9oNld4NEDkxov7mmyt/GMjgtEdt4zWbHN93IuZ4rcv2Y0IeoeZ7zimFoYdSa/9IWlCLn9rS6jUHG352UdMSUlYuX5n7lKcBzkco71AuUgd4lmQpRCKcHmYT2CXTnAGB4HBvc/KYJO+yy1ZsMMNz1L7fx6SWWegOhiOw9IilLCbifRwopli2Iow7lVfcm0MfvkRit1OonoHaDZGE8F9bMGF2O8mmjIx+8vMp7Y3ehKkUsFcpszKkRx+tsiuHlHDRY5JzIsvoXP9M6XHpfix3iaTgYl+vbqchp+JkFamzkJ9EeRNJvB5jvAvmpVguvjg3ZxSM2lQ8EhZ52RzTAWxHFpLY+0uAdVTKYkrM0sWwfbX6emgXp5o3FRco73IlUIFT+dqDqiJPYbV4hn/HmHKNh1gPEl0cXEwXFlsYbyBx04npa3VFUZfLCFPLAraU2ihjpoT14+iM7KdEdSQYuwBjZtjvDJCFcteX4FPrS/gkabPvSOyOHw8jI5EjsqUpF9oUio6WuW3wtrJ2uLlGnvBuRnj9tUynxmrvjOXZyWDm7bn0DgoOydZHmi3rd+8QXPpCN8JfFbVwFnxd/X88rfYg1kbxzCWvIoDHBdrVT/yrbF93KvWyLAjDNzurVSoLO/KLJLQNXBp60U/dM9vVnpHjR6K4f/h0UEun3g2TdejGNSDZx8/SfKTGhA7ls9CBWvfXAZcq8jCcP3GzY4YjmuknjYOQcmP5XavlmOl7IOs5nP7FM3pKD2yxNt4BZuKOn9m4YRLo8UecKpvAtdshwBO6vjj3L0GYD23+nyv6k+m8aLhFMNHhBIGPCTrQVEGK0STn8IEklc7gy+FImnneH2OhZ/9vIVHN7nIBAKQPZ63teBgRjyToemqgs5yODR3x42veliU1vhCAeorgrlME9lXfe61ENZxKsXF0ZH9PKBD/uZyGgO+LLwYW4mALNfpExi3rXZ2YnMvllKGv6c9fkQJRMRi4YZFIPsYSLPOt2pnqhPeAIF3Q7Gb5mknKr8ivMuOeJ0jMejITUA2AuKPqMRcJENPx14r574M7pODs0t+RvLtGHak3b7coQN+MGmvDbNH58/xwczgO+VbYUxEPmnv0HdDbRULq04oiEDD1U1XMJcMjQaIJSY9JQb145dIipOatsNgpWhKWRWH2lWeAja7l6z3SCp23ANrpzYflMIh//zIW6/Y3iexTNEbBUzXewnWAyE4t6BfXLdYqZ7gCXomBj8xjQkDPdDnwF0MZ+LzFRi0R7OQ1h6MyyUmfnqLcBzt3Q6SS+cM/Znks7jc1TsagJW/y+4mxDBrhTmy2R7/GlDB42bkLvdsIQJRGMBN3a74OMsgxZhCpsZKCARu5ODPZwTElQhy0CwwPTUaVpd5VcE1nFsrF7uRE1161+LLLLunPEMGYi9FaZg2niJkSvD2ed3YJPBsGrwol4k07hkNgfOjVGYgkfdBtYZvjG573CNIq7cMywvQnRLO/uJP+81YaUJf7tWPnxQuOBHfo+aUMKWbEmi+YoJnig9nWWAoR8TdSNsvjYIK45h5zB0addhVMl5ALmCOSBuDxgHCXSy8+1GS9+vI74GfEhnjZ3FkacW+LQ8ognvPkqsvjghEGa+2RlhhmEmM1kg0GtFF6Gm584Oq8CoXGAuEAsjv5xCz8LoGewB5tKT3XBj7EykFVuYGTcGKiDV6c5e6GH3Cok1IyRo0QjlbhIugjlZ98AR1s7Ej6jOqIYIxu661s25SFzs+dVgzD0Zy7fSvBAwT5Igl5dK+5NTJix4lD/kpK/8ZEuXMapxrgnTeTJMJkT7XaWhjtB8WWRfRmQO+XyTJZQ9ewUys/LDU/yzdx5RJjgHl2RKfp4r2wzjyoIVfOoOCbgt66k9XLGu5pYmglEgW6VbwCUQUlGAYa60aY+UPLbr1fQxEIrqrnMQlp3KkYYVdO16DQ19QsH8nU17aSJmpxcm0990dl4Af+YNptCpbABAO0QJUb59ZIJLcIW7oiBcLS81PE9KV6as1wscnnsv+egiG+nBRDpD8VxkZot8DoKILVOrWSuD2TV3Yrb4wYfjcXxr7zLAWB+rXsx/ak8GUyNQ7RmXEApBAtjdW+8/0l3xVrKO6Hc1niEtJCWKvOLdnhIusT8vYnAJ9k6VIv5pvuOAFKWu2Li+k8ceXxVrgil5coBvY4L6IpkaDvwMHrwKKOAJ5bb/T3AVNOcsvl/2c9ZE7jjsVloPzrc/DI9higiIxfEz/9ug6nViefqZ9YTCw5+L8Nd8wZpiGf+mNt+WyK13bkBudRamwqP67B69wqc0Wj7Sy+gq/L2zC/T7qRbJEWCDNVoV/bzT3f5E14JKFH+q8ndjEkOehxmvil49KIQsa7e9NpMm/anGUBeGnm0PBPYblyZE3SoufMuQoCAWZTjKaEJRmBcvsdi9U1rz3u6XvtFu7ONx0IzhkJnnr1oTpMo91Zk/RcU0iymGbuLW/RKvz3tGjbUJzotsDyzBzwabKCewJClS+SAV9Ru+SJHfEzHKqD9mIh5qNG8Fieze+LxVFmk3TomMPtefIcXvZTBk/heBd+n/QEn566s6G+v2mc9dVUN1YKnIXRAzW+S1WZeu7Kr8rDOSNGjzFe9Y9GtEcbT/ndb97zne7GMnevY+pYeX/JO2NILndi2Avlyypd0ExPftmdmI9K3hum4hWG/yH1gHr9B9rGy771y1Joun2UrL8YwEreKxVkIxZDGghHj2vPzFfw/19ktbC7zRE4G4LcBJLw4mZzEhgMBHY4UpfU7LkBmodgjTlGiKIxsyMRgs86EpNlSZvBlSE08rECR8SsRxQS1F2f5O5c5N3moNyqlSetRsWniu1sxzXRf5FTbls39Ph1azcQAMtUoYRKb0Pv9WbiB03GjXg84n8qTm0zqfHdY8AZXP5sGZ8rC00+JZpx3mrJZgg264Q58WLkOZei/rci4+d4Vvzm3zI+F0Z6/6mRzPHjvPmiKeYs2qnkuPdkqGlNdeCJ6gxnsPdkQZ0q8COgoji3uF5MNAZPW+Y9+ijksbFPV9w/9kfIpQEcw2CQm4ABky2LzB6eFB5gY8Mzt2v5z0Sd+gsVzXoT8FrvKl2Qwo1sAl0KCD1GHXtJ5OOmWQ7kLQBv29c0jPcMUxS0tFbsy7He8beZ7FPzQ1v0zDiBDw1zS4qZ85JlAMEpW0fzHwIyz/9DIa4cEu8da+Gs/xTm02W1eAXTpsWO99hZQGFQ+ex+M1pvWwHAWZmfA7syWNKqv8B7T7ONH2WmPtt/TkVKPiIc+SAa/sLv0+fCybW0QCBUkxEMhDsUe3qXQmX72Qf378YbU7O2m8cEWiJLaD+QoBCTR21NXWqsvT3TKw4ZCoZx9z8eWWULM4Xuaj8WV4fX0ADYEbIsNVXl1rYffrynoKUcuMOqlI1mO6jk635odhugJZXkOTOaoRUmeTtwaHS7pCfQpOYmm0Xmld1zONz/UDXHHYu3QzSVWsr/yp+UIC78q834G4C8sXp7Or6XUMI0j2SJPtZ/b+R41gMPytcWC06jw+fbg1iBE9+vq6aWaS/4KCKWCt9XoGHQZosf2H73oFAikrok2ncODxwBFXIZt15cZcd9afEaXLqh7pNuNjB0acrGSC+xpPmra6ovv4T3Upb+X08lhYM1YapnjQMtLdoX+hG21PTbHMFkqKhMVF0VEkS24N3V5wOcW6JpUXb5RyGr2SMjxNkDDfyAmbAc1lnH8F7It7YOD/NDWocnY0Xdt2HQwhQHkfODonrr0zf9prJCqbI3F7ySEJ3lRwR1Utq6vD9BbJOjsytodLcUt6cZVBjkVqrs8ATioTu44FT3VbEHrUc36S1gVKo0T26sACKkNPvLOR/PgskBuDOUhLRZMVnwNVho9eWsgs8Wuz6FrSXAk2ou4LVwwB5LsUGly2ZDXpElXCBR2OIy61BIkPgxP6OjFzNWCRsrIovBhbepsdo8WtWgUG9OHXSfNs81WmzeLZIQSt5hbxo+zcayw71Qg9mbTetKl7zoDaWxYpvnWpYMi6Afw/VelBm81qgr1qWRKxG6G2nbKRAr0dGOQxKdFe2QfHLAbPR1YlUoTbr3q91syCixg5PEh4+hee3ATltd5eAuC5HZ78A4LKjeV5/Pxs4wRk7TNdLa3E3tfwkcT1gkgtILhf4VpRZ7jd7TOxd0JPdYqxJ4m0rXrYZiSOEGHA5fG4Dgp9GtYBp1bs/fHkA8dXl3qeaSYYuXTKvKnbmKy11+VBOTOqNupASDUNrgBqw/EFdRyboNZ0lL0mVpyqcDiLCeh8pickvAeD9anXO1+I1pKyYTuh6Ex2FIuo0jVUSAM3wtgGZ7fT8VAfCSAAzXuYVTzwKhHx2JIjf9oSFUbyglWZQNo2XUQq9BCQ9C8BEPwQpPkoTB4RgF0jyeXpwKssaEPub3hvlN0mK+ZVSvIrKCz0D4ZDnA+NBRtM1qcQ/7jW1Y14QXJVkoa2YHeI8Lqie0+wJBcXqti0XXns8toRBrmRe697BuwfoUBva1BCeVoDJIO4EtZ6sUM5cbzaOshvaDHIxGUYL+DUmjKN1hvulsSxXFsoYU/sK1LfAI4FzagB0vyG67lsys1JmSErZ0xGD/+SGQGNVYNaPu37E5RvSjENX/2TOsCyuVOY6bZ/O+vEU2n65fJFGW6N/UIcqUIbraYP0JF44pud86x3Y2jDOdjwf5C4rrSrgNO3RSNY2lvsHu984TF47pyuD2QnMaCXwvjPI2Abn42QC/85i353MWawt5vWjXWuYCKX12TSCilIfynK9kqGyeuIl7k2AmkL7NDl7PtQsxfJRSxOqope2byUpheCDNtX9Ge3QxvxfkavFtbkKd4j1yZuSjF+he9i9humVYit2EjYGjPmx7bXs4T/kBtvM4SYdeReN+/2f0KhoMsFrVaK8l4llfK9MpldIjrP/l0uS430mFZMo/aCrr2ykRdRIl67ibGc4X4hRavsRfK0SXhiKOViWYBLV5N7KbNO9mMUXzdCdehgXI/pG2z1bwcf/tiFJEnluLtKECU5hmkFXZQvcMhnWZW69abfLfmYVyVC2pwpgkNrAuzTGuLB2xhVljLElQKl4xfKROirEdujYZ0iMOnwHaFS1qLPULn3wV5aJwCKbOZPzWELTdFL04EA7EbjARsqY5mxuObMDiMG783irbriomLI5uELk0T3cD42c1QZR99NbFibDXw8K4pLUAGeLQpYYr3BKYxEqtDhiPlUAzTPZRwwjGss6F1CV5YY1gcRjR9cAoEJ0+JCbkzJAouIjXKnwR1lF/pbCcs8dvgBLjihZPrermqgNqIoPB++6D2OGU8rynJVPWDuHpKy3AqJiFoxFFgCr9X42yYWsWAAO+4nKLMd2V4Aj9YZugErsaMk6G6xjXt0tatG6q/w0Xq+O/EOSu+evMgJpkixSzF0jcAa8ZwoL1iO6t90CZnueuuTP1UI1o8HrhW2HAHpk5p4VeIB1t9y++ginPJCfhYcd6ZQKj3ZBS5qFSRJpGRV5pGexNd1CDm9aFF6ccA2INlqy/+VTRfN/UU9AGsPlW+N6GDil3dWF+oeAybhAhbb29KKxFVCKr8pQjRLb1dkcPkng/NijZNI/UdmTwZhK6Jwva71M93/qGUqRwdGYGd6AA4bOyTznZ32hROqnEGNycg9z1XtFiX3nYck1PCzifkkpF3uSWYDroB0egym2jCZhDCB/ftircZzw3yfAHMfZ2edzTcxD8lvHBAVrK+9mYS8tWBM8kRwvy08fdf7TUgHy+jxgGw1dIlZ+rEPssN+4tP1JfTvJE/8PqBjIONIixO056tMHX8BghnuB//QcJs0jbAmw/X5JZ2nlViaoGl5rAN3fYAzdwoKYBtXZDshcYRYfcvyq95JCOqzlXn4NMICpzZUFlBR+5qpwVQ8GppHIl1B8bxoYLgPmi698jZL1OGydF0jc2uTPziNZ9tTgjgRd0L7K1m827l/rTI6cI4zUM+r8YZHCFQh7AesM5etieIVdlo3tHo3J20aHc6ExzNwFn4Sa8QwX784KalUwoyU4MYSTc3A58nrw8uNsLT8AL4RRbIbRS0TRY40HQkG2aNI/nRJv73F4M+SwCa2y/+S8Ez2ymVr+GJ0lZhvrQf+tuCG5yJ6Aee7BYcVWbr6abSHsm6btmiLvETxx+R+e36hupwcrGU/XaIdfRZxymVD/4hUOTnWbDBq8d00UMA5I4cjEhh6UQ3DVmpVgKuLbR0NzWGl6tGU0EIdjeCiX8asBZt4BroypvaCMpHOnVS7eQjrrFuJRdhKXHfnq8bROjtGZ53T5wYLNHUxu5YykrnrX+RcRMZKtaNWDIaCzy5BH7IKBnunsBbYEtEuwY6+QfYlLzf3m8rkRF/XQ4lLf2q5ax+X2im5gctoJl1fTeUiZiJUBzZja5sg3HHeoHkp+0N1741T0QFQdirwGDSirmoGsQov+zCN1GUGqOZjQnNbVn1sZVWlY5wvK3EnislTFeYIUvbs1OaX9ijgssD2vO/IsH/Sc7sSnwjm3tUaZ0go0KPeq6tynoRrrojvXi8f6ziHMmxYN7+e5X5uJVurRTMAuTAXdKNXjKH0TEAA7I3vW1iXNduqs9DBdXSQ4crDUGS8WDycEWSs0Z+CICo71efg0D1Z8KL9vBmMpUoovHGSVbL/IGTyGC1bqXhuXVACXFhyVZrJzrC13/eZgNT8CXX66HYSHQhDIrCWIKmKs//bqdjKA+saT2dE/5aQzppDZ+GkzkFMl3gzYeywN3SyOvsKwQmgGxR4afF6YUNDRt/ulLJxsNz3i0gis6RsvwxOfy8NElyW2vaqIjGaeIXlzxWwwCg+YyuNMRqaIxEotfHWND0MykKTY4iFcOSYOLq9IZxj5fTvH6q1aDALTJIgu7pqIQFzzw65q5buRyPnLq0xaIlXe7tI3pkIvJAykDotyPtpdsRXYTn1nEcZ8tq6VJDeVG0zVdeCNm/esFCmvXCDyB3atNb9TgIKVR0jLIuzG4wnuyK+zJaAo9eNgJG9L/l16E5tE8n46l/2TKmfhhc/mUqBX4N+HaWcNQjid1TyQZxM762DQ+B9DY0fNxAMAMwFbNi2/UjEAWzMl1m4odmDyFQlAiLgUnYmoX7sz51rdNmOY3rGVEN2MJPHfAH82rtLATX7h7Nxg4QALYsXSEfU2EeYoQq85AZdq8PiaJPQky7LIEGQDV+M/m/Hux7DF2p2pcUCdBhQEmqEnfvdLOAYHByPxWwpsuZTOT9KqGgCrSQbcKVWYNW3P5lXCyvS5/wu4Q0vBxHjonNAKXadsWmR+N/38Dehcd7oAJiYBLzg/LhX16tZ8rSHOVV9F+AMjeQFx4QNXgUtdmi38aXkzcOL06Ee+gtxkOauI43vMiYHr2wEWwquubuqX6+yq8XixvRVxLgo01b+moa2cBGT4HNqqxYUezPmvwnSu71b1BnQfo4D+Oeu/2V3julzCQ3htRXL6Hl13veLjT7mxVQcE6SyVr77cZp6vyfp4GC02skVHotfbcNoQXp1Rebax0vXD2KcMboEJ/PoFZDLIHAk4Coz60Hi45TzGA2Ya1wf0To0SCC88hKEkMOukg5EGgF8DypXu8D/wuk5DABCTl87KNGAjBEL8gojZw3aMi49dfE8MGxT5Y5Bv+EB9e6gDN0+0lXGn3Whjw0iLfNnRANoM2TLjdt6UZIVMxXbAlFyNCi37F9gpIekJAGOOztsc6o6ryGZ9KISJrfqE2Ao3DeTx1qy0ED7ymQiwFav2+8roieeNjISmOzwloohuW26Alo1m0Bg3dG2lr2pN1zA+POXZ6kth+2bZJgPM4pefTeoQnbvl5I8BXsqFrEhxjhQl5rsWsrG5DT6dKGV5eDjZbu4/E2y9S3jyZ+p+i3eePiqF2plufd48PsSvf6RulhjpmAOoB1C9tiMbkE9f/1KLsEbVdkjQBL7T1ht60fe9yZfh23OckWchvjOdp6BTg7jKrfxDkAyES0c8jZEXHvxvJq7/f4MjAsRodGQOv6ZLkhSkKDnMTo/+lMm/4g5Tr/DdvZrqGV6fjig+70bt/UcgA6RfitTpNnf9kHUaXgZwjiSJ1uCCQru5WSWmsDJ0y6JFr74JszhtObgQUVorteiWsWoQZMp8bYEpQoxQ/id6JhJZx9cf1n2I2asK++KX/aDhxcCXH8THxNbd54eaeqU+aZbOpqmRleCStv/p3zY+PzMUh2wutjkpUnSOJEH7gPJga5rXj84slSSnncJd2vmjdVJH0rV5Cpm+Ah2XhmTRRVhm6bQT5n2ZALHCrm6n12UfWGKCDLpeBUbaQVIaWvExyZHqHzVLP0hTxwkMw3avjHGfDom3qITSPZddpITBX5ZhFroXSEgaviw6O3bvYJLQPk6Efy3NX+BLkqr/Ax5gUfKEjboefFsXLqoBLsfEIwkAmFord2DlOsS4wEB2++MV00mPNo7HKHJLrF1mRebm2AmUEE6831J4Tk6ViNvOFC0kOe2kCIW4laknls/5yFcmjFNZmZvhxJkbx13AdLgPJfHDtyEiHe5DF72m4QM8neIQaIxKlCRvBd/dV5h+9y5qEiMdITnY89RKL6WvoBosXUFQ+6AnV8gNX6q9C+J3GqIk8288JMCQD/M9vHaGWht8a4fl25FgQ2N3tfN117wUqvkFN57jLSvCPZmhW8L4muDTTjY0OjGBtYmKNlbcgdM0XLYIYHKK7bStjh83+e013u8gJgUfykcyi7v6zh5H5MkjpZUzkf0IuUruAqAenXoVlgRhSDPftP4aaHyTFOHbdHfH98ddF1Fru0dMCV19NKk+HeEk+CFqJBcekNeH0H32lQGy6KiZb8fmrXTV1vj9jfbd4G28bQjFAMEZC0MRHiGme6tmhtpch7XEpdvbG1tQHHGWjebxomjm/1J4gfIsKqA3Uy0azh9pfKLqr+MIke6BESZD/hzLPR8gmlB+wU4L6dd3MiMOsRhg7z4EBIFHlPbCCXIS3UJPQlikga6/xQ9I3oVWbJuFbb0lRU+jRbIkEWiu9LNzTKzXJTtuE//FqFg8fIYZ20XZUJNXuDqlIEunHWaYOUK3n6B+McWxA+ZUrRx20nsCE1rruF0TnLRidXIK9JGwQ9mP0V5rvrTQOYYO9o0rQZunYhUADJYWSXG/tcMOAW0A8Qc4lief56g3pIxJ3h50Cils8mAv2P8gBLsxBLiMrm7V5PXsyIzvR6a4bGZsJVLBswiORjwSvT2UX7GTKLtcE0YkvNJrCjyyXJCFT4qsebRk+4YiOKZhlqohq3YUpjUv32CKBYXGGrhERe3pyliJAPDFLGLSXkuicRTSzy/5l493Y5rwcVa+kWcgIa4apxAh1L3mEg0JlQU/P0f7o34lSKVJ9H6bBCK0w37RHwuDb8G/tchawzdgky7sfDcnaTASArmDmSW1MJKgTylbwRQls73dmEgpYUbDG7yL22Hr6GZPk6VGsZscGP6EQTaM/A9xmGBYl9s3LAOCgYuN0LBSu2/shrz7iIDQ+xBK5fzAmsDqmPLor69tsrnG6dF/x5yRRxMhxaGPXgV6r4zaaEY3OlWKojzeJDQ3X3NcACn8xFizSGZHLuboEWsVBW7QRdYROnu6nVMfsjRgctMUQmHnDPvuHV70rK7GgwqJ5qGKrSA+ae+EHqgmMVWp3NrQ5stF5fXXPA5eHHHQTc17MFOSCuhyIMjK3q0lDmKl4TUK/pdgrin9Q4Ux1jW0xHcEg0EtXAFqRy/OPMif1t9XETDsWmIVXfS9aPD0IrYF8zBl9X36hyoXm/NWdFeVxF38S/26QiD2LrqDs0Clws3w6C11fScBlBEkj/Xc5ILUtAozfva+qBu9CQ6AYFd5D8trBsB2mMSlxXlPumNz2hEyAZ46UXPS+wM6GbmdaD+tk8aEWedU+L9r3hDbpYDvIbnVCjU6qM3f4weZN9eQdaRZK3nDzsz0N6X+NpqpPTqcCPhHTZTUBIjq1byWHf2bE+OAtCpNl+eJJHPWyxapwWdPv6NH+rp1er+ydGus2pPOjXRM/iCbN0AIkKh43Ybf1A5xR/bY2yyojmK2NUCzK1q2cgNyk9DOhh9WYeopPPCYLsDu/2/oHQluf0I0oKir/Ic8ykW/3eGCtqrDyGu0LxgC/mCGLu5W/6CYsluSCExCPZPjpzLPRZbXQXL8e36a/YjbS0pRH83t/GvILQMepL213FXaz3HG0btHkeOLBMWxGetFDFc7VFGT+IxMpb4GrMKFxYQxHu9wx2HrDBiqvjjesK1VIpg5VJGGtLOOnGRmn2B1VDfaxURtolRR847DPMJDpW24+PpPeWlrx8juFWIlqvpmJg2KG4UKhsPnIxXZa0tdYasZr9Qpd7oc8YIj4rMvbAOYRd+8rfviDxNJcHa5DZEJVkVvGvlDZp8H5sSbrDjzoZi9HNYIAx+6AUEVXJ6g2wH1kblALnPYNqzwSuQFQl8RaZbjAfTGlOnrTAa426OzERBv+rCSCNO4JWM0hFWSeAcdXRwnMohckW6K7nfRSus20U4LdHhODTdwJU278kOW4p6MRvPWFgzI+YrAV5tAQxXj9rSeS9Ma9F49yQjCBQ4zdF3rPbWDUhzg8DwcckZ0qROTEJfnz0yRkeSIhKtXPoDVz4jzLnVFWRX5UXe95/4C8ZW4wX2kCu065htq2TlkJuoMUIPmh5CkNA8bXtMb4k9y3spXxFWxtWu/NHCvobjTzHcJxcfSfGeJ979SyDbECKr7GDvNkMPBmv8Piz1ak5rhYGPf9wvVSwvnM08pxdDQyte0gAJj5N1BP7+rOx9Tm8WuVl1HvEIZoE6iS+LdFocMUXW7X/jr+IcLBwwLMmthIs18/8hD1oY4A+o+zcWqKjnyC+SqOi5XHDY1jUQKYvIPF16HOfXdV71oeoRPC80++zHf7E1gz4rUJUR01zsQvLecf3MsPF2KpXTICAPYrH3zikdmZckRZz5i+DslgcVNseQ4B2xCiV+CwBLrL+ylXEoykCO5dXIkMx57gShzm78/b5cmq3iTLh86svTHSz8lY1eWYBznDhaJU9whja+8US/DKlGDqG+0HA2+hd9dJ5IR86M6g++kZ1ly/rzGjmN704Ih04YSH1ZFAclEJttpbfxZtsZOZydH1oujvbxyEb/T5UUut2HIFQJDgvT4Mbx6NU15BG0WgiM2PxAe4xyfdQjWT/gBHySDgWO5VzQ8eyNQE3TnDZPutefsTabJ9bGi1kcMhUYq1FVwqhoP4kkP/jSl0aDBIaR/Dkkrnwz60uqxkwNPkVY3x58REVwz3d0+M7oDEFqaUL49GUZwMi7zhN5kX9LRK981Hzxy+aNa7fI4p3PsYD3w3FbBTG0j6MRq/LyfIIKPU1Imp/RCS8ZnYyEgBTX4gIx8fQdvaMO3gg+2DT/NBDJhMF1+ClnSM7503/o4Ax/dVCz2qX8Jn1tguWccE7iePEpgg5V+LTHT4UxqZqG79kCnWvgHbwTXSznTvBDw/h6FJZglVM9fanrcHBFgZ5B0llMF1JvbJz9SjCxErfoMO01y5ekqXV7+EBg7T3M1I/SXCFEiUY1jd4bl7yaJg4xENXMFJ6C8xLq96XVZbT8e28zViI62D5actg2a6mBp7111jwpIBkBGNdzO9/LmAfjUbGNuH9nxNizogmbctzxlU87w2US9MJHwbccW2Fe1/GZXQMaqHidAxuf57buP0r1il46DszpbdW09De9YljI23e/5kuK5XN3fqHbmBoJIMKDLBhBmddxgG+ZFo3C3EmQZnqwV9zpnRxDs3CUUKafezywm660KRtm1MAAswPGb2Qb0U2nwF6ook21QCK4jf47NVHk64QC7M3tZE2oT8gmB+D5yK3mKDpdZFXJvdY7cgI+/cthXsNE+i2hN3tKZ48O+m42xckXVNo12KoWsNwtBd3TjgzxRdOcT76KEj7JBtkcQ1FqXXx9SpiZUqSC9vncRsv2jSxYX4L51zmcpDiWLUPJiaRHHZxS/OVtI44BJNGLp3Kvqf4bdtc1biOdM0pIoh/2qhYCqtBo/chPUHacnkPmzEyB5D4szO+Jeyl26GuaHDdbADAxihaJeac8RFJSNMehxTyhkK+tzKm/+b7EDlDaTt503nPR0Sv3AaZ52BSVWVplgwDkKMumlknrytSlIw7jiQ3hOR84MLro2KdqdkAocvHJ1K8Id00HitNcUYOgOr3QK5DJy0LWeIEq8WJBRe7Dl+AxJxmWZFOigOYw2ab42BGl3MI/SS7Eve8ab9ogyUw0tKDxTwt7sZukx+QYcgfBxgN+F7FBFdGvEeo00UPB0WfHkJoXIHDHu99hA409C/Uo0U8uvUON1GecZE96GksjfcwjKA+mp5kzRTEEBD6iRYADgxYZ7Z8oFKucIYXvOvVYFd3tbJn0uFIY9KAfd/ztisU+IvSArPRr+VK0MCrmoYhvlaG2nY7LnwrI1I7wfFLSiM0tRkENMB9HP5uGJy9AGo8IDi7uCtHPen9egGGnk73DfZvnw1Zt7tUR6jBAqaa6aKFX1b+6xrVpMDWlmopVPm6dgmHQTnWVZk1u9lqsNTkxrSB5vHvuUdu2cBG8uQ9AezSypG59Fj7333E/K5csTVuoJPoA7S8MB6mEZKe5ZZlRqaPP5lARYAfV31pb8ZGLvcJAVoKP9+SqWaJs1KtMpQ2HngY5N+DEgMmlWcPtGG4n9c0RdyUbD0fLxf46vBykxlfozsHSaRAl5OVuj5MlpUhDxm6/QG3Jlcc8Y6lDbKCS73urzA/EkgCTc3+sLfjxIaV+x6aZ2nZxS7a6KNXimQHqQnFSJd68BvrGhq22p7YuloIO6ghaTk3gJbWg7PRUn5SttRoDdWzIuKfeu5qKLmIyewD47sKa74axicgiPqsfqtSx6XjQDVvG2HefxdBRGNyAhrxcHVM0W0mwSeXXNIIDF+28wqVSzEt7ahoReUpxHQTQX/E+wga42DIAeNjcaIt4539Ct4T+yPgqCHOSjJtnWjFmahiSkCG5ccVMqjgzjqXDEVuu0b+e0Ngc09lwJJYLiBC9F4mz6SA2RwmKBX9sOxToW4IBe7xa4WYSNANM+jUXmY3Tlwkv4eL82mZcqYqG8t2t7cZrWw886R/Mj7KrJC/FcmZjEzzCOc28JbqoVitgNKAQqLqpAhjBjg8MZDxm8OuXaOeitnXodqIfufwX8FESkVBao+QOqtHTby758I02OT3ctmQLOex/UX/5Rz68sJh9KitIE+AEYCj6kE8QzsqrbLqlg64VDwAJCZewLQU9LFs+3g9SSP4ABGefXQvKZ6YHBYvPtCW58Gn5vFkUwOiVrvOS/UkXOswzn3HhGilcIbK0gkeyWmSYRjpX6AqhlGCQwLZdq49GJ+X8hGveFioUcjbZ0kSCLLNC+MeACmfCcinguk60ZgN4McNipnJ2UHq6fLB26i9cg8iYruQs8gmmcWxAIybOFAs2Omec+8i7r4ryBUGmsOw7tPzjkcFh4F/InO4A1vyqI0a4qkH0OdiUhwhF7IdlXIgvBnqMh/w81GeylGMTiVMbnCIJH/uYA7VqTuM+TTLq/ovTJVGo4sDxufuJ8lXO+PFmmZUhu2xfxSiqAA17s6nA+QJRCu/tBlV59dZP6wDAWGJFle54cC70+esrxd0b5MDTLX3/VnJ5zBwgwjsT63Gt8nUJfcB8T5dowTBY+fmAqj8sPYBnCC2akziyxwcwn+nu4vga8zwcctpDmLWcwYguQxgeHwaRDLMz60VqtmGmr786K18xCRRKPh8/31/avvzlvbATFVY1SXMam/vLPlkmikCmTMxTP7/nN5WfcnuIgBCpFFBQ5TsE0QZ7uRyBAd/r7Xzu6tlClAa5R6tuiG7YV60WU7lsw9Ub1PQd7VI9fnnH5B+d85Ut+RcgJ/VZtrtS4y2PsAR+dCvTfxYzc0ndYNa0suomMFGtg5/L/yNBxN9jTa1pbxZtntIfYvaja9NS2jhhGVvEwgXal0bqsD9ACH87AvqcuyqCr8q09jzpL/2cMUQ2Q9mFMLl3pQzWduM05fGZKrs3w+iDvNhnXo3SJ2ogEqSlTWYnhhQfp5h86L9Iok7mXutGo778NiTukK2fkeaSfxAr5ot9Rrg9zAvQT9OlSsoir+ThP4r61+Y6xMtl6TKvD81niswXHrkXUvwYeL1cxw+RbQEgubjHdQXzoLfOJbwdLsQWJnnwSl40PBZYHSIB0SBFwQO+/BusEJy/JyyJZBsR7Xre81Wtp+udab7in+lUO3eGCjNjeAKeF4izP4Ao4I36tF/q1vAUsnurflQ7eYRjGzJHDDM8uMNEWeIqzRKLunf+gPP71ZZBDR7dz1ZkBfZzJ65gqKxX6pCADDvHW3wUIeEIxqnsxGvnPtRH//CPTNK4R9cW4bLJpnlqoUN6saWApyrrlKcLuxeDrckf9Zr7BwRbI88nKqhURR+0vfKRxg0f79dlZGvoUHaHKVZF6fVd+et+XyVVCuY6/tUcX2AtC7+BCZYJD+hxUUfxARlz3SJ66WZhOb7Hysor4CStK39c73Ka3fisFlaTMo1Pn7QFs07VrYdH4NdCVP/D9XBHXu0yXHqLIIO3HATO4l5hT4pXiiZp1obJ7Sjwe/Gvr/ewRbDPmreO74GLAIkquhumXQXfQDsDCPe/ww51TvaJbG7lf6XDFLMZyE9YKYWP+AUv1aMdHRzJi9OaVdLkbR7Qskv/iZHcqpEETJKYKV8yRFNCR8wSA1KW6Kiru5ghoEPor19Vtx01iaoKeu+7S3WS0NDI46TdUKQ4jc4QjyqSsIk9TU0qKehb2fDfzvUls2hcpHDfZ04/XUtoYUozDWYIgfxUkiwlfJQrfl2UNFfbOX2zzTt9ryfiXao6fXhUqdUOG8ndedZ/BPNZuxYx6GvPrmc//CvDJuRthvcwtLIlAQQE+kV9RCgUp9LdJQmiR1SvQKepTQ1g3dOGbCdS0++TT5zhVWqWXWB+gRttlbbt/cZHRJCOrQHaH2SihmEbybjP+MvfZBI45tG+5kgALhEb+M+GTecaAJjOVvKZ1zh4Yhyc3Dk4N62a6SjaIs/up9OXT0QWivz6ztB7AdBEED/68x9QpNTIAYQHb+i+eLyk8XaSxH7eVyFR3+g/6ki5/YYqYIUmqy1fWVhuDDwBjTYDMIOiib1kw0ThTC4MwvWNUy9pCbPwOSWKlytg0X+CfyyRTCDruwaDUl5SlL9tWms5LeJ9PwhiBEK4ByyL3h738cWIpNJbFO63EeyH4S8UKbhfv3fsRQl7z72yS/PSuO1m17eu0COCB31oP6cEOGwdh/cftG6QAUrPDDmvIXCjY1SKR3RSCdXhK+MoFePMpYN+84gvP0xmIFoYpJUYc/zae9j2nEYNkd1CXmjB0aRfaoqsZ1tWcSM0OgDQO3QSEukbJ71I41xQkVZAfJjfQmEWGaFBQ6RUG6seO2A5fUeqM6cw6oQCaQoIgtIdJ2MvetsY7tPlDCtJ5/fSemFDmsAG1WBvMUCPaBAAvSmW/dk9jadwOom4PQaqkL0B0Xgzf7248tp928ceso68WCu0XTvSHE16XUt1dWv6eWs6A/HK1qOjbJW9Tf4uyEyNeh/RmxncbMRbzivKy6ODulYU3Cv8WmOLFuLiB7HbPbU0EWNhSkUI+H4YfFIrBBKZPY/gT1u9SkrBsMBLp1Z6WB41cz6Zc7LVassSZ9NqwkZf/ElFkz+pp717Ej+zOd8gfpStYAB1S/wZDjRYsIgHMOKHqo4RVqHysx/Qv9phya7nn1VXZ+rewgZCTzgCZWGrY1ru5Hx0Euk7bTB1JbBLcv2MXHtMlgUw6D6+y7To89J+tQJwYHHT1j0JYvfcQzT7rKHizBVigRFWPbrSQIOr9xzxBElNnZxHT/L4ZjpvIqXxVV+iRtHGNoFP3Hz6yeKY+4rLCF5z0gMwgAp37ygtPo21NWqFgbEjZPJeJA4sjWOFyzHyPZdBf4MVzvb3sqeimZxvxot0wV/s0NTHDxAx4/Jfv82H7AmdHPkMg6FlH9ZRWBdqvbkjl9pIePLOgH6Jw1EZmI8xT99mcKDBHT5oLMTiliuCeJEoAPHxI7h5qufqN7Oh3G6h4VsNw7bDGT+JSFa1pSnyk7zn6/HmGk9uxfICGtAsKLpt0CbuWZEgQxrlLp9f7fQBriYZADC4VWUvzaCSuTIsMge6x5ftOcd+NRWEIcJTOmwrMhSl0+wr2J5AtxaqVkzmRqzhiKUTtXMI9mvuQEEjIAHUjcIUR0J9OhHrrMdgo3PluMPfw6iRYCwtCbuz/YVLLeqAUfuKfBHD49EPtW15z0LNvOex4eEmKgVOEkaMc8i2jn6kq4XH1UMg3iJpgag+gHy17K8nUjF60qBOwPMr34FZdGoVjs/UhGNNDAW9M5sS0n9Ug6yChdCHZC5bqntKGaFMtqT/Wj2i/Lv6EQ95QzGFHhRGqIK9fBgd1HGeU0oQa7yTkudD50f3nAnBEkr5NKXy/lkGo9lCgDVdmJotenT+edLLDcJw48qt4W+YA8zN2oof7Uj/7IC+YLjKiofaL3nJwBRUkwV8BFFnypuIPZK1TDIlXs8pDCiTCa0P77g5FWQoFeQWvLxgrAUfD67GtJLn+CfDEEanQlfJcWmQB9hVWF5MJnDc88Ezn7aTgG6wDdHx0wN4lI2ZsV8ce6S8z10c5nGfwHyxlt9WJhPkKcRY3mmOeoXWdG04iLrJVObU2TjOFl2zVMsG/KUnaJ3WRXIK7YDHO0lRDFbIDrnQzQmMfYhnejs6xnl5/jzR4pLRBC2rr+ie70TSvuJ/8XLv8JSpTSUgUfa5N65wvDrP4PrN/EdZL824FcqUfmeJC5zxddm9zbKXz2ob1+CMVuVVO5QNB2ChXgf8xaW2yKiCP0pNOhJgssBqXGhJVYdwpOCnPVKlcYJ6g1UmAtdJd/XuSL7/PwB0sMUfoR3TS8BxifyVW6wVx65CQPewFEBvu7FQxGrpJxD8s6FbbcXc2mQH2/v97B1OaMxj9y9tXXlnxBlItj4keFeT4vrfTf0LRHJExwmZtVHK639UyPacBWcgEiPB4P8Litd2zea0i+AFv2pz4ElZ6WSyxKeRki3hJUPeGLjsKlIPDWmhxHvDWknO+F8IocRChYaRBI5cbR5x98C8cCnQQYoOpF8D97JfGISeguq7sqw9osNydShuYGirYF5ZJWwX5kcL7N+sG5yc8juMM9NEVBMYFTQNsubAFq+0fB3/5Eq28L/v66QlCFXAdkkz1YE2FiZqQUrGjJy0Pe+wg9JDiEueAb6v6XXfVU3MkTwk63dq276lFKWxB9AecBzVoTGwOTGT0snSYo9/hn1Mhtr2tjiE49FaxqlNeYIfsNhxv6hNr/JiiyHe8sjkJshT9NpUWpxLut2L8D3yIe0qKRRjU7ltpQqFQZEwOmS6brr5AyWa7gR7sH+RVXNGlYj1ook7lmVDu3sqd2ub798FEOCjoN5BY7kx1fcfn6ttnepBE679XU0t3GB1M3A5YCqgqDPC/4PiwSFL9EPEPN9kCWA+gHssXUVWstOcedETfV0NHvrKjE/eJxzj7dsgBVyBzPkv646e5pg2D/fsXLNGmgOwanf5VRaS9D5KR+LhSC27Urjt9hE2uQEc2jdZGApvGoWThfOAmtqds8CjDOyHTxeekOK6MY2FvX0NNqrKJ+DZ2O4vtUDCmsrcR7jhIStvFHLfmfsLmgwLVUpU7J2bx/dSqWdv94K5SFr0Jyq7d/N5337T48Dl3pjfxjv/JqlaSdqJuHrJxvK3cgwcOVV7MQKRWSTCh1xK8A+PJh2LJ7XWicv+gYc91DNdV33uqcWD4EMpHl9cfcqlq9ueFCrG/mB6mHVJq8sfY4UcNVgAZlLpjBlNURaL6u/Wloq9De/zGtMRyAm5Nz8HeoX89nAvmNvAYgcuv8907QRU9wu1Hrv10uVG3/LfbmE6JqcfF4yIbxXLuCUJcszP2Ybtm/+iJdMXLCvT2aC0EJma+Rd5M1wKK9O8Z+ZDTtN3vRbp9w/a/coIMPlaDqQDZX3gCOycpB9vpA30qT5Xd+8AWRUVpAToRUQr2UDbc6vMqSPg2meLoD0rEeAmTIjTbP7yCKcvGEuvPnv/4ZE4dZoUcN5hcxdP7Rvopzu09+lop2EHo6RhGpYfxbolo+aCJxWxmjMfZPMplHYbd8+WmzW5QTrFvpQ0XbNMqNcpO/KT8R8AUwbHFHGCOeJETisDiWggAUjhdJIuorcom+9/j23P37dQzYKicr4/uX9abgnkrqCa4cj7quVdR81VTBw1Z0tZMf7k2ZXMar/01MhK8RuSdYMQjNDRK+BR87d4caCm42m10f5vTeDPrsJ1EqTRmEizL5BIDrV7UQeMFud2TAppxzhm1YQS/x93pi9P7dIls8YqQSOLM2I2jY3GToGnRNwdg4brkbLAv3OF3WIe2ax/MsvwA88AO2i4mVLZdbhSeuogkLdWvy0qqmquiH3fIkP7wqpCA9VOG41xuB9aLKB3jzzTIqnUXqqmgZErTWYBzmrKUvb6rUMSOkxQ5Y0mB6aFKoMcTkS6kP/wzb0hLA2M24ldkQN34oKceMO/1ImVY+f+/vBJgtEYBN2j/65PIRrZrPTEJgqQbGz/5+l/AY746lg3hswUS3cgBY6nJe+GktEu5wiEf+HfXunLh8DTUPU4eaYr18n7Mb43oPcZPk0xG1Nez6X+ofgdWLruFvzoi9A9RJ7KcrMLKYvcsm6vJFZD6/cdfeXqYTB7cRvSD+LtoGkx743hdfOL+b/A1s8DqPjJrxOBRE+Fxyw/9PYkAiXY1H/fKEgwrwpClD5cOelKguEAytUyMoSWuX3zfJlCinrCO1uKFLg+kNlc6XXB5ZAAUULzt9AdNf8iaMAsogf29CEOZFvuda0fUXpkGTqAVrHvZdgKS5N7gViJSq5sEcGuMpuJJBVlKh6DiTl10ltZDBdfvvhMnmpTWzPpSzOlSF8IduvdNyhDwBp6Y6kj4GjJ/IbR7ZxeUAwP7+oAclLhHnVpwhr/H8/BUevsCZ5GhBzwzMbF9AJHQHrno1oFuBvec3SMRZuJXDAU9wzhdbiEax9ZWuQY0alfJFkGUcToktzrHgTKTSrHu4Ub+WdjAlefIS5BDG6qKPNjnRvIv7SQXgap5+xZuqlTLvF6STsqGaPFgfh8DVLKVxoFLXjqGelWT8S7rSclozNs9wWuwN7+hdkazXabIhO5Ic9xp2A8j3G6Kk5lZcOI6TuP6Eotige5HCDfHfZ1ccQazEGb+IhscJ9U7ewbx3oQ2sgC9ECK2ltL5vS0mb8OB/vPxXhYNhqmvZJTWbhqdBoZCvHS3DfOtZ2UHclphfEfkJFIXeE5weQ2rkCllM6mIWCChxXT86OeBZlNsZEVhIharLKG+1g21W7knFnf+Rp55VP0lkpFH0DQinAGqFc7+y0+pLAbw24sVdleCbno8NTUCPbw2sWxX50dhxGGlqjDQns/+Oy2WmnIy5/85WuT/DJzyPPMuxDV6jwjRLex5A7Hi00QEHyoGZ9FeyDYKvbzkkgEe0xbaI4vh1Y37Q/MwdP+kXduaLN8RfE/wSMmbnTKmJmzyiideVF4IAvk3kryHLnE5I49K16pqvONB+nNHokAwmpCZEfnVna4aqZYG9qCCLJ3gA/jZnyK8BWE36jWAiPGP2jBpi/WiiwResNt6qJZMba/f57dyTxWvifMRvpieDAJv06a54MipIvwaxYUTL0MLxvn6EvGnZ6R51CR1ZcNNLJ1AoLKMGPYamX+LDeiaoAeoWncxORLqe/cVaPw/HD573vlPB3ACVVMbteIcon5rZHepyrSmtEIvevAHYGglPy8YauGjV102wGK4b1yB7Q6W/f0jZp+4QUE/qDPS9pv6mVMtOlOXjLNFPNgCrcz/2RWJmRIZ0ggAohZjKfIEJNSIIcyx7bjTrhxt41j5X6fc5VbN/Is/356rN+0jQ+Cvr+xKqM2Hi4puDmEA5OXp7PBhvvxkIbdD4kB4oX2ZVSbX3MQ1oIlKaMotc/9PC0SDtYsSSiVbllB9WolG8aL1oQWlzKFQ8GasciOJ2NeMIjalISwg0doxy2hYPDVMVyKoVczHO4VMG/xuMfEylwNa1j1OcRUvb8AFe6uwMKZ73RPkjA4ZVnjGYzjPPXkhWyq1W6/05K8ruOfI7cBHp7Bq4ygZRakJ4QmV4sMWn8hWAwXKlLj7WLCDG7IBqo1q3blSxjNJfytfvBu5dEp4iKeXz1Cjloo/0EKsFgCfRYLj4fqRpYVV/LXLUu0EKT1cFPswer3PcKmlNAoK4G/BcZ8tjVrbPekm1lZ7TYtTQCCa5pC+Khxt3JZZJjsQv9hsYDzLmCSpbvqY+D3ezTHpM0OsXZ1FyXok1h0zeeniek74E+JFs2/GyO1O7DWrbcS75/a7Shy5yo8o9QVphhNjxE6vUL6Ow6JLZv+btD9siCXQzkbsc9slaRkL1sa9hlLVq2mJ5Kh7IrCZOr/IweaaTQxX2iiZfK3UIEfZpHvGzcm/OHB9K8N+b6xw9asudZKtUznekpvAes0kF93rbQmVAuVE54lF286BWnNeT43xJaUEoy5/RL7z70XYgdFD3PLklkCTNwlJYvopqnf9l7edIRFx6IUbjn4Np/MkICeVR2xuV+PaRT9sK5oONZRt1GvOkwBQFOMVv0ZlkHnBEGVC2y+LMboq3tIzuQCWRRpLl4kZOV4j0sJTzChRhP791D1wmwg/PUAQxHGQK1GzmDennCnmYL5wCzeyzVhMlEPY52t9gNnvH4tsdV5W7yFQ0gq5HyHbPE33c/cTjRV7aQ/8czcYjJ5BzROo2f+gP8POtTVrVw/eHmllycZP0F8Cnr73TM8qx4PKOKTf8/zd+vaPKnUbNI73a74pP0FGfZnpdPxNP7HXmY2g2qel1P6oXmiSjrhdOGBg+SGcoQVM2rz/K+l7hG5vPmbSH7unkxv2FVzl1vXulsGzn4uC2/hchd3g/kUDlZ/ciC+33t6XowfoMjec4bFcMh+yw8YWPDe3YWQ137o+gMtU9C4VtHbAvuxVhV3GQewlZxckNEuw47vUbC51ZCFpOhoa2a4IV2p3G5kLaQbAwPs5WT9kZoQQ6i2x9p2NnM5UA6w6xciw1QT5aPM1/Hi5ZT4o/yg5usZyJ9VESeIgllT8V/Ey88TVv9N9xVJTcv/C4P43Z6Zou6+0MBgkzGShCUIxBUGkhomMey9xfWIFejlZy8IzZL4cLMNK3NJaNbGCrJrwsv8ug/wHGuMCVcgHlNN8zXlnve6JDsNWY6N7JNCNvxvtziqEGiQKYRDUKktflmBzxHuNxrwCviwhyAc+L8tKqu6lvvOQ1EapJvbq96VHw57NiT6ywZlvE6alNEEm73oMpa0ycCmZWeEqE0SNomcuBYwFdsx3mjCjKqXIj9zh/Y7zD6Ngf2Itpv+IaWDRNkRCyMTgGpD0X9uI0Ww5tzAV73zzqbO8xTD125SUyGRZd+TKP0rg0aAl+/HXnmmWvhbeTW2MktkB6euAUS8GbwHNIBrGcLrEqAsuixubVdqfjZ5geOUzMjjGIogTAgg5AKUJuT0/jgsTRhVC3eZgWwmibERRoTxVnNhSyNaOJGHDjhEbrcMoNBBK60ab7yIvBOhq9k9Wk9T4w32F7QFpLeoLIysAGrY8UTVAdFDgFkiOSGTgxH+BqYWogNkKovBZB0fY3PPcZu6nGmDyDiAkrdCa/PqOf9/jsxJHRlqpzaFhnRLoUISCCPZVUsQUdGkpAjYs1sS+vZ1OdOj7GAXIMKHzQ6YBtI1ZnQcWge2KA83ccIwyD3cADJ+D46obyQDCYHUuJC4mgfN/zLQk23S72M6sa2uJxlEIuLZnh7aP9qpl18uTz13+3CiMvuJSBwPWebrrCrKn1MF7MFelhcyjyV/Y+fIW1ldPqVyE452xGpgQHF0rn+ibkgzTLXrT6qG1CP4ttPdznRaTrSTlfJ46yS3FD+iRuoxjywWBqPov5/dBbViCcU/7sNnJDvMkX0fLtrQ1ablXUrNk9LTsGucKcWBQ1fYrR+QRXtO6kH/sqEY5p1cbAEYhUW8NEssWtyuiJF+bMjnSR88cJOyu1rRF/mo9frW8Tn03e0hYZYESpwaUzEtImVko9LrvFRraXMomBgHuYiOfUpflkHM+vkMjFor103o/qnfoKxy0FL2Sq5NEXK8lwkE7QrBcHHCpWRObsQkjw9pPmrL1Qs7H+YOF2xVBeWYWaFWqKLS+BaceMU78kcmJCyAhfToZGhY5tjTw9tRGK1m/kTnXDYPSvGkBe3hdcCBkQ6s6Ai6ZyAhTl1IkBno41zfYTOiEQASbOt7Rs0wQUq9oGc6cv+3k7BqysksSjWy425Zvl0BTPIzo8aU1wCuqBY3gIkfv+KuGhaqFG5f13R1bcYAKBZizG7nIqW7hJT1Qd07fsr944iil/n75oSDyC8V881z8iWuVyIKRYb061ZlrUEtAZ9uf4vzAbp32+dRNi0VIOhhweiStolveXwqU+i3oOw0z9uZgqWQju+sm/s36VhyMp+juvbDRasQrjbJcDn+zgxPNBhopTFdYxFRuNMccaOY9wrC/73SOe1ePqJtbPrfOu+b3vWzkY4IgzR+L9SZofugD4UqInFJePlpzpcMzO+Yez4aXA1oRjRlWLR2SWCVQxQOvLPiglnd4Jw3MURlmXjSy90h7jwt1XqM/3gYJkJNIEkIjFUx0vpazFtib5JiUe25q6vHnTQbBYs3KVdYql4416YR4WneZF5XBXqfTlEma/pTBkOHbfq5FbMcgtSwfe9F0Q0jF2fSLpRTHaozw+DKgT1jnKPw4voK2kcQJethAqx5aIvmux9Tw+umysDhB2g+0qivkSQiASGw/I5nvv8QtrfNwL0MvwePVj3cjpNBBF3rytZFXfE48kZx+BQYVDHtmpZ7dsktaQPPb9YVIzw//xPuKO+1f2LtEXLK5qYSHE5Fl2MWYwO8AhABIFiaa+h5BlYVCOiIM9D422+oJriViMJPDhM4Vf0uKbAPoJnmOim4QFJutDsn43944Hstlsz+SlbRKIyJ+rO6kByEgkpz7CiAUjPHCnZNZCtsqbtmswyToiShTYcjFVvBjJQzS9b4yh1sU/6UIUCHV0gc/3Xngfau4Hrvwi1XNWyOagCF9I2MLe/etr8DXsOL96agX4yBuP43qBshn5+coEXq4eC45Ac9mtVsqk0Tcb2YvA5IJYNc+O9J7c88VHhTXhqcmsPrIEq+miwPABkC37s168UtShXpHZ9pLteSZrYiBEdjftvIqkNFRCPw0HEx/cg2nVLTxisXZKhugIlbIP/iZkgKXsEsGN3v0oIhXMnHxohFU8slNx6iWTcWjahbp5LuhDCPP+EcQtmVP58lXMBtWCfK/HV5siwFPnj+Z0Y++ijSG1d+uFro1Si3WYa0JDhx8BsOJIldsKnzMJFJ5jfQCJqQn1NLYt86sIInvhOx+10X3YiXWYpu3fOVGB/g43Bbz8+qyyxgZy6QFvhan8sLrb/PcBJ7HquR1ucQLMfASe92qjRe6/GsPpXq8xMB101cvZhkNXETSHO1IWOrWghtyLruP6oMtfTvXphquikThPnFih/V7BQ1+C5vDQ1/LO/I5uFCm3G22gNxMZIA3g3hdxYPPKVp3t01Yw7EiHUmDYPUao1T0qQJmPXRZuqbJh9KQkpxpvUlPojOItPMAkq7kmHksmjm9kFA3/ewHxYMCCUsDjNwUaqrkLtW2K47vlZjFE0a/ZBFjF3LNVK0+q5hL0UFdLDcHWKNsxnI48wUUx5AnUXco7/d7mxazl7PBV4U5YJGdnft3F5/+Q0OSMzVNPpzuR3h98t4jSaMwDygwawUy4YrjJfGt6StzVEa60tTmcD670oTSHlgvM/kB1WwiA65k1lHYGCnO/ea4Pfzv+Db70Eb5ZHDbqRv1btmqHSq2EkCsbE5nkyk5F1Wo3SPzAFqT2ya/ItQWxcxHa+WTrAp7IvsVg/9tRpPuwR/ht8+rhD3HNMvfYaVhTvQoXBSR/06+eyc4DgcDI7YjvHSGaIzOYfBMMt9A8i9g8BNnNz25iFSMzqwFQxy48xQkNv70GuipQSJ06VAppRM7HtN79FO0IazeJvPzJTHCRt5ewmtTMpUsavMS3zMVCTWyFephC+gK18cYHf315+Y2vrvNjtO323Qra4+zii6lloDAdnakKma+UjhSfmDEufO8QWQ9M6Knno6WSI2d3yI0mia99Zx2MXyBAHcJkCcvSqWGd17Ix/ogfwnSuntwau6BH5swa3x7RIG0H3PHDV5U9C9UzXssmZTEiAmqBXxHc6FTMBmZVQkk0wwdgh7fQqwuxvmm8VVSLSMeAQVAxK1XSzxYQ2jc3xb6cpROPO6Io4VxcgN79YWUZX1aoH7b6FN6TzsPAymT+mhvhakBgIcLhw84sSYSGB3IxM2HZ/3cJN9qX71X4Be9ytL4hN0O5ql+tAR0OBEiQsh1/6ik+7oHsa/miQtiUP1mXddhpk8/cDEBM1uTaRD24vrrVKPh/FACygEmlBA0hfsdtVuiUJN9x7dlG7pIOmjYZl2H3PIkUB1yM3PySJEra/n2WQA50nTA2y6nPbNvVJSgjktHGWTUiJI2Tl/B1EaqYKwv4M/JKjPcHRs8PntW1mwkU4fDWvpHpkJ0XVtF0QNC2UjcnWnGqlXA3z5P+rQRm1tWqM6RAskDquFDJ1SPIat24a3FVOuqVqYqIpgGeg9h2zWTwscuWA73M700EF+BFvPFgNNsS9u38jnL0/1xw0G0uRlD5z5ma4pXKr7kB0/3i9b15K6P8KF1vaeitSc+3NWMOK96dVnJPlgBEC67oUA4XLEeDIxsO6x2ipBdyydYu/3VTCRa4aXmyw+LlbDS6PUV/Sk2JKLuLVJCIBihM4G/Pq8R7JBXWBSShlbIUqhqspfKcJ/mWHCXYkG0KlCI1eQxYKNq7N+TOanuV5G23BbJbi82nDKyKJwoejoSg9wk75me1nNaePzQw8JWUG+BrI0OGVKPYTKpUowSh15BSQ30DQsaw6PJ0Fk7rIsJQ+4a54lThDmdt8EuA2V9VPHHEI6rTVZZU+1/F5KFTgWFqYi68XaQ39iV56mPoz+RNTbyRAKMnDKP+HuwudcQEvQQ4Waroc5/22qi4OnL/5KtL8l6RRnfjajPsElvrU9OHkttDPQAGOK/KovmPBO6Obc5xTePykE6gR/jF8iciUPmKkj/P/UDSsOaeszGtuR9+ZqUiIVJXMjOtmpQgXVAKwi5S68df4/q8qKmJstNT+gqYErvx1d7agJJ6RecXpWTWGSucHbaWSuTt65rFap120YUh4yqrScmt9ct8TWIbAws5PNy4UEfvIY5Xco6k+zgJOTJa4+yZGQsXc6/jwfbqkO4+BpxyiohGze7X+oU6jQ6cPym/MAV13ZKxgeXtX78o5jxTU7yUqKh+zlIFJNlbCkNHH2p53AlM2a58Ekpcze4Znfyi15XCZVL27oc1QBfZUQlHZSxfSJ/IS7iErM+Wk5vXWJ/igzwUtdhtWCxnUAUZeBLnUg5XSVFoDLfLPZQuruvX7Rf1V4QRl9QtSCH2XbT1JF6zuywC87UxhtfL/NI+N9amh6/1jCWxQFmplAfUK6P1hgENwozj6SlpyHHUAYLLIHe+g/dvvTw6xXTz9Cepp3EiIY1HaX+MPTRYT2L8SqVzkdAP+BVPev48vk9yxcQpLJS+KeUtwUsx1xENzPByoz5uYdnThekPNdTF0PyQjC9pesbqfRzhISEtCfTfVYLzHYPyZa+seDgALDNBByxUdCMdk2nERBU0NBmklTRnU/ZFVfo0oBxTTDt6kfoVxNXpYMO8F+6ZL6J6Snqkfv5/x2YLbnJE/iESA1wqcs97yv4jlwcktJ3Xr0h4vZqrhtRWmaZlLo5PpLJkH6dPSH+gbzX4Kg1nT5yb6/jDLcJPBE/X5+M+AzH7HfS9vz2aWIc+jEndx7ga6VzblQdBDsDmHT3hqlaI9FOZdu9o1Tk4A/hOd06RRnl8J8RC4GGy6gWteHEk9R0i92uOMPHn11lwzPPjDxPEWhX+hI2fcRUoi1NSo1YAbRAW+hgK34ijnTdpfMvn2oXlmKSQk/9QCHFxdLsCZeYrm1+vB4SJkCA2nIv5SRxiJyl3VYwJLNeBpkCbHtNz0meUhPpWhzK6CYJ9DbaIz1htuN/HiPfbJMcXqNE8kcq4lTZgfKITfM4iEpsSNY/UMoE+K6Vmx/jKxmgwLuvPSYi6XviVb07Mx85+I7H6wBzJpvT8iOikh2I+MWog922cvoymHYBwuPUphKbJEAWdLodJcMkILRR1rwoeNMWE8ff5XbEzehmPcd1V76LQd1hlqmZom1JSrKjX1SLL5w+Ty251ImdLlgSQiDvIBJ78j4sXwxvngMHRnRoeXa9oSMVfGyhAS+yuFRNZPPoVhdJEgxOHS2BQ+V7WFMpZdat75WoE/ti6iGVSUZ/dfMrBNh0KN5gWbeeJpxuA+GU3CeXA1827vZs/fVCDVwTWCYd3thAd0wH846Aq9tMK/KM3vAz1WIv4M1ExjDJHInrJMmOxkKQFiKfzmNZBHI3/vwlCogfRDAUgk0sbeGnW4mQsiWHXPTQfENZONoHDgtwvQ8amkMXB0Emk3uZzC0MbBnCbaOqJ3UymatQ1RmjEd4onmG7s4QRAwIPFuhK8wXtjIZPVL53C1uKZ2A/Ro7qAXS3+tjsHPEWlCiSaa8a0g65PydfyN1DlLg8zHOk05VLaBAfZ1nSPwqa0nTAcQaoGldRnqIc7Nn4ZE7eMEzWla+ZX9nVcIgy0FLtNE/A6pUJ0aC9IViAQiYQ98s9B1kZn2QZo8jpuj4gpt0xs7flI7TrTi3XBmjdzc3zFxsVyEBotN7QcYgHuTykhoKPl+PEZmcrjFpOQbPuEkaoccbTbO8H2OJVmhD06MBM8WuAN1Hl8fjhZreulRdj/9W69ux/nFOBG+6cmtE0mFpPYjQRsNLlO2llzjX3bXQDvhfAdpPBqZoveyhcIHiTVJtMnjS/GAvlYecno57p0vGHbISoslk+yaeX5JzN8D5M5GL7iWrEu2rG37FT42ulEZHr8Wmid0Bgtt4QBN5rbaS46OpFk40TquJ3qULeKbFsjP/ZzmZxHMWAGZ02+NU1PUZ/PGGMRwPXSb8IAbtNcTeekjvmJxolmOgv0kccWAG9XQodeOwkxOnryl5mcBREdaD/Aj7LLchayRF8srS/rNPBTzhyksNuG6F7vsiA3C0rE+Xt3ob97LZuHIzXyCJyCujt+7BTEn33RNMCdGgp8RMwhaUyYczW8W3M/QGT9P2cWLjP00ijJ3qCDxQnARkcZb3Ot69fqQZ4VYDfZ/lIjCr7K+1tf5zv1E/5BV43LF1shQuIkJkjnUUbJUvg2VBNq86t99bRcsb4uvDGxZeZcULkozdV2imXGwczr4WrIAEY5J9O7Ttw/BRX7CHHalBdWy6zyKcnrEanakaUV9gEdeOVLAE1Gxr3SJpDp5J9Bvo9PV96HbjTf0P+2a/uQ3swYx4+0SPvt0uV4NCrPQcbhiQJ8YetWW2vsYQICzjCLDRqsc2NSzOmHyhaJ0kx0/U2vY+7NnnscXF67BzYhu0YhzckZw5W1C+I+8P+Ydv777XhbCymvcCZSChBTL9U+HbvSuwaIzEylET9cUYaMUf3pvQFws/4IowFj7vNl8fkl9pZQ+Md2igr8NBHbvw7GFimxQr7Rg4NaRauOei/m4/RvbqaIO9YIP5YbwPMJs1m/Maz2lZ2MJVsyOHQBTCPY5i1hRG3UmBGHz76nbG+gpJb5N2j+YvkNNzyyFXj3Cvu38bQa+/Zm2XpC3e9LeHUjYiMUIFbECBmfLzgsZnKxj6XV89B5IfjV/Dots1v0HCzuK2RWsZMzcv82buYmaM8cNXG+amFHq0WMxeOLK3U2h4ecYzj1oUz/Avqpcmy9LhErzwOixqWSTLFJMOJdzQ3AtsD0qRJTx3YW095AVoh6WBmTfYmTcKcChsnXg5NL7S+6K277ZEP22A4dMV6+NI70DjKtdGlFzD1hrdGKEnYd4CNvnVR0+1HBm6GxP8g2NvZRW1eUvDzNlO8Y/5leNjTzX8Nb0Xe+E3cg9T/ct5fP5vu0geUxnVIHO8UMEFTCn53A2LE8WdRu/mqco9cXFpVjDimmVtlGGvuSs5il+3N/namm/SrJAi3dNBMSVZ8mkj9y2M+z4HQjQNvuY1u6PVstYxm9Ymqw8mU8ilvhTQu5ww6srq0hXcA0v4H5MjMWc9Hzqteg6vOhRPntaR/bBjpmdwRSOApyk+HGaTU/B3SWlVF7D1EqOaYXHu8jtTo25FGP5KIgSazXxw9G0LOoKxEXtc9p8srgSSLNfDzeFClcPAhmPcz9eT+BWXjDfVqdMPAuILDVmQU0PSMedit6AesGJgNyu1MWSbXdyeKqL47SmcNHNW6ebJ+HrlIh8eURC3Gp3qXD8hV2XMGnVlwfiwoWOH/1qpZoXAuAdzGN7a7uXuC8LL9nkbBn4qbhhtB1UJD7/5iSwxxZhjAazTpmIGaaBr6eynG8Y506OvMousQQpKnWmRRC+cpiadOHsXlN6UlWWWS3imFMQUX1Ki81aV3bMtYJXRVXUVuLhfFltIMbo2UM8Lcoe6NLtUVeId/Or7517vnQ5MRjj405KUGRFeg+5bLtQb7EoCpgCBEkKHrMR6bRSFof5tsRqpGiTfyZqeRY/hHQD6ukIHBuJ2wpBnSonYGdL8mP4TdNZCOwxqe8Cyf1MmA7oA0/dQwkvW3z0HTLDpUd6ezTGEtCNJBBkvBlrRhM30OLinNbCVypCj7Frs0s8enm+1OSkCA4avvFZKUWo8OA0DMkWhFN3aQ3Ee0SQLSVwXFKEXkwjbN7yNSC9nyqyDEFZ6s3j1FnJNKTaTOrRG0UM07JGke3/iJS7U/q7sBXV7H1qPjwXZMGL023O/QCT2VwFcl4L1Gdb9DrD07W90D7Sp9XfeFsO+6wUDUcinEtcEDiAk/sRt3DlwgqnuQsrzXwYfZqV7UqCcKlP+K3BLp1n5vF8Ta7dEfuHHUWFjcHe7qRH3UHS27/we/21mG4KD/9fy3aae29PeGPpiqDk7TPOSuUqRzgzFPsYgfNZEhDtDo7len4g0YukoI0FEMzNptpwbtbYdW9kC6qOgF3r2PoFrQxRgPlc8NMjfHB3FzV71WTPhEYJiCsZ1mwZXK9lX4BJnz2jLPXCsEQolnHkKq9H0w57IbddsxxBzbRW07efrUnce4dfFCom9z9Xn5pQmNIK2rJCsPDrpXHQXCdgMgbuqRYXkz27hScIfZ0WBimvMiiFD0RDLwX8cEX/YtXrQjC3yRGkuxdg5UC9eKU4zTQ11QNUUEQ42sA3em+ghe7keU58/u3CUzeVj9L5s04SgIL+y0RkDGmrqAT9fBASqfs0seANUCWL7//Q8VLQiUH9mVTuGHvTQnZ3N7K6uR1D7HQJxPRwMEuLzBAoqo9pVC511VfJh/HHqstO3/ZhAeyJKJtitrlcNsk/1QwiuUpj2hjOjKF5PRT/Ka7vJfuGC0Q1sYaUNguZ57eA7EjCe/EdMGCUeRw54/xebisWePsC3OBIs48aXc0QYF429xAZGHOxVmpkF52s9q0LfNem/kJGYryWBP9W9egfMheLYpyw1J0dIBJW+4Kwprntkamz5GJOoY2tnzvR1SGzvWSOpEAGvtQmWlUfHFNTXYtVO3hpEOZxLrkLJIjrAAgJAN7/kfIMkoEXiY9a/7Fp0TncX38LIL/Z1c/zQBJnDPDPZk7craqphekYJDsy+VAQ1I9G2sFG7QG67nIoOhHHsUTcgaljblb4FRpaxBTCJscD7eAbSlTTSAjXcuoBZ0wIq83hPf6MZlW+U/Y8OiK/E2TDi4iXRUFvOsnZysNyC8Yxdk8z2oqznz2jI+5PRnVDoFmRJI2JDWdMFxp020i9trHb/QlyEpQkSUpLrWhZTluFR/VYY70rwOvyQ+nvBMMehKA+YDs07qjW1PFgwuP6iqC31D/TJVhTIxHtihXhdWF3TjRUkNKYbkHrRYSCXoQAOb1TNx5HwkGGpmXk5uK7V8MFcM5uvQsh+26SiPEpKTtnn1yagulWip4UCFRiwL+jENO01bt1DRsFjZqEV2f8lBp7IH9PaFlSCdLnor9/4p4JD1JjLtFy22yNUCoRGNcX4D2zsnWppmSAaoScrQhUZ/xdk8Uv/9+MH41ZRYDGxOm88RDRWQRigAWf0XwgSKLEmbj5QQuvRm7Qfs1jMxZoXSEe91gXR7OaDIzHBEo6zeFgZCK0paODvQm/ZTITMEPfk5RdOaJInb4MODTWx8pJPX8FnVmdXMKBeKCN7ruwmi4gRMkgl9D2W1TQzJqADixuH9LwtG4xx1Th4GHZ+C5Qqu+qQd2lbuz97tx+vszc2Dj/kMCyDoIU47TYQT5+a9Aw2lQ6z8XZyvJ7pB3ozI9/AG8DXkHqcmbUKMvjRBKPh7LRsx8QU/Jsf4YJhtPDOaKCnstv0q764CbtJm8KxdTM5xJCPa80je/vQBOvSwpcWByLJD/G5pNyn1SjGPeAr5w09QQ6IFFDQ7ZMdurCMaA1yrfVDbX7+8Qk3iRPmrDiqd0n9HHCaTg6lkbhx00Q026JRjTsBXG2/lDlpthCHhH/NrUEOfmbj0jlQ5QSxr5zLMCJoHSupK5gofmHv2LEVYSPO99uxJbFOH5H2T6z/ml28cRPLFrnQ4J9lrLEojANh/+6of43UtPC8gP7hp5mXlYPpJaTJ5AXKoRyv4bF0AdeQgspng484yu/SXkHyxgALq2VW9I7IOyZnU9mg0hT5skuvRkAgX/oUycgc1X3JcJHf3Gngjlc/6OOh2ZpsZmgw28eifBkMMmECUx0UR9SPL6svvGuo1kYSgduOEMO6wMMgBblNcYRaSvaW0ahY9kaxWNzOurRd9GKqrRRih9wg7MT91Y4irk0uJ5Hq7dwaxgkSKx7d9LkWO3Ack9XTCAxezKyXaOAN2jGFpYoK7dRzh3SN2V1ztfjO4h0XAChhRRvpPjK9QUv8pxJ+hMw1aWvQ/mXf8WIH/rSevGoG5AkcX4ZmHCdlWw1KfVJAOB7BO8MSqOGMfpxm1R3RqLOZyHCAaOCrD4sCo43wjCWa8xdK2GLKE0ejsTcHed2UjQS24XbAc3yMarPsp52dLLx1wWRYu3iI03FeyFfT+gN5jsgDil/KBNX4TfnTl1ExNVBvFZ63kJKS01ozeotAWXCP0O91J/vEB2kloLhqzUy5Gt+stnT/AKODjiVGxQs6JIyy2VdSH+0dMtoDykkbX4viV9slKGltKuttgPnuTqnnDb72mkbiKH8JT5Y+x5bxfkRgNniJYctcWKkErA6WcOaJ6zRs3vJFcHsbVYUfUFtSQGe5YOMDl/jl9BAa4svm9Vt9Lhm5ZmC2RKcrqX/eNLmnhjy5q6oEDk+4aLFsKhHRbfcmzQjNPwSo4uEwj4hwEFqiXKh6bjwR+/6bh6cSVdMvQygSFs23q1TjARM7ZD+NXOPV97OGSuNDNLrIQOY+ajFcwSZGWk8MayFW2lcJUjLTGRwZdsOsGWuk6yCNLJpElEkiTSMMsG09FTLamfFSm83iarNd9YqibQ4g+KBsSZzl4+wV3RhjIGHyHWY451tSWM36tOL7myc7r1HCgyrZTDBmYQGJcnTpL6Pm2sKgUvRfu7fowbIfA8uPyZL1LwpmZ1DJmkxdEPRGu9c/NK3nO5dREmk6iGT66afW5UXWxx/HmJ+D2E+tfN3aqkPJOhzfik8QxpsmYDpLFrRTG8P3c1qZ5XDItpTkBHTZwMa+qJ49ut6WL9+4LKUpSnm/Jnuo54c8ffpSl55fSMO/i2jkChtISylKiKrxW6zYQ6xiY9pNpw8pclDz2UTE5VVO6IMHJoGTlIBhpR9u4DZNvhUPHVeLLpPkkOZ640mv0+S5SrMlZP+ubH6M1aLjKfNRPFI+PGb0raxSt30C297lIrLFd1CrfCLmmjX0rMc+/yj4qNQdHhFdqeRVVMOJ3ZlrDA5QWnmraL70LL3+bsAofVd4jZxeIpsuzzHhm/ARj6vtdD3Te3tVf8qWvn9rnLqRIKu12/XLOct52Fag+BZ6AghMIjAXtIb/3lcIf5Fq+SqrtSuo+6Og+d7aZvwv2CLyFHAcFlLQfUYzQMcXAUhsg8ZoGnRtt3rMUbqLUoUz0HRPJsbVP4xysep0IYDSKz2yIcDi5fKJW7qHi5yRrRnAVsYHt8Wqz2EHfWNYyMM9WFNQkTflMnFUS29teIgoTRSwSdEpVZuPMMb14wdUQPu0VbUR9M+SkYC/xjjm/tb0y3Ig19uOUguIT4OHTCVZS8NXQ3xy5wNX8BOwez7e9kCs/wcslRqbvjTb+U68NX40QRNYC9JDeUqwYvYM2UuyPI6WSBOrQc9QNd4oH9asijBFng8j12mLDv0HM6cJcSjFUPC77WqtRIHUE3DQV3136+1gEIHZ0+PKx3afoLJKN/Dc8VUDGuugC+wic8O74q/6R9slXy+gqXMd28zj7Pu9YNmlFyRmGCxLIacyHCaEciTX7eA3+KkZW4ap/bQBNLeqcIUiKqfCOPQtBEX5CS0ExmAzave2niSMyXiir2PAhFH0bPfh9YRIAugIQfqaAfenZycpIYqqMKcSwj5GQ4NxdlHawTuXxRJTU3ITMYPI7BOzzlTtDaaYxxEG64AFQ68wAgyP/S+vHIBN7HKNkiSkn1YS789u6BvIOZ3QLb8rGgvV83UiGn7ucK1KA6JkVYq5mfg8quYpWTLtaCv0ujWCqJIblN9/0M2yOD2mFr4bgP7960HpT2IAxY/cjDXT/fvnmTwDK1hHSHDn+KWD4+d1CA23UwCN1y+73ryMTqGmVW+lDinz0IC13kCT8COIy7keiSYGIRTLMFprs8WT68+P2VU+dXuz8e6w4KDtonw8EH2zXNUG8s7p4lW+oNOY4jwnUeDm581gR3dgY+QOgOEANRnzmlM7vYYqCUJNIXhuy3MJr1fMPbDFnxQDCubeJlqA6WT3yVrZ5S1BmIzOTfe0U0Fbr4aeyO8W4N0ZMAfMUCa7Kh/RdCqO9bbqbElaGrsT9qcCiZEiE1+gUPg4+TYxfvBkoirTItWrMvAOb3fPkXJBjOZlzPXplZGJGFJwTwPkmd+d1R4ITRYkhU46SqVwEqx5GwFWpi5OBze+J1U28EWcLl4wAkFozEeP4CoR7xipQ+EVeojP9rjetefqdvdGX5ykzFY72roL7ycsySQvTqaFEci47Rd9Vk3/8iYwk9Yhrb3AEhhihfUVg6cmPxNI8zlwIVAr9cUao9KkEgPHOw/i5IvWwZl03pJyuQa8h9bythu7smedqUXDbEZVm3wTtWutwJ8KLm3GuRqpHome5+KVYhkR/2bH8TPCXPIr8nYJ5N8maG+ixXf+GInBNzpywZkuRANGCmzoqpz7e8Qzuoz7TLirMsHWNpcBQOg52+caSX5jiY/diA2w02pnCk+4fLFW5FQkCN9qaoy8IfJjMKlZTYjFd0FSeJhEsoynPqcvHnmp5tZGYy7d3Hg96sPk1OLadTe2IOyBffdwTbOpjEVZtSvqQ3qFplx24nzZ+Bv+Qbuo5VLYUxH32Nhese3k2kAOgKHc/JaL1e08CXihSKqHC+bkt+Xm9TifikhIwUdnNbVjXUf4+Rr8nPZcRzdhwiTuHp6oRvPVuzA5CxB206Z6nQUhgWvdbf2+iMggYd9i8wa6OL2bnUHPjopyKi1V3e+UKISkTwEGlrpkKy440New3fQisVE0Pc5FaC3oHSIXTcSw3+t8CrUGautaBD7QYJC9Ey+toxUFM6MPZ5Di4ftq24yOfWK4SoP/5CBFQOJGbJmzAL0b3DApIeb9ITG0k+Zj6FKLxnHb5J++5cfniQZHIXiV7S8Fn1jdxECLNfFOz1lotvkWx8pUZgy2vv5nxTItn29ow+Qc/1F2fa2bTd14R63DnRTvKOwVZ+VO0NIPblvE8Yo53uqGr8Y8K9a9E/f3g5K6cgYE9DQmgECMpdhdFXwPjLjYZHH8bmo/ZfcmUbe9+dqr9OGgdFDOYCjSvgzNkOVymXjevVdsfEjUy7GOOfaCIPd6DGqgUw5r+21oFMLaJMF6K8j3r2k5fIyNf3Wlc6t9nt5IdX1SiT1UUlD+Zm1/tkcKOOBzEEPs6SRnDfbEYZxcYYdm9LO4dpD+zJUT+IQdNliGTpDSG03ZofguCYsrG0rax2Dw+/GhenltZWJ/tfVEGvgC/C5cGvKzx1zkqsKKw/ifONEDnmWqDD6TfN1xTNOdUGW8cQT3b0hM3SG5/2z/Z04JduX+BhnkEzQO4to8DQ146xB9GMh7z5Etg8NSZeV49998XO558I/ZwUSBq6T3E7PetBAexdCBKdpqZOtYvCo0T3hgoM+8IdTv6+ts7nmLQwRJv7xRrylMnzXFmD+cazOyha2EsizADrU7zA1xlCL66cg3yDipBDhVLqGub3ORYRfmIK1v+YxNtRld7KGOYcqw4eeWmz81hDgu8PF3qUR+9+2UR2oMMjYPbd+H+NTg14tokgG2x+8JOcW0ra+AkpC6tQgf33tUbHp8LVLOjoq90vS0SB7DiePX+GSVQJkC+HN0JWyH+OyGTuUneCIQWC5qjWDWY0fRZjh9ScknFweuwmjgko8N6ki0jjNfFhy6sPZ0oOGkOJ9OHI7E7qN+wr6Tcg14o3yZzzSovj6n0ORk+0JDtCtj8oELs8pQCBdmRmHcpE1kBNZN/z4/AxXQLEVS8bDMI7In63oYp8erV9/D+uyd0GWyVUtwD0SO3vS5/6nFwKUXjWCt9+eapMep1jgamqWLD+GJJ3J0W9ew2ULOZ5/dSxeU/Kgc58/f12XaPnG9VD2p5PVd6kTBPljwJtlaSye0b+Z/oRzA5y+pHzYXpCy2qqMxjLULzmOOQdad7dTBt/EzPTlRos4UfZ4vxnegt5A3qasCQ8DPDw/tQu7pn2USls1DOLYZpq1LXueCK82G5DcCIzCtBGt5qS4/hlPanF9WwEYDAMyvZAwCee0MKAuLsWUIp5Y3PoOQI528f0w/9BoDI+S46lgiGv/tUgFJNeNCIlBP67wzYLwoblV3jjin/mItnJ020tCkKYzGFFB8MoZzulBL62W90Qq8VsgmQ8LR5iiTgnIKnEAIBFjAQD+eJ9+zz1trHYNg+WYx4EEM3ldSOefm23DSbOaWqSwo6iWx//OnHWC0TWBrk1sxvQz17eQXow9q56N2VSRJurIZq0Kr6z3QF17OZttqUWlIPo7fGWr/C/jc7M4pUibuohkwyaR1uaBF5GN5XySqp4RDumfIXpYcRmd1UYAbS0E8FbNPC/6yOiqZQ0dMab79nmIkSwrwQSaqX+3BFaYcAwE7aCvRhT/w4mnebC3LOKPeAgwvrbj0mEpz9mlOF7FIzjZWS3+FF6zMMHntNmokpNRf3netGtctKjk5ivNbrtS0vVYT+Adxh5Ac+Ueu+ei8qUNAxQT7T1OqUtyeYA2qbPDnbaqM9wakDXiw9sSs7Tew/dlTHDGlolhG8/dEyEDTm1RLNO4FFGd10eHRAXmRZg1LmdYZ8X51o0Xjt2TNICw4EDhMfaIrsBhhdET3MdhF8vo3UzRQSb1eABxZYAX9B26QAz1AODQ1nX5ZsiNVqNjfV7bV12y53vKKeLE7KTycg+c7rOnAh8ZuANnTEgMdykTP0tLb3bLuUjaR1pSknFJXrOP6AmXZfb0f9rKTi+LuF4MvhXDaohJWhfDo+tPjYs9dbINiTwdZct9tTtVYTPxAa69odSwq6xHzXhWD9PZnf9p+IQUMK9eV3NvdBNtFYmTjB5StFEUKrLzMcSaGZMFcCWotmr7mRk8ywiJXukiy3whZNXOW2dkF2fPYixew1vEOK1Yg5XnB7TJ4phqhNMVfvNyoTtiDsxoXf1vDIWuBboR2boqH4UavKQK/JPA5l+PyuNa5X017+EWpV+buyvf17EXDJ0H3oWNpQfPCkQU5E5Jop0VDQeJjuiIX+0fzczjKsw1UlOb4NDGndeMUi15P211E/qn14xtSj2OnFJlu9fFdnXiIjfMbptUtP6nNo4/PYlCLrMqgJRQBzf+hoM+3V9QU/84WHm65jUrpwMdL5pC3cCvhsBRYxm7NCQhvWCBOyMdHcmpuZNm/4FQ1DVvGSFt9czYNy/bQMeuoHYC7JDOkwdjEVMyFOQ3FCgSE9AACSfKswb5Yjr1uxNnBHCnc+oTahH8p2zoffQ8+VZs3vP9N4HtzSaVtT7DscdJZOFv6fiGiu6PDGBCutiLGWyL1sQ2+4g0uI0PpCrrSIkX2FmhNnKY1LzkIUAIV7///GlWnHBYuFvVTeZntWmrMTyVqrHB/5PSY3Ooi1wp6yUI+YU8ykWPMZWOW5cJfTrG8i9529DVds1RYTV9wa0sg8lV3lA76og1IApw3LU+V0tA7/KIqgvxFf99QD7x/NZ+B30I+BSTCAOf2bjQx4EnbtynkNdvjTey11OmK9KDn0/mg3RVoGxuWBGjXQh1oWRLIz+E32trNQotToZXfXZ7NXYZLqBu9oYckuSUVbrt+I8AyYQSZQMT1I5p5mwbyWZjd4T9SiGIwtheUz7zBUJyeODg4SaMwiwGyBojBBKSG8L5k5fm9aamBcckB6YG10NroWEcJd2xxhT3WXh0Ev7Om2h1ecc7ENky52btG27aCWvOo7Qk1GRQ7Cl31pvHB2KXu9xQlHY7r2TKmgUWrP1XM18T+6lG2JT11FbTYIgsScEItp1MuvhKUK9qcKkbujF3DzWaCo9YDN4h+xgpztkd5n+IZVCYRffuIqsRsPBgsiimsGwAMCV/0t6nrzc7oCYlJ9HtubPjjD8pjIs2Kmr0T5K/sj67uPY53KbCQtb/97720gIiqR2P8uoa8jSGqDGDItqhSxO5cWgjj/zZDODaSGDBJERpRb6AW/32FWYhaWk/aE4KWuhW6ZM3C1775bN258vuz/KYVjHZ5XlxbuAZni2yFYCVBMU04B7vRgfNSIaKNws4RzTjM2PUNPX/RhbJQiwSJssVJo2KYcZAaurx3Sdz9shmCeZid8E8edniTwkdvo4yfbA0nXjGdwcxaaFlhDcDvN/wJGFD08xhXXEiKhjA8tZdIgoYuogJZjIyEU6XY4k00fUd59JJlV29MEnHvDm2/9TPzis17gjH+nCN8eXSBLSaHPsW6a209FnnnyohDVaiH3FqX2AURqgYZjWzdvK56QAtwAowfgU9OhbI33ttGEfs9QGdGUzL//E2T94w3p9xc5kbp44lzEEqgf35RUaYgKbEAYXK+ppbuJ8y1YMWfgfG179PnpSv7XwC+AkEoE0Ebk9EcbniRoEJReYucIUC9cm8/p++zGYjEKAndOD5PZEKcbmg9uQ2Ka8X014MBJbRUjlfE7beh5AjNaq5dpNG5kQKupF7Oi5XRhr8BP1Rf01T5qm+kupi+Dhrg++BQQvreLVDfNaqE6tV+ro5cmaAwY66smVnxnTTuofQ0IMxuSp00XL164s2joRGAtqUGfVfpaWdhyy1c3LCy6Izrp/9DYdbEF9fJZFT2BOKQ4eSUum3c6xAvggRGCe/Qd32LPUINO9gV/QT51sELZArQT6gbXZEwqmTiNRMg4bjfVZ/rynj2njOfma3dIwDxIg+jDdj7f7lHNf9B4dfVhbGamYVJ9zrah92YfThx4OpeNXdXxwsHfOiFzbdWCmeI1KqBXStUEnfjgDdmWDL1XRl5EPrXkyXe+f2VEEPHoUT3GfCB7zAI2vYyLAr7NlhPCeJMtsUzKpvTj+bbrjmwDbqr38S5/yZPYGEX2H2eOU0T7AF2vofgjX9R/WsKGHr03CCe6GwVnrh5FXqT2+K1VAeoY/WZSO258L0Qs8neAi+cawwF7ZFXkSdEs8KshopnISHJN8vEuRLN5qmk4wiImrNEZx6g9WJOTFAvfEHDNTRzQKFV9iO8ewfUytxrrsTYC1jGhgx2wOK8v1a93xMTbKQjdT7K9kGbzSUkmKL5FX/oJlZs0vUZzKT+1g6jyFU2QwlkxpeJCKt88zeH1OuPYnz9brrgd7/Jsa75WjHfXE4naVGvl35Wq70zzmbiT+ozGan6FA1jAyNbyJPiVmO0+YypsJ/b0eCSHas+JjGloCR4iwP4rzxAEG7bySd9EEbnWeXCPoWd1Sfx69nsXpCs6+IXRut0Bshbs9hHvb94mgYWjvFDvwogA2ac8nix4r+m09DD26ha3wkEEhtd0GMlA11EB2ne0CDT1YYHSD/3d0Lh+uANZ4qwD7jjPK+679L6rMyAmfYKjI4K/Ty75maisySdGQq3YKYO1iHyw9UZUxqK45TE3QZp+V3UrKpiIulF4iWmfCb2Ax5u3OnUL5Ht/tntyRB/HYnisi66EmBK84gZ9mn9qMymOIUEthWv5V2rq81yJ5ng+d5OVD++BDCb74iN8v01OkO5MhHAJigQe44eq3MPb315UNxiQRN3MdtIOK0UF9SGKvUi/OKzr2GX3dUvq7uf07KFEhe7sQiWlHooE0vBmdeJuUQbz/ZIZkfiU08+OELEG7j9Tc6Zmq0kkT8fTDGZwy8OFS7Zim0ydG//H8EbE7U4jCPYXBoADNDgi/OX14QapA/A34Kfws8cOfYDGabK0iGq52kBjMsDjiDAk0/LRMUDZz3673sLQdvejQ/UQTW6DaD0uTVQKPxZ+BnE3EI0Ii8yijs/2fw7AdzCCDzqZUdAOXOM8HG75U6qjrOp+i/n1IW46LJehJlTCNgYNP96CP9WlqO/LSAj7SbKyCnAHyvEXjyLIgtVisf3qFr+YpmV4xtddCHvLZ07ZdDwk4Vx3I/4H2f8SquRwJ2GWaXrUZ4XZNF69qtTQaZ3JkRd1zXL0k6XqCZfLcQlnpwckSyp58LEtZujWybeyMZmZThMXlFIzHeES97Mxv7rAJmD698W41c8At7qL3GoKxBtc1r54/9YkT0bBOBQVrEa+5/jDgAb+t1CGvr1iFDa3dEqPo+7k40mbCUIbEtwz9C5LRDZEmrH8bcTXBuSX/HW8qN/0QT3jkZYkr/M6CWXgGiaZTLgcjMvmWz0G/sMbgnmE39YeeSi8gg9pxAHHzdjxf1G/nEI0lDVlGDmDG9MdndfKRKz0OcpT56Fvm+9xsM7qAAT5oWSA9CliSWsUNFt83zMWjUXvEDjbKGtfUw1fERbYD5FmpEVppkUM2Xqy3Vy9T5n8HJ8PlzKAV2msYxS/ZV8CNVA3MV5wfOZ9svt3txMZct/yFeneZCkpPkVIc0WzV/+1D/kXfTrDE3+qld9XfnUyVWqFvSLmib865DOpEgaQz4BcvGql3eImYKOrPw1ZtldmYtQGPf0l7iN4e45EWZeh4NeM6ZyxhPtkQ4Urcgwtyc8cEHuV8F0jNEVeirRs5p3rYaJD06bz+QMHx89PptD0JRIuYmrTx+2r3CfFBbLgSu+RB2g/Y1zdO/GZsOEntMgDbX4iX5GgmpKCjElasZ4JmijpCMp15QQgUSRYfiu5fplUWmWfmE27sOxpARTk80zZfDQN200q2yXgR0F5RXCMMxirn2/7vi7fE6wAp49mq33sEgq1AOwjxwnN1e/P8bXZru3PWueBL+tqXFx1aBegFZabaYthzNf0MpHS/K/NNGuhKKZ6KAzHqaDaClbF1hTY1pweFeNuWWr6KPQrNQ4ZyMgIeakelZNnRCcv6w7Z4096q+B86z4euyc/eec6i0NqUYhZjZ8VWGq2dWvFCo3wdPOg2C4D8wRK/dxpiD5l8XHpJK213eRl9IghecskbCWOvWkm7OtoKX4yJEWfruKM3dE7uPxGCvx9lHG2sCwmjKy7308zsGoUACWlXizH5MxqjEygab3KSb+8X4pBXmC0PWKO2NJbQ2KFyOlgVJ4Ef1H5XF1NScSKxWaG3WeqC738d9blX4L6x0otPdkgN+rkjMNTnh9dDo927Abwmxkwkv5zNXp095F2Xe2MDhQXExl3WzOm5pMiNySHJbRbrLFB/Br1LBPR7NEa8Pmws+uaN8tPUN4UHMYT06mUPElWKGs/PIPRcfjFP1R5rywY28zP58SNEuLmPEpgw/D7XobX7uIi70d2TUNG3XDquZ7KJOUi2dBWzIq1jYD06qtO8F8SrC/Wim2N6d4vbFVjTbfgklV99RFHd1gMDS/UQGEXKM+tJu6jYPeIFz9zSGGYy2oMVxi8BrKFcnv/WeZ3kVJjDfPuYXctpOSlzipy+iSgix7051DmJ0RnWmHZGbgVgd6ZFtA1cyRvuXs3cSpaQmNjvUeROEWUStPNhFF1+x9dks49UxvRyxPu2pOVtv/ZWNlv8Hr4ut9FsUd2zMIzRjnNKLpto9/7jwC2PjtLsvddRyRhks7sMQQUH1J6Z/KX75ldrqM4qQpdJiagnB0LH4pIAbJQLCqiQ718MrzHXz/LGsPEUKh4XPxWtvqHPZXxEbrWY8uOXpLXe+wX/znZYP2F4h6o1Lu4JE++82MKk2zRpzSthKGGrMmgA7w+4WMgNzxpMAAo249UWrhS3zOOfjKbjVw8Lqmi5siTd8w363dtb4aOHhElJRPB5CwB8hSnCpuDKBhRBp58KSiAOZ2Mpt8/nUMIaxQ1FF8yBoXLeOBhcFp0Wj1o6wJL7MOvJmGOrOyq3C7ZpqfxIyokQHjgtrPeqnfQ6dx5VQKUXhmnP+2Wd9Ax1BlE3WhDsw3enPqcGL1dN/PEE229KP0ok6fadF8Vqyptza7AchXCkUB0oiF6HgHXK/PFYVGKCDbFWbQme/cQIq0rM/huT5dRS4VOzrHnmlDVUjE4l2N4UaiT9d9+qlp2pybv5H+xdGCSL5lc37aQ23MkMSeng8eLlerQ8KSOsLWhKIlrFyFk726XAzXBazaZt/yznsd+l+I+u9Vt415p4boKQVF+fTIDx6ScwbUyR7ru1hgxvR2jpgy+JrWuShcvgqs8XI9vHv09KGAwwW/D5OAB64TTUudh7WvQviqNqBM/3L5HZ2NTxHNFK2U68yWGg57VZHkei2WpQ1MI99jAnpUGTbitpfxjr8VgbZZ8jhMQdXcMb6MGTyF2a26CkKAYT4jRO0ZWha9LBFsUsCXXg7Syzl0eidfxa9yaY9+RcaC21LLWyx/dPlpX2LAB39WY7QYP1wCpALO5VXPay0FNQZMmF7ZOX9wA1MubTsy+VvDeJFFAeQEAgu8PbqxRpJRmLFQrhjmjIkB/3dIlyX6VYnfE9FpgrshNJmHdRtLZc5UxCAT6zvCf5DG4sC6uA2qoErkMKjGC5JPQ34I90W+eAl0pPwhTdmfOwjj5vF0uMiMcwSLyrWux1w9jQSEvZXRFvMLu+v68XbLvYKa7MHzUcOwqrbjIesD/VIk4OFS1XmeyuzWspa6yqzrGXM6rHbK780qol6yONMiSpEQUHUM0mr2LmfQv2y1Wdbgod0BxYSG08QALNp/YtsezAkRtsePCgTEOhdU8MwzCRiv++As6kbSDDNlJw1Dc/Dt9utIOgg45HY/f8Jsqn0ACfnOLXlxyq0BRo6TKdgvh2f9ygoY0VntCMhP/+KlbnZcosyNa20x5KumDwr2QawwkIP2aBT+ljl75uwdItJBfKstKdy97zVja4WS/ZkJ8AqU/XoVkot6401Z2Gv908cmRIB7uXVlNOf5xVENgxyqbnXVWDGxBfv2oqperLobvId5upy1UQNBSVZKo3s/9iytUlVvD6/tsgqSMHEfhmgDr6HF12ErWK7vT5YUanglC75dPy1hDigd7a4KfHT5jmx5pBbAlD6ttPqxZ9qtEX91ddSE/WEBZVd/R9kThTCteHi85zDMSp1/qHeoeQMpY7Mq6tTtxun6gguloARLeXl2Jlou5Z4gk0JQ6UGjz+oN5lbWjp8R+jsqoIrQpzb/xnTw41TA8gHoDDyhjjs1Kd4J6zTcZG/3Qi/XteFZQFmTEdzTpbUgzxaZynJ+EohQSxvtCKec9zgJQyF8nvVd3eZgNZEmJ/0TXrTjqY55MgI2qgedwk337vpMQTb7XKGd7K/HC+xa/MjjSKRD5vwBPVtEejNlcDBdCa36abOSlgNcbbRDQ/4UWjoFixuCPaEqWL9xU6Kd+Z73fiISUPSAS9OZjzc52bEUVuJ09o5lvVcOT35ruHYQ7/gjLok+RXPymoQjKGLAHGivnFeSI/xvJGh5d/u+/iQH/prtybj4frX8LlOak19ee60C6q3KuWEqUbKAbolQOdqkzNkrUjsKlNYairDgwgxpKIsNPfH01KF59OJmDLgM4O47MomJWmwSmwuv/l7KortbCwWzfbnOingEEvdW56dq997Zuk2m4kE38nV2rrN+/azdV2OuxgJXnY7UBL7SZ57Zzp1tFUdQChtu9kyLqFgrBJJidRKF9KR7L6mqVSxKVmkOMZX0DoRJ7FzqyG6Alhe4fqbwOj0FI1KbnaFMoathSuaHXlIRvIeumewDxbgiy+EnuyYpMbMk5KAkcD8Zxmfns/dLGJhSE8cwm/ZYBlk6/QwdHTOWCAecd0Dlhl+fGHW885pvqOVLJHTbODCzkEJg0+PITLlZ5VtqDFRFfGRzR4e+bQ9o7tTLFcQRitPnsJgZ6KKC8R1szWQZuoecm9Pjd7XnbhSKN/q1Nn9d3JPR5tprmlWGqV6cQnaziQHSs8QZrmSLE7eLhvA2r2Hv8hlBR9vIMjMAWy4AXCJu7ojff9ybmBnLh9voq8XzK/kxNN7Jk2cut8Ay6DioTIN5R0/4Ti12FfZ8yyQg6IIS7XuS38qbcf1lzS9NV6VeONfMcvPG/LwoDMmeeynRrlt9EJ8jO35eeKiCoeVBA0F/o0IKcZCPTOQhVtN6tj7BttMk2xAvm4p66WSykXOgTtnZ9wYm2BJIqO77MoQckEJYKDEtjvcCcp55S7EqD3Z555rYlF385ZzL0NPfEXPAum60UpgabIP0cBeAIq2UuyRto/Zh4zAi1/TaBD+1A9tbFrWaVhvksa+aoyVNmwVSAx3kJhHI6lPYeS+ASe+NTBI0yJUJ6AZBgPVG3mdkVUHbeEUdpbMT2YnsIgQzMSHQRt8rHxlyR8POW0nTovB2q9het7W9mK032TIr8FuYSOb/XOY+tJtGAe8Et9UDQlMCHAx6axww2LK8IucrL7oUDdpWVOlbeSwZDuQ64dV2JBBqCGvYnqs81ZaPXhCJf82BU6I2ATJK94z9qrPgPwzKYW8iROMNjUx/3TEvpcZi6S1dQ1WjVLosqMcQjnN3OAZm3XZw8ufadZeuyH5S7HVkFSkkpkOxfxR0Ll4yj2Rxuh9LNVY9beUhIB/8jTUjbiN0k5tenHfF/2pzuqCCJXBAvouNU91Hon9+PiaApLxCcweh8/XiQlFt7H142pgQVsAwGyAYACSgK05gi+AhVsTc4+9mPspQ9dVSER0XCAzsjMwh1sIDUY48Pa/LECeJci3rmZLh5Sk+g7AF0ZzJ3NhW9iY2sDu1VwVKEgs+dWHyNvHnVK5UihtvUPARCkmuCJK5cu35M369D3V0y0o1p+y5hYvFWu/HSeeCP2itezP5wIwMieuPkgANKQ63cCsEA/tX0wxhXgPWUvUOh4oKLxsNtRuRRPCBMsV6hKPsguz90bHLrLnA9WN1RYKlTlUGDaaEzfq98qpFh/DgIWaqkR/mCnSomkC2PYVu6ElemRvMZ8lakYp9dkLnCmVVCDHIeRT5Lfu/3VzSyzekWzcnWcvqeohey8B/9hTr28nlQvSb1TBLNZ0Q462fU/14iNGGtfAuhgarOo3kCGGBt0+fu5IqU/ID9AfJZn4WK51DxPFWTGMWVq7YHXpb6y1pqYCJuc32gkeXN62UMRnuyc3JkTHF/dlbXb922eGVHIMEniecFz2Cu3PY0ksl9oZHKFcVpx94XaXcvuWrGFeeOet3htQh+zOBdyTgnAV6SdloIexQD2Ysx3mpvDPICDZo/nKHE8QlKe3uW6Q0Ssdh7rogc84skFnYL1BVeIitbx0hkJvnJ1Her5pY16wWdLx/+L5Z0biDhsXohQi0o6pJXLaFkpI8tOXW1kOAANR9AFkRon4wGbAADDjxDJq0jPhtXeETtFl0H2Ebsw9WHs83E++qTAPPfJJtSF2SkxyMqHXYpECMGwOxZ/mplX/CF2o8fIfhTbYAb5NSYTc7RAcQqHYMCOf8L3Xdwgh3AIORSiFjJAIvVN0fr6YlXWY2xvKrG2cUmC9paXiM7n5Fpi7A3Y1zfHMV48Q+W6xldYpb/BkbjZbRxgEZra8x3Ze4KL3MmbAe5+Vzu48E7wHgttlf6dz5hbql8ZRPx1IQGcUEGqzUFt9UK33WGozL+czhDy5GPLbOCFdJn/HDcMvm9pgCnIMmACPfWBY3SunhXeXAEhRLCzzKJkIjLByRsU6zXErAtR2kGWnjYBOjhPPNGOE9y7ohnwrmeXG94mrP7bNSEpsTTm8N689sMQQjQbhyYyxnsyriLsoW+tOmhQtGNXVbFUIlWjn2bYETpEQz3K/QnTQOmFT90TdCTtIPrKpB0F9QSNwgjosxXFy2O4MFzQCrYUf4qwqpkhxey9SSic4TFXDy66a2oXslUK0M2n9qo409sf1DCsM/FGXrlxkaTK9NKR/YPVzg6uC6xjvvefXokrRsb5LnJbBA7i6Zqojb+01cavDiKk9+9t/IZPW+HcetHQAs3PmMIwlGIEwmkKEqRFNv0XHET+fTX1P+tzAlWq4pG0d28SEw6nCqz6rfp36oVFW4ChvfCEIR35K7yxzMCNZkcHPTDVT0/q1AU9/zlg598wOAq7ZxNZGQ+jMJgciGc2BUeMIv0F3dUyfL9uaqwQUytPRqu1T9ne/dC4ra1NAyDg1lGI/EsJNWhf4z6TRoDjfTwH8UipjCWjk38RlrnSRgoy37q3ZSSTAwkJKL6YeCTvDpg+bXO1IsD5qt9fZyFA/Q5ZX3KIbsHSUpMyK/H/c/2RC5ijfhIHhn4PzbWVxLxU+tTYN3K4fEfhNI5CnYAhyHRI2BU6/zWWeLZe24pkMrKX/ke429LCaYn69q5cHC3GRljc8a4+vI6R3m7p7CSruKaKuGRYNGC3IuJud/zzIUuGasDn/oQ/j6oRuDE7iICulAEWRRwkNqyPehoA9h+oQtiwc2M/Sa2aaV4boNByPnvuk5oqaxTsoMqH4x6MrzZTg2pxYchfsbS6oElhQXXfOroHWO2XkDesO8CdHdU/hJU2C5yo4l9E8jr7kpmRCoA/DOQh4zGnVq4smvXpLHpOu8DpC5yH0T/4+sBTvB6F/ruTaX7ouCLWXXSkmYVWLjoEPq1zS59JTRjgLzgCGNBR+1Z9B02EW7vdXd0rsROWFQI1xiTyTqfOSSzBheCULmyoNPJDJEsZHrmBsww40/l5AFj7hPKSARDa0Pplznr5/278Em/TpXuGjQF6VcQ2PwcVPp+4AxxJ08K1CEV7/eXQ9QaGGtIv5FqfI33a29fa1/ij79smgokE+1MBon+fIFtLEHe9qMcr8McfASM+JE/mcSD+Lwq5Jr9yDQVz6yd/QKpAMLUx8Yfq9evWXQuGj8kOoZXonnA35GfU4RJwcJQ7Sjwbf2miTL28baKhgcu7JywxaIKH3XaCNG81YPmr7SyHT8Q4+QZVUXH9dZiBeHGwQmsb2bznVYWnABzH1AMFFaI9a0XctIIfUMc1H7zjbQsGxqzCOI6nV5xrRvehJBMuVO/E3NU/kJOH9c8zjikkdn/T7srxqmTc4W1qY/H9eDpTN07yY/Hd886TXUnoFE4GzWYWy5hGV4h5psRvBELt9BAXgb9kThQuliWTO+bFOyLIvIMD9KpwHnN5uSGj/nRtNzvQkujKhsSJc77NTD4XoZVhV1LIncSYGzbU/mffk/vkKK4eDwM2U49jKukc57BmNgX7hn/EOA9r0XL4kkjf2PWhBmyd/RpHDFhR+cxUqklfC4Op2OUmDJwXgh+lqsKQSc8zHQ1awWqco+nqxmwlGgBmqXhoZjfIBOJhJsWA71RwCd6zjDwOWq6XJ2PEh4XZS2uBTUluwg7bF35PZLxKL76LlBAgczYIwQciIbvinm5N+3zHUmp4bWiV0TyUHBhCIBCT3mLbR2xpflme5nCftJjWdw8kwB2k5LG0ocZyCb8M5CdyFxJIPF4xtAcAfqktbEzSgVMF9o0eKdyoQ7TZpdA0WWZvrBOvtpK7TVVFTDDfXgzBtdEIjhix+z3J7eEmWK8NNy315U++kB+5q8+1TjMBesN+7rvPaj3XvQ2LjBNFR8qfA759E2EXzYeZJ2iT/pFJ6pLjnS5MbLmZBumGQGcL+k9/vTxhDT35lZqPlA9SrmGMEmey/SAwC3xxa6hyRhO2elBoUWs8X1p42nODPkjrGdPJ0ax2/Irlsk3vwRHMkIzBgvVuvUHaVvHI2mC7fja2B7yMrHCWTEcRJoizgcwCWznVI1tp4esfHfpaUMD6+F2iLE56pUEp+g8Dpex+yaCk4qHnilLm//t/hLfLDuVr7G5dPmgiBTVC9xjoz7B+Q86iY7cIXsS+zYATyoKdF04FyqJALDfZvQTOkK2rauNH1H2bA9iWPGKYwpA5reUuIM7I4fCegtr5znMrp6Sbsac08GCJjFDKcejY2UlRKa5VTTIIE4SIpgDqvik5aUGw6ZHb6EbcP5xP2dSmlLIMYbgj55EaPNxJxjH6G3MBALcTlwO4APBPQcqn5F2lFnh+ohWb4g4IY2nZ1zZjwX8kOnrQ0hg55GHPu4KsVVDTHHVKXtlHzvqSc1coaN7QqcqN666ezcsL22k/xUK6XhTbjUd8Wq3qHwYoBT1xiGkmvyxB6FlVGlZqURQssPs69DpYcDKUfok7X18puBN1jKwQr8cJZhYdCF4S7NPQrIz8KJdYZGhbKqHVNpVFsPJvX7FH/n5cUfGZzjEglDHHnLZ8eSZoU1VeJzkyUbW1+WfC+8NBjTY5lSMGWCw/not62b8UzjryvJtXEzpCXhxqLn49sEPXETQ+Wdo8f/Ge9UcB30afDrevDbwbH61YtHuaK8q0oLxaiVqUywmRsqbApfh2IP38W2EjDHUpi7ad4KhaIvaoG+nycPXAn9yQDH4/n41SG6E0O9jxRLUkCD7JIwhrWWQfGQj53D8NY7KX+g04wDqAtVw4/39188TiFQpI8x/AiRKVtQc80rfNJLWt49hIsiNVwxAByEgdF/+Rj3iY/DecZQdnEzFUe9Lox9xOFGMl5FatMqT9LySOuWsBJ59t5c6ksS3O4NrcstVOgjM1B+Bo/QkkzfHNX9BuFOgnTDO1e6rpA7t9sHGpXj1amca1c9QPdoMVS+FUJdmPbIYqt5KKSlKzG7q4xG/RE7yFZf5NdTWj/am8zYun/unkmR8clplV5enOs1wPKEcHTPhR1RTGuF2l1AzYLfpcTZM8gRq+M8ZcjaEersWPphpJ7qT+2kRdJ9dWRagc5lL661eNR20ls7j0oVQp4/XMlpcI90qBfO9Ei21/bs5PYPjwf1th2zv6Q0olNY2bOT0yDdbJdDpPT6v+l66cOa9x55Jqvdh7po6l4DNjZPhqkNTkZqikPAfTPT4lQDicmZXNeDcQRGGLz+Gwq+NFTiiKdw/hKfEJujSK1+I6vvm8DpFASqg/93IzpxPhRq9Ey6sohyxV+rviQbaSJDdHlze9dpl9KilZUgbtnfQPBYOfJ0rDyl9SFbrI9H6NbvmRk2YUMwP1bImchlAPUwF1vCNj8MCivzER17duzoCtGmk/qFGV4sZtXzbeGYJqXmhSWxVxa6jW4zk+C4osRRYY9FkvpLsnnIZLuhJWlj/oSE6ABez0THkiOE+SISswPg+3schJwxJkD3Ibn/8cXv5JrWCfYi/XfULT846/Uet9suIB85ppF3//4KYlbmBfYC4C7dFZrBZEFI9pvhboRuZLcGbNV3V5s36oo0ek7eLeezAS9GN4W4G8riJAE68Q6ZYvNWcYNOzCvefBJ5NEuKzq+e4clkIDejSJ2iP+LNqSune/DfoTlmbHlszucer7+nS4AceK1lUe+E6GhI1jmu1D2SspDCtLf1Sn/s4P5zpExrNWViSOFSqX3ldJZdniu4BzAc4Z8x122VhmnfLbh6Ui5c+fLqujUCFLX29Nj25GEbydBN477x3DqwTBEpSaO8Zvsr0C9DC9vmuCDivDNcRyKQYGyUgt17Cgs3lAg17kBNr8O8TzkM2ekwzJCl2m1/6r17OjeV3DLPZYllqhWYmq3IfefFiVPSZeeef9IqJKjo9jqQ6CL/zwQCjIJRzMp+lp0zjHZbLg+LU+LEREtTwYgzmO/pVzI9BPy2/H5DbyZ+NOt6VFwfER8Y91ZJjXk/lzm+6pRlenh0v13XbohBbFChlerCql4AQODYSof9Kz/I/x3IkCMAaSmRQeB8ONpOBV2ZHu6NS4AWMo9Ib1M68fRTLTyazWcQpEi9btXyS04VPer+UJW/9M8KJpNlItUao0Vs+qGCLDNpelePFSyjRerGrBlSdyPErAQAtpWSt3BCIX9nmxqGnZ5+iLONm8vStJCEIN+UKSOchIQzoCBa4o+p6sRq7A6o4fzKCkLu/tDJi8lC4gVAjbuOniKmQFAs4yjsUeO339yKPYo3OlepesMnWSllYAy2kSDaw6e5CrHIbERdc6LnAoB1nfVZlJlsEEaA4KLMHvzEUzcPtkq58RHsMkb4TJdtrQq2itTLZFMOB2CfpwBfYKhRHG3jnhOg0ekeBps33sigrljedSKr1SN00SyVpdu2E6E+P2RgktBqaIceT1lfvbaCGZCXCN8Qbb/vg6XGHoh350N13WBMJ1kkx3ktGVo7VLC4ptyzE/NmPVoq5OQehQwEPYbAqJOFbWnGGN5wYUh5fnM9jsNvTsLQ5E8nzrrPguZSc1oj6qxT8tyJGV41gzd0UR5q+aM8rZoiH7g0UR8dB8nqYpp4nxuBHVNeBpcGUqOFA/2lRzjL1dKNokhAy6UUnWIqjjvyp9FfVbLi16sDAAYdZpDHpG1ptdpPMNzvEGRN6cj3r9kHL39/PwubhLDjq+d+K7k5Bm95f6RGhxq4Rr9nvY98Cj4xhYu9ssaW8T3cfq7jDqRnOaJQAoefS7cOQ7srZrX+MZUlM8zM6EUs6fRB82XKtUreo9DhUVKsVIz8LNvc2NIQEY3YvyzalTFXDLKPOC9nUSMrpNvTH+r2bMgZ15StlmDmVebw/zkVJCUT84YdN2RHHvZ9WfYDEjUWh+47HxjtGFTG5csb1Ma9NaITF2FFqYUEt4irJv11QHgabdSmq2tWBNgISRC2GcQM2UlbPw2o0Ijcu1lJys2CLF5zar/BHnA1fDK3teFdbgiqd0aWCBOdyScNbtXK6FvgXVycKIoqynjvx33/DYyRhmtaZqLY6xdMI8R5/q93xSQ6X9bbPqHq72SCTo/bmYABJDpuQtTtABHgkZJsybI3K9+1zpdvJ/iXhQHvIDOqePH6Plugr4TsDjWUtuJXM7iDTsqpgu2MWq6gm91XocWpWh7Gh8A6a2KrL86Jeih6pYvwEYL25G2kHUWH3Sdtceyvit/MwDExgFfvz9K56lwmtIt/Vb7mxa0CNRZCIVi99f8jGOJDEfjSNM1qXor2uI1s1eJjH4e1IudB9+TymKS93m83Rd5i3U2DAfSIVdFfQNgl76VYgfUsJOZIQVFxOVHcM9U5Z7iXwheb4lBAx9XfhJITAj3Yjazd6qGlSoVVkX80dYQGFfmaPRKTxDo2St0OiNGrZtSvPSwyY5xyOA3iPquGs10O49N4a1v83aOGv4IoZhmms/gGhVuzt8vRptgouAYfgNoYoWlcK8SB6IM7/c7UFUi/V5/r+uhniVoYVmaFpj6PgaigsLTQ57EuWBzPfx8KRRQTO078rSdbmwdtp5AfHeA6NJK4ZLELlZ2I6h4NJNSKgk5pvRMpASaHsvPGikCmoiBBTtPlQNCn9vomHZSu8YAbFf17TT1YNcUp82pAz/gokYFKJ3jXl1c5mVD4DG4074sPueTVo7ebV/zUcGFSkAzZtz676BHgUTTXDmOTjQrYMArsQIBAAeKY8ETZ2AgJqge+RjNL+VkP26WAqdikPtoCpp02bbBX7yt4RPFOalorGhoHuf/vMlSdumX9OeJAcjb8owl517+kkDzBOk8eEWVgtshsRYJQWsVHU8RzMNMSi9AZk0iQ8/7kwaDTYylan9kcsojRWaEuV054upIc0oSLrIf7aSrVmnEk9Q2u+XvNPYvLjmeRBjOmHbwCxIVGda3CIiPlBhWgVwCSyEUAVCzLNM1hOPaqk38aRu6CxjJlAv5JYFSaot8dUBW9juoEkF3u/LbFRT5S1MaQCk3APi38BhGFf7J26okJ2yrbCE/8rhbmAf0dz7ttk1M4fkzs7JXoMBOhP8KE+kU01Wc7mlEQ4fwzCyVuvh0ZmXp+9j/nJBmb1u4LXdHbE58PZo3G9w8JDwRoVF65Kf+iSFjQpOcTC6A4XgDy8BY7Ep2MD8qtdruz6qMNyjXnlV3B3PeWkH7sHjANuka3itYDfW2ciZ9zgGvfoYf9FtAx2rEMhcd+y05wQlH2DrPOvbe1tVkTUK7uaCqIE38ivWNWuHBalEvUaacG9mzvo6oRmT+TGLMvkCT03QADM4kK2REszDfBEXfHVPGA8shdHWzzC8LxaJYslj9GzD+qZHCg22jZu4i9xo6NkdVYL7IcOleG+nnhsMAQAhOi4C9Z66jKlgkGuSGTFvP4kWLX6lpO9Mp/bEKbNOfKJ26sI244p+qBiQ3132QBqA4kzVr0Y5lOkZQyr6wkUcAjhQDq2A7K5aqYDQ6IiNTO/MoGztJZS60/ZAZBqamSUvdlnE61iJFFzP8m+aFAbihYu/m9TeDdk/e2G4f4VIj36pE9EQqkzMBD3jUlTOHIOMl0e+iSw+wE19oRidsY4y49K0bSxbjffqHKXe5JboljA3u3ig2FfItNspKrhEQsBNKaYONFh9HKvmKQZM5LeF2Yi0iT3rl5ZohQ+H/1/8H67HzqDYuJPnp/qaj7wbTj7+NrqiBDdqePoPOWaP+uBJ7D7CZzUUVCkeVRRbRCX8T6W9QWXrwpMAQpMXHg7VvpVeRuKjENmoH4UPzHyhrbkE31uNuKu7XJ8E3AeqTWj6kDhxa0vlE7mP1NP/Ludz4PhUdGQoBjjBuNvuQPkXGS1WyG+6k3LFlRq/hQb5ii3/fmCfzWjHhVZCfLpkhMB/qZISXzFfrvtWlQ+PgQEj+03Dxjmmj1flcVjV45E+gQE9gtsKlhRFiQzsRRV2FwcW3nBbB1lbLJb6DxwLO5vzrJFfGYP7S0WLVH54hEVIZIgbfeY3sMRZJqD3zv9V0E+laEpKVNsqWyaPFArtFOcECmoJWGFTnmcI9WLAHcEoWacCTKJkyDFsMzJtQmA7gtrfTcx7YIs68RmRrotgLvEMXfuMiXj6F9YRDrjhhL0cZd8XeWnFtnE4KCUJ9j6NjGbRqkWF59ewWXD/XI75Mtm1BpgD+Y3rfESIxw+ZQBi5GljTWyM59qet4Qy6XxgXzZhixiAiBefjlc1IJ55VI1rZCigbHJHiE6bzDm4XzsQVlOlVjNJQlJYHWITzFDh46+6l/NxODm3bxR/euD4lABaWUDuOJ+z+Qf0MEDCqlLfoQTQMvRqGSd89BTu+LiykBeIl6OfuJAdfelshonkK93d01qEIsfnd9U1bDj8gR+wCT5rojDP2HbN9q+Kk138JMsznobzJZtUoUjK7AWBRUPdmVYiJaVz0GbHs4L6EIgRCH+bOMQMAcsUihzbsoE8Dz5fMSI9FAXPQnyWswZtMOlm6ROis0JLpwl+TkX1Sw7zXDpCbCbHWGOw4/Y8oStEcf3nNG0BbA/Wx2yxnmwJGO3REf4hKcSuIzkp0TIaw7qn5YKRq3e5cvNyor+Kfs4LvDSQuUTz7EMOm25Qd7EwevVEA4+Www6gCeyOQH3lKgigvkBiaeJyX115aG4/ZOlD4P0XQjI9zqsnZgl+6MU8r2OpMNzwEFPdAeC8yfQo84eaTG2mqORV8xLCQXhAd0woAuSPcCaZbkVyNHZGPPUPBwIO9cHfv9sCHOnfVCqOTjmV/ukJ43Y+Jz6VlYEIGb7u5VoMy1QtYYypSYgZ7IcojEXGgMw3Op4TYx8VtiSj2j689+mOlWzCcnwRbVqqy3p0R9H17+8Lt7NeIrRKIn+57QOkji2jcF9s3t1PA9ghCah+aRuT244RRTffeA8Tc5bC5H49dRzL9KWK1oq1dQhdTFPXMUSAQmUzK/Iw4bDPVG0KXWm7en+9YqPd6bbf5Brvd2EWNJlNx0kwIGsZ7rq19Ma9lWOeisDw8WDcaMSJbqsc1U6mzm4/GIBJpRUY+PHqwWnPIMswEVo9tTk6sRkFlCuDoqf8ZhL1rLQz1FLosSiQP5SlpAOO6AbSPnWT5z0UkcnWzqvdDIUGnySWaDnlTyrEuF9ViXoOUNGxuS8lVyG6kzgf8owZB3a87FaF3nz77U4EhieWS+hC1YgaYyYpOps54Vy3O7aF0/OhkdpPVP6+LHXsMVZtv6ZSYzMayQIV7RcoNhSHgsPr0wHE1yTkj7eynPDM+nuznCfZcZlcpD46+dxAgU2CMZyKhUvgzzpPJpewRrwziyMei0xJ+JMuummpF0AQ6SEmRl0ST0xPJgff4GPzIGYKIuYLnDwRKZQx8FVbRngBHhn6fo4u6RxUcTqWRrfaHUuqQRSKjiZVP5tFC30nOXhsdF/onLgfR4V6xTQuDk7IPE0t9tDgz8lzlrt7pZ/vKybH05JPzFHSGHXFM22+pxL3tG2MU2varcVJoxohmJBy9ybq1hsl2bl/4sfCk/pL/EKgfgC689XwMG8yf1aRuxW6S1HxJ2D5WjL82FUSl8YLmQq+zGz+ixt3mW4TSju8AIAimQGF6bbpsT1y/1XUmBBwRkx8SSjGykWrQ+xun01UhOTO3DdE89KMYTbJycaidEmtvZEAwccSVi8OvWCydrBuadeSBkrjlLzVIcrFK9HVHI1SgVE9eQeMPiEsNIjoQ1kcThcI0GKAZHcs2lAXH+rCbnsJpmv3PGuTZ22Wy6kk/qZtDvyVcmbI9Kyhq0N4IP9d/Dj5Ke2HECdIq9r4zuf035BiWrKPJxJPBTmf2LwNC1yA6bbwFIwjpPy0Q417C7v48anEJwOKc1p/tDx0cCcM/XfzBMUskjfiP9Iwr6j2o55qJNRuFw7LqRM29pkrfUa5HEct9NcrSXaO046wEnNBrZXeIUWb/NcRB3khYpVfAx4AMXUmtIscCr/6gQlSqtAXsKY0LsgNIppWVqJefYT6NETDBnZT0y6sucDYQUtP3nZFU+tpiOddL53+eFMQD/rq9MBceAbqDOStDdzaR6MxRCPMzz25DvzA3jP60XOwhGJCDVPIsCelHTT9kNuLu3BVn2r1gl1T8bW4IWnuFWzG+Sip5E5SGkLi9dluYthLVOMFrAFJ9EN8oydZx0sqAg55ynq3G9T2UcWcal5yqISyRuDfm1oj8sWpqMF7av57YdpCPYcSkkO8tVGbvMKxnc+6D7ScA1o+iZz6bWOZgVBH/fJMl6UHwRWXw9k51Ml/UFEveWT+6sjaWpAhz4NpXjRb/JMLGdKkVPZb8s7e+nRSMq3oAN34zcZDWzuYNyI/hmzoB4pwsG+wK9CGBwUCfFWCF7W9NnIowOigdRy1YLg6l68qtZaa8yLgn0z/CVt+Y0pk3NA0oD7PFeO7uVC0ix5jGZd+2LI45c7tisO5gaNiZQ6JJFO3BSLmKVyrldFl7N88zXCZJEebLLC9xwokj2frcvlsa1xSTe65VLb2/N/h6CW7/WpMrFSlh4wUWWLl0MJ8t7R79UjrcaG24gIQm7ZbKwru/uSKeMvN5tnyn5YBIa9MfhYxwg0ln2pdaVr+UAzKrESd1F0cB/9P3yLvOc3WhgomEqlZPajgluSWY9fxPCvFYXC92WDxTUcfjCIoLd1DO7GCLobSvhgc4sRFBE575/eLBO68sy2gOU5sIzaBBGVJ7xPd+Fx4yDpgBgO+VyU1HLJvYM+otmiSeQ04AL/byfxmSpH6b2thmJQd1qIoXuBgl2HekM4VeKK0oCEt0bukxuTx5qWsOw5Lcwp1+ovQpez8WVsBPpr9nFNENte8/0X/uGfBBbgf86xG7qq4shs5+pHNBctQ7zIZPnxHNp6h+AAyXIa2sHE/nLzxm2hbNc/2E0VbAT95z8me9WNgbW7dLRxkuIgv4CIMpvJPzmfNuP/kP19+YFX+qp1mboStM1tfIvA1km7LAdqxvtWAY74rcxkSOq0A8iMQg87ldk87NmTLgX7PRwTY6z5KL+eiT+i4uTdvGTWcKU7OFjOi0KQUdMjQt7DFCC3WIjfWsWWfSBiLQAWhRIqc/iA8INtMtC+ZWETLLALFMgPQDqCWGpigMdls1O1l0WVSxuIBjWYMvCHzdXZExuk8maXp4XYhLHwuzh1iPrS4YtN+nLmb1UyB8sFuNddmHCVf9O787FxVeb38v74XXI8Y8S6AV7XqVeBQjK3afukv+V+0ee7l8CK4IuyGAUscBWRFNXvHEvIIL87LvfVFAvj2TuVe4DQQCNssg4nqGHhvoJk1ua7RbDK7v66GA7iB3rPzYa+eaDegMA+uXBaOBpo8Za+dhilfdUL9jOqey6GXLxHWH4whRdoeF3x/zFf+hoAtB+jSnPfpz6nEwfDBQG2V3k4afO5mtTxEEZ5k4Iav40TO+eP/nrjQWPEOwLNGZKEGdG+uO4Xcy22oeWnf9BvZnXZzUV42wmibgE7CIeXiliHxOeOFEhzIAnr/4HTP+DZuLP/wQJIk7Hsh30YLP2dE048OreDqPCxsFC3sM2K1x/Q5qyt2MbOtp1SWhz4+rb4TSDGE3Fh6ksy6z9C4dbaKi7WLyTXyKfuncf0aLBXKQ1AOSsdNFDAkaJ1Pwl4Ik6Yob5iACcq8yQoKnCaGd/Xon6UmDQ2yWhzyl5mPdIxHTKNvHMdbVT+JF+JDTGVP6Ix9DuOvMXAy0UK9QzFCg/6qWEdGSvFXph7TSYnn4qeDv6IFK5Mmkj2nVM/3qR0IioaUqAkAKwwHaIkUJi1QuSDO1HzwflfX2wf5SHwn6yw2ObxeW8w76p5/jt9ZOfcrZ7R2o8SB5D9hUHskZlxMBnMXaSUqkVgvC2hRnP+oN1Oh0AOAXZqQWBXo3iL/3gInmMdyJTd3uohJvpSp2I8RAzcQKjnaoqGCvukSxg3Fk0zP1cr8nxMyoUOgkwPs6V05eoV+nVzpQfJhEClKlW/+89CpmdcUmGjo1XjNjuyTJmdKooiLK1yce9gIVen2f8yUzMmt9An5qmTFiYmGRhOfIhsALCWl8vLUqD/tyZhfdb3q7TIwJyA0Tv5xW5S93T6dFfsTPoMpPqJV0yQ8xsHD/qz1d+RmTHCY+9UjDdUTAEzv8fnrJgQvc+ugmZ7DCvZdeiyO2HrAHDki9SDHoCwh4ooZ0qKpsQMk4+Wh622V/QoXpheRqdCg/Gmf84JR6UW94E1ESmDQN0+Unx6iOze2XMX4MI69OdGSwgIm0FKamI9ps1BlwnPRyhjYaPNq6h5pHYvXUE74vkwYHKCAuoRTkQsQs+YT4DSbOrpvMQP0j6yruSnm8G9pFnl1rntg24uL7aMMzF1ZBOkH3N5qou85Tuw4AR66O6yfVSUISamF83XDD0nwfabKcfQtZwb7njarV4KV84u1yUqdSbn0pk1/ioEX5GeBNdLLfVoVXYw3zNeKrUnHT5U3hQmbRHNjlTWJDWsyjPCGuLW4fYysCExgotFwtPr4wlnjdrr1Y7LdkTqZz0jJptf5Ee3vC1/TLbCW8ekimhNwVTbAn04GIF4RYRbnWOZoMKa4DpmFWctiqwA56WOM6S+/tM1ZDBAJmtp6Ynfq78CTDezCEAZdoJUdoDcTm2y0tPbBCU5USMrzeM3P+F3ukPAImGAQ2aXuYqiR0AMnZSKTcmW0xET42Ywj4pM5gRQgZJ4mD1KGf9xXUIJqWLSwHsT60gXU4ZDg5hsqYOrWNpHIjqYK87+Y7oLsUc0Gv55/+tLPM5rTWe8/Ah8w/YyNLrblEqP/Nwnc3Gv+tGayu3Hp7s3a+eBEgU9YPyqHbGxvzG2D8wqZswrw79UyxBAEto48proBXCjLhsGuAx+DDwMrwuZYw7Ksjt0jgJb/QAgGMjoxHEx/unjg6Q1nt/JvJDjb2RxR00VzCzzTGP0kyj+ZhkHuXw7RAp8zB3KeCrh19VkWHKcugoT+HctiEmsp+gFYG+SDqXQQ/Ha+gNiCJXsjhDM5ga6l0Z4oCOK6uaus9khUbVyv9fECGupP7eMG2VW53ztGvyw5YxqmBDQ+ZOQnVzLHnITNa+1/MwnQPMgymea0vyeUVaEUMY1Mms45/EoSNEOBrTv0IalOMS2xsHKCrE710SPpG4hambkWIaanz8k4Vwp0cZhGWUKEQKhKxjDchBWmZZNG4R0Zk9S9cLVWAy5kj2FgyB+kx+KsvB8pTClKbplx6F0UPIjVCKea5D4xYjEY80TTGCkhqvqA9reSDbKRFq+hw6GlXEZEic7TjgeTpI1/9MzmZzma3fUCAjiaBDN0GyOsfKn6wImwkOs9iZ7UjBhZevd779biRGu2rx/OnTxi99EenPO4ts664m8xtsqtRuybutpWBmLL5YNpg3hmS7o8sU3mDLm3OIwVOBvcHVH200FprEnmGeVzguNZ0BhzUScr+sEHrVO5bD8PCK0OUzpv5TfiLmy3B70t5WyMTSLR12BLaLT+QB6wnhFkegmimI7fScJCrRIB4TUKtKDlemckF0OLUVsGGWaSJkFy7GZZSiQdSY6S9p6bncPstMskNV2ydw+oA/e6lq2FqRwTC7B0SZcR4Kfk3sW4oCJ1/MT/45xUT1TpywN5AOrMRKNr+Glz0sxmvMCFu3CRBuxDoLFDx4HqtDp7pYQj1+HdeGe5egiMua2q/WVzGw9qk13hHinmeEdPqFTeg/excOCEBxw4JZjKA6e+7pMFYmhC294/1BiEPXIrQpQ4BGz38b35H1gv0rWzlDASxeb4LupAk2V2F9sJSmBPm0VnPbBy8vkIIdANtlCvw9GzkinccHdIDM/YI5LlvvqRUxbkPHBygJP7U/NuxQREL+hLhBfxcuX1nertUNmd0uj2Lwr1e2F5XY+s5ZU/BtYd98vyGQ2AOuWh4UpQ5xaRgucqY81o1HxjeHAnztYsjtC6qthMV2/aEvePVDG7SPDjOYqN/upQtcHyDCELDQRAcgTTqik+4vGc12pKb1i4mEQY+FWg+3LgmjyZKVCZjGdY/d4Olzt2vw3wh90OMPq2Xygu3eddR4Uomf2Vi4s6SSfaU76fJLT31+sc+bjX4X1gP1dDwM5OQTw2hmm/qrxmz8j9ICmfrzjLSJAEuKON8xnQHLuE9TT5j1QTTvZVfHSKFAA7gEhbQPp0u5z9Gyj3cj85dGY4Wy+Iae+3M7j8h1wTomNAOmimdx3YbCvwsMC7ALPCS6bGXAhjEXoRuC4aru+/pI0D6kLiYlJVH6LaRcvooydX5sFd3L0JkDBwWfoxPYtSSUwqXh7ZOVYwCOZzJlzxDMB8+EWrRGnqOlesfb4g9Mvm+0YT16gbz6L6BHdhMCAstANtC1Q6jjKB1tLyO1MqAtOJsNPW7qaRZ/tOr6JCqS6z1Nz1S9+dGOFOu9hlUljfQ9ReZgPGQtaXFfRo3LYEKraO1BCbcyQ14gjSqs/EFmriUDS5ix57S0ASiBhs2hfo0OkQstGL94fJh3qiCSRZGG2Uj9jM5/FaK7WtgfC96bozoa0Md39DlnNUapolWV4jba3nQUOtpwSHLRaOty05itChtvjoAlXlvy2CXb/nviLq8rk+dELSjxoXL3vpsfS+/rOmp6hrNeT85EBY20vwiYSeOu5WtScH6ZDk+cmRxgicA3DChdBrWDJhTju1vm0+MPaxSmiWsTszVGwdXXZDyfck3/KzuynKR25vK/Z/A6db3ceNr5UnV1WykujVxklOmHgTuZFSwWhBuoD9+FggRI1+7m5vmgLF6leOqNBp2zJx6oKqpcEQcbWiIGtUN1OVbRnvoFpp+KXLlCCj978vpq85vdwPTGJ/YGz/X8Tsj22qOitTzO7mSoQpdbsSR5Dv4lO8HjEZXziWnNqlHZMGf7iJwyq8G/LIG9gJA9+VvJ68kDGu31iIKMBeT+6HWTa1+KxVpO6BVvq4dmFAxf9j1KV30Nab8fO++tKv9lBR84D15Bu7KsTI69Bkjh9S7DQG1mwEG1iqUlv8lY3LIBL8RF0JptmUJEg8l0hLuj+yijX3wTtc3WL9XKGWDd0CFRQByI/BjRtNJYD+xOocXwV8CuelvswJenvBGIl2wGC+6ESj3uaYMf+6jJYKc8wKA1ZHqzuVlkiL93stVLpBgMCzQ0eFA16HWb6/BqpBQ2az4jFq/6o2OomiOer+QG0B6YiVqEVTPP4jE97i/8izOIVvOyGHnqUgPZSQugrn5c1wpaRgt+lcpWilQ4LjjfSO9j3cBnmxOGys827iXacq6MHEY6oYGC6GLIOQoIl1iu4pehDbYQf2UcYq8FY09cyfGBbWDPPlprFuZSysZzrRgUaPhzsjZoVypEc3oN02oTQKhcJKVt7CJoByvyU/ae01lST4o+DKeFrDr55lJGddgwCnuMIYGCNfGZlt7Q5JfNeIMWgq+CX04McGaky27sN3GyA/7X5Vy4n9jY7xXLl/oaXrllnTCxiFUHB8+3+VE/JgQbbnWGSLfSV6Lv9Jw0DtkVkdvSvMaiEJzuVmTHXj4WgY6pQlihxymKUPRcu379kUNrYnD6Qm/VQ5rsjaeOoIXcxwoTbn20lgrz6aRVQ811mzywVJtoOU0XRvRasQJLsRuBdBUgPms7fqtnQHPhfNGdWAbGb+abCbLCK3FQVgcMnWFjGn4h3UAKixUfUHW+MNraF2Tx8MdqAjXGeQUwu/GPaXsBEw6azs1WvpykoIbzZp0c4Z3xow/adH2mht01pNWvPLq4VC/Lmfhh1w0P3xLbKVU9EC29pIk755oH8ddZdREwOb6DY4dLuyKbQ3JgtrKTAOETGqVRD2Z+s2Vy73KjwzPzgVSz0gpH0azWPsGiJMQc+hGcSPmGRZkTr8QMTuJAF3nx7qNZiF75uhg4V95bKiESXexkSnFo2vImsojQGV5rNJGzzf4gPsSyGEoLk4Eq15MCvn07EVFK6EkTjI07AjZWb7MoWnj2zqHfYCsvJDIeXgXaNusSJN80w3ZXAFUj6aaYqqLt/nrIYjc3lWyYNyEaQWcwRZpu3WoOpofN+6O0z5sprgEZ0zIA97F/ULieKheOcdRjahPWrRtE5aDCaLY1x1vbQSoq9jbVH452BIdTpb2IeahbI6zNv3jHKImOI51zebFWmHC2c9GYoHvmq6pSPymfCC4eWhFRBO6gCeD59m9aFzMUNY2OXXfoEsza0BWmYrFxuS3CW1ormb+kcqF4nt6yL1EsGRPiKuoVmn9l4R9A3stUPquBPPJb1aGOzvoZ9YEr7Epfua93b+akKN24EO4vTJUeNeXy2v/q7JW9ohCjgy94pWWVRHtqWsgnUdPXJJJ2TXJ2TryqbqfbYB8GjanUbqVtYyRZ3sMwKlRXq/U6OVN17M9OzHYMYlrDkcwHn6gIOj/1Qnyb87R2GFbsLXeB89a07FeBrnb6PHsPxeXG/ifUsSNznIT+Rhqgmm/nV0A5bQtfbuSGgvidX6zOrRvSVRFKGnoMUdFtJmQ8RwFeJXf2jYJbZvoYGzEIUeie+4Tb1iTOyHzKRVKLzdL6ZkncT2aKlee1CLrXrtPImc+AUAzdFpQmPjeyfrBUMTbOBbDkQRz6RrhGlHsxIKVbFjBP0l8rQaAkI7Nl/HGfvPSkFDy7xzKgAkpsvTSZu7nv/W9SyX5ZiIMd4o3h5DU2T4PrufrVzgurzvAyizsxmTFfuB0B4bSk74m24Ajz41cbM+bAr3cSJnPH8/yi4RNMsekGmVPbLmh6J7NBZYjTw/0jW+1IsSnUf9MVypRH1KHLx2p+SMgBkyIctcL2Pw5rGWpUAkM+CcPDPD1VFr7iYIrOVve9yfSh9QcWh3sZ2pVd7TvFxcgn4H2c0VdvZLEMnZSE7b7OlcsGjPm/Qc7wUU20bxzTF9vwpG0K71bcNj5jPuke8NVZvxKssA4ZV6KD3XEACwtZzc5J65fYfwx7IboFwqp4iT3CFgryn+2qPHCMtt8Gldac3PqwFboIVSguVkChinmUe2RIb7ADFh9h9RQyXg/ItieJqrwfHuIyU1NCRPiQ4pHfYNldPU3dqrcC5vq4CJIZGLWRN00yXGvyIl1HLo4yK1fQFyohxnWZ1udq+QQMWiWj3VgeNaAMCvhhTXF3uTEjRkv5qqiSa37/IclU9p3zhIu2XnJcx4xVmm0MkKjwUdmEXQ/1wSO5yzh8nOs9cGvzQELVgkAdVp8Y+98W45T4maNht0h6wAX30ZtQCj6uLBoZtlmCpG/qSkLv+X8d884ii3/BHR9ucbGSmLsw9q8BpzrKkjtiCQFeD6kisfI4jMQFg5Wm742iBSVbDf3DIi7B4WyOPVXc6n+6vKsQ0/u05E19Om6q7UQEqJUjk/tPQ8VMsAb92w2qyP3H1aVBAVzFAhVBH1hj/4E+dnX1vUIqBk8qC8vfvCxo4jegxy7iTZwsULezSY4Br8uVzcfPyXOrALPKmtDXe/zwFKyCPSs+J/CR6+ImWVM3YFaSOjRg71gS9QtDX+954mTSXhXiPt2cHiTj303IJlgoYfsohcfEo1Y/PLnhTZQg9o4zJmbk/64B7qVNke4EjCMZWZ+gis8GSh+jq272b3FzkEdPjOeE77HgDoga5BdfBk0nbAVYBTjTgv1Z/151UQTqpz9Y/l8kfBZceah1/lXREjTSH4ahs78vEWeithgz/a0sWsMFIc5xJyOW1FiqzVUW8ibVePeHd/3TKCI6cBm5vv8b93lc3JJZPRQIJdBeXU8kfFJtUI4aic/tjTd7oLXP8Jl9HvvSwV8ygYcTpL4QZegVWjfQDp7KvO42gvQyfVVv2+ZdZJG35b/Uq8xdyDKuHUs/+dppR2vegEXddltRnBKgwwTGaWNMKROZBFwSyBX3dSlzNA6oAU3wFcwqXLfIOxUNGoZQK+Sezv1xHlDp5ZdMbhieIPMcBYKJOVxCvA++R1dDaiGIyMKXODvWk4jBQEmxQ7zr/4Bu+1cYIwlcZueUWtWxVtxAQ4Xl38CGeGUjuRAYM5oSikrnx9Gnnlj0ffKSZ8IYV2cdylUr7F87FaSeE+ypxuBRP/wl9+L7eVyt9AykS7w0s1a2oDOy/3jw8IwfIVlijuEICI/BdjRQ3hvuiS0eiIJdSXgsvVoPZqf3S2AZ4OZu4FOJwA9D7CfllDc81ttyGVKSKOv4tzvJUNHrMplGRYzlHNVU1NZNg0ByIxh8lS1PjN1hbOZGyu9S5EkXS3WIJxc4OwfZQnznOnMzGELe8Al2vtTCoC+YWb8LbdCmFs0Uc+bRDx1LMRuYsl14u6RpW+5xFvLAwcdI9onz8tHhfKdvy9XvIwnaIky+LIA1wYwWUbHjz8SWG2/q8CdF+D8F0kWbYsDEVvT71D5bzL6KzyoM8sXboHcglZwukR56D8P3LSfbzQc3r4ZtkXM9uZrH/n24V7rUYSEWuwodKMZ2PEJucxZPg7pr3WGgZssV9OmV+EXdTdejneiIsjw/RUINY3SHP4eF7wxGFpzderByZHnaGGscYPeOGtwAxUculy1EVy2pAHb4uxtj1tdG8iSenROq52kj+vGJNQoevMoc5XYcqedXfi9lIe38ofa89Af7rIjrSIHtJ0XL4bBW39BtTHmaj6pQeKpAPJsNS1qJpc8wBWGHkuHgZDwdonFZsIAbyxrxqNRX8+jtf796JtE1c+l5zAhf16PJijVnDOrdIITqlaFoVkwe8a/21LreFx0OoKx2Ck/kv9Uv5JDQpES9LVMqhzvoh9cI7BTD7uM2FIAmTfqHSBNTeVu+izz8KArBaMnU9FEgRAO2FMREh33yEah6URvI6n93YBXOv3aeUr4sro6hFWqcN89zlwdKFRAImkv8CGdAo0ktyUSAkrg5k7D+SegEOkC8RKuRcZw+//gxC9aAWL9sP8XGXRS9mz/qjF0HU0RNVhLgo0LwzPmaho9UfqqAwd/LLjeKyCvgiufHWK4cW5Cb6NyluKKnbtCFRDOHqLSNfRsg63bW9V6sfK6BZqzlQVpc5/eQUOeZ6uPgiqkJq83xeM8qaQMvDTBotAe3C+DcV/aTQ8/DPEvJ/zZ+OhcNMdLyytu8YSpoff6quE+pQH4jzaJzHvlpu5tIRGh59ixBSci3W+p3p8kzolUMCwV/5g2FGlhRJaN0V4Qam2RzqUPT5RapvPWxmTnyH4j5cknq7DhlNMXdQC768NVsgTuOnuU7mzVZ78jEoIwyGxIgTsNIDZD9nYR2y5unbEl9PI6G3pRPTyWYc6gilzAWg3XksaFwn84QJ3QG9dWRNoDWArTQqGbYi6iG3RyPccxP0xKUMJdyGBjykwMxnI69+Cd/qrPf4M+k57OHJEmyW6e0CKljCmeFbXLItbMqFkVS4K3JOuyM5MPQOsx7Ix1Q7nEgOw3Ivr2sLH3fl0TKiRjnt/EvwciNxvlWuK9/ave2C0htyJRToHcWitpyrxHMPyoAJMsDnFLofbJCnv6jzOFcmDI8b3j//te5/KT9mBnO2k5EyUK3alT6Tb2PzdPUBxJrcJ+KAthMIkgEqv29VMTArMCZA6WLDwf/rkOq++xQIhcliKjiZDlRV3ISnpMZAoQDeUizhNF/a/BJoV78bPZY3VTcdA5dWxys+19DEmAyI/+A2AyTNBOPHDtsftix4XExeMZ6dD9AaiwT+K1FaF9laqkApKnKIvcIs5MrMzbbjGdPaEjNYr9T/8ElYEJudLUfubbYD6mK65duVsWU7VEOOC84uc7BGYtxFDOqWdnAkxT70ONTpyep5t5MMDr7BEQl1i/5qS0KKj65Lg4bg+Y9BZW3adMmgGCBpliIrwWLoGilsXB7wABD2ic4ZTMvmEO2gKEzRlNg9JqLDdNwP7sV2C8cB2JJ+wg/U0e3lqbE1pNv2Sjr7aGvP13MHFbUZl3I+pweaODvDngMIeqLf+N1+8iUh4dlVC5jHZmzwTPTD4DNLl5M0Oghys6DE4xAdYkZ94BuMNVHZiCjjRFCnP8VmsW2PVOvXv+5NUoNwCcVbU6NsvBJrFqyADE6JC57j/rwYH1EQzDGD7NgE5+rH40ouw5JG9NRqgpl6knXqbAQ9ng4HDi1PHYIVY9gAA1978wJhtH4MTKdAxY++3tvyQ1xnI9xxh7z2z1lDu4ugaxu0PGI8AMXPUtrJPjqXDe2zrFdc4rWImKkxoGlwav6Fj+QlFE/4H3qJQYTJHzilWGOpx8RaqcPbkzxUII3fml5Rr0DRUXdQqMLLbuyi4kw5n96T81UdGKLLSoEdm9YIRwZIcabcDclYzXiqiqOqU8zo0MSafKLCxQ69uIqs2K0IYYkyHGi0/ryk6woFmEvvXd9BdKPc/paeSAe42EP/B9B2KJtKVzxyLW9ihApHzGOZ4URgmrtE9Pd1IqWNrApuLCgkyWZ4xa8a4d+cFOcR1Bh9dH0twZRJsUxxOfg/xyzDDHAo5pzjG3KLIgv2NZ2cVCnmsvmX37/F7amp8b7Ay+bmWWFknt07kpeVUe0Xy6kPBiUXbN2M0GQJP/ETq6I3f998fEiyyjNgSKUFMC+HKQXSHs4277cYZLnor8YrwvQHn5/aDkV0JPribxGN07aGvEV/dc3PCQnM25OTguc8ZH34Cc0BjeVnDCGbHpDYntnxdcKb5UzQonXPXP+6DYYDEIPQymhJ3Rj72uct3jMEbYRSUDeFkSwLxphZJlZJrDjg4W34NCi8pjI00clQBKZ71OlJNWSGdpYZOPgj6kL6NLU7lwxULyHyJu7o4VOnSzFwON++qtjeTUa4a2yOwr5hTMunIQt2AbAvhNT3J9tAhq9zedIPr0ybUNu3ON5lxmP4/WEaFpRovJxShS+XxGGWfA2S5/bhgXaNaHYzu+pzEAIvr260eL5/70SkMLo/xywV8a0KPMCfKiqvdH/wh58HkDhQikcgisyO/vDhZYciNMO7ln/JRFAw+TV8BB8R+OH0rjKLMUmEnmRLAxadkuy1UMGiVNPJc2bjcb/nH2EakBcdhiD/vH6Rek3ZDsM8Ux6Yopz4jJx7GkbT31FEImyUmyb5PW4VR3NOJgNMn6L7UXb+RJPORpGuJRR+G3e0DrCPMy4Dq49u2uM2HXCSQ9+ft3e/W+ajsnD2ApuaX2BRbU08QelAY2Ddq8jM2xPli7rDWululZ0z99DQMIsypdFVCajG0hOFjcLnmk9EpJENhNp8gCQ3LtH5nFpC43+QRASM/i/GUDJBeICAGdpu6nEczhXF0nytwzuj/tTU/Djfj9bMIKG/GsnJOEEuPemC4JdCa+QgvlyxfZx3qwrlCbgSSShbKcQ/cL3QqndkZl6tQdzwuFT2rEhGkOdHppsw6Jr07OOIbKUmtfJjf+CjytvCO1G/LPhmsSnPoFiHHarDPwleblE7v3Tg89j6FWYRJ6+SpV1H4oLVsFQ+6zxiLp/aCemOrhQTkD8MjZ1bF9a55BMTHaMcnpYBXMeInvdNx7VuEcTuyRrcrT3o7GLduH4n7mI5WO8je93Y26dDmu8qJdLt51qXQ/4994FQJ3HB+iOOLXxojFJj6PnpO+SdMJUh9oqb3r3REQA6kUNFNtZoUUHzvrQ04YngIaQBix6hAhLvUAuy02945elVC7jBeDq0YmgMp0VyXRX0LthBX2OVkJr/ajkQazr5M9/bTsGRpB9Lw7rFHitFSzUQr9Qvu6QSdievQV62Wda4n4OeA0nfCYtpam4FzJSZRTuA/nZARig0ah1bwXG1LlI75Z+GkTDy+6aV4Ba90ytgLR685E1jYDvjL6zEj/d/7YFTvXMbzFxYOkO8FZQNsq8TKD7hmi0EyGwJBiBrbUiAFAS5nV5xDYN71ua3yyQrndyjmuiUUaBj4VzPVv5H/lEkjpp3pstdur6/H3t0jKmU7obxI30kAi/Lge2pqKibK3bKf6yRlYXqWMwF8fmFHdIh0fDWrsIrz8CERKjdg77AiKG/12LviF0U0jIdEHtdIRKS9SrjUlmH97RzTp4AwwaBdEoW13tz3rMB5fI2l15iKfDLDj+eB5YmSeeZm3vsw4zE2l+RmbWw+VtyKwYgt0PIlaorrdbRwm2vrqX1EFPikpZ3izte7/yT4Ldla9tIdsCN25k8J1ZoE3gQj0Ln5FJTt2f6ZU4SRqOtSxMvVnQGozn8EqZOYtIB3wnapHdankI7XYut5b6lvyHU9do2Bc8GCEDUXq9NbXkSt5i+sCyssGP7RZJ/ts71Gn+Y+ZhujAJsuSaVFLLhl1MRrNhXgOcVufdULABIPCPr4bcC68b8oZDfRnHLh2cyF6YJFJ8H1G6ibuEkuW17bpaY+2eeXuaLASzL9ojNVE/wpFibLdAIUf1d9SNZpBsba0lUpKwORykGKjghWnn3ud0o/1Q891My7zZcjD8LM3UqhEjO2rbkWJU74pGdj3BmjU8d1sq4r6bi4EVoZ4WU/FsY7yWa3hHtcH8aGqqVNTd5pThcxPlqMxwac/Vo6NAEcGSlgVWojPk9aAXWZbyuwH1wygHqCnWzWjKWxn23LvmfgMooU85KZPkerdl+lynHzqJA7u31wdLbPHfJTpkKMZaa2T6Y7vluHHUmLlEoTRSCs7inyT2kjyQ55IofWHY0D1x6KvYX7ypnPdCE6VRDb4TIL7PuNu2OXCgcvC5eMRdcUppCs6+MOmxxSh/gO0C9B8CpUMQGt6CNxm/F8FzzuFpXJg+op4w2b2iT8Tm2v6kPp6eVgcLLyQcHdKLRs1+Tt3Bf13um64ZrDnLaLDge6dTVCbogALhF+u4HEpoxiDnEfFWW2Gc1BAFlSGIDqFfS/roDdnu2uW6Yz6nMXG8LdIsOYxq9If/mWy21GbxzSiMpxpEGl32FN0fVwaCSBO0YcU+wVe434mhdeOTEpAr6ZAtmsya8qljUsRjAda5eOCAACtt6EO9Zbj03y0+MnapK1wZ6OzRSwV+aTTYycWx5VoQhAP6Ft2SyeP3FJj7X4W+PEYscH1Q0TwV3ZcruA+HdWmiCHxPf3LlMI3xlMqKiiGWKQ128VCCZqGGuqL3IeMSFZQS3lNcQwgiahDilhm/8XOBYZ432FcWLYIK60Fq4xncpK/TXx0O22GucsfYl3OmSLk3m8bvPKK8vg/3aXhhAqPjtQ5PHvyILLNZXp1wMhQOwU9f6HJRQkaHKRNT3jHDZfuT5uZ/sE1x06WBG+LNinMt9m9BzHWhtYxo69b1AFs6lYVFlnaYCkSE4mWdA9boPCciP27MppQqIhfYfgQtZW+wsYbBoEZMxAn0q63/TIkqacOPwc4KFfyI2AmUbWkzqcfaIAfEhMWHCNeCEvcS7Q/BD1/0ZrCV50xprNO5d8uq5OAhzHWEBqujUPrQtzVoBm44yDCgd7FA///3TNZu7t9q0cNVKrXuz8EkTPb4HGANJELCwl/fmIfG7HinsBrFpR57q2KrIvBR5S/wVSD7YrzZASVHthHVdQSxeYcDWTefbIL0YIEA4ctpoul8muIb/G52TwW5IrzVwPIKGvXO7QJ9k1LneTEPHVIt0AUQpwcQcJ7/6pgV11n3MPxZMhw5U8dPN3U3QGzr9Gzo6hoFy8VLh8QLDp8TGJ4QxXbVauaaGS1LjqSDDouiABJNVyuJjQw2NUg4FPkrmrAkSgvIU7qHIyTEd1pKd3tiyxlz3yisD7JZZD+ZBv16ljUGlDTegnXBgk00hYJX99V7fdg7yBtqS3L/LtiCQJlCcYuszhloY3LrfU30PyTdP7eNy0er5R4OKzcX2vx22blgBM1wZZuBQ4cgF5JFH0vl8Wtkl0empf9p9n8Yw7tas4WDQsptfSSpQtcMg1X8OBatGcHn20iqjPBk+r8uvYbrtY7FU7W1QX7McAJCDV2VbWnCl8IRN+RfiOCgLKYClKhOoiz8+t0b4u86EUmhpkXnXXO4R9HZD7HlNU8NG1OJsY2co2Idg0t6O/a1qP2wLQR7xKXz8ggn9Srr/00aCrd+sGFBfPHHvRlGaWdFCSb5neIcjb9zUtMsaGmOYc8fmvg9AqBmU6O3HVkhBmE0GnSQKovoo+XxWpPPGoG0XySmFoW+05Bcjfv0QsSZ+3cQZe0tYTeE6w03KfOCNbedpSLrxDQ2f2/UELHMU8IVDymxgnZAaU9Uq8/TZjLgZC3MkRDP1Rqv4eW0aIEi4hfjfETDfHtuBGolNQ6+b669fuFUstgUo/3nVuc8vMgk+OEsQWgNtRAizW0fNdA/XzkYwkdMy/5/zWdlabevkGw4YdX0hiNus5gQwmk6okaSH1LiGJ+hzec4KnxMiRTNnCOMuNTA98ZCqumQw1NNon7GpEdlMjte+hxls9wKI4TNSSU9c2RQEojkxeMDoh7LHALE4LegNYt4O4TAMxqS9pLmg3ShctcaJn3wrsMHlvdtJj2g+3j7BBrQm5GmnE0Q3b5GT07B5KIeFI0U++2kabOt5xFZvaiBotK4aVyoMqtGoLloIxzndBZRIsXvJc4vlb8dB9ln+UlOYYwhvwcsnOeUIw14FuqcxORwtrJwrDi5cYYr2Mg6O1pb6zbKakc4F7cKo3JxXsAkvUHwLdkrVi8/wHBCJEHEt9nqqZV6IrWcwKKUWso8KFOEk1VRUtFRxA6dXwRzFehOC6z0WJYpOyUCLx3jUk8nbF4Y9h7E6wTrpQqUZgI0XNN4Bopj3fRQFJgvB3UkDP/LL20hj1hEQMaQ5XiZaHQViYhDE/+JzaiQiFt3vH2zLSL4JMa5GnSQQcVANmLLb6rN0GbuC5Pis0Rhmt8xoX9AZ8Z/MvM1jxHwDIv2TGXDyDLG/OSD2yJnQgM8cf+sheafBDZbx9//y5nTDwc5gPuxG5v0Rs9i7m456sRSpAhB1AWzUmS9tG5ZWYIK+yw4wxiLHoWljeInO0zerCaHu+G+OIfGs0yjxc+NTrB/83zwl82yjX0E0VDZQUMvqXUdPS3AGi8BrdcYmRZb0k+huXZSJ3O8Q+z4Vv+KZZRJ+Yft4/3gxQ10JtKDhJslkarANsACg2XdSWwhVWuUoG6l/dcQtUEsE0SzPcYJjNVkndNc5LHxtZJE1QmmfAS40jBWFwlIoK0te04dbIXFxA/69hU+qz2WKfqbawkcH5B78djpFVluAyoArwa2MKe6ENdCychFtjqU/BlErxeWzdp3nMR1Dud4w3xAKR+CTDivr5VFBbg+Clw3geZiMYXUbAczA3fzwAnWxQgSmGRrHqmi718DQNYMPhATpGWu3eeTWRxh3/4qUp+ouOymM4nCB1cN4/LnpY8firqla3s7psPkr51v1LObInjPUiSQwKaI7s+m19V/AI5+kICcBv5OXH4XthgF2WT52VXWlswowwPaVAbMWJ6EGNyjuQWixWf2Fs1pEvbz2BducrmcPbxVliK86HBWsasGz2DxtBl8yg7fvffG1PMFa+iXEN405AZbQ2Qxpwu/SsSTU3ykncfm0EoaFUt65Y+JLyaFUgAPAQZC16JzkSkRu2EPSlpZxVY+jmHPr0lApqJ4AhAORnbba+ehfRXzsKQJEZB77e0ZrcDNy3ILcgaqlnXeumM0ihpvpLFmfleYO8/LFfN6n/yy2gnYAX/khqd/xH29Yp2pEhQawgAaE39sOrCmLg39WGuKnx76XDm55mH789/efggms02EnH0p72YGqBFUS7imjm57eW5RciyqU4/QWkDuuNFVYWz4azeQbvFx+84eLEAKKwdlpUV19XpMrt9I343TJm0aiBcviJFvzpNNCNMRXLeB/1tmXO1ahP6T5FmEqDTYWor6yAiFxHmTv5NQkW+PfDefbhtLWTl0J1Z9s/E1Od/QWDMwkdK8XFn0nr9WWDHwXN1TlIYRJa2TM+0H343Na9nl1ugrtwizNfY4ovvMX8Dyg8zY/liIwMuUkDymZFk9tDaXbiZwcRUsU0nsY819acO2JZ+CUvWYLvSdMlQK9sPX2WENkQkRdhuk3W+c1zLc72WE4VebYrVCJUD1DBb7QVph80vgdmOS6OwzPLjJu+FYGKK1r0iDpvrJq13/FLiDBu14yYTT6Fc5h2YHZLQsXadGwxoUfQ2traNj4AxueeI8v1TWplYgb6O4rwf4PqQxmoEJfmcgBeYg+LcaTasS9MZhahcV+zm4ie3oOQ8Jb4NnoV5iR62PAcZh9uYaVvlN/P35eu1XU28udMHLvegMblhDodHBp5f4Er3QLXtiPyYLZuZOqQcx2R1Pdkuksqxwf+fv2UZ5/ahqaAnPPaixjdmfnhSsQ7q22zI1Ky2MeFIHD7E20K9Xw2k8R/d72VWhtnXexpxOfh49FSWkSGKr1FZ13WWSYWNk2ALoaln1i+Tkd1sPfX/Bg9/+OXh8VAb6y6bOfgGyIKf/uoGP642C6Ew+/AuYtA3ORx8G7YrR0K2D3SFaHoxlNVWIIpjKdaJdpKYEwlEhCBMLIYUqomBC6MgkabS1STVRZzZ3LZXDzk1wNcGGp3igci/2XiAAe7ESrorodCX5hIMBtSkIMFvx0s4tCSufYw2QwXU2m4nkmIpI64Ae+gb8sJIMBu2Dq4NDe7xwqIDeYHx8zrNBbNFhWT0NIGx4GsefYWadpQ6FFnS/XN2hJXLt3pktOAZnnajgmyiEpf8vBEYlW7ExLCm9pq/kmpqEAXj4KTZ61ufy6xDTHL3YIYR9zdHt3up5gEG6GsoQw6LSGJKpCHgGVA2yWe+/1zaxYGkasmFUER/zPck4fcXj6PJpInn1Bk8aGgXaeKhxpeE5DTz8EJpUMzdo7F4qb/4VD0e5E8g0aE0qcmLPB1ee0jQvCCJxAKG/5ml8B7cjmZoG+pDZ5KI22poeuM/TrInlndllor6pAaoea9EJs06NtES5cvwFg0n3qHQ4YtkmBJcPfazki7M+qRwNJNPIE245NuGNtJnaq852idGcfWAby7jk6t+zMTAl4tv8rHMu3l9uqPGXLuvybBDvZny9tnHe36s5mrW7APy0kq0CJyZMbtCGAEYFXIV1q/Mv/jn1lKL05Bxv4TGrYrBs0hst8ft2oBpSXn+k/GxxKooEfYq62lMk71oYwOgtXtTjefFGvUaOofObMorLnHtm324yWSuyTQ4m0saSaaOwHr/I7RYn7x2r1OHpjnh65WGq73R+YodOh1VPVUR8PsTOzcx3cQeJcu3ewlhS+krkBx6IikepYCNeE74Tv1LIgfo9FymMN+p5WkSzs+uHJm4K3Wvne1mAp+P39EsUi66ElKjv8FSCNI80DPKzzeUIV/TQdylAj2cvvOZsq/hRIqFFilV3pfazFe4/iNZRwJzJh8qmE+KWtgd5DB2R4MWsMeTnoeVVSaWLvsKyJw+hobnIDoVuwM5yEaUrcoi0l7EDcosVoUXZYVwTeHTTuNHsA4hzimZmBV6VlZ9f0lFOgiCj+1ZOeEvlwCkvZjMVgUNAVJSTlNawqpZ7TVpN4jEgTGZYdvoQmnkOedDkRHNOFqSfHAz6UXpLOwQ5zEvIgJh6muTI3gfyFAQYM0NsN5kdNQwCEXLo8i+VjWWdUSP+m/HD8mHn5O6eLqJftiibDPeKioOkPY7sdPj3otq6ejmzUt8blu14qYUEmRKuWu15xlI0Yupq0a/ZUInB9y1p7RXWdgPMU8a3EJ36fbJL2fthmu+Peiv7gH66Eu1slZZw96Dqs1zwJXIcswLvXIN3N5gAas+5c4iIpmdIzsblE9ps7A2gle2lGsbVz95kpfGHXDnmqZMHT+w1vZl0pYevZRYayj8+zjHqnpppFFfFhiLfvNiMaDjFvwMLM9gxT1lru0bkrimyxyc/9v83r+iz4EdYCd4xWJeQHAJmAwoH1MQ1ahJq1jHfZ9irON1q+7Y3qnbUtxarZQPTe0+EGxiNRP4q/9u/zrDwRvt4ImT+ytvUHi/Q5LLeEdfz9a+NPhSK/qlJB8e56gfVgdgWfcspfa0/j5rRelgBXeKvt9GHMtCe9zOTaBaPJZ7+9cvJqcALs9x/cwLZDMutcxDWSBnFxRD63mCGFz/3WtSAeo7+3wCX2kJ2Zv6pG24rkYiQj7Qsvlt98zhZzOpYDXOzDtA1VhLilfMEhSu3SneB7z8lTVz7+NuCEA9BcpHUuF2OG3OaqSVCvICssXANGw+ldud2lv7oGijV+3TK0DubighJ8VSxr62t2NZc5Ar6Jp6Io+xmpARpOzr+NX6m6LN4GbmKJ6Qh30hw8TbO2KSC9KnUUzuPirrQSo4KuB+JVXUG0XUEUurh0ss9fRbvt1xRJOtM3z7MCOE5S0cn8ibofCcWhDzTMlKEP4kcU3eeAI2JAPe3qZMjeZ1aBCw4MpYeczrOpK/ci9zKh6HmT6qKu6gm6lUhnHvrcdf3ruVnYstLGtjrgzAi8sWvUj+Atgwej6wMcZqhHqsIYmK5s1MHBR7vQQ5UIL6WNhQKSwoYON8drzSOOrw06NRti/VL4kaD3X4gWdonsexpGLtpjGqOS7sB18a6nW5aotXqe+wk7Tzd+ILOgMsjPYlcBYfx2VQeH/uT0tG1uE573iOtUupioxQYFG/1jFpQ0uw6jZF6hNKbRta94g+ZU08PLSGpvDmokvHrPuLqAllwF9p8FsRJhY/fHcQ4PafEZBMdmyUzl4A8v9XjdjccGxF0Wti6XJVzIbI6bmNKWtYgNKMCLUnW1/GHkc2RelYFX6qiGFWsiSFVD51oCBcP9paZNnQXW8qi+DrYeqpAOHJCLM6l0pE1K8HVT3crx8FfUSMZC6mgNnqBBrmHn5XLldTyjqCL7DFdQ6wAkADjxABf8Il/0QYyuwMRVk63XphZTRm91rmwVsslLzm86HE/UId16LgvfiFyRNeJTD4b2vPrIHYPhMfXqFEhJ/RzHs04M8Jm9wZoWR1Xn4g9FKwH1Jtm7/GqxRm0yNtDnZFMJyUCRdxtUNnEvT5uyW7wfj1sjZTH44apft+wpmE6IuT5y2qjeCSkhQZqbanoL5Jit1Q/qdV9Fqywd+9jqMNicCLpXUnxesVPMlckTeQpIn+gXXlVQR7Qr6lDcLb6LMGt7CFRsB3EF8pf//GAdOw7v3kK/9u4FElIjuNeVflnU90WC4Pt8o7wCTFI1EHqqPowOOq/LCQgSNKKi6B8xT0KIPqDysPWFp6jGj5gJF3C18tao+XyU/xXP0gAESfSVQ84QIjBEsd1aKY3Lb+/wB4IzbodL8hDm4waSPHjSNQ0VhorvDdaovmuUbhi4o30oACqaMFDzfGXsO0tdXkVUDKcTRM1zMxFHVOwRjiVzbhmLIS637pIgEau2Axr6KAXbNUZiHMnWR2Dsrt5ketNobxTdocyguPyuYo7Bel586DzPWspgxuatlaE2PEmObZk+qvjOFeJp8GZhSQL1eirVlIUsVyq5Y9wz0JfXpyu+t0DSJENBGWxgLyvUubvFDt6s/JNAKn8cOep7ig0J6tY9GAZEGX9s556joiEkHP3YWxya5Uv7V7BqT6Y5Eevk2+9jc8LQKVYe1D6Lf74rBmlqKhHNnh9+lo4YF1NsAvNP5vdxIwlK8hYNUGoPFxMJR/2wFOsZmrYimeuGJIU+LcIVZkJEIrPAU/LVQaBjeemWSdC73vH4ddipSFx+1oTl1AycVV3EC8T5lZWOaSfqDeRR0MTYCKaYOVIn7C9wwR4VcaqvC7mHVmp6tYyQb+cGq2gzH/UY6UTDQXNuGgA4+iqCeVXmiC03lHjfchfKzzF7zcbvzAP96B3AqlSNrhx2mQizK1bGNwCANVxUT18bPJXB1M2l013ojF6s2jBHePrxaONvKALHLWqkFBz5AudXFjKSzk+CIi/1dhef2TQyTizx4Qq35yds+/O/emkcQTGFufpn+b7nC164uuGZkIMs97yemxTEu+rYkOdRbrJNAhTsfneebrYMVk61nvCDFnxq3CIagzKzMwte+yjr/9nQoyTgWK0aooXJqrt7UPnLkMW4S+c/IEzqCsOyvmBRUXdIDa2yntYG4JmSN/Dz8TTZ387td/ue2oKZ+JDhDivScjvvM2QLmTxjAXTY+p6Tbtv49QIc4s3NTYd6M0h5q+gKRKGRYo/IcQdMm167ayHnb+vmFEMl+QBkkcb69kvRQhsEK7JU/zhf4SmoI+na/pOhS/+Eyl1mSHi1xdnmwdVqrm5uLX54yS013Y+Kjwaz8ezDE4AegLBt/WDF9hY/C/B+htngv/BghGhaRk/+YgT+NmZP+/rvrCobzC8mZKTQwILa9qkLv00vOQcxkxBYPf5Mbc1xisizJLGZwhji/J1CJaEbpLaK6+U2fHn7wNzMxC0VLHQvyToZ0h0RtpYYN3kAS3ZCUK27sLldGxrLck2ysYVvYi6Da//DeJ7zRHjyXIKlU67ZG9dqe+A0SsAzWCkxUJe2+HPFJRPtMZoPdSBBEJUmXq+7zX/OObYxn3/P2Iw0xxq/7RlCUNK2o0pJyMolxyAVvQIFC30prS6p9tvkjj+a1lschfzMM/dA1QW09WG8tmFCTxWWSJFUv3/n0oGYZXMBLEb6MSUsHcOER0ZYEMhwXohnZEVkxFIzYJRTz5HvFtJ+rELz7kz1T6o/cvt+XUBd4Oty6tgrjyLc5OPqo+jECkoK8fYHqu7aFPPql3RgpJjca+vYz2barVSBriN3GeOgduOHTuHDm0XLrT/DaAAgZK4p8x4cuU/65tRKNOEFZpiYO85CDL5c0b0M/6i+oeedQZ0rLEaVrvXzDwdwFWL25ZEsCJCCARsPUgPP58SAWwMg27J/BM8rRpQYAh13yB13yOfJ50SPXRMbXPsEaks0UYHDsppvwjzv9sm3G6hWJ6GLbMP578GJbWxP/N63euvTSW6+EupNQr0lB5Kz8fntpA7nfPl9NAnt+y0yWfQ0xpDK3PQ2hsejeUU/DreUtVqvyFTSESC6ZTnlgrRHSUrksoKdIq+Aw+cASxHLDitTDk5u8bXr4YaOOFG0q67nW2qrMc8LdcXVgoB55PfR4aRDAL51Li72LRmpsLHy1XKOOMR2MSYExM14SsHPvXy3Q2nZDpY+Etqz0bDGQrGExACZdtULuKmnofGVK0Uumbf2lCtrzvR9BK6j/wuB7csgDm3p/JWdkTTb5TP/SQnb4DGoIUyng9q5tgr/xlpJ80O4SGdhEPGnSl7ro/+Esuiyic9tQgBpYvy8w9GyIhf7DX+OnYNw5MxBbEgH9SxopQ/0C547F/NGZWgZMTXXczGNwuIpwdKB5EnahP6kcGAo9lxJKIdyz3YDxpY8QVbUlNDoxIKKnkoHgCo1PzWS+fTSUxDB5nTQowZJbUxtBGB+vNj4Uojz/EkoNvPlWfIiRruDH8+fNvImjGdpIYgme/y056hoAUSc63JrWGUQFsMvLwfsPKx/V+4Z2rV2j5mcFPv8MuXtHlDf5lrcE+Kk9aURs0GAsMD3MOkKR3cwW98vOImmjtiQQ5D2NbDaTuLs9RKW6470VhVjFKT6gYHqXGYcsDMqA9NlYqFXF4mtaz0SRO7LJI1mbjeu+9+N+XvvpY2khl39HiC8vvSilY9xZuj5ZNskYWxAFeSIfOe0odIW6zQ0nk1eRJDgDv/tWAY3jatZUQJaMg5uSY7t+fXkpcGxNCYdQ4+UpOLyQLjwImGOJktIwjRnOWuV8RQQ5enxOBnkiKTRYX4rPlMZqfjtJc/vlnxKJhUSbozkqMbZjBa/nR33Tvo0gT3N7qdO9asu9nQ4QWHXh3NuyQall5O2JFAx1iObN+36EBKV991pJFOnAcMDAtXNV+U23g6P3BtLLXeB5Scb43+OiZ/rYXnc8A5CrAqccdMGBjMbKOYMaeRSAxfVO7ClI4mWz8DJtP2K9LNQpvyIlXjEG2NSNnW/8p73v6jPSAothhN/MpFnnEhTcCB5jK04aXzEmFv+HiLaP/Dm5JiUCf/0eAmAsFNaGu7miST0i3brOCvh4JNfyumzMuB9uFZrXkc+LrFAJIcjxsYLxp1fDjBtxlE2RtTLisV39aOSDer0eLVqcoBk99G6UkFmNjwtDR7hl5+xO9SfLoX0Y1CSm7WItuXMA9F7qOd5SdL6gqKR/bUQmY6ZR3t3/kxfx8l2f12BuhtCciYqNUhRVBSntM+Nd48QXAEiqXtt7SStwCSSDwHpaFbcUdTITjusE0+dG5GqTlrFh92g8fjXeeCDmnvJT2LuGVWcqKIYAQOLGxomaL6PGRbDzjIGiTPP5CghP+Ql2bqUsKUuFy116JG8/izfpjfirdaaZgmVL5DZvm1Wpq2lgO0Y7tAo5R8gVrBN0Zgky3o/uTdP3w5YM5sVCOXr9L3yXxkXccIpFS7lh1NdC93/ltMnD6LcbcvrxKFtSa9C3GLzrneaqdZ+YxUo3KIBRzmzfpt9gw5HXA9h5rObvmqw7LZIbda1h31NRYq002BKcxC54G+BtoG3IWOWZnwjkuIY5MpvOYckHl5MHNVYSobSLW/aLphndKVcyPGC+k0K6qfgiqzbV5OMhawFIBuHk/rlDn+gqrvXtctwFXquVzQUtvq9B3rfpijTf6RA10pjP4ds50sjOQ2X98ZGzmwC+1FFTzaXq3PGF3I7okQFb4xeUzauXyomxc51H60/sVRVgQj7hDAkf4rdZQ+R+PbEn3j2LClQ+D4bPoLUri2B9uD+pzzXQ1lEIkPYWynsNDHVilsmDRfXnSks8nmledlZbfBaz9TMjU/neVLR+8hse7nCcZFvYl8j+MLIO1SBaEMq0isvys4iOpvdkCbtuPzy1fTaorLSIqrvkAp1QhbrwzUT1SexgIcDdRltwALYHib9NcNdF66FcZkXjJ1PUd2SKpKHJgWRnF145JYJy8HACtqe1QIyfzKAaLp5/OkLfn1b5JtMJuA02rE8S2f6UpY6XZgsQpp23I5W5hKZSb3ZSXUUO26MRgujDoZjsOvdoXV+YCrg/ym5izSdye3sPurKH9wl3jeEIprN2cDUleNPDWNogiOIO0dq6ooO7IYN0rNxJT0x7a3aI4XfgjTtfIhzDwJWUWvV15TOLVZzFOxP7wQAKRA3vkiAB8z0UMLjuWQl2Y1ae0SDJRZ/dZFe+5Z36zImDEyoqGf2g3aiPgT22yCPj7IDxJEUiC27JWfmqhgSyu59XqlMlCvDNDediTJBsdQQ5hXwspL5oHL/FIMJcvYI87SVh7TBxYpq0owDd704VbrWYeDLQtP7BKWquxNh4ad0JiEXVhhD0Fe45fXsWYMQDqvMblAT1ARzAljtoUxyX59jS5rspk2GldErCnt89WSTDi2vK1xaQgw6KBD+eaGGiY8rAkooX8byR+MIJcpaMbHqEWo+iQ2XGDjUpV+HDXmbzkhuwdHYtbc58sWiIKTcJXVWdEHyKG9cpgaVtYVS0x5WV6p0n5ejE0VJ/GTAUJU517ygaJSPXquWB+vZohK1ITrutIL4wTCU3iQWpjp9baX+Vixomh6jNazDov7vGbx9Y8ALUbt/cjEYEkjxJZJ60XUINXYx7LK/GFf6JVN2GnOFskvvuX+u2EGA9bu7r5NOE4V1iT5JVFTRkwSwLE+WDpBNzpmCTVy3UJIyiGWwvcqFk3OnTg1k/5kkJsWQKWD3X/ioQheHCPtGdcr7MB4dwhDr5JB9sQ5VA36n8o8eoHqn2KbkH07ARKYnKioRDINI9Hw+9HheV17iiKkVD4bxGY4GY5uPXi0mkWOmGVb1bhzhR41KbARIW2nPAuNK3ScSB72b6nExNOIr8n6yoIpC7rLxuiN1cTlenKhLFOQJO+tkaY6hbjEQ7pvH1vh2zdx77zS2gi39lOtOKduZyncC2C0v/DFXSw6BCjPgAj486lPSfSEoao8tjkv0aVi4TaYjAX6Z3HpoXpv3k8r+za7wzJDmF3UyRR8MZnK2a3s9Lfu6YAH5mLthxb6LNbz5hoTQQE6RRO8UzirWxY6OwcDGzoEwsgkB/26vNnqS6kcSuzw9JHFFNCdLdbHMNBJP1nm5zz3ZgiXCjDTb5xznQDfqggI4wA7vlxq+2M7CrwYRkO5Su8OZY28K7TfP13BN2bi4v59ovR9VdtBAtTReMrTdUzv00n7ZpRqitkprfdgeXAacNqtbpXBrCACAARpFXdYYtmcV6ghAsx/VeiWQa5c3426+XvNAa5cN+NpvTy2NtjetD0gPy8BUh3asa5dekPHj57fuTHMwfGfO6Nu8Y6C7IlT5dqgeX32fKZFJgE/sAw0OZnB2hLfvbOBeZwDIpesSzZlLC0Ri//0DkB6VtQlXWLKhWw53q15DsNrJRT4zCxqwzJG+fKtO3RkpToR/TzIjju2Q6z6GgSFWjeBvjPU3aZ18lt4PPlLhxBoKj9YCF8gygFMUoG3sA8UWMT6d3lyxwTfW36H3fxZ3H1vz7uZzYhQ5ChOQtnwTXAuPb891oI66sVXkD/wL0XQSsLvtzLPCQCSbVgNpyplWTpl/WV54eT4uDibmAhojqtNoi/XLtz0a2zv3sEO4Gig+FHibMEmtg7ZYe9ECTMD7aI2+qouvzvnmzkGCxYn8Y57EgEA6SBaPS8J5fkPT5OBWM0Sy8HowhcoQGceHzJ77F2EUm0sBZ9ZcAu50GPXktFJz0RQokOiext9YJwvzbtl+TJBRr6flyDy6eadV2cfJufmqMgWsqVBD0XnObhijTUe2tKJYIIdLaQwtHh9kjoNYJlELNdG1z4scCMfV0GqS5POmHDPcR3+rZkp7n/+yPUVZzRtRotML+2Xx+ffwpmfLdaktD9BrSy5HKawYl/7cBdrzn6pJ3PgKkwlse12ajh+tgqe7LB7cn/KuKs2+kN/0WJCQdCk7tV8xiyKcdnUb9BU/iA7jhwqKVbiAwgM0WHBn0pHVk9uCjMIoDEcwZhaEDFKTLfdmhZtJMSA1dxKh1w2UyuuldRYRfz5GN1GAPKcfBGr0BJwd/Uz+0ij31n+FkOkQSRVC38Fu77il/aD0DdDc79dKME5zK3Pdg1iF6qifBREd3eeMMdiiJNN/4pQqeNr48QRWuLsM3wDiN9hgUJwj+9yZz2RF/0J8P3wubtBQ0V0nSOL3WwP8Jqa1kzXPPGZ8tU/1XPZJkp15Ur0mne1Ug8wp6zHYp4lodvrNWmfp7wtR0PnpZlgyysHjEy7tWiDwAajJlgcxCr+X3mN91/v2zTPNKT0qMy1Eck+VNvOhoc0ClEBCN32VJEB2xa3l54HnjFxo3vQCAsHV1gDmLgK83gvJOSw0BckZQAJ43VskO8icIanNBJ/4jmN5fA+j4lHdVZlu2vEPsipC0ksEiPZU17YIDGjYmA8X+AALFoukDJN/CLxQxExcUgL0wLeiDN4ZFURnXXjhKiyYV4qI+WxXYN4nqY7wwW2XxT/yZ"/>
  <p:tag name="MEKKOXML7" val="JZDEsDOC4lrSPpp6YvjrBt8Nek4OZXfna1BMb+CtWxI4gLYCcjK4cGkHrfb9Dw9x2/d4DJoXetJe2H06nXsCR4woC7TravoY+yaMUsNsyDborBrZPfX0fW3wH/DElhEMQ3YHdBL6PjJoMyN/Z+ZOwzhcDXHDuII/JJ3DcFUqOTKfiiIuNq9dBrvnWDP1aI3WcbDnCcbApQhTc9mXd41RFdtT8l18WSGZqLli2pscGcacs8qdVziCpH5+bCw7Ni1PL4LSIrdG+37oBwwwIK2XCxOUobVBL3CgOUQ21SlUxnbBXu6m+4LnG1IuP62mL9qLbDs8zqbiwlKkiR/0GsqidADSM7qEDKnI97H79wffJ1eVrBFo/he6+rkty9gRo/TD1Wfj5YSgw7z+BFqHQtBKw4ZgMVnWKqJwIJmn78Gwi1xW6W9V5ideTv4hv65cq7JMMF0ZPJIe/OkoDi8lrFXrLzCn9YKYx7QdW0zBj0OUon5EuAEptz4QbN2aQL6La2Z3MI4mwRiW6kf+90MAKQzlajE+gJby8oEexSunNVQtZv97S4FiXLWtWebtVmIF2WXHnk1pRO0D/SGs7oHwmCPHsDUOkbnE61EZi4hB4x1xIqlC0/Ol+hBA1Zpdv96slDNTdx3h94dxVLIIBLO9c4aspDLw68IcGAeFg54tOjPMSjMM1Q0k5E3HD123Q2RL5Wvmah89+381v/OAd5fSsw6x+WKJYjgP7ZYQHmJDhRlGhOCe4KdkVc6thazpWj2TLRts3UWdZNJBXbwXr5r7td2WJf+aPQd4OavYtYojd3MvuGMv3qLxFk9FTvrvKzG42E7HqgML+3LFDIT0wglXjjDMNJ6EHHC4yCi33MEdCVTQmH2MUcDYzoqPJAjGDJC18YZYxJEXR7VuULmuOWG1WBczJJ94SnUUnQYy3LlL7mGt8mAvsJym/5mPrnkZ8GQsldaAqjBK9qSkOY5UUEDSMzpd19EzZ351pAwJrB6JWnalTK6Khhd0kbpVHHlNZrSKgAykzSS0WRy3h9LAIROlbkKrer9QaGW27T5IFgRsHvz3tB3lf6vBV8n2EdGaEA58aW73//I34pGtukQjZ5g33tAjwbdBK5xjUTLilm1+PJp9Gqq3NEcHIdifly1BxylAyLC6i32L7ySqZvU3GiIExhYky8QH3c81w6JzVqujjFaOL/vNbblogBojDmH4VH5qKNMMJdOTZbwjBG7eksnR2YJWQbf3sUpxTGhVKMueqzXyf2/pH2QZ+HuJQPZmYN5Eh0BfLK+tp3Z4u7Ha+jmNOPfM/mo3t6pin3pbF16fM5igJ5pSZbnDXYkzd95NvACrA/eGW1JADQ8LWZ7PWjZvv1nHNQlQeQ4WgkJd4viWvoktbM8pP5pAi8uzycqYVNTiT/Q6IJHtrkeD+oBwkDaQz9veQPIEHDj3cBNMT7+DSIA9jmdm6ElVcCr93wCUFk61zdVfHcHLp5X6FvC54XxFhvo1fLB5eVAFfqyKthncvXtZfBL/g/BgU+f5EHWErQyioftep3aYVnTix4qbpUdGarUX5JZpzQSi9alI4NAhjeTJxjAe6jwkTtbSMajdH51up+2+MNC7rHi6uNCPhucw1NL4szZ7qUnCHQGNG8qZLFuGnkg+sTOuyzwTrRXX9KhEOHPEShw+Llo2Ei8kIa57bnqJQGNEvhdITpKjy9nCW0T2SuWkEOKz4+PuDKqW0mbQGj00owA0gAnrdc349okTUXUMpwzdHp6KeetHetEc4nIcXE4Jcz3EDyE6OWLiyPEqp1Ben3yODFXEfaNu2qvfgCnWkoIhiPNin4PTnHMm+q/BwCsZcLdHgQbxQ8CV1XwIIsLv8RFpU2UYf/kd4VsukEQsiOI9P7aRis47b6ZVpa10QoiMXzXMeKn+rn9SyUiTWeXc8h5Sb8c2DwhlPaMkPG61lLn0vIkE/Nvj0Ca+WmCdRWwKOGOSnmBjlORgPuokLcMPxEFzQ+Npt8aWJK7Dm/wfH4wRVS2kxewXivkzxb7DIUFJyDadmRP8eduVVjKxJ6O4dsULdQK11+nk8yy6m9CLIj1jXYxuCIOtN/bQpH22yKnqLNZWnkcxLM15bOIL5vF/d7PSSeIuVgV2cSLat4Q+akaXrsdloOw4bNG/awXP/F8IFWULAHCKBijqZdz7On6/pWqtct0aIFliVOWkqJMGAAIYvfK6bBAlmgUt4Wi8GhLb0ivqD9Sa2fvGrJ6TXsh0Z1C/D3DFy9JWCM14GsXcIrpNhWiMf4ZvG5xGnYkEIUo36iwF2tSvnBYutI2KhRZpxvsxQm8su3gnn7fUD1hkJ2W0393/O60ReKJaEBlIzks8TqDiy1PxIUlipE1GFpsPzu0/yg3dzoPacQtA+UFEvWzyIKocZtlPp0FfCEYPR+XdgjA3VXe081EgcLIWsYCfN0BiEWDpcIySG13VBmrpdh7MxAgadOiJ3QVBj/7rrYlXsnSUwkrDfqz18l8atAHD6RUmWFeEPVKkjDgYDdk/Up7eBewyPi2tRO0boT1e7wP7YOR7ktqOBIweqlh+JyPYpjOQYHq/RLSF0+JgVv5wW74CUwlx71cyBaAi+G51bIMr63YyzrlooZ2IM9IjJJWO2Rx1Rh0DJ34bbTEge/QjuIU40MTVWumflymgFX7wyrxHJdpuZfLb5DqL6NdWmhbuTudHaAoAZrxHhuCqm77v0EZSEJz8DLxt9FKEs5IFmUh/iM/S9jBsC3T7izR0XIAuzYaYhm+IfS+B/fuRGxiMHwIVxskgwfz23xwD4pT7QO86U2SwNFkBir9WTc+AsbiMe0q2SSbN1qz/0FlpYKWG3ZfVpTp0PV/Krr9FRXzvSp9jYl5DJdcuPZ4QMYuafyR/PjA1rTAJHPHeOZpEJpNPpanj7aWsCh3RB+udnsBWgjwel+MTmCpl4mV/CYHiZfuAa3YddKAkFynZDvYwKmvxvPAjBySyif4UL0YY1rtsDX55kv0LIIShCNg7+PotdlqJjox2DgzFBCdRVDoP6X0ah6cU8gRvDVCriC2WnykJ3ZNmrh0JaZRWAMKbwB0VqRhLqckMxDUilAFIYSbcP130cuVhL9TJonWDyc282kaKFgQR47sMu3B7dzu4uJEpe9E8N1J9Ih8EgZZSsxCMAbnZML00QNpU5tXp6NKBXSmWdpfJ8ge1IFermIG6mYMDZMdH/Wf+6Gn9UOev233AU721KpPPZWAQ87WKeR8bjR6/eMpevwHh3/iwnmJnlWpAWFdZ5F05tu5kYYPkM61SpAwPI5QoXv1HeYiAS4kDjfC90Auec1lTuVBhU7/LvJCRQjkNadG9qkkoaizEmHNidZQSZEDInUS1bXLC/88+kvHr3W9+DgreMxjGqfuZEMO7Ks4VP/lVcadoy99HLKwdEdxZruVFe4tOfLc0+OncW6t/Ma0aAYq6XV2cSKlVsI0uwT7qnpok+1O9hB44hU/vbm8x8d3q3yyM3N806z1A3Q504T0yVXObp2FKk0WKG+5EnR85hTc26gV6faQoCKreRjOz8arcsOWV3tOE0okVclb8OlQV9rcVWLfqd7UXKhtOqGet35MkEBYfoO1Oj8Pyw2X1Q+TwDib2QpXmffE4O+fTWhN8tPDZ7GqTV2tM4aEVRMBcRHYcCDVLKsI67SKUPNn6XQLXW6AJHg4BOGhkzpxnemFcj9OGYBN7+OU73kMfD+G2UkNV8guQ3LOrvzGjN9LT6zHuwU9np8TO9RgJr3X3CVNnmG9M+6maDdi2EWwHwESwNWhrSrZbUt58iDruLJ2XYFJukrOKtGcF++nBhjM9psce48S896DNaxwPPYeDNdkEvEbLBZaRydB2h7nyw+ta+sEq86T1bA3w14iIcE4HT9f14APu71MAUXqFBFnrCe9C57q3QNlGs810g+1Zo9M5ePOyDk6DusHh3+p6DqrI0LjFQ2i3vE/PaHoS2GuB8+WYGx7HKyeHfd7lhEWiB3mLLQ8AQcAC2KH6xkzqSLNaZAg6DdkiXYrWZRE61rXUwIjE7qziS6qLh6P7sp2tEDc14C/kC+JdMH1vXlp85BOq2QTFKatAO4msSb/LsHx7Hga2AKugMWCXWrVJ/7Y9IxC2S73znfQ7SydMPx/luF0aUDyP6OEdfQ/CYxmfZSJWhsgIFa2jOWqv2RQw+vcNOo/cp9ojZqZtCMiwYyIJaSyGjjirnHz6k7FRXflab7ZESo+R/m/kKoIRE8c6M+c6T5nE6EaChgY++79sn2+NBTeyVErdArK038/i9Lbv8tAhxt00EewqBot/Vqs21Ezs3fWueDJT24Fj3kjR0E7EMtFq2eNQdDO1xnQtHU+BUzWWL9ObsZs495fZxaOae5yOqunbGpekyZ3oosPJuA1hV8mPzCkwnIVQ9BEYcD81ayq4q/y+Z7CMUsc4dJpbSLhnM52ZrsYfmNg33lbDTJx2/asy9nXhc5E7Hb55ve8Q/1R3iuGKTKa7pRAIkPFtpEZd1Hao50XfNI2JvwoMkxIoUHUFNla0DYTN3Dh1ZSdrUn2PJfXJ+rosbdNibn+rq7wQTX23sxJ4xAyB4PJvtXX7z+FIvqDGUuThgrjxOFHXPY5kHFNNzCP/1dIpJ1b8VqCQN2CVU0GdWGqrm0jm4kQQ7wDIZibmkkknmwpfBOl++MeGST8zO5c7QUNdMoXanRZv7MVt2ju16AOtsiYBpJ9vaNoqOn7644s87kfVJF2eCkdYdxW+piVcHg2KRZOr5m0gmxroAtDWJWj/1t3sZIOnmyHdS4d9npgjQaDR2IfPoBN83v6eOFc8GXwqhOjUwUvealYqE9wEaXO90Lu2M9Aipjn2HPgjOZvhS1i7Z0EyXLaVP9+Z3400QRBTKMOgoMVKT+GTu938OWMBvQKFfX8Se1CANukQoT2Mavm2fW/J5EJqM6u/HTDu6tYhPbXaeOmDtWBAu0YjgTUKBS5ydG3FHuGurEKI83oIh1ZwB+foo4lTzL1QS+BDCy0gzWwuEntTJEOmL0/qt2EiJaWXD+0YAfG3fyoYjw15P/SUG75quTkbNonzLa6hRNrRSCC/QUsS6FcD60iFjxQI9l5eDD9heRcDLjJEMV9ZcLwnj+awZ8ObooIe+cozYiI5DVVHWrQ3x676h4WBNewWdfXTLaV4kXlv1OoKQC76msnqb/deXF++l8DBW3yHt+nDgJW+R6tcnhoh7mQHpKGT5BTFQVReW85t1It355Z2Rw6LIuu8EUTyHuJ/Byxs5sPFINxLgLUQKcQaVJ4U4fckd0Hf/3I3C/dmzDfrJxLg1DuS6DnhDhIijP3G2tDze8Jc1zZ5WLr7Wzj5zVDfGlWzcFWnjOa8Y6H07K5In9ikcJtLLT3KO2kbvrrQZNM9aaEo9ef3fKYJOo20Gnj0x8Bqgf8qMo+b0tZjaO2Wq4vHkJP2NMMzQO80qkvzXh/Ca62pXlqK6SlkOQt86+aMUBnVyZlCqOj3Z1rfvjfqgIX6ba7SPEjigXplTor+gE1PG8IFeF8E60C3Dhu3bTZgc41iLE9qRuQyE6VR05tOBNwrrqro8UkbFpPhYh4kUmUe5RNxz9G62LeJXNKUFP6TFS+5JjIH1NnTvNqVnuRg/ezJpcLu6qulpDHSxSBmLkqw9SWiQ1uycNII/vJCKUZCwQbpY+Ec3abmO1M38KgHHIstwiULCv3vVk8jkhJKxGsf+bmuF7AQCUvpvr7MtS5lbbHWQI5w6xx0IahZ/vtmsKnD/pSi7epJmETED7pCMwo6jgfTmct6qVZR33/skh4hLe82XCZIfkq1xZ22pMMaSNZ9x8CKaLCwr3CjTzxS26QB7Z9CgrfP9b8Ko63y8OJt+PcT5OB+YkaaOYZpy3VywIIvlb2GVl9Kc9i4O6JLJID+SluvfmFfV5R+vFWCQM1IwqpLhEYEfc9LfIAMPGDK1IDUUGaI26M54sMEquDstGkN43wq0tpb5QDMw21KpFybr74NTFTeAUaI7gS5AEqFgng6vJfqrSmqG9+lOY2COHLSoj81ANCTDHQijwnYm6gJzFUbJNGYfKemPtsZwyBrDfJs/rMhjcOQkO/MAPKTFl5ZWn2+0xwQ6lciQAt6xOiOCTZBlTvfgnPi7Fu1YlzO3ZjNkqRglQk4N/6iAELPJI6PcBQfai55TtWdoIN/8k01GMRQsCjWCH9pGVksqj86HnAhII4n3oerbC1Fh3xINFWPOqb9F936YZCJ69twsCj1eGpjGCnWolW+fYqLSTNc/CDxymuNL7VGN3zNp9I5F+zQC1mSBUsoQR4u/TqZOnMwIAX5XFteL6CnCiQl1vBM7vQAqUEMtAmlKnjoVYpHKyC6ZGTup1EqSRsHQOzNU0RULbHSu0OQeavDmSWW8+DXJR/9RtdXUQ38N6tC5huvWRk+8FwF7owDC4kd/OcWuFEJHHEX3+2BNuBcZh8w6lbZxotYrYwADTBoDSx+z8wnVYYmJZoJFUGhm2n2F76bf/JcmnZ8JoEOWSlxQSc9NqoX3XaP3kHa/HVxWIoxlkU6qHvguVtcZhh/oc+KroHyvkJkLQomIQv/9PDj9wjttWnU1hWPPSmg5uCrhidCbtDyX3C40C1K5CijGp/rsbvndfLOAao6o0tGErkPMoFUzIIKPoEGkWHEhYDuj9OYJjPAMNUD+ZOXYlJE/O0Rl5KupSzyDjSvL9Eeuu3ragByDp8FuDiNPqLKAMV5UopC7Mla3EME2Cn5oz9I4bHw4/D0BCdRqGIS7MDf4ukjarkMZgzbk9VZaLaSp6aQwqtrXiiTwIMTOxKDuTWmLx12bxqtHdothOTtGR//i2t2SAqmLLbQZYQ3YJ/UDxhR1NdZOcWnzaw4hrzyy3BcoclSjVhr3kBRrBd4d6/t3Pt0WlMo6+uqejMKL9/l0UPgZw540MCC9nfBkHgTLVtpodvUaHYdhxHPCPzBp7Uf3kil+521NXO/fRM1Nd6PLoDGvhPPY10E17HVCl6kIx0wb20qz0xJy1gSbnBAm4RSu5tt/ZLMxxCRGkn4i+Nowu1ob0J9YtCqNP13L7rHoEFx+xLuUJbD0Hjh1CL1LiLzuU6ZOrrtp3RgTao7rFf4zSrPElEA786S4LpD6Wr6+iGDyfHL3BrsavExLUyS1LBbM50MQEznIZxgpeSrtr+CFE3txOYycwLsyoIoILomdOi2lLsylFQ3T1u0IufUe3ZbIu3V48Yd0Rl0LTsxkdMqU2ku8CfnI3XPo6pH/h/C6aMJngM9biMgta3ukSkKcbJkryv8tDuCIv8toApaUrZMMkkHPymLT9Ma6dkL3HEv4rJCxGz7ZZgP+CLBVQCps+BQ9lSBk7DJNBoD8hKCKg7g1P1Xx8Nvp+CoseTwD92XFvDyoBz1ddZe5XuROoSR5BIg8r6HuD8AaaZMJ9V1Ayv0kD5lLxK1mZuMJe6Mygw765+BGA8jJLbq3sxqF8QHnCETaku6PW4it8yMpWSaI2W9fH0g3wkVy1FE3C3vryqfoNNj9L94SSoA/oqrKxTo20REdWk+/yA3ThrZuCfRg866iFfaFC+scsY9RRN3ShHRkRq1Wr1Jw6q59g4gY46iH1ufA9vbQPj9u18zcp6VnbfUOG9L4qa0HTPBnLoi2GvLk38kfhSKTG12qCIwpTngW9I3BNpw8PeOb0W1VxpmkfUIzMp8PxtE5pMVE+ielsO2cuhAsAaNnhyFg/y2NdOc0TBLrNxIBF3p+k8zW/gSxsp5d/3J33YeBJLADtGAkY2fRaNGzjNGXtJPHWym3qWt3TKsrwcSs/LbpqoLe2RrWYjluWag/t6C20VqUIH2YS8ZI3MC0bGPrqmjBqct4qG3tb4xrhivfT9fV9Rdqt7K6L4VcjJ4UlYjF3cIADeupmKUynzSecwGMhH59jtdcRPOuxFmsdrxvFRvP6atn7YPumzhi2IC+13RtLfRf9hympE9jYc9dbMOqfHpU1t5HtMrhaY2reN6IzlnydOERHhurGNw+qGKFGIlv1Eg5mHxCvcbmRR+sEfidMD73yND5Dx4eE4axlAbKWjH+rhymu5FiQnIJyWeJO8dwoW+Yc0lwz8dPPIkJMGfNe1fWDv5YJzVIv34GnX47bS5CD1UQC6ZcWSXfmuD94gMZ12M66Ow1xmNBDnGB34QjsmP/JfkewbDZjIARaoKhYeVia3VJHrrvfV90RhtVv9hNUZrL66DOOCu4xGOKWYchyU2LFt3K+qoPE6Xjueqn5LJT0OMOZb2ST6ggnoX8EMZWIbuOSvg4M9mHpz04DA+COiF4pkHHf3MA1FQYUxW0E1jIPYlrR+DuX+nAMpIBcN0d5P02UkBiQ/UImDWaEIiXlniZemvCSOoaX0VG16Px1ZPQjly6CSWlYYCLQkyn4bMzgqGCcfYXhgCpO6+x3bWs3b2WCbOYhrgUoks4v79sDJNuvLGwYqapfBK+t+Ux9NIes98a0+ulcdTYvhnAIxWy+Oa5tgCxN3FNApEGBgMYZS53INpzpmfqC4Sy4hhJnpt6fB0JGCb7u0KYeKgybQj2zZi502jN70cbajuPGwlq0AmmjgDwDfCDk9AFYR2DGiwLgqsfhpY6I4qE/1jIOZArK61krSxMqE5jnM3IgXZKhdDDq4rGNBtTVg/rhsAzTLFCX1FPT3mQIaYA2WARBA+owaYVfLS9WB7KEoj3z8utrC+aCmhjr64/q35bBuBicnhvM4pa3CjIKt4yn8NdH9yGUPtM/qedTxH1yZMSuoG0X8Wm5DN98BBz/8GU1WwW2MPwqwCVLUZyMBz2v6wtiayCDLJIXp7NOdZEBpgyT3nLnEoVUpZP+nELBro//lSHB48yAKL/0XDn3ta0oa14IMHWMZcnIzypb3scq4w7Zcifdpaijkv5gwMWMLkrykaoSapTzdWD13acsvC0dTonMtIyfpn+2cjl666dhCqISW2qIr+o0OsJTpWZZpf6khWQxVFGdfhNe1fvJav67BK9rJ3J6va21nrPV01LzZWf7uqtv9gl+aTlxwCiZ/tEQRV/XKNvtSQvmTIs4teHrzG2A4o002PWZ26MR7SaHqY5rnDg4HadZ0wS+u+PrLmKAH3ihCq/L/RNLKgCTgEqG992pCr1kUanZROf15sWi6Lr5jTDa2LKW6CjVKGj9sq+N3a+XcaGIkL+8N1DGIItli170U98x3GhYujDGRuzF910yl/NUPf1PWad10cYfzEENVTzfcVRYZt5Rzo4P8xdjM9qC9jaXULLfUZOWMZa1J+Nu6Jd7vHPcuRgtcJckFjv9I8ypMMcbXJEy5A13skQ8SCtae9jUi+JOxnPZjjfI3BD7eRnmp7ENfyJn6eKNjBuhfyZ7HQeQHYpytnOEL0MR1DbbUpl66FPIeBN9Ww0/quo4ergUzui3kbslKX5CjqSmddkbS49X1obNHHSpNHmkdknVp37gvQfgbbSk6eujzja75uX3ODlL5ql17knNcJYDR5Gb6XaEdORwAaWdmaqE7KU6HB5lwfjCosXNufnqLI2POD7CNhc+poSJXxqAws6golw4IDFzkk6Aizsvp5+WbNNWa0cQTRnTU7JK6+FVTfTJdsOPV0/8xDZ1lx74Ac7z511cwrSvjqpaoxTx6AHAbmWdONTri6JlXe81qL69kmvoEAGHYA4Cku+G117gBxrNE1Ix8lYpyoM/CwdVeT/ydLYi2izi6UYEa/ys27+pEx+TWLuud4xP1RQSRqOBQQxmr4dj4xkcEi5lqh1n9+H9cOaGpd5lB65eqe4i59YclRnm/tsbq2O+s77QUk9Tdv53rm7ZRb4Vvwsz6MR/pyqWgLepQDgWl11FCAI+4MBMY8X92lvUa0d5FtYwY7crevTzQhp746jg/U8b9WF1KJKybl1yVZjTsf2UCqvc/GQL9qPkTGOt4+agyLKhJEtfQXZL8YF5koQosG5Wn/yAQFMPwg5W9x2uGsYvQQ5EVX0x7iyKISx+RyS0fFK4qjiSG9sh8CuKXjYphT33wH9LraQuXFESxIYFOk+E3l0HtKLW4S68cjLJOncQGP2EcgYiJcFoS7+8rDw9CiSEf3IeG75FxvCKt3lw5gkzgr0ITbXmabVN8SSHoM1+54LsbJX93ALlSrQTfap2a9mLV231LkYzvd63malCZ7t8IsfcYZShHJwuov2p/i7B1fBRQtrj/dHds34wPXQqE1nZFNk73jFk6+PJBaYchhQecHTPMids6HLNfaKE6KAUw9QyrniYp+F+wX/CGr3I8tE5cQ3bEk4bViddLpjrNkVdEFx6MhaaFF0Uhqm+kpJXDxZHRfWJpvKAkauhtOsk8MbIApWJ0I//GCg1sM4X7sN2I/a9ITl5Vh5CPdk1/CDAhaxnr+jSw3mRsomxKYH5pK1G6helk1rEPYZ2UsLmdJy8muAtFhe55lPVOMpMsqcVruy/uLoMmgEXiMtD7OhOT2Kg/5qfaq4I8WX4wEiOQ55jGQPO1/V76u6zGzcoFTfvQnycnCgf/vYML3pGwVxcuI4YC3WtPdrrTW8WRgfaDbvUY4bqnfkw4HQKzXD9+EMC9NtD57yr4ySHcddQ/XFGb/p5HbCSTtvSjjRVIKXasLG4j1M7lRi9x57R5i3yUUuuLSh5/CYloiyKvjLZoY3mwlukYXcgcb1RMhb5kQYG8Gi7bzNXkJtxxnvd/43nmX3WwaI6u11dmgK9drfHuLhWs3c8NjRwLL5Vz2bpahm9iDFrCxBiWgqA8n3ASjfJIPRDSPHOYlpFd8RBb8rMfmY34jwMIZGBNxvk7a8y0phCBnN0thcpDHYEkjC6QaTveY0y6C/XdTMr4yd7DJZd4nmRhiOqY/B0dkadFSgfiBJj0Hj7j9ybdhCkgOIwQQqTrhtkpV6+t+rDwQ+bi1SSQf6ud6z/jX5KJXyLs5CZoFoJ218MiFhw09r65InJVY8d4HtDr1k9mTb2POynF9m44GGI7ujovZ4+iJUkfDegkkVoXPEasMwwsWaUQa8AmTYop1a8qKFmTrDb4U1/CmimI27kuFt94WTeclALX8P2w+VwDkQNi/92AGLk5jcuvhD2B2Ylkim/X+RvwrtsL5o0fCzJgxXt3VQYNEHmjlGk/QTtqTU/Tf2sFU1b5u3i7Hyiep0ahVj2NzeHbLnV16c4f6SWjoHIYV0bViNN1k202XBFtEA5HH79/A7bddDh3Mj5kQyq6h1wsOhim2z4k1nG3DlikYCQilYHLZFv/mOhNulbANCocgUoNWetHtAvB29QtB8rlHlOM/FrK9omzz0rKuXp2FdF4wwQdn6RVkSqTzO7j+gc7u7ykita89TC8nKJhcSrtvOZfrWWqDG5CrfNUdtkxTy4q+IpMW+mCvWm2w1z+fsMy+02P9OFJQjXpoju4BAtlfgVZcCguc2FTHeVbE2NY5gHb4l2H7VFXC9pVDiMNQMeCAJblbvGdTpDgsty7BIR4F+kkkOjIXcKahhqfR2YgMl78v8seWl95G8/KGJtfMx7cdSXCCNchtm8+LvBhJFg4rVZhNxmOQsQXYsi5n/PZoJtefzJNDNmmk75sp8APe801ft/Pko/zDX2NjAvdEh0AKt79ihOZDtJHkzjDQiXzI4gEziYIOtSTd1A6hJiRiQmt2VNSq1XnDKuhe4RdYcdH0FH4tQLa45IblvKTYplOk4uIa+J3PzghOmJiUJnirRLcDSPFcN7vSc2jNEbmATrgNS90VCkX6PUNu7moXxslKbmiy6U1PGsN95NYcMSOKuD/OOc0gVYBz4Mg8R6Gs4IUuJJFQn6pxzJqMTnsIrwLKVdM1qi+VCtHS38Nhgrl3RXtJE7YTN/W4YMGYLBWhy6aUIPYvm72B989IkOpvJsTB71slS3cmKWl1TXJqt++gCydWtbDPeAgsaYjNMmxMxe9WlV6+icBq/n+4C+RPUW8GwW4/yu3N9VFdUmoWx0wUZUCoQgHompLwlEoFxo9tgFG1UpHnH3SUJBPTnDPVNho/AT9SimpCraJnlutBnOjavdn9cYvK/ZWzju1KeTpJ1f4/UzJ9i/IF2vH3d5Zfc27qU5I/3byoRppt5vsWM2TlYNBRag0pwNCnY6yXBRTKywBNH4hPavS5DCLBMnuuFgasb9BKfMsMQfZtHLMVRx2g4oC8DrHfemIB5ep/ex49/guDUl4OqX9IKoHRznCMrdI9ljJDtUTmkS9ANQQxn3Tla/30rkf0vKA3IIQjnhwWV7gfVnyDT7mtYES3Ml3Ns5/flM2vhTow8fy3WBQhXrdD+FVOiU/VNCWrxOSsdSYiKR26mLvdJPc38X266G0A2RU9xzbVPsN11XpnYZtVfKjpNzkcpwmop/FmExcs4A0csibDZhjczi3pSnRd8SyXbavSytqTxq5D7mljvjSSl1mzV+LrTlTqwlwwon37S7ivAbFupfRA9Uw6Xy6APS1fhA5afY+lb0G57a3FXKUu0kaEco3g4iy3ExW4bazjtucfEc+IMOMgxFXCFZXb6rlBS7FWBw2tc1b+h8rSnfI0oH338A+bkuOJ+MT8PajNJNa4W4T3v9vECT0BDaHs/2KZr3VvU1jIsU4ThcsREKt0Kquz/cyo1at5OF99T1pSLAiMYwSyVVY4U8EOdDEiFXhTdC/B6yueZy2SfMmnm5WNUlqzOxGt4dQD2uytcwsaPZuIUizNl2/rm2SuriVlLCFP8M0xhNv+n96Ixm3yHVwtw1Cinkh62hhVAa1kBKJSKfCzEn+/cjmYz/sWFTZwen7vlhrsHGlYeqM80aMJjqvz12uMKObHnoatR8a0OxtPE5CwPbnhKoVWbiAvkskPRXdN8BE26sgirDdZeBgvPSjXd/ZNMkXMTJBGRFb2cPYVvC5KZhRkCSeXgQ+d4osX3BAjPpTbiF8p4Y9Oz4eL8Iier4JWeNIeKoWnRnC4p5+E2f5oukeac5bXzzRHjH/agyjBTYxrXs6IZzo47ockAyLa0W6QgEXG8Crx4+eGF1eVE8gh15EEiwb6uCqtoIjaI74npAhM5wpr4Piv8hzIuRl1ExBOfiS4ivjsv1FL1ukTFaX9wZgziOWy6Pt6Z/m+0tph4yxt4/cBD9apqgWtcPCSwFShZ93SSvLYQ4xhaVA33M1PNsUn1Arx3T5s59G2gG+g58HqHifnjyqrVoqLbHLGrkayjbgCz+S0576BXh0vy4mv79XHQfeSCCNR2kt24PDaZCWi78lEy7lT7ecT0TEvokDXLhbn6CGj8HEd0T4Ndrw6pNriBtwgX+MWAkxBR2r80MKWOrmH7KoG/mSe9/grA/dwCGIdJJhvEwVXxmLj0FrsmU3cmm9tKv7bQg2MtuR9IA48eASz0FYg9+DZFjg04lQ/Ipvt1i7PoFDnearwvOGjXG4UVtGxTYu7SbmPAULt+43VqqI+AJHCHpHPL+05zgVXKoLDmGiuRXZGxFfdV18nCHGgGtGYRNdT0RxHY7ei62l0cNc5fSeGsXA796RjMAt9+lwxcG29t08M7CBm3B8e8ckSiiyJdTHG6F8azU2eFzpKmYHp1PafLRwQqCfqR8JedrWx5BwhpnWKD+dgZCzPuQ8WG87DIx5Y82w8+mICukUuYyq6GwA5MaqxHANRbhhM1gYyOD7v4Arnaq4xCemYsXSYsyFAnDt0VCuJgVpk04wMljL/yzp3t9s6VmUCEXTh3/OUDe64dVjDc2uPox/RLYMBDcjdiE4I6cDHfYEzBXYR6sQUoCjnjuf+Cm5PH2wx8Y84wMRmj4lcqPFbmThjkXMShs6QAqM+ZkOnYhhp2G9D47AEcux/X2UYylbOHkY6zUkxqjHhpXfhuk4891lHg3h9JAhzLwkl1qZ5L5qe1iowGSVZrWikZAY3PbrEVs1OaqoECnD5dL0MU8TSKhp0NFvwoUr6wmzTMCNaSkPapuTdrOR38xzaT/q2JrnQg1TUmZo/MJZeDepEmvXG+kxNkPCaH9gzhd3efLmEodEYpxUI3sWCLVxvd7zcMLajXHRnzwmbdM6/FBY5lW55H3ByMD7v851ZMCMA6TDJoXWTZUwKyxOQGKK2Dzx772kTpB4fPaGqritCCNLWcccF1k1ulAB+Uu/D25MaKKRGGbSpkdW+m+/0zUJd0xp/X2rpE9lGoCOPfoqpZhRX80nBlY9xWgvBPVXNqS8vY3U6l/cGHGKmEB32/8eEuQUu+/LMuYOX4DSE+BZoorZJfAVfCLPTk0CKgP92yVfZF2YkE2AZhzVCVnnslXrma3FHqvhhg9Obzoq0OWK9H8QZlc8ImPO3Ev4SctummjbMoZacet3mn7Bp3xV5xygmBeUDHBCtvKnyl/5hGUvo9z0PlCMmbGJSaeLGnkIId9ihGJ49WEr4FyPqY6si/xldJgSxsCEbiw1JJcRhkQutDo114oJhzpyNGEtNudjiiAMw5pwol3nKYnt+6sdGSW+hBxAeUFYJDLijLEAuPZptjbRjgd0qeLnMz57nzC7Dm00MaAsd8VN4BoJREz4SNkCZQwDpzqJkvKm8gwiHZgdemsqtXZjnG2UhuP3e2KV4+2C3Aokh8FDu7ji8apVxFIf/u14XVAYurfUnq0/f/7go/J2fM+Etg+DGq/6lQ2Ah4pLhEWbo6SJB91B80LYXvnuF8wryOyf6IyKGDtdAxbJaUfImMdFLj4niwoEJsVqe273B+UD5ePthHEzankPl6dycB51lA8IppFiH1/41BOE30ZOxAHSkP9UdGu/uI43+9L2QgNwV0NETTbXod0gMPARaubGsGykaTw4qpz7bsKIb3ZQyl5yJn8HWBjhAO3hP9SspSQ8mnoPc3fIu9ToMOWEntt0DFIwdwFDXAKp9AuBQoAERKqv9CQV0bh+br3/ABcaHGI489jEBQhcntvlShI50WTFngECWL3mfkc00T+AHwUb5wrtdxTWOxXvoinXE/RlegY73h7zDQQF3ZKBuLbwAV9X5i5aDV3GPLfTKcqSSHfU72kWzSVNrTSaFNJD/S/xi6mk3rRxyslD4bRQ5p5h8P6KoDvAZIXFhwfoZHM1v2B/CUnxQ9IGmMT72ATosnVpawIezYqojq1bnqJ+e9+o+DNAw4rZ80snv+BFiBn97uVXnTXCD3cR85i/jmdd46Fa5auUkxJQ1COmZFxd4uk+VQ5xNf/YbpZPcdm8wbGj0+xA7dhOuHMcpG9Bg6f8YztJ31JvotEP4XgUZaI+5tjoZCIyPRzL1eESoJvrbfNp+sqigiXRHkCEE044PFXRpWuWmTKxq/BPJ3fm5QyFVCo9536e5zyiasutnTSCEHfGZcjrKggBakwDNYhPFY7ncgZKSiGagRMPm0LM1GJhmB40oy6+SFaZLkKnnpiozYHh3twVQFtGwHWxWRDzG6CNcx0OrwO7TS4fMvaLINGVSu2fMHmv9k9lEtfAHp51WsRvNAPmIGGP3LO56LW0GZUdDMS8PSHBIAPmrapwktpCfIR5qM2vAjKiwvNUbkrF5pGon7VjKGtISP6BRqyYjv5JyCS1vY9paCB2dhECJSpaVCLTYJvBEchY7qOHH6SA9aCplIvEKCUqPyoGpSZNmmJmeuX8idcLj+5B8heq5C2mxdKbfBckbFzsU8XLdjEgFa/XvaO9zpu80Fzy25OZW//kIwgajfk+Qm4KXHIyfh13gtUmfmeV3szN5tYKGGWu9a9V4KYgxfxvUKs7OxbB0CILAlg0EU/StChpJ/coZDVsp8kiCcGNvvr+29KnfbpL+u2ouBbr1OgBxxO8LeiNX/nyka2aUl53xBMHqY5HsV51bN0HdWQqKfYOY38ubP0Nya+mtcbnHuznCKrcteq8oeFrq50waBJmGz811wZjb+sVemmjlOnW2h8ZX3RyP3OPwF9ZgJFjuDPTgTnq2pyCBUgw9aflehKs5dy7O5QXqGt9GenRUaqwun5xAPPZE2+shWG7ll5eNSwQbb49xw3KzPQ0OJ5ICIpLfL70Y62bC9d0zJ+mdzRZlRHKhZWK6/H21MV+v3LpHhBxW0dnqLP+YIN1dPPFWECUY59w6H721TNiLoE76oaLzkDd9uuMHxoDMCySMMrbZ9JuYNC/Ch3/9CIXpKd4sS2ctcky4EoDpermRE0Gm087i5vW0gFULUTdhlFnLVMQRzA9LzSqqRsTW7PGvcN6R5qz7w/G2Q0vW70hGqTKtQuhKydI2MjxaNsI5KFo0OdTIfWJFmtrHXK9FqpWtA97/agdDaGaGDbC9UWzRGT2c8W6we59ZT3P3Ilpx6t8xplATg3tePWq3nrReayezZLvTI8MpwWAqTEx4F5gcY1HuEiKHnl19apdrH4Ev+obiBydsAVYk9rOIud8wPMZ4xJEMMfm6codArK3mEJn1DdYtkppFR0S81MgyGm7CLqb/fCAaBScFt6WDXfIIbN5WdGWwV+AUibkYoj0gANSWKixD8zXqfVGVEMg6/rjkc22pmiB0ZBjahJa7dOsNU9wlPF8Oa4UIjzf+iQMegVqtgZ3NN1Os8y4cXHa8atH2nzqcI4yRGe28wvk76v6bDX5NQBSrCqsVWgHd9LzPmtDqtjkaeE191Kbf9/IZ4Vt0jnFScoE0nixDgtyyc4DJlkEaJctJ+u4GwRWhI349y1NTa3BpuUIIMjTP/Rmx7is7DYsuxOLbNNkOAPazUs+msYSsNl+pMzMYlvtxsnTqYU2I51yl9j4PQSmZCQk4P2P90vrnEjRRvERPzLDOoPjLjs+hFsrLo0ZdbKbRMNoZS50Y0FKP+I0fDXu5ZlJ6xKDx6v84zE3S3G4zeGXdwfZOLb+2Tikb4t0QpM4oYJ7a8O21VcE51Mgr8bGI3yK0gbpl4fZFM1A2uSVfdOc/5vd13I0c1mvb+JhYpwcO2xkzTywwxvDz1lKSmUwWHQboHgnqYPkMPAEDXMOfqmEUWoBBf+STbWgZFOQELv8KDN7mqCk9xNBitJdjE5T55D3LWo9sYTn8uJH4SW6nYLl/AcJrQZN/+i/ieH1sLT/ZM/CumBlBRa7L7bY3+dRN4jxRgElyXgt6ulL+ivG1+Z6H4RmTL5moiMl1w2ZwCvD8avZU+2Sol6+keKDFrlOt5uwV8WhYze05ofwBOUcVi00OM5W9SPpKWdxFmG5HAMsQWXGSmeT7k6S8Edb8Hak4RXAcZp6GAU8tcyyAuy5Mzi0CdHpy4NEiJQl1z5lbdE83NNnSIfyU5b/mlwkPr6TT/rhupwU0044jDGTfnkkgXNoNN2olb5YaMGTs8ANmO+NKRNbqyxgDrCLarHzUZSp2YhBkzAGf7CWAn5bW9uPvX//e2eDnBm5ysOeSVU0THmh9jMojdH2ph13mv/+1hwJYS55awawq5ezeMVSYhdpXtHRC1f3MNBfeoWRM/1t+jSVgNq4p1vA3cLATYYbzcu5q372btqgLd/slEnlh2UC+OFW+2h478p+RdHQY16aFVrtgSIU5lYOM2tSD+fFoCNv+AW3z6SA6w4PK6B/H68R1Ps3TKR2ayy8tapcz0L6EN5DxwrnYcgSOvkE/yQBr5K5BmvUPsr4b0CuIs36b7oydzIkVpQN+/QTzwvgtqFy9/A/b10Ds4/1Yo5n4UEeMANiwKDGL/EpQothnhjVJvakBNO6obN80iVxkheXQ6Oa+2toT0NSgp7CZFrNDe5982wN0pMcq/TFVp20R1HZocSDMCdHvte41DyoOViZtHXqtQN/n/iGAHSQ7OqKBVPJ9B87bOnSnNS4YxV8A6eu+FgW/zLe1QRUbuDE0rSIcCSRZXK1w+SFq0yBfjKfjWesmwy781skFg7GRRU637bLSUdai58iOkPLln63suoso4vfMf0YPPeZbSXQbT5uxIS6Li49Jx0LQF44Vv954OxV+TW248dGh2/owLMWeSRmmyz8mJqEBliOiAoxdc+9Zo3RPyHmhTVaC4iBsiJWuVZGxL7gxOXZhnYQ4MgkhWHc4rF6pI0Xrt8K8ec9WuLepm+FFlI0RFPGLDnSGNe1slCon0tjzUyd/3y7tYPBdGnn2mzINLHivBntlVZezOGauybewzCK4jFA0qhngGquwOJs1aSF6cfwDo0b+w+4Kt01sWWnq544DMl27NQrlSD+noYc8MDZqE3ckix2rRsj/49G/5eWurcW5K/GCpmoQskpj/zqW2u970dPgJOEB65MOTMn7zWYIGV+GHAi8vFTEkDH7KybKL5JQCytEnMii4fiwLLh8Bdt06TX8XroZXf8ukH04IBztO45Uh5R8p2Z/g5XZNJJ4DQ6AtikNUm2cdeHK4gkjSvU8SqLPSRcIz17MVd3wZHaI/YIlF1HhB2Lw3LRTICNTDnY3gqe6CZnoY2SPymSTJtpqPyQIwDREpT9pEKaEx8brKwapf7tp4tX5KnU2oK+TnDwiyVUepHoC+NCk8THUmKeBIE3pxyBPfQscOPnfO5qTm2EZbGIoAP0agOip2sAQdW8UrZDJtiwsnPWEBPhLx+Tn+xvBRGfbNCS16iA6eEGI94253atkTAEUZLEMdR2Or3SsqBUrMGIgjxNs4AhVzn5wgf6bfIlXTThKMrnLEOMdeg51YHI3HJv+FZxXwwrKXtA1Zg2m0xas7kSU0JiF21QU+h2VD1gsBQjzSgnk8KhpE1thGx+KqG95Eh4X358QkMQbtsCiDxtJC+y48XBjkNI7wU5EYyut7lk5sG6BsaElKRs7aqTQXjsO5XdMrbBB4ObG2+niePxua8Y9GPIoAZ70YmUnKG8kLfh0IYJL+zmeHjPdM0vCfUv0sfB5XIfo7YdLPx9DjaXH1bnFqPJmfrvIXV2YkfUZViGhyx7lkUaQ16/f26fEQS4goQbjVBByp1X2uaf9PfbzCeOudii6OAm9YprkpuBCzatA/UBBuR9LZqEWljRw78sVqiyz8TIQwnhCbbg9L9cpq1+FWtuu4Oyc3kf1fYP0c0nhFY1Xjc1PJ92QfjtGdq8UAsDfWWtrT8VrUtqnClqJ6bUDu0N490D+e12JUFlcPEYJL0NGkmkEJetIewUNyvZ+BydehEyjmjsRlo7Tzk9/xRirWnxh9YyeRkp4/GOxn4JzON0Lgw59QL5f2TZ+QWsI6pI2lzpSw5bo07N+fQKq3p2mTPU/LLpx212QVh1BfquLNrBr+yc4Rf4tcHy+S9rgLPi2zTfu7JuqXi+ntzbkBQK77B/VolWHaWlExpMQe91X/8KPcHZS6t5QdLZBM9y9KY40T6dH3RuHoz1+auStoLLYICBsS9tmlNHtmiXjGuH+79dNsfHPL70I5MM9qOHEFCsfdLM/Jx/3CFbTPu6hBGuXOEZdZpberzKOX9mF+8UpseJUHDtFa41+N/KBxPCAzSRWU7qz/L9bRydVXxDPYK4Vse+w0LfQxZjUcfWT9/+8CxmHjKoKAl+lmKFjT+jBnqpSD6HY2aZ2FcPgwhs1L4NZyHNYnI799j1sBgHeuBT8E5/0yc3eApP7J5JByMk85w8/mtvSvh1Tqfhai4ZxMWvsq0fzPw2Q3/oOYBhEvkW2EKs5FdFrklUkouSi8UV/U2vPr+K2AdC678FzJnKcnoHZWdNT9bHc1b55yuTdLXswy+vXwhBIwniC9vkJ73H7BOZhRN+t9PIyCFBuvqkRdVLXLY+EriaIXl6o+1tf8rZ4LsQHelO0JunI38zzGW/sm+CjuRg5F26/DVorfEeIW96M+oPYrwMVHjs3FoqaLCDvvJVCX/WhmsFMXYOc7AS5zQ+WS5pyQ/rmUZqm6vm9qlFGSqG7//q27lQGkDgiWRCsVXmwr+Yb8LmEpNzq3BISlKwYVSYd5f6uGMXIwWpCBDEJN3NF9K8W3XQaBf2r+AUcpsZsAu4qEKAFav3CgnBPFR4iQOwPCzfP60B41/nGbCxDdkbdOVKtHzEY1784PvdWvCmzTb99bUfoDCqKga+v7jmt4igredHdnZtt4oKIhrl4sXEtPCy/OTgNmogZaNNb1ptwYnQveJfrlWtc/dJomtMWwDwQLTHgmRFpiMNn6rRAoHBptXhSMLSr728xNV34c3flzi1KenBOeWt3peTlz/UqQhhgYyTfPxXwRs/kkDmOv1jUxy2ohpL2+WjepX6p6HzkQ3yq6f9bKinE8H6A8LB0pCd5FaVlmte/utnMrCSnIdJSU/iw4sKE8XtZEV/v/9yXFU9l9teXYJT6non2j2aVmd3FVD+JKjoWfpo4J4Jja2ziFzs+qVxVyXT9rYP1XNAmH2LHVeS2T+V3IrgvpDLQy4IC6FiK1Oei3bXBXiwiOjNNZnDfS9/m3MegMRHc1qWdKeq5jKQNVzDf6agFJVISp5SnwmQgVzeIZP6/fucJ1flkoTygoCgOeE09qlPpYuKhkxHm/1B/XXdXbnPE2GDMy8VZlhWyiuFYiqkTSjh6zaRwJG+1CuNe9YJx3ZpsMLGrKB6STTp8hSINC5PaFzpS8cWilzDaguz2HeHU7Q4y2BA8WffrFX9YRHvq00c+gDAldrxSJ7cMHsGNXA4GazRRvYewPzH8eKzBMuFFPSY7NuNNCPvAoMfTlkzqoVY8dvJtsnd7hBh/iM/Duql5+AIBzglhA6XdJ0MsCwtxJUjDmfZRQbK/B2LFrTRuKZYukbT8OsrkpjJUEKoWPHEiONrQxSX9i9AVLaGOVO34vS1eAymoKMV90DJPD1PsgZscdQhnDWiv21QZex2deAFgwW9S1mJJkgSIwUuO9TCMHjnG3ddfdBFA1UAxjrAsKR6cF0mn3lniWmfNcxwsSIgUOuKTJ/6dSydHX+dZh3YXFZs7KIBZZTtqNVLxbKA/CCPYPWa8YACncfV85DTQQSqJXhM0bIEdAffRtQkPd4lmd85Rd4Tqrl5G/QYmxV4J0WnhgLj6mEQdPQ55VCgt70z3zvrbf5noblkbYgKoPecl2GoBhOyjszb+hRXQ/BpYgZ1PHTe9X8fXzDqw0uLCZhfodbTRbT9PCFfT+y6xd75QmWfrfNr/2MLoextHuOhzb5F93onEIPIZyswmZtc+kN+XdW1/Z9UMTtKyj7nkuCp2eNMRfTqvy0uPuPz9cU1NOxCoTiEy8ESajT53v9F3RH0DKgFnko8DcNURbXYw6puPJ9a8NlK7uhn+ZkpL7Vm6xdeiYCQc3kpFJV2e2Jn+rQqUuE9M6Ww0HTgyJqHKndxHs+TCNjWfHPN1ZL3F5GQTgMmigDBevVbn20Z/JO++OeGCRNkmz0xvLQTR6tMZb6KDXKM5jqc9BPEBncq6QJqNl8SgJS/7svC/aLLZ01uWKl142FfqhhAvLvfSapYmTmXemPptMD78MYX0pIlQgHtTzJRhE38Q4p8TlIKPCm2s1OfUymjKxGJ858gmF7/5KDI+aEdFQpLu/NVqeb2ttwwJVUP2n4LihHgnyS1jPRkh/ECbCQQd22r+SzAl6EiFOBl4ESpdEJsWBP25/L9eHjNHXG38PuRmEFLnXwbGNrGX8wWok/klQEOBn7mfPIDxL+Ss7+a5WGn9EAOpCfUVWiqMKOrg5sM1l3tONQ9JHqvg/XW4vpztotnV3KdX98VMTxUDcsOO83lOSN4Td0FuYth94OiHueff/uZAVeMfalG2U1GA/dQ66WZvclcCUIujsMtl9BvYOMolzDozxHG9VgXVEmb1irbo+4ahsu6eTtxwR3HKbkF8iePv7Htn/C1WlyE5hRYxmMjyiZzw3f3CptChIDlZwoXBwl/iGFJqic4WqTfRsp9JQpt4gF4Cw1rd5hi6x5tspJUkH9T9gfzePlswJTuOoPZFWQs8qSSU/G8ypq6vVMcF2s8c+S7H3uhA4Foyn2wY4a7KxHmoA/vRmsgS8Eb4Xjf4luKkI3zIHPJli3+YR/XzgiY8bYuWf74bNoKKm3xkdlKwmEG9/qJ1zpkdqQFzq48XX5qxtcuPR2P1eMjV3kfIAmC/EYjVYW1aoZkrPGnk0EBcf8hd5eqm+zEMZYPntHgvkfnWQ+hKhgY3pP67drsPpX+omkxGDFUdzKAddX60K27mBZfINgGoPBBhL55ZdktEblZWx701UjkYDnu/EFsAvwV7PMBcotZzMK+raGUm36GFf91qR4n6gBCbx2H9ARfkft7sfK46nubO6WBjBKrch8qQhBpTVqm3tY66sxPQ+mJz4Mnf05VT+mwQY6Tf7eu2GED+ns4XN0JtXsHK/16/bExMS84XrZUPlSLwu0pMgGxodB8s9fuJW4vnU/8P+55GOUnjLXaYHkZKKS9kgbJ9jT1PUa1vxUETic3Hi33nhKMkjON556X4RJ5r/QvC05emGMlMq4XjMqifX/alCik2aCuFPBdSa+kVCeIToxyaqZER0X4ZWb8a0QuV2s2UKy1a/DmcV1Br83fZljSE8f8jbSgb/6z956fO1p6bEqGcIpP1oqgXG8LBl3lEUh2X8fPdtLEWpTjWF5urAro+klh2wbxqGwa3fZ/nXBRhlZH13wCZJZa1k8Kk34mAIbgqTRGPJnRmvH/VIZlUNnKvoWynExSoarBgTOJ4Yu23hrFfrVGhru64HeVP13+J98E0vVGvNjFrNwnTf2N55Qwb9eB8uPeVp1BJxUA78keCe0oaBoAMT8k5wE8cARNZUBcOBVM6fEzTJiBoHYPXGbqY8TCDQ7h1zfmeda4oSDR9O6oGgNDiG/lErDZLNvNZoMCJlW3kwEezJFrne5mOT7fLi2qW4mny1wv+dbuNv1U3sBBHV7Ke7UlJ8nEqTJ0LTK1uKcCDiYFhZp3uiCfiwfqnTx6fwe1pHQz1nwU2c6F9RrkBpTQZcL+g31ZOLJvBa040ftWc41VaNvbTXAxLPJDwv7RVeLGPzGubC48jF5ygMvcblg+krN1tDMviRtEL8byOZL77RrokwBWmfXjv+qO+NwYVJurKfL4hZVENncaXrt/zUVFS37PK5iKaDC5kLIOe7X1GCb+tNAjqgWCbCYfGCcQeOnIaNJlOu6QsdvwY+PT4LLZuV4H9wL41ojGngsWRdGpP6QY8rbp65MBivDLRSrhvTfJNtI7DsqrXWqkxcTZ67yeKZMSAAoiUe+8OT4I6Wds6qgKeuqpV+0rwbUEDTElt+zYdsSmbzTGOcC0Yq8P64FrZY7HAj2Y7YKaoZ+B5FQOovFAPWhEqnpr6kLFuYf9wnsSH3BhIEWQnjKq/2y7aPIpyhlDOUTr0ZLd5YmnRViT3rIYqMyruWR1yT9l7UsuaDK9y34SpSPLy1z6RYB2nkfxedCT6CzHofXaUyy1aJp7x5yJpovy3xlJKV2Yys5GLv0PcjaxCTw9cwOe6dBKos1p7FQBFKlZqbk/ERnpAyNMwbrgNviqbb5ihhZxPrBtcaA9SgOVhT+NEavsQUE6lgJ/U7qwXN18rBFZ0jQgYl5Qg9uNzBQCU5qL/FYgJt9nZx5AZliAUTc79flru9fRUDdAXZ8KVh7M7oDKZ+KTxtB6LK5QjLPGNT2wvdtMAQUpngJqI7pDG+UXSA4j08y8Y7YZEUW677KC1uXJS473r9xDIq0iU0eOBZUVyLzEwe+PHtEslzCSpSQU4wG1K8l9dikBvVYvsZvIWlUPjnjaZp8NyGFcUC6oXxV5Eq5/bBN8nH7V3ReJux2d28dCBHgOf8Vbs+uu6q+htHO0WNahQP15rpY6JjDtav/8hIojsbjTzxdcuVYUO/sHGsmiR3TSOQJojDVCo9RnHZfHEduV8XRlFEVQucBHlnDu+k4wNXiKRlGTFnDxc3BNGhzuWTQlS/42r7AACoiauwe5dTEWSDlAkTj2Fi9oM002sBzMP61V0/93y8debzP6C6Wa6kCyDIFwR9rpLfHcxiV/5LldC2BbsXjQ2W0lO9gnNquE5XRitpKL6W8Lo/cHYhIFRzyOXYaXd3DWFyM0SEzG8aVu7IkHFnwlvJ49+UJtyQ1o894/mQmIKdtiTlCFZQ03iXflolZ3gYq1Uec6YmowwoUr0ftUwlDS/McAL2+RhYuNsIOg3aLLaUkcaORb7Qy5Il/TZ5J5K/4L73S2lv+JlljhTJrOQSzNa1sTTr5NbOYamavvtiqTtv+9xwzl3OpjzNNgZV6h4wwNMHyvFJ+egtMXoIS6ZyZeBSp2PFbQhnE8y58t/aI8eCOR48CRRDErIkOBoaCRdSw8ZRqLtEzwMJj0WbU0nuC9dxNyJ7fHFqa/H2wFwDcpRNvxTKeA5jclD9Hl3gjoCpTIYDyxbMW1gX2XZ51QAVP64psIX5fNDFMk6k8fTqn+fe80CILU60XgCJfyOQodlqtArmi0RokVYZyIwK6abK9XkONbcfujL94PPp6lbmpkae000ZgsbGAjymH/4aXA/PLvNdqEIrrUQG9yNGkXBJ1yEgLzsslL79kwTtArOjFqn+rZ4y48sztQh6ZuZyOYNboa6J23GghGaygkQcMRw1ZKBsMKNZvCYtPtBCLj/2e91i1/8lJscmlGPaldcuB3VutqUQtjHgpbeLWzJ9C1vsxSjHWHwNdTpbQNzYiagV9Q4l7j7zUuLlSag06aSTlo8daSVfrMcJ0LBUVLQF5RV804LqdRgrgbQfmGZR53EROHPWSD0tLW+9OIFlN8Du2DT5O+kIvANFJlBJWkexryDcTrrW8g5X3zj2ASRS5ZgOBwvd4iM5Bniu8P1EvDQ+oY+XsVMMSbETb+1MhXMrMXCBO49r6R1gD5eJgTpYbUrAFPU1hUnq7BAXm5s2RCM8R4bYfDZv6wLDpE5oPEdsylbetHpWoKuemKd3X5uEK2jZRlQ2cyLb4kS926bJndJc/AhKJORZEbPTDYkF3rNuIvF2cH4k7dgNMvAjnA9UQYsW5GfM6LiYwJ1shtGpxaVb4leg2j5lmhCx64KFlmWT+pmH/I3cZMQi/4DR/QxoujXyedAYFGsXtA5K+zExTmmRinkZ17TMp2l6pGfA5dVO6YUsgXybd7GbA9c+81YH4WMR0aQO/ufbk357qLtMZC9MoZrJmCxrkUYlJU3BdYfzkX6gg2hrM3qMbHqMZ97Hn9whaq7k7akKYhcREbgQt2+i0IOdOblpwe29ZlHYzNSbMEGk6VsjEXSwjD77C1U+/cofDVle2/SVAYi78N4/Fem6tloVUdxYjbo1KIvPejOOO1sLJNCLZg2kMfkK7Wz88E7xR7b7xKTlog1pDl8Za2c9sQggjxk/xxFegfq+hOcf6HRfq1NYOYFK2QEzQVglIIg6+29eW1pcSZlQhTEF5ZkdHV7Vl15QayhdF+u4vISm1zXITpTu0RhGPYsC9kCg8dcZqXT7mKfgRpwF15lFc16P8DfV0lP2N/ku2O1FAgovvgHc6+fGZE5/nW/XjUZxo9FcRbkydDcYSF0B9A06NB1Mf1k9hC1E093d+Nj6u+C62EIgZT19ktQj5C84LJsr8OK8/Fh6Xk6K65kdY8EEIi4MPOLY0FuLOFLavrEL/ZCcS2YsdVXJzBRjKbZlwlFwJlzZsXdXY86ZtRQao168oQ1lOQIOllQ2wbve9l3YGIqutsPt2mdzJxErZqNyJWp4W57HTQ9tFjpHvAJ3pahKXrx4fPq9fGJAy1HVZsjpKakwnBrlENA0+7+3au63C1lH4F3WkKFaFbc5cR7Oo4GsMAOnvmlNXGQ0pIrhTIzJTMriDarLqNxcLx4vW61VoqZ3HWtUYdyjbysDjBKyC5pvG7iwQ92VTk/71T2VjrRx/huhvK0okfsc1dnL7YrJGCJQmVoHXke/A+YxTFm956czpLzBdwiNR3y20q/5C1wBjy/aJ6rn1/ga0sAJVtWFuWRZ4VG2GR3DrwMSgJ7Y2J9Op4hKtx2jLwPfkNIFxY8BO0/GE3nGFUHj/GSCXq23vLIxqmTiOhl9P0s1LnfvISntISyLWzqcBAjx27xodXSfqYQeYy8yr21JTi6S2SINwLtDqtwfexFyTJFVS6B3UxK9CvB4E+5mm8Y+IBsviWY0Czob237yjeD9ewlVwcJ2R90LIARiqc5jUiKk8BRP0NhKTA7OL9etHzeTTiOslnbVdWWnQrCP2yoP+GgJImtWSb+5A/Dx75mX4Q8EWBYYBFFIn8A9Kql4IbMyR8DtJ92conMTlXhwyMoHmetMbBAPF9G/YOxZAR7433Wi7+7FVN+23F1bmMG4QQvxSYMJWoYK2Q7/VCKKGza67H/2VfHfVimtt9rBQFifjrCoAerTXn1O2vTrhcJzJCkbSIF9vafuTG2TQ3d9K6S+RRTFIakXYnE6530a/Ig0K3ut3mPa0SLfSH50Gcjj4qL0nv40A1gCTFhBsjjRgjNJIMFUH0gBCt4tJQ45UhHTuTqFYEOWYgwNpXLXvr9b551dva5NhwlZaygTmTgWNfO0IhVjIyCXEhCJQXip6/aNDx7Wm3B5DbbtxYU0cq5nne6ymu52YTw2TVVWM8TFzLGTMSEj0I0TnlKBoPsT0jURZybqnrPYeSFcxz0EE+8nOZXKyq6jS0LuPKh3jQoHHlYZTxAsLmJDV/dy1klPcqpT82F4E07auJ9xmUrqTRYhpr8xTmKhPkymR+p2+2pUEDRjWXshitSc1eVBdQQG4FKCHWi96Tf71zBAHETb52STZv3kw6TJngZmDQ6MwjumIusCj/GqoLxLy8TW7QzTn/Cgyx4SIG6VTJJmTo+NuEzE+cc5OCekgRnOb9BzsMMJ/T3h6Rtabd9LstPc0vdZolPPN/52xr8q7R6KQBcIm1xkhwqd7uFGj4pxnJRM8qyezJ7abhTy+1Cspib5LpN3sc04mccDMUmRaagXwxvSzfnMypsV/1TCDcyRR3N2SPusTzzkzJCDpwxKvJJ1lMBB4moA2Tbj4+wjXDBw2ZXsZPscPh1qHj2ZbD1rKE3CEFOMDNMAKFEvZ4u23vSeq5TEO9hjo8GD+Rh8n7PJlWm7kxgGFw2M41f+sn+xbBuezYyVUK9nlOyoJpG6sxZj1Q32CVXy8wjXaddjj99VBxzatW3vDmGRLfvcR6Wrahe0p4IGmmHEeNO3StVEuk8D+pGlugHrWaTHUDL53bMG56ty4x3TI444Yivg3bEOAsxef34jqUN/NnfWUjoiXumT4KFDCHRKMUUsj/4oeQM2H1jzeB2HyU1exI9hEv8H0F0je4pIaBRnF8lrhR+5/HGhBS5pDyQ7z44MS7MrQRK7pDgdEUf5ni3bS5MEVuq8SZpz4uhVDdCfD9o2ZgnGoEHXxW4QDrba4cFAy2fqjSFLrklj+H0NW5le1k4/2nGJI7SihERxkV+YHr/Bi6S3idHw49LNJz/WUWeV3/P/Ah2oNLyW8zQGX4uIqdzhAiMomEgUWP2/6rd0IA42oVHGSTdhjH3HZye7croeYQnPhMabUelVbTSthiUkGB1SPXTxqzisx4cGOuM8HolqS8b8aLvp/LChaccr0Kw2gjN0hoy3naKXL6PkQyac9Z0ObGZvQ42lUzvpHIK/kW1trrIQUgNVWuPLFXSvrsuUw7hcM+wUCZNQk4pYSfgE6r/eWrxwl0EYWKcInwyHny6Jy4I6gXJ+wi/Apko8/TTFSA0dRP0auuFgXsbxGrF9hzOay1Q4brcOPdnuMFR3Hw2Fejx1uLyKzqCqXxccO3Zy3822fbGmZhoecykmhPedv+crz2Lk7urcsZM8PCSm7YM2iuW7KeUFU42E9y7vr1OEdfXxdO+XaJ6/OlhGdYGgUB7wOktU4HPmKDu1KhY3yVNsqUzTV/gbu5cV4TjCV2KyABisi8Lj65ea/1J9yU1pFA0LTJrzH+qLLr4m0TORa3fkr7hvvCjrfvZgQ0dwL3YH2kSt3lyKIpBiuuMJifrwZha4qHNXzQaEhljwaqKwO7+Wpr2qPfevSk9n8PGzB24YFb5OuiBaLeHZALgn8c4am5HQ9D/gq17TRb245qbn+W09NUVM+6E80lsgHb/75c7mrUN0zX2u3h9NatsDko02Dpu497Jumy2jR3ZcKNiHsMsSfFQx2npMJpwSsYpe7vswjeOta6mBYQkP53mEDqR7FmIrc3l7mnCUz2yQNNd21NxbcOraa/meEQtV6cw31kDGzDsSFEfmtAI/swSrwD+49aFeQ7UvguN66uvy+kbiP5IfOPiGRX3nCf7rI59iyOrLV0D8OWChxs50WDjZQdzC2zqLJOuOiBPxBCXv1exyUrmuYXt3HG5NGfK9kurbv4nR0P9JatLzNn/Zjo5r91w2cp+RNlvUcEXuwNR5MLU17gSqVhu+eCkykl6qezW1ujY3VhlP1UastrJpNjgDqV+6lGGsw6r0Z0XUTJP333hRgLVqD/SsEpbyX03YC7kMtEyuZQXouIa8jirk1gbq7tuh3MyNMB5IDVOl9o2jyD/3JSrw11SQGGmxA0hqdny7JVyyoHLDLMJwWX22w9P7Ltj1FA6q+aeY+2/5OKD0ImItqViCVA3gujYh7YCebyb6r9l6OaZs/MQ647AGhlD7mQnt7AbqvndKIWOIuVC1XH9mzEsrwuRnoHx8NeSxvLlTjbkv8+HmVZtvgvTeQwuJHd5bHrveosjXRQ4/30leb8WRX6kNq4L/P55e2QarB6bzbvjPKPwwFneic9Eua7a9LuvCBfKuiLGvAjXXcvY8iD3nOljEQOoL1bjpx6FhBtmzJ9mPyK/kPfRkdZzsDR1XOLpze7mfed/EV3AECqYILlDSyTsqLfooiK3hGNoxsDjqCrPUiEgRYlCHUZI74nPcT9Scq8iqL/AWWTZ6zUfGa3Hnj6AF8WKzB4iRX/sEfLdCeIuvnOudC/w4H012cdjIIkCdFWyfAI7eVBgQYA0nq/4k6kl85ZYwtIrcVc9Ce6Ui0vTHkc9RaBe5VKYtCsxbw1IY61cQpZxGs8n0EQ34Yxnuwei+68/6ui2VPFziAYnRukDMzy8APnJ6SPJ/IiqnlPFeoR2dLMeQGO3VhxiAnqGxP5i248MPKpCegvxmVQDtChyzBpERcK2zSbZ68lAVB05wGSpy0elN/52OgFlplrRdXxNo9g5NMT84kjXJcyVhw8/p74RcKs/bKBvj96FQsnyR2LJPnE5eOxefwFhp2vCAwN1GXx6KPzTUD4mEdhyQANaw16p1lXE5R2Bz8btQxLRsdqJJhG9oKyNb5sZtuJnTHCC08kZYoHVNTFfTIi3oaywvhokyAHJoINmDC4TixMPceGeNh2AbU1vW/OGfueMdpVmpI0kZzZJ5Kb2fC1M55kc+ZwYeUZmNKKsrix92JFti0FrM9EWZFVcv7WjFHIA8EcAVKzYriX22C6lfZWL4H5ufKXHmmdJuvgChXAdLkTAlCcR71907k3HooKfkQJ62T6sDd5rWIj7RRjNvCN9I9OAAJmSB3DEOa7F6b7IHQJd+ySuAkthqHg0TNJHdJNTDTeL3jo0/qRFZAlDq8jL4ApEq4lNtQnme5yIGKj2/DjzrpZurp4zI02K0Dx51cIdgsIPBuy1kvHoniAtOB2C+3UsULndl8KjEiyJC6uz++rAfNBA/x5Mf8gf5i1JGeuPRy3L6lhXYo44GTxFDJbTsqGUb7GRXzLvYMUksIFNP3rC8BOSdptb4QOn2vaS3xOG+LoBOkDr4gCT5hMWrwO9Aa1HQ17a0boigF2APaiNRaFT5kNLLY3xj6z4TRCpDxMa7LulsOt7y9Ke+H7R6sKWW7dstHWNfjXTA8BRNXj7n789JjhALrlFHJl8BfUJ/2bk3wOzvzfjMWnbwjPEIpZfj5r9hNuxXUsn18dYHFypgi9JGErXUgNenP+t0I3ZUw1WjKyfNhyMcF+qPR5i+7UK4QxPKQ37cS6Yx3NiZuyJ3/txedXdyBzgzqJWnfwcL4AWY8aZXztt1jOefzvXGFQH0k3iBehMmdis3GV/7HjApDNpqq0JaPiUm4IBOuBuyzus+1PZH3hSNKKTkvlR4T1qSTqfj45LAoIajsKOmN1xgmq4Bn63NDNDRnELLIGZ9pXzfkHmSZwy9Mqbk98jCnO31+g5LZY/xWLqG1sFOvNYSrDfeDt80sJv1x3Ta+U+WYMpROl0GaqqLxP6HyX6xF93Rqx+bg0dq1+JlzMiacZwKoNvJtk9g2+pIvEnQ6G1a/5OdwoUz67WdT3f7Bi3LvsPnWADrQsHClheJ13KfdHVsrbbAo0zS+fxIg/YJIZ/v73lM6G8V7sBxUMVJNEAn4HWrJV1VSUwv7FLq/pRDlLXYYffflkbyS97Y5ksxNlmVo6fWTPpwhsEDOXW61B/0fPVVoF2lzqGMEIWaWcXAFuE9VlGFI1E0CHT3sMz+cj5xvBS4RwH2BTE+pOclHaQQIN3/Fnjh1o5xenY9+EpsF5YnH8rUGNSfn6b1gmJTx7HuC+cnD7XKRARsj9IkyKlxoah05tMGCWHhaCh9fXO+FlA0DEq841UTxwKh1n3OgvkNxG4eOSgT3EGg/curUnuycjrh7Cr+E9mUqOp/O1zOvhFg6cXs5pxowGB6si01fKxUPewSEJ9DeBK7h212W10fNGrJLKss3R8ffT5liP7sPUoHUyTVGPkpe4gHMk0vAmB6CEJh7ql6lf4wYo82xS6NVtbppn5K/8ZIQtck7OpmxsdlJa7LHdllGwOmNpdD073adr9ZPuttlIOmvNcPPdXneJsC+kYGBcwZcCWNS1BBpBN+C+K9ZfsjH++EOJtOXs1aoMI4u0g7PswIAu/TQqoC/SwgpEpQJ0bLd5fpYFjdwdSMXPjJl60yl2eo3I3nO2c6/4jJPFPyAuCNnhTncZW85pEjD572Eq60lxo+BMWc+c51ACK6mGbZoW1rjFP4RDf2rpB88HbzwxJEU+vANhEt5fesqNMS3ADj6+kzwo0FEVRXcFCUgS1wcaoJ++af5MRP/GhOsW2jwITkCY3/d9Td6pnpKOejvY0sUBtiinoui3SXEQ0xD5qHrgzere21ls2LBNbfNmU4TvaMIj3VjfE1gH4ALZgdiGZvbo/TRt1v62uKR8sKOmm52fUvuIJxYmlKW3rigkOuslVkt0FouC4Rle3X0iSDeDtWZNcPA5mWRKOPSITzt3E/vmTTP40eRgJXe3WHjIfRkNwiLL5AK3u+W+1Rfo0+qWq7aj7Uf96eJHvgLLHZSLV8ldkhvRTGW8tklCtO1LUCSvcTpenpNar+E2HuMcaUcX1QDCXy16UuKWuO6UCCEcuZbr9Wb2KxT/x178Bk1SSaMh0ECQACSjFfdyz8HJ3iEN3q2Yn9p73TFKbt869rqy8wrsKIDM5FkoHrrUOOnzc3W3ce9Nlcwz8ugW4RGnTG3er5ztgv2VOX/ZNRganGAfKARC7I5nPVCeS5WTw1sKEFB/s77fIzS7iMg5DbO7qbR7Rrpx9btQNEYvLqyWu31oeuQEoeQ949vqdhQGFZRd2TxMmB4k3RvqgpVHQmt2/bQgYIoQDxfpH3UR7XQJVd5NUZV1535cynrvMLL7tdsAVrR/HDvbY1695pOtMhFUWDXnpRrmZ7K+kmWRSpcgf7eJxEgbKPbPUHkeT5cUosqDpdIy6avXBIAjn4wsCHnBbBfPUbTjLPpVA09ZS6MmPWB8M8YjPNPUTUcv/vo4WR5JSuqAd6l6MSGsuS6dpI5dpFnmZA1rHe3zzd81l6fdVNWOxc6jxUQKVUaifQ0/i69Z7gN6NoFASpvdoErpjI3PzWp553LMOptYgnQwlIUgJzF9wI8eu6kip1ned8wG6oRldPXqKpEGUBzXGrSQdfT9nIJ9xjTi7JZeDZaH9fJTKiziuS9i2vhnvdESYloxuAdTbicbR5jyihcOJ9HVK4fHDZY9JjoINPUclfpKdDcF3pcflY4mh4Yyh/BMPNoi/c0q/gYnPtOLnpNpw7zohT/TcCu89+YSFkBt12Ir0txSWflgx7pJaStqiHDDYaquz+r8Tf/wpBZq6zIlQgB4QTbz4WNwBwPOziW5QWcxXZdCmmgiDGiKuRQISwGxqZBOfw8BKc54NjD2cXyKCdDxaXuPNe+YTr/9uCQL+/JA0QYpZiTAUl2vpx6IHFsJGT3+Or2AFXE/t6e8knNBlIK2L1Z2WPdi3SUBwptvcvfhXDKhWVZ5xTNW57/eUYjQTcYbUdYaUJGfwIhlZvjtl1F5b9Edmmh+bWp1HAuZEQDgJdp8K4Vd+vam30Pfkc/fTbsRIoQptpk+/cLsK1VPSVyK3iYfJjLJTtn0cX6rG6WrDmCH/m1vLCef9sb/D3QLOs1rLJOvuVxgqHGHJYY/JJia7bxdG607f1VA2r/XNpx46V/58Yv0e2Wg47W9tQUUTxTxU36FQI/hQLtDIvwM039miIaPT6/aQZjMLzsav0cudCZOmvRxcRYpDEJrR4pFAnHauX9+IwNtd3kuNrJa2gyzA/A8O86dSYUekaOfXoH091qgODQyOY3uJye7NUhuJvf5aiihkgkoKIYv2O60kPnfFgn50qrQDFz2D0UBtojZNgTMhcqtyxHQNrykztsaCQd1kLYte3vLdVFOAPfVishFVdSxNwiHO4ODDMKWtsBnsoqB6GXcU2xK8VLgjzL+nOpavtZGN89mlhJJ5wDqqJxVTo4AHdfARrn+O06URSUpGrH5fGZeJpwsZl8LDpv6OROiQELN0JsZgN5jeyr8yGRhsTaj8+3RHT8JlbNnIYRwYWx7ukhFBnge0a1j88H6APS/GnakTFauNeT/rbe1h2042GqVqcufaknjjq5zZ9BIrOkhF0hp+BCWe1ncX+P/RbFoDNZ58ajt6MaQUJfUtBWAL8kVHNiKStYgjCHRQiEuuZ5wxItyNe7ckoUAY0r2RHC/Of/0frxR2UNYvfXjJMZSP6Z6XEBCZrBK9Ghyr2EC/eLdcDXspQ9D78Dpzfsp7Ej4wJYbNmJEU9DIYH8DG1zyTB1DHgZpgKcY6xKpfYGq0BxyYEtlgQGMavq6t4ol/mwhmedO46LsqotmxS4nb1A2bX4mVPjxWve3v//14IWSG0km5ik41Se/fzemlwS3XZtfzj33nJZrDucPqe98pmScemQxercSmOH0SMhrl7uxSbzOVOnf337zqzlVMR1IYrsvMNFdsxSBOmpPCTfe0xpRPcgsipyXjSPcsZqCJpBlcD8Qw3E5aD+EuIuwBli/P7xgx6Cum/que8kMDTUaa6dY9lfUq/GwjpiTwfYkHGg2mixr1kj7mm4rYlLq4mXunvWn8aljEKHm7sPug198IcVtAfnDU4U47oLfUp2tGirwM9la0YgreUILjnSxYMAponn/YmaoVQTPmTae/kIOn0oZuG3OS/CIITOLpcFk2lVi8RssppQUeqG3spwawW1M90jRdSH9Yp2DFz/bF9RTW+SoBHIUzNVvdT5AyOfbDy7pZ8PxB4Ph5lUcovW2t2SSiS6uvw0oKA3Z/23BlzibJhBf60ruygTEBzKud6yv93MvixrZDeMeeitaU/LwRgu/aYUNIivlDfLExPw6tkLF9J3j1kQiwh071aF76302xvy0la7WRMnr3GzwW3WRsaPW3oFoERjvPKD7QM9mIke/A5MSVf71s37HYMCMgKt3I+rA29KKZCw2j8Bj4g/sdVdZuoU0Be32NUcFvGWNX9qEQGKnATKoSjVOxcr774hB036PuPofdjhkUtYst4Yby55fGWRlpUM6sua8xAjaz8q/yKkwOrCld0o8tmvBfbgOMLxhHD8k+ofqR9WNzyrXcBN4WPYQYMpdbTvdu8DXfevdfZMuMmh7g/IukjaXDpkvhoweAZC0GVvMGgGYvavFVGx0ZL3y0lfGkxzB66cW9FG6NowxGaz7IVNyH5xSVw4ewm9sNMIpJ9V4FWiZJc3mFQyTCfYZtgBL/1h7t0Fbzmm8BJd00Rq/9/742GmFN7y78GO9xPZBlIaiOY7RxJrnX9lGv2vlnj2g72fnz1lQnGgGs4Idz8c2PmJQgqbs7kUh5XXTtmapQJY2MmFdZMpfpawY0yF6XdTG2jEFIzSpaRCed5CmgKl4V1sjKFtqqK1GZ07ZMzOtvP3tsYYCH8In5VYq6uETZ0reEy8gkKhZcZMjHYvN/6/Wx/uIEfuG6Di69/NBI44Pf2j6Uh5TgVEshXPS0RrKV68i+XfA95zFGjAu/j4HNG2PfR6/KMQKahL75NRx2DPWAbnOVuntUmURHIXvR7ggtGFHVhqTNZIcOs9VGwEPPWugVEjJ004407Wi+qptaQapUjQL2qW2viKV/IvZa2Oeb9qQ5pEAwhWs4meHcUwPZ0hGbIrQ9LrJ6qy2oPB8uS6TNf8Cyw6pi8jJYJTue957a1tY05uUGKuta+kAg0ENUsvyexIgmoWIbXXRpOG0F/E5cbu8Df20I8wawLtYOIsp5V75TcIzAT1TNtDy6hAHnTQ7gEVJGK1Umh9whxw44yQKQVag4uZJMqLAWPZKU9q5cQc9EhuksImw7swm81loxndmcC17CM7wKoWWI1Qk/D8979TR2Sdmeq/RNcui6tGzmhMJkeV+0AnZNsZY/C5z3n4BHrICzqx7Idr7UoMXQnK115Vm3DcV9nyD8gMLWpK/nkNEiuhRUUg1lbkUG3o5LO5M3JBPRfWpFensafyFmblqmv/r0vFLvglieZWoM8gSKyBxAq8I5PB8ocMXn6vsyHUs+BLnxOeswxyHxc7pj6WcuYyVlHC+SJ2yogmUktU1ThDPUD5qw918gugjSG1cVhp2Ef7hFjAfQwzM72ablPBRgUppyKTFgcRuM6O+171sFgGWyIve/nFKxC08Nui4I4xlX7HgZrHj+Tbo3QMDyvQPntTSLcWNycgk3Hr7cPZzdW64FOghS4DuT4vvqSsjpAlhS2jgkchHnkzOerDYZziINMFzIfzJ/ZpMIGTZtsdylhTTmNwyqAXMAieUOntfHO6VEBo5itn4rWJRJ40yP4Cw+/AA8+7jz/5A3+HngJp0ec2qTFOREOsiD8/mpZFEn6EHynmx8C7HKHc9cmkqqtlHh2sfU5PBXjyPui2ZDtn7s+TzCGY6QhCJEz6Yneq8I9l0AJ0WXx+EZhKO/4kyLr+GYlpIprSOC/SMlIjFfd7Q23ltIs50YMUN2k1TZjbRtYse0k7nF7FGnZk3/EwZnfixCSmPMKJJOoazjJRAjNU8Jo6Li6sxsdv6XdQkHmZPGqMpRtRIq/faKkY5PLn4WrEfDIUj9YHj5NPvnCA0HK5IM57KIzzn+1uhkWZ1hJUBibTh4sCnYR87p4t8zji4hD57/WDr3ZeN3oi97TQu4oHtjz+EbVZ0+niNvM3usoCrySxVlf/5+CuKHHMYSl+fevLkfKO9HB0F+1cT5lAKDukE+tJiTf6gVKRkU8YOXWna+ijMx5wmPXNrpu6J9CO/lNzBn7wj1Cet7f6teFddHucQ849KMRCVxfDty8Wc+iG3wBv1ZAVaMvYn3E/x3bobk65iZu1h3GgZhumm22fkSKPtu9QmGDpLkG76YNN5nRhe+9wZIkw5LLfRMlMD1SGYYL95AoSI9PYVuwaASd4UbDxeA8LUCIgzdk0kmA6/Kl7B+iFEgATLOvr3KE3J25FKCqU3qHC/Fjh0wGpDnAdDdbNsa5Br5c/nGttGxoh/hWGo21flPovDmaNmV/n/B+IEYutKB/ztdC6+Pp+m5bRGmhUET+86cch9Lq5T6yVA3m1+vciKLKmoE5Uz5eei6OFD+aF26Pj/+qFnEzS/mfi1/XYSwKTXyFxD/7XgvCHvUdV+q2vK/GlGGpnhiP1NIaI3SdGe7DtFwJPiPljFYUxaSpTzSn+wTLN9ef1SnKvbQeXyAtrFCSptK4NAKZc5IGzA+yJhRyrPfBNkib4OhpT1kTdmcFm6RosBtFaGjzzmM9MdnAQi5cyu/tTLhKEWdQNwUwhoy032nkdExJ3bmKgXc6W4BugBY4OEw5fxVgY1hsdwexMsDwX+ycjc/wO3+fxwAOYKHRcP9tB+L+PB/nCA+xRV4TQKqqifrqvgV3I2B++3jzXFiOoPehZ03CNDYOF/GK5II1gMy519Hv3Iuxq73qYeP7OpQmsIKNNrhKcoLy90WveAy22TkW5DNuUyEj2PJvJ+Mraye4lv52wUOolJnNrFsaKQkBIyDfkG5t1FJqOr5zEXdC8HwVA0LtM9oGooA4hKIXZXCHrDera9Dddh2JIvkAyW/bOtzLK+qqWsCqNzQ9+VTGQL/YkH+Y/euW9iVeT8+7uLnTrDHxSvCUDuOO4guB07Fi9iZ9x2xL50HxSzpOBUod/QYVKRa8Et2a3Mzj6169rZRnB0Vh2bw7ZTk25zzagHnn1uQjmN4YI15/+qyz8ubERwt9St5v+MWGOVzFLr74XDsRANwUOgVMb4YY1lAXyktfooLijSo46s2OpXwH2b6bXu3yXExHecRBN3AG6mhQySblzndIkB8CibvXAX2fWRaMj7XPfrCwm3fPFDpApAdPQNIOlk8zSXljmF+3rjFU28ntlkNQr2IvR4t05pGuw6YcOGZ36f95Pe1A/NSCiuLI0IOrnzzASOjRL6jWmayfpEjJ3cwf4O2RvGNhIEVfDWKmxWVcLzrua0ziYbeI6lK2TiZXNmeNAj5NXdYFOM7rAGDPZEwaQgJ1iECxGbtrgWQ2S3luchQ1+YJfCZNREXk/LNO4C8UGXXzV3gsYkuMD9Pz8UZ8HmQ4jmgrWYiTxRnVplveiqfYK7/OiLiMJ1B/H1/YFlUxr2MUA+H9h2/rqyEr/EJ8t9KzoYcJEY28eg8AX9/P1DBtKQ2h6X8ryiVS4rZKd1kNJ2RpxNWxnGLYeLdxVgVrzHG/WvVX3VqDw/XW/c+KHjflNe4DB2qK8NhJPGmxluo6wo6ibqcGboBcBDPsZhTRWo16Fsc4/EtO1fvmbftaHdyCyGZuG70OiqEr4F1nmAd5Ep+eM9GW6SQT3Rm4no8VPI8vmIXX8JaUjNlHWyUVaXmxZ1TeQOQy80ksrsTFCAHRR+UTfU1O5MgulqezoGy3ep6P1NTBSubCtzz2ZKF/AQn9mt6EHtZqva8GKW4eYUG6KAPiZhjbp8Osro2T5Kx8Um4kjAzf+wQ8KmwSUtY9GHsncJCxNTT8nJJXYkJ6SPBLdm7Kma2cL0pmPupS48eZRQgBGWNWMY1B9WvbCenEvbMCiZIc9nesmMrhzI4nINqNhEvMvhslVbLUz2EAv5EfoXwpyo0/rtEq/fjl7JdkDBDGw9snCQyEOGerQIFBBe8W8OtHVUIr+san17LSon3kWeB0fG0d4OEEatUnGnklekW8YaVaMYMyX9KP8mmBiB5NqhXIzzKXLJwVclbK9WEMPTlXYMvBeLk4eLfc/SCEAtpE1Loe1+VvDwkHvfOsx1ONZmiTR8Yc6FEdWQYu1vQmU2dLtBoRl01iRM/Ta1RBiyeuntsIcPCmOBgXMTf2adppBxLJnsMi0HriR7P17GCOxJDQl70M86cAHZcVNwsGZdwRo4eqvgk/KvNLWhbS23AxhUva36/PacwVXPTftUyOL8t4sPplhs2ZGV3yUrUWewbpdJjrTEgFn821JTDkQGp/1wt9OE80V717UjzYreHroJ/0FpCNgUU6TtZuMHqT7EJwDLP/+TJ9IQqedvH4uKjG0EvJlmB8f679EFyrIRrN3pzzz0LqatXBIAcmN6CWrTu+7gVhBv3yZ2gJ1xPwcl1BUzX1bntcSFxt2Jh7xOZuZs1JhEVrbfecgCLlFSqbS8m1dBcgibYBAJJDm1hDdGk1buuV+qvNTinLCFuAlcY2dNvOkwsO/5ji17M/sDFsBFB0DLVviKVYOhAecBMUZ7o7Tutk+L2KHjW0haLad3jsPLA9pBE9CXl1gp1ghN3eKXdkCI6pm4ERMFMDkXUe2nVJCFAMEGR8RmnYq/yOkk2h1W3GRyc40cSSP9vpqwnipn4rF9HU5pxS1Neqo8zSXVHILpEwSfT0P+FLnWFBLNl6ZDY7DFLgyYRTajcn5uthnVpMYnZC8F22cGcFTvoXVM2GRh/YL7gcZvuHJEpoIOaEAHEJ2Y6xQnFwsDNZ99G+tj8ZmLBaeoG2+GNOZxmOVZpunaHY+zbodkabhU8duLc6R145ekazbp4JVP47PM/+vN64RitzKR8ucClKm6QDzf4KAsoDdPhVGjrkmihRYse21zGcjn6GLt+109eHAeEkOPLU8w9LGM0pGxcwho3NrSRLh1PDsFSPtHSE6aizA1AXuhutMBI/9nRrXs5if7nPzyIQM2Ho7x4NtYK5zhJcXsb1WrymIxDtAj9z8JDVbuPzLRsXxiCkH+lw9GeZiqFpEuV+yOdsSKJ1p5Dim5vkbref5AIKEBrDbHFJORqZlF6RlbQl9EzK+fABSZ89ZzSxWgo5NWRsp9cz6MzQ99k+FXv4f0Ps3Z2Do9ccmHgsujAYo8j5o0btOpl5Hzt+0hPZmg/acnBHcpmx2qHe4mNHyEvrauXA/EwAMvXGXfo1tyVPM1QIS2hT+5JonfRnbjTlIlIA+QRvSkE30Yd8zWD2V/ntc+sTZs4pYnxU67Zp0WYCu8KZT8JVLi06ze0mA8tmQWtbXQgUpBSGBH01kPL63EYzpG4Y64k1s5D493z3/olGSXtwM636jq6JbyxVEbm+6xTaMcHhIyr1w+CrSoRZD/jCGx87wKtDV3VqdqOu0nEJlL3iiIvBl4Dvx1BJZfVVaJms23Ari/AWo0uJcF4ryztsRQPTNySNKtwvbzA0pnlJ6TiNJ+YxpkKk0l9d6OxvWeOcp1UiNJUR5W9y7F4X/4qA8xhc689u5N9lhPEGcmrlPqf+k1mi1XjcWfwyi0sPMDvgLUPRTCXLsAHsJUX+NeI6AZeUcf3ScBIjpcTCP4HKhnbD+NMlDBCwAA/qFKx28CqjZZnhxuRszkWnsjYdKAL1p3yBtY3YjpLJZwp5ttO7Zh2valNHdxsRPZX8IBJDIFUFXMSTEs2nZUpsIPAAVlxUXdEIRX3inhAT/EqHPzCCnOQhslFBC/cjAA/ReMm6JpAdm1O6ngZXIVCojgwTj0ZzFEgDDL6g2S/ZzPa7BaHqwXJAqNoBwc4owNVtxpKZpc0CZS+FqpaDrHIRRWkPevWfYz5v1i388Zj33ByzbSAAXwL1gHZtifYIfb9lMTNJ8rRh5CbEjXSLaNULrZayORZC3DdadSnQSNAxW3L4c5WUJr6E06CaOf18OBba+pycytb/QA0RuG0/CWM7RACxDoqXSteBK8aVgIV4cAvQ9gJitRaE7+wwF6wP8NujRuFaP5ONFzzBiA7Sw61dkcFpKW+gdNwMJhzTZbR2GWWFvZ0KQ5IBSScMAkT1WKHZPUz3GsA1jTwd+Fs9y7Gzm2bGdAdD0hiWQSi7ggCEyL3iX7GZrXkfPjUoYz4HwPcHlwmMejSsBgU5qty3hmv1N+xTNweCnWMlhJcT550ljWNqZaShYsDYiagxdFiQMdy6IG8bwykFVRfBBWeKbxCgDSjd9lETAxAzzJFlVYceTkjBLNfBJpTG+Q+yfujpcmF1N/0s3FerkkftsuLU66ErzcaXoK+su6FoyFzyMAB1p1zC+fwHRyhYPiKLcpvM2/IDj0mXfYTWNH/VhUQm12iiMiylSFg3IqogcmPcveqi525/cunz9/05z6PoKzkVtXbL43IB51C1KQm8ydR/Hz4VwDyQKPNXKwFhlHDNDnL7VALO5ocQI7EPNIIqIJQYY8ehy2gbMlZpVMt0LOT4wWtS4+74RBtzu5Xp/nwKGcIO0/Gpu7ac5wHNSOgjrVXJG9j/LQnY7Gi23gsWozr6OvXBVgx4n2aeFwZGEgWjgXRCBa+bZGH+hWnjL8GmaQ1nbRnb6TqF8al9Imn70ySAlHrheecTqC2tClYRKF4icK9NhWo4VMZ9Uyt7/dD9r4tRt2ORjvPtwEiFkKuxu2HIALx5A/vb21pONwaiDLTcT1AGinPA0ROHJL+3Ugi73u2Uoy8TJcsYe2o0FPiZCkOUmAg1bQOk8Fe4qOcYb7EYIecVCVEl0OMTrGDe7w5SUW1sdxtRktHYmdjyzHazAIa4Nx4g3gaSi/kqYonUqd+JNpBihlTKL7FIQNWJMMtNDCcJ7w6HT228wk2moESMSUE/CUIWBEHr2nEfau+3R8GlMxo4TlxygOBa1e5KP0i9oujDEHbQBNgf9oKhSOh3yDDQFLF6fd5VnPUAtySeByaloDTernI3ulmgu2WMtTHWh3SYsddN23YNotOJdGvvYX1Y8gh/ugiqAgUUQLtC7L6tgqR7iM91+qWfxp4ZGaC+SYv9DpEHvOw6VmT/ZQNl/TMHw+ZZxdVUa3Fn9n1S/WrrRgQq0gBjFTkMfNrD6jRfE5aXSAnUaMidYRkh5Aa2iCB9upFjhdjGQLKLX+7pcWK2vwGqVfs1in8YrmW/dRIRPRa3AjgzKYmu1bQC2FwzgIeqO4R6dNXZQTnsp+i+WPmCdtLu7QSyV0/NJCmmWITx8yiBhWS6jUBcq5RbP7mUc7Hhi8hIznBLgYlkoGjRLWS+cSCTmnUBNA8OZ79aWY+MOQJPZzXYB3YXNn9ZUFapq1vkWF5gn3Hyslp1PA/zhM4rdbAfVGu9U9LQrRojPW2HoPwgR9ZZssWpM3+hGKtZTODhrWpR4za767XRfUwxtJyVyj7YXA/XNKS7/MNOYK7DOaUcLKwP637y70vYlaFjm9un/PDte1hps6jkY1datWm1bF6vl+2+5BU5GJ3JCb7OBDhN1GWBETMvx+HhKY6BtfBmZFarsa6Zmnw6mS+0oWpuRk0o4jbtQ36Og/nlsWhq0W1dWLaKy+biZiL110wlFmVYhgncPbH8W8ptQNbWp9K+IxVOyWDRKREjMALA9YyJJG9BxhgtOcQixQ0wY2QRSqAvV2RohcizdT9/4qk+//rbKmO+csAGWAx6/BLtoTrevF7HyMOAw0xE+lodjvw1nt2FUC0ho5mzqruD2qlYOA4fFn3s/voj3v7TZolIzFbw0LSLuM2M7POteTLb4InUExfWUwvQah1taEaiEh/PpY3BJIXg4iadjSF5Dvf2BuNNNCzKD1davJhq5BIw6FtCx/Fsq5O9+8TD286BloeJB8uhxxrcqv10EFCJP7rFmEhVztNlP7Mz7zu0I3jNMW0ZaQ8hpZXGT3ch70v7eBELQ0VKcFziIQHw5gU8AsZW0l8Z2C3GLV7XfddR3pDikvl30fdCWt7JeO/2E8cejhfpuMhrdfyXZEXAxoDLdCdW5KEm8mQ6QBycSJH3MsSQgoLAZIDTYsUSDs9vS+Lwx6oMHLEmCNkkQQrYv5glIO62shv7o9iqZhRldBPZSJUNGr9KeC9y6F0SlfywHeoaul50iwLMSsMo+ZAtICYpcBh+xzl8ChQVC0izfIkHHNpUG/QgQqHb1/ZMo3lD1Kld/ANXcv6jfWZpEkljg3mqCR/ha0GX8vyV2Ly91+4jrSPeKxY6aOvyE9nsX5VF8jmYLX6xp79TtNqvs6KOn24s4AEHTQT6YC9eO1KQTSRQlwfl3oWi5ChZK4f4Po5VX2vtMNg3pVNQFQpggBJNsbPGg6auMMnjUjFv3rD8ufcYYC5VwuUynfmNL4rsKbLShOo3HPhyDsQkngQPR28ooeaPXSyRK9Rmye+hFUo0r0ELdvVGpdF2oM2/Q1lww0MiY4kEmve/L6tACqh2ovbQCBm03oIDrMuY3l57Th0OHPfv8wIDRvpH88NZPbD5ONCpYThQSieBI4Hl43k5+TKt34J8Ia05yGZpcz65mfsQWSglJY6+kqjcgubykM9YRmQHYTlr03aHB9bpbwoiqKJTLPYPnXJiLHGBPh86s4dp1Z/DlPXvwKuXgVp782K6/jA2VuJ+zmWBV5bQptVDACs5XZMq8jQ5gW4Hmv8iCdNwFLV/N3D2l6QCXDDwj9p7vwq8GJy/9lIVw0/cAK5q07HbyzksTFtNfRZPXe2LwP0ZWdKBZIzjdhFebkASAnoY5zPd0Oj/Vtyoq5PjuNnqJ1EwbEyc83pOdFBJEHTefhLJSkNOqldqX+Yo3dJGi1HVyPOuMJg/vNt7JRrIa2TQpI52P1i+whVTDRggq5LVbFNzt/XAxJWNoJ4BMqmpbO+lfUphPzItyLztB5yITYD2Wnc6ryF0ImSSWwnARQ7hXRJoYL7Snco69lGdKKOunApZLJjmD3amiOM8bwGRMO41x7iaiiH4woMKB0S5PXfUoRYwfu2YS0JftDWVxLX8yYUmOqqY3V6d9eEdGh97P+Is5XIUHLuH5J2BxTpL18o3pi1BM8gwV9SYIpkP2qFkBLR1+yHAjKvBTnS+c8BaTOiXjfe9Nf6IjSPSGi7Je+nhmoYsqiqrAygQFm+SBpl7UZQEoWYESnhNuTyIcsCogjYjNwHzP8lviA1sMn5moksaxL0AfbPMB3KbM2IOuBjY982p4Izz4nAnM90VVN6OAA3WZJ1AAV8jLKOOnsHlAA0fK+Rh8xJkQRCvDm03g8aYdp3WzkZtF7UqJh4bPLRNIht+5tzVvmDs3BY7YVQIajw8tJk432IBS8Fhm/Uzd+BSnwRjdXYyigR40v9Fpa7cOragaTbu8Bwd9gpK2cITtIyAbGaM6h4wdKpreENGFwGjWRV1PqtMEIZAPYOGpYjs9okLJFIe2Z7+m1D3W7hLi7Dqv9c6VsXD3kJQuDP1zxJOnN4INlNNZAxvw8zAHOohoJzBXa8+GQxPe6J8TaWSSSbhYdVGPYoBSO3XbUSAUkfYVqEb/Vpb5bJDzLUIvv11vR+JpWe2YCWyxa4HhKCo8qA125NbvgPtkEQsiKdx8UNbCpHtnKuZR0nsmtJig+g9Mf0UmT3c0acDLhy0qHDI6juvi6XTLnZxfov+QIA4mSBsWSuVDbpgGfF+W/l8sTO0UGl4Dvep69lK1A4jljyFqo4bpMqteTU8G5Zt1Fyih0yYS8mrneyVwyBJTZTpThrKLx6xzyJw21aL0O0cypw3kTa7N5O7jpmrKOg0ONfiiF0IuM6wO8PPcrCxsbLnDO3Eg9fE8dohVvstLsFUykDXNeYb0bJuZCky66ROnj2s+GUkAcIHaxnQGzskFsaL4JHpEdpHcbvEFHiUEBloKr3hhdzwspD5/PVqfj2aZUDWY9IsD1mMvpuI/05TWMeQfb1Eg8TtqVXNwKTDkEzu4NgJBxsb+bb+Ph4c/kJ7vtN6MiO15g5tOYC2/X+N/YpNxzf8wnWOJfCsx2gefxTtM8BlQWe9cx4gk6SUpDUl2CGTV40RSHMzWx4y3+xcM4yhe1Y7n7CHpWlX1Fv1rxxtS5NNMIpnF5Nj4w1TAOeXeb89LqJeIsg6kIUmVpA+qbW94QTKwFbMifqU+HfadbKfBxzv3nRJUul55rBzVpQKHSV/wYsx2EKONZ5MvG8d+ODu62f07itpCBHkumkrDGs8ECu3KIH8mZzhzjaZQmdAYjtIDXjGe5gd5hSFqimNG5zhkF0HSwGnf7N7J7fWVaztw/2klilScOys2a25lHdp2dx1hg1AlBLgj8B/kAeowlD1SvfYRiI28Pr5WdL1N5sih8Qi5BZHUUctSB7d45JearVhD8bq/eWmxmTSxnvh8C4ekBgvFGUWlv/dubRNgf/JeDnpusrAlTkDr+yntxy7XkFjOenlh5+E6AsJVsF2BM76IdOsp+EW2he1y1B6XRc4KDfZZZCVm4B3pppmQtA/G36O5xUcJDgwwZVstERXbl5gvJK40DBB4mXHjQu95sCdCzeK+s6wZpPyPgkEouU+mdQjAje2ri9O8mvPvLO7oq5OoUOrV+X6GlJwXuRXUcxf7wrzpoHVYTWtbU9FesRcO5Pu2788HDq6u6jZw/2Kb627uYsZuIOz1IKc8Q67MKcJ2NmvIVy1G3hj+tNt085xpIBFyRWdCfS7Cp0lJcTiXQ7aFV1VBDEgtm1vdVPXhFaNFYtZR0Sl7/hqtrZXhcsdDwYnQe7ZTslIL0Hrjda4mrVrP2Bk2o24gKHp7TvP8xx++6w2XoV4tKAzNpAjPyhRLFL5EK7DuysoL8K0K9YraTbgIq11q1lrF6j160/NhhgFkKHicZ2Klos01QiQc4skTxGH2B0/oej/SQ7dz5PIVAWYaUcc+79/Ag5WUnq6CTHYCwWz3h6ZWYxRjVk/LUrjoAOJJOpAs8tEMx7sDKy9U/Q8s+Tlshtd8qeMaZVCV0/V7wv0twR+aYniEZCkiY3ElD76wtOfZdEbtEFwxMA3993hz9NGTSZdSTliTUmrOFvUrVmetH4cp7xDkzEwfRGFtCRONHDl9Cjd/oND3rDYGlPvBJ2m2iVyTScCzjCTmKa3dI6J45VAgbw7ruCp8Baky9AJNitYkehI9lrWdZe4gwF640+tkmbgDqAzMTT/lYL7AibLbrM0Yn2ABBWOLtGJWpmkEecpx5C/s8R9epkp+xpNPjEXWunCIgqslAgSGaAT2x6Yp0oTtYtfC2yUHS8ndaaT2NmlaTHqujA5886FAILoy2zwsqxguE0av/ID9zNUitXl8gpNyR0c3pfX+/okK9y2I9Nz/exSt9+vIhgJQLxw+lBNJT/bJrwM7IgMa8OUBr0sEBkC9Aj9W/E+u4ljG2HWMxqPGRBUDqh9Y7fmbrwiAG0LRDneevm+DpqNbNp3Eq2oup4mPMUdt8ocgOTCbyEEGArVbZsGI95cTP11ZAlwudJlIQ4C8dxzHfycFU57jnoOZybY24WbSVZNXi2RZFg6usi0rvjqGwbXVRdaDXsfA3/pA2Hfa+TDWuWOBmkmrPHJ4rnt3UsxbeFWmUz23Pdgp8i4YSuG42qHHW7q9bntOJi+xIDvdv/e7PnRN2Gb5liyYSP6pMVYaPblvdRF+uDyJDMLHz4oGdRQeEhyduXiMcUFAOCbPbtEwHHNJerIZ97sAwoqNd1JCfRk6YqnaS9iJPzHKsJ+dDGvQYe9eFHihrd762zcccTlcTlnEtgbyh3qnTVa5mxmYQ9alOzBZRG9D6hdgIewfNEt8EjNS3gnf0AM304T92o9zBkXbhaQhwK3YJI1lEPrwkZJNUtEd2mMa6zd1z2F/kj+VdcOTQgmttwrMyRTedPJ76HoQ/eB8M7GC82O8MyfETt9dXehrgzx2w+UNf1J44+JiMFdVl9rk8F2V6Fiu4NSwGJxsb2jIBGimg4oCwngDvoyE0/jqYNzcAgks1MMftBx1MVCQOa+fQB2C7j/dW6SbLwkizshGmXA5FzQwe+gOF3d+xcMsI7r1Dognai49rQrf+/OrX7uqzhjY2/0o0H5aKmEKm2uuqGEeHzGPnSJ3xF0+CMZDblIBIBtg1IfPjJc9FHK+nnVXwNWIjD1xFScfFrX5MAEZTWFQ5Q2/h2RT3xZxWsCfxDh6OrAR3USPe9Ie7HyM9xp235WGU+AOxCEU1liWToRVM9GiEErVxG8m0BqCk6J/PNXesEVi43khIt6IgAfmmjih88DONv4gHMO59Qvv+tpvUJfRm7scL2z7lkvwkqFxdu7vncwx9hcK4X6hyVDvxEM8sbrQINlhcv5j0/3b1VvXEZbW2XEVxwMXdbtQFjtlTlqtxZMQnoRh8aqlv9cyEjCwOG+/Qpfw84OYeP2KJfuoP4e/z7GsNAFOS2c/FGA4FTvuvBhfcs/SavKjZls+bgD4p4odXZGafr3U9LnB3A+5R+Mze5l/DNHDL92M/qD2vZbDrMSLfdNjw7/faNUJ69azbmzoOKUxpt4thKkwYWg9A0iXM3bMpUwXpqN5Cq4nqM/Voa+SKrGsiFnQoOaDmH7JIabsrvcI1WkCfnO4TTlRACM3vyjK6JftuS9UodgT/D9JQbJ+WHa6fN0BZBGiu1viICQtFVsqYKgf6tTq64EPBAEzo29ykxpsMJ+sA8+UP5xie1pya2zauO4kt754KVbNQZYZElgE1SUjXyhKg1u7QjN/IknYI2IHwYFZOPJaZQkrHFdime9cdWqv7CaysJvW2PKdvTpxTUkBCT5O+i19GI7KjGQNJ/UH3y35nEmqaFLns4iJbbXjBpnQvjcTnzuxATZ9Mhi93mRiKOfa851HYl4V2Sa25OiB+wncafLXNCxr4LblHVRsJDkHIvlnPspWhW50Mx0sMS/2HbwgOvMv0Jwv8utYjyQcdNg3Lzss7Xk+wrEHX+ED5WP97zrrigAgzGIMgSBNf0fXS4RxSlECuaxmFtvA7DMNVv1f2IFPNvquko8HsTAbkEXCz4LPLY+Dx74+0rP0a1PoO3WeiE/x4E5sXyQesBNJNLvfJPJ/ITeAZbOZZhsQZRBPeOX5S/yRTWBUmhDZ1iAGPRqDbPpms5DxkkMMuN3PxLGeWbEutp8hhMY28Xj6nH6fDb7DY8CfJFRvdPoxUNdeacpYx96GI3vz3QxNZVZMcIPslFw22w2hMoN+TvVxt3f6e2tGsRb21Ap+I7vqte3i2/FFGZIcBq/13wWTrOR6BIl+Y0YG1SnuVhwSJ7vliOo4AoRLSATBlxYhkqWA2eiOBB0fFfFwG8+pfat8yjkctdOWbOW4TcjLXbkqecAt2czsPqaKu2/kcRY6+V8FFlelY4oSZVPuOHxeHAqX0OBCF5Mx/xaVopbICsfVhYeSDl3W+FEOSurD9sjDXFn1HViNyG+ABIJbuQiGVd4+cgNgpXtEohIJHUymgjq5QMofQKoJtrbd3PsGQNJ+eoj4wD7tpDsHCIA0xVUjPcsgOdYvYmZQsWJCIrNjwgnrQ64oY+jKn47Nhhs3WjjCDqHaMrjV46lIT6TcCfJwnmnPV5BReKnWq7Nezr5fbMmfUZgyjSeZOdFP+5rF8I97W55ZgX3gbHN4cs7rVzyyGNHNmA0WvfrqlfzhBboQGGGnXA/oCmN4g6qfzCaoExo/MlN7sjP3SnMn7M7EdXPTDBW1dpLHO5AL8Vncg9J9A6zWNnqefqytpQCn9GWNndsb2XFf6/YowfWZCXvTyUhl2WE16F1J8kp3r9cNtF3XiaO58LjdxijQ3gDsFPwdchb8HIpd6QirhPFEJO4nPbqxyYlTPuZjTwsZygJP49ScF0fjQugQNL2bfOQPswXZ6XlXxkBsRg2xlGpmLQ5+lcxe7QgTpGb5hFEeguq4F4m5KoZFFwQTHYcCy2yEH/85oHbxDlilYHEa/XN77+HajV9AVJhNehpm0tAcgNWUxCsRmHbulVPjnz1DiDet0sWxSeYsDPmEeF0nnUVgypYZFlYVR60vVwH1Ie1eC2fs6fmk6aIy8lbJAIFgIZtRL3P1LBUjaD/Ohm5cTBpoEdTw6kv7u8AA+eusGEXPXo5Uux1/oQJ7Qhm8czKnhwWkcyRduR8EN691qkmICdM55NarfdlumTAXcY+Vm7npb5k2oyzqnLgrq3Anzu7tqr+ErLjG6FHxOOs76vPGAlo33yD6aQMflZ7k35D4n1h5I5YG/w+hA5RyywauyKAiinHmJIFaHDVoq3X4FAsBpMel1K8HGclH/3sFIKTnJa8AQWbHIPI1X3CKN6YagnFUgoebDaW2Lw0l8a+UmgmmtmDYj5rBrKLrmFlPNq9oYOFf25IBLrOkWU6t0ARRbTjyepKlyef9oPDBG3qoaLkhaHNrgQ0XZqxNUzgj2/N87NO7zLH1CvUlyEvhIwxI+8UQ/hTaC6FFN/QTvzxzL6sSD7xW0VXEGlqLKeebivk4d456FBX86VDptmkU1ho1hx7znEMbd5nD0Xf5V4GVCWRB8yHkawcw3+0W4z/8VqnjajPWp7LATPIY1w+vtHVh39SBgTeESYxckEjyZn81m8M1yz7bIb3OKpZX+X+GntV6WzUns/Dgrcmj6M7yTpIUtSew308DD350VhHzmF/RHRYm1/2/hs6zduuS+635dQxxo75uc/q+FA3wAMquCg2r+txt4lF+HfM3PtMZCGiYhAiTZt/D8CXfXECEA59z3Fx1QstDfKmd6i1xJ2eSdCaFdMkT5eMIGUCFgryXWicmVv/Zk08S8owqxePU3or92EJEXjb78tsVAr+TjChXhNTw/ezgtumh0K4q1mS+EQw/RcbyICg0OK8UTg1QmG8I0AzfGLty7lRTXyxi++SKRnIxTun8P2E8FEhvnpv1qkJknh7UE9e6sEggmMA1M5ZDiVFFjgocK/ru5MgRpK5mDbyTX20URlG8IZBQ7PaUza1+mo8zouv2YGl2H/QSOlWeNzDOFsuVNRGsBcOeWVue4twCrozdBjvCXbmvCOw0yfyAqLeGtAMiSgu1ISWz6clVyitSN5H52SGs1MCK+qi8OLekaeuXMjBQZbxWC3lpiOW0pRxbbh1g1TZyudtpZ/2qUQrlnIfPjldFFF9Fb1oxdHbI6I00rEEIT33lLH7TGmp8CO5b+c7P+jjyBwhLjRXdgacoj23CDR/T7pwec1lTRitRlLFEsisMPt1XPUm61sw7dKyi5vZqI+LoX+TKg/2eIbZQpQcsPCQvxPEfrWohi4c94ZvOX2ycj2TV511Qmx8PhU4/W+g5YQbtJzM0VcOBDukFEMraPmxTWF+GTjFHw5flQmLX3BVUCHLWxXS81khtygEySt6xmE6GMIXA2h/uywbu9Owp/n+m0l1KbW5BOWF5wAvLrTmx3mPBkUQF7K8fpJMTS+VXJ9jepO+9CK97VsMcP7K0GhsHtmiUjORP3vWajHkameVUuj1EcMGBzDLtBmMSo+vzhefLUxR752OAkISfim155LX/dSFvt/Q3bFNmxQpZr64LNcP8T0vaXJzQCISqePOG17SK7fUk1uMJGS6oiNW+sgPfOwBsW4Tu8iZKnW4s6PHii3Nmiuf6WimfR/JitxJ9tFdACQ3r13ewydkG3xqaOuUOJpDoFowCbYnY1vamvM67XZ4KwfpOZBm6oKbf56s1QfVyVPO5jSjSOX/T5HwrusGYNLRtPkKthD8nbUyBFDQHtBGdlzFQb79zgUmhAfy6k9K+mwGpLZG2YGjrMKinCVvAL96SFPXsfyCic7NDFMJLppKZDlC627OgpEKDEeI+qEqmNab1a7Xyl3/Xm24M3aG418xeRFH13bUm9elP34kn2NQ9A37UGiugPylQn3L50EZL/o9+VpKHqK9IO4ySn457I0JjgbOTH05tVplknUsePp4ThEgEYc5lsEgGR4diKBWd71oy/8KWY5xinuysMd9ZnwvTWXt4/3pPF2byGGn412rpe8by/RYJ98z83814ekzHvQcFFgxONZetsZBE9zZ8gRmDxm62APfMqhJZMaJQCRdbZPdwhzTW3IRYMifyLVIPNRJaabv2VD6zl52Gj1oFsDa/d/iUJPZ4Jm1O61gG7ohGQ8X86BsFU0EN962QzGqkuA4gC0nh22L5XH7mFqxErVGE7R9gV420uAHyjTrh90yNVosyzowRsB0ZpOOMrJrltSJLBgOvQ0czen0mDZaEQpB03oRUeCtOfymoTO1DCDaXBl1b9Xsr77MxQ3Bxk9ZYtVy8DrhOw4poGgT5I1lNYm7N68Ux11E7AKKzVDvT7Wf+A6ghZVwshct8dtgNAuJyWuG3Wy1Y1+SVGbnixo+qG2uOk+lLKUNRRSbKKoav/I/oNcKnwMw5dzfiLtLrWxwUlOdTIlhqzX3jmzgYF8x4xaWGKtHFzFXq6MqWbfPDzBW3+KL5ZZBiCcWXTLwVJl8RlmSR+6LcSDgzBpdiscW82pRZ2xc/SnLlG1WiCgvL7GNYJy+gu33sOrJSIXwiptqFrNd+63VJgVkBXk3C8KPpauoyEPYt/3OSroaxwB9aAIWht15gK+H1Dvkk6gCBXYs4+KBBjtjCTQdCZawtUI6yPvA1VAiT5s4ZIIQeVuuTpHDWf73Pz/DKyktvZ8ibkfJ8191bgGZhf7C/ca/tL0VHQn+8aDcsoe8W600PKG3RMpg/FQ9+3lPjC6l5HqnAPxMFs5joQNZauMXfULOuQY+tsp1xTR4NuqPl/U+LPYMvwQiFjuY1Jeqk7NS5Eekd5E534zOaOQKcHYSUnPE1w0NgBD14CyU0Gxb1CAe0E94Svw5LuiCUq3YwN6pS4UYjaJd4X7TgU+RIx8bW265ejanlnIl/D5mLR3ZiBQIfqSshAQcfhbm+zYjo3Ai39001JTo4c0VAhelHa26+6QDXfr2Olvemlw6Ij1BsgfMWQ+Fwis6nSDXJbMR2FRzthlwQdF9RhwSMOC656ZjkkNZEJdf9u/ruesO9IquSZdYx62MG2s3KaIcaBZkcfsRQSGG9i3pzFPXtnesU/+JftaqcnzO4JrB2iShOwca8Qb6Y/gAmV40uk9WqiaHpeGsy+/sezq4ho2JYMBH59NMCMurJFkANgcpvcGHdq1fOT4LBIppMRQyz7Y1U2Ht1k+bj7g93kAd3qAzYbcnSDiOQzn7JLC7VeyY9RS4N7kphG+oO36OjBglJ355wFGT5XJFnbvexUlR+2vaaBpkNlSl1hk3UQVpiNORzlOAopz5GSmCb5m1J4q3poNRh1VFZNptbuHx49Z/ZYwCulfJvKpbHBtE7Ay+sGtsbdUIbZjYhROyQM4ws1j2SYcd0Vmj1gGk08ceeNpHuV7UNUIgnJkFuNA2LCFODjN9z87/55EtUG4cL+qZMTjLozt3YAy/KplS3BsUNd22hxnU8xWuxNYKdGaWVGWr17IG2CPcnlTUxrZyclEPNNB9qJxenAU0L5lT2EPWUYndk5kVf8h9Yg2uGlQDmC1OlRdLIaqhyJSxm17rNpmoz3tCLV8Kym81+QHehBUkQG6mN13AKo5USKEmDsJUtl7nFuLRVHn7fnMibJJQMNUfunX4rq8lC16ERDW0OMYYzpUoLpbXZD+chb+oO1pkdDyWbqr+O30hGTqyGJk/fgWUSFVbSdOehud7RXcoVT6LTCVQSBcC48WP6QQAtIUKV49XWY3XIedJzqU3likRFdamH3lTDPZLZzAJEpp0qh1uMkGRAG1gVtK0vTlY+3Cr56OYmUBndBTdyMa8ZpPtlyqaIlRBdL0rbA/pknQiqSG7SLiQh6W2vtSByxiEZBGkpfD79SRDUjfdqTWQr8Jz0U6ksgeChmrM/ZTHYeBtgqb/mRinDwXA0JEducICekGn5fXkFSVxvKdzDpz9hNTHf+WmvC3HuKPMw+JgmZb+0iRwYhLGZzdBNNrHcbwPwM0s9A//INGdyxtxNeCDNE7lLwJJHXByFwIhRNDWTaORVCd0YtY+aQXW0QeBfei0uqT651afR9iVTgkYK7TqlU14tKfcc/r+LJgIlfr66HoBq1PBJHxwV8KZqjAudat/ZwoWL8BqGY0STmuMNLt+MTZxq8v49EUw06FuLZ5wmhR0SxW/Or+x0IZBJV+BIvt+M8ZbbT82sdEeDqzch5jK9DkfmDOgmVgDEtKD6AHpzuGR9AIQIkSCxnqWqSKh2Qkc3DvegWWWAzw8RXX+MJwi/kqjze1eHhwsVWpnL95gI1o81VHx2kxQ3aW+DAKmkJqdN3LyJYCdOW5iIZDnPJZxpso1X9RcuZiB5k5AnVxD7PFzC377glpMWXRT2QYEdpr4TSaUsbd/ULyHy/hElMxuQDO9BfomzZqCJ/vL1qVsloRapND44cZf72FA9NmA+rlPnFI8Lu9xX3F4ONQb1VbbB86kinNpy4hY9vbhAMeGVAjBMLhavkGyuifM9jOSMQAR5WigzcSlmYiwO9zZJJ8XDa1aDENk/a3dFrnCuct4hVd/vFcpayI3v70yrsrDY5ltEDTqxKJkyHc545YCSrlRJwQn0gMRvLKMt7gRKUuMJGdJR2rFQ6h2HNCwkdw12XBru2ARe6pH3z+Lw/cMPiJkZrmSNNi5cSk0ISaaRN8/C+9sYV5Hv1iSAdFfKR6e7lm+daZFXX8q+iEbxpjtjn42l+PN/SxX8ePK+SSrtHHHvJjX7AaLa54IQaOexwL1bItwK/KO3yMBrW2aBi8cKlzF6En2P0Ou2V8gnFC5Y23JcKzdJhff2wPo8MTK19lSp19diD/h2RtegGJbrE3uzZUCtcIdUaYhLOvu63r5F4Fgs8a4v90/pQkLHvQnZeotftWbKLjEvz90QhM2S1ZN5AeiIFc8CAa9sUdWrECUwfu1IzEJlE8WCaE9ItKCJsA7pcg+ECibAhJjMG4O5EdR2/+lmnYu+jkvBnY+tyT6VSCZamx0ZBYPTul2pgeBhNXcCLxLFODc6QwcRavV0DqD1dIN3mZ9T63shqUFb2LzumqKebgywstTHDldR2BWNG5rDvlYtFKEFKZ2dfVOpRo+9M4HXVtZ9KxAKF41fOeXSR8ngyJIQUMhokjpAlL3PsDN60R8aMwvKgwysBo3BS6MSV9cTzt+iWH5nm2FFF8DS5AsL/Yoe8g2mlxAc3KRd2iNId6EaiR0LpdazK/LwmlD9wFBTENdCSbj/8EHO5PLY9eDn0tt/kjuS/lumSPm/ECprtgRMiZD4YLXTZ15DwZFJJ0OX+QI36y1z3PyeS41wg8gueyuj3i/51Az6/yxa8TIIXro7z3LmSO1sXNTG3PMY/yKfZ+Er0UV7pJRDJHFy3pVJnJMzTX/b2KOdSch7wL5koI+xmUc17iWFxiFa0iwEZMfTBM0rhMFtIi0cX7F++ClsiccQ0xuCLOoythEoC+djW7sgD+GLmDqKdJfOBolzgd6DSMlxtgJHUkgnGn724eDFbqoLZtXAABvuE86ljt0FDNuhWvyRQ8OgnrM1zkqZIKVffg9+4B8kNizwBwL+9AF4XuCwn6kjiPUQMX4enYOaGM86niA6nHFrGSyDolnA5Ke7BfHSk3Wk4ayypJHHvRO/Vx4bed7plunbM79w4AD+gL2hIVJCEMPzSyw5EpUf4RT13QZn9sOkcCNErLQ4Xsku7fhTg6+HlndbZHpAmQGzE9wkR9MSRpZ5AOMEpCAsy6IkuZ7pduAIwGkd1zW6k0rKw3Gh415KlPk6eo4eURDJmTEOQ6ve8qN1HEIbKba5jitjgMYHsmKPaNHJ8J2pHbe0NBOcHReAbHPhz0hcDTOv8veDJLB7BceusrLmxhrSm7tkKyAPlOAXxwXCmsvbHMx4+ocyLzAVaENXUt71a/+iNKhvwao0Kgol1sQkxsaAX7uHMkqnw865SXfOUVAmVlcoBSTbvfgTk6q1ObOhoNLozYDCCTdqtJIcfQiiAoYfdpVZY2p3rklOmTikJUykuOXNZEJkb3Un2nppRuSm68zWojKyBxlbXRIWCuP6cEstfMLNNIzv79AV10B7ZRPUfkyp5dVQA6DSlST0PX3zXPu6KWdXlNo6P4Be22C+H9CszWHmbXiIh/h0yDnAio5TCbeNxFfP6NPu3FEd56dtDyPbfDo2PvD5NEYTwgUX1BHCQaeLrh6P4DcQVlrCvyh9vqkPDZZ1zKmbmn27LbXDClBMX1UjGKzUjyhUFOlN3VoX3pwtDoua/FpJS0euPEyQeQM7OI9auMJKa5lDp8SoTGY15ZUc7qYWQC/pfB5dz+BihVc7NXzl04s78suOQ85Jm3Ote1Cjs9agFo5yIcHy8C3c5RkF0vzC5MFDcX2qAVvkiYJwoAtC5qTke8f7L3P5lQuXOhZvAygY0mizsJSZDazZenbRF2ERvHKm83pPRvv30LKhuf+hdaFnXX63t5nqjzsFrJ57tOiGVw1bOnBQwJdk4GD+8cgP22/81PwH5oJ0uOe2JzNRdrQLLT99MOrv1aKYdEIRHKWlMFxBLEc17edzgg9ldLZqx1SqYc9oc5VnXAe6Ozo6ENSlCUnnNq15p6iobp/OMfo6QS7Jhf5O9R43yvlgFqgITrEPfwzj8clZJGB78m77j2lnrRTJ4HinPCGIOK/DPLKdDum9hDVuVVGMLtVNf5nNVUDdAPNJJU0+hetg9FZ6BZ6llMXgI3wrkU69hT86Vp4TdIOoRXMs923D2HTx8E1K/XVd7nEPQihKLkId4JSXOiAAaoIgrL/+ojMDQAupWn4UNF0Jm9S64dKkuLC+oRCEjoK55EkPMj/0FjH4rY4O2za3WvwwPZ40tnJ+9JQROt8jmStmKQMhZSju5L1bJYU0/lTbi46obvwnAt4D3NhSS+DtsYLSjW5icz8KU69q3b658peiXAnX8K8qA4PhVOj10bxS3y+letmAJ45cAaJQ0OddjPCf/xASXxLuwjXBEp2LlDxxQsEgvMd/DxGcahxx9Ze6bdWl5J6ooVNYWvFia2d1j7z8HVbdGYbgN6bY3QwzJ0NlB51P1wUhCNqZBYD1WVN/puCQJADJaIpK1h4kroqrP5DEsC3LsZNlglWoOsls4HsPXCXiZRs2Mq1tGep24tsR4LZhe2pAk681cFiK0uEyMxT62nldU808ZfloyjpT2LnJHfBsfpkvqu/9Kz98Ge3aEjxxEjlKTu/x3gsFo6Yhcb8nHgOF01URAhxVkYngstpSA7Ap4wD0joN3YCEjZgYTJ7UYtgtdPzsmEJpbZMAzxmOxwhN8YU/0wc/rT9ix4Rb3DWq3j3Tzk4e3qwsQHMYj3yT13FXgowgosmF1JYjkwGdPM5c7vtOcH6TopEcfxCytpJNeVOZBq765DMzz3G0PlNpELK8StoQTFqE0fEqnZzCuOij7WEieGWs8/Mlq7Lz+9kmif4i7J96v6tnlrTrGMoWI/yDmdjy3Sk48NQt1/K4FVQ2DO1cx41+7rFlOgUrj4g5cyfWkaGY561E6O4i0Ov5/NEZKy4SEy6oJU/KBs8OMY6j5Ld1qgdyM6Vy/35Zvm1J8u7QxDiD710DD6OodymvkS1/yn4ibNAB3JIWa48oC0yCdaV3KXXIryJ9YNlDK81Oa9gxvE4iOn2+FMsxHwHEqDeVOXA+D6p3ZJ6MB1LV1ilb7tCO9e3iVmWkbyJW4f0ykABQOYL5g2rInqsN3KTu/8pEzlf0EdPX8uvu66AU4sKbjxqjs0KyT/drWbYBNSqHYwAqbz3hi0YvJrURYE2HzvLvPxmWIu5OzAhVynssqNccj794owTedDwblVH96U22BK84dK4uD7IBnKrUzIshVvOmBXgS6CvhGx2UrpsCbygDWAm0l2dHtSe9uzoaCjcM8mNjrQTkyLyW+FEoQaDPMG6c35W1AzqW0hbxoqia8toulauMUyn55WQ1l3KgvzszSDKQP7pm/2Ri8nJY5EkFDBIb8WAWbM/MWmQOz0yrtev/DefFIR/NjLHtvgXJVckXXa5+ALGttTTmN8JQMAufafTpuKvuteHqfCC8aziOhnYv7xoJY1SIy8JE14L/w7JhyhqB9D62njDLYS9rA14FOQ1pIUKkCr3NnwGuVC5ictbs44f2U6xsiDzl1PIj7e7bEKeuGoHhlB7SIMua44hvj4SQa0psXsz9bCaAw2f3tMxdkS1abQ37To+0kjbFFmEUEC0yAxCWQ1bFQb1meBekUsTdyKz58c6hpjxIHcHtTq7L6b/ZjRd7196R1ZMG9Sai0tdCjuh4l7OCET74NrRsl5593tYZwb4Twzyy526e102dPwCLnaqaftBjLMMCr3bcIIDA1WH/7ZZs68i4OE189sGr6El0I+N0aFQceolky9gUS0eFTeh7Ova29jMDXEVkxdfMuJuoPiDkqBgyxpXPNP3ywjJMc2yPpirip5c45Hjn1VcwnoPlgFb+q/Gz1MtnV9BocVuuDQ+tprSSXuwZ0NCLNPQPO7LJ0vXf//t3dOjG/V8RxvPBVZnoQSYWUdnypZWjkDTTDw8x6KVUwKVEuHFcAMLzYHaE4E8wS0kPXknfxPaKvbxJXLEe58rvoRsqQuzmDz7dF2CJe9DUk8QtqwKRo5/KU9dU5h1r/WSMGoMXli+gT97Ggu5560otn2Q1WPxhijFEQr3qn7C+Q/52B109XVS/pornv3nVq1igCZOzBGi5mHjdQlCKBIMQhOYvbnwwKZDCFOvMSqNb/crAJA4sJ0/gYf38/bXI3lUhTCxQli7VzcDFM6a9Jfvwff5SIUIkrooeiIS8Se4Gm7XNd4mK1HdOlEoRWQAFUsrA7dZQuOrx6avqCKZV0w3gKolFJPCuWhw66V3fL9AdB107lFWQ4NLdKCbCWhoUWnDZhWkI5RTIaB6fi8Q4tgnrmVqwgdSGeULUKck+1PSUr2RefKV0y89H7EW2h/8boBvYwRBK8C26K+bfJx87NP3pNPwsv2v9pdyQhg3Pzq/1L2rqhAxKZGfAnoUUYaDAO4w7lhoFjUXvzdADJhOS9WaK02bG0+vXAs5Ozm1n56+SbUSa9WkIeJn3ULQl9CY2Y1ex1kmCr9Z0UrFiurlAsPmMDFzvng/wzAe0CcxMX9yjufcVoIDvKGVMmSHU1x7bkq1VquhWAGuKpa2rDXlQV03EUME/8u+Lm62Upex2tGDxwIe9q7vSuYemEoLceIwjjox/9qfBIb1aaX+Caf+KoUsOVE+uwCkr367K3YqUz7x2j3vuf4U6ox2Rhdf2FSy7R5hzZBqlhFNKPcQ69EZl4giDdIZYiOWwn+xS24O0KAVbMQXNXyCdWKoOl3SEin+ASQSwU6OyAewlnakdwMGYXOdejXL6ZIsu2KZNYAqu8JQVC6tDmhpWZ8juo4ii48MgTZg3XCmAkGqBiD8gTXlknJMlEg5W1mJCyJ1N8mXKdQsjMIVGJOTCssf0b8i4dZxUJ6gD24k324qzfRtsCn5OO7C/gBzhN85Qa0UlY9ME9Agf+6p4kk99JnsStH1AoOPI9RSA3ks/Ryn4obxC0ciYxqtn0TpmVuCwDpkR9l+rZHL78krLpTMj1Pg6jDLQ8popExvCYNnfqSUZWpU3ctq33vexnzlI+0FCCbK9lS6VS5MGniDKM8Trt0PVNunJWio+R7/Z6Y/dXxjX3ew04HHkyWXxON5edDw4gaKsakIh2yfDa0tzNnPR70KtNWeSshfhYilVk1rhOP4Kw0VSSAPIHRntWo5LemhtRBlijlNoxbhCDlqGp9NhIMnWxPyAOfkWQwPLKrGf2/WeD7TKSDpQFxOAUaUwK9PsYaVVZL6MR9KQvENeuzfFFFfIF67E149In+8sJoj8uT99SG8O3RjGfUI985TeR4y88IS/jR5x2d2SyRVT5iU4KGo8s8jqg9rlIIsw2OHwMpF4psC8CR7RHBWScVZav+k1LHP0eBheft/Nx/rAn4ViV0RjfegpDk/gUUSwpEewsFpzIJyMZIvpQA3vfC+fHF26JcGH7hUFd6gcclurYjPNHPNLIXeSTuaqFY42oODu/aFPconCmyGDEZOt0Swei3IlsloQ2oDxF8gaP1YDA4KvDYbAwcq02ar4L3fRfRXxxtNtutHMUrjlkxZqNMXNfLBGlfLdhtXfpAGUef9ENYIdwSMkBSK0GDGQWY8JuaquHPGoY21Ps9ambtKC3+WJ98lWgoSeRjnYZP4jE3E53RIARsdd+QLT4/P04wEpOModxRbv2cwa842zpcFWriOO++EgvnoCOHX04mdXjKsm2/Rve2GCmDgRs0iIi5vN3cc1vcrVAI86CGD08zwVLd6I5J73UDvZt59CWurnuR/7fLh6pPpdTud4YIatHtjYL8IR7m0QBHRGdn/DJc7NjSk61nxIuZs3IsHQp5pTL9g5wI+NM62p9o473hXrcz+F6s4J8VhR2XIA6CoJmnV1vF8hkICuD3BAsTQTJRabMRlCEhN9NWXsv32dePL0V/SzKlkb4xQ6EVocQJ3t0nKS+2LYxDQgs1w4U1gaAtoOdIgYym5fEnERfXI0toQW1HwsvwTK3JWENT1QEyNNKe5Ba+IRvqAxkKmfzawN5d4w5DZHrBiqBiAKQ5dO2oBQywD9c4kLWnX0tN8MX+SCHlCbnE7f9HXoIDbJJGAF0GNwMI2kq6ZTbuaRk5ZscFt+/XMqKMoITw7F2bXwoL8HC+BTb0STSxRbN7rHUmG8M0Kb1pFB1tblDruuwG/Ue7EVADF105DGIuAe3StJtf9Ojc7CEsP5wK/9WewPHrtXYswOwKdN8QrX7ylakGGaKUKtb6bXsCSXT7zTzU6p6IMnRqjFGuHMvTxW5nBD2u+08SDT9EV7rmAFkweiKWtB2ehcrG90inMHz2ikccLb89V1L89RKEd1UcEmQ0xJMR99MZg52TG1/l3drhNNVcn+N3ZAGHWKRgSvU1lVTgFJhRKo9S1BEtRZdT+lcUQbuBwVMshnKL4qBPWKY6VTihyLA/6FGiKUhcQ3ONiGOjz+GfLyFq8PX6DPtcDMzmWXu1GsaA7al3klZq74ZgO22R9/ircJYaa2mrTvpXAveCX88Mlrfl/RgUIhuMT5XwofVtOC7GcHqux69HgPjiCwnrQO2fUpK4eG1+rIrsA8k8kjRaz1aKG+RyJpvSpbusUgzjariZ0FX2Q50o9/4CFhA61hVuG+NoP0p1CKafMiTqhrBCCtUiVArD88NxohH2Zi+oMNeI9E7gaeDDyxy1ymTDKyaQW6+qPpOuX6BiU82XADfgf2G2YKj3eQJj69HnVgsbXN97S8AThyDFjy6A5xCrtaL1F4qSPBEA093FQkWhfgPh5ebowQ482OPxflKmv9mOtsCMgqPMA1AAce2rDP3Ztzob5zPf3QL+unO7CuNZC9VAPnFnOjF+TM3V9nhCZZx+BOfa92F+Da82KUDeziy6sB+PcByEgDePeF/sb/9vy6JvutCJzmwsmTFGNt8ZVakES2CNaYhYe/VJt1XBAg/5SzoGmBTp5HQ+LWyrjvt95HZa//3+3kA5hwexQeCmuwCmo/8ihwbUgpkOoCSSHN1oUO4zXj9vypCfgdwkojXBsU5qPgngInSw5v2g69SfxE/wB+CX1t3FPJTCp7NjWQ2XSFWOzlz4U3xtH7R5WkcDq7WmYD9SlNVW6fCJS0nsVflAiobw2hooWPuOW2WDKbl8ezoq9ZRpGaYwNvpOY9PHmfK73IvwhRiOaHGqA3PPOCbX7f/LkypXbtMhDvZOEznFF+PMHpYw0ouymFuaLtY/jaomUDXaRymNPNREMyJ+nHS6tcZLourZfexQswFFNS/WZdswdwAk2lmENvlOG1je0tNTd0pn/tevu0AdhDFOEEP6xwKeL9XxpRxCE1jZWvBCO2F3LiBkeRxST6P6roR5BLhFY1nmLrKZrVeWxH7zoeMfKhpFCC1niXmnpLfIUf7gs3qbOIzL9EJvojJeLhpPpzzU0Q9CoK3ZNGq+NwNSdeT69GckCHWescGrvURsrBBpTq69r3Q1yN7r/OZMN+mfmMRmqOiLfMqFrpR/P5z4jVGtXLFC+Y2P3JPqia56Ha/TQxPL4F/Gth63iD39AngPR1vyFn1ZS2FN5v9kBh7JEMZCnWpoEdMJqVrt5Z9j6HrDU6M+1a1ECpCTTRvo9x9VaYlsHy/Cv4+lyIZRXUevhe+iypL1Qg7dVuMpoo28zf/veTtS3xkUQFB2AXBBGvhgnfF5W/NJJW/eXK6Nj3RLhnwUeKCK7HoysH6g/B/o53l/jj0PXVAGKGwVS1lUKM1G2k1HLz6xNjyb18fF9luniqn67/0uVqEpafVpYaiLbyPySqmB4dJVXd6lz3/UeYQU6e4C6uhtIvfd/kd2+XxT8KFsLpAyRfMj86nQ4wg0DcqG5ru8j31gSy6fGBVjKJnWf8KUpB3qy6OpsezryzVgxNGtQHwrRU0mgIbpyQg1v/WmXaerFXlW/OSvsEW0Ksh3FKzPjY0pxbF36uZEt1yRAO8XiJWUZq81FP5Vv7XGoJyIntkFc9n4mPD5R3mR4APsKb6aCCII67E3nK81nEZqpOEygpNym02nOHNcCGI56J699IfyvIEZmdmgJNx2cF4GqvRrpyxohn4ZeEuUXvADX5mry53mlO75M4B4LJ7EfQ+56PspZ6Ztd/01phU8IrgjlwGDEM+Xa/FumaJtFwQZ5/FzUgszKM7IGeU+DAyqQrU3IRHb0DBHh0pMap9m/wKopztkmYWGj+9Jt416u0GzhDj/rRQd6UzXqm9b4fY1KLAitAFf+/6Ucy7y5Iktuu5yZPMxjH7VHsQXtLy5lj/r0mAxPq9q7mFLnJfIrccTb2RPmqkohq4HNorpQEYA0XonUbFD6T6comq1pvzj33FnzGKHyEEk4DQscy6ednuNBfF1U6vuFL+5L6QUkx5tHWQuk3zMOVZpGrS+VGsaDRinQXPfpAfhmOLZVs/qnKS51jq2ITDsa1oiLiAuuVgmXaglAvFPlh3inwPx72ojQyrFkIPlc1tmtXqpOnTJY/LejQutQwRoksUK/ey3peMFPS7ocS1VsT3NgNUOjH2IZZNa453Zh+d4vLU1LSLT3KloOZkg/IBpfFDRPYgat3jExhe3NgfBA2LIzNAY29FUtffcP9q3mptGRqWYQBANh29xBfmBthWgYugez/tS/PsmKjy9X1rvxxbLK0riQI/g7Y8xicFp8PO2hPxMa5aYyq/mTM2shIeoSFTbz8rtloljrW+GHfhhEEt3W2a3V+C2H/K0lTJ4wBHwc3r0OJF/63ei3LIAuOD0uTJcPmKZTulGzeMBlFACIwJontdvWNL91pACYOEUc5Z9lMW6brR0ey9ZdfFklY/03p9fry97gUBLnGCMUgWDOY8kq4K9hZAeDDppgEYlyZHJzp2SJY3E+aKlmTDSFr2pl00mD+JZYsIW1y0BGKIqZRUtk4jpPfZJk5r+S1B69srRsFj0IyI5Q51Niq0S8Y52kWff6eFLbI6o9bAXe1tTvdIMoMEnkhV5beLNQPaoTxjnl6xwSN7aFM7Rnu7p7u1jA0kUb8AQdrtoiMFwOqAO0hAGSLy2hY+Yd3CfbOT60Ukq4pdDK9T4KMsqgCHoTpNxOnCwCnkJF9UjiGSepwxcUTFY4xz/tXTuNPdwkrb2SJ+blJXIy2vrM9b/455CP4Kl+ad6CiBbW0ey3pbHOOHkzNW7g3pLA+JchtOjJBPyzFzCyuwda4U+mC/6wC0sqait3MYUHV9okgd9OqhIrdei+e3s4DMTf4CoVAiSSiC0RWw/eJoj/PUgyPU+KA/YJvmajNut1mj/QEikEaVXq+67uJYKhiadI86vkbGJRkgTSI37FQnYE3ps9uBOYLyp64vKzGzmf0GZXqFYhGuGxEh9ShNyyc6w7QFmpVXFTEwWkjxMCG13q2FKal7nWeuUKWcNz6Ndwo2jJYyE31kFnfpFd0wwG2YNtOXzSwMGhew2KJ/+xk9xQ21KyImAXvJE7XKewTpoPcrnnAWX2AxIDc37nM+Sz5YEF5fomZqel5tZJeYmczXLFhlfcLntPkEVo0dbsSy0sU89FWoZQ7amMAAnQeeGSBdrsHtrY6UAbAANy38GTa13gb9KhONwCIkkhHxE13R7JkwjfdNOBLkLxixRZ/S55rhq7fIR8rbAO8MrTsWJmhz5IuvPnJCIeFmSzjWK39pz5V6YBvkvGt7JaPKE7oXCXImwnw1+ophH0Gs9JrwM1glg1r9PvQ1e7INmLCaGlUf+q7Ii4lGNsDJxdcdjuNnp2d1wez+PTcixVtIhi+yEhYyfazHm9A8IMxa4hnncaWZu7xhnuW+ewkekijDfyYJ723hEQ4Y2ih51QostZ70ZCrZtIZun7P0pmoP6w55dwKai6DA40OE6zClW+BNyukkBtOc/zFYaqV1uBmpvNEi89Rixhd7yUTCFrH4inruUZ3huMLu0jh0KG4eHDApVmVRyosnDxoLdVEFZIlxrsnc++SKKqkQwaEHQScqLs0ioXrANR4nbWuPGt+pA66m2fKwAADxRysat+6pc13OZcvnM3RSIkXkD5DlF4e0uaj/QHo5P8KwWXCpmp2L/lQA6hsfbXZ/UtKjnw+v2dnDeYsMK0N9oMTPdjEUMwsSJ6PPvK91LE4JYq5boZ5trt5+DgoZQE+IibgRkoEFd9HaWkWzmVU/34C21sDOg7Z5heqpdB1WTJcgnXB9ApRIMfXX/DzKxkhjOupt9MxblqHVHgvmh+L27WCG7xmseb5bn0yB1uWPbUHmRB4VfXnAX5B1MJgVTfP92Herzp/OR1T3WbT4n4nhQJrhWIR2yeZ5XpyaTY5+80qZ4wTNuJnd5X9eP9wtcZJG59W6mOnZ7NnTBVWWqwJytDqzBW88SW6hjXUzsO30eNrfgcXw+ZzupJ8cqtPY/UfUx4b8ydOQTc8hTqEMGyZBBVGMw2w6GdhxhRDqGPqmGo8nXgfbgNUXf3SmuDlBBmXSMUKAi21qY22u0WL+tm46RO6/fMjoeX2HRG+Sug78t1J7CBTpXvIznWap95LlsN971u2wg4zFIELLWgjEjQPNg7Hsmk6xKbOObaP8mhvCBHXx3n83hhjxHQCu5y79xyc3NxkAyFVSenTSSYLiTu3IsJT7Sy1o0od8w/lM/JC5LHZR3aj26Rx0zodjxHgXeWtactVCKILkHojXbhMZg52FUdTRZYFa52qyPrPGcbDP0LdAB/FaWv7WNfaXI9NXr5dvPxEfkvSjmReYYHPUYfuXytVfm9OrWpjwIpgRUZjwHgqJcsO4/D5gLul/gxH+re0w8JqaYltsvjMT9pw5SnvqSed14dTWd71Kbb75Xy+ub3RvlI0RlBLHYwqG0sMigy9+wH4jUPqTg9qXu31MJOZ0TBZUfXlZjAHmDdec9afxKcFB6JU3/nn/ILyXuoZG0t6I3xXcwfYDKkOmK6d8fyx9ihchoofE/he0Yp4QmwacZDPuZX37NhyuefGv2WFRAOQvX9EsfDCAS8aAbxl82Sl8Ifosx1hbLyu6R8MY1Ra2hTdOSHXigZSIoAHwj6cDaZIB2icWi4zN72wCf8hXTUAYnTTinUro6MpGg4lzVuDHsgG8mgB508H7Un4At07/YFHWFuycmfMIeKkp7haJvQcxaIP1QZn+GKtRFsDWB3Y6vT0DsfuW4hK8GClD5qTxyuAh8oRHr77lN9XEsSHdRhU1cppgqic86nwOHdrfnBAR5tShrdTVADAEuymjAnld24OKhZnnEaGNzf9viXS9aD3aqFQEz9WoPv498UUeRPbuEg84a2mTHPfZtf2lEeTEYBzy3MlSSKQu1ZX9ePMWKi0d/NgjSFPLegLil9vHslwEFMS0EdEWaJyKkP6lauP8XUUnu3h8Zpb/67IYVrIaues5p1NoAWLLtdFOrNvCdX76gdbYDjvzAGW9opi7l+K2TvJP99H6XJ8pfJco9zkjH5n6bKUimIak36zxwAS0o8oLvx36mhhm66egC0RT25/tHKEXwHOJ/LlNN/JnJVUgGaToQu8XRpcQxlfePuhQPXJRgpJLOw124bijQqmxGeO7DEtiOgOazkDT8Xz2PkKFtNb+ofJAZ5IyMF4qZqiscHaa4TXTlrOARte120urtay3HqdhENv2aws9z0bN9EE4Fer+GVOLe4FJZJVTbsQ2TNE7LvSbabxZcKoX6mzuUDsEihPD1oU3vRKx1ojQ3q7wIsb5z3Jn0yJETLZ5wlCFIi8Q2vaiKPJUcVQ+M96AFz4Ws65CrO/eYoyf5xpZKyVVpSA21/TkRk94Zg3gBkSuH0hSn0KG2FcraFExKsAlFarxLKYc3FbW7PUSvrd3YZEZaLJc0CZm148LhjQUttZ560m5G15yIJ3QGKfE12GosMYwTDz7pw4DHhOW4WaOhhWzvA0Bv1RHBXm9Yuv4iNHOmPLaIj9yX4n6gqunPlinRgC+BVA8H9/aHzEiuO0a7mf9YYLF35F4LQrSsgvLflSPq0eY9SLEEUpmr1yu9OjubLyyz1q4+15155O7iWGvmsMImn+/RIH6k2ZQOOmxt0OJgK8Ba/vgcj1ehLbA+3yNYr14XzSSEXnONXOLQbLLIbE11eg05KhakRKjrNAeVQJedMSdvfK53+0QDG4T46t+gvHqVoAHjlgJnsKXVRbQWi9eAz7JlyZGI59VWiON0x9UIZy4xcc1Nuyb/boYY1hgZcIuP0gOXdJmaYDgghfc7DxSzO8OiQ/p5HrbSoDDOWe+yRHkA6mxu8Z4keQ1Z6LADbZPGzrwrU7XyaSe2XpEUVBz70aGv8M5M0rtMKtjWH/ggfKmvpIIVWmFaFnCUkbsaY8seFDXRHSmbltaGWTLQ9VocBwOIJNpU64JfddpjGXW1cwr+mwwQaC/ODtepzqO1TJlAde3nHUHaex7ivpwhB/ZRpKVPegna6a2UZaOEU7SVRdgNHISZV37V4Qfe4R/Lrh7J0okJsKW7bq2AA3onOo75xmOKdKePtIhasv1aVXajcosm0+zLWvfxkGzVcEPA6EBcC2/c/b1kMQhnOkyODRYnqhcBkzDGsN3MmU8rerbGczF2V6fHNQFYy+1hYi7p+3bQCisTVKoNx4cNiW6ugzCWYQYRZtQ0lMKgzqJ0N8F/g8fEnkjbqTDZKuFS61sauXuhBjFQYPC4FVkKvoUt0hS8MXdhmKdncMA65A5hJtF7IjDnQyAIRhX5szAb4Ce98KWgHGA/viccb+k1FvZRn51VFdZj/A0yXTDCfYjev748FMMT8zptLa/66aKVWMXFtk2B+3OM4xu7dY3KCF5ShWKAkdMdnFwhiSW/X8yHxh6jWN4pdoXV25QdrO+Bn/2dtkTEBlwEnuAGcLQFruO1ytGGms7ZgcGRpD833fwUveTksKIDbDd4vAJ4GJ6R1OuT/JiHLmiJ8AB6NXwpoXlb0rW+gHR48RATA5jBzezZ/DgD9rqfV1QAEZtiuUptbA1XJm0Noe/Mf++lHdjQqunYJTCX3eBAK912C08cIOQ7mJ8S3EdAux/cUOnosW+l+ojWRBHcCP2wVgcKc58h5Evd6z4bP0ArcFDmGX3kaUD4LnY+BGn4oqrpkpOMr5rS7d9WYTHUTvoNbRSjfq5uRNO9Uwa+LvSLyCvSdxGUR4I5flm1bTkAMINIkh84KG8qVIcl4zpAorCfn5eK0Ku08y4oH95b0jp7saBQ+oUw8QIdfXXEUgbGT8PLq+GsmMhFdQUyXapj+Wj5DKxZ3n5TE0yqza9REd0zxZ6mDtBraaE/DGjMlCM2n+IwWmeke4o+1hbYBwyfpVCKwHpwxJ4CMbZVSb1V4IjEwKVSp1XdA8F2NDSJ4P2eq2dCv8XFTXMwuiq+ntl+eLx7XSHo1TIG/t9SWMFOBILCXYQ/M7rccWiXuUADIg/RSndjimLcBtGq23UH2NiK4a3l0AX/vCN6Ua0BuXqrF97AOI6p9NQRvGmXIFaweWNKbXxE+HTobspMNSmuPhchLKtE3i+1ZqDwOqll7sPjOKfBoOaW8TIvWDOCwMGBg9qg95OJY9anHGGLKU8NI5j4CYRwlZPa4IRt7g4Dr8WYPrLJcDCZ09VX4ZJtMTUKnTXbjidiOc1pT6ls1hIyO0yC4/IqtRxJphs/5NQyBy+n99M5QZSwQ7FcMVZCkOI6dIiL6nsijwmilAFuxg9OKRAtZHMBnzBbTjfP4v6LTU3jvO+iAFP4q6DCeAQVK6VgAxtXXdJmqvSw+/W8NjTLpDz4Csu1LCrBUL5gfpvVQ2sWexY4I8YaOD1Z3R1Y97FHFPJ4JPoWjSZ3DmHXGM5Aup+KY9llqV1qYMEBqU/rxOlucvosWqCZ5gSP2WvbhMnwU17NfvNJs/HboFkhvHissS249331GhkvxX0ZuofYq14mNCqmUhG+Hru9uRuhRz8Tmmwkcb6Jj1xgF16WuYORIP07HqeiW8oyF4lGgLMCGQkKk39mfaywtrbRMlzTsCPfjsK1hvnBDYq33snEv6yHii/xxEGndFw4M8jKPyb641h7NosLllCKRZlnWHNkx/swO1se1y6CtS+B5yue1aJNEjUYNW5nMvsIqWZzVXyRky4TxZbwF6zlVDRJ6eeJFKpp8mnCUyTKJfXIyKJ/eSI7m8nuB2AaluCufBP0YJV/HIyd0PdqZ3PEwYJxirMAGKYTRS3DdIeTjtCBXNtLTVqTWCn0SQ92nojN1Wn79l5HW1QkXVkr89IwChN5iPsMIZx45CAZ1+CjXF5I34ax45qceiGv6wgwvNOKtP2RoYct38kIMhckmg1IWM6pp+z1y3x3hlUNzJ7G9fMqIY4mXdqd6x7yjeShyITlUM61VX6O7h2mScUFEbt1f0ORsWe+j0IsIHJ5Qf2cVV8ohA/jSVPVppbgsG+IAoSmp6Rk7dor6XpdFi6RTUHeQYon3QbC8iQuikR+HnGADYJNr0svm4guhmXQqyWXwPj2CvFhVIU8GI1CzC3zQw+jfpUjhtQBimO7yhVDV9hdFo2w1owVbtUjqssu8RIa4hIc/JpHy4czPOEyMIJCILvWBlMXIDwXYCOjUHh8x6to21EljYyRxfOuHKb1X5RIZsbFMo+qbuy1VoQQNLs5MgcHKb4aMCplztGIE0Ay4sufC58bcrsG0YRRVWfIcgkBdaf+lvTriUE6a/QF2xyzIT1fnstX0BN3gOur2MDyb2rCxNjk7uhpQXIKMwa4moX2O4qWUdd8LSi+ew8zJTdlzjpDILt9qqBoZguRYyF6Ck4EVlBQqAKbhx1uhBREBB0SI3HXbCe5Jt/WOtowDgkeoczobiLZRTY58NYYqjEnNayzukLm8lAjW7SKd7lBcXEIKgUCFoNleZ2qmNg3Cx2grZZvyKDYqxC5gOOFX8iYNGtE2fFZmlHqvaHHwCrhixLYFHyc723fRbBbFN3nybapP7+K6JwTpDxC4X41/1YE6DGslW8MRIEtmAJz7P6pcjl6BkyNZMwthMCbNV1aPijmHgTDdMrMfqLEq5mlTzuL95Sk3rkbULuCn66mw3iMM77Qrj+XOL9Q9mG18wg27nMLMdQYZUIbgOsf8x+FJ8c2k/ea1QVpwNVEcivz30MBb0n8NNn2mxE2mWMgizsJKoqv7+WW3vOjP8jjrR44ngxK//frQFD7Ag9jJSWjOvYeRElLWbDfpGUf4EaJjmV7eUJxHz6gIC2EaLIVDjH7owAbpbpqNSbs6ULL7rXRHJQxiCB/YllxIRxGiqxWod9A8aoMqpxXokhwIwUWJn/y2UWnyAv7d947cBFaF3tieMnqSqAwK9r8BDLnonFSX5wXmXo8LNN4dSXABHYEmxTxh57KHRpPv1KB888vIWzzfLpaj0RlPmXQ3fbWWhPSuNwFQZjhZ1aWeB9ag45WBfu+Rk/4TJs1N2rvuk2RpAlx7o7aRtp46MEB0bhmB4cyvJKuX0hmvlfoA8otT81l05HatOq3O54fXVZ/ywUKVSkLs5/s9UTES3vSrwN6ZXYZi1/e9mC9C0EQWsj79lcQjEaawVhxRi0B0ks3bdZR4nzXtPZlBKbVIEKG7kVigMJoOLzsOfWr1Gg7am2z+ivHmOJDXFoOufgw5aAJ+7hg9gSXly/okkgQidRZLC9XZwAS1e1EmRKRT3Go6HRNEpe6wf6aSIl/VcNh3FKYuavRz/s8juuXwNLTP0SyepYpkruXrbXw0+f4mFeh8JNskU2AuwYllCPvm8RPzZft/v6RfsN4oY41k3BxBdZuWj6elrh7O5bOEvamq7nzlRSDe2jl6Mj3vJLR9jdNivE6vboWPq0ccG4sM2FDa0XBujlWvT3cgHP1t5MtE4uyIettoHL5T1dxxjjtIKcde7PXoS4Jlg+Cqa/Y+kwDbpbQNSj5a0/9nVWVAVssqY4+9dkxFIA0zSlUWijUgRMo0kJt9CO+DBhk86u+1NsgXKx8Rb51ttlZYW4x7S1rIbo6+cmUqHwasKK19nOAmMWAwLUqrghg2Axw/9GsVO1Rdlu9obT6nfuJSo27ElTyaXMwMLskyrAeLPAibYqNOtT7iH+3xcEqAfDgH9sNEEZyfrNMx7Z3+6PNy8G4EssawX4PVOZkSZERglFDzIYmPnQrf3jEleuN6HTHlFQISwUpBwthayVAO1Z/2xT66zUttC5P67KQaMai9fBsAbPYmKrACM910zaWvt/i1vGBGMDlEtA8UtFsXzz783nStexesumhLuhMpHFFva785NYJYrNlrkPA53Cwo8kvdf4GeGVlLJTgPN3KyIZBWBWsPMZbuFbdgnfZzHC5SEu+PpmGvx6vzRQ/n6sG3ljyvuxST+V2do7jkX7RBV25jtgfNTqciJSUyYkO/Y6Qe9OVgsFxzXABSYm0cHUvruDW/t3adZVRivdsUwHirDWUuHcd4ZPNuvZVvJm/R8j26HthUweHJSxqEIiHvCO4qiTHA9XZXuw9+bC3iLY5H/nnpUth6U6h0itDT2vCNkNWpWvd3mn4pZ2OeRFzPB41a7mkfIdXabUCSRJkj2ygsTM/PjSVblvJlVG/a4/s/z6hYORe2lMMI9PjMiG7zzM4M08+TeuCaAmD7GyEpUSVB3z5KaE73auzFuumes+BUPViOVz+p7HrnwDG/3ySLmfmKcgLJi3MyYM6RO1xEF82EJW1e0YAPtKf2HllA6fVYtHR6f2HxbCFt5XSHkfWi5hPz2VaVc6NSWkObIGd4ekzRuADRzjDQFWm5YnIei5Pe4UU8SoVXpI+kJVJEUhlX3DDOn15VNi4C1Z9A1TxV1wKd62urW+fjgVUJZ8T9d/9EH03ajZcmFJIVaC6Wl4nU5Wj+zJDwmiOotvOd3lV63+Pg+JXSRvGh/KxSyFtlz0SWkFlNWTAMSI0e3CLC8nWOAIOKFKB7MwDV8ftwXAdqkRj787jRv7RCSMW0t/S/akH4Ur7XYmexSJ1CppbwnSACU9UMeqsM8+8x6jmL+gdo1hons9zldSYhZLKs42Is+pchFvw1zj0/0m7HnZefqRTUcdDZokzOrKiN+9LxT2kwolBdX1MhV0ArdwcwYZWya4rBUt/clZ4SE1OlvV6ggHUtrQ2NWwhXpJywvENnAwaN2pfCP5wso2QbNLYEWVXpwGFpyNPQJJ/yiHWmexghBadPNolkTT1upv/3zj1nZqdiGRhUD+/TH/a0dr0j/ojTZugIm+1ZcOZfMYTCo1cEdX26RTK8YuEaC+soqgb9u6FAHgxh7Scn+XgWuECtGhG3oH/qYMOqFiOnrfJfxM8S2GBFoOC/Na77m6j8jZAYPye+AxiAcSAtyrWVhi6CySu1XNvuqhFetWD8LA/FMJWiNgPFD5VoPmhvL5zDoanbWrkaX/gaWGuQsBMxj/pfSge6Nz9AGXEjRRHgsSvPq1cguElrNTQK5IqoEBDwVbUQnyfxx0MjJQifVgBfdaQMrokDTo0pcGJBV5RPdhowAuzoRJfGnfN+0AYJ23Uw4VhSKuFYyZgy5uwXBPiYDPk7A9mdkNLY+xN2L4Kbe+dm0V5w8xfmgC+lqpiefUlCL08CbVYySJBa0o8Rh82Vrg/cDmV2fLaoN4japKKIvCm1xw22zXL+tD1VEEgnKiiFrlUTOONkUAiIqbOIcfcPlmee6PNZ92ov4iDuuD02+prJWBqPJ4yFTiEThJoWtCVuce97CH4Qbz5qz3z9Y+nUhko6NXRf82RjwaYeztGGhjK/048WXfua9/0/Lq88vXxmgoq/Y1QYZ8oSL7V5K7CdXlNlvooQl1MPhNPPmKUhzH/J6mlWlg9xLfuIdlgjJDeapnrBf/x0bPmTzySpFEQmlQuuVaeuxMnMy3OgxA91VcElzIb5lwVwXSjuxGUMbm50QJZlCZ91boUWqiSYyZshyaahYbkDwW2f4qgAqp91licptVnq65r51ZK4i2rTQgH+2Id3LJn1rroAnowW1DQ1LS3kzrnuSie/OFF02euptPoiIQwy8i6Crg9ibqovUQp9hm28I+mYCFwMtACbWYDGNb6JOCEB8VJafXh65IYGp71cCsHpAJSysuQhmRPrzR6VA9/WacV7kTt1m211cBSwArJFUDjkOdkfhDBiMkTmxMofUv1WbzzwaeeUzxQBo5BJoEPD8iP9SucM0bEOPfvTswnw+UsB8o7c/NMk/BIS81yB1wq8+Qj+m0lhg/ATORT+HeWi5+Am4OJ2ypnGifYTBKZDS1nDrUC+qYlbVUZKKToUPzhZXvds+STf4vlroCtK3IyaUNUCxZ63qFAlsA43mSWGxv7wPV5HDFnxTyePnoAGNXm7lqDdSxtgtjpCF0qYCzHoJaa2GVn79f4zRZmj0VSg0kwmN6wH9TxILrjEcfvFIGVDUKLBw7ZodQL+U4yhvvdM4Rcv3ynJjuqRpxoxgGQXfHgDj0xYxHtjxKXWjlQ5dnm15y84m9Vl1asBHYXjHMyzZmmO136rcPRSdQMZ9krcG5SAm/Bnx0ZfiLGumEetMhIRDpqZTdtrXeI1/7jeZtgz3hi7VbjXga2EGkkakYmqTVy9Uh1r1WmBaodw38xpKNZOQwll/RqOMZkQBcvuGs6YDDthOZubWgaFnA4udO9JhUFCftAkPXGRHX0FNM8jOWHisJhHym8r1MBWnr3TGqYOG3W1A2YjwhO1J4u3+UPbPx1OBvhHrQg+0GE3MgZqzcjCc1iUrKe5tYwiD/lP6G0WC+IbMMd36knU7yQ1W0t1dbx9147fbOolmwFvuToX8Y5XaB3WDYdlM8lWLwXEeNOqlOgoBWTdSMRLUhwRntNPFdF3RXIZKGxmBSgRRxLlRMnlYDYowtUrDIAH+1fd1Kpcs17Zbry0vfdBOTrS/g1in816ZXuuDZC/7V4evH2BgXq42Q+q6RIUQKncFpA6H0YKKKYYva0pLrKRcLtHlKmJW5daQzsy7TD6FqEJOMK8kyPOL2B0RQOwyEnQJiBTMcEMFlRi/uJ2dmXF8nY+sf/3XuDAqFdOhzcZfFFTgOq3QVGsGxkUw8TZxUHVgXyS0zw9RuIeCcgsxl4jpmYFCqKx92kekGw2pF8/OSGIVn/WDsX1ChsjFR413y5aDJJH3DxEhINV2lgLwQ7oLuPs6nx/84paMXtJ8gaUXtf0rV2DxBZdgMRzOFuHR+3mRxR9YW04eVI4QX01tK7vrO1orxSBewBeaelbk+xMVUhhzbH8A4F+CzicV5JawEPWVCAUun64pDHfJ+RqhVk3pJgge/6mFGPXH1QvWCN6B/KlKARr/VJISc6fUGxysIVelVjiCV7DNDt9JjJWkcBmmdUWbiDmA1iXyg/FhrOlaK/2Snli5iMnClpZ5IrS7qGBEmSSIytOhov8oBHPtp2EIKWm0UKlnS5mcGUvrJYCa8nZURWV3BFhJ57Mu5dfQ1SAMK2+LyaOIlYcY0tYd9C4bXpmuShHiWOFOOhXQMQ4JuCjFJ4pPxGvpAjNarXu1pPzybEwXYy35YBGJ99qHy5LgH5AmM5iSAskdBBUZR/Y6drReamXfDEDWRCyBsZhiprlfS0gmpql+RGLzcnOYPgoUoi7QDArfPAOSbGWdwbgNnhr9pGCqFtGfHh86KcLRyy0/kxwrfwoEqgVYrB20FfslpfexQ32nhm0VNE/Wp0kXshuWp/myXF3J23Yj2VpWRFzgSbi930xQi2ksDb0HNF+FYzy4JYOEpzJQfHrNbiz4/WMp4pp1RGTzhjFzljdkMFCdhJHfIGU+PNaiBpi2LT/dMnG8GH/fZr/crAKJoe5QPCg0mPb2NHrmteLWYeDLuOGp70Dw7x/LdFYMKOEI6aHgpFXE52ZSWwFd3vTS3s0jVYvyPCrtntLTpDQh86tDbYqtRzaqyO7nQXp2grHfmYo+78spaA15ah5Ljbn7MPE4iyNFdFqWXtRYl83xq8HMbw2HbQWg/GR/AgQ6daTJMNubViYUsAAcIbh2kPAoaqGT7VvHklhsDNmwDsNTSb2Wnip5szyX37wszqdQGB2PMD7+emMgDmzvWOBPcTTfsG13H4u2MqbOFelAw4igFuSVOENioCmad5u/s7uCCNh+LHgV3YHcsCGb8QrokStthbPPEqGGONxLo0+ySVGG8B3XP9BX5JimPeMp9eYPX/naQcUKA/NtAFfkOWciJ7ioMC9/AsYyxSrYMaZZ45Dppl+LF7XjyEAhPt917O7Le8TydU+ZZloniT5dtCScOnmCfi8V0ubqhKklnj9kr5opAd+OPWlvi3yEQAelL8BqF5qf/+YT+rswjp/QZSoA7jr1tL/pgp+MpAgOr3TNtjIKmUU74CKu9+UjyphO1skxvBjMTDdPRcbX+QGIPeUKY7y6Frou70dqn3ssmp8bspTMfRp8k9vn4aiNWQtAOlXScjxon5VSphNLkqGXbIBbSdmnJyi0ED16YwDkIOT7cmqfp/zurN5eawM8eOoaxJkzg+gV1DFgDaqcB5i4ByroYKLsVSjHOYmGvoUyCtdn57UvY8htfezcUH56wFlVH73gdN48BbbZOpHeQxSBvJDVpUoSpvksOZ7raI9CnBcz1FSYqdoWdXx/jA3kbS4PRBMPk4jPWf0/lt6fOl2TSiZ8N9P3nM8KMqJuWWh2CVvBmWMZwn8onpo5l13W+GTUtVrr3f7Pm8YltN6lUQAMliTTwyqhyiqcGRBvEtdA7WtpJVphOayb4YTL0E3UBMKQqTFWOTOIn7p0VXzG47dd2fzmh1EPYvM5GBux9QpskhyWIHbdLL76iqop2G94uehfkuMLkEQVFgpD8MXx/DrXCzOw6ypgCOOtV6d6l/AP65xUgmuGJQEhRxrBONKly+yyluPqxYP5tdinfBzg9TlD27r5HnKy+NpAGnXgtK1bgZT+BgmrkXKFWRDMj3JyrC02VAhT6GpZauf5MjBXZm+UmGEAHZRZxxhiudSaS5pEmjphp4+J/9frrMQwk1inkwAseBJXLwM/uD3ScZ8B5VHvnHG/GFLCIyf7tQ9J7VVP5DxyGHH6GYt9nfxgPNcnyr/N8uf6Yh8/fh8kHTYvZlf18WHMcB2Jy7ovc1mFhimU2B8QHbFi7GDZBkNzvRASi3Hr3h3arI3O6zkxcli0WtLdpI03tFzShZ2DJlPbYk1NAtMA/Kv4YS0SJmfdoTbxT9NiCRcAXx1lYmPOf/1vrWe9D4Y0RKlptT1rziN+FuxRZTBi/SCaAEAbur+MmWk7UHAO/TJZRKz8Bes8FBCZCZjEOYfwZqskKngUM4DVOLwOkFiHHrbOFl6McNz2rSt/wGScg3551qLD830aBG7rMy6euVnfya/4rqH5/ND7ZG+5cv+U5ySUF00taITZWLfc+C29dzzyPfsaErcU8WiAlh8PoNgIRzAm00KDRi+2CqUMM/mwV1heR53Isow9NNEADAmavispuGC0Nqy1Y83bDQzGhEPp+6EXTKApgcZOhlzy4LWDZQfsrxMhV9JmRINEuMFrsaEt9RvDB7hNpAeR2UjKcnsYSt5NecSu8uAekoI317LiRVIVsNrIoMQrlOUZ9Sc9G+1b2V9qups23B1kE7sk6fqWmkxEr0Z5DgeBlBHZ3BhBwCOPSLFcKRTCOZVO+hQ3nM2FvjRrIqGx4Noz2plYc555Pi28ARc/3tHYZMK5xfR4SrUGjvq9RKpmSuKeFwD644elkicVllFuSXfgdlF74lkBi8TZDSSTeIcsWiN7LHC8idbB5nlT6hlFqHZeIAAKbG8p8/jiU3ZC79JbuKCmxS+dvyqMYqzMETy/7uermVbw+2GASenPnrHTk44pNTcaxU0PbtURUrKlY7p0rUj/wa2tGckP4pgMikwBE3OKgSrz2K8QgvNMqgJvvqe1AlIpMZHRqqJ5TYYBtwmEdLn2Obqxq7cdj4JddXNuKgSHP5Ewyl1iDvBENasGZzzUwzLlyCP4Htkz9DreNKq2f6PRKQoUGLmWG3/ilTzp7cqYOgf3Yt73Gjs8FuG+6UtwJUxjKXBeIssAcFp01SKanVMY/KBry1jJTCnj0i8eUv3xG+vMN7esK3wBUbyVl3m213+gurpGdDC7VrvtOFp8Q6zf6UtCzayTVuHAOkcD5NnOZAKZphGCr0Az7Cbw8EixWM2S+fprTGon9+6dbeBg0lenD24I5u3eoTxpHHMmFodOO76Jruz/xobAvEeim0MWVNqvtovCpD9qZ59ZM22E5KdRRXmozHCXZt+YS0i8bYeWu0+T/jjVcldnTBEPjko41lxisrOpBM+FlokLl4ajLZcMRa9oD8tyEibKbI89cJuV9GSiFontpYQjnZJOnK5L6wYa4Lj+MWOuPNj5O8T7yH7aInJoy8jdQmy2vaBObFaaUN+0hbFIpzS6qYpNikXsd0rxe9ktw8Z2UYny0jhnbaTQ3q7j0CXK+BTOBdvkXkFujCTnCO0ey58RQPUKqBK8OCDP+lPb+OqjfuRO6RGamXig7OWCsXFEBEJKSytAoWME/boBS01ayHIEvarAg2TvjskMtMgdNCUTgMVDPBzK3oX5X5sPWx26Y1kuIa52QGIVqf3ybX0CzwhiyfPx8kFOF6Mu90+j0fSneszkowDpAYGap9AFSy1BMl7GUXLb/DBk5LiQM9IPfSAiLjuE6qACqSfo5R+OP2nulBAz6eHE06uFUdfQH4/1o9VJSPx8Gj3pkrlnBFxTAhtofbMVdcA2G3gCL96k0MIMBsym0446wdXetdzdMup5g/9sl94aMZ6tDeCfy3Re/FX9cnEcC0AtOizm3K+rQfgA7WZOCZhuEYgZ+FmH54G6mdUpcUuVt2Uo+NgLHxGtn79cwoFb+wBrI0+X5JFuuExR1SeBIq/5EdmeJJQDC2zF/nwvSFx2Qv22zC88M8oSB6O/J0TkyXnk5HZOCE31bav5wcBISOgHWSxlLWCBH1461N/L3ZgNErnXeMJ1XW7UfjFrDmrC9iFpmU7Ajis9i4Zo/f8o82D/FjYbB97s+39VLLP3DcmI5rAY3/W+B9u3oWL/WAUrk7rq0/suC6In0kL7gsXcBkzdkU2v3RrCsAErTA/OXyq40duzEPjwY0nhISl4qJuBru3H3Q0J2wuwf3wCEGdPw7K7GJjs4MRsk4opEEy8Jji9wHkozClr6Z81VqgDtvZHKP8I1T7SaPB6bS8vj8dVkbnKqZy1l0Ke3jctjb99/SbXmNY7oXVINQsqBj3+scR7dCOAJTiYAPDl3XKf/SjlBdpXeVe1n5Z58TlSw8xjpW3uySgPTqFVvJr5U3G54gu6wTWDw3K82mKpZbccgDqXpxJDz0bRZfdBwiF4ceqP7uahNYk9MmfDR8SiHuh2bE4UGqruM7gQ+aCR9yJigUtS2lLXZRD8BCwrrGy/pMg53DUiJx08QRXysG61L7CCrKA7GQqq6O7r8DLSHuSD6RxbLzBo0GpnGWiJx4VUYAsemdyic+wHbGoc1pIAEuHYvWJRHH32/YLvmCgfLvZsBdn/aXzXPNCkGC79/628Ya0Uz7tx6uVWfswkZJHyworU1nkv4MrCQXmqwX4SLzHwhTG4TglqCR/j77pmfM8NflEyt1NuzpglrBnl4N9h/G7+KXRHdvhuH1aXq61HkzNnYnZVdHkrXf0VKLVikKYTSdlySwOFY6bVhJ/5jK1DnLrOx16Bh8aI1HG/UY09+Z7fc8b/V5c3XWFf9NCkpNZtTbNvhDJyOvIG1UzpUK4gQ6DqNmhu1v6aNK4BhpmL3iylEdGppwpqDR6S/SsMczH8pguGJE6GrkRw13T33/2ThYeeseRDv0Q3hta40+rXrm4KC9KWOXpo9wemJmasB1UrVN8F91qauYmFGVWceqzGauOWj6buQgEuyvn0N33ZkildItaAamFm+EBcdqfrh7NYgNgFa2MjPjW/X/7QmZZc98Erj1tUL8FoTotWRvFC2LWQAmAkqCWo45byvK8E/+o3h3CIi0r1Jc1WNJnkhrx9a7gheEtAjHpU60pHUMq7LdTn+BFIr1bLfU3jHiNUDHM6cPI9YS7tDysE11D5E+Es1MUojxHB3WahoOOUnLCIxitYrJQ6eLpkQYZ2pK4Z/f7BxVIzikynZ+xrIpoOXEfmMtUlt6ggVR4DVaZauapbxNVzhPdjqvp3/JUPVUXcQzYxh2b+X00v1RpReliMNf8wggBppLYjybKT12Hc++VCicQHJ3UsnkOnUu3abSPMxeT87c/u6Pei4mtCaxocxAnFbuf1ZVH8P7xvPYTeRBwx19rrGp4KRO1VyRDHx2YYTwpxI6Kc5+Z+S0N6gUBsHap35iXvs/tJKikJA7EBzXfgzjLQSe14s0L5w9dF2yqVyyUWfnVx3hz3p0J01kPXfRyy/V3inxzRhCUKJZAmDxIMI9S69Zh8FXDoVKwYYXqnpb9TzQSycMKgisuccovcAr6TKpMJNHxVIQc3PKQflqGodHxDXSu7frYnQIDHMe/C/e889o7NCKZF9voCVdLW/aGq4JCds7h/bKzRof6/na5yYtq9CIM6wYyeAxN0A9SopodRz51soEbdXz4nPAGnXMqx4jBi9Pu6BcbSdXyDmjwqMti1w+/GGOsv5kq48uDF1yE1pSjtdYfsNipdDyjJxUEfv9nJQXQilTTWvWiP9Af38Sqdm+CEJ/FikdWLDEfo6j6gfrZyX8FN/44ag7DDoCn80OTuHy9L3kuTBaYC09V6hnzqo5KNy2T6W37FKK5nijnl+Vfl/OnfCz74JWCE/i2c8B9LvXeLobB+gdqL55NlEfxGpbns/tXRB0/jo2F/LK4lEy6hZElT83n75Fb3BRBoBztpOxY5Xa9jxpYaD/CJut//iRNM3QqK1c7wKRJEs23vvEwj89K22xVfcqppe5N5he9gnSZOJCFGaVQC50hoRp5M1YilgQHGZdYc2KRFZsMVXVWtKDvDh/2bkhpLoQtU5KKnEO+Ibj7UszUgGuwUUSH1Drr8LhuP/FP0Vw33KvNAxWsrA99I58w6impsvm0B7MZFKz+g7NnF6PNhk0bUTMojkn33G7VEjJyP4d34mV0RWW69BTtkCJJkTJsYFzs+EMQYdF6ROVhq4VisojJFjvhHPTl+wP+v55QnADLUkh6H3faXhPqtGGzCvk1y+hFbkByFwYdXDGhalmTxAr2NbZRU0mYOSztX5aehAiaWZf2NlQFLjc3EIcig+dtV64tEFwX1Y+jYk0B7sutitMBU4ohzveIxQui+AdjfXIJtz199i3Iy02rw91o1qwGtV3k1sJI3JnUnG3Ep4YZ0a85AtuaQD2WD0LeQxtnmnk2/2zZUoIIn/xTNZVN4o02GAvtaH97y5+5O1bZNazdPmItFa1suYFSSxaZAfq/3+jw5azGonQIkRlyN+lt3Hjnx924Scav2NEZJwVVq/KvX3thyWWGalSODi4rmwJmwH2ttadkfiTR/8xGM+Pq/ygZGVaMa0Ht6FmBn1d87TCjhpZwuS19xSC13WnGA8O9Meo90+mLQ3xIOA7H/EosC1dFKMZvVLmlf2t/WunrTxbhZfdjsWmRAsCgSmZ+g6HmMKxfJI0V4+02ocdcI5PbziIHBQptXSL2LdmJrsKzUot1USQj6DVP1q//YAOZmY6meaoihTlc54Hc5r2IKbJWN0fmIgKn5COUl2RWdEEK+0tYD2COT2QNPbWnx88Vvlg+jbShJftFf7E/bSlA6dolKEoJIeGIDrs3gocbdnOL3SEgddJcwA7x2aeY3LWWNDEv0b8MLIRhu/CtrlGmx60h3+6N99NyCmIQXuXACuVLoR0LgGiUH7JLKYc4j+07KCeXrMyNw7NPBSqHs4yoGkGAkKxKDF//opJtQIN30F/WCiygymO7vvYbQ8GJLuRSl3IisUvzA1dX6r6WKUC97DNvVj0trE4P3NgUxSJ03/sXaWSWi8NtSkn7FHJgMm4HNniJFvDvZUwy/RRHtaKdB59hkA4T3Qjaj2aM6u2g0G29ajZ5/PGauE60Z4mNJK2I5bVZxGeJiiXEnmmMDiwzSxU+aBK3BTW9MrVXOI3wD3Rd1wBEdpuWS50VrxhzJsV8ILZPEH33Bh4oexw8ztuXMT8LZFjdlAUkS9zOIrmGrsNqA5eXIBYpcRnQAx6G8shmIask2lvWBCdxDpBCs9OblpwqADu8KLRR12kyoLxlaxlnHjYYIoI+Fehsh+d1X76LO/hu1eoQtdjKk53KzDguiFVt8p1QuzrkEFeXHC1yes2YlD35SwjIhIEKKGO0/zT9ien9tc5uqrR2iuYVqKBphae2MRqTckZSSyUPIT3AqD+a+FG7nW0rFg/2T2zWiWLX5ZALCLNIJpO3PyM9oOG+mayCsLFpb5zC52LMLYb5u/3nXlZSkLSHx0tvVpPY9F0XrqBKsFLhInIDkjc5BGF58TZcoLkkiNeCSDwxTs6QwzFbJpPMLQmQNe/rYxOyO9Yvae2wicsC82kApSJOoTxDUqUO7xQO8Bl8T6Yzp5cNyluzPIRGknG+nZoDr5psbSSWd67VZF4KOQ+7Z0k+tu8JfvsWQFup6wiQDkFULMjtO8uBjbBd3OOLeByNbv0IFq+QDKDifpkn6n6IS6iXTLjWJlJkLoAkF/L5B2se/Rgh6ZV8HTBhG+OQsmnq1RXsr/idFh4k1uZsIfdq+AeZMOEB+0C8CN/Belda8kjeigCBmk4vbgx5FPlNYKlBK7ehiceM+0llrj980eMXrrH/kXEJ/U6spwLaMRhX5DxMJNvF5HXH0EX+Q44+Su2WZM0ryMrztBxhNsFqbdc5Fpl+U0RGTWFMTdPl2tKWHMXRA4dnDsvLkGLBHOojje2yvKDEYi1dDJSgBMdcCB93e6rE/KzdH1k8eV8TwaLC3WzEUF8nE4dJ5S3p80Cnc+bGIdEVO5zZOfwoVt/hCrrn8IxKwh0/4eb77p2lRs1kdBsG0dfDQtgXAyXLb/IFyGZSs7rR2XkJhnUYoTa8D6X1jm1cPo35zeK5HO7AQfCN1A/cyIKTP0cHa0+zMVH+k327LsSJlwB9bgs6DVANBmgCYlAabBoA4d0KuUaUYygSDend+gpckI219iIs5O0c3UDIorHq7YybNZwaoMzOdG8CnjMFVjy57K+qu1fPGRvr5N9StTLVRHauoQjlQSUp6BOsDO8fyE+QUuX0k8e2sWL9Pwx3HrsPJr6ywiPIaHxxBxXfWcw4G4FhnOxVGlzlO5XmoBapwH7F98SR87ggOhLCSoGkDsk+mOWgMOMf2i0UacUt1YjA42z+8Fivz8ZcE+OJFCaV3D36NjwOn1uj8tUFA8r4+hCoEMmLsEwczwX9hv1/Ld6kXASKGtO0gTAfqy0raloHxNJFYifcXE+EhfP0qsLGoMoGIQcNOBug/WQNNcav5klv239oq60Yfi/WfXZQUj3h+oUAkdjCYAM7/L4rqBn5T0oh3bf0FgLQaRIsbEXRx2q5GtdwACY4gLOcmSuUb2bM0168TK2EN3bSAtBxioasHZnLHEQhYo9ZmYilam99c+UNP+ZFFjfXI23iyfBo+KZndj1su0v2UwwqJ1aDeQ4VDUXgRHZ22UGrrFdkJt0UaaBpSz3Gzgp95/D4r/aY71tA+1Gv4wt8B4dDQWpM8OBGo8Nb/Jap0vwXiTUFRwAdLIwW+cJBcjbYHAXkpgA8eghtYIz5UwVwb+jn/x+AlxczSZv5648TKGL1SMUZxMLzdDy9tmCpUZ+h+ChwFHUJO0ZtAeAXKl88S6NZXLLNkYMIN7v4QpDy0DqLZnPrZFFyCKbKThJn1k1dXENxWuaQ7hrV7gvctSRRFEYX5YxrRBkbFm4Fb+zFTBDmcWVscj1lRFlR7LWuzsGcXlzYL3i5lPv04cmw0LhgFtQhZwycQk3kKvyspvGuujNVOjZL+f/OaY4QVZzrTJT3X3FMcBvx5e25V2Pbz4HbEwpH2Hi+V4qQxCkp9LpmCzIJ9V3A9/AxhoX61cjvw0ypYq4AE7jGZxoQ1iM+HAf16biea2ibG3eg3/tLOLNAPI3DTRHVufVmFqRh235YALnVewOQ1Xw4uq5pUZJPxAFv24ziryYDkYVXLHp4GvJkvdVyBMdScyrgiyLC6HnXMqScYQM39vmL8xVy9dWpCvPAePx9ho3p2XJ7L+6zGEDwzj0nYhU8ZVTz4ZukK+b5Hk2jahbxuhNgi0NXNRuf6yFH1ukQX1AvLcAGxpATd+Mwyx9g49lU47HX+JCpVlqAAM9J8lroxJL4U5GXzf564BdDeMzwv+fpQu1XWNGisMTRGocBE2kqm1OcpvdMenb2bFCcDXMvIT3S+FAXT52p7cNg0KsqWO02nK6B8dy7N8WDZMMXokuQE0QtKYRirXIuhodClx/tkwwOfMcWkMSuZcfeH2S3sSdT5SzVE2dG2F2Po7l9f1hO7/wW75YtjVn/XngMihgWRc2uMumAp7H8yx4eb3rgsfX3yFdCxifQkQhS3ijp0gFm0VjMVLPterA4ix2bsZVjOlrqUOu6USbEDxGmBC4v3s9Ukd3FioEQrngfkrnWSDOj+tAQev4ZYWrJXiLZX3grVnfVQDilSM/6LduEXESsQdxf5atBL5L8nr67mbg7k2gRk5BTBWgnKPH8/y6HF9PcGwDEp4bWrPfcja54nbZ7VrL/XnIRDBng8XPN+HXDu8v6+TXTRK2JFIoiH2iiR9OUjPY+O4OTOonShMk5ksFInEiHs+Z5LbpcYhGMFi1mSaOfG23T/Oaa3IXy9ggILa1fCnTZSnfr+kbBoM8at3PequfB7FO6wcu/5Ug1r0M+m9PAzuRiVYMdCK+QmWgcLXgLdXD9+kcnCyJ5sG3z3k39yfBefTknSC2C/Zyel0HW1FBE/mU2erKsDqu63lq6hW6iy1SpSNH1e6lmWfbYp2idotgctywl1656qRfvt8KAeaadIs1pKZ7c1QbhnOGoHasW1v4k/KZAkCwpIrpWCqgviRsNBr+26fVjX05f91rc2UNyDEd3+s7hJXuvmGbi0PP4LJNQYzkQ0TxejeHWP3xU/e+fIdDWzvFbT1eh2R6G6bxogqn7eLjYStNhPrdkn075eK0d+5mFr8SwEkPcMXv8xUSqabaRgOjylFDt4b+zU+C+mLe9xawz0KzfGKSuglOqo80Bng6SM6CZRpzlt30tE9dLnKMLeMaGj6KYRKrg0L1RlKtHs+DzCHr1AEPL0IhffkSF9QHhmcmqZGkf4pt4jxoR9xElLEVe0ixWb3hRzUodvx0QQcDpxpjwJioLTZEbdKefI5u8V/NM3dB85dfTSJOyuu3hE3o3zuxVffSG8SSXgzM/TN9UMX5Vcu3fYK9kEE2fpPkjO3z1zxdbhplx0wyGckvvYGTooQgo0JtuSbXRsUsIte6nVy/64XpK4+aMZCUYLFvJslK9VzdM/1pHWNBsGYcbwUhWSPe/wlghKjIvB1hKSj+pSlAMBtAz5iNzmdpagvHKdPnzdRR2rVU3yORSUnKJogl9TX/nEsVOMn2ly+HuLPyKw9jNSC5kOd7lIfI4t229+E9OYRidASXRAPfnbxfR8/ei1JZduhIX50bsosKjQ38WF4XQzi2PnwWtBMx5GDcmKmm6CbI4xnTt8/7mPHnp4XsCi4uXBC3fA8Uz/Ac2zUTLFCuxRPcIn1WwaseLiHNjwgQDb8/XlcsQsAWi57hkxZb5RalCyQG/2wi1kt3nTLOn0QbzLUoG9g+IYdJCMn2ZPUL8VDFK9t52fOkHi2O+NJhHinFMpyalYrFQtluQGlanlQyZ2IOOdMlgfPAuX+8jqoTsqED8v5t9LARJS3WFeQRV0MwzxaPPKFG1tDn/02IIuSJ5WnSuugTW+MeLsQu8iBiwp/pGgaNeMR2IM3gU3vupWt+b7iHW3dRw43iHMQ3+/Uqu2eLS6XaVxQXm4kgaNB6xU3h0zvKUiJ2b70oYxhP2S0Tpt1tEq+Z7fAGod4tvPo15W7pCsnAYwuEek/06Gjsg1wW64fHSvITMqgSnDsgJeUFvMJ5hq8UkBymSbAqXdsa75o+j0R3b2w8NQriagQsX/s+WOKjVsi6KCYORPafcip7So8XSQNbLayj84+nIHDG+j4PTjU2hhfMV7QFd3QSmaGq51js9yyr8Kvhz6d5OocDySnmCplJ0cNdYkhkWR8KQ++Mi5HMto3LQFXnqF3BoRHvcXvI35KORCCHdKomSLgsQT/17vAFL/ctT0brdESnST2p1vlsupKh01bF0Kiz9YFV+61byg19DW5F2uRDb7528BRa4d1BfAY/7kARcU8UzaH6mfrHN8rTD0LFBnaiAtzRmpvMo6EeUT7sfcmf+Mjw0of5CqLnEh9W6D9hrwBz1YPuyhMUpSgsOCArlo7DiefS45QDJbD8bHvbA7ptx4Eb0O1XajjuBBsY07R5nWouPrJ1g8cI0tr4tv1ZnwQJffNIhGgypHrkbsFGqsa5gwSuiPQD4AR+Ur9z0xNyUQ0h2we9Q0j0auSUK5sXQadAc29IhmVofncjvr0QBwZDHsSGBZEJr+IKLKTSzvTP1voWQOlFwoMjGKmh5JkOjGCtdpupIE2EzkS191DJUcmO/MB59YkDZ5SPUZvJgOR1BPx2ufXq19XyfCRSJcIo09QEXYsvg2/n7bH43PD6FKMisZcPi6sulxe05lqFB/QCboCF25PRtWDilNS8iLnueTOR3ET+RHRuDWAZk0lgH21YRZKxW4pD8EwXPsBfPACIwlzUV+hH0CgdLCyg+uhhJBWJB/uvunIz0lv0nwi+Dv/xFSoHFhy3KAI3P0pocL7gmuzKGeWJbOI6wrSb7he1AlMFg43b79RoreWBjoFGoTjNray7OzAm3cB4cySUO1WrsqtAcH8Dk+jIViXQh5EjwqOphgK1IRtjBL5StvbIPF78IGNkIAjS1Yp50jlp3c8xmNOw4pwYODZ4M4N9nOw8J+k81ixJHRKItoRD3/PojyqdD/6PLy3H48cHwLe+mNqIb7cMOQh9HFTbweT/2d6OPEQyCIm2ttZR2LtSEymcoM4/fuulcOYLlLxfO4M0h/2BLmCh9mIaqScku2A/43axbgv8oFgPmuPOVXKkm2u57PtIm7qmPgm32jmLnx+NYiePBVAOYoe9FqDg4TeWZWpUg9YmbpCr3e1FfbR6PV2qfRsAwCtxkbT35B09oHY7bwPosdoFJ0y7idM4UAUIvvW3stbX3WSUoAsU4h/K1WDGqisawCXpebMdNBp/1NYvkJuO51Dgmv6tBw1AvnXVdrF1A011TWTlUB3SbdvzS4qZwx2TkUPuoluJssz+Z0U/qChhC6JvYPFJAsOe9eK9QLkacdL9tfCKB0OoGXe+bLBKUnKL5uTAjOM3Gh8JBzIrx3449ci/vCevwQaxU+k/mkz1OFrITJeyYaSrs/s9OK5SjUiKrkWMN7Qq+3WSXXYIYoTCKHbaqcI3L/l3xLCf4M3jkLvWcI1pEMOOZgVm0wluDSFsKRoNCFlm3bg89qua9azNbNmVrVPYnX163RcWhJXccfxacgabilkrtLjPSbInIQcjwGQQKq9hLzu+SGyn2knK3G5uxbvCKOP77ZWDTIIppq+2QzAM+GE1ekN9ArF0cDwjLW/wiIrdZId9FybPyMnIwC8KpWP0+SDattxKvAUvZ2reenCBKzrC/JLQ/lLDwjdsElk8jQGpLPT3YXlp3sZMbpunnscLntFyj8rLWjDTRAasfdRyvjo3TdyN8fyoKBcBJ+NpkYoC3YmDh/VBe8GopdkZc7X/iHkHOeOsWIRmLRHW1aC6sobOT/rw8HzcI8gxva/21vmCUW+d+VyWzkyisuKhYqckM3nz2A/ui23HXfxHJOge7q92snyRNYdkKp8MfFQ/6vYx33owXyuot6rkP7TglI522XEi6FWppUdBn2uo3KpcAnHqNvq+Yvox/DuqPafEQOgAqIItNqvoMhtK7uCbP9mOAkGGtjG35GHXgEN3s7T43knNVnLvkBlSLHQFJ1pGDNO/3D3AfrlgdewP1FVwDfBjy5V/rpBnStdsxjWjn5SoCsHoZYKY0RpmzVe7PpBXv87lQSS+nBvnx5JFfgM0fjKYzNhDXcCAym5hOYSi1dZtCqkL/BmhOvue+4uLLH7/z+KaODoiqfiSaKLFacNNgbP04LysKLnvFvSa4npunKgQdQZElroUg0PeXrcfWBgBX90YGOxV50tbLygMjXdadhPydZEOuB4kYbMHHQqq2HjWqEPuGSMCazvPAKucQVzlN2q1L408Sb0eugp00SBMt9r3m/KSdoVnSeq7uXxYXESesTz0aqkX76H8yXEEDhvma0SF9AlrRRYA8mncooJAHc6CSDLToUtsAD7qiLwD9c9g2PRjgIXr2twhhhliXEgb2c1V8r2Pp0YFSvPFN3ODcls2qfwxrOx4K8exEXJ2XDBMpgjIbxQzeYqnqRLqeRpPzWSfZg/97OEsmQFfehDcwaOKOkCWqZSynNpD93wOJF0kSMsxfuAsLXIwdy/m0BN0jN5M6rkyoa1MQc8UT2Wcjr7jeoY4rXSFcpzeEnUeDRxwmj2dYdhp3Ox+smOCBAfqFe2Jf5iAeHR2/h7fwW6MY7LHC+DJkdCRHV1PZlCCiDsf0/YUJNlpGFfxlL3qAVj0C8pM22x/5RlEZjnOgkUXllksL1tb553C2Biy2fZPb7Reu0PHgY0JhUVPYfQB+BIQyAzBddsdY8XVQqI0X9wYB3bD4SKWHDbdth4JJox+gFWznQimA+sUOt8kpf0XQsegux2hyV1/oMjXXMeBWyEk4RWNa1rWlFbJvQ874ubpCk2FtAF1WZvXIeKZWc96oljVZuoD01Wd2rUZtQsrPW6F4YQALsloX2SLH9vnmeQFwhWRK59niMRtAhRn0xKvG7ZVA/Fm/mXB9Hd7BMQueafxJ+2OvouUFdwnKbB63HKa03aVLJaTywbqDg7DdOmn0xGit6sHTkA4cWaZavuQcioePF/+KbQqwqjMkDG/hh2jpuOvOPCa/SH4Qy2PVwG2RbYI8wy4KnITI+N+/3Dsgrdadf3fCEoOaFxNNv4/on9PdD0ojH4k4C/KTmLD8wi4ZbnwzGobvJ4c+RIiOr+lmPN2g6B+KTNW5gggX8cNV3qXmCDbCa9xUSOUDKxMjPWCoW4YxCttNy5lkeuw5xoXyjfINNdGostWIKuasnsWAZK7L8Rs8pwrL71xbnHEiQP+Ja9t8qdHsru3eepzlt5edHrmCijArUfl+wzUeUOqDod7u7h2lvv8nEiZWTi2yllekbqSGZR64l4NGDUHR82JgDSkKDj/G9z7IYvlFCcbHTrFuDuUTTxVGwjMqLdxZnXxddyLFBqJoxC4l3gomypr5J42I/+sdE7/rUdSWMnERT0E0cZ/KAg4SUg9NBKf1yX429VemOhmbjLhPURsurVYN/UmDofsGTAIz477lIEsG+Hf7YEY7VUMUve0A+J9ID9ocia+xsBqExmmZQnBLmPpx0h6OuLj8pm0xpdLG1sWzJsbsfimEZWNkkhm7MtUgP2q7zHh+9wFISsUyIldD3sBhjwAmIgIiiRJaR6nsVgAINMH60jqN8y0qmRmt3PMsM31OLk2Xw1vWpeEMazd+Z3PRkFdzxJiEJyPzLfq1vVEfV+1OL0ngsmPq4TeDDHAO1OAHU6UKB6ruyekDFiUtZinlzi+/qUEMpE9U5qA1c5eTmoQAmh0AlozRu/94O1qDStR99Dj0kkI9lZbpgOIoHDPcLcjYMOmM6mNzZPse9RTQIDAv1kX3UJOrcuvMuna5+/hO0DF1FBW/TRgtj3im0e/7pPxHMoUD07cr4pcOgFR5KLAfSrvHTEMS7PqqwWwF4iaZO/Y1RBygRhTVAbUsxjdIJ1AToBsj5feb+YY21pFhqj6eWrX+Gz5ZQBX8GaeC/m2Is0XLMHM9tznouJiGXgNd3gfTdrXKwa40KNTUnrJ/ATcS7P4ot/lDmKZQt1KkuFyjwmEE9F+b2W7zIozfQyDm6nGr6nRSnUvopDI/4B64w3M2YeyswzaNVyvMl459lcs7y3s0FV1v2mGHWjDB3gdd1XWK1Iz9Sh6YgzhC4tMIPnlmqQKTZoOvD2jLnaxmvwOZs6SfLdMVpyCAwY2p3Sx+s7slcVqNUF5TaRy/EvEnMBJI14Sh89T6rNr5qeZgeXXunH3dFGOeIoe3IOHdsJ+9e2V0ebBK24nO/hcGbRl6arQWxgMByujoXJHQjlA+qndz4dmzdYfcB/w2csItSuA2TL1Xy/0FnjYxzhAn6WhPIJPvz5XlgjNhiYjbncB/tAO0S1Z+EqtanPW+qspqc0SdViBbtGrMJyKAXdQT9PtkxxK7y7SpU9PWzKO3KSdjNx6u7fphgHZ+jiQZUBuwuZW76HG2OSwFo9Kc3k1s2JWhzA4PGVYbR3TiE03BEugBA7PEtNTgqW5OJz7T7ID+rLfxQGAA1QDQcPaZB4eyHUTP8TP2XyMRAQRSoud5mHhomMwbEIqDGJGVh32MOm9u6hUHpavLLMHRZm4iTA+9LMd29j4Urn6N5Dp9imoblhRp9q6Mhql47MMJy1tgW/fmV81tYVwbY2XlUKh7rrU8T5wEZSCcWtCsCmWQFEuojb4auMv6JjuDHL3n5xfevKS1ijCaM8Wq68xyFkcDaSnCxKDe/m1eUpHz3hCwg0JkRhSeRGnVdJHLjVhm8G0vgDTdIC7NQJaRCf+IPeX/Jp9LvI9LRzTiypLpKB6TTlINSb+bNACalwPdUMJQuEDSkw9wabZa734s3TSP+SUG7r391pxQ1BisDvHv8MdaPfGBPS3RUKYv1tHJuoKl9vF2eTP/FXGT4dPA7hTxkmnkmgTCvi8bjlXoSwAv8PwdNi9B6egtGFA+aEQkS6LYoxRHPBuqBtfHB+7NrowSIs1Xm43hAYntE+2WhyX4Uis6yHh20S65HeCpJzsWYVZ6j/4va71t086kxhWp4ECkRbrOC0nOOGqhWWNuxX3nNMp4HNkczatWfQdsK4I6KWlKa2/agNU4dORh6E3hef74wJkR8iJgxMY4bSR6ujvi56ribKxFsEt1XK6+yrgXoBN2hL6k002SgX+WLUcNfBqg2Ws/w3+3gTFJZx9XB0GHIDMne0GwO6F28Q5JsMVeEKx3jrqt6wdx+6n3n842/lxjCW10oDUkGWR7z9tQXyjBL9nExKWw1HvpraO0DkDGg0oQh1G26r6eTuvWIScR5D9uUccmuOpO6gGO6xLlOqhfdopnpVfzE7s75dRAQ6mvN7pG3DQyd2zCEC7/z2yDytHjWObfkkWzQR5/smxr1Acmj0FCRK0VaVBVYe1HTnaMIiNtO0VRU4GJHuVjSngC+0r6UQT1yyFEV2p8JxCWtoVOSz8IM5EkNFzKNNt7iNKupo1+a9EGsczbn59h4qwvz2El8FImwNNMrVWcSLXnZR46WpyD6lYFn005zrsJ0FbxeaAkvDE67wkm6/zg3mLeE56ZRiuxbS6aCLv3YmAAWHSMaEUCchTnu7mimd+eWs0TpHa4PzS5CzaJnsBsX+dPjJyS+Is0f0y2Ip7lLASOmH2SyvBIaB685F41FGNd+2+Zu1xJUKspAYTovwVmH3VpcSpSOz6RPxMAi4ZoLmktEWltuhkb7h4Eyvs0ngLfQZdEyJ7S5SN0rPzcCb/lQlybhojtn2BfHFRdvPcA6XgmsQUHbmSJgIx2yZjNGuC4qxlm22wlDczpD1bi5HURsqcUKlzKxylpFjLjTubJ2ZkDtI0ZYgX6RAjB2pdmo3Gmtk419jeNmc/KjILfOu5Tw2i9/hva/w5tavfLj9jJrY7Da8t5f4w9NDMPPI+jFcxljWg9G+8G6to0q/egvEuT5zmelER+ngRGzBL6IS1SzzhJnEMs5Hlkobi24nEJFROZfpcG5vbpFYuznZioD9Fv0wFAQmrWrUFqCKkmo6JIcY/3GtaxUVHgJEpQ3PF0qtHU9BcMnLNvhUpIrXutff4YcuAAhFMzXsMjngI4vD+m3y+NK43vVX0+Z3aaHU+hOtObWx6bVIzUVA32WgT/UDDJdVghhh717KjsuAUdOZO7c3HySJJk9ZdkzElGOswYFFnn2mMOSpjztJ3X1TIqqP1aArS/+2bZmDrXFgfdQ9ZsZ8bzJtCFVy5ybxe04PE2icK7hMI2s+sFjM+B254PE6AAgu4ou22jOXIYMaYAhmOuajbUtzsGS1G+TFg3PaL1JXI+BzKfC+GmhxbRIHR3afa/YYcCV+fYzlUV1VemPWzbe3GqgC20JIVFV26qW0YxsCzsYcyeFY0VQpf+NYyN3LL0PnESzvxlltlGViqqm/SmXPMmBY2N8HEPooEb6FkFShRVYkJY0Wq1H4gO3vvgUQzQvqyCSvfvdD6jv9I0HBJ8nzWJ9DabRbUx0f2ybVP6OJdpRECrNtNWVyrdr2fISz4T9TO0lDvPbsoDAmVMBqAc8l13AuA2XqB+oZ2ahoPSS1ZJffe6EaQwV0TObqfni0yaEnOHxxRJTX3ePgHM4/aMb086PRyJThpysLuETX96h3Pl3vUSs2itXUG0cugN1s/lRprn5OQ+HAxArx7SZq/ZsJv6vba8pvU0FbfVMfXGmdB5Kq/Q96g92V2ZiFlbYg3vXSax2vw2YNAUv4NllVNtCJEA+ChSAMX08DkoXHD50dXQ2AWLXb62Hfd6AcjJ60IeXz6QzK5nPYfPJuBUxMVE023jZEQJVtYsaEwhNkJ0NnYThLR1e3mk+LRHx/ZQESMP4gUa6GqHhRSMVXscHxHZGy69T4XB111w+1nuv1gF7qw10uMdRrl0q4ablJNtzxyxk45ZsOH7FOgxLdpoyfY1zH2FJulERe7Y1bmZ5dyxwrQhZKQySBQ79XvhpXkN49cjxCueZfvtA6efIONKjt8XcJidE6Lx0s9f8ErLOYjGSQzG2vOhO53UhxdggKXpdPvG2I2jK9csIGvOO7S/jX8P1Hwb/pCydE6xF+m9nrRr/Lvf9Lf9cETTyhlItjV/4GmWzs5IakqwLyoP2ISqOX9sGDy1n9JmQbd873YgYRT92sr3EDgn/3YgLXwvhg/kB4R6+UDMTTjS6WxDpzH7KDyVYBto+daJ9VHRgq5YY7XJQgwAyA6dIn0JF82EpSjO9L9s4GQ2OZ8cuGcXi/S4bzIsQf8LJFMRARpIStifRrBTnAheQeq07NpM1jdr4RAeAeWyR3rzPSUwGaaSBNCdX8fmjSDYDIatt6LZ4Ke37Iq1eJLch9/zTYleD3/h7bBivXHXeOViHK1xEedzr+oxbIlrhFBQGpS3FeC/1o6ySzDUzxVNbiMapmnenJCCZtmN2iLuw3cd8zfizHKQNyZ747r/VdCg2TC1OBgzelaIvsTykUZB1qJJ4yhTP/NKHbFbaelWfxiEOnneMoHvMuoLb0dYhMYwxSX5K5xcH1+W8lESjYfOMIoAq3pyshfO+4hjC2y5LqPHpVlMQ8wc8d2/AIFuJJdstBQ9OtenF4WWyQjIn4iHB8goguprq2psYruE5ERydvTBMz8IcRwIc9I2zD/yVKaGwg2/tp3A5HwhXuBfsx7JTl7NFFcXQ39NQuiWYm7f+JpbLwVT2eZid7P3Sy6wAPbTFaFC/s2DVKSYR0c/RrN+duJXK2Gz4nP6a8oPG+8gs6sxmxjq2rBQtEtlewb98rDawq8gp1wFf89CGHxkUlszsw4WeTETv4juk8gS31x2TWFJ36VH+eh2Aj5HaidbS8QpLkjoz5nuV2yma3wRvPv7fnIQEaUgooQnyzLCWQOipKtjVv8zKXfcXPoqp+Ci75HwIBeMT16yN231nFmu0h2RvbcXEz92h8KUbVWhJOXmmpYX0uRlPbx4ObX7fYrH3KNIdXs0H94O0R5CounmSgWnkRKgNi0dIg3GeBY5Az4VYBzwCGSOY8gg/korr4tsJ0Apu/0yKKGXLZiUflAT8tBWXbqxijbZ/qrOqpwwlgQFX1Nuz6tuFuKteLJUhkG8SKKnCbCcY3QpZNXprkT/uttl4OKku4qQCYqMu1TtDZmHOJtpbs8RrONfh4zumz19GG6gjwf6Qfdnf9bRk/wi5IVXYhHHYvZz39jUpAuwXkxi1ern7wWTQCLcSkpoSMvLIEJUT0uYk0zv5RfJRybKZPGoAPl8hdHC9IuZ56sCh7Lhd4CeVe6ipn8NwNM9KHvqptAwc+AdUy2ikLdb3BEped0i60kIbJTlligx0qnPMpGu6na5f6AAoQMNO2CooxCnlgw67v3f00K+TXbV4KpWROLg9yRiZPfRB67DrBiG4MR50lNFLUhupivxrT6SeGd4uwS8qM5jc2v7NI/wMN0bn1WRDxRdGIWDyrzuxugDXF47mns0FLf5k7khT0TsRVkh4YLRqdW66PQQTTF6Q+HnwmDEcUsHKJaACFR6Tij54g0ZLGIwHLrLwWRz30PhPCehOLwPFJe55RsOmbX2HrjU8ty+nnk8pA6vs6Ot7GJvF8BeTROutpNBD1qb3xBHD5ECZWXD9P5urBSsIs44hskWIrxSBM5Wq6YK2yhehq8rRkELskoj8qDicHucq1H6lQI/0kOFXK9tmoW+2/okP8e7X8q6j9IM8Sy9GWIGkRPHJxxoV6RM7o53CR/HKbAUWwGFHGaY/oPCbjLKv7gXW+nTi0aA7TAUXLonzMdPq3mNVK88oubE33GjIDLkW0U3k/WQtlxehqbJ9bJ2GJjliK/bHAUameZmuDNUbktmTCH4hlS9fRkNSQiSh92Z19YI+rqThY6YllIFc2mwqn8rs+PVY3LJtH7o8i3HN+UBumLWiL+NCcCABseNyzC08AhBdO68fFYGsjA5oyKXrFQZQsyRjJEZ46HB/b1F0+RryC9VgODvlA8y/oLGq3PlBjaBKoT7YoytCJDKXDNKh3Gm4VX9FRtUuuFUnd2iZvuqIYpCu6JoxfUP5HI+o4puYAar08u9U82NkUBWJBy8/hazxlYS1WK2mbqhaH42vADGAYQA1zcJzoztP9Rs6QbwWjajsfg5OgrY8Az/QJujDME3vQxx/sIrGAYfIIDateB8Re+jOdUspiAe6Et1S97bJ77/A/9ct2FOfe4ab2nrkNr8qLglMqz81FBe0KXxOtNniBPebzT5w5jgEAxG9uekA6XWJqqTElxa+zI4PA732SoYSWuvTuU+RTpQS5IAh9wwe2e5AHpFHYkj7K6XsEcL0h3m/RNlPFnZWeTALhlRgUOlTs1TcodV07jOrulhHADSWNfsmDv9trNTueRHUOLosfZTn/zMXFCzjKQVUnss8VoOkNHmaFM3Mqra/lBDVG+f/5+WcuuDJKUfVJRv0hioZ43BpKyptGpdpZrat+kew3JevqlDiMjANYtBcJwnaEXEcVdl/uD/nJzKgqurPpaA6ou5ZEX6ixAuzO5ZLFtjGJL98qzR9UCBf2B7S+22RVXtmnPwv9ZAwIYanFTSZBf3ISBErGyE6nLpchR/MG91HZ5eFiq7sGl5Gg/MoozbR0gb6OdaU4HM3CzvtRoekBSxstqCEBY4NT7YzcKtpTxKaDzfpQdtu6VKu7WItsqpVCZMse00C8VgEF7nuLDnfXAl0kTG/JC8CsY7cInOgTTCnMnYqsVk90YmBDv5kuvlCLRYE6ngFvshTFTSmgfsD7cNlZIIiZztJubz1pJicYdz8b/TbyMLpOb0eKo5A8htDRvJdo+wmIGCDHUel+tr7RBNB9rsZBJORN1BI49DlDLFQmIK6WOWyrbjve9NNgf9/zEl+NMZbqd7YNTPjQuDxP6HflErHGIUjIByExcEt/X0PhMXMhlJR/5A38J8aUidQq7SL1dVfFG7YZYTYW0vsWHAydjPXmL45VtpOF+aLHsw8oi83O5I9eeuIqdlKel6LyzurEazu+QH1rnBHJ4UTJNo0i3wMs0QR56ehxX9S3FOwFb1St8BNUcnMyuT6w6wriCNGLPNNnImI69zfd2iRJiNtEaRUlWTfteV+R+7Xj5xsvymZ44xVgXpNTA18do9yRHNc1wXEmiY4nzhrnayg+KgEn0t1rDJ49I2B9p7rjJKgJxvYFdHacuz/SDHPlfScjzpBnRL8XlPE2DH6qu/jiFpRQ11hjJoia30ib+z2XqsS/0rfBp20LrzxfPQCaCV95AdLFqYgKNKL4g1z0fK5Drv3LCDh6hVQkeks7dsuZx/z0M6+J45b33S4PO5ZevcQ+UAEt+Gc6ApWKYzj1wi+qicSYeWfocsL3y4mOR31vr+15m8uReC9KPOaFcVQemaHhwFRiDmEx6SZ0+ceUoaK69m+/HVQ8Y9FtfOmPwfboH2SwqqmVo1CT1sTeHpK+aUCXOYKn7IJkZG6uvUCvB3nJrdU84r24792XzjxGl65fkfrkGxoKX5aDrNLzOLdFwz1NEUn/m2PUQYiiNZ98sax0YhkRY8x34w0VhQgq2nBVyi25bTxNwgNpu3vDBj25Slsl9DDJFH2i3WPFBV19XjvWc1U1JsxhLdB5pN0mpD69QyEQwpUBPmIflTy/GkEkS8EIQM5tdsQ1GcEJ0Jv7HAgQagBNyK8XamhhbHxY3OiTa/XHHk4wLe6ObKJQB+zD1rjzaveCDow8fYtconY71T1+A/mdjKQR0isNLIFGmyUQIVzoovAOfN8iI9GHGMxjNqXWpdAjFAtrnwQP6uELHUbsjcqzupXUOhL/6gZIqmmk0a6NGriqxr40OXPsDO7yc/uEkF30wAsxChen75CWv1SeYRLBACYzdqTqdhvRF2PM3kTkfJx5r5cPtKKxg7WVQyhshAsM5N2vwiKqgMjokjMEv0Yb/HXHOZyt5aoLJcT+9PtIjrDizUlQHvY/i6JqxSe1mqtg8Gx0OizCMLJsdl2tBA4c0et5kqCBvH8enb2D/EX44D7a+Ze6rfhDS98e3kvWI22ZV8gDqiyjeFg96cLfxv2l4WfkXmwzm9ujlHhG7GnEQ6fPxdtMb7VeowcopkvfWHCJc7pV0zcqBkGr9ctFPtjp3KX/oYX462ngT9ezVx6VlYEToOjYf8tmnd0B8RIxe4Semx7bf7gFzy2GcBvKfdEk3NStA4u8ACPfpH2Qxh7HxpiIGeSdCrJB2ZuxThyIjXIRX03teXN0leFtERcetA3bllZyVjDgJ37fzg46sJ687PZxbyXoHgCbdbmNGJiljZkuJKd4Cg9Im/qDQNXILXRbQL0P6eDwsacJ7++GZu63XSdpNtG8/54wHNNc31KOa4PubXbIp8Yg7qaW3Rk3jIIsheykwMGW/ufQ7Pj8k3m0lqbnK2Ek5xPZqhy0xd1O2vqnASTjg8myYm8fifIt+YErA8PN6auCRXS7+rq9+cYHm7NI0HjN9qFzKn2/QPTKuGfBVYIt0ygLeF+Fl40KO8Awcc89oU3azhoATAO+fYxGZHG8Nr/ObvByricM9IHo9cAO4ASxg6jyUU5tBVGzfv5VUvKndIyHB4AEV95dxe2FE8meytcOxO8JqbvfPtRnGHqcEqPkiXqiY/fOedKIyrSgnsz5W4PVFaEF2Y2A6B+M8MeEbli5HYl7cQnSvhjDtd/YicrKvkxx3QbdLkephiaM+i21loFPzZp8G+HbY6XIHJ+cJVLvsEQLf5hZU/m6zbtVWqH1fQ/EWWXsoUbeQ4Uker8BoKkzRgFVGHSwezngafIry2QaSgEdbttOgYBHXWzdIkEPyp7gRqc7hxHAyDFprIouu12R/hYftltfKO/Glo2K1UacVQMy0I5HarSdkVnLuBbucgBBPNxgQ4us+iwRUv9+0CxxOXLZgpc5tZUXBQOooLxTXs8sIjM8BILUVRVB/dNaLLkCF/B8vl5+zLZh4yhdqU91aKYexRhGUi4lCbFr4ywSZEMLMlfpCSL89uQllYTSijFEX6YafZtop80ZcMATJRKXzEfZZJCrfSWv0PusxB/MSJCTpq37MWeffrhd+7YcBFxrQwlQJjQBBjpdPwjv9bT5RdSZsr0u/EevOOMiD7/qgr7sv9CQGnteOBkq/1TYYx720fFedgfoXTYCXmGMi4BcoiGLS/lndwKg3r/SqE+yZOHDuwRFsPPqZO+/6cjBh7kODsUfwcAc8FGn494ctH75qOCHP1N4G04iNlcNx5eZWcvq+2mCUJJnmsOfi4rKfvygF9k5CsO5+HS8YgqyrhBiLDg3fJmscb9+t7g4+1kTBNY4ll497b+sGlwHwczLImJa1C8gRsR9+Wp2V+p00kMs04owo8GOmzVZMR8/9nHhcOuEcs2h1SlZ7VJ0WIkBn3DrZbbjPL+BFCGj5ZNqe6DV+5RUJ5wUfzVJJYz1qnYFhlNQ5+8JBFxbLA1g6QnkqJDwc5Er103ShCgyOOsYyQW0ZUVmL1tbfa8l8qwyhpUuCf9V9T/5w6o3etVBDMPA/P+QhxmhXW6P/TPCLa8vm9kY0RbGDObJGHJYnutLsA/45ZWVi+D01VrDYVm6Cd+UsZp1vyvCX8ZDq9q0sNMjZbk2l39LE759uzu3qRuN+9E/sUCcH/7iY71k71uwDA2e2QNrdErQuLUKlDJnQ63hi3pUc0VTEemYqstCPtKuQR6GdFR/SocrrDGR2I/6yP5qIYEtmP3ZOX4rPsuVtFD9Pz0kulPwx0luSbPn6vZ08SGPmJ97QQUJvFcPf+MzH1ppCEihfGjsu2hCvyyvan2pjtSV/i4irF0h1hyXnbUKSyMLh64WATH/20MLyfByjB6DiJurimkTPEkljaDOyDf/YB+MzwIowhrLwDf2PCWO5pcgGzE/5Li4Iknm/L1EvjPY6khZzjhHRrGSpwl+YIYO9F15TzxV/Rd/vULtGAX+MvEwrmXR6v6gmHUhsunzSbL+y4HEUZ0p66ep4xxemIHZAg4yAsxaAK2DD78taLFX3PdRncMTY37X8XENQ9Q+PNsTuyXK1dtj4/cbPATyUAV5nDDkQmkl5qCI+XgfNYXD2bsf9zaCw/CPB99mPxdesSOlKLGeHyTlnmPEo8r0gWCAoR7f5pWp9/VoXDE3y00RDZ0TpyS7fiS1hkIruqW4CKj7SPPWH6kequAs9LLQOBtnwp9dbxqAd/i+91lW05lQ5xEvwbJhhX2u8OgRIHBLLDYlRM5qCPOlCAD6I54FdO2iEEcSOIu80K8OrKO/wNUE3w8IEIaAfnWSEbftTag3RsYrtskEqvC7M5DT+gsTEZAWi46EJNxKO+kjKLmMRMBmKuCSJ/K9w2xSDDTgfCZcYozYzZlXtzFva19TPLgrR771J73UNwMIrNlLA0BDBhWVZoNv/RVJCIdMnpBsj8qBmiFTOBC1zehQ3LRlq/d/h0CSvktWqVmkEWXAhyFL3M9EPbiSjBN2aaH7kRkkDRRt7mbrFBjJ8SiAH+Z/mTL6b4tmD00SwIZthooR1duZV3ZB322G79V1RBocFxHVo9BDANjdnGQmtWrbJvwH/B/D59TBmVUpROoBlvSHCUO3OWvg31vzt4qxKFNjduCUG6kUx4UKKtdhQxedscxrMikoT9bj46kaLIZqZg+t5BInGxpk8GzHf4tGTzgZOFjCB8gV9FJiT0DG0yf/CulbzGe+Qw0q3WzW4FvazmD95IW+yPI4+C0mJUe667b2BB7uTeAnutYmRW9LTeSkhVMZ3MCurE0kKlw2rYYW3L8F3Hw9w/qYhYsmfbp0doTnGi6qIO4kqhG0UBAOSKZw8mndF1oJbWwv8hYU/AF/Dob2b1YwjQ7gzCHZxe1qW9xkKAnI8i5e2DvmCuOs29zD5lxC40xr2qRT/xW9O9kxCy+6vPhjpUJzEyKpzdenuy/qL+f7Xw2JYU4HwvIZzpfL9B4+QybJwznzAFdhbLr5xpE64kt/hKE2oiOwN5bWI2I+tsJR44lq7Tb9D+EUC8nrsUC2pgW7mKFsNPbRxWVsZXWm+TNevPArEMapsBoyNBlrh3r45XEeu/x+tDClulE7RuE2hpV234Ylfz68nkPVDZoIBWxX90eOpn0AKN8DhH4mirwdSQtqVqbspJSc9XFVRjA8A5sfM0oLbV5jrp0tHZbOIu4glqp5AP1BABJnJoznYXsZV06ltnuRRIxe2PZqwgptMpIYi0XIyNVcsClc8c8bwtMEl8FlGI2tBYJUaVFq4CElR5irBjGhnfDHKDKG7gKOOft8349vyD8rSC9qNkgjPMpuQg0J7GrHpUnhp6QVMqaOXA7VaEiMOfglHkIQzWdMaV4M/qr/nnpJ3tR8AvTSabcGmc3owv/8D3nEQmEIeg47DaNBG6UjGrhrkpDek4aiW/4snaZd426LSowN9i7Czyik1lsPUJOL1p8KwrrgSwTF44hpTvbubXATY7gDehsm5lAAeEpTtKcUCfm2s/ryrdKBNErAaYHmUuTmuLI2MNs+2C1PqL2gRZ9vA0iLavlmtWVNjeMbpQIMbXQdUWo3FFzPu7PQVIEyFW+uvrbcW1w2AcKggV76qXMoBySZTTULJ9xJeeb1neIYbI3Ui9DkAPf9SuZROoPOu321etLNtt+spNAmVtucoWdDpSGvXsP120Nn46o4HUvIG/6iHtm6Z+1FRkgyWXxNFfKbTXCXg85tfeybxF6/f+9kXLWnsE3qGSGJKCo3f/rEKhJf29anJY54L3xNODROv5iX+0h3h6MGwQJ8egYlwAA/SZO1tLBbcsizZWvc4uQhMOMYjiFQ6Uj2NmU1TGxjiv3HpxdeQgmUrpV/XdaxHSepGmPCf8mq708ZTqqrpgSkQvpQxD6lySr3gU+HPBEQ/WiplFI8Lzu/pFjNqRH3fd9zKRUj7cWv2S6PbixNQiOcmZsE1wkEbfzIf5EVRbMWh2iV83IMPlQzG58wCTpMFXE7lmxxXSLbHCHZO/iNJBbZ1eVqGmoCREQAwFq3EhVnYT9o3wVjCLfrUR6Kk11jJV4GAtwLECJPYnctT6/qslqkAJb0/hTAQomC00rv4Pl6rLkuQcE+JXALBg+K5nCMo/2wAY2F5ICaTkIuPo1nWNymP9Qf9hGQfqgwlLcspkUXSQnQUuVrYIhHSv0fdOGvTCjyZDZLPStqT+OJseg0gkYmlxrCaDDYhhSGlRKpNpLGJHS10N431F0OKMO6Dl+LKIYjM3WZay+s6/9PYhlzY7ewqrcQ9gCoLaryQIDXVGXmmIMA5mebSGBiOZCvRCnJF8D+RbXMGjsbw6XX3L8iILuDrZCpe276oppZiTSfIh/d+c2C6LL8/lmot1xv7iqE9U/Akq8bF4xzLZys+PKBbpm+4DlcG5p7AxrwCzVUV8oYsMVlgUgA6tV8GE3ybpaXNtLKiX3jyXhmoEqRh4kwggl6EfbxPoWJoGacKKBQvDLSXJs8LVhQaIidCTaLz/U7dPdlG6zJM8NRR1UxDE9qlRTevMasIw6COu0gyKa3Y5MlnrnVfXC4IehxS9n+HA10EKtV9c4vKY1nokoUxldbLVlFNj/SZJ+CBtiYX/TK5vCzpL8yneetNprgTwWmPIIRJdbUVirEeRb47IER5cbpn5V0PFdfK4VW8kGCJJlobC1Pu8VBBcUuu0GXHS9ppz8L6QhZ8y2X3E5MgKgAn6V+g8n0TdebPbXzEvr8Houdg7mCNuPDXJZy/eMrYDV7tmZ+2ymu8Yhm4sX6GJQn1efOQXbFxdw2qmUtPoEgpa4ZggcYV4AvCTQ37dDAY+ZxO6UPok9NRmy8nwLosj/IE2JkfVmTYcHaAu0WYNXHyYw3h7rPgZAU19PjFH0y6A4O8lND544Ggy30guOsrKm1zZ+J5fCje2C3wFOBRC34o9y001r0KjmiFiMt1hQ7RxaoswI7T3txf7KAi6ygm2sNNU8GSbNgvBwPyDXVQHhaZw34rIxnpz/Mwi69H4Wrw+/smZvD2UJ3s7hw5Ut0w9U+YP7m+W5YE2/cT5XOHoSRLz2ZOofKMlV8CDCgH3cbl0QpVGbmup6x2gSo3VivQGZ6WExfdzXihjU9hD35GvzGwJA3uYSCc/Ye8ANBc9VWI6USEHgCDIpe1SkyYLt+megoPKc6ntD0cThEYR+QKN9xuvY50G6/rSpSBywibbo+vXtj/ZKWhbnYZSFbE8S++QfuJ174qW9tEEHOEARUR9W4yUh64BjwZ1VA7hUCkBfa5w9suoaRIBHc8iIS+y3jEhncx9KYCVsh/sWwYrtcmarTzp+z3THa0+XOFXsxs3DSyE+eYZaQFD/6tTr6Wzlj8SlkbRfunOkkcXxiPCuTuICjiHg1vJ/l4vHwPIUJ+6fPFUbYm6RlObTp9S02DtZut/LUFF6kiIgxkV8u2adopKX5hDAcu7Hy5/qmZfn3fCSvWK9muI7YQQ7xnr5sl55zj22o4uNuC+QqpidO4zKUE63V+YcYWDN0124AGFqMmfvGZigP4d5JsZ0/Xigy8Su/LArHI++avWwgO7O4lOJIjs8TAW3wvA4mGydS18ooU/5uXWBFmna5tKiCrO2rDdIvVO2PZaZHJqlgmlf2m38YxUOGKAcLg/Ef18POCloLYHn4gL7m/jWjgt1ZgwVyeo6gNliGFC0GrOPZwbVEPdc18JyZyYWIF0s1yT9u9r1ElBMTzv7YYt01QKfcCXSibaz1Hg4iSFNlZ8hFfRab/9ii6Z/qh/OQFn8IpcCFfyyPQ9UuJdOCx8iypW+ABJggh+iz7d5jBgwvOIKO3659zw9ccLFH8V7ncypsXokAw2Y0qDiyW65JKTkiGaJ6ozTcy77fm3Nc0pLkyTAbCC4gXZ4JQ3kCiGkFv/0vpmCSdm9U+hhJhKEd27rprxMP9hh4dJMXu+l3vIbU+pAmjfhF5wpFzjhFakO7ctjcJUhw/ms0AdVmzDSW8WanBHi4khIc7fX8K0snQuik+u6guZU7WXaX56So1CA3km44P2Z4sMyrlx2gb+c1tJ2PDPofHbOvi/vNDox74o5HwhTCc5uVB2HRuuY/7mR4CyEPFgvh5qFcjbACZmboZ9CSEJRz3apTh5cbhgVOyrB4G9+qwuKRak3oOui9GEyzONanfjg0bcFZW94RS8wNih9DUXpdcalFAEl2f1bmGDB0B7ibFWFDXO8g2CSkqeu1hD9YaWdxxZpetXmRrnAScUbnNO2acb9/pfw3fdZbpwlHx8nhpSUuvr69+ErGK6kQbii2lo7uTb8HhMym7dbrv5udIiDY2QJ4WEfoLp0pakwKKBZDpK503OVa1f3W7NzX4u5EBFZ0hwlge8kQ6PoNoSUj9bDlJdA9eAWwqCI2S6qCgDPq2d95h00y0hhwqh+p8Tt0pTVhN/pbKYcqPjcQ9IgAYvlI5hly0qYrvXnoCXTsGF/A89+NEzDEBlQlF3bMzqp8EWZ/VvIXk1UIjqEj1bEQdNGorNwTzj1OuoCJynTg6zuQnxx2BkwE6eW4Cnp5Lb6OK87/TcsEXTmCtat8gOpqcPndRiiZ93kYGkSM42yQ6BCgspOCcQai8LqG1MVnLUgp6AFcp/y97CicVPvk4e1w7AHnUYGtodn2/2e4SZdK2bNN45EDecfiE4VSLgKEcZyzb2d/c1lbiBXE3juZJJlkTJfAdnM/n9TXxNfG+2R7cZhzkJ6S6FfGY4oXTELzwa3QA+pPwG5+Vh/c4poxym2Xt9b3xvdIDyduJ8bDMJ4FmYBK52E6NnEn/Ep7P5Mn6Lq3QqkFbxMzBv2lTPGAc4hheWyvjzTWh0DVHohc9Gw/Xfe2BqseNx2zgCgvIG/1XxJBZKoD5er2bkXNe+edn33uq56yqOOEpotyT4Nx9HBdNsGwr5mZ+HiyI0YSsO29zf94KLfJj9n8fkFgJ6t4Z/JccsV8CbdVZfqCPOANRmz8k3HpKp/WyCPzU5+2SD/asXlxMOQq6GGSVW2uyWo1dvJ3/PtJD5+zyyllw+9HeBHv2f1VabzQJt+HxTT3vZG7dvJvbd4KTrRRp3+0hgHp5iBm6LTcdSySpPFuXfLcBhuAnPu+FLHZKZlrrDz8tVeXmNlOzc1j/4hjwuUVlhOhQCAefl8MPvE89P/wk93xaPCXgGgioAdubGk+SfKkLu19nH5YqKicGpTJpLtIbTtT+s9nvOMQgO0s5emOXwtsatt1FW6PEj2JWKujh25oyLPjoRnr1EVUcu5VaWyq50aNeQD9MuDu2MYhuU4peOx91PYt6DGJqrsBg4CL0p8C2aRI9/KEohK9CXjdiMpEaXzEyFNNZXTbiROw0RtxchUdNmtq228DFDR/MTBhMotsUa8YZEWIKZPVODPfUx1ykH7PrydYLIju/jpFO5tPLNW/+BBDo6CdgGLpjolw/FS3sKGMw9e50qDFXOHLUuZ1nyJvUlHAMneTIUsgBMTKs0S2WhXyEEOnHjZ80x5hDOofXkpaMpjj49L0EaB3ok8h5D2tcH2E1ENjELT0kbwn9yTDcWhJfp0I2E2rCAoIMdGTHAm9GD68qyMNN5CdZ7mM7mGXoqc2HiLt+67lw+KxSPCNGTlBu/q7Bf8DM//nFxHIBhUhN3dsIJ93OcJQNraMzN5+N+rJfcimEk6249Q+kFoy0mIvPzFBAazx2pJ6rHwW2/GJu0ptA699ePcr5Ftf6FnoXx5Qak3PlUVN1hspEXTnb2HsQAQqvfA+H1VemJpR9AkJfUo/d84kWCixu83Nf97Wm6OMS+qCLR8FuF3z1bHSnqMuR0nRlOvMSiHx9VMjMzXu0coNXUwiSTvCsEJD53vEKX0ZJFvHms8DhZ4NI9OpGwDZgyr/B6b11rWHZz180vAQYze/lcR7Uatdf2fNJjWQBZ/ouNLyONobsSFEOwU0XZHE5oy7xUtirnnHQiZAaNSDasOHbs0zgkWjqyg9phy1HEn9ijgzrSv8j27Od/td/fQspvah2y9FjrXTeU/ohf6j+nQVO6T9qpk+i3qpoVZdL1F0qFmMJ3wYBLbQuNX+g1rSlHIw2rvIocKvSaHO0GVd5C5BQdUn1v/OnqULNLxAL7V8y2CJoahRJLsn/8elOz5FSYjKiACfSUy2EM2PUBRvtsTW/+eqavdjyWy1gezL6R71pglC7VAyzdy6DuGRs4IuCgoz1YhWpkokRD+6SpIelxk/kFp3TKrfdZg0dVRpycGqstvgdGbfiwbhTGODh+Pg33tPFiC7zxca6Pvby8HU3kYDr1vm1nxuNKpVXTM2EEt36XvfHEiw+s7iTMIdcnGCmtEs93WY50Z1QDz3sKco4IjvH9Gwf4mTKl7M02qN/cTPX2XiP2SrglRuyZqXNWwaiakoVtTDYO5Q2YFjaHK6+apR4FmxqNmJYpFpSVhIQOLNZTjSmprFK8FYHhzn4OOqvpwE5wUiEcHd5BbxlFi1d1hsOZZ+ZQN2XxE3+axhgqUpAp1V4PGnbGtZ5tthZyoTcLlv98OrMYwqyhPFsDi1/ijaTMvum6B5FKnrSK1LgGzgo99+BdTAbcc3G67N7YoRZXF95hVXibIBQZ1E9XyTdKkgI+/wHhCEOLUowwLiQgKkLPP2ydlb5ZU/vmA8y++mXNUxqWtSo7/GpdK1a6wNXz2Lvzd+NGpuzI6LpFx+k8cdkWNoylVIBwBQD3FKVQD5CtqL3QamAgRiHD34i9FtgT8busMYHijxbPJwIZDHnoI/wR8Xnsi40P+XkkvTHTLhntSrSdeHK/NZCINIWVP7k1/sSQPUPJJ62FWeGXeLizvJRF3hi53syMs53HzCy15yL7PlnttJPj3BHQAISdmo0NnBUfWZ6xhjkzcYWspRREwQHF0DHe+mX/BzpbfumoKOAkec59aiqgDloO6zw10zCEZ4SEvRTJlUv+8+IKwX1MGVgaQdGKqI8wUwSaUU+IVAkGmxxsE6ztj8jEne2LzsmrzlpDcDxX5MoeNBfV9q0VK7Z0MEvDU9Lq2B1b3dgrj0FAUCpuoWE3QBTv6MasqYJAblpWa6X2RU+W7XzlE92r4luv38KAdaqxogpJDIYoUNJ0OW6TsJ+d2mD2AwpFMhVSkVgByca3T/kMbj1jDYemPIUcEY+GwtJb6bDZEzBpHuUXj8CdbU1OYC2N9e2mGQuYnX7Hgmtukp1fOBF9HqoN3xRozXX4QsiYTtjAN2iKgjEg9WvNQ3vjBC1iewDZ6QGDxN60qDWbr1zeKbj/WG5b6Zi9L62sxWAszSAVZQRxr4X4Vms03Vs9Toaw1GgYprLZfOWDbxzOvRtZ8BWEeUMIqJedFXwk7YtTRE2SI5nZm999aEQnEJaq2fWSl3T9o4naq0OfZ+M23hUhrHWhCeNeBiorfZ+lIkesGtsuVAdQiW8c853NTCK7RdDHg6i3XCSwneJEkNo9EDkT8ZZz8SzO1UzYaEFlfhASou3qDsxwYG3BONdvhQAMYKgJ1MDOroYILLvY8PKlX/pPej1e1g4jE6an+wNfxsILDdMBBrLPWC9lAWoV8+1VKMoVwHMYrabia2OeVMsnx+MN4UKvZL+luzSi2togNuTQirtIPQ4hf0saLQL3Bm3gneUI1mkY0zcFrNLiV4X6juP870n2qXqkD81cUCaBeq3iWKTXp9iscv5LIGnVjKjp00CCuchnOzvJoq45vm8ZIUjZOooqGxh02UinK5mMG/6E1Q3hJlsDREBXEqwpWiCCcxvmyG8zms+oOyBC3sLbtpHMVXqmkFttH4kIVFSo/QfO220gYlTTqhpdEdCmwdKxmUeOku8wKJMoJZqdk+rDaz+xYG6QNZC5dv+jQbr+9lqSZDETgfXKYXeafQdG8gqNt5ZfHgoqt5+WVfDstm2fZkdN8YrweRa8CNMQ6hRZrcIYXOpFpFQpVUpOkrQsJOFmcN9IzH0DKUmexCoJjh+0rVWzY2Mp4r3qCjWweJK3KF/db2R7P7wZuFhTTVHLfH0ONYOMxUum4qti39uYJ8/mklDn+aW610m4cb+B4JWupqxcjt9YSQWm4Z74eHwZjSLXMD+nq1U0r3TGFV/TDc6+gpGe0OpPycDkHtyp0rhVJvDQkiYOIotCX6O6dBxPT7uWITFRYWpMC1fX4gS/ECStCT7FPZ+CO4aHPjlv6nkk5LZ8RIeDyGFX8fro5gulIfFA8hrhVylpkPHllU7/XjsTYOAWzEHXYx1zOrP3XbTuIYbBBi7hMNTxAzDVOp2jy8qrSMD6oUW+rXmhLJRipMpp2bUAlC7zVCxVLlbM7Yzjkz6N9XSph8ou5epxlT2057kPcEDaYuM8rL7aFLOK610u9d0q3pkGwBMf62Y3FJ80U/7YKayrepBrtdESPv5LNFPjrdPt5IxgmmdA3ShNRoZI7ymyq4ndQQ3pBsvTyvkMa5oF3tTCNlvORDJwWhaXRUECUEu07ql7P0zfBgTtIZ2d2PbJbx6jQBa5rKoLYGQGqfzeltyVu2P2bl29jZEIbGxMcQRu9ws4gL5Blor67g9+++vl3lJEtBtsuNCWCsSad2WGgTQlzkNRVlEYhSXw7mESYzOAb3/dt2hi4KcgukWZ9DiQz5BA0oP8OFzE6MUsuCREj+6bhFoe/pO61JstQRnCEHWFlsW7Xx49axbHRSefpxYljYxxGD3Ijo64j+292H2CCheU/Kwz+Bx4JQaxwxFfmIhWTNnCrOGfRmzWoRK66ySYP9r3IOuMpNXd03KqUCnGV8UXLHMbltNcWaryreO7TcwCcr2u2HMPnplqSAjpQd/q87ZA4h7D7XxzMFK0GOeWp/3BiA1X/j6UUvCM0cMm/sThQcL8vPUTLHln6gm3gu+hXE1eMmuvKyqFJ5mp5YknqI6TJ672BiXFmaBxq1hoz1X6c5ce/a36mMvjL1WI7h+0i6++qHnZT8WOj+dlMDVGUnJvxA4C114aXL7EOKc85MS/ShihKFzAAotIvJ1K8SC3QidTBKGu3N+kvfRhitw8Fxo8spARvBMHpBLFmeWVzUOK9plZ4aqoM6OTomsWpn7uk2Vg5/eoEmm1iGTuVSsknIHRpq7NVnWMRtYCdyvCtNAGKIZzGG3ie/+aj91Tp56BlfM9LBwjls/kGB/5FWwL4OIeqDKGoWPugxP2nwRtX5UeYzkqfmmyeEtEKMeChl9iYf5vpQwNx2nMjUUWUSYbVZpj120MLuyzX9npr8DrpSckMWP3ZBNhaWj8dTA8T86Xvow9MloPZZde1uH2nm3lY9ojlBQbcseBa8AWKNcZG/yOQxbc0ZMuYGU+Jc/nSiSS/Y8XH4O8iIjEl0sbG3QnGhWfqR2bDe1rPOasNPXj9UYr+wCEMt/Cr8iwK/UYnxtFxTgfpm06M7VRRhl5ZXhd1GV95DK+rB8ivI78WUxoFeXEnrv9RKbxxqjXqPXr+hP1PT0gM79gz/MPFsX5uDA43vGBcPyUFs/URJna6qGKg4u6k3Dg2QvtfC0sGB6tr9gC5Z/Cg/YXJBXUhZGXI03AVpJnHAp0rZkkxilTHmK3j3qds+gL0iRcz2lhVQHhogIpcLdKX222nz9wZ9pxKFHKe21rmAoy1qIlnu+UgLhLaFObMIM0PymtZiMmWdd4VElCHwL8WP7Lh0EBU/nYXpDPmvBi7SdCJq4GlYjUlniPxVJ1/KP37y0W8VvPukxmdnqO4yPTeY2aHsqh+S+zU5ppUnTNM00tNJlNS4V+dilm1Yrzy7/4ehT6P0IdC/TezlthCYyJ5I/ZqOxrBajtxGRebUJpYl++zbftpL33IS339KW7cYcAyt2ZgUtp8C7Gk8yd2O8vytpVR2TiK3NH6zPMdW7v3gWLnfP/hj34fY9wQ04B3hORTMEHqdlAJuhf5jfNziWWBgh3CwrsN4AClL3xAikVTzAof1SzXETZzfmOq32tNTVVMqQBObcpNU4eJsEV7ueAj9mYU4RmoeDdA7iSDT7I7ePJVvljlFm1KwzLHf7OxL0rmcqDjkR6AUGBoNBrisqf7FQSo22HrYIO5mzd+jVFFlVEaPzR6+fGMqMGQ3US2PzXL1dhOHbBX0TEl6ByCMu+6BTdFTaoidGeErBXwL4KusuWrKuX4c11nZJWvUALiQa/RVENiRKAwqwKBeXRSS3t33yytCAxECzBRpDGeqhO11I/RAAjDY96jZldYDma8eSmLD/yOMCYIiPDZCaqYeaXrEfNo+SBJaqDXd52W+tWaBHm2mhqbSrqYAUy9+wDTv1QH9fk5ft0OGDHSXtB/qGDX8K3LpjRZiuncEl27Sp9ABwi1y1a/qeoD/DcrfNfWRnNdVsY+IbyLCzA89bPJsklQHoLQt2ssIy/mwGMXlsBe9TZvdNunu2DO42U2q2kxLQ9z7bBwOA6CewjVN9pTdhqHnsaYhgscM7mworAxrZm6AdB2ebGtSQmnEh205kjT5JpJxuZfVgH9EEVXZqKPntD3NQd2bU6dOLf6gngci5TroO4ZgvoKvil9cMgrG01nht976eC4QhX9LxrLWyr/XbXR2qpdIpvjYeLUUcQJN534/jeK964wACgtV6hp4s7gwHJuRPj17y6jsXbYbV/GlVuFxaQBG9RWJlcEE9SORAuen3kt7Ld0uuqcA26RTMds7s8ZwNh8z8voyXd4ZZBUNsx4kOgGH1gR/8BiSzqByw6DvNQngbG40asPGVrGNo0Nfx1tNnswcsGp6BT9S8sDmQj+infE7lkr08EmJhtN5QXUCPbQ17PZNQ5bfpUt5wo9U25l4u+10GjPiwqsG9MEJtBoqvXWoUk8jqfPDfOMip61uT7tbK37z5Uh3hn85knKRQ9UWn/0H/ENuDH8qT8QITXzIflTnX/Tcl/s7o+z2YMwWSIXdpiBxsyYKPVJlCIA+gdp5dLy5TWpXpDdZYa0OKTAWbhjtsGlwbjb3Fqoj8sfBnmfSf1lbyMFyjHVYl2hx8yKOdXhlBrM41nwBuIVici7B8LF1SC15Kn+HKu7nTcViUK4UHtx/43n8+Wi0q6jbw28EbqWVILC9ZUmeXdCMpvUendN84lByVkJ6nL9eJOxq20cKJnN4u9e4ZszXheot8a7ejgGQcNfeaYA+oJWKCUWYqCbOrhNJ35zx+kbCisL1sC9bOxasfMmGl2i/8OgpwE2tzDkmAum8Me6KsZiRG1JDL4N73OjORWdgKPLjhFGcVvJYbnczt4WJ0kbEt79Yih1eY/Pf9FdJBaCqIUe7teJeF7nNpqwiELgMH1MOrIZtmO1WhMZmdhMSfJT1RTGyGcvqDZrYL5N/8qsr/txDvNEnL3qNPpCcNc406ZmmXh3Mdf6c6+pURWrLkOxnhuyWTsf5I46g87CYjg4r3W6FTM0yVxpShM2/rUy/s/M/rQls1Oqq4J35O9/619uqdlZGXHx0sJrhRUwhpqu8WkCLQMu0RPhULL5dwWlCdac3fFUE4CwBLf69CUCUmpO7tb53qc3zGDq4H4fwRtjS4jxXbvb6rgotNfDAEtHS4Z8QNcSN5tX1vkaA/2iC89gfJSFB8Bnx+gKIcZ8sKE67knENvrOTZ+onmmsFeBKz1+E+hcNHY/m4xvULCY4+vV/dFUdSCX5MgBFin5whE9b8GA+V2r7i3y1wOvCXeiPYN6B2eaq/WDtuS0GgBQEU+cT+XfO0zIqb7TW7DQrHCZgzWrcvY1erY2G2sWhmmKtT8+tmWm/9tIafvISTEHeexEA2JM0Ro4En3+xDmLt1ra54LJvA8OrJc3DQVjlHkZW1/2PL7GVqbgur8af/zVQgQHxCAerxphcggkZHbMSP2Ryb+eKHGrapc3C4K8TderJbildIn25kuvrEkE+MyCamkZ07iWGsQl3o9fI4+vjdoI878JhjHgpPV6g/hasuqLFuPuTPl9fZo0+vQEP85uGCQOAJ7iHG2y/HaOcfAwyZRDR117ICJ4pcwpG0QuWl5n185rJutkbSYxNtBvwhliPqpQlSyUGAZ+4jIcMhCioM3pbGrGRtdh+KlegFsRtD7vN3XY3fYzFHyzf8nY1h9H32Lm/Q7IMvMOExSDnhTxE50EujnuMp4LUmZvk+bSBwYrf7mXYxSfKELlbdYEw49nCuWgcfUEiKic0o5GfRxQkIbbsooUxHWoybeMDAbTMGoAb6DKc1gmbURbFhmkPfWLEdusysvWwnLYSy7vXSlWzhfVVtyN3O06fcr6kuVw+NTNFs2NOvWg6PXL3oCcng5OQln7Xvx8oWGM+okau8AESIht0yWaaUEnf6NEr5eIukB7DkFR4/nxHXThSMtOh7TitNclq9aozK7OnR0C4HVWe5EtNWAQe1YFmQuBBfgFlGt/BBC+3CrqCnCoADpRB9cq/LObpw86mHfs9OI1mXUkRbHzWhZ2wiw5Ry56w/FPvOvtqrBSLHV28NDPE+YMZ7vUTBd1FqWh350u6ngJhrDa2+Y5hYzavtwcDr7R6RlYJAqJEwY4vgSAHvuyHAvRixA0+v6Zp1ndeve2NfjsOlYXKoQTi3WmbEClO6SNwxBbaFim8QsyeTIX3qqkA1mMyH9GTtRWrVFMkm+yQjOxBpQ7DzGpUsO+PabGEv6+alGdzKg1cMwntaTujbfSfmQaKDXxTvsOX8kxa6sbQE6ZVKQIGXYGAvwVdiinprPVN/pFTXVpcz244Cj3MEsq0vwiupc5wpXB8pTH9nKYENPxu0H1W3RuiekUlLPGu/9Bac3EE1YkMDN5V6KtbBir0UuhaNUDdifp9HmhWOx90p15OPXPxhV9lXPqOyKVlsSM4cA6TGIqSnyAb32/Vg7vuSHxA7k7KiGPYCWr4oacClTiRWB8RDoj/dgoPKQUPdEEVS3fWL9fG2atQv6ciFC99D8zDKmjkx51kMzYYpe8n7+8oKOxuJvSSQ1Wr6iaih1iGCFcJfz5pE+x03ZkKygm4UCKhFnpRNhg4drcRc+RRfLqUxGs5BpuDwciD/ATDWnyoi7TPDu85PSeydfCejYhMFLtl+QbY+sm7gBcMZzTuoqA6kQh+DS7Ncmp8jCpJ03xbj9lqkHFcHIHsbnbCI3uU68sUPtGk3vCTQaWBpvwhvcI1P2h04sWdOhoNrnrtzGUEGUM7G3CrfAl1nIHtjRdCHa+3k/qkA3KCUl32w4gfVUsApMfu0B/M4nhT1eoCf6gKIF4NTBMbODq5hxOXzRmKkNYmq2vlYAbiW38mnbKbSWTv99iCnU/S25LixPpUHkcWb3hBQH0+pVNehW6bneqEg5lEJDLGHpwq5UqoxZqkIVFOauTMc8qSGSKnZRI7z9VGli1x3O00BwEDQdmNOtxT+Y8MgrdFXJnuIRL91T4sFIcaCfA9rIZvpp8XBLeaKTmnMAGyI685ax10m+Vvc175v5+ZP2C1QLdNGheOABQqmAnEiACApd5CyGO9dIOcaA5QIG1QjLshyWw6OWEjrxz/VHBI3qGZ6uIE8N7AJhWM+rmTGsp1RBlPQW8vbqDcz96QRZCrCdTKPJvqKHkp7WC1toUK6+MtvXCClAWpqJZD8GYmGzFuUem/EUsRfbNV0K/v0coZKZ7HXqvgpHwhv9Sx1aT6jJUj3CYH9k7NylmNvz9DMFz7RV96rE0cLo4vIZcGK8wEMlfv0uIWtUbHK0hGxd7/7C5Va+etSaRL6nD/IDrc/SUxP/kBvgOMATgCCa/K4rNG3kIQRdlyFMGBHD27mtsr/Uk05J8yuZEcxZ19vmZNzxIi/ILljD9S9IFew8EhggCShhVA2+pw/Xr4uIa4cpXqZXX/OGMvuskDywa2/CrmiYFVIUl2VVxGW5M1z5VxYTOeOjPAvVFDPtNmn2x8J4adi9BSL5KThv18OJ5HjdYHXHu/sM0+/DbhRXr5M7puplsosFbqoSDGhlr9uUD+3Wkn9+ZJC26jhKlWyvFCBTepXrFOHNIdQ87heH5tmdw6qUhYbwb0XjxEc33CiyFnlaAT5PNdWe8gPEWTYzC+KkqnWi2hQIIe9TrSxRol7IWyh1YVE8s32ozPfpnKB2ONApFooIfS+c3WSqFjV1gDYzSonUsQkY78Cpx1IBo7ZTKZUkq5NQK60Y+qK/beARcN7jMgoLsZhCHFQNaJdSPvCUOqyGLx3z1NY5LBTXxTMQXegAXjE5mU7F+yv3lmdFNYnZyjWI7iBkc1+AzhlS4ynfGJle359HzuMNA4/rk2JQgyjZtiQMa3anCEcABnyKWZ7zafKv3/1gGqyQUA4j2FU4VGJSL4zUjQ2jbap6iDXPGb6c2NZRt3FoJ1Jv49zBWMHiTSXFDiApvG8IeobTCEYu29pm6RXFV9Vpv2tqfE4U5rNj0DiGk7qzfCTmLSkdcxhUlqcBVJmG88e46LRt++des6nR2VFuxAO40YESwALJDAiguRSnDirEcj8K/VQib4Kg6aHi3hrsLam4YydBEjd+8lhFePRtDAEPGT1/4GqNdnvAlakzb0FE25T3fknQmpGCv2aKJcWLJaKOnHSzWQi6pZmb05IAFlMmYk+oxh56YA0sA4MuN3v9o/EsukjZem2z7ej5w/dkF5crt4jl35HvwvYYPrhYk5hrm3KINeknxyRUAUPzGW6y19pSgzNgIa9Zn2fIPP9k/ZvV7D/oaZ3oQwTuf75flxKAXTBN5Eop/iVPrhqjAlxtCBOqBJELaCpEOD5yrTp9knbZjWAVi15y87ea6jHrDzVqjlbHmc3uD9cOnHeYZnOp9FM77642mpyqTfI5Nn/xYgxoyGItJo328HZLCDqlT8dMNuzSQ+zqjfWuKoPGJ/CS/NPo7BCGZCbWxf1FAC3x3YG9JVPbChOTZ/7jVJ1irL490E4nwEg3D5iGQJe6M6MehhSN6oOiG2UKH6eijf5aZw+XQ3pVC7v586u0GUeaHlZ2dV9y7H8wo3/y2+4xPjNTqJJwCtvj3xpSGLY6P9k+rFpYUiQoa4fNpJ5YCq3mqLKCcuNS/VhYJN9KuiWL4ZvwH4uQdMEKj6JuKfEy+EW/Pip0LN0VoTLWCZ/hbhdcVO4LQLOeR4ALoTbbsh28hfCqRrJbmwrbWKiuMJIGlgjKuNxZ9LygXEmGEKdDmNYzmXOWkh7YkAvRJBa+6p0NQX6fzN2Nbb1vvzhkO1fl6+Zy6Sgv4GAMLiUfhGx3YlMaYoMZcQmiy4on1sMmJ31xFMIfX26tAJdIEg3sEd0ECDk+GeVcFekeEKP0947cGhrhpMsPKDniDBjG6nAP3fVeE2BBXVWX6Ax0LYNlWQB6sZDxK6NRT5MB8xYdk0jnv9Y4pKOvCooshcRmIobg2Josi/HVdlZ5xAA6nq9qgHbDeu8sbDoHuXArR8uZmt12kxvyDkUgWMWpxmSFARMxfEgoBMTHvEHMogSZN8zkXV3buN+ZW81qnZJEfBLcQQms8hsUFFkhBtG/TMRDQ1noMx77BI7Kb8pgUplrYd820ZbOVzyOgdFUVVLBBvh0ZiOSPxnwkD+ZMj+5j0dPf5ERtGKr9L56m+5l7gZYsEjyUEToy5WSJvj0DPoRw2wl3jtoPeCDmpOCb1dDdKzR4MeM7dqDmYUOlLHO1/ZUfB2Ts+fPc+1vYMXSiMSSDaM6fn6RUtheqURYDN0K/K9q5xZdDUYt9A7NoPARnviFbesem8xVJgrEccz+aGcfpwZlCQpLBM6v+TV0Abj98RRYQzNUEGS0ve5GHwBxD5Z1HpQ09Z8wlqKSl0fkq46NKM5IuMf8qPO7MQYo2AcF0AZmEfPJC+Ar+DgqC2stfTRfA/1qxdl77Mh8ebRneTgCfum6k5u2ztQtMgnjP8B338VGqvPZSAU09/wCBrl2GbckGVoTTHMp+IVLgMObnQWGwydQUN/e7rEv5OUe6/6NmU796HRg9tsixYzZhe+OcXJraNGP9Ryqn5IZcPygyth4I21yABp/SXQHAtXGN0ALkmZtOWdzZHT9ntRye78zgQGCgmu/L62VcCm4SPJKYju4MoDe8wU29Os4JtJVFfQRdb5QcYULE9fOXvNx21FB7MhJ4QSdZLSHXU+BQTTp2y7awkGqHw33on3RRLWvDIQlC6RNpm1lpbUox16qdTv1lP4pOnW0fFOYPDqlrK0Nvatn4Ay5biwMgD3vseKaZcqHVA/62KQ9qMPPdTfl5IWEDYw7ThNeKYfssZikNQSfpgvjsP8UnNDoGY42gDWbzJSPjcZXgT30Tbl8OP9inTstoJVtwRcHlGe6KRaYfn/SKTO+LM7vNB+B9P4gLkJ9H/iN0SNZFgj2uZ7CXaYmxKgrTtViCGe1h5whC5e5m1IDj9Qix0g0ZzbjL6iM8o2+nd7TX4s07iDNmca39tgsi7oiGYMJXbWaOAHEPmptDWvGetafykqwkN7YsUvf8j/TqcB4+eQ6UggrHwB1wMMGtDtFCTgSauQm9fhRYaVCKyx0NdSDNodewRe7OBOele/hz1IwyVTKxamq5Avzq6KalgYNCtm4BpmhkY3vBbUDR255WbTP9tdekY8WZNLK1qhSjiRzTvFBbMrVwWNfiFbzDTxT9dhyRJoWIDwZuRUBZW5r/4DAxHiyxb0bQrZJ0r//Ap8aVrOoSrhOuhrjocirU+xvjFSs6+rvVxBTLpRkBuoUNYhewhb7vRXEz95AOICdi4R6LpA/laRBYxTZqZscH6W0UDyt9sruwL1Mwd+p8FY/8dkx9T7WHrAxNBPEyPMzBMqf7LJxEyar/e9BJ4oZZZW+AvuRueF1j7cC/N48sWMpwkwinypyd3kqYd/pvY+aH0HiyZ70N4v9pwmFFtFwbLWdM58nOj0q9p5RJsL4sqMQhdgM9JDKjFdmceBN8yQDipYYkUEIgS1gC17ugJluVQgDeCoFOapDjB/Q9KxRxHkrdippAnnKfDPfpQ0ZM7yTyFVkXI6QqdHtJZF+Yv0W8C7XMmkft2hLrBve+rpYcQECk46fVUrIoSgQGgQDtFPDfGf+6M9RQ0kDuqssjrKJGRxkYAMfKN+4c5eA/Cr3TqdoskriFWnwLgt2Zfc1P6SxXaBQuXmFUZXPWXkD4Tx1oQmbtD4ePFFuiKg0Wt7GBSBlshc1r4iNDul/QFALJXw4fnB5OUlvqt31VYB1gTsfTNjd44TU1ll09yU3JNUu75XD4RSVebAY7YZSFTdiEPkHwHVC4aFF0Df8wMtv0QEbTXy4xTF/9zb6tLuAwN2Vfn4tRHs/qisooeG5Y6QXmupJGPTQ5Ou2gFveEcu8s6lTAOP/QoGDRLytddiPTJBqkhfSSYKylEShiDQPEShwMaBFgMnjhPA8WBL8mudI+4M4Y3To7o5QDi1ZJbCb8+eUfRgoeI87RRMZRz/W/9sBMPVILkMR49Pyiurqr1xZOOfFJ1zS4RiPBFBSKfr9JsbS9Z4tXjVsA/u9mmej+0b049udUKOA0+uRXXdg+t9STW5o0iPYP9bZDvlwd6+U9JJFDFFA8N338SabNbO90KkjOf4+sQFXdb9ZaSNWiLYbt/rj83uRWS3rRDxzvolJVr4shT3PEaBTrpDNMUmqseRGEuQ5GMhQtTztmpfpFJiOv4/qI65t3Ml+R1gYyEnEu9O2KUIezg+Hh02wMu6UuXn79bw5EiEIkyjlaqlOELrZOyMLWwV4gAcpOSCTJMdAXUR8BkKscSWWy7RDmtCOJGHBu0hvLOjBeDT+bYGlzeWfQeUZWiuN5JkaBp4iJaOQ8SVqduXNUTyUuSGkjALPp7AMcc0s/LMZ9McDqZM0hkLv+u4jsIDTP5DItUt/gObWPrXnHM5git0hdwy38n9bNCgQwGE6k5nVVBwZPojv96J4/0KmUEfur8kvhRJB9JujQl4TTFtY63lBaJj5DUIzwAiZklloCSNhHC1s7Mt+EXdFyk7eQU7zykqpkMibBhMraPf8i36D5JScM4VwomIUbkF8V1Mc9s76KztHAXJ6wVNeAGWC6r/05+oiqR6G3Ee8rRcPVaNeVOMSRUF0BNQSNzLhQSP8Hlw+RqIqxB6Pd2grWG1yyf3YsjUZu4ZhJtkkSA51I+/eeRpxBq1k/8A3+inxpA2KnfaAxqQibKONA6VU9uF4H1kBxArND69NpFN2GChvGHoFwsDbX0mufM4N6etVHyKiTjm8eRkO1BNR/dElXT1Jo7GfZzbINbCUr3hfuv0VTH0DKdwkWfYgBfqyeie2NUVHg77g17P24SGn/RD5bd8+u9XBJaogR4TW+ExBlc7+rYlerK0qHf92ueKY5iAmX4cGGVmmWMBVv/oMIiv40wGNeXdaYrnU5aJfYEveqLYCYLDgObUOYEpC0mcDRd2/w36mygkPxOa+IhhqyYQC7EnEc9ymRwJQgq9OVZvxfOkHZkZWeZ6FZKzkZlBIzFcaj7b4gDkOX+eCawj1orwGXyrG3s5q/l+GRvrwJPLKDBrqu1zROQJAO1G3sfIqwzlLe8ZV5rp1BJhxp5+CBDAKMq6SPAKd6BBV7eHsPJegR9g4e2MpNTb8g2smkOgmF6VlSrlAQQL85LkyPGRVYLE2YcA/pIwM6Zjqxqoy6R6vYrCm3+95OIWw7TMlrkUOrDgqeNV/fwewdCP918p1RsiJuNJqvd6QdwZ5zxi6TzpBbQ9apFwCDeDl2tjrRHd7weUrTjKJdn5aFJmr2CsPO7fe+JZYFs3TEFhwrPeaDaQ7rNQfoYMFlIoRMf8u+MlYggovUIgVAp/IpwNJO2SRhvsLXLB0b2lNe4r9fJiclEaqA5h8cLz9FiZAXgeyHR5D15ShMy7oubHvyLDL4RLaG7xDBl99KrB05tpvO3DmJXNxwzU0wORKbuKhiQi/Q5OGcUTpM6fNUxcVcYoc5hYuGRYZOv2lCoHszyheANHdT5uF/tSsN4s5ZCY0o9TkLp44DM4qGWxOBdmilIWfrKyo3HqIn9bDKWne9aszE12kprha+5ShLM1YNxwrHN5nP13ffFEnMsS7ihg5UKduhyzIhBlhuOv4SfRtUQ23eVXLp231HhHefs+jMj6V1/Q+BR9Vz8IlbmWlbMY4fvtSbsGLtncHPvCyaVmzrar19tQ106G2SQzV7nG0ddb7rVxClSOImJ57T+7dFKDUGIExTsjd+VMD1WTD3mcIf2I669SuVHNXPWfWQ7wFStoB28o2hLjUMPsTUxPkQjYjnEtGffFxN89NlmDh0U9VggF+TOpidFiJ/vcyDpfYTKen+3/Y1yEUjZnyDxlovuMNXqba+gCG9uOm6VUrELkAmGyVK/r47sDWyponS7z7pmhtccUzhiq9wU6gdpLBHecGGlp+88Dga7wE+zvxEvXBGA2mi4diBKOthtS4ecFSl+uJHN64Sjy/WHLVJQ7UO2e+ipUzK1VkC+syGtDaALQ1IjBzy+GUcO+0YRruUi9ltl+XBXU6sbh0uGLPtJBja48qQa+8WU2cydgQEsqsY16I6dbZHase2p2v0cSxHWxVcncSCbcrVSCjnVdAiqxHwpE5AOrU3rtbiJURQrYA47zG0Tr4REqfDX+atn3LdWfU8VMilweakTDfwB+KXuoboMnCCjchMkEBRiX7ERTXdVZRkQSGFd1uj9fGnKjbOHrUL85n9M6gHYuXhVwF3cT85Rt3Nd71VmJ9QSNZH1fHS31cmEJQYEf60v4QU6f2tJN6oDu/CUSWmgmQ2K5cl/BT4e9odHvByKj4N7+Ul+NYh7KyQ9Ls65QJhuvheP8i/jt8m6jjnUl1qKf04cWjPGnP/hLPqR98ad0UeL9j1ideRminTsrkLjIkVcznH/sLO3rAgsDkG1mXeT95KBdtcStW2bJbfrZpywTKnwkyA06zGAw4qk24gtHKj/Mwt+PKUS405YaCY1mv6BtEztS4/f96VAbse3JzSVWmH5OX3Rfc4DhyT0dBnVPDBF/7wcpVBsa5a7DL6IrwNB8Er+y/5xthLsolBio6dRAKvE9wAh6FyW1yT7B7HurUzOtdG9ov4LcHq01KUzmbPsb4K8txUZs8LT3htdon4D8eo0DAH08O3Ipo/ypo21TZUROwL2zvRsTc0z47Epn6n8j0pkr2Ek9SKjpXt6+MejbK4d5jRo91AprLvbqOSTm13TdJzOxRCFn05HTVpzPe77GVYgXR5JW4UKN4hG6xg15sE6UG2E0430fZuWhDca+7pTI6GzDoyZSMuh0KXDQQ80MfMCYWfQ40wPeZ1144tSgeASoV6wndQur2JuMqoBlBGrLsh3DQ9StF5O1G0Hi3UNnC//ivjcIBV4fJ/RcSYWOKLn5gnEbBYgbrHEX4IRkwWSTp/JCFyxbtJb5I1qimlTyMMuRAfkBa5mtePtpIksT/sD4hk5AHrPG0+S+GxM3D2RZV/3S+idh+w7D2g6uSoKMwkjxCS5i8vsSvxpfHTxZj4K0Lw3Fcx8zA6pzThTl1mE6bTaTZL3pubXZbc0yr3YNbgaYMmhk4b858HTuf2RpljAGjnDhv5/Sw9OkRbOv1//K1E3Qs6nzRLb13p0CwuKgUZN7DEGH2XOD7FioXhwlGvukfQ3qKQfjsz/N70Dh5NAzUtN3nvkbVsKz8M6otXc6L2EPkKAbawOEaFvZnbonPDKt9fGgO87w2nNclIsF9P4bzg69pL2VYtwU9+zuNGPOxTLxeQGRHGgnkB4YL0WwsI8MGzGxh0yXKtYMjAlYFR2sHNmr1hIEewGTC9Fvy9e+TS0i1XB+IOGzoLKZeiNeCv+/9A17j+9FB46/fHYnZFlW2MqiLSpzuE5wNJiP7d2WDpb4DVPYOoH1Fz9Emn8qcBNxniE86SCCg8TSAPEA1Jxy3D8YE9/wdK5YD5hLx25ZFTq7BH8QC/5iyfOUoNMzgtBqADZay4N9c7azFAJJxmFCMGHmkymhYw+Km24vFDxBpeeVS2Pg82MlTEFp2uOMS3IIpm7tHTQcbad1ldgR8FerqLzMq5QXodeFekWnUjhHFyiJaEAvctzhf9HmQ4uQ9US79facYrv+ZLvkOICGfAu181Cifk5wSEwo0A5QauR3qL06k7YO4nakIGgrBfLlcA84Voi/CqB7TJ2j++ea2BQdUrjlMmeNgnVDIEuCIuE6nYiZQ8BQuJowIl0qJyDQiR01RTxzwvIeJpB1i4Me3E11E9D8sGRuGhSqzJy84ptYROjP8bb6PIonfTkQr+9Bd4tMXYuscr5A1jFBP3tT9EvqSKGecNEEClTm3dYrP9rCnR3WOzqBSsB3URz4dOWln/s0q5Zo5grn3OkW6S0J/7DOqTyTC7tKNSUonjw875qFeE8JaUZ9LbYnExYMAzXxX3EafIC1I8iTjT3F/PCkQeGqF+yH2zJxYwADwJbPRYjRM11vomH4OKzr0d+9KbkfbaxDg2gOwJxPSrIxONW/SNJzWyx8NvBM56J2DMfinyeqJ+R3RL3Fqi1ZX7SBr6TlPTjzg8U3q4fhc2E+IkRi5I7Qzyk/TghMENR2Kz3wyZ2bGaIUOi83YlanmIdFf8r1SLZjkdKGN1Uc5knySdA4HZqjs/cIAaLHPx8rDlprsaiO2+BpDHWKra68u5vf9M3cdg8Ov+ZT/guZy5yEAYsM5LbJBHeK7vPRsfv1+4c46/T0rtZujl1VyREcqmP+aor/hU1HvvnOURUpDG7jvlFqIT+HTnaqjyf0pgTc1phHAXHrqZWzkFVTIi5R3scdbLJ0hk21MAgrPXxfUnWXLxtFtEWgelPNBYtXsXiNV0Jp4y+jzOyKg1Vm+PGvMTbdrJP4fLS4zZlIShNoA6ZlFpoGmq/2fiozDLxMmQl+4wKmxJouXu1zQEom1ttWbQ9AsvKbCyBxfzIEy34rKOIOiDUFy1vlg1pEcbNL/GefOdKAuA7GqDSlz87Xz9JRQg7lJ8DlX47nCoO1veSDSjURIGyK6N4K3US9sESpdyMej+T2fvPnjl6eSMWdBx7TG2uD+66sSk5Zmn09Xra487XL3CWpxwXjbGkkDbQwMyevOc0QfcObnt0BllmoV9ZLO5UukMPbGuTJJSWqSnjgsGuFREqSIF/LegnFlIPRstHO+SVNpxxKwgqyrBkJpxrLkZJ8ei8Uem13PtES8HhV4NXHfdXQaL5u0eZA9QmThYKpwHhM+uX2BGD4foQaBrT6N/7GUG9SkbiuC7jx9BErzCsqOrm3Ih8DbQjWChZZmt+/ZsFgZ9sagm3IRJUoK+0OJOSeNklS8rQk8UxRqwmQDR3+Kpedn1ZO0SNJ3VQ41OgtpZUHMH1mL9xEJXFOQcls1BB5DRTRk8OeVs5hW/NLAcWVMi666tw8fJnUgYtkcFEn5Ke0NrJfBZbJi2xiB1ye3DVVfX+nbWDhMxVCzoub5lKkqzGkXWNs1T5LpZVrh2+0pqS138E7ivriCvR6AXAA/DzaTZyC2y9iWIhF9ThCxw1mrSj+hFr9ToK4OvoSOIIR73mh+Q6CKapO+MwA13sUdLMYCuG0pKjLkYz4rY9tZKOpGYErn8YWFJzGftk1ZJIOWMcASKsjmMmvKB0sec4ru51SewpVoEPYy+COl+1XmnDoQtcia4kYfiLeZOe/Dbo68YcAUMi/2ifwQWBxiKV/6g77ltKEc/gESrNZxklkzi+hCsweVBQyWpOZXhpWE2KWnhoLA8bcuhFyTblYLd2Yw1iCq4AdK9JQIOBW0nxovLWZALY738B+dZcxur9d1xtRg/zU9tW/f5U8h9dkULFSddtoxAM8u2cUkF3v7os8H5aHDBDAIX9u3/7r5SPCFGeZGx316d8kEBEBAa59o+UD+tEZqecGpTBP90FnvgQkomR1WRKiuTfjq0wilgSX0ZlqYJzzIHJqT4QLJsPc15c+NkAk7WNTOoAY1/oOnUk3utU02+gIoyzEysS50PktIfod5ueX0s+ILYWcodShWKFcWYYvPDH9v5RnBTBv4Umy3Vej25LeB1wPLETNwcWsVG31kpcmRbksul2zfMzeg+fbTrr7/zqxIk9HUDj8v9WPlQDFxo+GMct97gETCS01u/t67yZw6yFf142ZsFpY/jmAFlEQXg+JCc8VgVrEqkusd0rtZNDel5CL4GRvJmSqjoLhuvZrR0cKq5qBvgn+mlirv2hVMylmCSznFzGVbrlhY4rgUbl1bfqWonSBNl5JTqVm6HGOwsTTi+s8Zt/rQXeNillk+C/PCzuBJbCqR+h9khndgUQ/7bJlJvsDjHytybc1pouslwhBNgn5f4LHEg8EfcBBiWIsziCThC8cWZdpIDkzlEpgZy6lljkG4kvbq4oVQjFu7NGCoTXwz3OSWlM+Bkh5zLGL6YHb4FQD4kQCAAcx0wT8CEJY8uclNNKzsdhz6Igd+2AZpsl2XCTCqNe4jFnLBzd9FB8uiWD3PprbaYVShGv0y2kWaX5OV/KbhER77PqHoSZtpz1+l4SZrAa8XMcvcWP1+6HHrI14Q5m4Qb8qnQxvcX5hW+Fu+Qrckm8QhpNxr3ZKZ4xU5t8CqUs5POs8wv0GSWdxTLPQUsypLTyAz+MweGhqllcTZSwPJFHr5fE8NGnj4AAjB+0qJapr0XTgQHDjxCF8oWL/7HGh3TWYdoXJzdFVvPxyAqx+oYh6DIMWN0s/owW44qdQEqpWe4bYFrOZ2YO6iQFlHRPIWV6PqS1LJlkxLvJytxPi3vOZuXhn5XdMrf29CmJA3cuPRpG81MycQKAY8hBhOKRT2xRNO9s/D8SmkeLoyGjBrXefJR/PRccsnnEEjnt5Po1RYYU/UQOMdgtho1ne0XJj01/1nyELRUldFeL79iUA68yu+UH4TL6OYldDTd8WYnTPLPFHvMSe9q1Vu0Dc20dh6FhNmTwZ8FgWwafa4SEuQ5i7N+TdFqVssUxD5dzeA/PYrc4Z9UI+TEOeNpSNQoO5PqXACb85QsfqsjfuLOw2vbITdgDizKliwMIsLF6MAnMsWKb6/cJjjZCHri5Tj/mfP5oijy/VhY+q/EQio/HOF3kQFI2+qg8VTw8rti4RCfhc04jurgbSJZ1gm56S789l/a0Mh+ilhRL9LxRlOYTwyISyEQuIEMnOe/vGG1hkBuOY5DK01ymHtZ9FZHhfXhFaz7HQ2z3sIAc6X4bNTUnONrFVItAcZlMwLYsrak7cRLBJBeV4wMdkfQ3QCMSZIHE+1zNza7X8omX53kzKdXdhlC0icqnh47fQNkaIP/P3vA5EUUa17+eFjSZMGRepfoVOqIuByTumHJfui4BVYtiWVIhvtHagF2wpUcr4wMsWytiv7fpYvusEbJGOWeki45m77Xv35KixgkFClQMiiE7wrhIIfyC9uEVI7tAF+BQ415yS5FfF5TcqFCZZ3olz8ZkOyHfnW/EEiUxj0gULaO2ggbJLDZTW+QBIr/pQemcMVICy+/jxq16HIrQqE3N57Ov/VZNL2YtBr1S4yH32KsmDCG0UQnJ/SmWOPi2KubQtZ+RdWCRACvtHpdV1cVW+mxHAXqueMpF+texeyRq80yrRHnElN5b0TGA3FMbUV8eWaiDCFt5UJZGix9e2gMN+mNd1Y50d3hx7SnqfI90DX1DFCwGxa/ARyCHRFQ9KAZq1q17mfMa2hccZ9XmDyLf+nt6f3uUfFrRyNUUYbupj/DzE0HLcxA9/sF0LUnudBILNgwfNA5tPcFBAEU2c3x3I0amJStNf1HiRP3FKjF1oZcAUQoG1O2EQ9qQYhxXNre/fQRVEmqi1ONjbCyW9XhrxpGaJH7HoXu3ia4Q9nGHAz74cUCByqHzI80wBNJKULHAJJ20519VDX/77fMhLJZdibmHnvRGJRFOzyLb7iWXvDGDriVuKfBF+lQ8bnc6J9pr4vHRF14bUz09Xq2zY0ZEGyauNxfegugu2PC2+zno8dCIbHIsXEC090SaGCOTpBnuGcZ5JUuFvgOlfi8sf0epKGFhxuMziDJDhhM+GfTSN5bIH/x1akKjob2NzCI+SPYz46HQiTaelIgPaVOPdltD5eYoERbyevG+kgKUEbunPXu9yGr7vXWctlMLOzh0pU2kWGqwgHT6GAnkNh4Ho7lKp6IPUvxnmNtDDKX3IoK1jsVhpbXob/Yr5SL6X8NMkznHyVOTwBoeyMCwjnInQMr2Z5T3jbg3vauDnWgpUvQWFUfKHovB7uCDUMWqmu9GWwt6whWFibkyGzwMB66YBekdSVM1woA1NSckXKWrvSnk3FosgqJuXBSp23kjMZrY+cNtub9g1OQW9IIFrpwT0zdZOTP0q3PHqprkxX3qv8GQTVGmA4QwESVk4TLmubJO1HyF8TS98BhEFk8J/guj+KObufVg6zl2dzCdZPm/uun5c0lPI6cLeuuqpMHxgfz+b051sMS4Lp0PEq88/7FqPr7JifKIFoRUmWsYzLXoBii85i6lymFxCfYuzIcRTQnDW9NtFvEWG+8P527YVf2XVbh9l9BWTNyArjAzM32IumKhAemWbZQ4QC584BtytZyDHb+GgnCG91nm+MEV5Ey4GFQMJtZbxzF/iLffwJWtCB990tynELGZ6oI5nwcPP5Tcwd3+swm5SubBVI4S+GjO9dGSvyukwhf8BciAXfeEEEBIAIseoHE3Zs6VjAdSFJMpXGZO3KKQ3TB+Q9YyIt565+Ai60Hc5G59yanNTw/FfWHPBP7cRixFfo66n/jyfwRSNl60rTRBTijivJ0aS5PnpzMWacwjyV4fF16/puLzoC48VoX8zI3k8bALL2v4icUHLzz9KqOV4ZzMHp192vEP/7jMvT/H7v83ZBd/zRue7TSAq1Y6JouP1zQi+yR+nVJfqmxW1AWZozsjmd6+fKTCq1i42EGDmpB95dtg2ir9LFtdCau8uMcX3YB6dZUmuOxtYFvRpBA73GFvBiwDbp85HT6erK9fhFr65zRGDYOaBFqwu2gi3INIo3bqdz4f628XtYp+81ZYKXMKkZUU/ZbT+3qCAGxYvHFil1EGLoCz8hYfWqND/CADmuNfj6txfN1XMfHURtFcy3jDpJzIZcgl53St90bOeU40AaoFVEDv4L3/qykk7lbED1wKvXx1A/FKEsT8b1vYhpIbtwk9SJRRw11kFcXmn2XTBuQfmQC8+jGdHeJWgXOQ4aqeoYDu2+O2OLIyeFn6+C6iyi7B4YWsyRBBtYPhcA0GD4Qs6Ucp5tcoFfpINRfkbE4ESkm503yPkmj/khqvK+EIAuxJVuh9YbXACEcw/PtEYTcbOR42WQn3qIk8QE5eWPKPwewxnVQIzlC8gXeTqEFmJQ7Mw3f60DL4evXNDUYq1C3U75wf20mKWuXfKPvPCttm4VyrtTRQgDLQpCih/7LCJ8zpbyEUmdgf6BC6MtpZCG8eJ83shdcf/yTvlLKIF0CvIOFrrRhsktJVbAojZB0N4D3Z8cpIi45YHEA5x+F6xfroHzfp07Sn2OstUGsPwGeHqk2H5B3s9WjZ2ceWMLEBLf9j9bxsnf5UX9VBrF9RkXQT8jt7CgOFz0RuoNaPrKVFIEUYVWSgoht3iSmMCW1BPjIMCemRTvbwlBA0bQ0jxO5UbFooCMjkM669TiseW7cPOB3rhLMH/3lBujpC4pXaXFUwPf++zWENVRneOqOUNPr8lz9DkeKUuaPS3RSXOifrfdafUwVT40TaKORZZq6vSYqTB/ANL72FBSXO5DEkUxzFK8mReF3e/4PsGb1KrU7JtgScw6VkGYEW3MDTFOGMrO73MP8lFKIa26q5IGs8gmH74Chweo7D7YNV65RSXNXIoMuEgrzJPrEBXfM4Qk7+8jBtrb/++cPn+WTE9Xmbkp/uMWCgYd7KCDpBiNvW5lKtqDGzJKrWP2TxHtIwcGODdCtaVfwkebugg+v/RzZk5tCOPBmWfrYlNLsWESFCYfXt5h/jPVJ8N8xl3rHMWaff+ksxxN2Zrki55Dolhr+hXOCRKCw0NEeSmSZNJ0Ss2R2gQ0i66ma85GPu4N9Fjc6ys+yCpYOYE7e9nHMU4nEGJvTT58gyjs9iWnf0ztvIU+6KemM2UBad6tC2Mb6x/gzT4y8TmcgjsFfPwyYjRbAcVnppZG13PzHiA77w0BZv1J/Z+mEYBOXyv0cnUQ1ER9Quj/eBDVvpgNarabrsXF2wmiPxv3lDcOWoZlu+G1hAMQ5o1bDid37kJM20T6x8mR1y96tUhIa5ju9DUAzKOyu0SmiD4uHpav1oIc2iqvALh8fAXrctfEKnPBVrzxtVa+ajdPzFXAPiAcakzR3ZJQqwLgS/AFzI6BJvH6pDeC7VV6ETG/HnBmzChLFh/2qZ0ZCJeoTyCNrF59KIbCBceaqHShPoMsuOoAZrDCj3SzPVjSVueHeWinLn+7ElFH2IRR7O7A3QwsrleUjwGtfzbomzEvpevnG/byuaQzPI+Jaj3LYkwX2ngcoRiADOT7oPux+Q39A/hGt6Cgf1CYNhXhvH6h7hy7ZHGbBODAHRATFKPaDUJkKKQFXsqm5xo9cMNApdE3uel5Qg1x7cqfXwqUKYxQEfA08UWae73bULp2GQN8/tLY23hu2ZD6wCJ41eb5EwfBeL3fa/IUow0ErDsW73LhdK2tgCr7A29CTIlA58bZhJNUWsM4c+AdPQqy2zIqEj7ayJ+Mtu8DnHwukKpX7IMDj4N3maSqctXzx3o6pcXyHELNLFslSeeH/pbY9IZEvmutf/T/KXp4+Qv7wOyW7L7tAtMrblGW1X7lbIHxbxIjYKgPYuENV18a5HbLBmB4BKeWhjZ0RUjyuJjpSAIqpAa73TSZvwvOU1FmZM5+nGu0tWG2xdu0nmXHWUbeuOq1WTL5uS/Ex0ECKZY1Kc197HruNPICOXeFn+Gt+Jf0oqaQ5mHzaPPyQc/Px9NcQc5l7w5nrgE5eKMAKoOqitbpsKsAt2DeumGKWcaen7OiLtYtWy/TYGn6pu84P9vvYN7bG1Fqe0t4hgOXmeiO9DGnEovcC0rZjLO9c6MdS9EPLTVZ/qIj9pQTehnCxkI+oJUZ4/cTbCgJzBw/qYtafm5R9LlN3Y+CfuIWfY93Ot2ikTY8t++0+MmGIWiVlmd79mw0K0olMAxElcxqeCzbB2SfwxBFt6OPDRonVlc+/3Pne/4C65K6uXFAkkl5WO9UV/ZnIDcZQrf9o7nuIEDAw54iTOpCFh6pFBnSLnT9rLL48G+qbc8jnHkyUU0zd2UdP4R6bRMhWS0E1zY0uMhlr9w6CLuZ5oSKq+QkOAtpVSS51lKcx8ev6WWPQp03I1HdWrEqqYObTtRRsYiudhBIrxktJQKR6JWLDDjUR9xr5DLx/ErM46vrSJYPnUONiFx8D/9c16PZxMEey95KOgC1XkD5CfRshvX0gCl18hzlUbuAphA8xpbUzDIZNeo3y5Jm/Zk+vRzcVBMEzI3g02Akb8tDkKxIyI6R/ROEaeQeJsJLlDz5DNjYXo+wnM/dfuoSUMHuUR3rSqZNRqDVJBuQRfz1KFljdXfki5fZLYodcEugK7cliOcxl7w7x3tCOOlH6ObU8xHo10gUtOoX/T6vS9NEh1qOQYlf13hYDS5ErB3gsEr2cfKhgv7Ms5uQ5nKVuxB1+0qsJu33pluoM889iVR/pmkGE2a76/DDB/Npui7pllggVXbfVHUgKAV6LBVQlQ0/V+T7P8rINeLNGEqEiFmCH5QR7DvT5KSP8OXIf8W1jHGNfHxuNo75PRqsQVrpquaYdVVR9hhj8snxGlKtt2Q54jfJaVIsK7WUdVWCUVwFIO+1n5ChrE4sJCH6AOQWJh85i9UbNG+XUshGiKb9Ogxwa1GHyt1ktDWqRU/GsabXuHe3P8UQUYxdLm9v12cXTSacC9Y+ssBLaqRbwI/jHVtB9ne1J16sp9xvyFKBOjRuDrI1uQgQzLuibTf2gyrdgjOh1tm2EfWNzq6diOBTfFECZHpb5YuAT3njMeWIh1X6SyXrNuuG9EY1hVsj2lvXoXfBYqx4+UPwV+AWmYdpBTwQNxA/CKj5GVxjA5OUoV4hnYCr/R5tIkYG3xisba0fh8JN5+q4fUK/jOIsm0ti5gO/3eGtFkAL/CJzyF0tLR6PrqnjzAjPUy1P3oDSO9wI8bLXLeRuZBI9kXpv5lRkKKxwW2gpJSVG/ubOo83tk6I9T8waFabvgDYfIk+3C/EqZD9895kvKYCssf0Mxw3Lfwa5eHkbJdemAGGX1YHUud3lZM5kM3cTsNyujdnjy+QLxbcQh6Oz+bfbSbZ5gsPiXZ19oG35KR7y1i1eLWVFV6k7DK+5KcNJXmuRuBwEhm7/0/aIPFfBOvupKITd7GjU5lM0G07y2XGTrHJVvrz+/EJKWjkJ5aGssubKOScvOMqMNMsNTYAvUIZNQOxKkbFep3rb/MPcUfqpu7d/jYMu+FaE4c+jlEqz7KABHhbPcRoDLKQ/C1tFDc1r6+kBbALyT2+ritrU4RWgEDQl516+S6alCpfdJN9H++GvR1d2dcO5xCloGQzHzuQVL/4s5WV84ZeLUDmHt2KXlgLbaEL0vVxvFVevawkcaEOHmSh8yYqsjmzIEmGg/dcYthD+EnThdilKNvaDSWe1fqBrHznQMWazok3sSWV56axB90gIa7e3uCkmFy6LGufheNof2TRMLR3rV03v2Fj79gFzJ6xPfoMbuc14nqUFa3vCQQCzSwADoWtTm48qiilBbisdsxMtbyvYqEe9NfDFU1904XvCeUTasyIDxsyaYe3J2S0p7HfVtjePgcu9YOe0BEYj3I1ZOc/gwpA+4EQHdo6vdyTCLRkCI0T2XjnBQfIVNPpKiUjljOqEDT/cA+6AUE9K4K5MIz/7TgWSKr6FU2lxr1ZNT4ty3XS9/yoeJK0Iz5CTbnK0WlBcSr8eoXpGHuaSyWarzn/++e1Wcr5hOSTbTf8djMkIof2LarzTjpf2XLs77o8F+juJzVQjF/3sHvXTmnSrEFIAubgHjFzfsa6KYi43hS8U/bmuFVuYw/TMTneYYs/V9gNlegfcG2T/Gzo2tJLViEERQ51Q0Z1Ykt/tnB8z1TCFXcezyFNHcVTZJxEALF3D0JRWv40fzjTq4k12KTZVOo6Mn71QLQp+1lcMUXUeB5AgMHmaLNMmM2CPzKhis58QlCFCF9LeAntTptgFNWHLkTlgweM1dmVQ2hr9IkxR1J7wX4QXhzk3UikszoLIwFyL1LWNAAt8dBTQJ9/xRtDlAKuMxCs6KtpT1j9LD+4tBXo6FTWc+1coq3qrnO/wPsKrK/E+2IoA8LQOw+/dlSJI6UL+R+XW7LHul2PZes58Ipl+vB5ZwYMb2Apn4XscEgb1SCcJPMdin7BlFjFUGsQqUydA+fnMEDRqdGnCi8CHKmsqb9RQw1AaF8T/BvxGllyOEcTRggFdw61zxyMaG4gh2LcKVGOs0/4VEFiQzJPMmsV5TJpCS03oecLymqXgH0e17BJMYYzLZcjxEH3msEx1GntD9Zim71X+BMV3UbXy7137YMtih4ebZgwxppEtbv0KKrHj0KAwjxh03Eij4jek8FlgKUfTHIh5Sny8bmRh8mccmTD47tkwhDj6AtsKzrXLMhErFIbhakclFB4B23qR5sQWgR+1yyNA9jns08B/0yvQsVTaILRBgbHyk9b7FqxWXA7Nw45eg4EoAALRpodGI01siQPZSB+oYXotumKQrnVJJl6K6KVKRLWF+qa7XmvpyMgKI4Qv9WDtyUiHuuVd5Wk3AHbjExKHiG2BIQi+chnXXtkqfICY3kBXKPLjHa8cbeEgrv6jrKH5oYspo/sLFHWV/9JpiYGMwjqOsmqOYXcGlYbFzDY/VVHkbouc7hF13sLbMl76T7bLI/2p9Ly3iVfMD+ID5NWgma3/a3hkBuzkIRwrEV3sppp/CqzFpVTrYk12D27PmY/D1a9KY01+Q8kzQ82yLiQVPnkFJvQLKsQ6TLqj4rRRjcUIZy7xPYpav8Qg6dj+aElsWcobGQPibL6aecWB58EWeOnT4IbZutF6MMoSDGl81Qp71NW4eylW3P2RfspdSPn1P8Z9Gu0GttFq+HqvA11afGCHiJlvFESUURwf5nc7MzFcYjZnVHp/2FADmCLZeh+2QKsW1YXT2XKwUzbJyQdA80PNB0h6aroJV4ZPAl8JI+DrhqxILVvlAIMUSpCBOgcD1k/CdiPfNvoA66W7HMEbEuCAhT/2h8hSL1E531gFdM/2xc1P3LBVbUy4QIPXBB6MRrY3FIiBHv0WiPBDW1U+YsRITBQBkdw2pHly3HVuO1QTSapmTuks/U7fDwXXhajyjbNGXCFBhx0sNnRAiXnm1Ue9Nq6F/40/mTUMCsMalwRtMSzDIrvRuZZMymOlmG7N3JEUzVEypuqlyzAUr9gxwHZEN0+eKUoAGTrCZdmnSVojA3cTKwd1eDLJKYuUJDSWCMPsGXCyVfddcdLuoaov3XhDeiveGF9wCeogYTK738NLXY2JDvnIMepTBW6UZcEJW1JsC/taP7wtooxw09KyY2XNgQmjGBq8uQHQXfFHLD3fPv3EiQuTM9VhP5FayDUpw0ChiAxKcFjXlSX3InRTQki8hxX5NdkR8GKSIYktTQFoRX9BwRASdBHWRm3tCsIdZrlsMMn/pHe/wSs9UzPHVBXdM/tpPdTroJstnAUhiTB1tvgksvcdInsjR4eYwGNsLiERY0KpdsP8GwRA2DEX7K45L9gJGwtAaOigSlSwgnzu7acU0nssR62hpWA+qcGKmKD6Fe/qusy6+sIn8SzowJwwOE7g7PBmVQw9OfIwt/1muj25Q8HDI8xdjWWjEkia9kPiwJxKtQcTcRZpSx1gQwRdIsP3cyTkmRQk6Fz2GyiF80DEwGXoms4IfvNm4dkqtD4myKwsROUfs3SgFZTRyfW0r/rQBvy/lNzYhUXFir76tnr2VRff4gNcMJotAl9Ne4f3pWOen/S9ME89sPFI1fQP/GNdzgyDysagw2UijYBWKwtJAvaPvcPhE/5Mxf3+L3BGijMUXxk7qFpUF4qvUwr5pa/U7FDBTtJM0AgMIyAvq7cSZeP6KTp9Tmll/BSBMxDtXiyLiYhMS1nSNC+8csODL0xgz2tNMnPTamk9kHCxNGvS9foHvE8qtUyHZzvl5ZReVKTiZt9i6PerdUctk9nF9u5mnouqdHOfSK8zPlfX1FrE8IN0RViaq9yEQAJbyOSeKC5yX3/WII96Se30yVaQz04J9N5WjidGrx7+QZlBUTSGIkdwOFNOJPd9e0Iqby6lE0oVg6ITfvqGRbyWNpbw+i9wSEMzdO+Iv7Umy7zxiZvVs7xpzeLGK/jHWrIaokOcdof1GVBFxFU9doWL0qARzC1v+JYBDpIEMqw+jkwsjjEEpCyGVj91yB08yS/r6FyviTY9z5KI+RUDPXI+63OXFg44XpcwDa60ZSBStsE/VJcS0TB+WQ9FECtzcZ/K/gmEUHxJg0BlJpq6A0Wcq7k72+PKaMg/dLaW+gBW7syj5tEsjO3plT6vxTr5oOpg7ypu06A+bJgJiFmClov7FtkUfPt2uealDtFcqR8AbNN9zifuMF5GJB11lUmtAoc6QaanRaU/hTAcMzR1uNnGy2GxYuwCx1zEX3TMGHyRGJ48N+fa7YgLsBPffr4gg8n9TZVFgMx7xmdGwOV981MRpbsF2SMhcbHu5Athp3D91TdViU3qRFoH1HLNg9mp5IxLAcfcBi4tvB1PSZw5svLtUVX+6VlMRZ/qSSZAVCveaOFWfNt2MlCoS5OKuvsFU9Z9AaOAusZLeCl9Lq6Ey4Y+tQCn/q/pA13dHZ+H+a714/20kMSsW52I6gh1FkziNYcaLc8WWtJZLo5KZik3+cxBZ/73Wymn/RT9FGjFG0wkuh0Y3kOrGwae2S7TkNmX55SfhEIpyMj91vjNs889IUMHIbyF1aff+yZ9UHlg5SmOjkRjV6ZcBClU6AznCov975CfgSD4Qlgvo7PW0VaeTs6nJYLGhbhoGbWPeiJkvafdaHPTNWARibYDl/aRAxzoUCs4Bsqtx8lw9YclQYUZ8HQyxDAZu8f0Grn5jkBLPMKWkhtihbI6oDx7+adOcdDapqqb0p9V3KT4GgUNWaBzvWra31vBtaSi0bF+gTPhm34xBpP0JPdISV0bDcGJ/v+JB7mdpceaURTTzhRmARuTJulEfXa7LIGTeq6Fx1Zd8P6VJSScy9ElZIGe23Kz3WYKP5cXgq7qwx7lW6BJsphaLpL+Pm2DJBEcn+Y7NlWl6Utp+h8z8z2373R38IJGG3ocS7G3MFtiBXAlidf+Z515n+o8ZIlAXH3vqS6LUpmNMwQ4CSdIbDU7N4WdE6Ar7fSlpUX4dXChha7FcDN7CLf9mwad/4RmD0zR+AI6jA7zSSqhlXCmTMnZJ8ydlfP7gsp7VL8eTzBkxiFo+oGJKRlnG/+RHqymWKM1rj4Xakl7ahc6Y6WWxuP97qBLQHlZjL5n4Sz8M5RJxGB2XKaMq344/lsXBKJA0JwyCOmI6Guoo9pKRYcXS3tsv4JFLo2AYrQeJEz8N4Nr7KvsvVXhybm1VC/VQbFseDAg4zMy9FaiyAB2DhiXjQxjLRrAabUM8GSqVHwVf2WjKtqM9Q2vZDH7okmM8BgCDRqSz4uMp0qzQY2oClI/imow5mcGIB7ZN/RPHKJ9P5VnH15RzzXVu+bCcnCEh1+drXszozJKxnc0n7VR2OwW4Ylft1XM44vyUoXJsNYNoDKF2E/kW99kShc6Z5u4XvivBXFWohAcC8/bWOFjM68NgHbqzYJr+wLidnjDNeYZ5APUngO8BLNjbSoATXZPG/LSPib92FiRUVk9GhROPZn7cOIDY0l2Jhi+bbWfG0Ct4c7DbcFIRRSZHSg2WLRy18yq1Cf65nNJIZNUr3UK/eA+AC5NGfR9uQrBhCMSDEBueOwllBAjc0qeTvTztduOyxAozAVprrHhK+rGw1fKH6U8gwk/ZLcNZQBv62SEQUneYuLEwbemMb8n2bfhIWk0r/iMkUlhWyhWvLSqyopZx9lhAVh8N3ILFdO+KldLns8g8906hQYx2zOUgxPJHzUHHWWB7wWoiD8zXHZFjWNZ1XshBKQeb4nMnASzr90Vvgu49F8eTqNXTMKr89DcyOoBskSpxHqMLGUVpcHTrhMmKHAzIicXoYhkX+8gPrzt+ZrQxkOraSVR5M1xjJJ0VRqg/T7nJMq/u8Wj/OSxOcHpGZgBU2dYMot4nkc2bpoWy2hS0dnsEjPb5m3gKjJPygTxXo3aOldEnMT8jR6d5cgKewFZbJsXvMAOP7clC+EuBMfFIqQRWubyHUGdc79dSWn78U/pmHxzMwu8cnY0PyhPMfINCghTXlJ4z46mdSiL73sx0GUhDTui+5UhgIBgxONMFvlcSeAtgf8IizkmK35DjL9nPHCw5p0RowWk9Tcy9snYOjdW4Swym6ug/dWEAIWZBkahtPn981quXDmEzz3iybQ5JGER1j/poQfeUTebJOFZDMMsnJ0scFlikXOGC0U0mWDZA6MPRA8MqP7yDtVZF/Sp99uDM07ltlB3h9SkT4eK3BPASIfXuBiEOwHTxQAd6wdAJQQg8n7K/Tpoy25hvncpX1Uq8uNt6Q09mNItZfTfvbBJmEyJ/YRqaCP91tsSLTiVdX7vHPQxWqnMXaiOiqF7wCh2QDiAwnToYW+xmi4/Fso55wqF8ePb6O91Im22TemoSAG3U8o/wpXXYgDeo1u9Bnp8osFs/D2QFDF+W9t5auC3wzf+aqeEC9Rl9bVEeWlF+XINurOHm2haayE4dAeA1gl3mIsq0Idr0q0otPfSDjiRw+oQq3V326t44XsV7Ec0J43zkqS10PQmEdAs5Zk3oPj6gR4OcsPUWNfrssjpK9HzuIerg38L7oMcoXQ6m4MQVFEvUn7faE3hT+BjPMVp1psf1l+/njdiFKV2ucj9V7xg2vlqv2czQbQWI4WjOZ3QSB5SassEFtY9KRql7trX+7D1wv9KJNi7PplcI4j+kGf2PjTOT9tlcD8FpALR+78pBpnNGC9v5xmGU/XDGJiWOvMGlvUtTbiNWtzhRlv0ixobOsZk4B1qocAOarWK+ZluKiR28E1d2EtvgBtfWjnTp+q+t3eEjk0h8CHywbPtv+6qW2/ZnJLLr3ULWMEvOLIwR5/KZXu2e9COi7rgyHPNrWMYZm4rz6Q432ypwvqeGsSk47A9dy1vXI+zpK1REbK49e92OStWTJnDBFLJKbLqdBgzcXTxmj3cpz2FYYk7VoSr89rYLTCXRASlk4QqA+m9BMMBy0TesL9B/evjFKwNKLllC8RcSm1EhY3MMU9+mX4BEL/Ywr7tyNdB1iEOgk/EQILQFevkXaQkR/7Q9i8RG2bcxOjCb0pk+VhfGCnACs1G75cdYqXHg+5FyEeyWE6Yws+tbYHbTJ6ntDadrTXfnOcoAcuPeqk4c5a++hK4lzoalLj+ffQ40rTTMyHkXcTpNuBKHeWhfCWtDTFKSOlV+dZcydW6/0/VuWw3KaY3DGlRY5nnmD7+i4KY3Al34sVM/PE8HvN7zFyY2ul3Fphs3MvnuaFnh8EUgB61xvo+mbWvT+gYIpawGyX8gf4tRCvApOXaCx+q+LQN4A7YCzSynnYdLHck8VnJDjDbcnrSszeZm6sySHvOn4kUnVeikSNdJHfZ/sLABiXGEdyvaL4MZG4sUFxkcqJ6juB2y4PFMhCQyKMXVJeK95ImLXOxY/qIUzHAzie0AJFihb5UniNs8nJ+D9FS94tqwp7RmWZGilS/c8aNI2l807mN1QnbT9o71SvMHJ5RLdQG2rJxtAo3XhhuKIrSABezyFcnKXgN4K5Juxflcy7s8wYgpT4E3yHbdEQmCQlKfK02pk+/0MXw6TtKXq9U7RvJfhqIAwQNVW/SkXIJVfDgKcYnKpDkq5W7xLicO7pcG2oWaZAaplXFvnp3lF9bElbC7oPQjXrbXnsQSt6yyasSRY9YBb9O25BRpjiqo2lEYaMwPnv3r4YiON/941xeagOJ4VuOR2Mo21zTzLKG8nz6hlmfUsEsuUYdlo38nioGoA7NKOZHNIJtXbSdXh00B72rHoHPzCPEjiVYzytFpPwSM0NVto7srY77MlBobL5PyMFIArXS4ldKv++sFWKfMcNaC0bNNa8RcP6dGCvRokzMF3rQ6dyTQfqjPf54wGJAR/JGr6UVRllC8vSSuWlTzolbRl8ogPpfzeWT5W8LnXgqTxjKo1dXlSp6QdPTdSZ+7hpXcrbZorFdpNA73rUkhtINRsZT7dpzxNw6SOdA+MWkTbf9kb2djfCYcJBeV4EX22UgvvfWEwHg+EQtTRPmVVMNn9FB0CGAj2XNA1FRT/nRr6JU5yQNmbDJRKwxk0bap+V0yJLHip6nn7UQ1DepzZrBZukRaj6AAZbjrDgs5SsUY2tXVhvDX0s/ooea3XhsDo+slCV/VcGHWSYwXLeNOZ/5djI09S/AREQqYdJ5Mxz4JhQU4VUc0XYAuiQhi36U60q9CvXfqeQi/CdKhJdhXsSdDEORaJhbxylIqk7VLyP/Bn/QL+AQKCMDFMNNY7ngtcqI/HbtXFNuu0WlOGEp436OH0uwv6spg/nsOImvPBkdcjO3azTUJHzq+roHafUregNH2vGwt/pr/5XriRniCxrQqxB+P0xcXQyEl46YgoRkb9RvPoQGfyd1J3lwSq3qNcaf4tMcRngjW7KJCVPwb2dFX5qehLxOlvn7Q5T8MDHZ7S/FxHAH3TR0nJ4k4iBVSC+Y5/+KOHNsVbFYRHEWTF0xJCERNMFAe+ZLmPPArYNGCuaBNF28NshZuT8o4H3LHZ6XTrIykeqlkGzGQmGQGbK+IoLMjubo7aE27YG4rv+kVAez8Tl/VP25azywKySBTxJX1OelhkCgP2EY1OenqBWQkOiaru7wUk29kG1d/m6zfdb7mpXqF1GkkQNDL19DXXbzaZx8yoCdgYkrVMjFwdrzbEHVj6qPCACvolsJJoQ19qFG0w4uIreJR5bTb8KaX2350EoaZ4usiSOK+JOKHJFHWyfr3NtjwB9AUHsDRWhZaotuD8c76O2wF+VeXfYcWlcEkKgxn2V8hgcDlATddjegU9/bxkXA1UgUI/uinWnyK5rHCg4xE35rj4JukxweZJgorYmdeQp4ujKJe8qYdEVrZfc3gcgG0xDUFfgSKJnSjpLY6RZeCzNmCQRyk9bIwVPNhA7eTOXC8Lyv3hkolDEgPtvZg24Kv3oPXGHjVXg60x4iw8GwfnME/VKIMJ+aMSzyEuBojYwbNcLMU0IBvTtUy5a19lk+BNPvQu3/38z78PkbHnqsqFo96PhHa3v72KTGP3g3TPvSduA/eaIPmV88PBH7f0x0cRom2m+nHBAASNln/tU+FFhSaEJL5U7e2C85iWWKmCx5+z6U9pfqeTV0iaB9Ihm9U2P/w8HzyImIqyZHT8FXx0oskK4l/AOEq19Uj9q2GfEp+cE4DQw4+8/4ILBYl2X9fotxCQpFlx97kZ/p+F5wArQfkMLnTvb7WLSGTCIF3O24HC21iSB4vhNXZc+NTZuGq+f9jMRhp/QQd0GTFMLE6l2jbzvIawBUDMqZZ7mG4jbqESyIlXOZuRuStG4RHPhxjbT/0TQYz3dapZ5wuRG6dEqwiLNOfWnBqcPpjsY5kXc6Rj4+yaJWRDOsw6v3YXQLT/9x6xL5kmRAReggkN71SrfATVTta3Xv33WDVT2AGocDsyt5TNKznI2WbuJHt1+1fEhw30NV5cTQFTPXN3+0i0JaUi9mUA34seEHUoorJJOJpC+JcQZ60a0ZeDIB05FqGRImLvzC2uYaopNEYhLkhrU7CbNqHfb3qNAgurHyZlA8ga5xakicO7IvvnSMIvwsW2RsydFKu5fiezXp7gGIxAz/zYZP9X85KKO7eD+3tMOLWsPEOHFT7i0+6pTkn2JFa9rScngNoP/zNaoy4I7HA3zs8p+D4yJGmclZrEVUfZzSZsufNRbpQfsDBBzOQyX5YR7AhPZQjyLr+pbcBwNUDQTa17bJ5nish4pRorO8MGK+DRw/mhr/52GfjtySkyqNGqqmrL4PW6/Eq8x22yS8MZie4kwpLqn3ZggElHj+rmN6Gm84TifhX2yBmZeHpKBej1wE/AXprRBge4Gbvy1cbvLRyGhlpeEbg8vR/cNk4yqBS82XS6PL0oJgfZEWLCEsoa7XVc/GUgDykipHwIsMOdTBqKiSp7WPAjwkMIitiFhK+iAwOr6GtJiPr9lcVI0oM7sMtQPHeelqC/vIHpvYdSuKCsviQVZB6EYjFd5PHuxo2i+6q2ig74BfsYOtrIX09gqKXbAVNlK8P0wnsftCBR6otRx5jInZJr+M/+QCLlUzVf4dAlmsGe3VSPwbLOS/hTrZhxiXdLnVP1UfSQbGKh4Si8mY7Cc0EGi6fqXyOXEkCgN7mbImlBgZwnFKHETw6cwhmQUbXBdOX6TQHJE8Q19DvZ/5ImB6f7UYqcRK1cYJQfmPv1wNRY2OaZcYygPBvkrjvEbg2o2ibgC8uLZg+cNqSkDYNX4G011XTsjPmYMRcQB+jkH3aGbXf3AaAfu+h8BfJXAA10cSG+x5/mXhlYQtkavkgC6YCmu6pAHnfnGkTeUq8F1hyS3o4A+6HHd/XsrV1p2KGRH72lfaWI9Tp0yBp1esKl7ORgIC6CloEKadTv4VNtcydFrVJFWmoacuejY6lBeCo5Wq0rF8rpUkikZg/wUWvljq07f50NtpPqmWMQDTMSULS7dtPWT2QRtbOXwXgABatqT+d4My3/6/U8pigEk8GUmxAl49lWeQpSzUmrGvUQXDzvV7Z0xrUG5N43sD0LDUdtK+nlbUOfmLCzu8HV8IevT++9HvKRilAorqFLtPc/6431Wqwkk751XbmSo5sykP6Bb4ydAoX0Qqf50vtndpVMj/Xi8/x2P1VsJNRU6qO8+g1jgJg0DTAea/EOdVKebILD+n6cIKuoxlzdq65WHNzVJheO7Jq6ReMT7uiCORYjxb85zl7PqzpFCt5BW944FmexZ2LQyUm2XN2uX1osNRCAg/YIi0MIZRIX+1jIwEEpJ0jPEbZ1uDlsS7sc9gZSFEqI67p2+0kfrFkHumyQ/r8whbjRazTSl5TcU88DesxIuKJ27MvRlpJvVDdUGUgOu+h3e1HwdkLY4HglZ6OcTCSe08RH7yX1JNn10+qlFcFco0HMfMmrEoHHMpJw3p1TbsfLJaAmKB+Ym30gqVzhkrOsaGRErzRd5nzMOV5uHMbvH4IdK4NU4eiIRp9JRjWPGJbvAkPLL2mnMf6Loea4w1y2lSiL6RLySjMiWdfN34RM9cEUWxkpaPLOlO8dfhAch8vjXCk3D/3xGb8zw32+XXvoiqYmkeaUJLAj2O7VOfJeEoCu0pUKWOoisZk6wEqEHYuW8wnZ1tBEBEJMuQmePKVlIuhVrLUYIMGjlEbMD3JKaoao7vmzJXZskj4emsA3lYA1y71n/mnrcs1Ky3JaFRmWt9SwCXYmzdxFyKPFnx0u6yecGoWBRjM6tm0kEKen9JN4x/CCDYfVk9GFOOVygTWaaps/+4XpYL10a21bd3H9g4M0VfkZKIwkZEc90Maftl3ax465hcCymqM/VqScJaGn2xQGaM3RiBixkIp9dKy1QY5Tvxk9ouHx3AXRXwJN6NFnB8d6O7gQCZpmZ0SXJ0Zlj98kazbLU1R6nN59LWlGyYUmlrWsYNMnd0VbC8YcNNIBRxTe9RFIdJ7O/tzDA4xAXdK3vGKVrmvh0LgKMmbvy2PWaip4lDnttxSo6geVFUD3yUQCO3e6b3qOyPDBDSXZX9RcCbd7RpfXu+Ur3MK5NpGYpQEyB9/T6Bm7bevFT9eVbHIvcvwuVoGkdKhCgvSLw2sT5nmgHSJOEMstFY/k7Vrphg1KweazlgNhtSkSWbwUFBEf+HB0VNZIP8QjebhO5fgfgXHbGzJahb2ubs6R0Qf4iYclspjh50QufwSLN0BSd1i0CnSVK1/oJz0zvHnwmBJvImv8/+MBUBjDjqWJB2n8nJWhDAFGyTExtZjl1NzakYfTG32ECuO80BX69NBV8tgd6qrhijiS/T65DaxwYWyOydac4Oh+nqa9TfHrpDPTQNroXyycAUxhzjZ2UIC+terQxNNNicDaxiAEGeRzmZ+HlP1ZzIutMUZwPTdg9Js33I4ZPANOk8FRyK9s8X6lKrX6w1ES49//X85AMlCBq68Gb+TS/OwukLV2tuI9FZIP96sDO8zTW+d1jb5HcVl85N7Xfjx57oBgP3hI1Pegg+xKa95wM8ppFBLERtWmjtONLsu/P3Ay8tFiEqoTzgqPWRCj0+7mb3JcR56FZ/UfHVSXvRzVYZmKyT+r8NEm+EMIeSUDfpjwk0/qySQcdRviXxNDz51CKD/dNBS/iQsffQRygosxNQU4ijFlV/KoSeQ2TMa5rnHvXt2GzGK1BsifkUQR8Aqht4Aj0QDPIH+JizqrX5Kc5H+WbcZUIkNW5U3l8dotmv14gu/yBjnwhlijX3GZziQhDnx/garV4fZpFD14rzSBJ23hpoWaNWI2FHQYXspMOl4YxoEz3EnZVkgb0IXieqlqBCQcTcS9j6V8Ra5NLb/VM6mT2D669QYNnJ0BFHAwG2N0L2JDADUjM+U+Cwq53aDw8QAR+BlVN5gRmYpGcVENW/RnBYJVb9kHYbKLjPZQB5azwbZYf0dpH2ta9X3OzoRrvGlro5KhW4X8uHv5ini4vxJJUnvlSWQxS4ahExlJRkYRQySUzQUGGx6qdzEW+sbwppUqzuEl1dKr6ReqKr6a6jlUr9F3te3iSuT6BN19hSDjpA4f2X46JTvIRh9P+m8o5I51b7XaFEXcHe7dS00sTx2vXKxG2PCDk8epEZWWiuqs1PesK1pfax09ImdjLQs5jhiWue3KBl1QCSGHXbi1h7vRMQKRVc2fwHJJiBaWrPhLl4RW29cIiaEz5wLIJAMyx648Iw8cdxLaxVBwlTnAphm37ftdEhZGaRIEMJGgT7RIznNg0WhTIo5SCj61A9EsXGTwcQW/4vyo5d5jhtofRBHT5gLNou0okoAaveZt/vje7hRl0bzfOzsSdfKHPx1bzmrI3ba1I5Ch7hNP4QFPLtaZJgZQRUBgwEjURBrF+jx4AWG52mCzw2eyRB5oIDqimb5CXGUHNln48tmD/vfYM8Eebq0ZU5LhYp5WMoONVUvyVnwEey51CHAnt2PB0/HkHH6MmwO80VBEalbe4kT/sNTVUJ2XaagmyLLNr/KLFHZ6QDRa3iGsOACWN2aL4uDnitdx3aRazx3DCMnXRHZ2HtV9D9vDL0/rSUtoasTEA1fclbEWSuf8eMUsHsNdRGMkZ90sCp+kfSUdJKoh0Ap3mEbaOiscHwcpwWzC5Ca7sW1Ckp3AdTQTHiaPhfTQRtP3VsztKwZxLc5n4nlNGVlFNgN1RkU00YnyaIhX85NRWyuZzwQZx83svvCVcn3M5qXQdpEHCMaakmHGp3yt2rDJWqOfAKpmD2qJI2bAwqlPvpVVSl448kao+08WjwuLs5R7uaOU6UuxEtC4fdgQlen9mtAsuL1Uz4//DlCVs8MnmzTv3Q2TsFbSZfkJ0lqpxih5ep5o7107x+o07MsEiMZDTHJ3/heiCG1VbeVyToLv1LS4ev2fY1K74/p7XEu/F0CKSSO5pC7C20f2p+8aX8fnAwVn0pairdNA2lPOaHbxdFEv3d+jSEJaHCyGE1wWFWDmdVU4ZHImxWTuSFGfHP/GbAtaq6Pks/yu7Y3h/++Jk1hFfjrEpB2m92iQwMlk7BS29GOdARV93fU8TpKa2NYl/UYwFvPkWOXEgZNqIoABu6ODo2GiwAYJyBGf1mVOY6bnLwELXVUDBF3CS577ykNtwVTNScFhqPneCWje54bBsBiqyJl99RO7j8HmVQ2TGSM5u1pvwgndTkOlwSxSsxi8j+ziw2q5vGT8aFSELQPqVT6EAYxYX/rkg9lupFLVXHdW0eoXBNNaph5MP55t6ptJdFHUVo7R252PkXZFn9ZVK7jSus/Px3fM2JEVlIj7xWiXsEhh/Zz9Pl060HGj1BOzPF7gRFXUHcn73P43yn3xMjphkernGuOd3n7dIjrGsikbf7F8p/r+15hKj6XDU5luG3ZpVM00J6QDibVFno+jNyFLt8bh8I+enZSzNI9KbY7O52ItiRxLckqlqSOZEUZfiONoTVhhsoSm/mC4XgDWdYFV3h2/y2Lfir0Px2fQXnXeocGWLP4+ZojiCRhf2BnYQHSUWMCVQ5qbeVbEWXMY5QbHO3nRAaCbKq7QhvMh/kiOX4JVe3fy3XQwDOUE+heNXIpY3QTEQSjBwI6mfJBS322EtOgKHpVJepo3FNoeghfUTDeC6tJKuVy7YqCE6IRCrhBMWWnCyELJXV95T58uiBvJIrO7ovbgXRIjs/JBL5C4SOKgMyJOmp6zwDMECJkSFLo06KkTzDv15aNjGl1sx4AXhg7SIOyyufoVZI5YxzhCr1mdWm9C9Jc8RfGSeDXveG2kVeTLkAf7x2MudTpZTj15WKn1Y+8iiwM1uSU9bIqeTyXGgGmeiC0tndM+aIJyrCDhIna/mQmDfgdJHvYqzilw7ACMrTsg6omzgTNhwfuXIPWuo/JhWJuXKy3+MeC20IEhntC1P7ebjG/6x0VVXIe9UzYtFkyGK2iYte89x8YQ3PCUaQF15qX4sh1ZZ3d/ZA2l3cPAoGQ2uRG9aM6EqanVeZAtVMchsJcy0wW1gD1N8rVAk+KNHDbRqIiy/w9x0bxWg+kpJsk75AVkmeQ2nTdxbS0Po5YusA5zSTt0HUEqXNwRMg3eWiXGtDRIBbCpGBo+36Z6DqJTZpZQc+nNHVQ6GTPNIuzJIxqPdNgoYqyz45dk1Hkd3JI8GX51p1zzrILMEZ/raKn5BREVc3f7IRARz/MZZLQu5CBuKcYhLvuPf5NHZYaZQeh/In22C+nNsDRP9+y3C5NhaENGRa2gv/RcuFcbNHIV3XD8W9PKYbgJd3osU5VaaOMjdcMGRKiFcOrZIkWPaDhzxtTyseDX/ZOlaXuAiZscVH1qSBp1vQr3JqRGAY+3RYzfmQT57MoUjDB9C9JvOO5xf73WLStBT2aWAfDkrnSb2kAwcav7OwHD9sSsr9tdehPETFalx9U5lTZMQu3AdKHG1pg4NeOgrMqzBWosRrtwPlANxcqchxtn7OoLlSpALUWPFFG1AHawbTuXVCY0fCb2ImrRUgGgJQegiOy8d5uukRmqusExShYY0lxMLH3wqi5TpCUTzgL9jZLvMxXaZXEDVep1FsLnIUfIVGK/U/pocqUfMZ6MnYceePVxomzR5xCuyR53BzQKX+PlyApe39BWF3wEaXEzFpv9HNkLUDqEFWR+pAn0Dm6TPlVEj44JgoGtBYBMbVdr2/ZaCSQorL/fxiklyUjH6KA5x0wWFIfIOOxuBU2AH2+Utg2eXZN3hRBBwxr4bUsOThPwLoKMO2FmVsk1ODv3THxZGuXUsaxR2/O1GVw5w/u4BkUJ0StO6AynAHBOqoduZsKrjgLxMpcMhI8VEmzzjA/+ugbArJGmqlg9F6rpLa8mnPAtz5EQ8pUCcwntqrpoxAlq+srpHo1br5c/NohtF/SMEUBPWyQu6foIC7aOq5vDfOUteD/nz0YRwZ29FGlktSEOTXb3x2TOMT8zXl2ATCq7DdfykizAG8B4q6KmKIE88t0yEw8VskYfPEK9cUGvv8yHe7yyzrvSoz+Ff5fVd+6vh+bCVz97XuiZc0V4ITBmYKhwcJAlmiDQEcuSFr0F65i/Vaz4DWwLVcOWoUfPvhCUlWEDomo01jHJsGsHiG2rKCutYfis8bMoH34rRBy/jE1lhPdlikdtFWWmEJ7+lkrSNUG9lcgOrw4FOJRMhbbHGnBRcuDZJ+Kof2K374s+AwSGpMBq4uucIj+bQUji8NT4rwEYJONSmLbL7qm4qxt4wBMn1Re6GAl2JZIyNzKEiV6VFGY120HzJ4zP/lUPtbVRJyNh2t9Py88WzCmHzLUy9xZag4qsCduxBaszU5Lyx88x5BdlmmTBswpZkuYCcUiVuWuIX1Fi8KS5JTsSmm/83K/TzAGIDYNRim9DsfRl0klr9swgaGgR1r5Xrgemym+OXF2kkiOHvefiDevS4TcldRIJhWxYHwA1eAlf1LyGicM2M0V8iAtJRQHySeF+j416OTpfHhveJsl9ogZfkWmBJnV+D2j2z7ni+r78azOGbLDVCRBr8Rq0b+kAqaNkmUTq5W5BK+nBdIMPfAlWh5VDOHKMKQwm8qOG/f5zUkSapPI8Eak9pS28k1N9FBxSOammf8M3tktn2HjGVCFhp2GQXg4QJ6DSpKKebdxqC1CzDQSLzn1ywHD4hpGdPMC34d8B4elnIH9N5rDclaETxTrWLXCMiXXEeWRldukrZBJ7wO9G3WYt+zzm9EkGZ+v5IUpZe2CFWPkGENV1U6C1zBYMVPNs2GvgDFPQIdhhbOg8Oo/Z68gpIZ1JqdM0eJ2iyPzAB1zcaSvqdesrp+3qBYcFvn6O7YxeGpscc5OJNAYoEH8wWFiiwmgxklJr+xzC4/99Fs/NlPPGMe46eq+Y1q0t4XMrtH4arakKRtgQW3mseeP//jADhupiIZO3h1YsirWsXXKd+UZafNu7Z/gSiSLrNG7OxI4bEdKFCEHNAt5P2EhlBPODprlfmclzQVQ0/MhGSW4RM6y2zDnemvP9RnbruyQZpCW95Z7xwjjG4L1LLCT7V0YzZV7io6DINQDr/UKNASwHF3u/yoKnw8Dck9Vuaakj/y4K96AqOd+wkWfgBmj2567uM0mDiWbdpePJvKGunz3W9lvDqoy9qBY3Nr60AHMoYsetNQAe++oQ0BPDV1ig0mXsAVndeyTH/MDA0Fu1jWO2u746BxAJfUGSJlH+rYfDR6ui0d0JuOTeyZf+X8dQwLhvsW2TOPJ7EDv0xKgc7Wa8hvNgwLYHDRmogV5+zwzdd5R9cTtJLB3ARF/hn5OhEbQhjY1LeaGPsWxn73rIdNAvmy+Xt+qStt8Wi+kEGXu9FsY/wLOO6mvm8vqX3W0BQ+6pKe6HlOox6wxvZZ5fgRnL8hoLwONwuycP0gIzroQ5VkMh2J6kF/5R2JcIuVi/oWNbYgz/tpaWGnQZ8OO0ZTDsPY16k4dRfhHNkz8ViHIOUgQtQGX8bIFocvGUJnZO2Ehr+VQlJ5e8vmsvzVKmHT3KLBCmJJATmuRcuqEjQTCF2nvfZ4Ea2wNV0ljVWSIPVpi/qX+ci/uaP6WRP/3vvqGGUM6gwFKZkcXjV3MrzL876FI34i5kRzK1csVnWMr0GxbMVZnWxKTfZ9Q/uJT79nqrnwSbtV8T+4fsgu/GS+Dv1lTF+zcuOEhRc54Wq8K1wP36evzTqs9mBh/X1CPCZV9ThsMSUyjTQmCncX86l1hv8RQqD8jehuRkBfmrM+blzqvELuTjIuyCwu1l0TUPY86/vXY5OSKPaXIiVOYOz+KdfbYI2OYa8OmqwvOQ45WEWyAuNXOZf5JQHUcbHp/3E0d5ubP50NtCEAE6M+Pwwt2Cznq+q1NsPj3ATi8zPvOaGQsFUon+hmFk+y192E9ZiMS5/cGznwGEkp9DmHlr6zSOzLhhzbp7Ammi9A2pnA1/EHvmuIxwxijRPEfM5x4LKq4eu/vR39KZUYH0Afxte6ZUU8LKeyoNjmUpX00QoROdbVkKsM8FDmAY8cSp+eC1+ECVvY8d71HigH6i4ogKMfd0JXRuoBpElbk2w2E0g3xjwfgPOw75r+tVZBOy6zXa5k7m8BRQ1LdM65PGo6zEXCL1RFb+02UKxDmK7BwA2kj3LR5B5V4U+xBQ0+wXI2V/IiKtV7/ZcGsXOKCBO57wBz+AWN0q3gDv0xLL/FsQ9HJF/LGs8yWQi23kXL3c/bi97AYpqaCe4GVyCu+9leF8ilCmsZlWowpoeG31tFOKVGGzqZ0z4NL+HIpgC3SRwzBCeDYirfyfSUweVSBtKgB3sl4EY8Bhv+Wro140SYCw9sDli4kYCl+08mRNutmkOxltSV+AApdKB4K0SMFd0wMVabAhzfx+KmnNbn0IFAaFGy6Ck6XtX6IDqx2Rnb6hEiMiDUrNj/dT5jRfCBzOuNfEJtZ9lvVpdlBZA/v2xlIoQaC038KV3wsXiasR2rYoIfiLMw8hykgm9sfO9fqdbeUSJ9zIDO9LXeu4nPw9mU2JV1V0G22JSGnZysnvo6FdnhuwvGPDPWEIX2ubW6jGD0tESjQIBBDIJnFmoFmubV+ziRSgfeirMPebakmgwe9h+Pt/WfK97ONtmwMCjlZZBHl16nKCZ5mlXMg8p5ih205q5nPDJRwg5JVKyvTGiAsO4/zyiajhOHYbeNSnANlzulgcVHMolsn97gPVR2hLx6Rpj8IS0U3BZ8BMxWVEA0eEC1qMwxz3z2niVNKU5CBG5Gxgo7eFXjCNI5z+viPIjclFg9QBpf2RzStpvtCyZ9WRPwSycp9Q7f45ABM80tbLUpDfMjxD/T1JWn3N61tuAO3vB9inIohW8v7MP8r4dqpdZqkt2S3Jp8GXRXP8BlX2g2RkfT9hZNpPNkpobmX7TlHVkXxrV/XjDO9lzE3fEu7f7O3QsdQ/dlkq6ueLy+IGI18dlUsGV+Qp4K2HwqpUeMfpJBq1kPevSEgEQj3HYlLjd9iMPGHwpY+ZcKPLm3wiYcakA8HQPi684TFFnhGSe86AzjVgjRV4Vn+jKZmhnoIpkIzhD5vpcA/cU/OMZ4vfyW4/0GPD/DgNYZwPC+Ck5mFUHzmleo7GK7eZ/GIur4PrfhfvGCxzblVeloMhDTFNb2E8gO8kjUOnpg44z1wLNd8MTU14Y6zbiJiBu0uK1B7X3HFJ3bKCIU5ye4Kgl2bG/ukeg0v2pKRVRTfg413lS6Byor0eBPG8iTsTve9pMlQqMLAlORCVHmKha9AiNAAhBbxeWNQpEIC0NMdHzx+eUAb2tjM85I6l2pNlsWfvCWQJvUA3vKk0DyodzwTiz6CEmIsmfpcre2t30nZdbR46jZ0VPMd1i+pLknytMU/MaDDAgaN0oYBEAPrYXWQn5pwigkBtj05et9WTqfgW7AJYMtJCsYnVhrzFZFWmKPIMKRn3IICdywv6wXNAdEad+NKKRb6cfQscxEd1Ge7fZD8g3uEROJZQTLZYBJmjBserD0E2cVcFdcbz3PRzRrNGfd1KgdUF8gt+WRa3+i5K1Dx2N+Xwg37/Dkd2AgL5rRkwY2a/Q1CCaVMMMZiREIalCkf0uz6NadkYEg1ZJSXH1eMqWszeNJktGuzTY5sRn1yCWI3p1VeRsxNleN1P4Jo6U4eJFFyfDBMua5pzyvfZKlrT9LmPFVVC37Z44wHmIIABX5baw6Q/CSYsjH84UHwwtBtbQym39NOwLo1eRp9Fu6giuBVC10w9uIXmy4S4i8b2JOjWvzatXGuoC451Xr34f9pklCan0lKIPMrQIaLvNFEhHB6rxQoli+wENwqVN+6xbFJhWjp0Rlmyh21NyY2e5n7fNcO3th+RnC5doXbtkIGdfgoqYy0QAX6qELee92iARSntfNRsyQtVtdGPxpHmn4xGUp95OCGG2qXF74/58OXNsjB0gUGAWxVUNFUYRfgUxW7hOcqTq09xF7KCTcd7EHy9q/3IEu35tUZqZzgYWsDrRY3gRoGIlsCbcd98r/KldcP3KQqh6AjycqZtNqXfXJEfli3GIoOdNH+zZ3KyqhNDSQSU1jqoTQQnuPwlmkPtBbAPaxG9xJcH3IIRdZ4kuex03M35SxkdOzhfAbQ+utitbS5lMCz/8zJjlRLEx8Qf29s6KTS9K99666XNhIoiTWgtZjMTAY5YSXak2B/iVoQplm0TJPi+KiH3i9Bzd56PyQXTMWLGyL/l0fvlOCSLGcL7Au8rz5aekW5qFnOhYE7/u0i06rfFx0tuWxkm3uO6yOlnVEjGVTiw0W4imN6N6Z1VPDdwyhnjm22nvoT2glvsELgzLra9trkgSKav9dzDbtcNraQF/ptAKyUcElCI91YFxvsrmONqd/JeUPaQHqYyyJJQLEKwjFk+F74s0RBDTmLKt0d/E3Q/br4Pm+W5rLpXRC1wTJmuZpTJffFTt/bbt0ICNSr1U8SLCnNQ6SQ0ezmLuOPymQ0m5sCMqaafvm1woyb3qUArjmNrHNhx1gr+RcVMRtaHPWg8pjRVbbuipTWBIcvNhKVL29iVn7reaSqH5lInEiclhOtc5FMaeA4GsdXL4Cl4vvMKgIX57UwzNO6X4OBLBPcLDE5hBJDsggIM5y/layHxjP7r54X6AhTX6BtvNmzFBpz+tMBsYawrU9cLIxcKt+D/UpmGJ7wSBKNzk8T9b+Ai+Xk+bArgfv5Z+0kerOpZOCv/elAb8WBo0RCDvOLurkR3sa19e+8j5SzBwlj7lVocpxzq+t3GCAJZ1HGOizmxlOMLkDM7G2mkUJXxPkwjxsk41CsFFE10QkmuyBhVFY+yiVlZ/+omZQJnjVq5cqig1+0UCpLb4QYlXZNwv1gCm2IuRZct3EgIwCFsUsrFDAeNEI5WFnu8TLi71wMlCpqUaRvZRDxwWFcnnKhA+LJh5EOSzzNn16vgFha4k3eQ7v3GuBZeCUKIsrzeo4LtqEOFZV6Sz8pVYKwvl9BAoNJS4TveWwS2wxgBihhFhRxDcVYDZWHOtiPHwieTLgAtnf56228hBqOYi8n2c/FZxpN4CbWPEQWP+zNj96iqjSWJfguUiRLAZbJmLXqwKx9Xf9E7QXIIvbxSqzxO5OEvkOnvggynfTCqkGEGrWT3hA0L+daREWWO3pJbv8sXJG494z0yagHAPDrGBLb2ZnM0Siu3nWQBMDTOoIj4KbosC0+eB8zrnuE0px24Z8UrE5m5crDkN+evA53ZVWyXnJpEL3JBw2q8LJkWuS1fynDWWrhodJVo6IyRpVSUutawoFnTdFeHGdiSS1s567O/Klvahf4SqcEB+hPPNjcof7DG3OpYF2VpuzDeVWzXTLKM0vl1syr65UDjfcgzPe0MCnjfgoTr7uvOgRdyvC2cLaZriXMZRzTSW5LvXtD5MOp0V6SOiYlXenxeOdZKXJSBdW+vUBSecEG0Gf1tIRHzNYbS50CUguReBzqoNpZVgCNJaXrFsj2R2l7GbLgp3wtGxPKvQS9Rexf8xARcWZLUPo6RFhhV2rZ4RdEu50tOFdomgWcM+qZWXE/HjVgZn/IW9enTxXy68MiaNH+Tq9On+ybR6OHuB4a7m96arU6c7cmv67ceYQ72Myfp3RKxcg+b+3s3Srq1pbcMChh6IoknJSvcCSqrAseY+lkoVUVDTS68kV5vmQdsyK/aV5V86fOVph3ENg/UIzc+165VNBceDucYk2uVQsrePyvn+zx3a2vnj7ZPdvUdA9swQQyFnm/11WJZpzEH4nx/theb6nFWHN/mqPTPqSfrHVt6UbBAIMwaEkkVlmtha/9x3HiR1x/6WOu7i1QKNK2gOBLvvgRwfaWE4ILEMg6PWJh1llC0+hISLAuFvN0E0C2th0esvYnJNkqs3Gj1dRiVjg23OyYJiyS8Kj+4sP0imlpWIqLG5TasI7O3QqWiZOOHm5Es5Hkt76Uz8Hza5nx80re9+mTIyb/Ir/imKL+m8xrO6QoztrTRFSYLV9ZHyV+M/2ZbuKChu7moehrOEFAsbtD3s9dcbJ+sKtuPbVnVXOXR/LHLQE3JpnDtNF/c04d7NrwdgDH2yjNbADKoLYNiuk4ASxyA989KZkBBQCUhWtyLuApuYKd6ceSkatQ0ZEV+4K6/sjBu41jcf22P/cBo+ym0BtAClTZuhnHOPXHkOlIhiGvH5fab+dbTOqc86ippFSBa+TxLeqdjALWENVUn118C03PhW2dWqHuFppZezCtj2w7vNMSN1MIGoHn1tBpt61l07JCJHzGhC4ktN0Calg890uGN1mfWULLDwX1wk336cgcifvmuror0rDAre+QJRI5g5iIaJn6w5zJXEkzqtIQnx64lT0+k0Y1KqREoy/mMfTYBC8bZwUclE2gpd2uJeggBhO1Qd493a3Obi85Ez0VQLtcJ6yXErZdN80g8IjdWroeQxty3HSYnUNKwaMriP8bcd8o9WdpWcnVxf1CO0Ii6OdG1wgdR00wdr/ZLr/8eWtBU05e2cu85mG4Stt/96c+WYyWKqAnixWZLH7a0+P4uvtLL15X2FNcOAsCSEtxEMb4AQIQQjIxWZyly6WjMy7v85MEgzE1HCDpoRR/eQi76Wm7xcmHenij6lF/QNQ6oHlg85doY9mwBUECEthXPrgqxQbBD/JrH9QyL/ZzFywbnIPt0eBX9kCHVGhnH9HXjljkR1ZXfHYo4a0Jkyva+WERUFTPQbz2hCaqWgIKimzZsycdSVJq3ObNMdGnOesPBFdvud9dsdFmMjIHK2UsN3EylXnuMMRTF0P0BzpRIhP9xBYZ/o4RYDuZjsztN1qVTSixjyTAxakqQ7WCDJ5sGhZGJaBFXOPqjyIZkfDphnHtunBoP2hgUvzRd8Ktg28+0HbzNle63bS5mDOOCXypvAA3/haHJis2zxSN5RPQi6ZnTQLTIaU1C2mpgtIK9g+1WfG2zFLBfGoIY2nRxjyeJtqnEHlwM011i0EOZKKvAohE8qAOrch37S1Y3JxQcsgwqzlQ/FvHrWUmQu5IWBo70qNLz/XEZXsgUiQLlDOuaw0wtO/VklooOhJFZQqF5hUL6aPaGn1+vcN1gbdQnyl8r9X/YgoQhoSD497VB8RlDMkuG/D8qI3b1PfUIeCkmhrF8rhG+NhRgh/5rwAndNSZFlxSk9SmkL7Crzt+XZciplgzgJtjWOykAcBSP7ApZDnQNjhPOjm+DpJtSQ1N//P93mndhMEDppiClXRIwCkjZq5XkX0O8E0xndtdFkmqPk9xd9o86wRAO9cGXRwUdMTZOPOrGdbcNzUsCTHdhrHLtzbjMhQHEGapi4a3ikLaIj5bcqd+9zTvQNuFHxAjOL3SbczngNyuRQvl5h1icXrvZ4rmCh7QODLtODYfzjWvu0k9AyZjgL8vKSPFr2Lw/oDRHk1qY9WYEzgyK9oFyGmiv86yNGdzV44RDIXUBEH5w2AauaLGJ7bJi+RGv6JNLtTLatXbghVCrdMRNp/+3CkQd8HGoDisd3bEGS5vv2MJUWMe4W0L9G78LzHWBULQnDZo0pO8Pm4lNZhXXBQI4Hxh+Pz5+hY8na4pNX/+bR2QId6RlK0XOa2kI7Obh8+0BvtfRckFKg97RU2JueMh6/Q/35ZaCjKFzBnAb4kGhaniMaAZmEYaGJhpsl3Yje3c80yhdPItOXS5hbwM7SdYSm70/AKLs41gt0wbshUFZy5u93H3E0VdsidzYoWRr6JwJmSmW8f8q8A9HGzqyto6DBuQ7AIE5z2+YXeezHi0n1rgjOkIVnibiUZQR5esAI5LkJRf7XuIu5HFNSF9gRJXKB47lNGXcJzjsbfVqmtBp4PZ2n2dBMTtrnPpS+HMc6qIFLVVbgghZnLgnRBBUeF1Nqt14BfzU3FskfRyfG3/g6W5MLmy5mx7Xvb96SsP84gjJB6kVVsM9UwIfr0BOcbxTHCKNlukc6HSgGdNptpsI1QW5G6+sGz+SnfAewWTzKy645YGB0PDTb+NzL4cyI7Bw2XbVEFIvkMgXmwEpBcidl1sAncuyTu1n5WCt0J1H06qIZ0lj3Q7K2ccT5lbGizrZ9aOjYqjV16nzieLSWQ+zUWIBS5DI1X3xMLchpl3lJkkPT94zs0pUT0brpJDhLExAfMOUl+UY1fTzgowmJ3AmyjCWrvsGL3XBb0/FWe4jGl6FuodBumCQVH2LMy9McCpjaWrW+E+xP6RiBb1Xjfmznz2p0k+sVPtAPJrDsAjFiRgW6lS9J0ex8ymniYBS7hV0KgeI5eR7bONBV7/R2tmp9TsWhRwa7gjmJtsZZwDK23eX/MN/2uPQUKh/CeQ/a/HDV2IpMTkmj61DQM7fJgU32g7wQPIu+UbrigGwYn7ZXaciaqJZiuGcLQd2DUOTBFF0cVEIihzNry9ITPyezJsmOdM9UUA+85SvKy2o2FXFffS3b3WFgDbAcYU+RedxRlBr3EMVEBFIgpevGuN8H6NObhpDL+xnigbo0JetnLq6+AkgDsbbXfgJgzzotF6UjVP8Wa927Bt+TK8nnJoKFBcOBtkhGWsh+NmxFxHbQSpBBh21mE1UcTZyK0fzS9uDwBoDD1nIBmiaioxFlcLrYByTL6Sss7G8AuxVi+PU/j6IniL0fExivxL6w3WjRz1Y2djBpeFa/pg4ViV+OuQGYpd87gxgVCSQNaqBJB8KEg9lepvJbW0zJyMxPN2uEdpG+pSHz6VLyorA1tw/1Tjlw/xdD5N7VRV67krIfzvQouK5Q1+P2n7sUwXQ1QQ9hOpBwGST0vgiIxJJbmhYi73N8el7H8pBoKemXHxRA3QKHjjAwSwYYEyVh/D8Qv5PECiWUoi9nsWWGw+EAlVVA6Y8DWk30wn72Upo2AY0A2hqdeOFjv40+NNAnbNgb3Yap5WhnRAqms7YiEfuhUGIrPG8PJKoPmmKK+odHl6Zwj3QnpHWj5+G1Gd/PSpuekGB6jYp+cFpW05Id20UODbrZgUXYvaSk+wXF4JWGKuERE+N9GcEqtyCLy1QTSjjmqqQoaxru5IUBGQWzSDIh/XWR1Iha5bUnnons9JzgegflmAMdZvz6FXJljoUAUG/k2Z8d3G6kqLYdVXJlbWci5zdBLgeD5g/ADbviF3TlGUn9lUyFksu7aiS19hQDcYa2lGIriImCzkgDo/h9CA0y5sttsSSS5sZvdy98iIsY1qUh6ZOa0rMhkMagNQUkH2MJx4GzwhBud87KGGtoTM0yRrWcQWN3Y3QIv57mR0J8rJAxD/Z47kNhNK1SWem5si0MqMvgl/JH6jDRwz/W7p7RP4/nlq3YbhgBa6pPRLj3V9dxsL0uoeL0jL019vh5DJPrc7csZ5gvGpW7RnH6Y5COyxOuNzCAhlRB5GsQC/a1s8kOnD+B5+loTT0Ca1aigc9vDRYZVwe2O/SFWy2xj+mbcXbElpVLzYnKx8VrPuOQcmGPoYLo8fP73P5NpBRYaJeretOhOguYe8bEFRkRgfWf6eOHzckRB35/xFZHZWdyPXcA83bGtdosto1uLTkaKFRixCV4XbS/m2QE4lCWsBN46aZv7Ev/xU4FMc77O2+HJxYMmYOn3kv4P/+WaBWPPjkr4/NAbsXWEARYuMQit7Lat4Gd+Ry9nL2c9dhGD/BcjyDD+E9+O3Q52eYgwwwJwx3ZJv9LthZqdEOIeSCDhKLvPMpGCdRT5yeOdd4h7hlvuBf4YokYStAdbAq+seBeXvbVYtFaWhgzQo3Y54MmMfPTbQGjhVDAivV7Afai8wy4oYviQ1NAx8O77hxGAeuWIWE2mAYJ2OghBHvhoNEmHcFX0BdAHh1IYVRs6EvSgNYuR0AoFgkRZdLMq5voZvji3W+kfJumZqVvpX0DhHg/FgY2TFAfWLtIT7dL81gvA6a48UcxePQCn4bbayB1efHbzOhZaSt0TdGHa7/74MqetCkBQzqjyYSGwmaJno7LZLgNMrYbpO25eViXl88WPTjnrMEN40f70WmhujOr87QDcm6il/HFhBUigx8InNsxN0zqaLwNZkuUiNcvjyCTF+Z1oxXqHCSPHFhl2vdrk5gPTAbF+X9W8D5gksbBbjcwlssipVosfWueJn2sewWOnd8EO5V7s6JKvK588aeWfb3pKzFfLk3Z/899BHsY6tI86I9I/WLz4KlZ6Lpt6sR4h4NTF7v0Q24VnqiALvqTHa5xsBiU8SiojYqlPaQKrKfrW1GxBhHTiWNBlVV289CSJVV+cPncSpgDiSJay6FbbXLzu298ttPQ1gNJcrojxU7bhiPIUtLjQtWikxAm53OaSUDZ1Jk3AKP8iph0apSN/gdII1uQmIThqtlo2bJ91P2HYooio1asyWIZNGp2uWGPFx5NgO3dw6tqxK25LE73Sk2vAUtcnqL96PuYIFPjde2ZAFdBuHSS+gDFSqUNK0PeiE94clcth6IL15rDlZXWHGdZXGLV22eVwmURxsxqAk1m+xsJNfDbUCe5FDcFGQJ6OYTYWr6GhiqYTH5dvUjQcuQBgI0N5ELrlLQcIhjEOAc3z+YDExfPqtBUkNCV0bX38ClSzm5NJhdzHfRds0JI6ppOhY650Za1tfmWfups/fG0SgBcD1jydVUg21/2Z43gXF9A4tv4VGPV1GSVyal77p1pAJ6x4O3kwaRGoAwU5hLlZME3FalIorH3oTb/5nOR2TEdT0CHlJR5AN+M5aZw/9PbUKvjT1brdjRFsywzfCgZ6lxE5j1/GXWW4UDwPBbMdBXqTmpgDsJ+5OCtb//9SEvPUHHGrv+QpRzggpPhMOyf1C+YXdVLV9VEYrS6vdiU86cWs6Put1lWk/TbqlA4MzDXawzbHQVxsXF7DSGFwS5S/FOrzuU/ScUchaBYmqK3hXWE+/wWVADJ8757D/qkFxMylwTxnOznJrUI+EJ76PGYuEwwvoihJ4dEDZA6Jq6OyWQY2tvgPrtEICEYYfZKFIezon4LIIAAKTDviXDg7CxDk+n9Tr+uK180XCbpC/e9Bt0i4euAlVRZ8lPZl3o39x9yLSe+lQuPCJagz6jH7Jz6GMcJldrwkAVdm/FHAAKwg60d/cj6Dk/MoWtytD83NhA1xWMvIADwvlGXleK7S3rM9HfodqPyJyIphxlpJIayEvVAwnXW2+5/qVxKxg4QTP5sYTKHaiaFdd4JSiHh4p2JOEmAf+aB3dXJgpgpC3Xw2KgnwINdsMxPl6vEkT/0eD8LiTaT+lCBBD18ak1MGPq/gGeupVlqydeGJ874rKlfPjIFIzkAQGfHJlN8fMV/TQFq8GJof1CBD2rZIT4H+z/vEfsvmDPw5ESo2RlzzYbWAsq5uH6DV7yZcCsqWFJVw0VMdv+WnX9IA4QpUiKivTGBb/YZfTZT/WpqRb+W4DaJZlr4RA0sjdIwAOxK089R2gic9SdT9378MoUdx4hccFy7CQhUJJj0NIBSu4Z0PfpTJp8e3RFWa/80P7yhXrgL9+i9R5+aB+gEt+F01+pXT/HDTWH7jz/p9bYrqwIBFThkspS/rUwrp5Y2D6f0IYqBHzEc7nALxqSnwfEGMFDWUXUYGvREMbFr5zJt19Mr9FK6UfqOrAFlJ3EHIjuEYnf4gdV47gIrNTJ7S16tDfmMAdj55qCO2hc+Qr0G/jo1kBxx6j3u2eSyJOjQyUnILrVWjdgpmG/EEZOy/0RHfiUKZWP2lP043/LvBwX/yIGJwS98tf++csLwasYzZGjGb08slKgnCd5WLk1bpownS3dtuta7SoCsgeu6LftBBrNuYqMNxOlbCLdqMhTE3m1M17VUl1h/w3145Z2s6Rw13m39CnJR3D2rrLMxlS8paRZrYC4bToCLVwAO5l1Lz5N2FkT1NFRP4fgqyM+NLQnXpUbftQDNIOrFkON+y0YZ+0L/5AnjqdH51qcCXllKc5AIWhSc5bSY0UwixrmfPkk5LsBpk0TbXv2djNnj+bsOKmvpTNxhhC7Ce6+/8O8pyDxdpn9EkqCs27O41VLiDXf97knIAmEUS8DLkLxgvLsAWcYpwuzycD7BqbEPgEKm55IZX3MoUY5u8vSgYruN+7sbbIxzfygVwdEqLAqevJfei0Pae9x8IGtzPFBlawTkN0TnfkCUZFGsakasXyECPjSnUbhBHoZsb2eoKSghvTimpbEMLv7Ea2iiJKScie2LPkLoN/EqDn2GnoU7gvVio0R4+PvMqEezRRQrt+HDQcWIRO+MVY1+w59DcZUOJPsMBVGzrub2CNMs6to1F3+aFMLX/VLw84JtmndzKpWMfMRuFrR5SosMSHlVF+NKoVrjqF59Ns13UL0dDSv7+DacZncvIGp+IF3XHYf0GNyOIfKOCt4Wl7vxUSH7yVC53BY2uvRQl9eQuZKU+hGzv6yZKS0UlSozjuS9TQP0XAAnmOgrRPH2pALx0Tg2T2KfsO23pQY82RTlWsx8xerLztLlJeVsfSSg5240xPafQ4b6Uv5cX1Wm/WV2mKUqxeTMAFhGoOtJIK/wxgLcX1jvRe5mFNvv9Am9R2sNsly7V2f3W51C8R62+45vyk/3fP/EgejYisIvhuxWGxo5H587jXIrHs2A22hMYSYXVwtMQBbMdT3g+JUVzS8rZ9CMCAqSfI/t+n2x3PM1+liVn99kH5i7Iixl1bwWCZfU4YfGaVyEU6nBpBzWsG3RL19UVllVS7JeDThgPcqcBDeHFCqVBX96UgUOj5tOcM4nCqHV84exuSWEYIB0h7BCmNcbKnYwtLKGAd8VNr5nnD/NjaGknhvWfSGCba9D9vBpy3jjDr3nkTUn8uuY6IWzPy2uGG/vjjbkwIkZUhIYmHJhgt2yLiyjZ9qSvstVt9ZXhBU4k+SJDRn86fCn33BdpR1wn7+N3SnwNqz5xO/RmvzZaVM0Rp/2cfcSqlqg0BB3pm3GWXjNeIIlm5xAogDbufdkg9DEuSJaRx/I4hsZKPjaXSzOkjXv6I/SIMzTsi2a/3BjdN5/ICzusih9M3EQyPPQL3+4VocQWApUsQuisJWHwTzoSMFQdlXwmASvC5I3B0OXyccpdadvhY6RrU5Dx65a9jJnMSPZeq0JhLRErajHlaT/IjUI9NDzA3Jv46xVMiprJe/kX1+8wEqNnQRtftMUwmJ7nwjwJwy6ZKTdyMco2UY6J9r8+CeHY1EimYWMYX/IZU24H+ANcjELa8S7shXMgup0vlz6uYCgmDzcvk3KBKfKNKq2ype6lTEs73hVnsMR11RbAjkFtaLgJwxnH3f4sZSSmqQIXuiKqmWP5L/UCidvRbamifdtGg1xsj2z+NFKN4ebETxK+TwX5Nsm1uZdIFs0R8NjsT90sCRK0VEXTKIowtRQfiLQnbEGh2k/0ObohuYzHhAzpBgksha6E2pv1zX8ynWPzDV80pYkeCM1FSHftm8ai8EyofXh2tW/4o0koNkjbWCPuhueUN71NNb1A9RBC6zi69S9v3g+ERQa/9fG6HRr89gYbv5ibC+V3fpLMxh47KMf403bAbSATbbd3mz4YWptNnw+PktVVTfct9aPANcChZZe8pcBnrnEbI4A0JVBaRbyJgNzanrzI1TofCsBcZKE0mN8CAqMV4kMi2RFqKGB/6IVNcg/NtehDJPPYCFy5apFj1jgK1if1roabQNcPPnQKrOlV/Uq0g89oTXuO2xUocgEgLiv5U7Xxb86cAVCz7MpSYiPpljEUaBccn5jiA2eR9jw4N8yqK4/dKtsg2pSKxl5f8QUH8sCfvzYLdxqfbwS5EpMHj8GKMTX8dw8qxpWVAvJ5l5M8UeBz2t1H17qLnldR2XfTIZSV1Z6tp03ebbkkGNkf3q5RM89mIwbDfUaEozyve5ZfOTd3HgM578gfwrZy4sGyZ4vyvR83u9k+V0uyx1XSu3NTJMvDozyViWvcN845eqcQLSeOHW2YOanw/kHAdkgW0c0gS/AFotp0T35uHn21xVz8FQUFoA3j8jAx2Cnf6YPtCqpNWf6hdHZ9Uq8YD1tJR2kPOLeA7P1x3beflWL8n6CrXz9Lw8cwJ1RrIE+Txdw85sWCzsBPgjEimBwCJqX6myNRVj2tMuyvWArg0IWaFQl4yWhsQrdpyf+5ibt3/LTR6InYq21uxcrEo+LnWmLc2y1yh2ejAZhT/TECMCjb6YSjXTtgN47ETpVvx4opn0IFqHNNMRQVeS64jSU5TepUiyQ6+YJJXCueDwez1XReLb5+KOuNXgUqD/hE7Nq9BCj1dAw996oB6pJu628kt3mkzNsZOLD9+l5EtHGChjgef3/Q6welo32AAmSV+Tm03FM6lac5OcwumtA6VfqWHQauaMjWpMDnnYU+HwQCJbGfbxSH6Gmr0t2fKOQM/4q8FZB7/zFOLJ6E86545VB1cPgjoT7kW92xsLGA0CXNHW2IYTw1OjGgJ/hkuwlweqqjZ9aFPONOgQrGfAa2HotaamiWIznc+en/JfyBTSRuWBNG08zxVsAWbp4zHbLmIzEa9uefghzogSZ/kL0wBmbWhwIRkcs60EHtlRaDyal12bksgZ3tl8lArxXiVzL0PPXi/qrUKYxer03aLNPHL2rxV78DXpQl25HSd3sPKLG3bvXvUY+fmNI+ORBLyODSaYM+dZ2MIaQ90D7Wo1SZpDDgCJuwx5Bu0PF/Pv+c+rvsldfc3h04okEcvZrvwCAQPBT6DTwomN5zyNWzpbZzEGY1Pj+AGjaI+xmSPbvFVm3GywSjZfDbLDq/EdjopaFoki7FJz+ShC//BdpeRuy/4ctII4lJSmjbvoOhqYi92iQJy9thTfETy4DpQJYL9CCKpdeffUHJAun53sOEDGUk7UimTkj8KxUHUjNHz81Z4pZPRNZ3mpBmVsnd5dZkJKw4ZzEmv52VFuOs/aKdWqdzPa/qLaLsZG3yQpd45NbDXTN8ecgME36uMexnpVltTeD/3wFKjjf/OauJPVp8UDabvUo6y4wT24ojfRNn5GU0X/uMx5ST/f4JmRKtmwRA0UbxImnLUV4EXkKmrgGlMnTJc7Hi2LHVUDKAOI4bxfwT9kOUNeEzaYbWB55K6ennLAR65lKB4utAZqcgJ78q46bgnBtMmT/fg/pu6f4YA8mNoXlJ4+YXIcHWtN/fn3j1vUfcYq+OpiyMTeFtc/zSeycYKa+oEbAAKbmtR86IvI4AOCNSKTHt3vUVJMgJhHvxP/5VK5aZhUAiBRdXdVAbOFdQ6SvdNZvk3f3drzgjAn9Nubui6TxWDnOd0tkUpN8yhxBNDM15nREZokq3TeKm125+PQxdNv0sC8cCxNCA/s3Mknn+PCtX84d5MZHKR0QqrEBt6nsOvj/74W8e1ebbywPbxpe6SR/9JFPPtNME2gjVPLFX4tepuvxPLVlLkU+DB6XP+N/LZwQg3CYpjaszEzHXuA5dvqwteJju0d/iFgvLhUjD/x3mo2+IEJ0jEH6kXvKzqS6rX6Vgqv1tHaFLYFllwoGhBAafHKSZDEwmYmKSs6DcrNNMEmUDsknMgNNqAx4QgXxrDfjDFGHrfbhQqxcB/WjcIRqCIhwr2E2r15/DI2nZw2j2gBWAPKt8WdWGS2MD3uyQepO3f4TTqxAzlNvdlwYC6rFPtVme8JpblLOunISg9ZQGqvGmvzv5LEzGnVSqhRJ47VurXmQFwk4CIisW06SxE+sr0Fc7OmKqgCt0rYsANzMZ5/5WEcbhUsy04awVETFdKbnnc6QQmSkUmSq/BhIJBcHpMUn+zwB7U8DDUzYCa835vEtkmoqv30UbxmcxQ4EdovW+CqtO4T5luFnwe5//OD+fJ8o5vduDWOIlVVyZLT0ksqwbn2spfHBwh5ccEASA2KFcUbNBj8hBhkCsLrdWL3QLXY3u7O7735mYG5Xla7jq2qPR/0dm9hptELVcbn08oKrGR04JlN5uYp4iokCSzhSUjr7UsdrPeVk9gEi7zG6thTILKi2B94PvwzH7N/RCYO5Vu28wXZlMccVsUXOtdjo7xiXlFgfukr/t471MbYv9QSv8k8FBBLhpcxqcBUJ63q97V7TMVw49QjSH4K1FCU+kwh0MN6h271rroRGqQ/wYP8n7m+ERuNiugeCvof51Ca2E6NB0sMcq61dtUk3EcjU85CjRoYeAMn9Wz+BQJO98RtkmGgNuJSxV1ROfSeiNvU2RS/QD9hbPUDPE9Ff4FUMqyrZ54LPbOE4UrOIRIhcUcZkOmDN6LhyyAWLgCzx1msIwEpgIIM/wDTAq1sQGcicZWgkwOxGj0zdt+XcIOYe3D5uuey0uNBbzKtQQPulwmi0jNRKMiR0AUcuFxCGPz3W+xNKRM3GcbrYm98w+F2oiogZ16vRwUPggZjIqdnxUTca2gvyp18KVw7Q0cbZWI8UaDMpQkRPLAW60WYje5FK1tuiOZ4/7VX0lH04iO6a++OVXSPcLtdDo2yWnoyv5SVRUoyv3JQ0Jyw3S+2AhPO6sPEvBJPVy1M4MSzMv6nFIK7VwI+wBwy5CWxe645IfJlnASJ8PGP6GNHuV54mgMFIIKGk+wRYzr469UCAYyRsjvyVAU/xVNbO4BTA13lYWY3b2rQiHNe2g2axV/zqj3BDfZyCdJ2Gk3Xl/u35+tun6qgdx/xsqpFBSu82poEjDupSjZCUS2wQWIje8255n0BjGd4pHs9gpNOENq8X+bjIp1i5QFmTuW5fbB7qOfQoAqWnm8bZw068/oSoil4sxg6v9WMtC9Y7jsfzFvvVbSIbz6pRe9fAYVBJ+ytFjxps8oh32Vuz6qsLG+bvTpH0r4ChIlwm8YQZDeoPI3KY4NddP9IJR0tqZ0Ovqi+H6w63abo1JhzOFrijt2lTL3BHMVCvsB1AF3Cz+2Ct6XX0fDCmnqYj2f8TPC9h5Sl0hqiKRR9uUZNgNCiaMYPtYdq/SH7+oP6PQq5TBhXx9xcMTaOQDRhDsd0kMUqWlCV+Y29A+wVZ3Ca8TZ6WcmmIXkr7wtNEP1Whi6uuigKQdR37uaATDCOPJKsAaxwwdiBo8rIgfIAP2+P2XPl8vrZfGav6ECObGVrOVSKaXdfaRswbx9tHX6eSX/gNRpO9yw49hFLh2arngV+N0cq75f0/96eM6uO5qFBgAjuS0L6xNkygRdpCbbkdmIKMCw45/MxlCOZT4rCuKfc6LAlxMSq/ZsAGNOMHKiUnvXLWzSr8ZfqkpA0btpwgsNkR9QG6kKAaequDVbBRkl51RAJHFy6bammi7B9m0hK7uzI278mK+RDCrheg7Db8fTfS2vhJQA4CzDwset9NnGjp/kYgxT05nLnQaRForuCZMh1aP46P3nizQ1Ca0P6XIlwnnYV2iFulQNOy0LsjDJrg3NaqgyI2X03tQ5K9CgNUIwzSxhPY7LWLfZzviMiJ6I/zjwHn/aBrP65UGuyXeZoJm4I7SIqDDPambgfQjUJuBzkjrjlK7wyli2M66oUE2ThPfj5E2RKjEg3ZIlH9RPByg7tGh5jqysFiCOdQPuADFibDwPBJ9dSEL2abeBPemwQpqnO6X716RCz7B5euTiHq0AZt5HI5hvZxchv+JgD1LWLGmdEfx7J1uXvUSbryn8KGPVn283n+ACLt1f2ug29Pt6AGe/2ELHSlK/0oIyKSAhEoG6IUGYWNN3rS8wRjhk9Z6y7kLyEa2HncN+GMb9S+wUhh1hCvc5wjVMERMy33x7mvxOGFH+FU1l2QeCrooGjuAv6qf6PWTL8xYlaor5COxvNqO6JTHrMxKotkRPZblMYAnUreyWmus97X1MJJBCPReWe88qLZ5bjF21NnHg3q8oqWZEhThorKX4bBhY9H15fbgEimNLDD2bocXgfF4k49hfk4QItvwSQEGP9vkAs7z99Tz4PqsDmEvFVyspJkisRjmuuduq9tdDqa3oj3wZlGJJRLzxzh6lIVcc5tD4lxtya8xETmvNcpZ/8Iaq51E0ckmb9lB7sI1vSpznEGCLgpBcqfFxj4cS9rKPTeb0WwFFToy+FaC3Gn+rwxMFbMNZ4H4iblp5eDwNHL4FRa5iiLRz9tFt1vUsWnZ2odwv1rgokbR1aEbNiub8Ih0+LXdhuEwh9lEXxYhOdHaGnuCYmiOPVCdNLlynUORkbachYyzUETCrztNrge8t3iB45j7d4v4miMViG/E9I/6zFewwvrKUqBjBz3wn+IcL9piwSozRSvglO7I33FZQAvMM0Wzg9/8oRP13zSAoM5fYI8jIHdydYb1YS79QJ0vszGQOlXq6ZVhAnbxblTvvmy7OkD1W7ZlAJMuAoIMbWt8A2ugDn85oY0LSC2b9gcgzqh8woQVONO81RseI8Su4hXMy41tZa9cEUczPxXNz6Hs8HTwNCmHC7uO4iufrRX021CjP14GhPgTtoL8fnAb1Ps6hMt4odurLzCR2XWEXMGjQ+JiDs91Rbla5yKW7AaYyK/PN8dUEuCfBoRfqPcZ3n50Aw82j2CURCT9mRGPn/e4FBLX+yBGAb1BBLfdcNkHgp7fffKsX29OIC4O25h5pCX0ADAkN72y3pP9Opmqy/4kla1QBi61w+nMEnNhF8M/cz1PsJs2qQ4WCCXWadvLc6l6pp7bPh8j6J+Xm+bnkZRXAQ/SInSYIyLbjPZFm2k4HZRHZu6nxOMSJGnLFPZZphYL61dUdyXwmwZe3DtHCrwIkoULOXlDVz1rXRPW5f9Exb+3P/chNXlbrSk78whxsDpiRAd9vJDlbHhGtC2TqByw/aO4ON3hqlstgVuIUl1BB1NGZu2KbvTlQmBR7f08wRXzPp0RAHxWB/+Cyca/8mRwDhTrXsC4zF6oPQgAe/jCloPciBijIpn2RB11QIM0uf0Ap4QcKPag6/iuMjsA49QJUpC7XhmdFAjStI8QQDp6BqPbYXFkJ3meym5BPUEf8FjfOWsK/2cEWeGd/h3UoS1vTYJ5iugDPJ8VjtkuDgDjMPAsnpQ/9LDyjZJT9l0KNbQvSXVE1AMFf5QIJayy1Th2S+0lt6TGIpvHosWIl3t1V3SYtI8o5thSDdObHEPSNq0fqjQ95T52mnibvch0FQwq8uUv0uH+SbExYalxrb8dkqXBmI5/765tQELxWj6vtud5Nm8GEeNSspKG7ScRTQDHR4fR3PxvmA8Zn65M3RLIDrklc/P9mGFK+rK5erJnNJ0wJnzpnf6xYrXAsbW/24i/9eRVgw9KWf2+3bkkcmD8uNK7fGdoFWGvlAiV56bowMa0ZWT0/DDTdvw9VUxuze8rK4Mcmnx5j8WhFHFtg3j7+yHTsmc4UBqfHvSpvxSK9UwHWYsZxwYg3tQuTTCz9hJTI/2ODkXkZ7CnLUIeHjKoIcURm/Bphxr9u8UR/5THwVSxRk+qPqFYGxLTq3ozzklE4/y9B+MmH7rpCubKbbNSTqX1Uruy/KCyqJarW4qLR0hqw96KVnolUdyb8rl9tl3NyEzAlS+7ET9M/pvBGGSFg9j6i6SUBB48HSoyLQuUvp3ytLWfbC7zkymgKrGhXtJKvI+s1aTkVDJu5sUmPrEEHVSGcttP7ltGXo34DuTDqDVEkmIAaddFtxQ4GV3sTkiJ79YRFRVe2B18DzY7sLqvr6t8yXwMR4CydIwB9SFMxhiiBn7hXMfdMb9mVnx1FLnyqGq5kp+a1ETpo+COjqIW+Zo3rT43MtCIy47P+RFwqumJGltJcr2AmNZIlV4yR6pJK5XgGT9fwDGxcEpHWtvCj191asP6GakYk+Rm0Tr6ifNwwYXCNabm1RwUeVuVxfWCN+RtAgvdkv1OPpDDENiPDmFWeR5IywP1ua9F/H6OR9V0r9pz1a3o1De6oHIT/Oh0WpyAI73C6TtMRt4xn3cBcu7O54GPvJdM1Oe71og0kvQJQyC8wTDDlFsWRHouWvcrSjogB4B7LJEX3HXRPR+209Hsps41dT35B61peoun4j2279x3kKcW6i1NhAYPgqsGb0I+2ig6500twzZ2wu5YH+2OsZd9AHBcS7P1St8jHNyWvTamafZ4KPidT5zbQq3htAcx8BTezub/6KKa7DBxK4yWYOtR033h2VVtErcB/vc61BgQu11awAtaBbs7TVM/HoJCaV9bGSG7zKtRa30YiERbRLP//NnRZf8z3xVuv3Wnx4OaV5A+rEvg0kwfrrLpvn7jALiEvrBlxQt+hQFJxLtV/eCpTJTmbLHLo/f3XWtrX9/hCt3900qyNWK+uCZes5XTybJ9DnUgpJr3SBSsZL+9Hin/AnLlJiMr7V6vjJzZExVQGf+L+lDgO2WSpH57zuAP88rj8fQSzTDTB10i3AzR4CsDiRUSHE3y/a/FXDB4tdUGFoLWOqeTlapiSVoO6TdwmarYWVdndDh172NxXIykaM7Aahmdc8QM5c1dnEOG3g6c6L2mtkFcX4VTohyxzNV5Hn4RCm6xb/FX6hLGKdkW7RxLhvOZWWFXA1kUo7c9iqy7oQosQcBcDV/4YB822h6jl7jXUN2ejqorgAJxQhhXX/Kxl0ntKta48MMDTgzmFX2Katevn0A01J7miGa63GFQI3wKZRGrPyPLjKF+k9/EkSb4xS92mo6+o8QuAePlib92sjJi6tcncA+678s/BYKFEoTmKY3Jc+QIW1+O/g8MLmxD7G+cNG/5AVQBAEVEM5N3RCsVgl0kCLawEv1CIDhiKMUhWX3j2T91f4asylHDgb0AYuFc5JFBX7dWSSl1UZCQRxXdJhoHCEBzR5HU46U/QEEmeow55nJEPyaYLOB2z0r5WojG4slhKIQHce5vZBceVngqU60R8X6ykePTQEXwCDbrRnR2efeGXdOrIodNaJ/oHzw1dPR3Up2bstF5QBjbAW+9Du486so3RMUe4B/sgn9qpEXSgPvvYpq4E9sLY0GKt5ljP3nfkQkYA3KMAbDKqEcyEPi2hFJPAV/VFG/Ao9BSr/jremctgGc4iglp87MjidRF6ZHCRA11mBomg86fvBRPly5a7bUW9KHcinv4hyvNFy61WWGg8XKwbwAKQDtuDKV06/3QtLFfcCC+mLfFQ5k4zQfD/FViA2wUFuwyV7A15DnS7FK1+Gmd4uNsAzqOefisMbcsZHm2RUfozZ/WcdGd9XI4H6nspuaSLLGMB9WBqHSs99E76y7+u5Z9BvwTENH2s/N2NFc+/kF8/yWnUKypFyho1KQsD3/+j1mpZpDLnRxVujk2v0hbm/7q0Q1CEMAkr+kR02KKsLF2usECqXb0mI+QL439tUvutP081yeY8tMyAjr2XzyS7ONuOvkClz6wJ7LaFsJsKNnpZkyD4MoxsR+TYnUPM/aDPhMMFoU8FtM4stJNQyWRuVpC/LIlkFMJa6tHiRrJ2eS5eYNQonAjVFugI6LSmpKnsAQE/PZw2HpKZGsG+nuaym54VMHbxd/HCMaUFUvQjKGYhqYDdJ0e/GmbdibYOrN0ENO9+QLDnloI6pgA/QFNWF55A1qvVWOjl8vviGS33wRuPvIma6d73pBe85NtP3klAkBroBDhylH+O7GoAhLVCC0taoy3dnhJTwJyfddH/08RBPWGxeSk5spoJxYtMZCocJ2+APkXEkvHxFHaG0LUxrR4ZMJji4nDAc8Livjh4qP2eIzESFytoLMpWFJr9C13T0qmslGyHCrH2VaIsZFfpwSLGjue7OZWJlgD6GnuPjwfRPnaj7UqXf+LudRMQ7+SFBgtDYayuECN8IQyNclLXLlLW6chFX8Bhae8yP4wqBcnuumwU+6sja65uAzioOWgaJzmg2YDYW3wK3NgOmQcx7VO9HzRivxVSG8ADdDlSwxF4NUIJWtnEUgf46TVbSxM3srggGiL58oQ6L0+SWEBJFzgMmPGJx+4RvqmT+R+CmYFlCOBOXkE4EkywxUduXyXuaJSCUCXAKs5B9/XrjYcMZEA8Ny0ODBUVi9IR4EZLDWOmCkK31g/Zht0Apj9sV7nzFW+H42jL/G19eWRRi0RpXEKIYRCtCtAfXiKLzJjSysw0UTZD/AEb2ATZXa1OvnOBWC9TqcCT3LJitnA6zTs/iix5Tamzx3PZScqKvuEi2FD/GhNzkI94egP8SvMcIZrHd1b8f4DI1PGP1VamckNOgofIReQao9/3fBqu9WW9xeM+LzsD1O4+FCcgDM296EqSmB9+qMCHdnnjLRagcjfo7tnwl8D2oJQCd+OfnhLa0OgBGi5pd4Av860MA7nGLDnewefGMgKRAO93lULi+Y559p0rEqMpYofkpvauv5/LdhdXSn0VYzg4qO8eVFseTR1MHDXkTW2gjx8vaQ++UGYWdALQHF3hexPDrcgaaMV8pr/BpdBV5Qxo6BqSgkhTpCFzaWmvmB8XYXiY2U5tYMu3H3FJGgAo0scyqF2dHS/YMA6ZZZe6inlotVZfXnXCpQirCfTU74NKig34FtY7waCCAPgWAyZ/xDzQo4eBdUdW+36GN2yyFRCz/71BtlsvJII89IlKj9EQgIDcrXvYomhYh9OZkNlReFP6aGJdJZR7aqF5KkIZ5T1rYojIPQFce1xaPE61+R0MG7HgSYpciyV0duAus6fLTpzc9VlyyBQlIc4VVd3eXvlI3k6j4gqPDMgmQwRoIXDq79I+tiTlwFiIcre7QwC2TYV5mUr9B9UgYUKO+OOm2IwVYJmd/CMbubCthReI0NnR4lR9J1ScMMgvcO8uPf3jk1OZPfgaBSc1hkxAXFHAAymD+4J+iDoVU2UbCxjP1dgfLHEam+MKJcdKVZ7ZW0tc9ond8easKhezpp+NXzjH5IjIJxlApU1t523x55QduOF9QTWaop1uYCHqSX+HdH8yU4f3CeAzCtQZaVG7s6iMcZ2L9HyLARh67Mi8LOVZy+vhffH8VvYTQO6MwtRREo7aDadJRhApRft4PIwuL9dO6rDe3x7w/fUPJOe6F+4/aQeQ8/Jyrduy57q0yeF3BFhVgf5l1KooibqQrn51YL40DmhF3inPVCIQfbVAVJNjkU3wKC3PehZMaAh5fk/IWuTVeSu0z6MJCGzhRt3MxeRss6JVDHEGG9kYl5gUyOjRvOR3U4g01FFjoOM0qqIHMqgJw4EvEH3jzQIZ1yetWgsO58mJC+K4MUBVc5BkyS2iKbj7+K9JhDk5VcyZxChYKrQzkAFTZZg+0kln6GoBRBtyP329QO7t0zPAV6ecOSpmk7mV+iviP0IcQ5sK2NCM0CIKbKWa799dvJE5YtIMpczk+/UG2WLRH4GXr0mlXnd5fpCa+cLSyuUSEl+26kNWe/hyZdr7ZQPxDmg3UV8ZbHXOiXs7TsxLXjJ6uFhsDnWCqVvL7RX83pFJP/9xejZbkui7TrE/gzn6zvrb2+XE9rrXykaLaqoRfH7l1ktwLkv4H7Jt15oakRgawcPRoieuNq4TX1GYm+lKKNU+d1OANrfb5egEWQF93hpG3fCgTM7XqVDg0Hh7FOmSNEWTJvJra7sKCHRB1vVAYyW6WK6NHacd8Gm2JD9+qyz6SxDB59T429kFQujtf/TIVNtZqxTYT6BEEAOjjR0tSFHVeX2MyTMvvdUBd3jJIWGS1VynXNHhKnsmQmh9jS8azpWqRhr6d6Xy7PySe3fl+1QI/Lx+qLe4ewJV7PQM5L9Np5INRilP/ygFJqe3j6EYFTXNJ64e4egWZjQ0KAlOYLBDrhEgLZgN9k024T8/jMnWj67+EISzEYnb6iqTOeorId9bz6OLBl0sWem8ZEXCdze35NakFj9GathUfauy3iDuPp2FnzcepgAA4I+L3MB8j27QJrkVZFKSEy6GoGngOhkAUbRwUtjmVd0BHsmvIaMrB3YURp48LTeXbr+ge84Om1Ih8kEMm45RnTEmbGHRCMoFXbpmgTUGQSpKsjI1tpmjFelAh5WVJJlXP3YBJlZYQN9lagykdECsmTcLA7jFjJVEly29VqR3BGnjWayGd3vHjSfxeNL1A6KTitPtPvnIXtLCMDIvK9KZT1cQP6gLV29HyDtNOghhp0IZ3b3ZRc1swuiiruI/zenn0Gonh26kPrisNcJJf3s83J4HG+g5fI17znke+65+JXEZI7swZNBXhI20oIRviN+ep0cY08lHdguxGb7z/JemluqILPWoMvDRGkZGkNPuX1AxmQiSQQOo99iB21ibV/24CtAar4GLHp4Z+dKpc78/c+hx4fV1tevROWlFjsJAjKX/Ls+BWWrefN4YLY5zjlhaiKOS3E+3zjBk81cBTipsh3EbMJMVLiIcZ1W6CqILHGmnmU9CU/McGOS0u6/N/J7bmYGaYSAZovwJNtiWu7PpEAguqnMfSVps2SVDlKyU4o9JsfRVHcSFoqQLCsCOwh/T4DROBEllH+YieuGuCcqb3R8aT4Xi1DmS5OuYN7Gz9O/xp2ik04MXm5EKeZsD/xppqTBTXCbjF3hbKa+iOjr5dKhxXo42gtYvpRbv/TUhtGSyYeeVwQxNeYrKA/X554KH2xL6VAlTTSZfrf/xxOFM/fAuyOynFCccCco6dMb/7JkzspD92dDMDhjgSGSE21w6D1y5rGZUwpfp6Gdc0zYVom74gA4PwzipgnpGeptkSgvE94wHw/XtWZkD9u9Dfs0dUMCemMzihSRcGDQ1xAPizJWYSTs65urZENQtsRK47aA23ZZdrS3mg7koH2NWlJPSJvpBEUMZ3JfeGZxFnVs22uz9uvnPM0jKZdX5LHdk0kyyk//9W/H5yPsEAMsX/ov/HqRxXIDXnpicQukVsFzqzPASIKqEq/RO6PDoCIm/fYVU4lQzQ44q2ZQNVb5HRC0qSpdp7Q4h9rHEfkSYo2Xo29oQ8vOOM4s4/uxtXRimNCccRZDZWKe6zF9TAFljltQalKseMjatJC97Fzt6ZeqrpTkNML1FVaLOr+T/xLqyjv+zPnxmBaKVR7HNMPg0T8hgG4vWCDUY3GCE9egFEI4BXj15Eo50tCtbkXiBIfSOHzGHwQpWlQwo4D2R29Ja+MYT93myOjaDrf9TK/EzF8HILeuFvrLSvF0njL98s8QaxT9qEBv/6ipklSe77NU1UZRaaHGZO1I1Teurip86yo9uWyHAhG3viDMu1hEz8GVoLP+hdYOV8GDSeb3+EyA966+vjgqQzNihUFJ4q6U2vqhVewvlmvGEHVah2PORWjq36WZq7jwKMdPqqUPyDRyBOXkrMstD0bn3v6GyClx8uDuJfj2g0/1tMYVoldmp++ecO3mN9J25ZpdgnVS8sfYwTnLyVMMwC5TexDq+W13uhibvj6uG/htI8Q1txALv1HkOZvjj0wg728u/rdtxRbhAidaK0jiKmx1mYeYh4xvW2ZBaqQO8KaI2YmvYLHcmunX+XQwH3K2nh6RX791gdOPpQJERLygdh/SjHB8Gb3w7sSWNh27OlZ1XppYB29fJicY7ECmg1BmL358n6ju0O5DORR2Duois+y278jvjgxVxDlCmiobS2towqvApj1dS/uDZIDK+up3jT/2qas169ePOxwM2T5pY2FoFwllPJ+zC/8Azo9YEOEg5IhlQoTYNTJyr3j/QYZ+6xGN81plR+PLloRdlCSzsYhCaua6BcSEAnQyvKz7s51jWg4+Idp8bMme7YN85DV0IBQZ1BRr3QOpZ1qYeQ17L9uXZrOhHuLrA/SHPFDXln0SDs9b/AU6dBOvQy8t8NacX05+FedvH/6WI6X5Bsvt0V7P2j+vn4UdwMK6TDmq/CN2mRsy0tbuTuQHBwdXAkScINLC3ZHU8/8nlfcb/qIQhzF9tD73vs1T5LGquR6WyfHu036rSJlTeQem5sJS3wHpupJA5HmyGrC4GNF/ZnlYoYec/BQDZlQcWZIC2zc6ZbdSxVEpTxlz5avZYcJNSxXvL8sPllYKxvXJQls/wGMM37YOA1U7BM8jrqYsYHQjuS4IKNuWhzbpcADqvsUZDXZIJFO/hK1wZ/Ll04FGeyV0QFOBIpNFtPwR6sYTTEV2l2KQiIy7ocbt/2yEcmPuRlT2IMEha4GjT09Hbj6w3YFf0CIj+GhkzHg0wqG0kvnPPwsxmhQONYg4sipD8r1HOUDrYjumEAydhVwFrr6eCcaZCd0CrxrBTrZM12GIZh0oYrgudDcM5j6HxuIYCWs0NKhDrVAGGeMqiQhDluFbsYuDi2ORWFzHwP7ScDnHeWb6fV2Pp2mCY38uGj/RFEPFkEZhyTir1/03k/D3Uq/wL3T/CVWIriaVFUi+PuChQjAJJdU0kAefdDSf8vhu8iBB+dEcBBC0F3E6vHjTlcUdUMZCZCRGP/cs6k+yV1EJO1jDjQNZfneTsuAYanV5iKW6SiIZHe/vy4AaCJ3BlWZRCI1oxQucqbgIHys/RII1B3VXySaiLax6ub6jE2z6kRyQAx3kR8h5AKoaCGlUfWgMy6aoY3DYCf18gU1U3Xywlom6TDNIGkanzG11yIInNT+x1WmrIiq8unkqKbsPZnh2DTay2eRgz16YPyBmKGcESZB4U71fh2lwnOn4c9UuMQc3s5MxdLP/Bl6KMQcNCmDqpZGdXYBq93YX4WWd+EPMqns0wyi0nU63XcPywzKCsNJ+vO9d7py1lVYVJ+i5kJs21RZll86o95iYX4OGZ4g+13bu8BXyfwXpphR5EnRPwtMqjxW0TeH6wV5qsJp6K9B+OqgB/Pgvo0rTR36Tq2Kt3ymzs32J78AEpEnNs2VtZzDlzdfdbjlFa7knIemElHMEFX6GyP61O91tsQaVC4t3YOt/dW6L8RwYsDSYwuqU6PuLkDZaVZuxHj6gKhVULK+PJtSGdUe+5/aD+Fq/jIZuhX1vOPSFCTSK3TyQeouk9jdNfAaXILZALZCcDJ19oNYK9pSVHo3l42zn6toTs6ZLxRSStTT0DX0CHwhqJSwg2B67P6ZPNHZh+NvPQwJDmF7rXOnJHKA8ejCSA++7gLqXEv9Kq2yH/pGOvbKf70J+F9C8c86yM08Zpb8bpyhXElJKo+sO5mZ6rBvSQ0uDuBR/TZaVOcehO5KaTTKI2RarYTWMPksygcXtAiCraWLVv8JfxcsklLFmjh/NT2UTCpNgPkAqOaiyw57M5VvjdN7l5Aux+Pt07pYBKoEu/np3JId4upukMSmTbc7TsXNmmys4EY8TYD7mD+qbBtlkYLYEzy8c3S2ui7lIrig9FfG/lLsIdkHD73XeTH4zdvc+kBKBr+se6/M3l4/4W9rdRTTdXcD2aHFAATJKnnMpE/eH9D4U5NoCSAceDnkEYpFdDxk3JTkls8xbXwFmuxqWzgBEKRfkz0VgySPhOhW1bD0piOqK5+Q7pjKoQOAo09F0tsY/kkN1DfX+NlHsjQM7leC/uacI+p5yHYY6xAauTPC4MtsGgRvkwWEUI+JXLxMHBfNX9I7xmLAJSKzKhPJ5CXG3jPnaGoVlfrC5ZU+MtsNSM5DQuBLf5BiPU6QX6LT88jd32CkdBEPo5zcNAicuQAzamkZU0BLNO79ify8B8jcTvM5FaBzlaZXaTxeK3k3cQxdGtCHKv1+o7+0YH1bFgONt5rUIKW8ZaBNKto1WngSgpxmi/Agt6kiwE8a3CFBUb7UtaSsiotJpBkXc0R61nQmRRwdvY1u+O5FacV1YcZY0aAUe1WEkuelSF4kxhgaS57eT/ogw6L3LOt4Gq6/Wve0i4PcWJjfmrNaOLBbhPnoVOaK7qy7P3sLc6pc4UEBwqbbsjUDHdgXr5q6WAqR8HxqgNi2bSFQXCqlVQTViBk7vtFKrjPyp3TSiW7Wnwox+4ev2L7VHVB1dxW4KBn4ULya9bVzXFYWSVyF/WKhfXET31dYyFqS/D798g04ahBC05AbyNUhnKSLPWxpC8OuC5NOnMMFzofiVf3qmVUcZbmJ6fPsFGy9QX2DM4FpNTFIAFeBi/kXstETbJ/sEH9ME3FyJAl28O/j6YV0hwqvDu5PZQ8HhRGYVWT6JT6MJ8/nnJTUb/yOWwe/hl3F8ys0DHef/MLql074YXWb43Ur4Ka5uO/7HfaN1gh/UqY7UndfoXHbgNkH0A3d0IcgOLsPBdljf0REw2449nvR7YMWuFTIOkp3e94r12wXp1ngmEf2EmSNUOz3XqZv+winnVvcs709RSUdMwVs98NMSW2anxbriCrOKCwJ/6pi090aHi/ewkZgvA6JV8iajrvcjJ1LHUaG7zqfsjlqGREeJwBGiH8HR1njHsNAuD1WuYtr6M/EsrZuIlqHH+znogKRbzoORMYSUTnG7PG8g5cwq8qqaYq1UgCatpe7cWF/sUFYCgmGv+gdWfbIoUyTVYHxbF5lMxj0VgNBnDcjykdsofOxq0wWj0bsUSz6kl5nEJYQlfsLJotNdq9dR+sooqY9iweoBaDVXAlqruVgddpHPf4cXxKyXkUzCjYV3OdPF/ONk4hp0srNH+TwVzmtnRWgy7Fzatf2QhLHFnAL4sRTiFK5frZBDVYdbz89i2OYxwr1/M2TyXhfjAh7wkt/XO0hcTIf85C8EJ6eXkxu6RHIg3OpL6uslquWXELx2bGC3R7Yi6NVZL93rTHbAjgRYBMJdjaxmvoXgooMZ0mrRIs+IfEILnPpqEGEm23laqoxk+mG7bu0aliCWzsbjgSLU1lOTi8OB9BIoO/40ol0zeOFbXlgOl4W56wPo2CWQDVGuL4B/qw7aUMWwuAfWApsHw/k9Ts+AAXgztd/z7PbavRPJeekaOU2Af4vPoOHPp94BSjuUoWf8xLT/z1aRkilWtNYDA593xLSbCQjzyi6NjyX1/SDUMresTnUDXfoRdmRePhI7Gv6k5HjRXolXLUxINpahyx/gxUz3RGhr2azdn9g2sm1wgnAz+hx9i3DlzLRyc/ZHdQK3BB1nYD1wbK8Y4wLZyAlqfbsoN7ECbkD53gKrx02JOv2xhShyI+NOXfMDUGADGldhTJuVIXI+HtqKgExB3QYl4jcCRiWAA8Xtus5YWPu9Q/G/VEK2dhffGpKR2Txez9vDVYelAlwetgo93uajS29gqdsEVRfhElqYvFL5G0tGg4+hd3Jx/Bq7X2PRx/5TjABw/vEsHfYwEV04oxq4U/8uaOMzh7mc4kS38PFEG6Etf9he7f32853ONiFqhVhAbA0p4tOC6LnpHEdKGmc6SlMAqfcJ/77QsHmutsoBCBg0WiFwsT1w/lsIcFI+mIPGnuw7W6HlrYOt8nsUC+V8it3aUzGln8WqTpWVRjgTgT3MOBNSGJyZxCeBbY1HpJSm1odk9J5oBoe6rn4i3spq8qQrmxAH7Oz7uVuNYDvAFfwP8K1DMph+Hs/EVePHeg+v+C9c9IzUCC0jEJT8ALptnS7/d50mqn5hfgaxft0qN2NAT8f99l6Tv8OE4K5W4PLPeHZ61wUfA/YCIsFpeltKlXjN1lpliC7WjP1p7zmIG1I7ErwD//MaFGCZPfe1MtzH3DRJ+bC/MjtiXf2czLlevIF3LLPOtkIS1MbJojYIuaSvgjVNVyuz5ab5uYBEtUXbNXf0JiXKB7QI9HF7MdwHQbTDPbRywbsQ8epukojxP9UIdrtOSlgRe0j4jMsvU4U2EPnVrXOvW8vJVVk0JCQ4awkhBLETfYVwqDlFMCkui0164q/c8BUMUkNNMs7SCeRqRCVNANQ0/f8cdGFZvACjfT8YuKLpsUnswTZyl4wP722gSGTYWgRVybQGkvF+AxJmcVRxLBP3ltlr7/QjR5yzVP2VdeSzks7c8BRe2wqwntwMIBsL6dbEMpfFiowTZpdueJBG+w1ZdNDsQq1Pr52287CMfnkH/mElVVGx0XSb2Mgr+YgjPi4hrRAJ9jUstJz1QMleYQzKfKQpoOG9UWwqtxvfIYlCBxzYXFtsdCaqU87lBsvDJe2O+UvF2CJu+O6GUB/yQjHHR4UHzEyOfVYkECuQ/vYRIxzhDuVeGvmuNOtL1X9cBbvaae/3rgTcBJ/eh0Q9giIWjcXwmRGcvwklD5CudojueByeM6w/DVfTUnoIvw9mbqy7wFk3NxKmYLFac7EBBEbOJq7PcrXK6CzH/b0HYBVfuITSDQOYwq/r9q8VZWL+HZWKHOJVIvLYWxvCYIg+/HkY5affvawq+uxorw9uQKkJYCEUHwX747JhT4IsgUUnZeVP/xUzZIZwV0W3vh/vQhv9YRTt6nwrurGOd0h7dcb7q2g0YXrXJ1JPdkO6TF2w1hbV7Yx2f8aEeb8Dm6J0rNNoO9qQJIntGfHUmgOG90K+LIoy6+RMDKPUnPPbcGIwS2wGGBrjQlZSl8RL5WuO8saai6YvZLKveB0w+KkB6FkcT4T5B0U3hi2JgPTqkfGd0OLpqAv+c4P6HEjgnWhGzz3Ei5lhupY14S1J7dHm04NcQrKg02FjYOJJPoFdXc4rvG5TD1Qi1+3LegcEOp6cwI7dFkFEje08rE3BdCfYHwW+oXkFWm+5NF7qnvhU7PpFTOkuD4uHQJSIN1EC+eCT9w3FL2BR9A7M4/9MCK1KuKfc7yzaNC/rb2+E6C1ttPOT6peqSjL8f0LITWONnBsyP/v1GvIml5iPyvhScpJuUnDauIvh9LXW4xXbSfoRQ2CbU4Z/XterTnFxojCAboMI70s6duAN++Ar4o12Hv4op0KOvCUwVYgOnpyFTbf0AK03guVO1hBl9KOHwfb+XSP5PW8VgnU0N5hXdUrSMtliMUIYb0464u8VKy5wlxXOqnwaU2+tkbvIMlGbQ7gDQXtVqbJSlOnzJuA5dYcaWPUo3rd7CADZ3nWBoYbKs4IAIQhMlj9vOCWpTnRPvjNRcMZia4sI/0asTJhkCOv7LdKqwt21RXzWvatk4adW95YVzBrLsLhu5H3NUJdHxvb7SQnXxmJTEiEH0DSLAoeqEuK0MgjwJ0wmqTb+mRtGgXLQJwFXI3gb3sk8Bp59LWv4CukX5KSuDISI5/PW7fZ5c2RjCwmcBvvwTKKD4xJO8RS1kFGaBgtqk4qd+pv68MlOXSR8B/3q09qT2pd/pOljGTXIQ2JwLZWzsGh8Rwsb7obEvmnyQUiAf/xivM9/YF6d1cyxexu08L3PF4TOCzLbSdnU4joq7lIH+4S0nICZiHHApZkcNczm1RLuXFUwOaD/cP+37fXDgXX80HHO71dueSSQ7IpuKrbIkKfEwaH1VgOLIClhxDii/4uY8xELF4o8zoq8mt9oZJ/LuT8PAl8qEX0Ma9+tsiONnoyTPleAzZQgLZfSuxBbG7CTHxLO4rW78ElsvsU6o0X47aTMad9DW5iGwNBBEYD4fPZoAOfMao5PQGfJOQhuhtMiT5FlQNkOLfbTpzwjatQJRKTf0i8gimdsTFnnS3fqAkgZWy68S1+H9HEabLHtOt0EV5Z7oR85IUfWrr+6r2yKHUOagfs+gl06l56IorIrgk0QuEDjp2SdLGXt68p2+Vhj5qrPoGTSxke6Uz/HvqLcVa4Pj6rSH7IyvndJH5Ept/RHNlv6Z+ywLJDWbubGm7k1qPGzGB4PiQ5iOpKWhHz9EwF84yA5TMA1Es4QQuZoSfrc1KZlnaEc0qDtPID+NepjGN9ztpp3aF/KkJyN1Ly/FY6V7RwPFl9wSJdZ7zhzsnn8RDz9ssJ0TzwjRYWjwBbiixdGT6aUnolFQK0T3GPQk6TOM4phkdaK/DmAlTTVjizczlvYH8mUmgo2ULzJI2Kc17lwts/JZKVTHAf0QoMF+hsa6gWHrHA+fQ0DfVPI8jUcpBZsA7YH4qVbBN51JFjfi+xOfguF/Ude7fcVJNdJJOBiPJDyXXo2QpO03dSE6ODoNe9Izyi1FKbwkz54uNzbER6NFKXji9ChVV27hzTXIPHfpwcH3ZTYYNDZUB8fljDTFcU45u5MlrhVzMPEoSf+ok57fB8ktBEeVfgzu9FrZpKRes7WEtpU7FL0El6VdD3nLv2dJqj3swB/0enubgdG8gBFwdsVo2nFx/TFq4HqwWn2+9IqPc5XOOU/0vGn0dDp0ivgDf79v1s9nJ9eh6dw9aA9JHz0dSN1V0SomgQuAs7cikkuiocQ3KeIzVws+roweVY5aOXWKFouxOd3GnQi74abHOw2VgG0nUDDeKYnFx6ae/V/LuxC4ZsWlWxPAmFYB2e/9vD+c78f/VBKRdNooO3Q2GI3D7Zf37PRBB+q7QFmzoQz34RDZlnUl7uiT2amPgkaz+7erDn2Kpr8rQXThwM5pGitNBzFUxSDDmIasHfjsyk7/MFCwp3IICbpa7ItXo83e/mZhGE2T4mkAJEvh/Sr/X0gVp6EHsa/PMHX3OHoVCXgd+unuQiA95cL2tUXBaSbvzhjNq4S9QtAPD5lSPRvk7zeULGZSX3sopGXN/b2KgSeoL+JwlBRXY9Mq0Ku43fBJsc8eYKn2Rpy/S5ly5gw8Q7zPZDIq/V30+ldYRa8zb/MtfV4s4eJl9BEAqCj4l1Jq7DYN9LXADhd04akv4xr2omd7Nm18efI/V7lDqUqxmCl/pAAGUsuPAuCqnMJoSW8hb2zfDD5qTNyI/rRKWy3v3O2tb4XZsIqhQXarzrOaaFhebdU9q3/ayk9+hiciMLyKyCj0yIlTivblztsA9NR10WD6OLEIRQTNe5iWRFkiC6IYyqQC+kbbOfAaGfVOy2u9BMXpWd9mIAx3XMV3/upf2qf8b1ukuGZuB3eA36yX1OSxoF8pR5VbXuS+tsQ2z4GiVSPtdGpTZWmN3D7UX06UHkDV8Diye8hZW0P//wvWsM0j7QnecJqIdda5MMvwPMGIhXk3YSfmcvuiUQ+RCNoiQ21Mvpl6LZfc3l0VIZUYXy7y/XD1LGpmvcZ3AXzaiTQq3dF5qjVB+nogUEeD+OsWbwvv78G2faxjSW+480r6e+nYy34p1bLOfst2ZIw0QYb+8WKu183WAgUQuFKgWYGKdT4gY66mll+gMz/o4H86HDOWlwBqPJZLfS0JH+BptGo2JY7P2wtp746+pON7TibzjDSJ9CIH9s2RFtzdOK9Lr758pOFv5rp1fSceY1RIJ9uw/Rwi4ksQc0pGsmIlGu5Nhq0iolYD6ipUXuV4zDjC+RTgkemuXDwrb0m2KZBallwHbziPBbNHKsJATFGCu3HxlXj1rfGCxVujRp0nfOhk6zmBiiTvlol4MGpg80njeyflIusSUl/1ms4G+bLY6cEOuomdfSLm31U0Io7kC0zsq2b+6neJgZx4B66qzdya7bWlsPoG3lSDkSI771FCmxFCEWgl6piYXZ5FqWfDagXitAWVi9ybhB/mcsHx++h0bupme9MjRmIM8bgU5iu8Grls4g2CCZ4msUSRR/Xq0rsV+QEA9rre8ZPRoDEvfizbjHrSz5Z9DEdaJgAO7xjOseRRDKicCjS+JcCoZfFL2GR8Ehm4VUCkk60niW/D+5C/+5KC+igGhUsJcayshxkZ45i5cl4GIaxzmifbZnrukupmWSPbdpwLET6Tx9JVWcsi5N7jBe9wpDBy60eyrbLaP0qdo3JWdIOrU5UwqF+Whh+T/WQIJN4jDDiRK5NtMJYgfhE6AHHqvzJuaHI2V8pa/SPdwy+M+NTCaHkxE3flqz8xE4xhKK9e1OqPqSLJLUviZLwjWSkDxPVzeU0IU4Oj7jIbUjwd2HvNlSJUZhJC+0Npj2iN5g8/ttVlNhqcGuS/M0iKCa8gmLKPB3drlt5TYQcOHqMPD1m+ioxveAxxTv+LlBRjLF0MknBwoaGGFXyGephQnznxQqh9IgFCAsTRM+S8N3gbN26a+rr4rsXChLuwY7ZNaI7ApZ/FDaysTqzaaNrjiLComo4mSldpxoJwMzwSMobtOIxFnD1EVHXDsIg3Qkc0dQtHK4BYX+25KPlgSf4Nh8sxQ7jmcVibp+p40FasEocPWFIN1zrR/qFHBW8nJuFy3bm+sgjwt6LUZrhM/2YaE9Sr5vI8U2lllwBmkuFNyrHjRXEEObY9IbJ0UoVeH96ZvAmryEVLhm7oSSPHyuLArm+6i3IPo7oa4XixsDwn3rHOJxXp1MfOPGy1j1REr04QdpVTFyeK2gB798UrMFMNq+WK99v6QgLnwDA5aPZzVYxHIXMa3lcleb3U6pJfkBruT6vJ6vSBwlJo43kAM4wfHtGl5Imrjag5Jy2YeSARsm+BlonkXFaeZ9MM8SCsJ6EGHuwNQ/rpAyVOkLsHsfs5zjgjJGDi68QbNu5IHqjdB6cfnAu6S7sUph+lZzCfjIO2B+rXqhklxaQcW2vl9lZyiTOlGl7Tp7snI4QF5TQCcNzpPQRJRDEFn9d2f+7Ck1bQLGCirY/eipbsv7J/MFNlnFLut5KJDcBQYE+Q16Lr1Dvl1EW/v4tZ4UcuBjniGB+vnWvk/wxYfZ91iq75enBCekoPnD7a+iV7GwcnhKS3+2z4xsJ98eUj/cbejx0c4NOoDnRR24sw8lkzHY4L7Uu09KmFpO6nFaFYY2a2lAZ1DD3ejr6hTjBZmEeGPsWrkzT4O9US7nD7fSF+oZKc2w4i0Fb0+OICNceqcbzoQ2B88/Zepvtuft/iysDkcEwbE3Mg9kiv/zrbk5aDdEFrf6Oh+r3mtD6DMS2GBnuZatNDaHjWL1+a5SSycNMcl+iEvE14mJtalGmtC5Csdn4LjlwALbVdY1Wg53YA7dfM0nMj1UEz1fx3uHrCLlbAk5UUjrK88am4pCaCx0W709xQxYKfvJDmzpTVI0sGkv1zfJ/ubFGMDS4eK3RZZorjKMw/VMfTXf3CBuArZRsCA/wG65HMTvGHWeXnZtwRr/fe5VhTNQJDs492QKD4BQNz+HIIUT0gBAbBdv6UvEI4dVGOFFMQmCJkqUlYxJF2Lq/Tf4VBk4F/yq8Kfrenkuw/vLZYCYJlBUziBsp2pcKCDkRjGni0de7KQPUhysXOUeBOAZkIuLsiDsa56BodLRIcKgVusAm1FzAzwv1pTRsV+usockLrvbc14mTS+dZQmHdf7aAnQun3F86oxKPr55ObL2Tn5o9wSq36P7ecUW7gsE0sxGdDsTy1ScIHTD52efqrEYsi5/hhwnAbeouYOUr3Wo7LxKvnZoiRY9rcwaPwxFHeNmZBEnHJVzwp5BTcX6aoFEnujYKcqX2iI3be8dX+rBUJd0ARJ1MU/sZSKJ5LfPG8q+u9RF3lgMOO54gjVIK13Jfs7wioY5HW1jkurGYnDN0lcfbdJtpLBHTATyOyELsxF91XWplQMkLyGcY0tqBMt4hyZQnV5yYbCc0S/VLzvxqXOTTOO0K+pm4mnM0eaesOszJEtGqKrI00klEKXh1MBDZCI8SPN0nwtVLkdyKW28jD4VWS6B4lLvnpsxsblhmMeXhmvDEr2KhLBZVmAKV8HcONqDBpLaDSeOnwT9/Bn3fo6uQ6T9npoxKLvsDX7DH7GN8XWUT0K9Cy1xTVJEeakzYR6GdcpkhrjvL/SXZBwNiOjHlOqpSOCBhQQLeBX6ORux9WW+YB5xo4A8qAtBSiVEkYt0eKwD6WbChHzeWhLCkPZwhLJekdkbX47XzvSAugG3bl3J2FMPgU79aTMGasiyiKGlU+g09IrG5mnkSAlNLGeJIutXiuZm86vdBMRqGYGehkp4TfwQ3oo2fjqkgTHni7z1FfMXaRBcd9lPGiQ75MPCKrIA3h0lJNeWldFZg59W7Fcy5/UsL28HOWvb0VUqDtFLlryGPGmV6sgH4Me1FBvPOKw2sv5wUfMM6ZC/nhZUTNgU03gFDzVsT1j5CBZP2hbYvBTDRsNdxV4gTQl6fl9qS1nXBczzYR7W5vthBcRCxGL6DXjle1IQkxT5MXMBtnyA5uiWCJ1aMw4IY4MfFMNItVqoznoTJH9xqCWaIHkvd4dVl6dPUmLVKcMskZ5IhnUUz1YhtVEPujnD52ARShFMOXdRXixFce4LkdB/a0WBEFMA9pXsFzrQQ8oiQm5pjc8CfO2X4LXMW8uqd+08lPpzSaYPnGibENQ60TU8QT/8+l5hYeCmLARbmxyPa6XSL9QmIqiGIwKFK/EL9N8bqU+bsG6G+uLxe63e8jV8Yv7NVGwS5lU1UyiGTAObWleskLyCaUm3UlxL6M/Zetr3+VzgKsZo3fjGIAmAOiYLhLdAEvwDKV1I2M28eicBwPeiBahK25qLurUWlVgInIJKUb1SIE9F+ipxWjTXM7oFy4Xv2HU5RuhgxuB73V9tsoNMSQ8Maymamfurruv4Nib121HZ29W6rC2QeJsiqEaTzTIsP25C7NKYGaf4mkiER3tZzuedz7max4RkqmwaB/5ouxMGx4LSjwuhrgM7TlqzimHuFzcFg8OYfvmJxQ4hPT5eg/fVQg185n0X4zJJB5d2Q2nawRyAtFfIHsrwCNRdIC8MLxzh5YXeYiX7hiX9MNq3ZC9nU93knkESuVgQWHRQVczA+SWbpIsEW+eo5ENgTvfq1OKPnBR8Cvhdhmq9Jz0LaLFJuCwoqBr0j8H4uN2JDD5pgAc72ibxkKkVzADwJrL1TH0g0JKUyXFd9hrTSYDuaoAnxoV9CwznTXVNKpCNIMsZ5I0MBs2H09lhZLmJRKv7mXeNy4SbNnGUFcQtoUC3Q7SsWidqQyvKTJftkormozkcxeC8qsmWnDbYT7kvNBfiDTN6Jgok8dxmE5UYkdWOOOWd8MUyeZX6eRPkD6YYjDJ6Kg1knCmL1LXhoH4/o9+FM+g9kI0S2XcFtMXYriQqRSKJO6zxlAFN49YydPrORQ0sQqRSbwP2RS2pNYTh9LpE2uP/2UKp5CxXeBv4p8vWIPmokAYjMtaPiWK6hdnTmiqzc1F/3pOfpAGDQLGpbMAGkLK7pdEyFFPQh5U/NkeHpbGJSdlC8svil/TWWwWQOr4NC1SZofUj9ol54goG1Udm5Bd18sShW7vKIwKnpJJ+pgFN6y8lgnBBFWvFfnVcfqVJa8riwLOjmH1eSSeOKDdwGOUhLHRylKCPo/kjkfFfYKbpeKoazwldOMcmRjxLdHqbkHLPPu+bhdZu6LK1UzCZG8wTi4g3JfwjFCR4n6ITtgu+tCljlYWuuscpKRSleqG6BEngQWkTwL6wBaFddeQL8efXYcCVhFt2KJVp372DnG02f1/Ir6s3g6oV2qdjtXd9n5kmuydCHrVLqHC6bERGnSxV1esz5EeUBXEK+298O2Kh0df3kDod8asNy40hwzG57ihiK5zjiQBZ41foSQ8Nt2OXrNj8Z6jZbMc6TQjhcZPW79+RxQZjR8lKJfcq67FOsdTaqY+RQFFJ9glDsJ+SbvdP1AdMRS7lV1d6zeygeUGLt82KO9p5R6GV0xEyNJ1Z6zSePYEABP+yIy9ZMtx+8cFyHJgxYQSrWJNMQClWf89EZFs6t3r9oS/MeNrNY+A2pkBep2+wY588+v/y6YJZD00nZMz+NL0xKV4/t1P+Usic7Zcoi44hAwgzZvi9oED411fblcC7m5eWcAGtQiSgcMnePadxbEEeuzPxveX/5WK8UjPsRNsfJXQivnAQvEXAhJZfOMTc8sJvt/hw3NcItVgDOmGT1z34RkqIH2/afYBBZgixaMToj74a0rzbrTRBdEPv6FyeMJc3xMIn+ZiM5Yi9Y94EEx/ZrVkq/YeBGhdMvu/5HrvZxm1fcEm4taoCwhVrV2krLqoGogbI03BvdR7JhsCs7bxxuQMn2Jhu2GNgqDBs8QK2j5p5mAmU1E59MhP+Rq3eaiD6fOWos1cLlZ61Vgu6g2qsCBK49dif1QuHEUSegZQZ5dhDNTZxF/4uUzMV3VfuK+w5270L3vBKPusOHG0DF7OVU0alXHIHxydJ3rP/h03pXOaP32LkhePmb+dz34Y4j3jNDtTDiaDbQP4BnvCHTqLbPWw8H9ahSa8ZujITTZTgY6xbcWz2XRp15ovqpO189Z5Ta/39KastaLCKvzIVXnRMeCYmXQYlwcw83dHVdhP0rieM0tr8B5re1V3ig1JE2gxfiECAAQmCHJlGTB5wQqXVEKjE8OeTeZnaotQevXGLo/DcLX60Fzd86jMck1SY6ke+r4335d4QX/slEpAKcne0kDkdJpjXgTOKglrQN0iZn9KzMrxYkwTa1gmG1/2L0cu+zWTyYEfvC+Zh9swJBdTFpue4+iYkpswLE3QvrtVnIR/ditMuA/hboHx8N5yg/iE4tQfdLppm6cxpr8NyRibN2sKo3vx4DRxbngfsrkoEDC9SiyNPSBy99ANWbKxDqfSNC+cxzLl/zW1JCrtSuokqROTfa3n7/df2/AbKiMxYa4gQCRrrttMROihZnQkl93nMyTY5BUupgpbWqqPMhOUnEiM9CzAPkbkqwVm71mtA+klMaCwBtUtpsBaGOgdjVregHXRSub9g9/0BmrknbvdHWmyuhtR6YhAM4bWNn84IRuhv71PF+rqaxmn1fVZAtHnJ5svD/uTxnYglCNcpikr7nu4X+bRJHXluCSbErJtM/W6i7U1QXiYkvbBE09UU96c4SXYMEnTEavlPneCkWxA6VaI9ETjzQohCRvFJ9E9Q1pldCBtv9yL7R8CBlUNqZx2PMN9po8F0x/lXAeSxBoiupKZLssWsVRcqqhfUIUr/Q2w3GYmkyJSyj9L8f1G64uQrmKNnNNXyRERJi7CrXYBUyoM0me6WyGuqT5s/gfD8kqDh5hB1hXHrhbU0RTaah3huZVEqp9sVzExnjao0Lr1DxuVuqrjQrPtldQGWfbvm8JCjVfv+dgJfkfZWb8XsSqo/IM16dEIXCHtNdxle7KpNOPvrbDdUHe5vV1zDuflsF2oX3eEUj0kz9h1yghEykCMFO8m/8Uslv4hui3zUTiv0g3QBo8w+vZQBLbdraS0xFAXYI50wIyhmIBdtLdOTVXyWJHsxhUKOjnjgTdqgehgUHTdKgVroU4HRNBSRHY/PGBlBYUYhfTvXLoGmeqvryFO+6nrhZZLKdbTCv3xFe29h17HRzaQdfBM8a3qiPPBtYDzCMPW3C3QdvCYr7/ZxbpXI/BHkV7PJXaK/zWGfGk8jr0UjIKZQdEEisWnIaWA6SBFR8kmPn2i2mCPIXr6CQIL+pLtuiLQFx1Q+viwHFBNNWNSi5utnCP5z85ge0WV1SLIpyEy2I8x8Xd9tXwHh0NUQzE4vSJSH/Lm8RUTturLpdskleMZ6UQEZQcA6/rqyipas3ozgdv9CauqOt10pFlr3BM8AygsVNEQeco3MsiaWbSld/Pdjh+lc+b8qu46VTtxL6cd0NoG1kznIN/1wCswKPFyDA+dJ2y3mP6wiBqH39kYeY6/jl8soUPnIeXsTkZYORW9Dk+PAvAqBPPyrZmLTwKDw6Wayn/00lKkf0D3mcGGf21AU+K4dSiei5gqqjEfx1X/XHxantMhVjFQl49sxnl/2kzSiiBRD2DdZUBarK3BXYKCLyYdxveDe8S8qcJ1vj0HtxfeML4iEQkJq/+X2bgzsK4WlPBYHL/xN0EuIorAaXaXpcJGQsxa/BM38sdk05PeqcrFIIUVC8vQsgNEngbsSvSYt2GFPbQdwR2MdkllGwyoPaq1ABSe4V0Da4syo4VZITOvc5tZbhVMhoM/k1MNI4S5OiGG4oHcAG8KUcHRq7sl5oPr6O/zh1niewk5c5WBJRSLRO5biu0GDQm46OTA2lsMJrKi5xeh4EmQ92wZ68Z988Y1o91j/ipuaZ0GPDByu4XHO3/j85NyWG/ebsD4cq7/dw2KKQtZTRRyY1NZoLG5DUWky7DSR5/kqaCe3ID0DE7oeUrRMQO54Sqd0ZVSEQMS8cO7wlSqqrpssTGfqqd8LeR05EQgdnJWXdAEDXNu6qmSkPaDZvQR9nRLNCBkqwJHaY2tvltgNgiSCSd7Cftrp/t5yltRKcKwdD8DgSrN+yNDPfmJXQepUObBP55uO8obICqK9ZrFYnSkui0epv0nhPQ7WoDPbHsRpWKubXmD55XT9KsPhxiMLGE4Hd6m1opz/6li7RB7t/u3KdffgMtiDzewIgK8yRdgVpJ7i/dahC1Bokzjy2pSi7ewUpzmm6An+mL87YALMRKPMkBKRu9Z4KR4anOxBl6JoiofQEs9m+B2Ges/7cnmoNGrcbNWcZD/qYjGtNaAInqUbEMA14NZRz5z2tXNvmAIEsKDKdi68v5uJ9MaUKXJCPMhr3aocCE9itxZlkhp1vJZqHvRvoOHROQjBQ6Rka5DdvnoaWJiAzDvtqNOp9M7Kxp98yyjbIVMtvwhCmZW/48dh04ef4F9KB8RWE+MNI/YkPx1vLJ7bnmkIJzpewvzevAYAVvoM7Fce/3EinXQKJA+vHymnwGBN5zRae96/96tTKgyQL+L45NRTZO26+yDB+Pt4rEh/mNKijYjVmEQ29U7YAXTdI95VNaP66yR2uygEVIrqEjo36WKS9GXFOciuV2Nsr4exSqOLqL9caERrzbN1sRGgESta4Tql5EbiJlSoVDYnxmYTq27/LXxa1IZ8+9hipG+csF6qShnla6HgZQjWX9GTTIfz7CBNwGd+5qTTjdiTH0eBI4urHZf0Rh1baVHphzd8uux9wBgVK3mmAoaU1ipH1XgwCZAesDtCaeFJYjtk+/CW3uJyQTzFpfJKR767I20fGwpDvHezybCgv69jt4ZLL1btktb22H9NLcQ3j12lIZVKIhfp2uvgkgJTE8ogsgZmtXjEnvTuZPhM7s9KO1dDow22y3gc6ArQORf+S16utPoxUm45LvMjoBiw/cz6oEmjG3xajK2YjpjkGvRDcg91szH/d1HR+zrb1MZHYjM28FK3QWDK77TSHXrghOnyoOVCcMgng1a8TgHDJ4mTbWUUHft5jlE7fSFEZdIEhWFXRSi1g/HhrPjecNleOZFNhS66K0XSG+MY+lHKA0y8yYW+eT0Hqj1eV2ZZ5HwJRysh1FLjTu9hIT2paxzrJF2Wg5Ak+EDKrFOfY3J12ITJqsQ+0zYtl1x5K386raIU04aHxQEFKAsv/EfEwh37bNK+9G2VCGugoaf0kLp7iO4V1mdeh4BTtlhAQxqlnFWWe7t/mtFAtuGAb9OlOix8rXMhOCBYOvkCI2kNnmiaYbnzCBfdwogauGe0LDs3rNJacEGVcM7uXKvmZ7ijARyfI1kFRXeM0kbKKyoz8WMsNwBUBnNw1gI9SEI+cA/i0O+jP3sRuQs9iv+bikEk3Cnnwx3rPmjgZmW/QWyI1BOhXEFDziUI8sS9oBQsna7Z9axYuS7EmTf/EMU/VtQmnb/7ublb2TTeVD3JhR+rFf4cU5H9w8Tx0ldnDmk3uEdKtM7bqG6GboCl/bSTUkG8eBVEW0hfBkqU0j341pfLvRrLw90Pfgrg+7HQ9wixLiMdMjDPqf5yGWzFoTc9HWINKk118VMwRZATh4/RsgkncthG6k+P5aMJ8aTsIbUSbchSKs/5sjp4/ZoFoGXl13yg/FOtN1AIi23qEahix652G52D87zRHV6h4ALL5rO2VK5cQFqUUL0OLZ4II7qAGmJ9Gweqql24VARvSDvCYasYoTeRsCSPqofRB1Xu6bOm88abBn9UZcvOuqAdvFIYxdltbxIuGel19ratkyBRHyI2Hl7OEw3502KD3vTIa5J2/tqMxjDXEK3QmWaDehlhamameyyZS9bKIqbjfm1aZ/WGKN5b0FKhNppNptHcF9HjzMo6k/r1uOtibcJsN+y3Egdp0y2tgIkBLudBUAfGtCGvgysk29xYiGKaN8DS5zs43xT4hqfgcsFPvEaMBM+ilvwjUgk8XFxF5MGHzIeLrlUlESCgWR1RWLvucLwhPkKyhl8qf/K3fkc7AAsBVdI7J7puugXYDDspVBjNLkv/ggeK93pnu907UhDQCEB70+E9ZTK5mHnFjAm6a/HAFwvNHmikQ2nlAEZ5/XC2JkuUrtL3nwIuq+nH8gIg20nHx7ir2wi2noyEDVa3CBzt6pBmCr1AHOCKXauhC8dDFKLx4Hbmc3TIii+Y0t8XFd35JFeiqeOpIwJhblU0uXorpNkXe+nXtYSLaGcL6hCH8TCso7rvN2tBcG+YrCgMHiecTvqEJGcFJSO+OU68d6sb6mSM2YfXpFsFBDRld0neRENrcsr1TPGXHzbwig12WZo1W5WuEXq0pOl2Nj5ecvY/UobD+SOCYFANKQgE/ykdUvn6R+1JW/je0iPy9+B685eNaXE2r/KKnL2c65G+1QjRB1jXI8vcsWaAmCZUcYy7XTQy98SRhfm12ZZiFxLO0ptO4WYWdRcBBeMyg6cMK8MFfvGjCl22yTkJ/nouqC9OHLujrNILtQ6a3UDlM5gctlXagpd+1t1c5QgJcXQHSCa755lpktL6sgbTN65aQs5xRqnAu5vvVn+/+Li+zvDn0MuOUKRpOBrxt9fvSQilbDz3XR5ZfDOQi7F9ifVKbLzTbQvNyDFKOhqYQqDs4HZXLA/nynRcaZtsFL9M4rskHEN94JVMvTjdotDULGeS53E4BHIMRo/SRzfnv/LxdATmpjeK8hnaHk3co9bwhnGOL2xq6rGITqZSbFgBaFxZDv2B8RMhTj0PBjBaczlhMK/HQnbbEgfonrW8oCRkZtL1CifEyXMgmrLeabo21hjuY1Q9PN42oOCsaXFNMVjUd7oKA6uVZhTrHun1nCFJcIRnJ3IJRjZnMtR1dPC0i+aOcfu7m3O6bjSwy/EEUe8lxayB79evBsMk0hR+wIMI0lCTh3kwpa9BCFPNbzufvsHNW7TiunMRPaL7blsUrpMPy4GF3voTAvcX8EFY7hCCQ3Lch79QmOTjxjOJiKeWfnkLc68+z9vbO5HGM7OEnt9wpD2Pnf0VlBIBQY0Ocml6X1YbMFQFk7YKG2gsUZWO+3Kzyv6LuzyBD7oi236vvGEPKigNfvQkRtWU4/MJey1lrkfloXA5HtpP/0jneCsIaY81tVsvS8R1Gp/P8ENJdLfnQ2uwRZ2Y5qYK0I4c5uvM7XnT0QR6vrJPL6BO3aD1uYL2V9hNhCXCs70mA3OsmG4bhT6AkkP9yRH9YElclqSh4HWVASlP0TQsx+8EbRGIvh7Jg1fuEKpF0eAgQQhfNKTai51gOhpc/+wuI7DmOAlsRH22ZR9VwQFX28ChQeyZVXf7mj89IPALf6APtkISHg6SZdxBWZcyw3gzkvpwc3OxyFwKwzmRjGnke560WOQ0yDpV+KalVI1C0HUUOk32juIZoZnbKaafVnlujyaODPDeK37Oeq64EBdmKfTwQT3HKWNrdW2Q4fK/c8k20+SXgPEGza79baep0Mk5n2+/VVWtxViu/Jm7gUyCKbu6XfZBHksKomv8nhoU9AslC5zXsgI13cTkx8OijT77p0qNkO8gqm1HeHSPvTiwRgU9lrgd2KejgtGKaGiG3Onbdb5ZCKK4ag61zojwkJBi1NRC/mONzelgeA6CTtUQoeU6DbNpfEJWR9+6X94v153rB/r6modnpsFX8KnHTXbQj4wNS7WD6r0MqtndVfuk609mG/AVLK8UIHThKfIbAmQoUwRLCulpMbbRwvBK51TeNCfAETv9BAiYXVuQfUcz2OrkYKK2H9XQe6buBY4ZP4bxVFeTMgx7Fv0SVwX3sJF/7+CucUv2R7qVSSAaeilz0F6iEfU6+IUaV0gnGv/ntjWT1mvUI5vwKrEKNhyde17Y+aVqVHhiEF6Hxl3V0OCmNlfTZlBMMU/nOd3r5qdf/IzqQ5g2ZqUc2ccKr82cmxF/eETvlQ6OrmlheBPbeMLCgSCs47c3fL21sHCsNby9OgZrhKZTR7N6hCUZwCXkyWCVTUAl9/fcJGjpJ/lIigi5Vr5feGWRF/Hl6Ndn4nYRx7uaIe4u8nLSXM2woBK3wqutxeOSTshm1etC3+2EI2ChN8kw+gLGStgCovno/5Nxpx2mj+hTrlb5VwBIwvdzyXxdUf+sZzh03jSbXb0w9ioobyk1iy3pMtsJJ+OrPmFkr7hFri74pRMOPablfRHGOh13aXPInY8JIjP2zZW+eEzR30uJFgqN62Cv62SqOvmiCrUqtf2E3w+XW+BzrcoOKzxO2Lpd4AipHFOPw6R68xtqevndBDXBz77DYEWsbHHEYL4jw5cbPDGT6CIi2O9tgqx559xhcq6+W5oqbbHhMNuHqBllyhFN38fLrdMLR1YNFA2jW/HClTVjAN0jIEi/9QDyCPEK2qHrhT48xvujUJedgCbh3GZy/7M0vyFAeMKoa1An+zOAbAzC67vsOxqFENSZHcud4n7rNwLWp8/YbsXRzas2bO0Yb4ZfTy5Nu10aVcU+MaHRaq4HTZqLwZwLx+9AzrkUdL8Um6xZvK/PVBt3P9hNBFvFNxLc9/yxyttkU9p1R4YuQOByJQE9qGW7BCzLEMRfWn+weaRWL8bk1gvxy9u0VMHf2/a58Mt5ofdPa6MWCm3+D1Q92e8TLoKgEXSwzu8Lf0bp8SeshRlrnWQqwjP/foZd5ClLlPDmpMQwS7TfW1scxB7wS+T9PlIt3BwkFadYIbVooBpGRh8D514NRp5uXn/AWKmZmPWXHl7wDd+fEj7o7QE8Mxn+zpod9X8wUFYDThqR4/Uf/GCvMwoFv9WvzDB2B+yISKybyYC9ccdnjlE400FoDopIsuDKJwbEKMvvRJMSeJj/57M5zBu91I7J1HaQcgPT7TtOh9vjZeDRO7tJwz5y88/W+FlTtOHsa9mXMursRQSc1uLVA749sIBlPGo02WU/OvbErjFOLCQqXwnY7EY7kHF+BtHd6zQD6C4MukedUajOHa/bW0piJd0gUhwI2GF3WbaOyGWsXQY6ffOEb4/o8+BKyAWxEjDNx6vqFWbq5rv4QM84bOgTfmk1oC6uX8ARSexrvQJVhlOZrnQ3jMTf6FowA/cscjfzkP4BYlXF6jY6TkYb5JYVO6tVoihwkwQtTk2D+QjS+qwR4tnOQsNLenaCfpRkT1kbv161tLiiayCiGil5T6HMt5ThDHS3s2SUWWuuRg0IUeycfakfI0daF5Oj0AeWSPw2A/3bIkCJFjyWymcWyzn/kgw5c1WJk6/yscgw8xtPKlMqoNvVKNkI33obMVTHgPVvVwHh90p9EjVMkt0z8hxIC+ElizJ91P6+G3QkmS5/UdktzUy3WcXgmREgf8rd7GV3UfQJ5a4vlDwErCD576a8IeOiFvI4WWea9SdUFKrjUKUcga/hmAu7UFVxYuVeI3zk/jm+MPWlMsDAqJuq8N8YSffXN4Ou1+j+7Ob+DuMpEfeKVOn6JLR4vgHgOZY9EDm3tLM1IQxPh42LuVUcL/I70VEnEuQIFu80PXx0xg8PYCB2b+BHDCg1b7yxnrgj7eTMNwFHq/uaEtTdsbqjs+LvaUgLMOOBvFUnRYhqukRcR+j3V5m4tMK4fpxbp7sz4V6UJk99geSktwhUXufdWZC5pDjaBTaAtI5JpNLrQ++iFjYqpxPtTI9U481Z1XbF0cSoET9qZGSUSEgCuGrpXuDFp/mkVMXm1CLZ9gC2pnkbj1YwasnBE5jUACFk9W6Twrh0ehD8VYD/InMlUDRSgRf0wPGwvPH5UJT3V+qJxqzvdR8n/HtlzhAh5g2K3bt/Q6KkzqcwzEtTmmMVHnbd6XuYGWaP8XS8Jlwe3+peP+Fr5hrwv+PsWGx+Ua6BG9QuTeweX91tGhanag9HF5bRTU5FPP/4B5YXeqig9Wtet722mcA0xjhYbZCc2FtNSqpQHOt7dUM9morp7+qJCXIAfyPynjBdMkfQE3g6+30R1Vdl/ukG7X/rYGXduyxs4hBRJIy9EatTWMho+P5zwbytQ/eXz7ivwe9xR8TprsIjQOCC/75vx6t8VpDsoz1/9aOSQ/drz1ryZ24otfF+sDXlsuhHoL10QcOaynZV3yB8mcE8szclsZZLJ/YnUfRCO2pMQeegzDUC9V40ghS+7gDIafVJNJkbdi0fRnkhQej+AgvWubvTfzKMrrYBVR02GL73UZ0qzjky+iLwNPyevbyv8sK30hQG2bRc29JJ3VZD9fTbqPdt6aTGA3spXrGbSg2Qvgz/A8+/OWV+4eNfdUe4juZtNXgtnsNqoMmTqsCRyo3+ISglvlvMgyceuM3A79AfP8cfRUvm8j+wqMUwd0btcZmZ5DyHpZuPRjAwfOu6uQCJK136obnfWjfcJVaEUdrnUePdaEts1+8AQlpdU4TDIez69Zy8XDi5F5HhBO242pwouCmdZuJyfhjsn8/yEZq/RHdgFQ/XxAh60i+vOoh6B3dWvFad+homh7oRL7/6aeDDOTcS5kl1x0WMoT3Z2Zz9ZiGYsnR0BCoTDsgwPvrPWYOFhCnAVrAFhbVeRLj0MevU70KB3ij6IzQdOYYXVEe/QbvSTPi98TX4IaFObkuQURHww7pn3c24ScG7Mssx3/55U5elpY5Rx5cqNSRXKgN0Y8i5jvhDgjkzePR4FMqaMLV4X0ETTKJRIMqJ84V3+UAOGFIKAnLvmPXAuRtlJQKkyUmncXYAHWzyzjOoJAYtCTSnCfXaAUPDcbDaAlywWNDdTQojXrv0lSxZL5fLjsL2aQZR9LJupsw0PAEFVcRcRvjx405n8UM7cNpOuj+c2kZQHy6KUWS2nzOORg8sHgYPvOCkNtfu16p/mviT2ZIOTkclFBHt0fBgrijTuWzt0ldfyjBKENJNIi1LQVWOFf8nAtjPCpkOsNRuVb5lSDd08Ps7CqS2AMk4ZYXtWs7gsw9aX+XbgtHY7q9966tdUsPYDmYcrJWgHHZengP+BeB/Ac3an3FRNw/P2fYN3jEqmeiVhwYWPDnudvC0vH+sB0i6pSp8E1zIKxEK/sn/XJq/b6Ri3YCGkZgaZOHxv451zJP7VYSUJJkQ8WD1LZfSKaAwTsAnkeJOuv27ri1y8k4FkYufUGaLx1Mwl0qbn+nCI3iWMlzMUWVyShQA/W2wq2tnHCzD7BQdljaUg64TunDieGaf7dzGslAPEraDmZbMJMmEPk4B3cZONBKPsKnulvHAUl9Ugf7tc8K1gJC4SO0/NB5IbcPWRq3H6cy+CSWiWmuux1Tk4ql43GFx55nWsCMDR3k04lClBVpubnB4bWYb0PN9g0OMRGadoCA7gtbT89wtDyq6Baq6uu69WFdMWHlc4oKoKxaFhDXgTb1NRSZ72mVr9sHuewiuvSXVM5ywmBWB9/E0nyKeqNvA8/i//fMD+JPYX0ow+z93NjPVzCRv42S2vRcMn7J7iqorXoNMMfO13y3nWElGkB1WNtygn9Xmdj3dUMdU4GisAsKCN6nJlWrycDkWf/r9oGEiVpSv2tm++YmjjHifXpyJoC5EAEJezCIX8gL+4kpVFzsNnpQk3E+dndBMhjSs5CDYyy6o2jowExRjJ16inRRU333UKTuRs1aurFLYwqdxgH66ybZbAJOSwj8LEPSY/YeFwGY6mZF1SQ+1aksy0q1Il/lgaH4GBcB1G5gEbGzb4EmD4f8bjqRhYUiltnFLrsKlkAB1cfwXKV3OfoIeh7aEn0UirSoQ8rCLqaylIFg8ajJApoUMzMMg0WLJehi5dp1GS8h0uFnUy/9hOuLAlpIfd2sA79z0hs4BVViIZ+VRfkWMQf6Teu6Net5ufErx7SmpYTlPSLvOQAV6ZNYCFHX8BCeo07R17F7wRqtQv/BSI7aa5GPbzEM1cmxb1ZS1dUbcWf+v2cca1dAiPOSeMQC1/oKFdSkht+IAsKXIZyPGgiVXuNY/yCEh00hotiK+4zgwLYF/IUiOZO0cSS8sKeMPNwSyrR+zb8/Fpu6mOwFaKuVwW6U6Fzc25sfWnfHfLp0Bko9QjvImDuipZa23pm78sC7Br5OHUpkY9denTAaZyLda2qSEX0DsXxxYCQOp7xB3jcYvSB0v7C6hrKzUAvf4hj+1FnyisUrmgK4r0liZTX9p2XErNq5Wg/25RLoj3Dc/6Es1zzzLUASpu0rCIz1h5VxWz+dGj+9iVEx56cdwQ449POFvXeu3auHqPRleZkcygoCiwQWkXoOggtzlnrw5QIN/ZJ6DXEU92i7PozTM03OkeUPHP6u34DcGZPoZ775t7dmmGriaXfooFxOkUB/nWA4LIWs/PXTsHP7Fa5gxgLaPKts/Lrj19fAngr9BBWCJFd91Qr/vHiCTnoYooX+USWkfIEArB6TJYwbyc1DsldrYSQhELHi09NNUbBTnmBkrmwxStAErRfL1ogdusRpku5JoRr7r6ug1meFngkzB7nlxRpDngNEpRrgREpbrZjOs/KCBygdiyrQGsCJHhdDoj05cInkATXJ6cGg+X2zMIkm4LMcR+YVS9saq3+2DXm9v2x6Xw9Ju5qqUHgNKIAjK6OGuw0X8vm0DPz/pTLJ7WtBlUQHg+Eq03SH/JXcYw0Wu0v55c8lySRa/Zz4gkYS51Vi67R/fdQmzhsMQ8LPcp4Lxc9uaNGW4ZFmvT4f4lxvhx77bGJaxQIz4k2/kiViWpsI1qbRbZTFd5/1yzQHCYsinTSnJpi+j3LeZSlL8W3t3dVAD+NxuIfHGwFJN81iZJNC4AqNUxTlIlGb9t8YQt00YVqLt4xWzPmQkcN6cQWU/sBB59/GhChyVEnOq4xcTWeCDwVRrExLMlVS1ah7aDYwp6VtpWPchYzZnevHOrYUQUQ9sTmbni4DFtZsxNzI333O5DdUJxdC+OxThKn+e1Qec0nT7mL/N12PJuIA4jr/rbGTkpm6vhhxcotLw+pKRgrbHrVQOzo6/SDwZYgZulnQQSWV+TcQ/KADVK3oGEGTqoTXkEWlbkevJE19ovCVObRSLDdquZuVB2KGDUJ/r82Rle+VW53CCDzdKKqv5uCKcNtHx2wkUoqyTJEBf0vO6kjSr9uklPxeuTivNbAuccVmSIfE9XCn+zpjxykUfuuvmHBOLK2z2lf/8zS0APw5UNIJ2aVvQQlQA55+Dw7PZlI+mDvcwCnuWbxbSuBH87LDMYGBcVQkJ1VGNVr3S7iWisPiLZ9CESw7UBLYin5NxYGXRvGUYbLyfG0Yd5LZZv/ydg1JuEU5yoMkfvj0nWwrR7V7yl9Qm7lBTzuM92JLG/EU60MYZrmsix7yrENS1qPsUV92nSNfaKPyQTFweT3M8lOsyQy3psWBVOX91bnnAild6sI1URBwmwCspnBygCxthRkVv79cbuugN2PeuDnjsZfFRP+RuQ0PogBxRpnE5WkvS87D1pyWWIiAPqU4fUDklRcEzhZVoG+4LoP6lupZIvCV8B4iDLQdR5omgMxc25L21mmID8zIVQJP7/MDjHci7ObznOuFpCbl/rD0DYagAYiZiSEFcb6/A/QjtKVzkVughw5vw3bn/pxwt0JNq1py1gGNqdeNqPCZqb9F9PZlVZfvYK6ZsQlQi1suEgXqCOqFbibzwgM5PCmQIWv7/NjQtvNY7pAM7jga/0O+PNBrspSncljnCJyaN9jmOxu5c6b/0vN+Qe1nwKV2xo9OG0UrCRPa8VTw9QpvOPMbyIu1lYhBcBDWYOAdYxaPZueAbWgcI0+5ejmT9h0G+OSuQGDB43CvhTLbY4MGNEisvelCGdhdi4+ckVWpgElQjZoPE3IXJaK9v/Kfb0aa0VF4IJ1zElj5sVx7UJCCnTgL6sovXakwjoL2HZFGknaJu2cMdrfeVaIAexpx6mEKLT5916Y/niOfYDQgfLeUndlMgBiCUuvG/5dFNGhr5K6eqGmcbOW4pWE2cucgUvGrKL/hlpWm2w2NqlicS9boshSOjKXQZ42K++6Yat15FHQawdM1/3QRq+MA5oCRGZrPWdHFdBOGSwUGZ/6pIYcGcS2YWsUZmmRl6J8Q5an2vNjegjZRWj9e/Opcq7xFuMK5y9oa7mLz98vEju5lMf8UOAZnPLsWsGixpuVWk+2mXfWDSOzf9vYCfqBnxtxNp3LSpU5mKYFzjM/VVrJPV9CB7zMmIHeKtk8bJHue/DWE5tXQoZEPkNv2FKd3bvYmqGDOzoQKL3QHhT+DIA6KDnIaSgp6idLtltpN9ZqBKSrrBWGKZpHmkmAWrVKk9iG/utQF0nFS+2XYbu+nNwaEv5U+rq0UZZehUuwGd1B3+spUUZO1LUhdhDaerRiKiZKEv3E7uUkK02XZyNRJcMjnZL0RsY0590A2P5PYih3YAjd0jCyWmSaoWvps2c/1Qd0e5sgcAOa52kW8A7HzhQyjH8tm1oGxw6VH9fi6dD6es1UjDzC9Yi1sssMEvQNlKFLBV3xVQreH/JrUYgMan0q9RfpZOyKUq8GQ1JD4e1CqCNbXvdVDWPD7UJqguAC01rO07Mh6fAdXe2PgDyyEfifphNAlM+SUsixcryqmMzBXwBbrf8YMQd7JKvYESKWYuxw7AxVaPDdRqYq61aHAOJNdb/EpQjOmSL0ZB00rcwyywOXmmSceAn2KuLC6v4KmCxQyvUCh2RHfSmhLn21vWaKrsj1UJREbaRR8j9hOoT55zgIjMLVb3m3e6iAg68+mIELQMJV5IY/vTgPQekiP+GD9oMI+0pYkvn4uv3icGCGGWGy1Otp7ctsCdkcPH2S5Wz0rR/qyd1KN0aoPge9pLDnUOqhYib6Jqlj1dpUX6xPQUA4ic7VpCLz04/t4ZWDKhYke3wbl+TlyrNxk74Dt+e4+1ZynuFHJxGj2qKBAKaage55w0LaXV8jPmlHbsqxVezU8+QQFw+ZzXBAYti0uanJhAyxAUijSmX6bb4Ydppns7BuDDoo5G9b5EsoeEHNZa4LKwXRJczzo23Z5iZqvfcGaPoh6P54PeY/K7L4xOObmNNCfUPEtwNmQd26PebN/Phhi3LgJvHNaxuXNG23HelANA6noMUtQ6FJSjFTFxscCHYOR7jBD6975A1mWxljKs/yHADG3JCWoFWr3cx7iCDK/dbLGVzZJ4K73hiAfXR5/HJOyS8ePLARP1wUJOzXi0bF4DXrqauiT/YjMc5N3PZ8ZgrRkWv6alEUmCcBvVs0iGV+CIOzC8euWxcypGVMEM1WNmJ1ocJIuNTO0ofL/rFGZ47T4+qRYcK7poh0sXOnD3bfU2gORLKbPsNzWCazY/p3PmgSEDZXtDtzk9WIVCikkcRfHN2O4MOyMVrm51ZYh0k6n9kv+BbEkHVu4ZVz+khk5lQcMPbjJJ4gxMm4Z/BN5TPC4mfuAX/kP4Db8n6zkg3i4f9Ay9DMmmOCYqqsR+SqzgB+U0DRmSb2v+8dxPl8fofa6eLTR2pZ5sauTuNKRkN4+rDMEZo3A+Nx5PLDEBffA5KLYe6kcCQB8GxSx45xFgIguQtKfgVQsQ06KdDze8zsFimmiZH8YSiMA+DSmgPqD1e1YTpg9yHLyOrv9vJJkxyT74b1gGooeNw4EX+V0z3tluJ7gX9+UIRzfx9lfMsiJk/2PunXZL67RcC8PnVmUs58bxGThDlZ+QTZfzyl1J0HdXemZmzBP+8bT3EL3bPZsdQ2xDeWETqt3AmVKbjw5wSRUQUNGrLGJri44deN+K1IqnoIALMuTjfd9LYkpUhgVOCLtepENgRf7/A00uLXWbE7Ki60vBnm+fhTO/BM5RLO8WqqRl7+3DT3yLxDYIa8FB+xYM4EFkzRTQ4hjsdkI+idRI/1YdTTbAfAaG+soPQeqv0fgEW+8QCejEp6rqeIfowB4d2rKgLA5BrHGx92BuGOaK5weAWff7mFeEwZJUZeSKTt0LNjdbS6ytfcdaSa1OiKdI6ym8vQSO7GkXr9eV9hO6RSt+1jCHnRK0v1XhZOUNu/apRWnbrjGhi1g5as4aS0P5PjJgtq1QEuNfIK1/DnF/OsOBejUbqVUuaasB3ip3M+WhXWrrC3xOnYAKQbHBebcOWZg0eTtDGP624MhLImjB8jsDXRhBuNkySIYpY1y423wRqcnphpueJo0lDkSS2KGYzbJV4CqUhfmgm5Z8byozD+EfEK7IR3Hu7f7P5IAT+3tCRL+f5bXcX0gKS5wg/IF5w13zA5hfgruW3uN3IcZiRgP0mDfutTennYBDFZQDyOUI5r67crfJ2Zb4WmoutiSw8bp/9GIdyrbA8FbwLg7OX9O787GR49yaVrE9jv8rGE4DnHdXA+hD5HnPITiyz5KbDA28rSAD39VlHdoOuje/kiEOkkNCAVgpX6asNJp111oMXVx9f9fxnUaLGlnTzLbGSkHQwX4YHri9GPEzHrNJhRn2JF5w7hJ9bUHKzlZa5SX+4FdWNrF5pPU0lp1Mawq1l4q6SZZ/tSp7P31cJ+L+s7WDMiHSaDIdE+VTnLNJDJU7TkH8GysHxxNFZ1TVepcgCm9GDtkfE4D07SMmxhZpiaDYhg4Kgg/wwvG0FQc1SLB+wjeo6w16/YamTDwyTlwIbpJ/2wUYtpV4VxADfGyM1yJ0Vl1z+IJ9Yv3ZM6wM9fMTap60yycn/Wjbp+NoeQf4VOwgebYYOIMCL3cvzgrCY+gZ+qQuCqavyfk09AiwbSZ5U/8mPCICHDf1JhX4kXS2GAi73LY48OYg3comll/9vD/bU9WC2MADBMZ2LR4HVYzI07F4igHm4sZKaeev+QYPZHi9w8U51VUUELhr/hAuX4B+fLelTWiFC9hEVkxQyKAIKggZm+d0ZThJ2PqDiP8jC+eyo6kaW5G/DSzqdgy5WC4KX28+dwgO/Deq9DYbawHEyD2TimK/gk64UVr5IQrE57Y3fRwz9z9AMbs0FZv8fIi/dZx6Byr9nqReOKU1f4MxBtc20Igibh4PAW+/kcvX3UIc82eqv3/USjYWOKn6ohz5HWmQ0HpuYpq48ESfhX9AYbBbUL0jZFW/drQfmQ7Zp6hnDVWnu/DuvYF05bMgUnKXVp/G2YiFoLAODUp0qR88VW5vfSBE0Zq/zmU0g/Prp4ZqMxRiRAtzod9qf9ED4PSPmLGwnhqzDjNZ1SN5IRJiS9RkB5KCXJ7USdA5GYpqAaNgtbGqDMogpVWeGB0qPBq3Vhi++x+QK2uI2JYqycEo7QYKd/Fru0DH3NSTj3+rrqiOkDHx0doaCx0yDM9PvkYKfyRx8juOnjUReCcvmFY607XWlI9yDSdUAXd1PWjnDw1ikYcveXGKx62AvG3W6bfKRRpD0OkMbYK4AlNO1lGaDHuHiMRbxf+3Xc1jA067hD29TSJGxd6aTNH2aMo66uJJG9PJvB++Z+V7H/lz6pxo4qABG8SSXMMDuDXAzXJjoMsfEog+A7V/cUBIqgqUwEiN2gGovRy5vOSEYoLHzi2JPFfG7a5pcS5rbWQre2TdsMTEgxOLxB2qH8CNQwpm21e133WQ5od9DWAXxRkBQy5G193UpTKh5UUrA4znqR/bYfRsJ7vckoTSOccDlfhEUsHBNsDU9m8MQX7uQQK3xmk4i/oAD1FjZfcliI3xRdHIWBw125zrJ2QpU4xaB3Gl/EWTZj7MPw+YcVWpFYA3V0iwEu2unZel49QoZYdJp7RsDg575L3i98kRCR1iABnrkacrUXH/8hXIFQbpk6Fn1NFoQLJmvSZk/T9PO/yo5dhkF4bBaesypYDMlq8MrFoM+TakhUjAZVVN5BHgThyRmlfT4Ew3tYqXu6A6A3+urwlP/EnsYNzceeTlFPhy3AVzSU2lzExNvWJaJZUuw0wsMg4CI3ckkjZxs4BYZalMDvdwZEn5+A7RmCPbDwZB6jdZc6eRHtJxYsv4eN6ryUInsyVKgSFGkEtxLiJifV8YJeOSXL77r0+GZZcie1awXIBgB4/dKHF70Y5ReHCeB32utfYFqTeWV47Yh4OSNmhDzXfzRgnTHJoIguuMzEv8YdpGsUVRXiDLTh8+IYxUkmJqr1eMPotuApQV8IqLfNC1Jt2ied4+QwQXV8R3BUhZZv64zJWmZX4rHCwgXYjD/VSo79zEZgGHAoeUtrKfctr2Ipj8b7PZ0LhS609C5c1jPahhkqFZUCVqgNGCE6X0hWJxaRqjnZNezX8U0yIUGlDoP0EVwIkvH6Fu36/wTxdlYYhz8dqmmxgT9dhNu4b6slNsgjrBUTkAwwE6XZPhZGd+Iyp8SgTeGWHe4HMBrAO6Gln8ch3AcBzxTB7uuFYYR3GvccnqmwdDxGjZCsHB9G9BekVwl9oku/9VZVp77jvCK+eIiITTRsLUjkUM0+Mi0KLiocjRSapZOcNWNdOQdS2KQ3KXf6N43Y7XnZsWWQpfTw3osdyRzYK6y0pf/uP5fpfM+No5oRrHvlkJcBV90yGXhYXxeAOumJ9foy5E42V0zMGAw/N03doETU8YhdBDpZFT9SQkf0f0KxTo4nN+y4RX+LrzqKsRl4yOvRgpgEzJdpdin7K2b92StxVvj4CwJsbtMQVN85ERn6ohYWnqmIaTOZZNIbr8S+SW1WreB5EHVjn0M9MRJy7PUYcw/Fw4q1HSeS4l4l8epF4g1zuJgjS2QSMEPo9KrWPLxnrsqyrE3TBTFfgUhPnenbOvdz+M1agMLL6GbuF8jbZICGCM/eRmqTyLv22xvFRaToXQGAlOj3lnkKqoKVd1upPvU8ayZLOfV0sl3RbEFwH6wBDySHRvgdNXdCgwoRzB6LwPYWK2dh8f6+466XkanL+nfA/3UDXMQRC0bBpTmv2tuvDkYPt0oW7LU9Ezp/fMj+i5qToIl4cSIwR5tVfCz7sKVU4acGdUhSn1z8MQPU+tU5zD11DCKw8JkM95bYgfbLCAsLsXtW/rP75gUtb01uSAwNgDy9TNNBysimMgXtE9MBeaK+JpdiShlJMcduU9hKR17kt3rCLjWM+MqHYt9PJAUmVsNBzDcBq24mHgmdf5/rwqHhwg0LD053L08j3UKPE2WoSZjAxxNJ5mxTNIEF9fhNXnkhdrkPqM78y/SS9BURIEw16W5wpR/9XZO9U/jB69fTLZHbSz0QzHnpoFW+NARhM1jmoy9poaWaEDrLCbRJiF/oKKPSaynJ1Jsp1QKnPX4akEH2ixUiBk9NzCeH7u/lrEwPGpYnh63GdJCI9zNuZPLkNFsztvQJg27MQEwtFHjkeb6kKy9febxhC3/vTworuIXsRsdQNrTNGBWxK/IMXRawjdlDvfjHCebEIVbDwpZpXTPwk4ApTagao9KQkXajtU7AqIvZ1P0bsSF/UaEoY7PmmvryWhhaVQqW1ynOhmubjhSk9OixPQ8kuW6VmtBpBXlUOYgzjIY0qQg+rWULiCD5iLjcinbAVdV7FlACd6un9YwzqvaMtCiT/97Di8eq9aorKvpfyM3zzU/rocCcGWGU2N+9swMMfdSYKzOtMtoAcnHcUxUP/XKqFC7BdP2yRMBIgtJWN/dVRc08ZJHNKsxDm1yCqe3ZxAT9eDM/Dye52DKsAGZ2JFQJX/yns8fZgR0fGruGuOZ3qef7AJR9zorzmVs/yfomXXguYR4WzMKKGRvdY2NHc6nnWplPErxtVbTMaZWdw8cOcgGJbe8nVsm8OllTV6pXSsdPB9jqQ3IQW7MKrlFYQTteiy3ow7mfks1UwsGh3IsyH+uhkh5aX07ZKFIPtgvBP0V/MaccXkEjwvPA1GGAYEpuIf87QBNvMIRHX5gOudGuwZRjs4ANUVdckFRJ5gjPn8TK5VMzKzPhXMnIcrIesNEetIk+1Xyqm/0iZ2lG3W5f0mdfHrZdJeTIbIz4++baz8OcoZTom+/QhK3oeYRfpyB/+lyG8XAZejLdy5P5ifftXzwC5OVu3MWA7m7+jqnwtn1d/mhOa+DPGFi4oqKDgd2ZmXIRIf/fMAjarR+qWyxO2qo3Q4cKHZJbD567fqepzNWbpurKeBXFQRaCSlyf9hc3lmGm4kfg/QsoDtXjAyejwGtVlvDG7YkJ0C52w9w7s3D7HUnVxFLivSAKu94uQQ1E4Pyy8YktuPw8Oo6cF5crIyQv9lMLpuF1j+PmHMZIFkroXj7iBFD7kIspaxktVcJ52so2mx9ANH/ptQVbFW21wkQwiZhHXlJj6TLEqMdFO2OiroLGm7TdQNcQ1HUFMBPnuhIllwSj1ctnSsPM8AU9lmHUD9dR+vc745ugICGoEi8nK+r6T54oiC2cTsiVF6TBMgN6GNmS/B+wzXTIvmW7DKGQgtnHtTed4cSGDEFjXZTzN+B+vNs6ND48Ywg7TLlPV/lhkSrSHSwj2rRQQK7lxw5Wli/YSDgNDeuCxEA0cxbJK+V9ayed0gdeKQzRML0HJmYFrPgCY0DZd6iSM8ZVnoRbssptwhvGXbzTpcNn5pZLBF8ifmZuL/qK1ZXua7JjmAWpsRPMB22+XNaRebAXly0Y7SaPJxsVdBOUXWpCRhtaq8YejYfw0kyp4DaU7yE8D2aL7H/vGO15RLSm8IJJqj3pmS3ezxEGkt4aKgB5YvWXFhF3fs+h9/vzaYDghE2eM3s1AgLA6nBAgR9QW4ZnJ3vrBmmEmg2lh+hXy2CatkhcbBTe2iDNtc744bX4id9o1PFMLOUf0qUFYT5RXMX9uyn9kEmVp+Wp9IydPoQrIDIkanDewqcCWSiAYbtdQQjkuzBjxDsT7jg9UG/EuMxXpyMpI/ZA4x25jE6POGLvfOv9RB8oynFiNpXvI2Mml1uyvnbd4j24e3qX5Gxq+5/YT3HtbrHRAE/c6SEoq4UXuV1H9g2KM8hTv8nmDN8GrvdeaVLX2bwrLGLdEruiXcMNdBHt5cfLe9cH7pJZURrjZ0QAd06t8NnU2M6VCiK0nO4MG+wc0fBdCdUhJB8EbhKLLF1uXaazIZJt2aFrEM3DO1Jlvh9dubl9Gr5theDJ9NRzO+zjuO/AEqEgivG13RXU7XZg+l3wVhd1I+UcNtwOBoIqMWmxcHOI4+XxddjxZ1PB3CDyvCQWUYTjFSC7JScC0CGHohtDbGCbydpTHfFOvaHxZS/5lMs1/dgXgfpG1qthCuCiew+wP1uEed6gnQ4npBLYDBvNRDBm1Q5Fpz/euW4dpNVk2Ezveqe6i2lE3bfhkrSJJtBz3bcavCSuLnCD+TcVEI5yDPec8D79Xob28fzFhpKGn5jz3lV/i/z/3u0h6pWgXAoEKWTJfkfIgoopY5HBq0L7EUENL0cb4aH9j1y088uZSKpkBnGq1tRQ27STi1NsjLT4skmtitpkWHy7myyxjxGDxvEn7JOQd0A0lAQ0+LrwqKNuEfMxcrJ73zg3WXZqJCurV9JbRPRv+9nACssEO0jGwnoZEdz8Nzj5QB2I+1q6fgoLB5OxsH9pviFCsIttYxF7f0ggfG9Si6C21DKkXw88hCjRy7YTRYro1KpQysBseM+4iOUcgjLZiYegwhtojmHKaHkeIrhLvy73twOntW3ryj/UNPzfQBmlSRQDjvt5FyTBVZ4nq/AvkfKJFGeDU1UyFkqHSGdGZs94muW9jshuLnOke7XQH5Ae5KkC99wAM9XZ67pdICBHF6zezy0+7cp5RAOfw7uc2LgWANZCpBltX4MRrX3Wo+15vzpr88mPmcPLCCUidyQQxtfH/1RGZl6huhB5zE/PiI9mJwbcGSaD2ogGCmG/439S06zkJAFqX+XIsiCUohOQRFXYyfWLAprtY2H9qfZ75PQrgnQomBBBgTWTvBi//T3nIY927gNd18+qAaq7uI/NE7hghOJPI1iCK71lAzkt0SFGoTyDQuXI7TCKhKB9GtYbAnVFKJa8VtZdIjVVerYWk5VZb/RHIKFjnTfMfYhOKYvmu38EtDZrm7sbvOOcoSj+HgyjcvM6jTZEvCC5EW9xlrqEBVPmrrtVO+EwepRgSqb8xrRL68yYAoEEUKF0bCSv2Sy0dwhxKkbyFnqvlPzRpDdXJsBPHSv0ilzW6HgUgcx3WkRWoDE3aQXeBGEwUdcBs/QGb8pSoi3HkXSl6ogFvSinGPJ/BPl/+s254j1tf+PWg0VGWrIRgIN/vr78PXF4+DeKvO+HXQ1mlAJsuZCeg6jaJsfJ02kisrKB5tCYwGz6B55QfOTwZD4Bh+g+pQqm6P9x0ZPeoVSEZmif0eWjGw5yNCXiUHciAcSFF6t6B0JQgSipzPWDkqQeOvMbpY8CrjAO0NDHQjNkz4WL0Sr40jbDfWmXqYXFQrcy+RKLG0zbkFKTfMD6C76ybyN+K4XyPONt6YXHMrmrJMwSPZnIXg3Vk+LhCsNVfx+z6ZPOq6q35/QyH7EyMC8ZHYV86stawe4JxG7j23OBXQkHpxzpl8yNfi7FYhvi0kg+Oabg+6VB1gZMoG3SzaupekzgLAUoGphiMUF22Tb1sQfe1Q69Pn44yrJ21RNLGOcOV5mEaU+ixaTrn6Xy9Pn/3+jbCEo32U7fC7raJMQhAryuIRz1GdkZ5eMZIglCaEjgOtBFeUNlNdd79E+0TaRg2KCHy7hvpz+kV5ZQRnL8CnjLpiw6Y5woIQRYlYIDXSxXO4hCVNdfkLf3AHcaj1qvnTK5GxlpvrM78FrWPMitOLhyimIwQKcnzzVMscg9uCYzafF+TRe9RZtzyCgEL06sE+ZT7AYtYhd91p6IDMqL3MzzCeE3suwUQ+1JFv/VsUPBRqyygBPtvcfD8zcf/dSJfY/l5P1qLLcjlL6LiYe9TGXUuCwzpSbm1yyQUq/VYkYU7YoR/qTyzb0MJ+WSocSsEsg5JCR0XcYN/j7De+Rndzga1TK0grfEcywDgR+Qz7mEzSGJCSRaiwDfCTEjITD3LBTE0iGoZ/6twNAaCH515HI8nZfpuAEZ9Uj5RdU9tiei3RQr8Z7AUk/YdnxeqQxFxP+83vj6F535p3UyOlYAJ27rfOQtIAFcL6sUiIEvRwVGWb670X6nLfI4EKQo1c5jm93WxtAVWQw2UzTnSbyhjeV1Qy+2P6zTG8QT9p3XAVDxwtvYrpeMFLNukMK3JUBvfDhUiCBumaVE37Pm24fmyGQGYXMF5nCShgY2q3rDsWnhfbMLTYwYuTUf5ojDQJjXNlOmUSJObtSvWDtZlOw/3Z1ijEjnnRLu8HbjN1LeOBQh6HWWzCaObojUXkVU7qFOcUnsLLZRlEDPMFUeOS8tH4s9okL1R9Y2HV12hGh1llefRO+oZiaKk2aPOLGc4+dg0X/P7qNJoVINmdziEgGCd9dTD1KP9e4F5xwqvJzl/uGBe+VYF1XeWgwvfQtmhzxTyltynY147e1JH+G4jtwTvW2dbOmIlrd7Bz/CSevOulGU1HZr1ZA1G4pN3f+P2EVfycP9Einl0p1gAyX9Fl6eyjP5W9ddcGRrBfbsthhnMgFoM9Ig4oeThYTG87YSAiB4ro802Xpn4r8En5q4jFB4YbnqZBgZSXo+bAfr16SZXJvxs+Q3kqYDXQXkf28FdoSiFvkqbbGzrvDTl0gMixzvRD3wdjcOx/bsozDloFXSITi0FazIBwJNhalkveyZg7r8W6vHtj0x663SEy5vOiUf8D1ybJ40icp1mvM/ICPteR1nb0lw8e7eMgoi/gDV9xVughedtbs0+kXR6mPCSCBJ8Jt8QvhEBU8PM3CR6AgfkJsBPINdX5+0/6zViCragklLM1eGRuSfSJzVO4vodX+WiofwiKHjP6Ntg85FUK+jzvGNGAhfKcfKG1gb4c9qMrnQvGGWl0N8lpjt44f5mKrU+6Gj5HaAYd0CwDI2rhmyzAYLHgqNgeOV+p8jSvkD/bv6wOW3VicUvTp6OtrnB7GSq0Fv2q/I4Js60CvIZUadzw0hCUlsHcZoC1jUpXext6RLwedL3QMjzTAKI7zkvkzzS0dgQaHgiqCd8YVWnmNa3eXPAJpU3B4V30Ew1DQX2judXxbyN8Lo/WH6LBU8BD/KFNc47Dfx+FMGOASAuxJwwld+6zgyoHEsEXSVkhR6VVwKd701eXF6fSpAvzInMmhhKMIc2oxxOVlm7GtJ4tlqNx6xwGJxya18EoNZt2favXe2da7OfsLTc3VHIY/qGRKxYz/Zcn4paDydSRA+w1oACakzmDsX3RAKMXZ0NRSzgcVPP+wN0g4uNtAa6WljBnDz6qjVnhrIxY9gq5+5axO05Zs2TSV5ftzhCiHINSclLicCtIwIqBtl+cQJOdrCyl3d5fd2a530fmdODpSa+NM+OlQFOxy4EpKU28RJOgesqbc/kiKTxll1OP9Mg7E0cbh8CtiGvUAw8Bh9BXOtJKNVyO/RhTF7c20S/9fGTtev48kxHm/4jfEoNuG/2DBqR9Fv7ZByqF2a/HxWNA11RFTTSz86DykPDzgRNWVuZvV5Dk2pXV2RW1EP8M3LX+QQ1EyieAsI9qOT0x1dYkFngQhR8jZ+vKBcUs773kKnSKAeXEzChVmnu2vO2AkzNCDPvp8SHI8VmJMSAo6K5SxE9btiS7zcbk7tZ9cq07Fv3yGPYg/9N15/zINPaG2pO4RvPYgerdSJYUwqvsy21vawTiXelv8bKHE46Q+OwClvXDIqm/1RWdzTu2HoCFNK9hOn5IqlRuiYtdegqftm9zXjfEWAR4G6FWlnOPt84XTcEaqgzksVwr0GEIjGYODtWz8uwCXnM1Tq0uLkHIcuSlnoUPamSTiYetoZFhsnWwcobs0Hqcpd8jzCuWfu3FH130TvuJTqSQeB56kbxvWtulBLrf+GMjIWTm5oKCAEjgd9CNVFSexYQqfloK0VEplIOCm7ocEnnA8q+0gIUwnuG0MVbDN9o2Ot+2nQ578IkpmdIUu3dSNssCeOso3Bql3N2Ch1+FH4NzoEtLeVijfUhxOCzRpUyXKnksAVg4qtpDgSuUasnOLiU9NkMMqkkTZuwjWB+APOqXG6jE7jCPsdh56BK00MTANnrJqBrxpymiLBOpt7b+R3q6C670p5JKx3Fe489AdDyYKvXGO0ydCb/2fnxZeN27Fm4YTKnlpTUZaRl7yOG7fKOGVokqijAM71wEXCdoklHKcxVNAV02L4qECsQgqXtbu7/R1r0lOXwDzRxYcqeEg9ZE8aGQYl1jxgQ2ILuF3+BUHjX9iYOi5HMQxHMO8BpveBlKNTWLBPmPrbjOf6Q5wNWmKxrSrf3/Eo1/EOoQmXr57GZuSnEqKuIX9N1/KzPY9nJo57+j2IKftNDNSCmdPjW/bO9l/zy4XZP4BdfLbIa/5Gk/ebwxGM2sImEfdkNUgPaK41hyQz3pKDF42GeGJ1NGKB1yX+nEMGwRow9kxaEsXP0OitERuZrILrAweBJeTrMY84hbFmEv7Vko7qUeMjGBs6TeGTwgDpGJmmhTVtwXfwPiExcP6c8kwxjeLAAIh087qwKrhLApI0+jEUyQ1S+pOZBNGSNFEgBNkWmzqFaYhV3/FbY9XXfPqv5MNXfUT72zPaGRmALgun5oJCVahIfd9niK6DepSHAOIXyqyquPH0O0j+hlS7oMhOSfddQQxKT9otF12qz9RW/TeWB3oPDyOspV5LDOfFxGs1uQwDlD/PhgsW2ciUD2oi7eAqY9T7+mRF6F0KjfV3P3B6R6F+9Sl2B+2cXWBYZwTO0JkwXCwWLYLk9Lk1hyjI6W5cuLsRy1CiybV+ERyEPUgFv6RLGF5KLrZpHXcsJWf0U3jLsqF8KwyWocQToXF1Yw9yDTtAbAPY8Nuz6HXBy53IT4otIBspt/zf1t1+STHhYLvkfKgUtZkCdDz8pjtOhoA8Y9AIvOh3Z3wvddd+0zSrJ8AjnIJdIt/+DHifk8EI4045McGcM0QqzWCGGX3CUMZz7cIe0plkEVA7TVxF9wswXM2i2kOd4Rz+OFnXslScupU82X6v6rZiB2gEbhUh12tamWX7PRM0WfinDTHBVpvHgmcVh6Ot4RxB2muMZTgqs8VwMZUzezgCMlMlrww3DPbqk/0+hpsdMJFfp3whgaCR5NeJ4LxsWg1t/s62yf0NCVPbVvgqZ9U5D+kkvGJW9VSUTIUOSAyJNP7xGeVsM+Z8z2rcOsdjHR8FnSg60sSfmo+Y/9JM9ZoJQ/iX5o99GQSyp2H8udvXJrYuJRJTWpCBbtxZGOKSRnOXbpkvFUeBgeLqfzRfOb9P3em0JDMkpfbA2zc4GRtC7Jrn0u/imyPJFRWG3JhGQmQVMaIAikMoaAT+lXw4DAfK12hb8j7sQIexs2D1UkCzDGpL+ZfkQdobGRhXUfv557z5IbOXc+jmQmLrL5GDQKcGdXEs52FSmeogCglucRzHx1MdSi+a7AFrmWEtCIqAoYZi0AwugDqUIxF2cmzGZ8NRDrTESYTWPpuH9CqNtxAv42tWxTTu5HETZKrzg9/AZxASNkFCtehD7qNJxAAJKDEJGwuFNQU3taGdKcLA2GiEaOfb6VerH8n9aHiJZWGZ4VxMH1UfTLsmjey/oQOQ2NEbUQUnzbaAvgJcjRCwBuR5+BowADI1mNBWUYIa1XUQF0RPPBCWhcwIgIZDc42IsjeB73zH87NQXPbO1EBPlvK2bOgntYN+kczViGshwhTBwD7SClVG1Z549e8V864K+Ci5sFx9CR0Gu+edhjvHTqAznKx5/PxeezlUsA4AzPQe/EB6Y9PRdLbZWt5xmCuU11qOX1YzkiN49jzL0KGt0EVgtXPdD9+nbDSDlMHd1sUoter+WqjGRsNSdhf92oAYz9g6P5PYSsAndHXn4kOiZ2qei2PaPj1l0HaxqysZbSyDqqhtrub8opMZduHb1pHb1xVfxrUImcBOmGQDFfWLzOWvtd+bIJSD9KkJpuS1+45AJDgonibNriGyKA+x6FeeX4ceNJsSZU28USm3kTjiB+7RVtbkH86U8v1nx0kGxfdbOZTcttohUs4WUQDP8VyOCwpCKUMTPGaPacznYPp9tLZOpMOALrfy6sga+IHWKJpm7iwxInwpPm5Z5LLdp3Di/imY4yGqcBq5bGvkf9LdLXHT649qfqvAIJVqqkEc438r2s+dXw13ZJrGERjNU4Q6iYkN2OoxssEHlQOHjlXsu9k4OugxTNUlQb8GG0YKuFHKjoAZBIxGIwoGHmSyNndZaynvrnf7ySDBxjOWUUK7igfXsuY8+BYBqyrkXX7CdDkFkrCNLiqYOc4q64akUhJMjYOZrrN2Jwl3RxqaehzAWyb3s/wyya/LTntnLlNmnvG7+/2MzIwAz0jOCPl+YxUbhHQhUJtJqu9NdeQ0ZH0TeCdvDdiRQftQh/0KtBLZ3rmQrL7YdfLpeGnHbOJUoFAabURQrIohdZS92NCtd4ppDXmeF6aTF6ZchS+VSJ84OyWcqMrlz+n8Lp+lUtN6yZtOK63pKy6qcLg0rTLOjWyCa/FOkRx5myze09cFqVZQhmYKsc42dwkDzX0FHTaS6BLhdeFRP2ouARQlrDidCJ4ITC/iIVJuHN626M3xZiEvePjh5ZUHEUcG9Qrk2gYMfDRtSG2/XqB7O4K+DNk6Nmn6J5x/xImbm439USjYCRR3/Y0x3pNuaKmKX+U2AakItn5bUM9Lbb4b7U4W4K9z+uxMGDDx7AJEmq3JXEJExPl1/MwZwW6dnuKxdgKPXHIwk0gUvW6GLlKfKv2BdKSUk8mgEkyy5TYwkOB35+TeFWeekRA3U1bUp8+MDrlY+Xdsb8LJ/MCeQAXoVnKEzRY9gm4nJvKdu1vR/T8NjG+8+fU0YAr4C1MI8yMFrF0VW4WSsXs7maAGv/CDPpI2Sf/+9d96T+Ya5Pri60vzxJeSD2KYRq+/igeJiMtcjNj7HbVrf+0z1uMndjHCXOwVBq3KKQnBpceRmFPjYQpaMkg6rwNlyTaBwhfXSCggYVKd85+OcmKxT+intXx9YM5fqqqo/lDpBFMICW9kFeSxH80oOILBEbnqRQvZJhAednWggZ7SLCeYbxt2MnTkZ4VlMkYTvspNZcatsG0qj+0SeW5+HRdTfj7jhTn9blcd6uND91qTM4lEmPEY0jNdWFfaRbFsrg73nEsJH+thcWqR3YxMwu8RMxLzaos+izqZf+Xmriuw6/XMJMo3dVtfhzfSrvTf7mED12sHeT9i7kDGpzy/66wqfgRn7xS2IpHo7oeLC3j2pjX/cOvQ5xGL9Sf/1m5wkaXqe0KjLdDT6w5OyUJlwFDzIkQkzrGsOkEIMgfvCD4B4UmMW3CZRuhKSp+vx6xtS421n6opiIryDxzjhx8vP2RujinQIeVhpitZyl1AFHjeZvK+mi1A+TGcya1gkOF/hcxu4Nu8ibgYOn5XHw+nalHFX14Bi2Sxj0O4X7hM/G39HgBili9/30Ry2Bjp5mUEDc+nZsBEKrlolHKt+T8+iWlMBIyAGJUWOcCUbmPMdtEkkrOZe6xeuP+j6HFxg15NkeiAXuCX4lLKjULwfRC8EGR4oMydD5ShP9ntMkNO//e8K2JpLMrzckiGM+rzUzVMNikyijUD8QhQz1Wz2fBiybTwewFAtqfDD+WMP4Ergf8DHxlWqGXyShLkv4bJNglqBZAoyWvkg/e0iMfYYzKRofjttiyTi0IW1+EVhHHFE1lISaBOgww0nzPgKUDLyIG4KMroqS0ddmjzeNprjME84F2bH/fV4L1B7dC9NhmsF96o0c4xD8PzyuoiTfDr0m1w6gc7li2Sdc1IiDwmxc//WVJ+UgvCvIRhoW4XAQWfBRDeQGA7CVqC5X6V7G/CKXDMxj3YiDz5jJvenweKFT1J/RO/WBFvcuGhydqcpVGiU1nBte+2oy4fuHO6/0hKU4MsHEXhIe18OrxreiMxg/ETVh5nrWEa+VPebi0rOUlfwVNn4Nlbjx5ijSStfBczCLk6eSi+cXAwFDpQLydYa1Nb6OVBxknzEi91hY84q0bKViqAyPGX4+sWkBL45brAFBqUj9pe8TNt58MUJqYDBUu1MkEmYWhcx0YYr+spao8sdnNMLS9u+WOwHguUSFFIqAdZkd9fES5zDDGWCLmDmuwD6vcDpjzBAoid/rxNGYY/Zn6GKlf7qajrW5+AvQhXgq9qT1CmvxRHkrjl5XrEcWX6IEXVn75o+lUgOYC//3gK4KLuprnhu9JUkBUmpkf0D9U3maNV5v4EX2bvv1F5VbiFvl2M46yhSn6TK1VsX9EfzVbxTZUzAS319T3QjgawZ7bLonXr/omwMVTgihZd9Q2euAtRo9DICK+9n7k8ManMw7meEZNkl6VVIVJUwPB9mxCMLh9E0uWyBccwVkHfR51iZw47DMOgIgQHBej2fsxEjtWuao95MQUl7zrco5CqbJz2tL5qLvkMLb23IrZY5mjTYFxiZ+IXDwSaxDpWpmUEnjQ6Te3w8zkxebSmdbmeV6vfbYJB1wjH7+Z8k5fVY/hMtKiSOza1rvr3Drt1G9y3J6LI5uwYOJ228yQwR+4PNkmvZFJ4bVbD77S5bPJKjXoHrLOohB5dfiukIiCYDVjss5XXOj4SC+HwpiNKFI7FyOamt7QEPHszj+Pd0iYgIUOGmkssKZdamkAIdppye80FxghHjwyWwr2ZxSfM+abdsfRym4iMySLPfTfXoHcH1s19/meQmVgmPQen2oSg/8N60F0Bk+L2d7xb6fBtJrg6i7GMBK/DSdoqwp4pMrXd+aIX6sHshVqmihSI5+KiHs+jypIpMELnV7d/nPtzbwZQSMGvJxqlggAl2yfSb7GttIUUkGWaL0+hLaJSraXdNiTK09KNqxyFZfvjQ3yaieRnpB50eh+ORMY8WfNWxAUE99NL+VxsY5vB9BGNfUKXYTA8pUz4n8LaMFefb/0tGpFzErZ8GGW2AnJazbyRr4IFFpQDM2qCi7GElCJ8cPsneTDfbusGyk7gzR1clnegs1ULcW4b6V7G50xrI4YU7gQ/QNXj/6qBBtaIIDsXygxr2b8wMvQ8B17iQRebjg0pKifwUAWxiEEcvGbD3tyhEzsfSMgcCLQS+0JIxhBjaoGemx/v54IhWYcpnlcB0kCgIXX4fmM+W1/sPc3gr8hXeDFyTiSRFa3QQ4AN9RZLvUPm5cdJCgH6Naj1UCPAYUyyc6gwz4C3V9SWiZXy4GA/fX9DK9yLoCzl4gaIbxvYCL2NgNKyeqx4QbOSxFCZB15gzyWkqsjP0+iWGPjc/0s21n2xRclPVDtfRkwswPuv6iFTvMxUljyB0Sa3Zat4BkWbILq8yoqtwFU2kxQZTsRSCC2gi/87IuVzlk0l0Bex5fIS8jb64AUw2CsXg+XDwbGqV7WyXn7L/WiqRYZ92OZeeTv01iFFXZGlRkmr0WaacQeoOdu/RXa36THOfUylyKuKdn6lp4TuyNLz3Z24EIE4HHXr/PjJnLQzojiX48n85drSLlKqz1B62m3ViWGOb0VihAJ+2Ep0ZUBAI0vYzVqgV0o9v1IIcx8lTqb27JpoU+4DVm3dNQRnGhgMSNUXwifbL72tyA53VADvwPGaGcaCoDYMf5ol3pQMsueYJeg+33kPYeQPMdLzqGuYzMkbUZ0EgSm/4Hcv3Klb6XCKKcm/E6FLgBCT1ZgkqxNmpvHDtv2ci+KxTstk0zA94oVj+yeDmTdKwpWH0seluXBB7eSL8T2H5RPINdmhUS1brJdy+FyY9umqqw2Tq9lpMDkdsZCILy5mgffT1cQjR7AYxz/NGq955JnWvLCKB8AeErHILTIZSsw934UX9D2P/5AZcF8GsYkoFcBGtlbC+3QKN940lUG0NxVYW3QOrzwJOHMDYP7RzgNZrnOlT0U5743rwGKpKWu7MD/ggiagjc9mIqEHp/KmSYY0M3bEsDnTbw97U5fCdn1xoh5zqTz7ctT7ynJB+nCjCA5QM0aXX16xVZKS4Z0L7o3knENKC8FtplMCmTaRm8sZbLvuLvofkWWBz7vMc3TzUc/+Ib6RjJd4Fz0gJ71FNJqAfrK1wvg2UI3SeqF0zKyahPz7VvsHAZt7OcnyuVnK+tj6Hb4HBYPD5i0aqRowZOjUSGgXOd4ljR260lqoj8SWfDbk5J/Hh1w3fUpl+hogRvDkQatFOZta85p+DMRU0p2b8y+eogFgkbTJWnUV0hPX4W/rMl2o1zCvUoG9ENKRgAI06bW1egZO8S/yQfMJlX9TSI7Qds80OmlZKy6i+mWqGH/ioCQNNTS+skLYFEO5ERFl96VsITDELIzX1tGCl8tbyIKINKEesJs5LN1RRWN6OFKRnF7FhW1SfB1XP/s5VPLDbgyUZR/12bR6YeqAH6MAac6tG9Hbq2ZeGNdeXWYsGdR6X38J6MXBjyP/m2t9+tZGTkEfrRM2OPsDQprm98Ho+URzS1QDY4Msi7uTRni9P0GumLwItU1iZHhorepdkdOjlygz2M95yJXxCxV87/o7schT6pooA8u9udxgKbJzQiGNtOxGPWShytOWPu7x0hNwQUtZUsfkEEDBwz4ZlKOzYIfdlKTaF9zJcwyEgxzbuxBIVrva1D6nCLNS8qUIhsIzSVNqOy5Pexgl0pXybzN2YU2bgSbWka0rpYClrVZn+f5KMqLFASSSYhXQNsycH6qHZ4gdIcBPBhqq1w0l6ajVu0IDvxHMQEvoHjMD1svtOXhEYkXqMvKJC0qyeMnilecHMLfdveWja993lpXwnctngl1n77jZ+ybU0uuGOTMEi4MQv2wVZZ2jkRjGeF+IVJyVbt5fBwdvby9yp5ZvNZSpXtFfOVN9PCTcuAOnF9d/BONynDZqEbX4cPagt2DqD5jLfXDvBlY3qvcq4d+wu6/tgYzlR0DA+GQDf9iqgZu01gfSGqgYBKnOsMVcKsXs7gcHApAo4ZecPbbM/gesx8PPAaYhg1E2/49Mf0m53w5W4vRcxwQZiNqJbEXaMcEhg4vczpt5m2Rlo/Vw06tlFbp2nDazZkQ7wXhv8RWzm+m1oY6qyEN9puf8FNTob1vVkhh8fD4RVpEnSHJNTCrO4vg89xWePcjqdnbEX/JG6MAeJa6WkkdiviIyCzN44H2MMQxuZ5LNJRBKcMvf2VjSb+wvTc029QNC6f+20gGo+uQlkIqBZ9orzdCfrUlZcpOvuEqEsZBdgnJWRNBFShnSmTAN+TLF3KHgqwdkPjvmQjl0onx5FORzvz1B/DefZ/n+akQFCVI5pW1mECoMc+NDrNjJEMDu7kmxErRvWe9nV+ybGJSgtXIkRxLMln+ZRElAxP27g4AxM/SdFtpyOk0W1vAHxitPlaoNMMCUbgaJZ9UAfdgDsnRBRK0cUQde8G1o/0hjfea125K+3jMfM+nN1pGM9k2syuSm206kx5Wvu/B8ct//D/IAJr+UbCrCm0gIHzhDB4u18Pr+UXB5ngoK+LxaD+srP3b1bnoo9Vm2i84oOGIfUopzWrTU/ILwIziQwfpoVNuSX8ReFHYtbekc1cThp3ikfa/8zOTx73wKYgjzgifBl6am47EtH4zB5JH3g1TocsA17ITB6xPVJyFeB5WfFWahAVPb1P5m1Md1LtKWkGTpyn1jpvELerwCYX2zJkX3PKUVXnOhSuCG9hVS342VWBIlkp6vipZOG165NuaTdJ6peAfvQJfvhnH0Jf1vrfSxlng/m1SvjwoRGF5MGPG2T8+LVnAWb7Rh2SvLBoNIfqznk3GRLWCXoVqrW86i4OTsKlNRvcxUxWl+C0JPLSsQIDZMwZ31sKi8QQSCUZ75QejuLmBpRus4qE6kUteK/VMq2DkLEua4zPdldH78tUi5lJjEnzfwtGXEzC8cgcbSFjVloZkrIe32UxTniKTSoDNBXZtktsvuCNkzlGIGQAQQleppzuU9fP8T0eqAm/r/hx/lQ94cwY5xrBNVDBGyGRnsBfGrEHvbUT9h3gdqGstWUiyMXSmMGpLP2Y+N/TYRsXJ/Du9EW/2g8zDKVwpznIMwWoELL/JxqZm+iR//EjwwFLz9Av5ktdYl0LfHOW5VkaDjLO96GRxlVJriCPKLeREG1K/VplIJxheyHNhsVnZd1Igmbkj6cwWo9dAMduxnkqJOsVG8m8Jkk0ml4njVKm6FwWLEbZkSgbMZTUsmr4YLvEAvWbkiCq5PUBrrE7c/NexLfAnfGBh4r+BqHdTdYIzniiDJajYLMM9IU3+eOgvEpYeFnENPteTDLzRyl8meh5BTSpW8sGwHlCmMzNvOSWEwQM8x9XqiiL1q5BbPjjhMImhWk5SV+4QWoXAb5b8YKSmxvkHior4tkxWmxJi8scioPufZwy9MYD7VuV72/rk1bG/O3yEh84loVo+0qDms+yoKz9gXqpLACykvaE+w/JJcWW0nGZj34doo6/0NJNaRLMlrqu3XvXDAcdJe3gKGNiyWYNVR3QqwT3OfdLc3iScGucGl9Fe/LoaJD/31RAz7hLZOL+5UIozqTAsscqRx6mHTrm6yt7AV3tcAutq8HC0a4IZ6rkwFVLcMrP6Kmi+cPqNEjT6OqhLgEZG3uSgC2gNT6tv5TBjmsbZInXYIhQH2GhJzLb4FXDLqZDv2o3TM1cZxyv3WeN4y45Kb9yLRzMoJTWB9fzrJnYv4Qx3prFEs4E3YKpW9L3Rcp6VrUMrcvqNRxKHkhX8tBQheXNeon0RZgf0nYcdHLTRsR8NBwQj0KoxzDi/ZtLjGUaXUFYzSuKGOJUSyGc1JxgkTTD28TZbiG9FfgFyVM9gmwFlvtIm/859o13Pelxo8Ip1xc/c8t1G110wh9Id+mdRXFCqsN+m/dCHUX41SzR6m5jWXX+BusoIDPtcUrANvA5hNUKyYos0y7Ixrc4v8K/3etWISjNCHLLlkfeSwbv2sObNrtLpgOZw6LLFkC3sBqU7Y7i4ngCo+zcjbcwJH6WHcOxQbVc3YDtRWWhkNaCe2E60xzHznsKcrusdX68egeG8JQkT81b0lUjjYRMkwSye/TshR6M1yZNETpHAaisV0kTXBxe8ZrHihl1EVBXP2SJwrTJZTdyHnFwBdwBbU7qrW9lTMIsSg/91PJVL+mG4KrjVHnrx+Wj+Vy6u0vgRbfAuN9zwH4fgwnUdvlH+ucMAvOD8MR8uJDhl2FOn66gsrndbn3N+mMDXHeuFaLeE2SueHtQT7/qb3Misv038v1IWdevn4ovSQi24bRfSuBIrv+txdjyFshxL4Chpo8xyFiUaW1jQTP/NuePiGZZmJVw/1RlxR3M2ae2+WE/msZVaTbv7vF7sDN9ZKMu/t0c9iQdal2V0EKSRvuuhIgdpemSNXL4LJEYyBPU9WP/Lf+xc9IDX5fRC03of8WDBEcRKZ29vAMnMQYGSBRhX04SDK3CEgRY4EJlku1OuAhDlzD3WMc9d0m9HIYB4utwnPFZjzCBUoqiAfA27hdoY/NMpNDALc60conBYxB5qGPJquPggzH38rE3Cpf49fSmXoVVhUfzZ6oJxVr0E6aUgRxzwo+FVzefWAdqh5SvAam2EaL3iL4BMTmx7cVfjxYMK+RGXHWgqYdXQ1S2pold8l02a12su2Tl53/pwjBhO9Ohe60a40rJr/E14OiGAwZgp9ya3CFWSYYXL2x0LhZBwGstQ60yy8nyIlhgS/vJ2WQta408wogWKW81jsAOfg5215Jxg0TNhEC5CQu8okwAjKqwlK6Uikp54gbqWLDS+LEfmwlf70xoLofNPc34gCdXKnO7fGGzBEsGJID3oL38OvO+C5M69Z0od0h+HjWBz0qqskb/ufmWTAVyYDuD6Zz1/92ZPiAo780zyy/rpCWIQljDn6RIUAz2GAjfhQwh9VYKeV/Eao5XhKDDY6A/Lt/9aC9r49OrTp/ihyAphPpkEFK7iH0BUJzpfqwN9MgCua2Q7Ki50YdC5kp2cYR7/sx1Kqsti5JcQSeIywN+u9xrOLSYg/IbgrT9I19kCaEChY6n2qjryrKFRcx7ZFLkw7QI+Y6rYKKYUkUWs+wWsb5mchngTIWqxuqv7wppK22H023f+wyVBc5jCguSj9BXQ+OC8uHNSaSi09wjK/9od/U2dVdtsFdKhD7MmSspQ9LrqMSjoGv3w+MIj3YHhJSJljQQbdL6yQSwHG3yF5Byftin/CKhbfRve6kN6ZrWtnpEGjA/8GUNHv7D+7FpUH1KI/ACXKQKhGXntKMuGiEi0UDNYvy/cfvmrq/aVqy82A/ejxrnc/cMgpJZCFy+rmpo6sHPql7dyOaRB0BRXa52J9YNqInmGVvJ8zRKI2cKEocVulUUEEw5t/g6UVfHXMfroHSTvEq9J2veR9ZNaFDfI5oRjDRJ2TCnLfwdnqFbdOVcr6dXnA8/zkKOhxD98cFObab92aXCl3y1oGsNDziyHNLadDawuBOAk0qfXJ7xnarAxDJ8ntrD6T7g25yskLFeJ1r2vBJA3NV6UGnd+ggROSoq/T4fpZ/nddaVmuWnHTBHUI6Kwj2hJJx6rm3J5ZWunqUGc+8snFyHaHMj5MhyI6rwLr9tPVWm6/mZ1D+G32q0K8Alieqi3yXAZU/VHw9eOCtEftyByAvF/9bcV8RI1G+dvIFrDg9H5yuJeEMuMuXakQ26BHvdjGMpZMfzIBdB8QNAD8/yaYRSQise4kcIJ0EJp9bdnSfSJEAPBIn6yzbBktb9Na3NB5Z2WXMWD65pydClsuI85pdhIC3pmk83n9v+JtiJKQruyJXiyeXi5S33+dOulDOV3wIMz3CRNO6205ITYtMXXIGoBeUnUkcD/y4S6ZKKat91i5gqX3HaLYqxSl7B9Id138qrUm30GuRPH9ywHrMpZFYWga3fDScLhXw63gwp91aFJnvqK8y10lwx17RS+dc6B/PSCMCJcZ4wQ0woDEwH6KQ5y8toIeGxZqDYdcMvrMV5A9pXr8wxkFE39Nzvp/d9yKL/NI+MVLAEAJRol68U38PrVa9ci1U9fxEt48KqPAglx2eHjvA30yz4kNHXc3mDNrcR3u9x8rNRTfRLAanU/LMFJJBKoMHNbfoCsEwdCKpiMitbhlySUzkufHJOgouHE0p0+uX41Ta38lTQ+rd3fRKaKl43qqSA4MvplnCtMsK3HDThMYzYYx/Xb6tO7AHBh4U/Frm+5yFpCvzllMd1ojaOPxX8tgBEia47qWO3SoGc8zfkH6l3DnvvSZ6lnZ1WRvR2r2pU8tvgXjjI9jH0puivZUrTdBY2eK+K97/wU8kJCW6t1f05lTnl4yKrlYPxObvjcqck6qeypC6qhM8PsNsYwXTBAwbnYekUsPHvBWDe75+x+6a6loxaXL7GZGsR+iy/PZWCYOl5AHCtx7TOq5Kwx+wyNE6RK8b/98Z1PWf+dgtu4SIN+SdZBrpkuIYyO0d29RxZ937Y4Ay4CsDADKOb0A/jptJfoYZmVP/EawpfVFRz21l9m9SdsBYh3x2qf8xt+/fCJG47gUbdnrNXKfyfIsOEwd2NokMALQR56VLic+7XPVSngw9ILDa/4SzQ/OvDvxghq410x8COpun+o9ufAVh3sAM8Sk4KtIPHK/UwQpUX2tmPrEjTCbFn8vVrNTl5pi56haXk91USePUPY7dAnbQ1l1fX4Q/slRVdPIO/YpxRmLFsKuk06qrjIZOq9ezn2dy1w9u9B+qRBqfGnqFjl2c/iB9zpPIkpeh0Il45ExBeb6pKX/46/Kn0BXflvmiyMVtbkQQCm1vWhEzrwbziXtS064m4aFYqimB4HIzahNF0BpuHrZQV3uxj/lvMh4PrxPr6yCny0eUxL7WqicPMwxKRSQbMyJEt5+lekk9ErCaCDquYIEaztualYfUX94rK8vNmUjtj4QX5ZbfCcJ5pB9o0rfrrwX2FS1VcXz8NCRMRDtTsjE5SPdFTkIEjexVQ4vFlRycqPxB7EcDed2T6LFFulsnqHepaQwVFwX2nDppbPzlqGqzZuzC3n2XAVKlE9PDNa9PALtVMffl1+Z3sdOGHYTe3OuYT7mFU1QMIVjS12fFniJQZakOvOaju/pMCj8lNTofzB1VP8smYBsi1WA/IfEe35SQ57dH8EDsnBzg1+NAYqMMZvhtGIQcD3Z4417mRCYzkd1axmPi9zbmPphGPD7jgaEzGFnv0S2oCwUqC2U/pSrnc3NoMhrV+X25OMpYZjw90sZfg8/bOWZnv0C9CfcuHNA61Ze2lCyucPDHrqOOAl+VX6Hhj/XjoiANz5EOfVgsJV9nYh4dPYXdJNrvvNuhJyVZefsP7cvQX8AsJvMO5okheF/GDYhyBBE4eT2Mu5BU0RhAK1tEuu7SbACDEW0JSKEllj0ZPPy1kxkVWbUCw09WlOY+KW3fh9BKbrZP7/QeAB7Q7czgZJ1P1KobhQkcK7Sewi4a5t9L6t1y9zVr5H4Y4J5xdCcuVsaZRN+4XV1FyckdsXrPtkAfugknKGSm8886tLMhf6E/cX4rqHK+t88SxgJwZMq6+IzmlmmXoVzK8g4L4+Gxb1f1YPv+8xhnL6jabBKH5yPhdUke+j3uw2nYGgOeWTIn9gjMoUj19gQBKdb+3pYaL7vjCG7g60yO/S//gYxVbk3sPGyXsmiejZzkEQq8A9Pg/Ak03ciABljKm4sEtLlqGIoattyDe6L/FQjP+CI/4Hl8rxN77oihoV+gFFnj5/A4OI4jyDbf1fKW484VcFgA8nDIbCWsROADdCU90+Qg6d0KGfA8xT1LLAQHUrFHpmYelAtgra6voUn4QPw3JgacS31YR/ym0AjxC7iqWolMHEjtOvk15TMtDOO+JNSGrY5mH9LnrupBlWbnYFNOmw8ZFiQuBA0myyNNV0XmcdJ724fOUe4KDkAgusnYqhQomFlkF7vNBrwFpEkg7b8k8Qzgn+VnVCv5Xtmh7HdYhfa4ZBwAvtMjZaHOHIimkj/Bxc+2WECJQsWSDFF7CNxy/SOHY6EqrgtM2/xK34j2pgZ6uRvKaAQoom5NGkIzevZDT2NWalIpf+ThtEq8z2Vvb71Fk0IGTIBdeGtRQnXViNYesyugu7YKs0G68ID+4fkkOtPNKZffoNzteD3czfpWrz6gCYnLPrOTTsE+ZV0YiFgX+ngbbrjNmQS2Q5HcKZrU9sdYIgAdQ3fNFN3SoJ99C47K4hr23z0jEZsdgVRdOTDGhh7Sd5sErp478nlr8i6LHNcz84tpidu+VR1pYpMyCPK0wrah2PAXpET5jk8E2HFyO/WmLRglb0wDGijtKRn4bpCv5Ikp1PpALdhG4LzT3v+6mYKIH/MDTxl1hwq6URsu7FEJzF7FwVhbhh/hI8of2dsBG6U2hOw2JOcJWslhPSrmEeJLU872vZrSSGtMY5mTf9oSMOeir5mwPS8MaTelo90cOONrQVUoGoVnU0xEEl/uSu+NUPnKuxxORz5aOKg8NH9HKprAvnu8pGgPYHtITba7fCyvaAJ4rVvNQZG1GuK5YmvVu3HT4bgiwDaivJ5TDLxgX+4oWhCz0OAZZ7kkls8JYgfnz/mhkbtelwY5Bli2siDK/yk7LV8X/MjSIVISM9emrii8e+XGZcKNaC5gWKY2f+9OCYw/gfuD4kHgtCvtJpgLJwshdORHGeWkj72/htNy65udzITEk9hhFGENGa6+1uGiSTERH2MOI1NhdSDtT7aNHRsbZDEcdkkeAI6dcE/drkeSpRhH35EP4DVePcJLOiS083uSpuXaL+xoKz5sPRXez5Piegi2JfDSoDcWVf15Dj9okR0o4/xFuneCcjhMkJqGHs3/HM3kC8Q98paQz82PkUu+ym2FdJOe6PjySa7+eJl0d7rqYyRCNpJRPeb3L1R7wIMuxJYTYJWKQyfAqFKHdVHNL+fF/9ApPRDY5/UhDSoGPkiqaz1uLs5Bp9p/5M1DsY7522oBBH+KGfS5O8mmBphPvfQAsQBNfZfSz2lIn077YiIbhvVLJHyAh+EVrb+mayyLZj0V6wfni9puaFRrEFkf5K12fybiEPAeRNSyFpueT39obMapDUZJSlx1T/8A6fmtZ36ON7gpQAbWFO/f5JmVXdmxBBhOivxDhik2mYTK6INZFe8XC7CEo2urb71QQSUf0FXz+Q8AufHAvVXp9moZVcLe7rM1rC5EJgHfN1HfVsSYUJiQvLfBtxygLojtvAwWz+bxOJChT0tyxRrQhnt06MU1SwHL/Q/EiZp9AAEQmwBVcIvQcuOZu7x4qjRlggpGJeUpjswtI2n1TZ1gD4GpBsWrdPgt+RYgJfEv03RB0GU/sIWzwUy5X68GWjUA001ykrYeY7BLuwhB4jjp/m8cnHWz3fE5aYTU72I1NvIW4yqythgmEKVud6+oI6Ge3949V6huhRVVNF74eBc9x8NsGL3sGwM7mKI26cjTVrc/zdo+vvqJj4YUxDRvQmSEXMm6o+OFJ+CDlzHDXR5lqfjTI7/W2Ay0RiRAylULZplfV0A2T+TSieJtSzeqmjZZe6VIi/hZ8vcIY+1AYbpTxtFZYXRFFj+P+wNDOFv0lpcBptckfngsGbBflDQ0xeifyE1C6sEtrm75CoVRFq9kUhbqhnUoWJ4aLGWBK4IJjnvU9EssdyNCoEnKqU3Wi7AWMI20FkIFO+4QiHWoBVJHOH7UEACte7bOq+4+hnMFWzqMBRUT5LMESVxyvp7RhqfUk49ARXw5RCJzQJusupnt+N0lf86Ama10XVPkKL5Fz9miRS69Ss4hl7XFSAfJiQuCFnCPRmrbTpH3OJxcD1PMX5Sh4fykyxmQZTa/YQux4Yq/wX34312ibdExF2rDTlRSk5Zncv0StqWjZxramfA/PIDSagKfs5gI00/MywGGB7EGbfDzU3dO8C9F7T/YGJS5VlD0aksRKvcI0IBD7WDePpY3iyNFAEQYu8MCsV5kTRbiC0CqJMDf1BcUBqjZCOAKRlxw71Gi9lYYcwltOsp16FpAs2H2Dd25uffR8IYzCQ+wSINLcHjkczDIx7nk8WVsqtMK5ZXxrvLe52U/aqzvCpsOyYaAlne9LCynA59gBOFfjZ8AfZJARf2HAhX+OUf7GbFh3i4R8kl48S7FldZRtWYgVfQEPa6xNUltO3wTCRtV4Yviy0RnoYV7ZO5cFeQOhwkUY/tzAwMQuzQTVdmB5KkODH06UMg8fr+Hi5WskLtygXZ61KgztZFaAPENaEi2jfCZ+XPPQzZ+fyuUr8FKYRiCeS6qNhjzJMj2AaXIl+dhG35RWFCm78mVjkEFFXovG8t0bb+3ocFjOQGuxgeQBk5oonFtInXgWvwZcRi7EOAG4wC1Mx/xi7R9slW+0F9y4g4fWRIyetcm1OQRC82ybTZgHMPGqncNkAfMAyX5xe7BRDeiX967lHpr+MhXQog3HYWgEOusXWL9XpXYbfN7Uk10twTD0Eo7ylg2xNjHYs87yrDIibbFzoyjhIr4rV8LCCq/FT+1eCNkOECwyY9rVQKTAogO7s0KCzac1LfMmqiE7aINCXVCMIKOgUpOl3cnBdrDTOFf1JXUFOJMPQCyVhpkglw5u6v7QdLN44HC2uZySur5xvGgW61tpgSbNUvQVbXKuajklT1z9Y+y40j/gzOBH9lFxS1oO1t1pUosoDhQLghTWRX7wLWCEAFF/JXBKXslQkosXzz/NMeU1JDD3Y8UavSWIaZOFaP6ezga6oA5XwTtB5oVJu/qk7w0v6xDPZ5OEV09i0GvAPtWeWeQz6l7IXfh94ffp/7xnj6ugyEty/CgW//2USWKzyAvZ/EImp1cHTVmYqzCmRu8Bj4WtQ65FmzMPoalwe4IUuEFOXCeXFIMVfC9An+p3rcRny9VPTWtCz5rarmzC0KbBIZoyVFRrRtx/CGFNvIoZSNefxZHBTzL2F3ep/0CRo528QFjqBh/ScjcEchHJE/+NewriVtoeSfcDakcIVcP3/AuCSQEnx53u/YLO7L334uyEidsnxiqwsMJU7xDxY9aggTdikUVntdZPa9kBy0MamB+3Yj4fSkpD7vNuKN1/CkCXyoZvkUV4WTXaCknNxDYCSEfnZ4Odk9XHn032dyvTr2c3lb8+vR6WriYgIkQqSNa4Gjf9aQSH4V//6zFukvcyXk0+2yv8hQsICJU/nA0RAWHnaULKcaODOmDXqO5lX/rOo59NE0jf1os4gO2CMxiQhD8vFhXOUk0Symy1u+NS2BGnirs0a/skDQMsj66FglJyGikbBv0eLTMaIEpv8pEhVyIFcdpthHsDjK8s2rIGJxl4uMe6ulReRYQD7Y52kiwoVMrAX6POjUezOT06A1iCVBKn2y61etF7rXh34vbMpgVCwzEZEJO4cJ0hZdJP6qsSmxA1hLy5XKnbUxHIHpNuHl9dk6pj3gWMh/Nqk/qmFBG92vIYltaQjzvW+44CN5V7JTeKaELyvBHkcsdJuAdpzKlRUwo2a9gBikNuo7ehsPiPHamB25WDNoIhL+gicSx7Wn5WHBoNt34o4DV+9F3YOnGTUy7bzKJ32wOf/ohwMiUeG44oV/MsPqx5JbzrdkCUf/a6tv81lo5OrhQo7MDWrjSQmQ2pjSCnR427lvpKXcOxsOmOlr1plJlB/u4+p/TRcOdEQMeBh+Y11Hqjp2+1kkrPm9t9qyUCon9y/y94v4OKfIKJbJkd9PZ6JPY7cjycGFAXP4UP7Fnvj35ED8+Zxf1rHoY2bRDELqa99nAAGiAbSADBYNI3KgNJy/p+gzOJC2DT/2oaVWFkKpA7fPdHmGnH/r6o3q2HjtiFptDVJgit+oQTdOZOfQ6LExFIh9jU7NdqYYa/46ADCnvl8E6PAKwQQSWF5Tb85PZuwZWKSnqNM97KyEbsm8Tx9t7+W2FYr1E682ysSgkBVd2+dQm0CIZ4ZxqlUmIxuIadbnCgXhKWqYxM3EKNV3osPxmU2w8+jKIhFJ4ALITGvJNJke8bSEOzTAgHcV7q2SP9d/0QJKsPcwezR98enEPe2v1Rsmjgh9jSOTtnvlxcCXrGFKQIu/mst84JKnCIawmfRR3M3FI3SiyJwjSU5i3uctKQIFMaLzYTvIupquwHIAPQw32D50tciMCeOmVPmRjzE2jiEOCGeBWWAEhazpygmeER53uwoBc8XIoMiWR6gFlH33lI/0hdJAE11qWTbrEuFk5lA/xr0j3RI0qkPa5x5hvqnMWCNj8lqNsSrmfvHSz8VxCAe/tpxV4cQ2wHiTxUNCku7V3uufyaFq/zFgsWrvW5tMp/nWmvRVM7KBrOgeRNxPsFJTh6gO9BzMUedSRLlISPTv8Y8OEkz88drc0iCf9ahJdSJIElAdeah09/x2iqcURo68UIpim0gXu38VOItizhr3jV5NYMmb5HoF1DM2Dk7pmPHxAPDa5BhOoaQMe5QT+3flseeLjtek9duK3qZQ8gAdj0hnVLUbZfXUoPBekr+CMgORXeFye4ezbtJM2OlhxlbqafR4dxF6/0oR0GmDVPmRIWl6xTZy86EYnJlG5/JKf1nhSL8Se+zui5uwqzoP5zaEL+1Bmp7KAoMdC9JycoMY4Gj++osl3/ZibrakefLSYcLoT6FyTcVz3wRqZgf+flgCvhGo1VDhpSLeVPsrdAe1hbW+5EdiPJIAIvErm+vyX5gGlePYTzsDmv3f9oSP6GOpKX1Q5zqazABd1LAGM8iuPyUWaQaK4NPs5n/mC9yRstJnGmaAmwbhsdcpJpnUoKoMpu9b8UWuyWkI/tvLQGeJfgnv0sixTxND4Lspj6bYU0DO81+mEQczpMv7DEXenl8S26xxoFgKduGFjPScnkkK1lj1dsgnPYrGVMCrjv3OUT1FH94+EJpLzE7IidZWikH1aLJLTTnIDB67rzKjXjuciNs28eBK9jtrQn8j96gY42kkYELgZQuqqAtZesOkRPJwdgJDJEFRnyWEuzrQL1SZSeuUm375MH/9AQPIKAk8z+eNwna/0NqhPDtB1PGME0GB+NfEuM0zHKSpEL6KngLRHbovJg6tP/vRR5a3pUwUHW7UIBG12AsVOGmryAI8KsI+ui3dILFmsH4ZnRX/h5vY56mJ68fYUk824rNCYDHEPOwJcJlP0W8lXVf0UNLdQk6su4hEUs4PZD+4knrDKi3ou2OdEGUzHExcyZRwL/UbbN8sXRaZNbQPsU2IjHGYvKKyl2XlZpESf9H0YXCpIA3D8YE6kdSAtXZ+YvyOqucZC2iBeOB4gN0v7fgi+9gHXOhmUlZZKHfTaI5ztYWjs3nzj8P21h5zBlnsk+oWKq+fTffg2qT36uCoDZfrIwYGlW0tW6YRaQ1PEX1JnWK/QmRzWQkJ3uHwXMhbeUCs5MVicvC+hVkj+b7t4lC9KL1BUVkUWTJ5F0T3ICjhb517+WVUTj9SP7mjvTQEVCNOdZkcA/xTYqAgvsTaBb6Vns7z/CxTURDziJTqp4LlAZDU1qk6vTmZlLKoWL639c7qm/MNrSybmE6LE3zMd+iwigkT/Eg4gTp00FTw6EZjjdH0TlfIZxuOpy2tJsvCRceTwfhuJ2yXWZmXxaDwijbmby/Y6nRpzcNC0Wfza/PgmCmOnBOR0wi5fCtrSGjLLs9XtzMfDxFjdJZuEMz5Aib1o6RdAWM4CZ2IiaZMUDp7Oqpo2FIz7cDmGBkpfgVIgHoQM8a8Gyp1N3GzdMYsTa64c1X6aStMofpRS9scxrxwEKDoAlRTgo2G6x3Xsg1BWWfjnIpVvLQX1xF1/5pHBNRKGH7uru86O/MPHqfOgI+/ypez0g5pvVUi0mFGJpeb6T9I5sM7wlCd3wDnvKX2ooDz0+UdQqFfLs8W8TBp2pwmA4Mf7O9SlTfA1lG3s0y52F9kWLLLEnQwNcd6w1YQCt8JqJD5ppiacFiX3PNi7/2F1uWBoURJDsnt35GtN3fvSMZ6fgr9rqIGr7HAl2mDK/WfwszevCVneKFfDBUjdfdIlgpxtC0Wyi9X5r3f1PJHWfO0MHo5VtwTgeru4RKn+kXLKlZ1azVkJKzH+6n19Zh5xX1b4rYG2JTp7MubVe+lnKFywJc+8CAjo4rM4GC0x5ziNIj4sLg0tCf4LZ8cx71cMd4G8EmJ+OKALGsge5ec4rWgukOb535pv2Ml5r6btOECFDBfsX/vQRP0a6PxDd0x3SN39hJcPKohQGsnNSOzy/+Aw8rN5VvIyUeAsCaJwCprcvB4M53jwN0xlswoXhAq5Pq+LxmwqkFpUJgVeZvtsTC04abFhdbLktHPPbwfy6Va+X1Hlar+AgqNtziXJ0VGzs5ZfFGEj08aXz5aifkfksNiPZMgwIdvJ11t4cwuw2kPIuOtWoLmh/x8FlhC//tsRSVkr7F35+k4Pq5siLRWLrP2dVQX1hF+gTUmt6cP38RlKCCAFjhtDtlcu0rNudqMHNgfTMa8E7BWJzNGK0+Wz63t6PS2a+yuYnKN+plMJMS707NC7WVpyyJBYToKWGmM1ReXEbplwcBEU//AX0aE4PqWTRKNpI0fsMTSh9GhHNqD3t9c3iU6Ked6OJt5aUHgzJuIzPesYSe0akW0cgJMq+ZaYq5UiKAji3OMCB7yaBTxSXUiwlQQEKr9WyI1WO7UZHG+w4YdZ2z4F68SwSFIryGzsJA8WvyX3hUB4/zPogvMUVWF17sgnmxazmZToAJCMbUva6Gc3JXJn6nd8w4s6ks5zO7KmFfCs9+v6Uc568zMBOnsn/IQfr+ZtczKYKHZauQynk27HW4NA3HkpXsVBh5uhXD3OCq0bWSehHKr8qNuxHutwh3331sNBj9HHeYzYFd+174oSzs7RfB6Z2wVpmU8HEDDOw8NIIVd3AsDB+1devCk2R+GljJocubP6DtcTeYWiwtY8KUY7WhNX6Qc6t/tn8cRsEuuug6FjD+cdhqeSosg1AuWyvKRjHrZuhPs5GZ/rhLdfYJwrOn0emQCG6+wggm79f/cprdhCT3MEOBaqMYNycCLgF03rm4NnQ1xxP8Tl31/tmCBcTPKY6SaQ7ECwCk++cL4G35PZ0CX3BBtRSJ5CIEnmv9Jue3+8n/uL6xpw0N1JnySFwfhuKfZ/eX5ttlLRMb6b2udgmjtjpwCrLpCCo8QNEDNysDOqTEvIMAkp2kBVYtP3uyRyy5qESdhlJFEvzLcEbVXPtx/LDmPP0UAXcuuHsmZg5orP71DDYwzGTKZn+Scwl5DtowQMrba/HjO+4Dgk7eHHYG39poAxgzcivvcm6QRUrTn9U0WE5OM845E0iMbHPxU1iVMPvkfaaeS66F/LIg9lLK9B3hoxBqz72TlXznHtqgjShkpw6Ojj16ad+ON16FR5dyzz2lAORUSaJbMeg8via1fXMpFXtOQHJuMxe5vq7wb+AVJVyk+f1UOXTYRKcoKRri5r4Dff2tkNTdxA2sOPY6LywNwR7AGyIkeGj5MOnArP6r2CMEyM22itNtoTTRBJvqngr51jrIfSkpz3ZtjC6vPy1q68jzGrK3JDtJDL06SlvX+7ngGxkuEiYjF95f2EXeEjq6N4COLHo8e6yKgEcQtH8u9k/Iunk4LAeVIVBmbWrT1Ud+RyOtQwDOc8BTIgK8mSGr06kJeeQI5aG9OQZZ9bbqGloqfr7Q+twk3c7nH5kduLV4zvrHg4hElx7xR15INgQu7cJcAjoeTC+S+bRrRZUabuZtWYaumUFNdaw2Y78QNujIS5Fc+qOP1/VgfbmbR0gzFCpBSCjZ+BWPtQ5N6W0YMVnK5DRc/PXQwUIyJT98ugNL2a0ySUDsOn5WkDvpDFVlHtvLMGdEmOX6vbiqiZBDq2TDDO0NUKYr6WFKZe+IGhx22hYJR+49lVhXas0mOAZ1pGomslLo1JpaGnJMNh9vaVJh/BZFIRMi8XN9Q7S0VWW6Vk4g2R0Q0XeQcTieLLFyZ/H2rZbIdosO0LGFRtUIvRMODePOMZ1hKZ3VXEViy0RlSUXr4BoS0WymP+dazbsEa9n/NZyyP53Ju9zxa8JciUg6xKZaszHTIQL9XTX0h7EMZ/jng4dE0uHxBWmY7Wax4QIVJUJCEO91tUbAZaaKsGt6hx4WoFRPfrc+QW36MVrC4CPJNM3BEK22DYsow6E/OMtWIoe91Hpvkl0RXLhyUPlw061V4E6QNYUStXfgJgTUm2WS9pGzUWlMI45Z4QE83bfxv49H3ItM/9D+Xps2ZDv2+IvAU7UmydpxMVAv9sh2DKOlm5MI4vuIIy2RDDVcmNwIrFoprYCsvuheLwFJ/j1IIEPbvTHqV63efkA3P+VPXQXqRcrUTqGjyZIHnnU/y+z4lcYba8QQFFuRLr3ChHHWzFC6JyIgBiR5Dh76GJbc+cWj2b1zgxHk4seGYPWCmDDmsvXXOQX3hbKaKoWCDqrF6JbOPjw1ytpcmizhq/SeYAWbQdD8IaBSz88MW1U/2lYbFkz22AR/t4l8nQFWKGXx3NlkZrlY5uN8zQs9wyCBNGeK9Y72h8R3a+HnEZh2NBXp3gpQRUvSEvLKqCgBHY0Lg/UlXEkzXOR0Sa8WOmWFzAiYlvWDHOsrP9WuenvotPoAWoz8OxlFVVOhnENoX31AF7MRlKvPXf/s6uoyiFkmAC0P/Hx2n0wTIYwWFPW5BqX3x+onZOEkvieTGJmlIhjwwWQezVay6fRlxJN7F7+xQgjcPyTjeqXAx8Il/ucbEV2guVQ7oAqyRCOnMTBHpJHfbt6+hndNU8sxHSqb34u+ZrgM8+RXrShmxRQDDt/5NsVpRc1SqhtqQdB0S6VBYiY6C8usf+ipwpSoGgJJdof23Z9XmiSYS1Nw4mjWtaXvtWf7lnSTeLiKpc/ZXKnxwwb+IqP08REinZ8E2AIMHHib5woeGKnk1AkS0Boa2uiWVicDqWfLhOPmCRB5GVJgrXdTXLErjD6wLH1T0WaBHzX1FmaVjRFcUL/81hS+3yvj9E729XBOEuZwX2WAc1bW39Q4up3HvXsR/bALdrroK098nP+tEUtKdgACqxj8GSYr1OFLrw/7nUZh93EZJYvFdlrWrX6NygMmZ1ttPqqi7i4SSMti4PLArINsUAMvChIWRWeeXqZaMmE3ef+YuoqqbAkU1z5tdQvkgcl1rmD8FEZRiPUvrSTwHBB6oPowyQX/30ZX9ku68p7dfr1bIXC+BTsEG6/XodASwGG5/ZR5NI5JkUwjIORd24cllTKAto2mBtidUKxFDbvpLvE0WaO2xDU8aTFzks6zgHDuNT9kgP4Kg4HzoV1kEHELr76ZI+ejKlS0wKPQUxl+ofn9zD8I+pVh26KpmkZVFuwhnKraHuBMTUI7W06o6b136iIOItBebEi/HKnyhWGo1VKSIqLjjotq5T2fKUJk2vjdl1gVbLUVd4guROn0+HBWVZ/tYmXnqEfHLoBQiEdFGq0w0X/0zWUStsRcPovMCpY7J54OuIyUydZ5QC7kF4CRPBla8gQGrlMKWZFFSDZTmVnrbuc7ITmnFB0MfLlcqDtvx08xIrx4HGTL9AgwGG9oqJe65/GrXRUPyvx2IzKJdzqs4HAlNzC7D59SBa3PXbjOzUopkrPKDyaDFRwSOXlYYw1EjZZJi6iFVoKo0Zsy9T19+hrYkZWJXZvMZ1P+FvN1D9vdf3ZLzDkeCnLbRiilRqRqaTRBC6OcqJhZOo0bEWcjwFd68af/CxqESLi37Wxf4KP7n0aerT+ho9fKHTrNuI5AqENmns7TcoE/3tWP0SJmoMzGC44+Rg9z9uMQd8ai1XePbBj+79WjKA20VdmzhoJLEYb1+Sn7WKDNPRMzMMdkeq5CCkMkuoXutUq8RAD2gSrxmOGOzGzc+g6q7DEwfgN88YiCMtCZ4Xtp+QqMq1PRvyddXcjmqVuT3jqCiazoTGG5uM4fG7RnyNGzbyaNZmYMq/KJA7NrBrtGpI0Ll/P1XpsZtu02vOmcBiUdqNXh0nidFnGOzBECzz+rVmAJ8qAca9FAuLYGpDBuJ4HAx/6iNQuA9rfqHaCQdrHNqsU0naTOHL/rJ7A8FCVEPZEYFAHlEKUAyS1NkjHxrdU3HgSjZC8icZhuf3Hrncp1dSYyiUTV8Z9bAylAAe0lNMVbW6kXxb7WOZy3OJt3ZPDRaUjWUe+HRP83ZLrN+0InVCS7kdfT/pWrRHdpoMyNjNE0vvGII6FEOXx+XQnwxoM38OYDHQ/4gGQv2SiNLVRxeOhcE9cUxovekPq6fL159NOw2C7ft0OcoHetJYStjTmOdBYc/KbipqG+3yyyJZcmgnntPsVRLaRHqb4Ay89eGnG1yJh6SDfI7x02RVoRE/tIUkbEr0cZpwxRCshwIunIrzIHXFbekPsga7/KEPb7X6of346QgM7gAsOLk2/dB3JTkLl7BEJBRWzh5XB29POdF41Z0gKjZ0TUvZ/msgdYjLSlbypYKpBHNBsbiINwbEbZdv/p7GssBAjZufB3nlp+GEBlqhww1rNyf4PFyRgmEeygMw0j1GGvH9QUuRCS6s8WmlcA7/Is/J9QJdX38dK97mM2QYyJYtMRtYOH1++/GvfTn0G3svztOhAt6d9jFsYMeWgBi2ziP6wL7/kbhMjM+A/xNsv35JCWwujuFDToRW2Jpkgqv3OEiGoipu/JEu63gjfgCiWrh8QYjgvQVfZk1PUg3CZQPVKHXsFe59YAZ/RrNKMv6W4MZgoY76KzGkAy5N+i62vpbbTLf3Vf3oVIVDd8GFuZlrPq1kxJ1Hqz+paFY2SHYtQxCU+Im63I2dr7Tm1Uie6eqwD5mIoShYQHODQvZJZnwu/5u6LCEKjyhbKMgXRPDTDjLwqQphTaCAq5KTC6axvVnRQzf8CCsKmz2hSnx1wOSJhIymhbu9kIOS03VbOkkK6zMWXo+Omt0XLrnoqaBISYwTeiAWsbJ5QoPtJEzQp5G/dLGcX2Sr8miErAHZzf6MEaLlS9OgdCBRR2Y+m+3jWsZq67rdRl112k48RXaYTS2Tuez3qEb7RSAq5zj3FbxjCkNYCiHG6So4pia8KmBUZ3xPIf0ai+cgi4FrU+UDiI9/bQ4r+NXntyMebu14CRRPSwvuYBNtABrOVKdx176WoWE8/w/UKEYG85U91M9YFAT3kXK8RadCn1Eodvp5oLXfnlCxBnZU9Wf6ByuZ/rSpuOv20b4l6XWPF0my60E64lKc3EqKLxpFnGRaQW8KzH+0i5ZV+fPQnHhoVFWpLfZz49RDGXrWEmxNlG1bdI4mMfq+SnOF3YztDKxorP6tanJDtDIALbUy/7hWXSNhcsQvSBr3/MCVAF1+P/LzUv31FU3tu9jz48k6RsqzWbZBczecDDxkf3Bux0D4hThlCLrmE0dk1D8GxOiOjYOfq41QI3MsScBxxD4gQVaRMkyvD5ONf4IvPwwVuB5GGXhfzELLvrZHOJTtulXln7oacMQUSMQ2j173eVweKshd72HxgQRB+KElspOAbM7S/CBOg/s6sJT9DhDWI9Z1zHs7InjccMxUAxcDXpxr3bwIkxVK0DrZ/bW2grmv4yIgypOIcggrMZ1h/6sLwWrU4F1M4iGvjsY5WPkHLcp6LhotXRNFNnzONKDxH9fHM4oZ1azmJ3t76fpT0tp6nRmAmq8k5V+bOhUq9aD00G6KUINQUjQg9dVCxzY8hG4R9ELa5ObJP0hJDDasQY3ib2cs2HNYJ85NcXTcqkZgMWCeZzx7PqCRNJHsASBgg3wiWllqyCuDZ9hggY+7BVci/iwbPbVERw0cRx1IW2wv63Zl6exJRHz7bWm/jrpdHvgYCa9RZZRygAlHljelPl2EzOj8zb/k/FEjNM1FKFtprMQbmvAQlTAvmCjoKC6zfCmPRc+1Q4z45kO4Zwl7zlbUnzipEGq3q24QTGZO55q/aIz1Zn34XY5IP6yIaevextPUGEfwW9ouEE55Ep1HfyMATZ7H+/ZLDui+TiQzO86EKedddy17s0V9zwtNkQdTWuhLh8rM/140fsZ2jp1JWugl3IEf9VL+YIRfBXieunOqKSsfWJiVv6dJKtvRD9uKuykdreTm98OFuWSplFRv+3P6Hw2okjSDoiochF+jrOwpfN7lo+5J5zWtKhKG22KYxl60BSfq2NNl5vn5mOuckxRQNctM12jpLR3OY9dSV0rb2tU0mFrIid5z1ikuh8MEM+054rhJ57nOof6dNZ9ZyFV9gti+ay9MOGdUJatRUK9TNZlu4gLgwdPDkksT4dYeBNeY/xklMRFFSMb3lt+kFwymoHg+rJy5ByY7ixrWQu1U4RNKyxMb33iFhQ2U5Ylx0h6aAAcyqMZ+2s+P5iOCDMzaOyKAkG14Jt9r3sZeR0N82b6wxtTB/0gffJzYrzIHf0vFM5/6ZrWVJf6tg/TYQ4O/R1gJtv0GC9C/cJqxiFmiKR+am2rToX9BkmDwckOmxRxUI7u78DZyFUTuuSwXhqSua5I7ExapsOAuBZrnU7gszWtvruqvF3nTQgQq5EbAwp6cgq4kE9s1QZBFugt8tTW5Y/Pv+sD6d3YKDg8FwAlO+XME5oqwV1/Jcp9N97N2qYHgL8XpGiwQlE8L59PuLR1liVuqMW+LNyYeL7Itr7X7h6FJJkTXhqB+uyH3oTk4TKRIqJnpPXGuT8IUbb6V71vlWnW9Q/568NEVWy0uZZrHUPvGWuj0ebo/Z9xEr3D8EeUwOj5DPMSU+fcEMaj7gaW4RTre2gDWdFxooHyBRmJ4Secra4SQQRchWxfdz44ZD4SBhRekPnKSJHj1huSYxJOuY8N87GCyPYQfApbPKWvbNYL4MeIzcoTblTqfoY26LSTTRxcwXYwFURUB6E8VWWlLKyayRTxzO4zku5Hqy8VRXOiPLZOHrfdf0Py8D4n0gKwFXQwDM9rN8wL1YjKR2ImJM3V8W8Sw1mnTGVkOH7pQoW+2CYOqmQGT/L5TL+tc7G/rylohRcKNSfftE2OglBAPv/OP+x4ZYfyL5Y1Sc+etI1bgeKFRKWXTWzq6kQo/irL/pYJ/IZNVgXK6GXsosUIe9xcW/RWn9Hnb6TkBClSkXmdOL/DahJpRwtBVKWhgmg6x1NIGDAuO0W2xgmKbzqG/UDX28YRuqv3JDkk45z1HjGJLFUsdRePxzhk2I/1YdmHxdvAvQDEgiYEfL9JfEwrMSzS1htxFmbMG+YrGJUmIrWsLMFE2JhrTll+ZQizvciQ1LiB760TD72+FwzZnDR7RyMs0qXcoj11SdqdvvWMa0YZSa1454ZUANLgE/Gh1rQT5h7fahPIdE/SycAV7c5sh+Z1odgvTD4FOL7T+83GaEBie4oE6QFbkRzRv3kViexh+zncn3yX2Gyrr4C5y9SM+/YaKaj9ukSN0g2lA9JWX8df6KGg1+RQiFBIZfXglKm4rb3saDEDEVC5iWvkqP9k4szKwWdUih/gJA1jyBfyfIzvPs0f4oiGl56JXYMtqSUrdfoOEnQ+biV7EPAnBEy3o8lD3Y8XqGW1S0hnb9PjU33ad3kQs1C/MVV4UdrgEuBNiBkTFQwld8USaSiJ0WS8IEuNGWE9PkWSI26l2TqPKQFEGEh5GWcI2tlVnqJhHlp6WuQtLEsWTdgxrj8DgR2MUD+UTyEzfDNtd1upDUIJbALqElwgjLPxhdPpplXG97YeDcJvGhuv1/wS82XC67eerpxz4Ioc9+rjJVdDZwocn8Hkm/ONqAh+oG5WdYpN4e1V7lzhsdyjehJFek3/vY4Bd1glRK+urNCQbztx8894uUzQatrIc4lo3oi2zRgxzDJiammS/HTRe4m3XByPROsoGsvJYTefw5+Z/MRK3RWPTnJjPMnVgbICSGyzeDJQrRj1Q4wOJnkGn1CyR4rOVqnwEGI3xo2qK8NpWr+KHuhC01V9jm9s4y94/5sovQKTFwFopnCZTsfSGJDkfZvtomZRyTeQtE8yXSYcMV2G0ZZEv5DEC8euyuuvBGYdAaqXFXDKs66h0HhQkUovQ8acweDNT5AIcwESgDYqW+4wJgrytpbZgwakj8wEA2wc8s4FzqfC04q6VJesERnaJL0O5q/bkm/h215xqDco04wK9qMmozZZpviHhMfm1ohz/PudtYsVw9VSsT0/WSMDxHp7UO3SI+t9cnpc5exBVPh+SY6wuF1FSmrdB58tJEbN4Kxzn+3sOPiU/iCcX+tN30080y+2xxE3ApcQv/6kPryR7nRh4+KVsy6hu97MR2/ijkMD5GvpTZyYvQSSP/YiUt4nafiVDT3OgZ5Yjoi0wV1OzZf/owtm3HdU0WV4exst1gf6/KIB3vYHp0kn+NjNrkwM0DIMNeSMKoOtbzPb0brN1zqDNdhEIWWR37gn7Hksavtjx/c50vWQf31aEMdo7DclIh8dlNh1TQVxMqFxvn4wZ+1BOGJn9S0KpCTKzy0J470QvvGj0l2n5Eka6ow6M+dGMelcPEX9SbC7kvls8zqd84CbA7IKEioxgZSdlbXpZopXTLTJjl6WiJqxWr2Mwwq7MLkRbtMFz/nVvYlwQRUKNN/6X9nIjERBrUx1u6FdgUoY9omZC5GLFLoosHghuodScmqSXovUo9tad+hBfNL4e1Pzgcek+mM48RZ7Tk2vPhA7IIWzYZpeTCfB0zXSMa1xHHPhXEFhrTsb2EsZPrH4xa6TH+CS6E/GmVAFDykLhpSwjdaYZcDxfMT/nvHesdyEW7O/gIkhZ6xYPhKG5+fW6bGYID+gS+eVi2JaB8IBk7BQjqyIVc/TYpR1TY/hxGgthLbrYt24C/CYiRZ9tq//Xhqy52LWxQPFfDZW9xKWRP4agxDcoAbdGOW+pxJ23sk2vk4haXCJN4ZZ43nDdfuhIeA7yWID0+VDTf1Nn7PmQf1+SmQyIgDVPq8H3Tiq7paQx2TqndddCPfsYhFJOnGiTOj6aQVqZbawq77iq5ao/AmjQtj4ziQ9xySOWNy9vvqhW9fbcKXW/QRIcZJkNr8bsgTwgjYFuIvlo7TzqtRoe6xBt2QPapOtyVP16jeH9aHFSKLQ9KQ6Eix+8nJXuLt4iwQVvcbI08hGxwITLp4eX+DmS3tZJwAsqMaOWkJj3lu6es7LTBPo4mb4P3G5Rw9LIeJYb2U9GFPTBGtV32ivlvrZlO7Jehg4GmJU21flS0dBF8nk44dEDGb1LilkOBCa7LhImOds3hf5BdiuquGPfbYnnQn242rSaiBEgRv3Z5jsM0rpPDK8AAFr07XcEw3Uiogxr97+CccMHv7hiGeFBhrkai1g31m7zl0vs0QpVkmqWx8oCFgxeJEoOA0fK5bNnbt1HDMdUIlxBf4pdbWsw+YlSlTsNXU//Eu2X3HPDfNvq3TYL75jB79txNgQLiM8Z/cEb/cv0y3uI6gHGcOxxNNkjU7Y9FGuhMceCledA67wS2UrNcmS+DXQghgLYK7unyP0gy+rB3qpqTgfMoxQbukr8CjyMPVVwtP23tHj1YA6Ryvn6NhoJvr/AEN4sZn/wHL6FqAafw8LnOdsUvrjsPa7Oq4DGjbzFOZgdTKPK3xgjQFagTdbbaGPQye7MBpCss0Ds01Hw6Ui8eorRSMAYq2dXnhZN/w6eb1C/4OvKxogfmbpDreCX/+o6Wur13kCN6Flp6kevZ+hzSeiw9hkO9MA2D0eKjIjvUevjnRsIy6C4OUdPLqs1e7pEvmfdj7yB1lr66820gN6aNJABVGBSj6oVj5W4lH058w6DRzNNxsPF2kY2YbTOoFCIqPyTvHGzCY+m0fZfm+88KbKh8obDhv3JK+N0Ilx6oOktHHU7iIyRmJESvJPh/FMFP4QtZ2Zw7RNXQCF3q/EX3RKQ8zX9ZwmgdEQrrTXdYzoscfh0vpNwf7M0od3ULhCuKlhObd54N56b9v5BcruIebtIe2R4Wye6BsHeurtSgkpCZd/5JJDoyIF4txhQauHmGojghdXdl4v1bnxbG3k33+6irAb83vZ3w+hszCrvoc1VfwtmxzMB+H6m7McAOw4lpvgg/85Uh4kioGb/iIXZbu74jUcDfT/ves6yWJ7Fa3wCPxTOdwWx43cA1misljbrC6Y4VzykKsef8LUEcG4yKk3Qx8coG6D6Sd2qy1wh1bhHgKA3AYP4n9W73/07/5oeGPuUdg9szP4RjeLmwJ1DEWRAIv4a9C9oQaIdV+23rxCqQ1T4CRWm4evoJE/qBVmkD89D0MiYlgPYf4J9prS4b2/4cfM7MGHHoYqqoXThLHgkeLHxvR1BKsn31zfICcyVxT/0MyWTVBgAuUIb2C6/p57p4ZNyPbaaWSUbq1+7ONqiTLrILk6eBqhV1NPhfbXBzeZnVQUNFkEp0Bh2RjQiHq3I5Iwy3H+6M1wKus4G4agM6AMhv6qiHI5MlTdUj87bXjwkRxhpexMQOxEBp8MSYF+Tb9Q+l5ZzsfW3VGPIerwkT0xcGI5U2XchygdJ8zCNA0uwgC1IfxSc1GYZYcYRFyOba6qtzNib8X30rPCP8bIh5xK5dT0V2odzwP2nvfLtUYNkEm7+QZ1T50q1Vb4iu6WqaHcM55NDL2Gmt6hse8YkOxNQ4EW0rfjp5VyNWD2SWLlK66jGqY56clVIfx78ACKl6im9SNjyOo012z7IjneFN38LLZYlJrTEK7jDPIi41lKKy/SdsiILjOum9+pNil/StJQJm/+Rh64bWGo7GcsElIzQo9JlCDtmJh+ztHlopvR1T1jQUxS8d5SaHTYQqPn0LlD8cyyzeiAdtUBNgNlaPuN1L754vmGRGnp8i95+YYmtzioNj31dJgBRrejW2AoEoZMArqvUsMxYLsFhBsAp767smcsggcHxZWBZlRGJXWS086P3T9EWJJ7okI6F1Y79tl9AcVv0MIN7K2PolyzyfaVzesdaesVVj+qoNqtXGkRuLJsRp3q1EqSJDxGpsAFbGVaTT0zYMl2rcgHy2C3B5FM+B7cus56ks1aAB3jOFYbYAARnFUrd7QFBRG5OVAS+nwR7LPHZyv6zXmr9OxeRSkhEu1jRqFyGGpAKlfa9Y/ce2phUi2V0WJAlm+82GNgk3vIXlhLlW5OvENLSLSK2tEiKYq3o6skqHtIdpVSRuWqHRL1uGpV/Otd8iFkxeQEWaGIuXMqwfTiECUirTuGZFJNcqApI70qPEBBvW0ZgxStzZl+Sh2Nzx4Y4F7qcgLWAk6FO1levF8HSBJcjemBT2OVCnbpw4OQG3pNQOs0L3fUKy0II1TkvWy6uKyC2/B4wTQezGJi4JUnAGPeqAOikoMFgvrP0JiTsGDsvAD1Q3TOiu8BeCMSgNFnqMgV9shl2bIs20ahteRAdJG0WDeO7CCWoA88jdy3yqSBXld22D7zo51jB0vBRJGXsd6RRYG3fM9J86tKD9IhLGSvXqjFXpxGLbN9cKyR2Pl8YhkH1nVYeregyX3ZDyTDW8Ge3yaApiBLkGB4Ov2u8xM9DE/gZTl6uW8u8c4g0pyq/l335MLek+sv7TSq+ZLjUeROKYHv5pHPETaOLZWdcqsknpfG0QgQEHURjYRql6cy+voHtQS8jrb9UjI7nYL+Wb47cPFYhqyoLr8nAt7JSdPdzBxQw1QcdQMSbc15BuYjWPtQdh6ARIneZ2Q4xCf0wzClRQ0lc2z3xsydE0hyBZlW7/uSxK9xjE6YHzozNSD/GCnfK2BzXgSvC1fcUOVMfumWp3fJJhUpD3tAfSUTLlwNZzhMs1V+v8W+U+KGcclLL9XtL5T6QHOEekYpYayQ6MD39Rdzo72wRgwRDYIl8Sx+gkHIqpC/ho0SD9im2SwKRHTwlvcPv1rVRl9cthers511O7voyNwmyDkcj4cQG37FoXgkVaMrJsS8j7JsqSaWNLqSRZ/oC7m4UkXYFf8WICnk4tPgzC8lppTQ7wWMluIbGzMTOl8zGmW2UIKG+jCns+3RduMT9Z1LPd63qC1tKsf0GhFgYPmDDl69szdfK0BxexB0uIruKQfJatwVxFkJBgsGDh87O1n7kKG4DJfwHcqgH6soFb8YoOnU3p0RuYKCKd75SqM8JtFXMB3eB7zKwqPSDr7VMnzUE7aTGbVcxakh6F+Z8kaU1S3dUxDdCV3ENAsXGecoSVKqJER+umuSyH22HPq0UWq4z5XXNSD1Nz60q/4r734e+74vt5/EsMYwFTUKDX0L1SfEEns5dT+pAls+5zSi2VCk7YzrSE72mHcLY9bhPGqK7gNtPTHwr32285CR1fABRXYiORZgRpBeTgqhE9KwoY4rrKzLCT1rv0IJ6M9jgv1kijpbzkwM4xe2tqnJnPsSfslQULWVDQ8DfXENKT4GGjtbDsH8YDxf9iVF5xI2HBSTewiXVS6P5b04knOMQRcXzggqTQLRzWVk3fuB+w+nuebisOAchgYtkQREiD0UQ6BRrYDHS2dYBp3uThteVZpO/LGT/vK/HR9efpLv1Ox4ayBBWU/8/cdbuXS5ifHVgc5wYZ+DMZJBr98//rJsuaoh53T+LHV86ESMRfykp3zT6bqKKvrI93a8MFWVBsElFd5FCKqeYYrwf+PAhc7TJkccXnCTD8IBmgYUUATw4LxshamDT5tIGl6ZFf2IdJFCEHc/DHQW1kWyFMlnwEvKn9CfVoiPkMTLLYRTU5Y8eL2qv6cwirTncsD+nDZRA9Q2ex/REv8cxILyWrWKr8zivv/BcFNA2qKh3l4QwtX8JsVw+c8DPgw4PDU/FVI/101JPCUr8JfWJ886C032H6ZGW1YslK2zFtkOwgvt0rxrveEoxIjm4fJgsxW+gO1ERef/+1jlqupnKGVWujDdrDDUTcuQI8aQ0aaOfRr3wsoFlbWy/ptRx9RSw/IJhukIokqyqIqdBjAMyZknaqoNq1iu5418a/AQVH7414SBB47io1L/a2a2bgvNbsUahrK6qbuWL9NQEQ0DYJhZHLdqxRs1Sj6o1a4HpWGXH2P2GrNED2ACW2j0hQ+8KPD0R3RZh+gPxNo/cuzYhBWEYAs17VfR52Ol+83OmGReBWkLXnigJAzhftO4vheiWJxzS9yDrbSSe/rWL/2Itp3lPY/RQb9KGJUbHAAuxgCmtnj0Q9NzOXgxQtKsPHZ33sbP7VHj7R4Q2gQ+3T6eKCTj7ovWP5Q6dz/wkJEREVs72YzJALFUCiwixqNFp7vr5Zt2fDx0kBjoFFub5hVUzO2MglrqqFnIJsdpEIEjgRwr47AwOfyCFfRYdxPV4tVXLXpwpw5s4NE0EgUJFvZriV+aq3h3WSRrtBQErDVQM0ILlLOm6YLIaK2mN7vAd1Nk3xmZn8X6FtpGWJfqJNhILvbtEwk54UBuKiEfCb8dRrnjOHbh1av6fg9JcpHB4uGAPBP+1hgXy+m60Q0pe3PqU5pnHFMOeF8+VGiMysjQjouS1m82QLo5Dafh+j03qRqxr2ywLjyWDVe7Lk+vLnjpCZQH6ItLGar0sp4lRX9FhKMBUKlERuJKxNgk3FdiLmWdJ2/1U3Hmkq0+rMvknTv02CcvtTPSc9RjGOWDFVEr8iNMXMepSi6kfvu/WfQeunF/4lVH0+kf1LsjN9dIuNSmGT52FsKfRVPpDFNsD/2Z6ORqBdCrrI14IOiJmX9EUzI6pHZHdq+EdX2WENAPItfazJYBRDBtsR5J4TQLQi93syfrm5rKmVdw/nAG97wC2LSq9CZ6/ZHo4mqq9E5YZG+QFdLvUZ4f39PrugftR9YQecyCYUp2SBNTp/yrRwHmpLKZqhnJOBOasm2VOXkitIFo+bkE3Sb70M0OF7t2vm2oacy7evItRN04v64soHDITwoRJEsdbOVZ180znmYb4AKSmhGxcc4jSh2R00rLnH2gezFktbNR7++uQxvYNFXet92Ckl3OA8nhFpLe0tZV/ajtL5AtPRw+Q0YC5khL050Gik062v58cA/w9QWvgpAGILC9KvkgbubUmV7w/TCiidYIcJyswWpfRg5WAk5itgXeCvE7NH5NAFwogqTHSbdo3LzWreAAU6vbSyDy1lwkdHTzv+pZHCvBJGLO0E1xQGhY6OZkGaWTF6S0E3qF3klvQ8zAJPknw4AVquYaaZCviVJIRhDx4ys4cRNbUfN060g5DDM+QLe3oZ0vzigBhvvp38V7uCrbGt7BGe8xSmsCmU3pffpeFpCHrtsKy0sDR5BibQazJGgm2fcgFnv0XvNnkR8vQjG45glyE9SkBwK0FSlM/vUd5B2PkulYe+f2q//fPTS+O8EFQaV1G100YyU4R1UdMyRyd08YzzuJmsU4MTGUDSn3SLci5XN1rX0wVVZTF0k1urxoODMqqHnEk/BZD/j3R3nRRsrAVlLf3JmmA+rJm7O7rqFQz+Hyos675/HYGhq5OkekOvZnPkLXo7wWEClSKu/ZNAvtgMD+RBa6jEBYCpCLvINh4F4LNLfBRJZJ2Oo54XXE4PhdQVpUlAJn6Qcuh8T+m0KUV0OaLPvuilv45eCwAsQeP3l5EDJGzf2roN9A7Q+HJmxgNMAw4ymw+PcChVY51aMp2Qg6VgOkDqAYGG7dK+jfVnuHDCc8yOsmDPf/8KrmWh+3MHCtgeety8BFilo8kAEtipk8hM4xZ+wDAAM3n+th0XpLmiVZ4/BoTe+74KdHZdpsCK/ED078L8DmZhszaaZ5xKLKBvYGZbXyZEDwr+ODmSiG9rlpgBTD4UrEuBNfXM3tH3aDDq7zyhy2M+bUmvQizoPbbaifpG4XNB/SD4T+CQsFoA2nw0hlVsU6nwPe+gvnb20m8ZUMrlZohvIBEw3oYoN+6eI6QbGsf7aLcJ7QINWB82pYSLJxbAb21pgC4LU6enGBOSOX3Ajh4K6L9KT1KJAEIgvcfQwBjaGnXoGZGmivAvT57F72/JGtivhPwAZHMeH4h3OFYxV+hQ7qJwvztiYUkdtJUPLlcdbwEmMmTlpKOIJixgoF+2x3gq0bsjVdIUJs5a2yRb7TiMOhdB5FzrAFVH9Vro8mRZDvrMnXvjWlK//oWRedKsOvEtquS8ycj7Ak8xWGfwG5uWcCVn2Aue0YKsJvpdnv5QCY1lqFJPyz/vUwiE1ONr5m9ZrJ6M//VPAUO4FJsbbEKDMGkWBw9FFfHbtQ80E/9dwWYK7lmzKKbSzIZ4/W5LKN70qEJhqOxFFi661uJz4z4DWJcGQ9FCV/NF17NBxx/JeuSPmfV85sJ2SupXInFWxQGDXkeVjQ0OJavVBtU5CxmgyxoZFRh7JL9sgAs93mEH8+VVwmx9AzynYW8nw2QdP0amVY3M+jNUdqJWDyMpMONeTUGmsKW0+uRpg5lxoiPycPRE0f6X2ygATzzsxWLKHHR2Twz8RnF9VjA/f5Ljskkir0QLtBb3hEFpo799etPNPFObqUEHcZE7iXhHI9yQOzWpbvHqW1pnH0LoE7BjB2Va1SJ0w0LnAA8HBOm5IbASl0yefiV5muEwnNyxgGi+guzB0RaNOSX0w9HYbs+TjSQHpQZuhOvZ714EDgt38s6kFKGkC3EaAZG5+/9VZm4BypkXXmCrwJg/BWwQ2od3GlDwx/eYu1aNzmGRtHwzHMa23B1/DqfpO0qFw2yD2rH00IagYCbBy1NR5ulYI6vIDQ1XFLXbdZUmhrWdBCR69tY0t1D+3opBOq1ap8lzMazxBZ8+UIZ/akTm+Djb7ZbIZIttE/ejLjFk7zC9ItpVrqncqQXD3haX9zJ9w8VgUywJHY0hsW4K4Cwu7PpIMPAIIkyYMX20G1LgstN/pBZweCKEER8fmF2MnVZda7pe9B/EJEElmIyhxMsgDnI5267KIrq3BOHyALHk2GAtJr8D46Er09cnjgjBXO4OUNa+98kXEV2Z4jHrkT1GPeKrkbd8ZTJRq+HF9p58EOos1WuhA1MVgnXyBYUYuY5hPllG+tmSujEi5qhRmOX/cFvXpuKUWAmHe4cYzT1YJZBuaUb6oybfIwCqhd2dYs4SNupJqMI3PIRYhlUHA9q70E5Eq51i1sh4vr+UnAyqe0DLSdJskdzxWl46dlsz59gHV0hYxFBwIu51kbkvBY/dogcBU0LOjV2k89uhWAuu1nypB5EXRRXheMn2H3jNE2yULFxTLf6POQz0+AQi4/d3GL3naod5xPCxrcg9kw9t51IzsHRKl1ZCWlj0cSiyb2r6njZQEM5pLk9OiBCwK84cOBuG0G0uW/1qoLEXzLVS9NB7G8HpK5KA+u8EZN1CGuxY22mD4ubbVnbZy/Yu5peKzFPT4Z4cGB+U4UC1tIcqz5RdFNOCClQLztFyWF558R//Gqu17phb2T2sL7N7/4Z/BePb5BdAt1pmTzKigkmkOPxzeU4poNFkcxwiQbQqj4sy2E7o2fo8iXv9lkMHy3REjC03D8EP8V36WyG713eUDUzMMlefFAiUlQN30HcVGKyEB53crmpdXXN1pAqWM48shJ9CwOetQA8xsnvmLn0D7jLUGzSl7GPpdy25rSNdxgSCpw14CFeVSTkXEHpz4Tu6J0fbmYQ89ZfczeQGIcB+40leB6+slCPEs9eib0ogxgqNQMb2cxH8D8qmEy5L/A+PHWP3Gnf85gHPg/XVyMfwmCkMj6VHPLakPhVSOUmFoK8S70fon4ABKhEVllKpJdTQ5H3I/icwJ58Cg9ST5DmFegm+xh4z1VHU3aePbqcwRXJOXYL1jSjxtGCFzwFE8RnvvWlgFiSK62FVFow9rW6cJc6G9Wk5G2jHqVtIEGuvQ8J1PaI3aSVnF9GicILR1V7o7Hcqwh89E9fbn1D3Zzj30+2O6ekcIVASXAPqA323DIIXV2guAlncdIePMxBwy75Ip6Ci8qSsX5Uo0vWsTS2hGrtXJalxxlW41PsHiG9qZlwFiQF/cR6jQwYLUK0898y51IZOcQqsdLDZUXKgv4lgVMJ/LUkMpsBTaFMmMNeKvtFGiXjIYUfvxN3Lo9odkKnuZwu/GDvLg6C6Dh+SQEvJEyjSkYM7sxQLSq7RPDHXeS6tIqj8R9YlYbg3UgZz5lgZ8K2C0usdL+ylVFsvQJE80WxbFLQHhkTvghOy/Mxp+QrbkBgcuvp1GIxSKGLo+6tXjQm6rAM/TSIABTGmu+hRPjsrR1Z8a7x+yYigdYq5kFGYZlTShODPQY1bolikJJ65XpM9+55JnvKhocO2sM3pMRcrXAma3+ZgkH2CRhYZ4/rjos2eELWTj1x2Js3CVK88sufbeUHD13aGk5LjgVJcQ+88t0DWj9aDboLGJ/Mvi1nTFO5dDhGOni23pfHMwv1AaIBm7PsO3cp7GMJy0B0UxU4jKAvMSlZTdCTEexkrueUF8glBtMphYxcAzl3Xhv/oFf19DYfFyPpIYn+YSjYqdlQnXY6EyUuRAalYg04qU+sPlB9vewdobLmNvN8AEjW0yVZ/RM+TW6YkmDAoGf6CF72AKeXQlph3CWkMBhi/QpmQWQS96oMYTZOOQV17vLUPqM/jq09W8/r0xt9gmAPz100Ayw9bHiFXyYdS7gVJfW6jufRr5X1PLzYG2bxjKQlaW99hBWsYUAFdS6OOtun09FD1zMjkPsgdzluOPaHkDRYiTVsGAAmDXWu7G4MsBHKg98DnUHr2JhoEH6e1S7cCJcnssRst+muKcQMf3gSfao4NybIfCJyzMsRzdd7hXpjTpqqUZonLw+r09tRcZUSsMvJnOSeH/OYoulKMxcTzR4kWuBbFZ8RXudU14NQvwPucotCH+ZYtDq4UoTCnBUuYPAOVMKrG0YIzX12kHDzKaj3EHkTQ/JlxxGWnmZF5EeBpSolz3/yE5Byht8/izeGWSRSXqz8aTt6qDT7/OJWbY/48YfV5HKjLJR0vXFRCms4xtpHHfwibbNj75nLGfvzUU3vl+aYce6VKqZ84u0xQsAIn7u+vup4EE5A1NYWnEF+d4vQesnSaRR6o83eGeaAU5a4ai/qMKit7/u1Q1A5EhFodtglmuqD/lokY9DpiYbwB3Ug1Ll7+leZavKyjzNkDFdHMKPXiWfDNXk8QD0ZMMIZl+U1LqsXxZQDBlPoyAHbYUfGHkBt7m5lM/JIcoWzCFm8qu4XHFOPFtO/kTd92qQ6+nPv11+t5GNp8XY6evQyc1QvIZSbVz7jXEF5+ZDltVd/ohyqLb7QY91u6OydaFm9w/RH9WbOUPyr8C3O0C/juBA3m/tC3wb6QA8klSRXZKoRYZ+NiPxHrm/7vLXaWKIemK+bI5jQhIEpnEiG8xzTmAsOUFr3vWIXCSY8APt3NU/RrlgNPL8uV1lb2Qq9jxEjmKJqPBRyIugmNKyB2xE5CkpCdS1dHnn1xlbDLtq9V4DyGdTTgaX+Yyf4Y9w5uQ5LPFy53Ph49gchDh0f6S2K7ZciDsDjvtqChNi5zvA66ZdbmeD1MfYuUaoASLxzz28OUBNgQq25gU0+y7Rsjk89La28OBPEwF2KLMgMOQSG57G+d7+oR0J/JQD7MpOXETqEvAyvcMc9ly5zB3wx75gNxqTbB4SZX7FtZHBRm2f0OSv+XdsE+5952vuOcTjSpETEj6Us7g9SPlMLkjWqELy1TeIF68V3s0aag1iJ23g0ZgI34WbiZgVxT1wltGlciNnGSt0XEEf7M0FF+M+aCozpM7syxIW9mxENsi6Lij2D4lPkXsWCPM1Mt2sbvYdvpez2vEcYTjHvT13qwupjrA5/JXH1uMSB7YYWSb16bi6/UbX2Hj8nNcCr1WE7v4qzsxwdBszxNndCjUUA8BLyZEAOm4IS7SnRoNDKmdz8Yqz3sOowdJw0Gc4tqeyDfUUmAr7JWJEocvMlsMHIwKnxZlbxaTpcZuAT5VxtDS30JjQjSNLz6U0UU+E9CuE/KpaSn0quj8ci0zb1DICWk/RcfwfuoXb37cQ95jQ5JqnrKF6eoSW1//P8xhad2+2u9x76xKc92F9RLmnxkzrpvuef5PBHc1loTQDcH1VKJICG6Nmm16xwpX7dPmCC09kScTefh8NVcwhm3//0I4BD6hhD+4QSTHcMherhIWjMqWB1xTKAJUeZLeI5+sP2S/QQ1y0CALFcqjY94qrRI16EVhMDW3NbJH0t1TagWcw/3WSmC08UOgXkCzk9zBQiXfreu/AdbrEGq3NV/rr8xfNVAvtyG5iuO718bto+1+//G8JdziQCXTzjO/M8PXMGSS+nAC6yyD2WRhtVXVxyduKiH+LENlcqCYscIzXA+/afDs0RrohQ2fXubrR+l/lh5Pn97IGXf1ZdQ8zMl/5+ha8ZLNaCTkjvBWuKqILbyeNz8PXusuFJcK4DIK6qwuh0oyKF0xDVqrOzUQmWjjzEOO+FqOSZDGHUi0htF+Z6QwbIAi8LuafxLIq/4WDrPDibC41HKQiXkOrNLSTFVti2ImfuIOUdMf4tg4uWAao/n+xtdghJEIxii4X7Zkb4pXP3xhBRW+EW7dQh/vRfUeuL/L98iSm7q/65CIGex1Ei1fTS9+8iWAGtSHYUvs67QYUD8XNwzpUkWbuC5BQdjERhyrcqKHlHjhWpyNlsNejRNfxTqvIS7BQ9zMwzJAq4ltAehz55eSAkl7GMcz4YVQo501XxLbxbuzNvbnIHFhs3wT2PDSaOIQoIAJQk0kV1tnji/LF67wp5PZFaz2jPuUPbCAYSc69a9vsxN/8mQ8XqgMjP+OSZ/WLw4FojKhiiGgMEbkznPDb0Q6zwE6/iMUDKZGQPEMDUGGpuzLX5BmXEcUVOINRXfXLmO+UaWY9JVoCquA4JYXhTTTQ/8mEUSmyWxZl1p6vYOCOh6C+575JWApbNxOL4/ICvMYljFjoqzyszfTvG/Wk1mE5/0qoGiHpw7P2O3zTagcKDIlhYMQU01D7RSlJctrv4D+QxenT0JUZF9AkwteKcis1SvCMjoLYskaaXLzAPU0+EUg2S99CEx9npiQZLgFU19bsBOmEcRKH60RKWeyHBAIu9Cg5gamt7muwzmP6bR8ZNPs/s8m3q6reRllWey4Lx7NBISdWg46UeOAFdnxtfmiC+eBPkCoif/+k7Mb+mWBIKhc3R6ZgMT5TEwCvEhPGwXMxS5SClDiW8ElEUDEtwgCSTRb7c5o8RUnhroYnWXtLYpP9g0O5vZ1MoY6DXapSNOh/KXlzOBQk1sGVFPjqV/36nxMvnCsT79163qwY/RTTOJL3zfF8bzsLf69LAVArDT5G6dT7Rktk8uO4xiSB4Rhq4V3T/R0ejRsBAHLWm2CwCXXMZCC9S7ZLk+XOEHv6qcuhYz1UjCCb4Xw4l4H45/gjbytxdjzSSm8GP1cU8p4RiYsOnQu+TY3vkbq9ccuBdhXFU2/DGU81TCOX4DgfJ4UE6zFjkdu41a9n4IjE1WLQhlV1etO/4vFT1zKINdeeCUqTt8bi73NoDfHXKEy4sNn96PRT/06xvOKL+E84oEuRxtuJygjLaNwIhcObIkqRbQ8H5kGqcjHFwBdH/z8D//tpTjeamZVvz4dAN4rHfoA40uTSQ257LZ4AgTXXXXpF8cwpjq+wH6OR81HJOu0LShDaB8dcLSZrCKe4esKwkiWHMXPI516dN1Zy0yx6cbfm28zQ59KWnTrW41daWtZfXTuqjBkcXcbaGqoxGB6G1a6BFEBs/ehSNz8Prh0RTmOcoSlHKHcwuNQYg2SxavlodgM7fTKbqSK+PnXKXEsx3gs0cUG5riFEFwhG4on+2OhcEbQ6wZOjwdGqr1arQeZpfyZG84a4oF0sfoiZgrPEADkKbc2f/+v3s+yTNTAjkjjGxuwjMMeUxiDJM+VmjcJBwuD2Wg5ZujKiaDAHguxspT+JA7RJ0baTBRnnHtCXW5WF+3WHzUmIaK3p4rdnMZUOsOqijHo07ZwvE1NCcB0hkvZxGndtu1D+S5+XqQ9UYt2rHyH20xnQX7nLUq12HiiAqraDZHVSOCPrQeIewnNSpwHRJTo/89MkejRUKENUlxraYXDWwJ19KDKx6JtFTYwYwjnCu9T8js1j/TaIucblIGIuErQ1i5BxR3CO3zFcxe3GcIewQKPrKEu6f7h/CRcRU+xdnKVPnspKborXfEWEEbiP+tanWjBNfMLkzfYyG0Ta8q22Y3p/4tdwB5My6bsI0y3BDDLRayq5HUnw9OJ+u6dm5V4RUg4Vdwf4CF6h9y2FFLN8pFknRFNmQCbNXKgRKYwd1dvSY0Org5RspIESJBBdYyPx/FcEW5GWVsd9O2HPi6uEGtVP8+J9NzMuOmTv3L4VPNNMna1/hIiAwlhjoBWmjFM23sxhfZhcCeJ9wEyuZhf4NBx8NaSa9em+Yoag6FtuLZopmGrTjZBORpkQKZNCLqTjk4oAa0I++wlT3ImGhnxvxUCdUJbXeyb2id56T3fbefk3m/3q3vQNukb/+ubRT1x61xIVaTDkTGQ9AVhq09wG2p7bcAnA91LGlhD0HZQZytZIGvAFu4iX/IImKy0doJjPcZ/ekgvXO02MN8VGtNzDFzc87/jai6sGbIiExEdUJupjIwYH/zftT5dsn+ZDsoQCYQhreL+Lw0qkp5oetAYd4CZhLm2XO1zVRWJXzRhmB1QN10B8RXF3ofqfq2h1husj/wjqrPLadJaJrWT8dKBr5LT8tk8OdvuJdeGSHnTqQJTFTEhA4b/lya/CSy6EZH1ZrYgxEE0SHUWDOjnvYvjgLQr2hJKmGLxOvtZZvCcSZNyRSvGCxyOtqyF96L7yF+uUrOC94t2HHMkcuTOk7v5ExZKvWXXAOCykXL7MEg3YDqUpyGl7WpV9Pz6sHXOYBHn8HO+HtjnOzQwKC0/6AS34WZ9BnuzOGIgAU9kR1SrUiEequPharRZv29QoDHgOzlzB16BnspkANUpTd1S/a5wK4iTDhR6u43ZWCCu6SClk9J/E3EWAen8d5L4Ffcy/vpLqK+tw9Fxi29N35cIkPoLmSIPknjBBgiGE0H9hd+m06b+ATh5zdBCutnLaG+JlzokQbJrCj6/AJ5z8rtnZLaCuiZYstznuRaxLRWkVvelEqLuvkHjE+2DXV31mg/zHp1wMOE9IsIAImyScsoNYR86if4ahMPRVkbsFmh0Jdxv3NgPtGXG2H9Jd4ZyChAIwbP3E4Z4FMth6rTbDrwYaofxMNdgRWQWaAAS+PjTTFqsyc5zqcTynp0jZ8Gkl49ore2+7JWSKfJCSy+ovSHhCQiItB9J2FBAC+R3PZUMf5zxjoeqcsMJKvEkJCuHVmKdzwwoITLIcuOyLUr+Ard/jsS7kZZHBJt/jCn4gPfaZnh/m5xG8pDL3VQGvt2Dep37Q5LCTryIxbacFUwvJvoGJ0gEfqJOKXZtYzkp6sGmhHOD9afAYAyHXGAArS+O9uOraRSxdKTvo/kAs0P6jmTnIbnq3nfEK8rtMlzxlTIPVxJPlMNIaiggwcQecBEf13kk69MItEoKh0kos0KFVUxHp3axaaZ15U8Y1PM5mez6WXcMsV8zE99v5+aO+ZX4jeqmBnX1iUomqQwdb6AdvzsPAD/Z0sqlW7XEpNQg1JJjJrdiT2NVoQSKEIU3FIPhv4jiXfBrnIltNj1iy8NkvmrCQgenibWXN4TJ8bCZdcAC1xyezc0fi4Q9qeP/97wvkVNPafKwKIJlxpsa4qqFP5NLSQCW/jNTt9OPOS75ZiKyZePeyLa/jY2vY4Hx1Op+qFlfesrOAxoO6bmvHmESdhma6u0RxwVnj41PdaiFwMSPgyul008qiZHQY0KI2D72tvben9BkJqe3IV1XPnCAvH/VX1AlPFQ3CzwtPmkshzb999TVLNhpk9dXqSFAoCN6VjejgJwrj4hAosZsXxjEF2xqlLDsH1Fs9IQTTU+a4kN6WO+jkECiwRf/huE/U2xJSZ3Qs87Bt+qC3w0KLwJe4ZXUNyhF6hVtzZZqQJdZjXSkVrxCtYdHPNIq7oSFhYvyt8oN9GNDBp1H5dV4qNmCizMsabcSLEpIcW0aqvvXd9n2mET2skHu40oU0pHojI4IaRK1zjFd89BClH0wdY6HR0k0ev+D+K+UIGwxDXSDw0y/hU/1dK7ry3prVZi6kk6NPqdc+SZ+GwhciFKkXgPG+yuKH4Hc3D2ryaKQt9x1DlNiZzW3BMKCK9MKQmQO0ryHZW8uK4G934LcX5XreYNDxu67ARbQ37Wb6qK+8uIswABf7+4gfKIzxJj1H+chTFOf/iF1ohmELmF0vLzoUvgbW/2EEfBsEngs/+foAyZP5J+ius/ofwoCaNvWyN6jCJ1o1CghRJb3VVQw2Zy1b3iKUWR3Ezoqo2qF+wZWtX3AOWjSX2Yn1OzRmcr5jzoCpQmcan23OmZ0YMBRxxQzMnqfehBxGEVA9+6Y/ypapASAbYS0mNOlxz2dqdT7idMgoVJ3MTxSviz2UwUqen5EQJWfIsmzJM8KyUpSJ7Ms/1Iw7HvYfFmClXaDmfzF2Pniqr959ky5g8Fkqtn3ak/397JZpp561ef/WiM/D6WPNswTr5NKGcIgr5DeF6M17xlz/Hwm9TeD7voAlCA+R3CRpEpyHt3UpS+kG0EjSIaFOK0hfpPJqKOiYFWStJvbUIZuFUSJb71Th/kP4qFImOe+f/9GagaazJsEpmCm4/n5UmuRARYbEKokMt3uwhYuqV/R33gMfZ5HdiORgogpTX/39NiDQkcdBukB+sOJP4ikCdjxYZCWfO6PiiP0jgqk7gvjhKDLxuW0nKo2nOS1Uh6U02cCbRsCxZkf/RfkIxw04GazgyUA/KEY95wzISk5/ZIctgDeQF8Z2lYnvqS0QuZYA1fS2e1dusqiXmrYIgVDkdFgcL5CJnS45XKvih9hTB4XSAm9Q8jBbGrZ+44Rk7ie2YNDour3G8sv7WoeRJBbal8iIPqYb8AiEvbF5eFU5hBADvT/nCyMzY6HFzednSJDt0VdnWXlYEjpW1MJ/E7zLmIg9k5DoKobQyo6f+saduiBDzfsOsp9rNKW4YIMuDYaQzTox6ETottC5aQDEWJiHfeBNDl3ou9lQM5pog1hYG4CvLpGSb2Yux0esebXyj3mqIj/7FkbtNDvi2JwIaDY1QO+/9CZa+Fnoo0hP3Kl7rzCDtJmGFrC9r6I/2UyT0FSPmmQeUZZ17V49ROQpHwiWUaLdpbflGeaEzuza6CX66q/5+eexgYyDKtPQeX5L7bo3uBwJbjJI4Dp5f3W9uTrjiXZYTqJHwqt/XepIvb7i7/JCpwK9GCPeoUoVcEjZ7/0YAd/Lmt7ckLC7mAt+lKXiyE8EqIkgd0wI6X9A5Ih/tAevqsdo9YeD2hqwTL6ChJxH/y+dY4DSYm4rq8eqWCvupHXJrwbVAjQklzNMsqArAEXub+6MbIrj8ELeM8Cc1fk2XiYlhqtfuIWxt1d1zXHQkPveooUaZ6tCkEvH8ikkfyCtw/6HhS5vy5ijckes7x74H86n4tOtAPlKt6iTaAl0p7RvN083duw2hG3zHNgtoNiRK0IO2Cc+TfG9wpYMVac87flP4gQfidLEucoXKMO/32ToulEVbnVkULmH+poRP1Ingtibxcibu3x7Oq2cIrw0Cpy4GKAnTPLtXA3AawN+rjk93QBYI0zESDCOnsWO6krfuRCl0/LOc5q/Y62o/pyuhGhaxfRzK37tAZenj/XOb1gKl76pfskeDvSWjvYrnTiEdPoEwi8c4zrLkwhlk/dh1jFdM1d3bArncUitFRmxOYHBx+XIFljxxDkhuDAINi7wtbxjJFVtROVFww2r15ICJEGa4itutT+g5MCk5xO00W0lGkyh7Ydgt7QJzdLdyUn0SBpcDvxaD8jacwvU2eCzbrhP2Gil3ltQfnpbSSsGQD5I9B2OxF/4yYGSenA6iEd0fCtP/w9634IKMhE8HzTa1r4zPC5mqG6g5P283/9vVcSzwRt7JW89/LwbFXJYxchqsHqlc4HK1YwJDG9AjqjjNoQH+G6BApG4pLFY57kHbu3Bvw7x2Mq6g8jm10tWf+mSmZhZKpZ96/AoSb8tLwGDL1AelFsYLCGrkovg3e4Tq7FimdZJVenVf1yhZ9gckIQZq6LeVfBNLoeU9Cas6bsQWZL9EpiBEb0/E8/O8GOlFXZVLwyyyC4rnlE9zbPFx1x8PuxEWzGi8VDIC18Ne0QC6wPAEtyegdPRmM0Rt5bfDMkZQZQxw0fL9eUGiltMq0DW0OTHN2jVIFLuCeG8w0zAAa8ygBSUpkwMYPn/EgimaWxNj3etYrICoRDBYZNpfiT58IRJ0Pq/pq8j0bhzJN3aYpxy7vmqF4Bs/N0djuDyKWTDP8y5NT1DPuBmcGqyZnTBNAHfI8uOoUVNgkyBDhRPH1eYGyullnDEOJR4gqzMbNVLOhTp8jCM0xRbzN35z2hKclPtnZoHyueIki6ZMWV3MGPwak2b2fDNb1HmczzvTgvQJ3Vl15BCbXkhxYyFfAhl4A8zhJSmlz6js58Rcpi4qSRgA0fQ78QI1W8BgRQrnp+Q7LhJHDetn0whGA1D3S3TjGYLO9Qr9tjnYlpABTzTVVhZs+PsC2ZUZcvZXyX12QQH+WkxK8auFJU3RX94FDdR7tSexRgXjOpBmUkLR71c+EK8hNe2oyN2vIgUNVu5s1iSgKa8v3wQqbU2K2RIRhcMA82VIInL5dUonEfQ6EnLnnobeWMpUVbK35BazNlwROAFNzQrWzkkt0msEeNgyotr68xBNV//PXBf+XkKTrXeRmU3+yXo3mNUzCne0IGUzkPP+FEZjKluIBqefXZrFnXnIZYBAtxgDTE6E5qgLz6p4sjVQ3QPdgCkfrIVkNxAOGDXDQ6LO+i+21CQ+RvVU7D4RWBQb9kvh7o+7/oxEoMta/kXdEfPppzaYcuOF6F+vrfAbDOnhuYHxQ4TkbLRnlGfZa/cFolWE0j2rfG7RpXe9VuFcZlpsYyeCejo8gAYWz76vFklfXKdvhxxiZAqsg2jPFj/mVq/7j4ygY8XWo0HyuLNQKG06osofbg70khF1o75rl6Y1PGzs0GmxrQ7x+3hTa7fU+fDLOkSEUFFh7s8YZkv90aHhl0NxSjJ0ri9UPBYKdh70tsj6FjO3xyqJGxVq8dn4y6IYqoLCV2gEbdw+TOrK8MnC4th3UpQNl112O778tuDLrjh3i820bS1sZ52bZW+ocbPhcwUEfXiKkH1La9xoSzsnGOuduVzFOAGV49qvWvFRJ6W1grhlPb6rKkp4N8H8QfBKSCRDrHpyipiEcLjzpZnZdh/HoGlzahmZk0/9iVwVbGUpEEwe5hl9zmvYof/0Wg+sU+l8VF0FkCkIt8Oj6j1etJJ460PLo4Lf+JgjJvYmOeLALXr9ci5Ce5RrV4WOdZQ8sgGYKdsTZFu7dUKzD5cpOA6r2YyYYBfTw7lb/VIblJSPwfQMg1fSFVQ9KyrC0ECmxHqOVjQpOtPp7AD8ubGFN7qOp5KlTGYU0wF6L26cUx+MB/kuQnUE2SMTSupsQph6LrEaobXaEHoL0LHKdObyQPKI5J2Wr01H9ky8OKWQhvZ1v8aGkB28VHTxnOteW143A/PDNmRdUDXrv1oiOkDslo4MMb4jZi/lBCJC4/L0Gi13lvuCwwJ8w+VPBrdlp7mqikMgRN9xaFBuNZKbtNCtTIfczYFemeP4cfzl3PMZcemRDNAqYbaGFZJqVNk1TPkqdSn/Zujni8QXzu1Fb3jRsQGkiasVf7BQbU3NSBSPBgtSaDhbgbybujflyiFXmDFrLQzMeQRxhobKZkPQZTNyidOManKQcskU8zGks+j1bTBxAZHaBDtGDe+QgGnBUQRH6Bo7AgEbo8MgQ39so9nhU9m2o/rPtbjBvargffud/HdY3RlfjKOkqKMp1bQyGRgTShKyZIHQSC3D7/0x8EXZCbYJRAmrrsrmnus4YqJKf7wBFunTFihEBFFyRKGWLu/uZohyhXfLPi/Te31OEVFq0Tm60IFzOjb968YjRxEeHCobOrdKtojMtiKpnudYidKQKbhP6CxHR77vujf8kLwJNuZz4rpv8H9l0Ab9C8fQ7Lq1Z74PG4M5c4/ah2xiWTLd5v55THhyoTYYSYfJc6kmo7cwovtON2qIwjmMxNvWCQHpvnnmfd56WTXuUN9B9uM6Tm9ri4dcc/6rJGu6xHe+6ebs3m5s79uiamWIsahZFuyq7NRcZ+dz2xR0I0ddzS9wAQEW48DjElfEJiU0WFbJf8z0fWZYJj5jUWhusTuNRxBOoAxjs2PK7moBpigNYtEk9JP+SyelrtmI46nt5XOOlMDmNp9OV/HXVnRIrbCzb86VW40wBmMa66w2aJmqlkQzVZajjWtNfZ4AS+mctuGUSlQippccWk8Yhrnkj7IYIPKf3RsQ+97FoOF4WEF5oaF0XIh9ze+drFB/rGP+7//6+/eC583bUuOG9CAD/BccO88+EK1NzLwvxUg8+oJuYRKd8GhX95SDUdg2advnxSCuhF9D0eb+KDdtvTQDzJnHdP3jjDQQo7MCQfdv6+bpZx2Yc+0T5I6c2PV0/vLLfk40JcF3tZDxvwcG3WQ04+FuPNYsA4IrEhsBNInkye3K+MplWIrBn1yZcKoInWmzYeFQAVFG4itiEqEwxd1Q0NU+7wrMXS2GK25Q0ZDJGb8e8jsibY7ubGQTbElQaukVmr6maEB3GgbzzgIc2c9pBpV8Qm8I+Czm82HcTWQQ22wG4U2NFU8z5vh+SINtF2usNME4LAUKId92O21mcMKxKiZsjDwCCuko2ZW65hHChyg3eCTqPIgUqEqX/OeilVq/13T46RvYKr7qmPWJABeD/dJitOpKWjAEHbZW3MmyDKN/AqhZFFHzYui38TVRoUeNWDLj5s2QSZuSP0jU3vChSytsVLEF2olxfJiJbyNrBCnUZGWIcSL4YtAWOdnlakzUX4v9TpVlJPGaTFv0j5EKFENM2sXfpE9FHdxLA9r6iHwWbuizyCKhXYEabzfOEa3m/Iv2m5swRFkaLplKj5QBzCsdWDbCaTkSpUX4qCdMTwapEMpHhtjffCQUW195UQSl9yVc0n9tDHx9u10EWPP6xSTVoTmQVsUy02eoZM/JcMSeWkWTR4bZYuDVljmfLIApNcqXrN8Ivq0AmgkYPYfBoMps0vgj2l2gP1bLGGQyZArpTjU+sV6yUCA9bMqZS2GineGDoAjspF79wlFMODK/4SPXQ0JkZuuujsJgij+/RfMFzJhbzgsRC73yXOSyumt2usvbhyF63HBpwYH6qsB6+CR/joExeOfVDO+IMENYiGWFMBMBP4KJ93FPLtyoo2j3vPAuYBdRmiAG23jfotUISPqQ/RDaV3XPvR0bCAMaVIos8eWFQdMs/vCF52v3Qv6dmdBAPAu03/3PIQCpmbOw+oD8FQcYsIbKF2PRS0IoxOqsYMDt/ENrJ27SpkJqmI464pwy407L2QAMUIoxXD0hI8rnmzjBFPd/Uu6aXDaEPHlHcYiv3zrszOllQR9cmisR5YKz94Gnj2LSx4ttcstrpovCoTPZc5+xIAGs8z8VMDg8WssqXjqsdnmshSgbxsKu40hNZeRfF7eBpkL3Ssv/jSFTvdAMG8ALTgc2P3EgPi1Pmigs1tCP68iTF7Q94gp2ZY+SnphfhCXiAq0WRz9A0bCEZxSGQz2xwWSjiSfJT6v3edaYKttYCPNtrHWYhF3kzVEcrQkoPcFkxviDYLQPNYTZW5N4E6ESGHs7Mg9sDFt7akmiEl+kk771r9mMCPQHAmf3iHGp5NIuMR/ea8T44GoWFpsY0hTPBagMWYzFHIh3IFJzuEbGu2/eMKPsxv7TYzCA8vIkfQSuBGZ4iuOyMxXZGaPZi6+wZqzJt8agWXKa4KwmGmF1riNcEGZ5mBFrqtLCN2tyOc3RaKgw3f1UCgCMVykqh+XxEgC1GlVgioaeGg4rQvqKzHb6orcgPKDVLIG5CRRtwilRBYzsXA8uv0DMkp4GuacW34p/GxyIVNh42OkaHREASXLuMaOJ5bgL37DoYDguP5F7zKteCAFJ8lJMzgdhRTrCjA7G6s6C47SewcqxloKUuXnj8d+7gBEUhKE3m1cg1eVeyQg7LNtgjQHL9tcDa1CUpV2uYI2T3WpzOGST0Mq+XxfJ3uwtpD3D3K/YlCFovOW61uAG90+dwUYkuKaHK+4lMTyc19B65T+PvT/IgmJlgFatw93V9inUZchuMqJ+EJCxHUI1G9Wm68Z+upyokLjiA31jgrcqC4wPQ7pyY5rCVtxBZHi86q/vi1F7oYFa2/vUk+pVHKVqYVnCucqebQSSR4YY7JFmuzdht+6BBgg8DTu/PYosasdoLWIoxmQ0sI3dk8l4bpaWWqCfxaopCf0ByNKUo+xVgXullza57iA6pObpxz6f+blVU35aL5ktu9DwFNt9eGA4wh/WRN9heH2FvT6efA7usuUV+0tIEX435+PELL1v9u3r8ppEVBXUJIvsf9w60lpK0JCTYlmgylKQ6uUVEwd6FG7gKN8epv/lkDoXR10+QrUz+pXkbvqUdvRoL3kKVwNaoeGwtLkZtqdvT9/zHFKtG6/3K/pmuRDFXybpJ+w7iKzTmxgkbXerAJgwCLegyEPnPomHebiLWGN2rAApn7XlgsXcGnaIsdVPd6l9pq6DkK291kpn79XDaVrQ5GSAAFzl0i/OjdaeDswQq30ORA1iAg/9y73bREpC5V5r7Ry8IhKd9M1v8wzEZmoITWLG7DoytkbuZ3EaGV3O90MMenzGQiJWsSw2jZfFvfqrC/i2KTDUv8xbO/eOIZXPZh5zTciddurTuo1deP5DHiGrx0WtLzoMP6uPPn5yUVMAXEjVODi5N9TBqG3m9lmeIbTE1z/9K1/E9pCMMXutmCS7TWlVjYlJEheEMBVR1XZ76oYg1wd/4cajSxRgfZxqYrcBH6CufJTbIobjWOSFqDGQ4ShPDffx0at6D34QlpV60MaGzNrdvaTigM+L32diBNlds7saaIK9WA0ZotiN4Tjd78c9vIlpi008psIRNCpInMBvTi6R00Q80W55kvI2nDVFN0L04AHXrn8Jp/b9IJ0ysg/MnQm4Pt4OqO2NwX66buEJgeKoCSkTmxCp+jYENrvs8T1uOKV9RKLSVpr2XOAz7Xc6qniJ2LOAEqt4EVTn+PPt23OIWyDYEJNFDH/emoRFaaF+RmGRtUiBDpkjTX28/hFoTSCz69XKmC9YB0Fh/tVDQJWDJM6GC8zXWI2DPseoht6LxCUSVbl3qs+Nz4XB17oHTbIlGgoLmpYdA0d4m49zbT69n7mnN4Hpx1bA9owD88XvXdSy+T5lT1p2+gV2YndYUJRMwki2Azm4UzIxbNlExUrufii2h2Xm/YFUygpMouqGNSU3Tct+0PpUAT29+09ipEJ4J5Mb3c9BqV+Xs3jcYJvm42B0MYGALNTLzDKytS+1ppPHrim/V8q9QZob5UmisEEikyHHtNcLXfc0F99ohzcAjjQUPRD1yKO3Px6kG4CuuaMyqiSCxC4qlMSSl7yJi+0L6vBIa+8vmxdB4RJ/h7OAIU/f8MsLcdZ6WAGzwPVAURbfNhg6UR5lJYc8eYWvjo+FE5QFnXXKvYeodQnxxihSoL9biMcram82P4iSzzI9bCsS7nbTuI4u3ZzyzUL8QpGgztRPtNh/jMmR+S0zUFihyk9INAh7RiGFxGU5mpZW0/roXO3pAtUqo1uiePqNaKUdT1ayXC/KgL1cd2MGrd0T9egl1y3U3ipATPpvKOkrsK00EGM61wJ6Rfe0jKRB4neA5fb0SvBwonGnoIE2BD9uZfCspLzFk5PywwO+cO8eiQIcXxFEmg8e9yJetQK3FdGQGnwJGRRYtZr9MfOTej+zc9fSGUSzf7zGJoZNkhE3kyjBbTZBwE3JUHZxyyF7IAC9oNNCIKGAyI/yZPwCEF7i2kEvCmFOFuGJJuTw0wZ5L6l6SYg9mXD/TZXZM+hN473zoRcvPWTih0vr9mCOTQ6ekV7ImuCNbeRZ1eDpHk+SIqMY5nm4Cce6De2GkMYp0FKczGyvSjGMZokctuEZsLqMhtp2pyJoBfnGpM7FgCrUwmuI6oJJbQf1NeLVzH+Eo329Byr6g1hYlbKr4VdZQHiwRHTcH2a12AlcJXqN1OYERd3eRKMFwuCnzCqupF0rDguWerK4Xu/GHLNJjmwvjNl5WmtwrX7Vf+3h2GqzasnBwfoat47v6f/ce7NF1DhnSTfR1h/XlnurfErP/B4ADMajTBHWKd4jKQBELc6S/Pezw7f7wCcp3MB1znaAZQxezbhvW61oHhEvlUM0qBo2GDIu1aIK5MipZ6ssC5ZWZVXw3A61lhesTRAxMiG7F4UAHSpgHIuVKovAgXVj3yBDkttvaYJGOyYv6ryhqNTdyBqcVPiHLIk7IzRfGvJ9EcPfXGpWfeDCEeD/1ebvZrxtrqRwzAnUVEJQXJi8uBemhBybnxpKkRABYkid4zOEsF2AirRJnsxMOZJH/QNZwAA/zncEuyuuRHbzA8HnFFd98OPHMAZXCj8pDBE8DKYPd5Pb/+7/dMD5xjRf/mIaS314z+allDBOEVF694LXkfdVUv0UDZgyQByeP9zUL9DQK26MXNna1iM0NC6K7yfI/pp903LLG04W5GWoXot4zVp2wD7nHuV/gKwnL6Zyc4+HwYhLZB+wIGLWRv+l9hzcfulOu+XQRdUG96GODrggh7W7qqe5YVHhkMihGPTUqefC+Rb6jAB2xBOmgHH6sjVCQfUNx0SdD6NNE8vf/prQPR2mQl1j2k23f1GhgxFfa6hwXLl6oRtcvC6F7UaT92XrIZBhKuTSA63kTG7kIWaPUctgysHv4f7WhJU8U8CZEqKLbIs/iabWobvgLbt6ZieMV04CcLZxEVt+qAQEIDXFNcWUQmQU7mlfjvaMHxZhZ2PWNueKcJx8FgOPN+CyIuXfv8iL8PG8I3Gcnf7tTvE97yR99n9LXXDPw17yRCHr6Pkp6VdUmD5LnDl/ZM/SH6zVdjmD7xHK5a4IUp04qdTI2WX+tTyjsfc9oT15n+baSt0YyBIR4cqlEz7c0VMkaHdueub9mjK4d8xdn39YP3DqcJDVSmcomAYun6xf13dOdlyYitiL2FJTLq+HUSvkSziMcFH9lp+o6yKQbSZqd1j2visoNMD0q0M7h9b0L+TLgTVGi9i/imZFmj66fDpLhP3GoOFLP0C+qX0XbEtxQV/iNYioZCf5cs3MUtWf3s8sGEw7HFvuTy6U65ivdrchpPV7Qlrq+OH3BZoKvRn/85eNg3w/gEineD9gHMzcJbMsKYHnUXhTpndMzjpN1x7COF5nwwwuK/fpTPVL/BgBhElJRV/ts8gZpgTAq2J+PhVRklmxzS5W+/lMg+mYpbqhgdD1MUrJk87pDX7BJgHHT/vL9xXqnnL6ySiF7PJTxVhXfcFK4S7y031mX/cgKfHo+KN7Ex/1Cjah/lnhX2wc7rQHp+MKujk9qCezFHYedRLdCVrv07zsk51bmUH5OIDhjMXduEk1cbVBN22nuSqGuizRHRowDwlsOY5GBzm9GBeU+pOPDPAm5VBCBq87XryIP0Xg18NWQKLS/8naWNZR8Io772L/ufAVJVPcI0/aShCbxjZP5SmTIcZtt90oot9q0e+IV4tLQEQwkhRDVzgs9FHEenCujucXqSgTXLyRLWR0lUYioeVDHvURmobJ4TsoN8xZSmhwjEUA4b+ZOrIJX+cw0GfpbvnWlpEsWF5MI0RhxTp1+XPwWSqPuTwO+sr1mdMZ+e+dKZexvZlepJInUJ9rrgWEN9j+TK1yXx2vbYPKlzYyECMmRGvdCoBv5shzovm/AmWYbpmIWq1PLmktyQrOXZqDwCih2SWkl4Q6Cdff9Br7+JOz1kKOX4T8IsouPMt+Zqh32dJLPE+Z3inGV6j+MpcWTzMjcZ+4UX+alk9ejs9CdIEWE9eGzYsqpJhEMKeiEn/J8wvjJkqWETxvEXJD3rwU8LTWgNuxTo9oSmlDEbQhWMrklKVOXUpP5dRB3SlITi5DRBc/agaJ2wjG+lsnMHvl9JeUm5CqbZIjDURCqf/UH9T1Zht4J1CIjvb+y9WUIRwPW6eq+MXSgsRMQWufN51iKVfserrftYUi9yIYTJnYqPVOLR/onbSoBE/vDcVfcpREa6bCCDSRLp9QjY4u1ZF6looaDazbf3BWhAhRfsjrE7TJ5RFhV546tR1Il83nCRfvR5fgIlY5l00hyrOibtFFVGbcgGP20fcVjwZCJLcCOpXNVhsSwX5xrHidlODqu3E6zAYkfrfbUrjRpoGcER9OFZAu820rOHcDONdeHe5vf5Hmi3YXgKvWjytUXeOZfWKr9k1ItpZCY3kT2Fo+JaIY4IDGmQAIzBJTfdm9N+L9MoZU/tuIP14Ji2/5Gw19LWmYeyenkWPBIiljbufUy6VjVkDRfVWng786zqsh9yCdPgcoBQLMzx4DbTnt+BGh/76flsdTsToEuppO4/GKSZ1YtMBjYNOuaHmyRt4505znt56wOz9q7OqVNXKYf3ljhhZfGFBTN3TkvDasw0Adw/AMVeKppquiTZEK6Ax1a0bQp1vyR+Sett94o/enVCHm0GnYbBRF6lD2xLfMZTOF06cwK4KPicD8dGQ5FaHPFzLQchCOs2xhSXUyM9V5Zzg+mWvTIa6jr9mUiPaWktgvYLGlsQeawW+RnPFPLMP7ykOWt9mduB+7bpJvvFRSmgiywOjN/l9NqAAf+5HoK83xNv/H+hFafolA/L2XT7f10/vkwwNXrAlVuxSaonYkOWuiAopJEK3PMjS+X4PAJpow7eRCVbj4D62KqIMztUjmlln1xdZD9zwASKl6blMjdRZhMef9i78VMffp00Y0LCFyNLlqkfbiw5bK4ERcp0k+YgPngRiJEpXhoB4Hhk6o363ooRP9b56ByR4kfpW2mp9eCSPGET+8Z628jbBqYfS3tnv/O2pyY9QymFI6Pq2drcjjIhq42jatzgUvJPTUyRzNcKUd2HBHj4xnX7uNYdnSWBkFDhZCPHRnkZliJ+SNVmRo7LECQZKtwYLOQYSSFgGo3cyjAHRH+Dt9/WKX6m55SeO5UYxq+BdHbPXafNu30zMBcfeAbLouhchAspQGRINtd7dmwOeuPrHom2FysL5kjbCyJ60JKQvlMPCVdsvf00pvMyNGkb/1kVF6MGY3slHNjKVhYwwr5GbOwwQEraMtoLnWBmekwgo0Iijswse2vpVacueunHpJQNTIOwuDWpRlbqvndvgh0VuuaTnw3V867oZmYXQIbRB6g9TEm5J0SyLbg8hTnizTAPrV4ZWbSxxEC3ANYurwi8fJ6xtypyilIjf6tVAvzU6teZHlOuWve+TwdcFw9a6C//HvxNozAKy6qhmCB0ncS9GSS6VMRjmq+2/rP+/xHIx81eS66jVlmsZRGEPeYCdVCweLHC61+ek8OlNU+sbDd45ABWiXCYKNc0+1P7z+66VOOM2ZDk0ntzhZk1HxxCctuAEAGW7YiW/AaarbkwRkHoh+uZ7UUZc0aJBErv0SWlNKHcef/EOyVdiBe3qAuo8K90Xwzd3yOKNnw6bt4mdKJJBY96/wDNtFuLJm72rpREvBLLVZgIP5ShIuhdpBupXMq4Lo3/s1/TMLGnBPu4E8b3LG9iswiX6IouCS/w28L60R12RfFi5FWXugpRIT/LvnSt2VcmwzBAy4k3fVOJaee40HVKnUIhCc66js/ivW65y+h8oyY95T1XMjvjJMLouovlCxcGuv0A1ElVwrwFUpghipN9Xa+lNQywMRU84atF7V2pBlZ5lRy9UCyHIv/+/NpX8r1wNvs22ZxjG4k0ww6JlfJIlnvizs4TzVdQml9Z9wNi4On2YGK2TCdaAtY8Yr41+reVDTiJ28xfT++AkxwclQSyXMLkms0aHkIZOIl1aja91DoLBmhHzCaHejUBwdgz4kRnq+v3vEqhno+6eMW+ynsaGMCehIFlApBnW54Uh8NsH/AIU3KhKcpH8dNGowMu1BZ49oWAcCtcdCauJ2uY71g0ZQd6Q4dpv7v+yGNzsD64zo8Jlfme6Le/S/lamoNGQPh0i/Z0s2pmzKRlATjcgpwnGK+oT+NZSD6RzFm8TGKYOWPCC0ib17j8SBxd/UUuk6LkvTiB2V1TlFHtdaWEKcp9BUWnHrY01xuiUrepjJC2ho4/tsVqwdV135JYTdEYKW0U6eAq3uv8gVe253RM3xbVQAedEqtrQEKpp+IWZyxhWrf+HOhUv3Y9tPYtBZx4zj1i+wfdVke1V8OjmMgzcZh2aw09PMJeS3nA6fNivQ2iGdllNW/rgOaybXSuw3WiHYP1C9ug2ygW9tX9sKMr6uVQrrNPuABekctM4x0g1FHXgZEhvqpov9k128UaO3JGs92GCLAkFKO0KoNrm9jGmh9/1boJI7n8Cd5q3EGvXiSXzMT9+RpZU4P5Z6dJamhWtrByjRPmSxVII/fw9pxCm486ajAHT1XpCU47QDl8tr8vN956CFjsI3EPSGfO00oy0FRKrrXAXCPv3Ye1UgSNvpwdGtfF8RgMMpFE63IKoUkUQScVu3fMwwULDtjeRW1cBR47Xo5TZKaRDkv1Ma5IJP/iRBHUQNU4w+j/Y1BPGR/c8D43D1vIoHcSNG8JRAH6WgLgiqTuJAwnLx1d0uli4dWGfUH9bE1pCMsHryTCIKO+OJcxsQboGox2F6PWQW4jtL5PD1aRo8q/nIc2TgvFtGMkGR5O53bXtotoHiwglik+3+9FUMhHh06vbR7o2ElHyuQ5g1qv/zrE5nFq6IYkG4R4k2W+XNqkcPZB8CReaYQoDGIVcdAOHExwtF43zb7x/+kTPqXHfbBga9Z9R9wcPKGn1KijYCpTb4u9DG/+XuyOszwHMcmiLVXXSa9WXWAFHCy40OprVY5NSfL0O3g1m5eVgEUEQDH2svUxowT/++drLOKtKMBAHmhziU2p0VfSIDo/LP6TJIJt4wb0BMtkHcsRtfOQfM1NQjZuExpxaanpQZr1xE7t+mMU3PVtfZoMBWRBI0aAMPI3VkW/bD1FBDYooC3gpVHTjvgXkk0Qy1/QAugaeNJa0rOZHP7tWLnOP8gTg0hbXcq0D3qYW8CyMIvDW+xiLRR2Lx1YCBz5VlTxnBxND3pitNUofFXLWOxqfkM8xzRE44HcBqlCENXJF8oHPJLOi34aHn2hu3qznOPYg2NtKyZm5gbGTqKvRhfagZ6ZyoNcuu+d8aBfP/LehKXAEVWH+I11oop5TqfrdxdX6R8WXgO5Je9G4rlu/5D0Fovf8NQUDCYwgdmMcCtX6IPI8gzqBswDwUYjsuJSGEUaqg14rVY+EYjtEskGWp6uhHpoAHNlI3Yliq79s4BI9Nc3pW/W4zkjQVJWq7sqX9mRjD7A7SFXnPYNbKFfUsMrKs485GVkVUCzKu/Okom8uZmr01SfPirHcD8kV6ILMMAj7JAXY5DiXN+e1WLWLT9UI7f8QVKTfZKmM/INrgdOikHbOSeTfWHZBDlIoC0t2TDCokNVzPfzqdbzKDMq3TNrpqFOUiE9WeASv19JJwKT8Ww6VLJySFMQa23z3GI2/OdWBRQoqqOkSU0sBWLHLzjkwrfOf62ymJgo3Vzu/TK0l6lKV9pwOHG0lpJkTDe3/47vPWejjBrDBJttAwclKDeofJqy82RUUt9RwL43IhmulxsCIuhCUhTz5zD3nlwKv7JIATN6FvZDybxHmCL3vLmmLe89RCLOvZ62/1yZz2WV9IqyucfOcTiFzNSDipSAiEi1d08SuJT1yysHhMz928hnv2OdK+IVdb9vbHl21043qfHqFo44iBmCdtvO7gpDF13KluKzmzIk5jPY37bm8bziLjZU0GGbcCtPU3QvEAgxT6JCmW9G/0kmRXYPN4K1N8wt2SQChayAlptgCK5YYlSUj9owkW7F+8+GAXDu+KdHPvlcl04CDIURHjXwSvLpLRMP9ItX8DKsqEeQb0IBOdGC1GwbZl43R18UQGlKmmDt6UOTUYLvZWsafmtvi03INjJjelKgQwoJeBqq4J+DKineorw857ty3PZO8HRyj+LqApW4mXhJ17xT9pjmXpaAawt/b7J9rZXp2/SS8lQItFLnW3W3Mih5BJXHRlQcVkzt03Y380e+vAqKsy7FqoyuurJTIrckHWNwyOyGuLvC4M+N5hVzeINg8sE7JpytjK4zHnnLqnPoXeABLwWNNuGD6zyme6rLppQgrFeSrlxhAb4WsGnQaPP/c2J7cBUZjaZqxRvYczT4WNMyFoeBpzl0qojlPJfdPcL3+nZspMlqWC+Z+YME9Bm+GuhFBk/ijDtVXfvzZdXr9wEnQ1WAgLbtC/efF1m/ZhejpKbOMy6YShKmF/DLKU/BmYhntTvq6RtrYq2c/V16ImUzgMhIJawnmuJVx/Ged67DzHIEBlJ4ucvsb0K+M+4RqteB5zknfAOdgEK/IAId1W9PfXtenV6AvTMeYvuWWssllbW810arb7bxHwdp8ePDKFQiYu5C4wz+206UdOJFzHgSkHcP6oQiYj3txwH0oyoq3i+N0b53vDoCi5S4+ALLHG3uOgxLHzkuUWut5Aoc/6ER+x1+l9CCsxlnhx8XHF/4xKcdIDZdW265Zw/LqfMF6HHyoYWIpfPnFNuIJfFROTmx8Y0u/BM04IhFRIizO5M6g9KL5GIDrizj45jLhzbfu4Q3BMLg4EXSniBj5B9kFKfN7FYFhg6sQXBhFHVniqxKZ8WyznKM8vHVfFokgRk6/AIoevlc0+tL/900AKu7AFDjKJ2uSUP6tNmQIDtWkzc8Qx3E7KJJxNhx0HjRxre5YkmQXhGgRKi2mOSnrCN50FvD9TMIyrD9R09OkULoupcNpTJ3UyUJEYlNDvpgMxIIdvkUUoGYXW8YSJod8FtK8TuMzmJe+dTHDllDnJXNhHf8TeX5GqN/IjrA71ahiopkRWiZ/BtBxfmdkDqxqmkkZ42vx2zS1VnxgC4wOVebEHvGWgIw+Lg2zJbSLPmSOg1TCDu6z2FVJzgOlSEuZEEjC6EwZ5OF/0aqfkaXDX3INfmxS6fKjH5Y5DJJujZqKCHV9UlX2Wh7AqQ4A9+QaRlRGrhLA18RKOnmRclKfkYx1Qq5cnz8Y3U1yvP+n3IN10Kt5QWNrEYX8H/g+96PI3mi7RwgdR2jrTR/ED3sbdyPhtkfqp7asiP0o8qNcKlgbb7fvTT/oasFH3qPgwqOYm7886dMK5Talxy5HegZqfFetKQqjNMSKvh62bgPBM2zuSqIVOm+PcKiQzQNr9HNYB2p7FyDaqccoIuLEXndYoP/X0ECTTb6sfm4ef11us0hteIREntZ6Thu0Jdo4I8a9IJ/6Y8vc8dmhNvlE6rY8T3/knXWguO0ZP7r92LQ6M4K2FhI94cyrqT2aANCkaFuZ/zTWk524ezR7yGn0zTS4ytlkWRAdKpjv2yrZZYmFL/tij0DlFTUtXP6+3ITRzqXVyJHC7Ft6J29Fskbj/w/zl+Od9PGS97lONaPxVNFjcj3B40rQtIGESSyy/TseyBnPNlKcfcVCjiIKz+Swt6C+dTRfVCpdkLo3CNhaQMI3tvBJYUCBbfvDg+3E0iTTzWmbbhJz9rCTloE1Ab5DtwSgt64AjZe0fC/gJ/upWuqnLI3YhpOHr3FLFLsfqv+9OnFoE3JhF15u8CvgmOST3UvfxQkT1/kprYTPqAmQzVrGIMt6nkw57EQMQcO+YCFC8BWdUCLHouXHigFTGjuW3AMrVyfLEn1jCFglezKX1zxRCNzo28nuh8iLiUexww6GeMoa/pVtSpXFKSjk6/enn76BP7KHruBcfSWKAAFSQ1EGSTK9ZXASi3BmpeXcjyX8a1MQMblWT3YUAzbgI1Rpq7QoP3KZYEO0i89D5anBn0SFrfLlbwiumyXpJjYEra3u2qrmNVDWojqu8DWurKpRUU4v5FchSVbBLG9tAHw5MlQgbR8PAyVvzEwF5MgZbRtTt3LL2ZbXQs0jbVVhfW0JSyYY8RPi3rIjQ71sdHF/CJtRTED17R0vCiOEtYH1rjsl1elzqiDheplUEEWbHziJ9dE3L78P9TZCzjge8A2yi1afS4iWq1m/w5wFWYAp5/W/lHbkhx9ShupSIBoiqcaRkggAtInJ2oKcoyStKtmL+9aCMVVeBbIaZDp8csuo4JhR2eUP8b8hn61xOOb6ATmKugnPyO2wLijI+A7+AGKzZ+lYzAqBECYSWuY5VXnAYJzIfiYT5cbQvcSqn6/MftJpAgIBuDAykzgCbmROiB2k2QfWuyLWMsBJfBcwBVVcsGdM56tWP29mL4k6gs7pMTrxN7TtUPtJSbIX/ZzW0bBfTqnny/staLOY5Y2bh53lIFPq92f4MmuTqedDJrLRhU/TLWoeXT8sAfrb7NZ5QGqseUCEXWqwGrB8kF59NGZN1y7T3AQNV1p9HjsG6v47uaMRdA5R/1geO19EUEIYw3RbkqbIGwAUdvI2nXFBp3BX4H99wtqo31/GTN02X6UFkol2PKUJeNrkA8vXywjckvw/mEW275/zOO4+EykXtMyR/+fdzaZG+nyh2rfY7uE+5a/72YKQGoK74XPx9PFqf6bYR3YqVzc54d8OE2WfGtY0IOyP0K2yH7gKFPqnbk7YmnHYUmriVDr88Iprq38fnXb5wkoCZ/MyTNPPCdMuAQlKdr3e35c9dDKlfY1E22YvRuNRQkWc5qBLwmmNmxbO2pkKLGhWrEsPwylgoe/KhzV42pJCHrsD8mw5OTO3/+ze53NO0BOtDNN7VNvNrL4bwhqdTmQIFsl7lNjMEc3zyf0MG15s4TWncmKlCmqUMA/g2aRb6s/G/P46a4u1GXxHTRui1f7LLvcmj88w99KM44wXY+wNAL6CdDNQRXJkn/Th7pCV5dSdsb+TYg6+VOoebayqHSgIFWX4v6fZydmhwAx4YrTcUKkuvNZgNqQHc/q/2JRwkJsR9b3kbnN5Fl4sDuT4JRHqeAb9kAPYQKpx2iJqkbD5QLi61nkMkeJLKgLVIScDWfyRt5ZbVJ8EGyoLG35PEKLcyY1q8D1oleiZTwTzcYGL2tjhYkl0Mhl/q9ghLeoryU1zkzwYu3aMEgLhTSDH1BT6yllr50bWs1IjIrsdPj2B1yjj3s7CZITyjTcHoV0h3lmT2NybCEztxMu3cPUReIGTzcBzxYQxC8iOv1AMHBqWUZX6pHU8jbUh7xRw4BypSYg1E6miZFEuEZh+k40Ab3OOcFyWATI6wCcCsvl36w8gE4Kh/Z3r8oA5jUiW5Ptd/c9+cvVBq4yfvv50B4DG9BpS1DX6dBNavZDE99YnFgb3jL99tegmcHuLn6D5Jq0oQ4OynkNpXCSvl/hRYBixfdMdGjJ2mBygjz+Jww2N/yydgaBel89eUtyLuj4yC3AhuaMstw6n+ugsidzIbPDUjMD2lucN7fMcBmjPEz7dVovnU5c6tEc0mNkngdm2nc6PWuxAuLWLX/MNd7XAPkNl5vugczbfuWTmjJjWRX0kWQbP17sz8Mr4/nMYEItRLBYP0EPUrgRsZhbFcxIhyihCbmL3rP9sW8Api8L5P8dsiKgzP1Pyl0Z+XdLi5sdrdLpLTvr/tEH+gEVqw69jj7fl4V3u9iEdyxMLUDcATTsjfqHGVH1AQEoytCak67JysxyG9vISNWZEELHx2bDEbuYuRXibmysIJHuKLv1BORhdgmcDP93Vx1vlom0qz3Zf53l6VqIAuPPlF1jYQKwxl/9AsjlHm3t1z4pE/Pk6BysF+5HF1y2N12JGXN8FtGXwXufqyIao9x6poDy8Wh07AVD2Glrp820EObd02keQINwusvTKcSgvSV7ojImU00yOSp2MQYi4lk6M3EggnPz2kI2ieleZbkoJyB3/1snrfNaKBfYQ07D56qexh0Qjgyk3EXJs/+qTI/6ec12dqJdduWYxCAZ8LtNUCigUbZkNhWTbEElBPWyNGU6m4cxYffm4KFGRGhLyCyLSP/qGmHbd/VV5+cOYctwo/Hv7crv3+EhLQgN7Rz4yucrgo0y+DJcuFuGJjgAejPOIqzhZHK2fbf12jbBXn5JlvZ+dskaDSPwnRhXQnLrXegwQC388TAA0wdGI2asURDyK/szdEAMHHbM/9uNWt4KZqIrm7uNVrncLtHwTvanauOa0u8RO8An58RUrE5g74zb0vIvl4tL50CdsmVvlTSa3sjO/rGdYPTU/M7BdNRqNq9/eANgYbf2Lprh77G/Ji4sMK/yh0MZUy5F/Dd29osoIiIWcll8frg4TF+uBcF54a5AvYuMu5Mo68tGJ2Cas/w8XEdG7zBLKKdd/OpF34qVMYn3YcOVrbfL8qG6GT8hH2mo/13bbOy+ZCymLsJVIdUqUNidV47y+zYtAB+CzudqQarIdi6H3NoV4qGHr0hjhxGAR8GK81nDiqHwdHdtfCy7K8JF9f8nB4GOaiA7qfpix0MHfFapkh0VdPZltrMx2ro0MHubwVrFoYJSwzGHXbxPYTe3/9IxHH+6LPJ/uHvCwToQUFRGk+p/Vg5hN5vATeG4VM3mWmDaLSFEUgkBGzWCYDhqc2UuMuVgYsmXWqZ28eL/RubfsKt+Taic3HKGdnaYKNdeze1XFuM8FxWPq7asV2ms49qen6LBKVm1epdORy9hafzw6IakQ7DnjkeFs2Wnc+YVJbZ+icnK4nan7qZc9HwVDK4oIZqRR32SyhXWBoF+u5D+pFOv0+JwtFDTqQfLHPzyv0lU8zVULRo+A/DD5oHzNrjtIl+vIb5Vv3iyuKPq0Q9hLYsFzVGuRDY5QpAB4mYYwkvz9d/J3387IgK4+QKuipd/NrEUPVbvfnbEszp95HVa0bj7aoYTAhOqd+C+fuaychdrphtIroQxuURStpkkPyJ+uTTSSc+QJml0yNYHtT4D+oqBaO92XyY1tqT6V5jIdegW17Ozs9NiSTm0gltI6vGzjc6hxa/NnQVMBipPn7qnnFEN4oLtOFMovLbtoQaO3ooadaRue5PUFFp+DogyUIRhJx4hOxYThfTpfs7Gaq/pH8qr70+9xaxrQbNp2W1XlGPzfXArQzbUM8vcJJSzYLNqEkKtZY+LztLCw4iab4b61FKeH1MzQvEXXBzDPLQn2QsLw/jRb5tjL9VkNaLagBIM7qe6rylgcKVq9+9LqSuJii7LMXsHl1HILSrdzOxpTGmcJHJ8FrUEpWIrk3A3jYXTmqgEJW8yGuxK/slS8oZARn92/4Vz0zBd2VB/qdy9eu/A1RrXg7CXP2O+64BDm20YT1dRNjorSYKAgRQViVrkAHyQzk7aaepgkPqunztHJn6pqyhlBsILZx0DvUQcbuwIbXFC59ZiKAhtEDF8RBYdqSGCC7BlxWS+I454ofizze0+6qQTT4RxxUSrD1g/dUXOjElAhfJprgdfVRtkZI2u4N2iy203yeBbTDn8lB+92JFFAxaP/dDwv6+rukII3RF4/slNTTqlFzw3DQjpEnI+Uctry6SWI0HoCvmW6z4tCiDvm25mkbJ/TAoTPCUHWqWNo3NWI+vJP5IK3lSTrSAvFENhZ0R4tVm947QZecKcKOljzFjkJXCUwzIGz2zmu38BsUO8a0LJF8h4OPjBObceUtwxuMNHGw87lRZUQXpXJvgKpcCAW4TseopgsNp3rGbvltN7doeysz+j1L9MqWrG4EeG8kI+JlXcN6ou08kQWrr9ptVWEiPYD/kiAla856gce/0V/futEDOgplfjk6V+GY1f1uNDRDr5uPu88VdZRcNGS2GgR3MtLWVtctNZGx+DkOS9SxFuWUZR09wiYjVTgTjns6FJIlwicw2rwqNCzaxhlymQ13vDFdB0pCCViKEIfKrP0kYW2TKgQhRfvIQjslido3FKc2Oo6cBU4+T3UM10hbQDBVFEwzYAniHeHuQPW68wjwVvnEbK4G9WT9x+P8N3XT+piBPfhm1aspWhYAR5zDwbIfexSw2+UCC0dsFK/z16tZeuIo1mNQuGPCGp+G/Uxklz6HFgD6ngJRDVvllBw9tdf73HNzA3CZjOMNx6r5GnybwVNkTW3fkOQDiEPY/bkeWI51fageGGkqtaffhjjBFgfSgxlwk5X6tkfOmQ8iL1t96Z8G4jLxTqsJdL9NjSsZ0JBR7E1UI09GKyB/fB0my+KC/3j/cywLMWoG5NLQGD7mbWV+tRSqUGDetKnYVsP83gpNE/0OkmLmsJlMkYdfQsMgZIvUvolY1dLA8j+GlLHjYuU3z/5e8nn4UHgLp8p77R99rM6xAHmBDvR7UAKnkN06macpqmA2QNaJhCRUZ+W0XpOvH2imzDxz7zqXm2MHkTvQJA+ttltGGToAEBcKteNSJlhb8PIklItmbSCAVdJ1aTmR38eZkLGQcWMISYNgxdTcHmHFPvkZiC98/mYk8bLW/eIUflbC1QMxdW0gR9W55pL31f71+bs1UMGSnAYJYiMHVqv5TtwhbVzkLQkFWaSqG0FBpDqSoRi7Q89WX3hTxIDxvv9/q2y0UJy/wSXOeH3WGQmd8rUf8bPSQ2FfkvMnWM52PoW4IMcg4h8T3rbYtmP/juAdoY8Wn6B53Zmtcjno2ifoFNUcnQeJAREL2cy9smCnoAovyJVBvnvqPcWCIZRjnFwOhj/q/74ebxAX6u8M7NJnumz9xq+qAXFMzJIauxSsoF6AciJv91AO5mA5wodv/RGVR7uzSeWwBlYRGOxdFuF2+hxsJbroDzQcHPARBZSbOv3h9XwkAC9AW+dFbjmBw+/yv6n7kp8xAAvMqgBkGT3DLiG8wKfvXNuurEWIvnkKxkpS8dx/F+sfG5NeEk5mbXA8VQnKqnJHeZKQ9sE7gU6TmXECYIwmb6YR/m+e9omj2K4vqfXszD7D/tXSDXg4/ylIw3KSIP7cKxyDoHOTxkdopfFD2SXppnXlDOs/0Sjp5x9S8psDXIfBxGEJY52ntKf3ym2kHF2krNSVxJO3XOPSjgdc7zWaFK1NAb7lZ6Q24nEn30FinsffjKQZ2BD/k2h+aki6v5KH1u2cJJDZDre1vJGCxzH3gR547tJN5bx2Of2s6OqgA/LKVjlVXSjILJU4g1RWuQz75kzYCpPWX/WeGwcp2a9cBVanw5nzBiJGweyVvWZAZwe66cJ94usm39JkHG1EJI+bpbjAN/BLsqWgxxf4aiz0ds9UNIx80LElIlvRXY66Wcaba5D1e71Kn/eoTCQMT5SvXXOyCnIfcPAYfwJplrWvAupKKD/LE2aZOHmbSyf/ZXx+bLU2Uge03YfiIKCZnlYd3LD03ZdlxlOO+qSmN/09CYxKzuMS1LDgb+pRC6BfKfjxhWQ5WcugbVvUkA8YrnbjD2sdjyi8f7YKWAXdBjEOq3aio6T3qn3K5JwoRJ37xgfYRQGtQ3ttM75IVpOmDky03RJ9iGfXsOzdDGaslf9F4NTiYQwxIOJCSd6VLmqvovdNaDBpTdsbzP5Z8m1ZwenJAePZM9ZHKsE9OhycdUBTcJpOsFaRgh1aEHp3sRaRgEOjP57+be/0Lsvx2LEJwKnrfkJz8aXONIfFQlE+n3g14kpEhSeqrkZXLNda6LeJ7GPdyHTPmjhKE47kW3vXaJLkq/gFD7OHxwShFK84JMs/p15mg/YSj/VoKZz7SEdzppE9ecyBJqSRouvKvs8u3rY2/JxjBAMRQgUgRplLgpYmU4hkGZrSLIfzQnoaYw6bF3L4a5QVIaAOmxwQ2hLjyFPhnoBKi/BSLjxD75nrWBtt7DAL7Oh9fBpW+Jx8SAwKaLhzDQn8mf5WGxaMDKUEKWiLgnOFd9EhPummEKJtoGqbgPbTLuoM/ZMcVvfHxZ1M5jtCT5bNDDTwxTxdlYtzz7WN/69qHqUH1/qe7KmktIPC94n1ymbOykHU2Ji62EgWezD3NaMdjYIZWdhItYpPZuZLrolARuOPa6UaKz4K0kDOAgAnMtkcNulngdLvIVzyqZjLJfayqe/FF0iYPCncbOSw5wME9dhpTLbP2B9NmveZufl/wA+u5VJQPMQOQa/tTz6lCAYFuNwaX+l3zYsohSLV3qVem0U5hHnNI7JGoa2nPyLoUWzNZQyCzg8q9lWSU7m2427O2aXs3yx88H28oHmsX1RnOy4I699es2xKWnAM22D7ydNzaskvcCLpt1/QQIMDO+9fskysA5ZVuvteZYG/JqqofMeLY49eU6DkS1X6phJE7BJqNeui/P3zKWetSruEtbd5"/>
  <p:tag name="MEKKOXML8" val="6BhKUdAiG+CdYwowKsi+4BQi2tKZ5TABq98F5Q9x+iMky4DKwkaDe5ojVyS0WhXzmo7idplvd4ipTr/j679J5g7qHbTJB2RYB0/VOMf4UV8Ahuc7pfD+fxDorW6lOJcWwohozmBi5lpadvgCjNn/yMiFFeuK5lE77QluRNE13OM/wNcjqkFNXv/82uCCFPiaYovk/XsZlW1rww377W7ZV5wsFyd+W2xL67+4/Maw3Ta4cJRtCY1+n4f0iSbPCYyNTF9y0k5LDFuNAOyGA1K8Y+bfWOKfM/qlp8rBAsEy27cKB4v5sZHtYREKDhszNL/eEZX6zXAUndl4x4x1Klp9iJANMTnuR/qLrYIvqJXQQMWyEVMeJsJPY52M3AvqmbxfYSHQCG29Q9mCNIHvQijWtiKYxdOabLk86GwBSIIRe9VzwCjdKIFBhhGMgnwOyRQ1KcnWJwCKmL3igsqr3s2RKfu9JDRL+xkWP0aALz2TPtVnqsWvrIxaCHwWOJoA4NBp+MLjUrmZ4kk1UyrjKQIFvS9Y+4iTz19BsAopDO54WL2jZXJM3AiscoD3J0x5pU/NiohIDaa4WXvvT0JlQ4zGQZ0fOzTIX8kFxetIGoBvRdwuwqPVC35/8+kHDXozoCT3w03ywjnwt9FV36WP6DIJBtV9X0e31BSIvfNs/zZyhEK7plHqWtW/sIudwiEBFZ7LvxeioAtgOyJhoHGWcBAiCbkGU4vIMNleelSV8sHfnVW3r1ztTMYoa/ceNYzK09oyIoQIusk8I5PPVJufoARUj3DAaFRm1XZMoqRaRiu8nueM4q7fLbe1GcLr5KRn5UQFM/cEe3LHx2RgeFJB9shY/Lmz+R+kUz0IZVhnR5rIoBFHblgPxtu3Uwtc3aEM5lu+FsCmgUy2LZTuehB6re0e2JWxM9a5I6cMQ+LQRBD3lxoFmd6FxH3fyQIofiCkH1IIyzsBdYw5PZk22OaSFXkcMJXDvhco+NGvqKz7BsS1HDEfFs8i0JqgzEaJhbUnFBd8GRMa3UzNqDvn2V1A3Rojt8OPB/JRw+fOpN39q3I4UgNWuk/9ea/L4yUyNbgJw6F+Q9MbjBdG/dKdy/eN48X+OFYP9Jj12Zc9UhzHFupreW+v9114rogiyszovntmMvAXBnJQltHBvr2N9vs996mLF252RD4n7OqKmFtZoBK1FauAxoEq5zb8GaYwrR/sfHFalExHnrcHFlcLzSww98SGHrF2lZXqrzFjg/FJA2WNhjUEH82Iw/XNIY8X8X0bmfU9X8UZ2TwTsqmXyRiWoNVRSG2SDGoBWM+HLCYc5a19VkrtE0sKSoWjIVEWBRq+BOD6ggUF0v333pcc1DL0uVunVBKtZbhUgMF3rmyp2V91B4bMkS82JeWiEzYCTscGJFYFZIlqlq5FXzQvFNnc+EGbUHGJkMq5+02gKzg3f9ctuQuXfU44xwOqjELqb1SMHn6jjPgSX6vAl91SD5WUBv2rH65oo/uYz6WfZUwYHSbsOo+rAFMDG4AQTd2x0lI3QKqePnE7qQYVRbuDFE0DFE1eLPUdpeamOGH6DDpYpiEWK63OY99cowSCJ38XJjpOTS18q75reHZ1KK+73RuH3n9mp5r9fc5nHdRtMinro+zyOlpk2fpj6ienIRTM+aZULVZghOijqrTCX73CE7Hxt8CnXIpJLo2b1jrl37B1/JR9MGQVzqrUoXLTzenZboFw/EZdbH/XJHI4/03Q5wAmTfqcwS+gyeCNwO5SGBPUwSDqmCclNVEFv1qjdxHdroZEi6S7R+fQ2Xd7UkQN+Aw770SpCSZSYo8kyAqbxopEBCvlDGSsdBBLn6Si9AIxtMNnXmqJnnkfrwkQWb5xmw5n0xhHWDXxvaF6CiUEOkVOwg9WkpNCkoJ3iPKi9gqEMCAyYBKvxzLl3M7AkzlUxIWgR51Yhfve3FhOWra0Cb1BKvT1W/uTHP1U7vYOjL9u7ggR420NVVXGRKbWtQElJU6j1osL14/cWt5UGnTdiidq/6nR+HfnqUjoIoVKYAJyKMCf11SCqNVNVa19mCbF+HcHlyGyAkjj0D9RiaQz0lj01Y3pPB5iQPRZCQgVWsX1t/YKBpEDJ/16dvbyqvaPXfUMdeQeqg8g4+Ohk01FRgCT4lMx6IT0vAtOWO4rKzZyhJeNYa9irFXWVy3sZsRLRb3l3rZRHl+GB8uPfOUcSPRur/98xgkfiX43GPoQFbgl5sDpG4FSdWpjZ/aryVkxKdcEKCvUncz4wbwT77plp/6MR133Jljr/7gQZW59lIyT3x/ZqO4xx8qw7f+ztkmbXXGORT+DGByxAThpQ67YoZ+aBU2GVoj7+UFkmDiBwoRme+z9NS5xSPnHv37Jmkcn88rG0VZj7dML4oetYAKh6H/CcdRXw6z9Et+A9ayjvCVGcRA8PP8syFDVhEIphtG+ZIPRukGYssr8cerGnn6TqK3mZUF79V0DDsgtsTL6Ws8SMKTlo+1HTpv00SGXwD6kUSI1NHJ7ombN1mcZ/Y5hhL6oT8/OeRWqLzbuq1I8GbwVtFbiIiUaOXWvP82IW/MBAqtM8XfAz2fhklUdSZN/WZXJ6COAsoVQeL83UAGX1Jp+MDKHiN8n6uaC7oTt0u1RPLpgEN6FqyMJfu+ez8Noe6g/KdhQ7+Fr4iI2qJ3Lj22P1kyR+1zzaRCatyWrq5CpppBNY2vEhJoAACFyDhXunWhhlbRdEsLCP2k52KfnevNNNsK99/iTm6EoSsbGYyGe0qd6yN6GaKOR9CMVgMoWSvCgsRVFyZwREDhku3OYlFLaAtYhm1x7orKOIVoiptxEf074CeGCsSSbMx3oTxt9+4/iRv2jKlba+MC3kamwBAUiDou64dT9nekbtafDCLJhmxKOhKZgYflHjIaFUPIHCAl7j7X8ZumQi2uEuLGoUAni3z+nn63MMpAqcvtp3getc0+AhXyaP5j/hha+XZ5LkKitNczqzwxqtn56y4rFAYtEKZsb0vVMh4B889A0ahbxJsH79s+FJKdllUL7Ev36LWw5qyY8om/be8SDHn9LH0X64y4JHUhCv5dWGiIc5Gag5QJJReqF9Oanyy8rgIbtim9fEryCJIwsf1Y40nzkeuYIYRbSobYdIvj+vfmKF/cglJe3z/1efiv80kPhyWoBpVd3MGSFmlNTJ7UbWRiLAzTxEKHWfnoHv58m95Dt/D4GAzYAGHeqCXyfCb0N1qd4fQuluBOu8hVeWIC+/0DsDEDTn1t7PL2F9PhhquSGolZy2M/vpiAhdr5GtL8/hDJCYtm7Y5GTrSzNVlIsBlSuZzxpf4vRnuGSwL1HHHIVg7YJLpf29oR7f4nGZBOLQ1OSa6xSSBPNSSs2HY5KiNQQbk8VdZeHlMsNHUBMIMYLelqANcd3z2FrvVsLcxZvXq9+1csawlmusytRRw5lH0vlwbH69dD3cuRQ/GP/c/QvmmXKLC30tlN1WD1wgTFNcRjNkU9flYoVupCDKAH6qwCUxgQPdvRPAsEPYMIZrSDM+MvnkEGOcVL+WyJvlqqnbYB2t3kqmtM1IeUupNyqhjjP65O0mAYw/AzBH/ypWSMeMAKB81al4aFli2YPadqdbYZjILd17XClzRSiuZHKnYUhUzB41W9fY8psc/RpDaAktslpSHJo3+Z6AE8Fu6F97T37tj+KTpBhIFm+Wn4MNL5Ar2uA4dY2YxfSJh3D2y1Igfer9d+vyOap0iNz55kNOFukXZWPq1z73L+3UWooYiuRSg4OS5XZZU7+oNzAz/HcN2t4lREme2NEU4ycvtAezYYPWYSYQcJPaHraUuQxJmAGB/py6DGDJD3zvWYMqMwGlQc4Rvr8DP9yVOfT6KImNNskh75nWr1G6njaJps3Fc6B6gmfyFtYgsuKxTkqh9sftwx2UiLE5EXrijk5CpD0aVloaHfxpYgoSTKeYwTmlapZLjtul/NKrAF56mc1ccKNAlUjav+Xwm6MxYbmUBqiNy++bRAJOrHnYF9enSBirmKR4Bis3lyk95vm7IZ//9KvqEF0twRsRlO6BgE1XMiDAIOWyY6WuC9gN7Z972MN89wrXfQgvvtXFNNqkAGPQ5k53l4EuroWVUTgGYcwPnizWiVLJBSZQJGK98IBGondXmU6bcyM1bfUOX8LhxmFjHwf3FzNe8SC7RcfILb4stfpWbFJHGLFOKtSH6B4RSy8af36C85sejBtOTaeodrBUJF+/R/sZSu2cHSoXQhOVBf7I/cB566DHqaNjaWpOemQ3p7+4DndnHPBNZGuUyiWwFmOaQbf0fLB1zfe5S8kxOzuzwWgWCICupp0xiGzac+UidiGIKDXU9m1GLut+gDtBBlU1oOU0vbaNAHIdas0nffqnehMgMo/iV3Bc12k16Y5axwq+ENs3iMEfq7eHMottdNAG+yw5yVR0YcG4j0KsZQsl0kYEnKE3/zPxATjzKpUGcxcEgvDShNw1xDsixLoi9EBK+6tu724EuSSBDT5yb0VjXswCibXeeMH+if0RufAqvBZzDGQf96w6/EWLnBaFsu6l4EchvTfU2vLNOGu1vufCWe2RuXMqUcWN8uojfCM/NeVXojKMUPNBdWEJ/4IZBrh3xkyrmdlK7vhLzJbX4w8gDfO1YEDYofGsDE99L1eCRy2s0FVezdho6ZT9tW8ZzJmo4cy8g/vIlqCH2F3FoSZyl69qRLIqOn0dzVpGbDvSf/1NY8gnHQ53sfYycHzpepmRNOoXNVxBtOwFs/aKHdbGFMjymzDx/vJsEHzKramXWSLkhiCj5qxv72VMjNHHCBeT4RCW82/a9DOx95WlGATFGNaQLpMnzLQ2dzMnKjPbeNnkC0KkqWdVwUT/wR8OAvrIRXH/JFaJErEnsSXA5L8nPCMl1cXjEQCZju3sOlIJbVx6TSE6geNdcfHCT3aM9CDJQA+8Yc5epPShPfJDnNsY7M3asQ5WkF7jZ0JOEmN8svZomrAaNYaRtjbGQGVecBR4psxggZioPkN8va6QsD/NQxuoLgOv9Kqz1TvXTbVm42/hgAq8xUcJKb2XCtvrnQMmnyNb7KAvVGzqfs/5WrxowATtFJX5hRCZ375ko8dWxfjGP8Rl9KSlzz2uRZuZK79vkAFB5r/43PCZP9vdwkZcdrWb5C4xq0T9A3mzAxawMMepHsbo2Ps7gXy1WSS9I3DwKMKwgORDHGKnyZaNOaWWs1klz2wau6K3jY9qdVg+R1wftg0Y277PwKT+03+0j4vaQ3mgpa86it2IdqNrxtt1CGGYZsH7K8OksoHkTj7wtvjzRE/GL6GhHifq0jdBSf9mTMywJsYba1eQSbrPZCfC0lyafNMWLuDswPEvuf+WII63zAJOAVvSWrbn4TjV+S9z1cMM0UGbbIGmwgtQ97KnXm92vt8/yrlH2jCri+WLGj4JWlOS62qaGtfx1ghdvR8w4WwRPPbETKBN0b+t63n07O1gmp/uwDFnE1xcuf4/rUZ5ZJbru2haYVOA5/mZwixaCoL4uupw2oYrj2ANIyhS74pl9hlS8i2WsNh/zR22in4AxykZ6UlUEELOOkT8cg8bhig8MhP87bvdEHzQWF8n58wWG9vsl66vzT6V+4getswN6HOvGBvyjaQsIkg+sy2kwRInKcyLEm4IT0f60P0sth8/R41vrwKBMyDUslwij2cu69u2+ZbUtfMv76NhHqhvChisDT9pT07pE70z2LRD7sl/BBeFJq3yLfA0IRS8+TN0fXx9Kj5er3V4/oJCuMnPG0PF0QSsvsD88kIViFFOXU2UDKsQnxljgGhAnWWewMGQy1jeCMR4UonkhgC01sf6ZTakPramRbUgrLpuC6UjneehSES1uC9ydsp9vuiGGfsLwb4IMbkgqU4bl6UE78TK2h78XRRzGwXvdmFcy09fE2eIIobTOrCbKavlBtJKL0xr0Kqq5ElcWtrUcvhk0QaS+EqMAH8qZzimwhbfcThBTMQDEDRjqEqv9+XL0lip6jESxFGuzkU8s4rmPfGgK/benW92cBUqJhfFY0Rn8SY0Hj1W3QaM8OEfVSckT4IhxiQ9/8PrQ3P2EaYkV7769xqPUV9Rn2iPzmSAR+Li+RBiv5167whI8zoBES7yv8kyejv4DeKR/YlhzfI9Rvu4n2UEA+oPv36mUVbHuDMEWhL3GtQdQ5GeVWEdffqBd+VTna36gs0VqnUJJBx2SaQJpDKsK2vhwhrhkaTikTtRBdGa+ys6ZnYPMid1GlVnj6ZqcFzudbEFBcAAssE8QMiTM4wcHk4BGNAMJR0txVdzhvnqzkTq3GZfPBT9oUE2mfL/FCS6A4bZGhl/di4CL+IgOasBbmc9TSO0RLPMwXnsyAGqXXYO+6lYXh9BnPQPuic7+7KxifHJk3G4nenTWuti3JTs+VIGIoIf165Iqu71zBqN+UrzUTP/vV7caIFvQuQ92t5cHrmoUlyiJivZxU71rsAymzGFKWiQD/iQzM46WRzl9VrbH13CV6gknfnsahu9Vf8vaO2CMKxtb3CP9Jivq4LTKitG2Xtfh+udm2HmQDnzWcoksfS81qJz00/JoHs0NoSAoR/QFJqlN9Yf9IxqnVrm8+VYyqM6EA7fvXCCTW1GDiGQi1kQX1tEY9CuPjdGpoxP/ENVnIyMu3hOxkvovxVD94xIkXO+QB+H+WvDVHs//KQW1CsfPz7uNWGBMPT9hjDYd688LsAX2ADm71XjyiNpFYUXYlDLBoK7jYuvOBkfQMRL6CkNlk3KT3CZZNooz3lulP9xrdykPqZODz4cTBT0xcMVJDZaR1uReUxRtFMuE5HF1AONbMRh1i+GaFB3CYXxU9OSsOc2v9pefZGjHi90K1SdmlCAkL891jKS+InskfqMYYWw/YFtcoDswYktLtyXxe3+55hnq6FsKXC50b9xjtQrjGmGI7zBf+SN3XTsRLfnEccRSTlS0i2btGv7XcbvZHWuQQuhqDY01SQp4ZvVYiHzWjMo/7SZuuB9G1wUdGDw9xVi8HnRQpzXurZXa7JOgFRsgvIIWHMn8S15U4Nyjw2HJLm7hwmA2BBD9LGZo+xNYzIPvZkz9qnHMujUdU9a4Fo2t/Kblt4iOR1PX1I10wLA/f8HtFvT47WWn2x4gtbTq1ryPcMay0D1cgSh29bL/l6rvtXbB2e5698Y1LxSy+GVV1hpYEsMBK/mFkDPMKVmeICOYwdpb+tUiNnAVDfK6EBwS+Fu6Y+FnpXjAV36FKL2n/6Pcs4EmMQbrNRe+n/u+iNNyqQuD/NBX/vOWo3OYIyAAdguvBK7/8djpsIb8DVmSAVsk7DKX5/6dNXIYyrNUE7ujh6vYOiJYIHyUId0OF4H4RI9bVJ64OFronb9/NL9Ul7hCeo+J6czcRkzXJu8kKDU6ocFSZZaHvCsdxjdSv9c9fUKXHPG2nPLp5DA2wK0eMev59g02RizTejWTtyq2wp749/32rvOnvDko9naqKy+xTY3VhyJfR4YAJWY4wGPmSTcdZUIkMAj1Jw0WV7mm5LG9SLLVdCo1ohWojSUaVax5lDhAq8/KyNbm5sbZmBFR8Qy47wM5ADHkjHecLPnhIbCe3m7CFdU0q19fXKcuSkMVv5CN6q188yRmQrM19p5KlLjj1osBRe5+n4dd2S3i2JsD81ENh/KPVyVUQO+9PZNP8xMQCbYJc/7NDOy6MCHgG/ebd/ugPDLISewk/WRpAU7Fm0Sb2KUlHrQ5m5Rf1+iNGES1C9ME7Ak91QAI8f/MF0AMqSL7uCz++yBJRPXrCh/IKJM/uLfsW98NcMSCXWOHAZmwygRc61uLWo5zTgoLp88yvIUiSp5Ukr6n3yIG16XGXno+Ok+845fggsxt/h48bP0onywZnR5EkYd+uWVPtYqPPLS80faBv6e3uMobzPYlL9nbtVmSxQH21k6hxUkUX5wzviZqlzYAdugdQq7dfeSNmPH91EoGDpHZS1SL21piWxyiVDhwHKNL6WVgeSZ4RThnns+hwCCPQUJsI5Xk2bTpQ03NFj52ygydFJU5wXZiYU1Zper2CXMYtNMhH2NqsePklIQVe3BuZEDKbfA/zr3ytdTNnjSEW4CZzwmhifc5RioDwz8gGU3esX+5I/eYiBzWJMQOeiF49xj3F4RyXDVvipe9+qjeXuqY0Oqd5Y9mX8fNCcPKzkHil+7uViyrMWz0f2A99lwpPVWD7kyVEsmgZr5FaPc5EgcdculQF3Do/CVSetriEea0zpk40WoJZbR+iNtSCrvYG7mXCyMFyjoFDb8FlLmgEhz2E2q9x+i5WMvJPM+eopRZ/VajoYg+MPO71ysD/WZJjhqEEao+gXlNBeftyzCPvIRd/56bfdFDYNy7pr9cMwG6DtEHHeCxmonX/D8F38DGYLO72P4y7pLyu0aHlM5H67IEpLiHTjhByXTsBJ3pZ+/gqf1WZdMFguDdLwyciY9SJ+/4w2imZtBhGGtEN0erOw/h+6nGlilc61QbplpN/IhxKw1vo+cdWmn1N0TymXxS9mDn8nPYbIh6a2eYWCWFvTjUIin9BntEwAq09lRkbamqebUw5pqWl5dX9WMCDMMmLffKuFVHxJqF08fyUmtspLoVDVc2rjK+cHUQdrMZOWXbUStkaY/Ljow6u0gwNK01yiaaV2+u4zjT6Hvk2L7Pp7eHdYkHSMu7eGpMqvx9rPOBDISuENYgckxs02BZ+i9Z2+UHGWUH3JF5U+DjJH8YG1LG1+CEImyFsrYWAtHmlJW1AmHbdRMIpYjDPuu2jetIAsK4DFyPrqTaazXStsFPJ8Tkaq+0M1BWg3Wdd4fWYag9Div9eQoNRLe9HLQGkk9nFbAr2skZJ0mOmhIqYyTyaQHxuwrDOMgl7riD5pdXPhDFQHNJX69A4n4Pr9pt/RddDpodY5EVNq7FKvSIJcgzBluD10OShdfoEMxe/ob6BjsBHyPKqmW5KYuYbdxALjyV/4bdmehtbahWoZm2lvA38V/yVC3RbECsBJl9NVyt+ToaafqSef+hYxAGtFgc+/Qjy6Sik3pwZy8bziRNRWWbKq4zt9JLADgdb99/vBgBHTS9iR3401bUVUrnHytfU365aVabdappRKgyu/+Wl6O3t8fbJBydV3IpowMeVUX+EK8Mz/4mI6R7JFyjvxHhnixeRXG9sPe4wWLzGhIwesJTtIXvRlxJ46Hbwg8HokU7tLwjXvjYgq6BBVIsmQSH+33gjJJ/RKxZ3muJmBySDVMufgK9Z019D7gsv44iYwsyHwl/F59YnizddsDC+fsUncD49UfQQHe7FTCUehh30s5aTEFrcGBuzR20lkwt81dK2q0L9AK2FW5A0QwPrfKe1L8lLeZ+EHoMzGSs8NeTZ3E4eWz1EQitsEGoKqPFQgZd00/j2GhYpBm76gjmxIXfmzllvoTznvhV9UtcdtTZ9X1Lyz5isfaNkGfYnKIgYLD5gzNysaOrBnS+bLAxW1yUv4f6qiMbLhKtsnKElg7aRACQodj3j7OjVu77AaDcQBp29oSdB1XzWLsDW+CLjxnMBOtmRBT7znGsABgEl5USyoedh4Dt/DusjqcuaLQl495O/j8fhA4pSZTy8Vp7yG9TK8xVLBc2d2VhojDUjH/eUWx395ikiTu+WC6hvtVZ1Dp67vNsHxQAa0T4ZsRv0rPpsyDrJsvcUD1R3vvdL1tbDE73EvLy0TwuEcy9OTm4Le/HqTrX2sgzAZ4TqI/wUpYkYete7T9uJ6ftF94oqSRo3ymWD041zehHoL9ADYc1Lfzvo5etOl1AAAWtwrxwgwuMNCNioO1FWcPFnUmvztRFM7bTIiJqg23r0+FLcbXOIGp4UjCVxcwnIYZzzwVjxKvUosdCvcF2sDHCks6qCjZBfc8sr0NbrOyQ5A2CVAuVjFb5l1z3I8zRdbAJrW6IOiSPumpAh/ZAYr2IRonJnscdIWjp4Te8Ji6WmPewh47mBd8q28z0+gvS4gHeclwpxSh5RZND/LBR2wAZzi0tCqWze2MgcrXXrTMd1vuR0Zdgj21j+D129V4LP7PAxoqx78gPqySG5XndUFGOGG1LV5h+fIc6w1lIiGaLzDkeu7i/1mJtQPHXc36pMk7etxGR7vRGNYc8+jtjbheusj7bCDBKFUWexdeO7o6dBCgQ1oAFboA/miuH6Ts13LdDafkttU8hX6Dku9FXT2+Wu4lExKFbpR6AZIwcu73oXMMGeA/ncMqW5hZJR1JbcmrQOZxGoNX7l4YWuqwytR4LwvHS9r75DSa1iOJPKSHrrxP0nDN+V0njZeRDjlnbRwh3IPq8epsD0OXW1z3ENhCBvfp3rlVdbU6f3MUYzUy+ttLjZkcWHjShjzfVzyGEKsl83xpbQzHBBj3mQS73dCDtlHENewPWbeq2dKX0QqM70/QlqSUDunF8yqTM2Sa6OfgmjQbLIjqv6TeJn76s+DJvRKvemNpgeGoI+e5k4640wcpDpjmR8ebYKabumIwZI21pL/aP4sFMUbMQsoohe3LvPBkz6lNUS+bmOWJ2IDuaVXK69kd5LTUiUws8q2VJThUFEkzY8xWtz8/OzQkMLKCq5E86EkpZgGmSht1TJWwxoOUd/rcR9zp1cASTbHxnLzi6X7d+p4G/r9EVEC42yjouAsU1uqAQ+xyp4numn9O/bkFwJGQiUQBjHB7qQPNwdJvKTkxfyb+64k2BnpabFBV4VTIB8kB+A82Wr2ZYBWljK458V4+MRnwm1caQarBbrl4Tz7OMdAL+0aQEz4p8HXqKsHKWxUUDA8ZmQfQNqLQpTkQEHqMPvSKa/TEyxAqgZIKqeGadTgnWtv6OYRobUzffSb5/5sQOnLEF8BYkfIH4GuzizJLGhquBX5w5h6mRqxyVQOobw2zbJo8ecWrNyBS9DmfKu7+WeUy/OJ8uQ0cwWWosYilJZq7jOd5N7puJLn7wz/7aBNL8hzijeAElnqIklwu5Y7EMNhvyyza1yfMZGgCkzRxUcRy92YY1QqOY4wvQswwHRiyt+IAv6dY/T/Pb/GTA5INLzVvgl5BSCgaGso3kaVfk0rN83HH//RQIisEseMXT/fv4nApTr7oCNhr2X+4SZ9ob+oKCn5QCLN8AkwOg4sb9LBKJ8e2SUKVzi80uybJQpademOq3CATnyquWD7x7lxStTHQdtqqovPelqr0NJbG8s8vZkuoVMJ0gOpVHwK3M/0dsSXH/261mNefDTEbnNF1md+++I0aUqdSrwJ0YyiTRDLWynZ5UiXMwxZJ3xXa6pwx3EZOV1+iaZoswXj3Kf02RAkKXlqDcqNIkbzYBLUlFMRqZNCwrmisHEfCwak7LnEIAt+KG2YHk1H57eatnGEXeFg13LTGxH1jams+sar+yktI2/HJZruLhE/eLrhZu/VyaH4eEbwDt5yU6IqPsIfbbnqR0RfppEW2D9ieGbHQnMLkeMoTlGDpS373Sg5m9AxMGm4J4cQNnl4kwSdZc3FtPUgUTVItttxW9/zD0gzVzmiVin8macK6GNsdOWtdTWI2d++JfeypCsfh69MoevmPZyahmp3JobfuKldTTas2zBZdP8IZAKCsE9AbZC81wW47jMpD8KIIyomEMYgViW1Q0pu3X8qPRdLvQphClZSB1T6+1vQMpbkYufDT1WK/TWmfB1SMzp4sFt6tf7rXHOYLPXjpyWCwjwQH4IhGo5hH8VuLDm19n6GvhajDsKwT4zoYg8AQzIDwobJTE4Rimq6M+9NotvpvjfhAtMSU1lR+Cd7+oEc6YmzpMEfuzle3t5Gsd2I4FqAJsJbopb7IMDDBM1fjU2mmvhiG5fv5sZiZmc8+k1i0D/PctSHW0fhARwK8VJf7+A5HbNpCRTY3MTnyVppFfGClN55EgYH0vtsVE908JNsOpAHV4JFV2t4MvDOKLr37eMMT2Z7sMk2b3mZ9QTvnwJUU3Uj/3qiJN5o5XhrB7ah5ZagM+4e+cjFhLBfw/HKIeUSgantF0Z+h1JZgsLJS04tdovetR00dtkldlfzJTaCvjyu0cRx/bSYp9fq7ZkYQbvTwS/DwmyP0pRcDN2RsY7+agLMrkCy/VNftFBkwJPqxqFyy0CJiGm7bFp7CEuezPsH6NLnDHPWh+ddIdyS7gWkb/K9UkiHCf+sq+0sr1KxmS3XwJE31DQwdBUdDKIWC0hR4yiyJzJ4EI1x9xjPeTcZgRBzRiZ6UMpgR+dBO0E4hT2DXdNVbluUoCrEt5aPqMDfV+1A/L7XLX92SDlhnWe0MhVxOUCblrZoJsodNT0bRo7SlllLih6Bwfa+sPHbiypKaF1c2JA6rx78nK/vO9wulJ9J0qljI3mto8OI6LgkNxOskRZmSeyDFtByw8brGA6NY6LEYfhZlg42WvCMsL7oNDE7CzqKW8NOLZgz+OYWeeotdjrOZ6m/9yXvNSf8cMivPTIPj796i0UncZHA/Ok6FOwjQUf/9Gtfn7r5eokmUU3EyojxSiMlf2tTVej94M0TPWFFv3F2Z3EAHjV34a00iUOxbRjxzIhfqC2JXp1k+LCrNCaAjxpm0b/L/HxjJP1AwbeqwslHDMcGBkWsiihAHTOQplLFJERAkJXQr8EQsN00izJYU2s93Mb0U1wVNQWwQU7+u1/vaen8evmOiVZiKzwOm9TCkPeJg04keNd4TkfJ2hAqBuetkdWj9pLs7Fev/4ZnhFSa6xGZOJrImddf53K3o2l9oBGHhn+dTk2pQ1aXS/zUGJeU1r3Y5oPTCPxVfSRSbrWkbGczQfhVSDsFh33PWTuFH1/mO7sv5dTMjnWS21EgkrFQ7DBkHxwmJeIPaEcurmT5kPDqy3THsm4RetUUXSXi4nI6kS9HRSbOj2eEcmB3jOGnkicwVkGUTP0GKbpj7C+tpAKKaVlVBuUdjoanUZ5A7nN1u9BrESIelzcD+xMbt3Q9Ld0GOTiKZYTMtvoMHAZRT81ILWv/TAa1Ru92khQ4ALUt0F1bPHm8PbL0+a2UNzsBqSca7R5jpkg4LOFtMS47jmcjgvNIozl9bo3uGunvXNln5vM/KxQfnfEXoZnkFr5xy7S3eYEBaGcPo1y14aqu54HEC0NK8lucwb/hJBfYfJ8SgpJSHYp3m6FEgNeHCD/3Rsg/BUQgcoaKkmcssRXS2cxel+/7m/T5e0tfToxyisUISCVVEV0tc4ZZ3hxsPz/s4JZE5hKpM6yeX5oiq9CMC+dzwHWd0/8gbZceQZb2PteTrfORLM22Sc/TpzIkIQuzZhwHb9dUffnL5iZvrcANW/ZoSai8Yt8RydEvwVOkoJDmlUZGqEcAp1MQZX8C3dPvZnU+cML3Y5/HlTcGfVyLf9JX35BLemD+DkDMvNuAwhwNd71r2FALWeSgbtBIVFtosODwbZB+Dwb8I6g4GBF4ag1cf2e78PXQPVkwigGYfRc1OOfOA3qCIGouEmS9tFYSK4nA1NSxScpOE7ibRIq9E3OPZwSMftBwvagPhf9f6zht/lUc5/brnZDc95lCiF0iKldCCJ4hUkFPem0oan8eKIfrNgiX69Gsvn167dNj0XYfNcN8NMbatEN1d8bsAB1wQP1b1U0cwKN8H4a8vTzxeyNasFNWcV+nZB849n+1Bm/TdI1W7PQQ8lbZs+m9zeoHtnkJAInZUyJiZj+639eVuMiwrT8jo55qdFM/gtISEaOKBOeqIM+6iNoGogPOLCBU+Q4imAcW2S5yyvw5gzvIxPdV4VE92seBUCL2le5dGHN2dSyEb52CfVpkwLN5A6BaAjP2iPk4F4lfH4Q3doGJro0yWv1z1wq5XHp06ZFl/sMppcvHXOY8Y998T2sIHgN/npKPmArXPKCGgUOdJoTHQuF7wgVRth7Q/ipxeBTm+M1cY762YIJLxiW5EQlEJCsQqBOvw9pyDkCQ+sO2wDYu+Csp2JRJcv2ZWw4mAX8qcEgVOEbb3HZMyEeIjGNPJa4cnnh+nYg2mI0nBAbFMvE1RjHTQ4qcFWTyuBep960lbRPkvYb1ODOWIAqnM2arM3+KtnJmrDKeVNyy+apzOY7px03P2hiMPKp4n4Hc7WWUnkHCUSevahnGcfb18RYrB3Y+lJXv1cjKK58+ihAu1WU61HC8+ZqilLTphgpsOoiJtRcMiwA70jTI2XSMUmKf+T/VVZO2rNX+MFcHUQZ4Q1X0KhRa7oyOdIsWGTzhNjoDEUvZYdkINVYeigFlDCmAA3fs+21RgWnC+f9FelKYqYkqIBVDDJqdAZWYxSu6TTs3+nFJhqe74M5BmwvK2wGGevQSVi9IRMwtAwcKccq6NKGKVVGGj94M2g171U9/00hn5QkcQEY9OOM3s4rYr6ebkSKVQqWDKHdThCa4PTWDVmxFj/bmMnVEvOTmoRcqnRhz2u1YVY8mgvJQqK2Da1idjMR9jaLvMXg16xDh0IRvLTuZFGxecR8T0a1bImi7CnaOhOzONB2HV27+jHa8w0IIF2gK6um96XRJb1/E8wmeYEHceKfw88LCNiqORz3jeBYycRYGBOCf5dUJkS6+OXsnLvrIKEAe/F5o/XQK/N6nC+CfZogEj/kV7ylYg0ygHspeTv3pTGPZlI21uwN/gluaEGJV7GeMTsOFeUKL9Oe3RrAQbcZmFVUwrh+KXKtPDQsck9FKK/aokJe+KiofXe6YZpMGjEnmgXibbYWT4rsL/KqhbfxWfx7VljwaKe/Kn3xcWUiCxqyj2IWUQf2Kv9q4G+GfCP9CgJ9WlUCYw2ZpKCtjdj86UVVHi3qV6Sq+lj0B7mJsRxa4iPJlDOBV/sW0BxZQNXgbRDWhhHoQzAGTvIpXfoofCh1KUzL02tzfCxZJeN+6XaD/GmLkBT2QEpxJcxN2dHFy4zhFXaOZgC7QKSEGilOYz/iAS/yffcV+mKWBnAJmm1LGS86diEGW/6sIqZmohviGeD36mwLYfCY3+kPWpeY7uPCDUtG2+dDh0BoiCy2n6nv0UYNlBMyMxpdujLWZOJupM3/tbUtvzOepynIVtQyqOWZoNegYP4a7uBjRmnP3D6pNVl8YHBYzdNvXIBpbL4B35pmiUjRchDGPAFTZ5KjylTeUzSLBOpkOKJu2oEoSlXguc84VAALx5/S2JiVGG9iNZ0c3kE2vDh5Rnfq/t/gtpsS0lBwQDshYNq4a/AgSJ1FD0a+z4qZjTy/0zF+tBggXeXdELDX6+iWzNFRJSwzWDhnbyEOhiqoDo9RL8nVlO3X/IxCqW4T2MnxBHSRvn4KyvtWKZU1EtS6VT9MwGRqYImshJa+9CL5NepLfDNnTPjMqrfqYxOfGEp4+NRQnpP2Bes40BAlbW3XrxTmWEv4r0NmtphNgEdrknmRm358c2XjutIpaVelUZM3hwif4dnzSyee87ZcvOCe54cJcknhOkJrbIFh8xU8o1wrlsRJdhiUY5QMn7hcmrqxWKyz/DvR9RXWiE5lZMwvBsIC5r/ohJFz95ZelZG9EoPo84W6rlYOLw+p59VH/kVwkVc8Wgn8HzAsKHKkQBnkxqLsbfAaku9SW9Siw+1xiasOCdgFpaHHOdp2iisLd5MXuYiE4m1RuCY4DdkBMVazn1UH+YJtr4F0PHL26Rlasst4OwWQlm/b/L3FT1/fla8k4o9vyrxSgtnbpJMf4IJvvITXmC28Q4fgjGa3lksCqjxBxDwOxBZFHiXswJe4LH1wCYH94Tn3a8dT80oAzyv1zPfg5YrHetKB7qXf7KE8+KXen1tRVh4oRdb+RiwdNo/IXnew8FUifr08muq5jeYKGvObGaSUswi9HKcfdWYKRi+uWPzAmoup7hqLS0aRlnZH91/874LirJSXDeBC9iw2ZBXqSo1y6Abix9zzGRGTbDVwV2/pKIb2TgUVXne+rdOW/eCtlivux1CvvckfxpE/dirH3taD3IjOkJcgbMIXG/TUp9izJjJ9HdgnrgMMZ7znIK0HJsvlwIRsHvdxZluoebtM/4EYX9ME3JS8MeT9LS3QzMQRLqFv3BJXPlUhetUcew4C6CziBkuPn5TJ9Ais2lhXRGxpBH28FniNOyumZZZdhyMErLfvxybKj3g6Ip4Dqj/+mXhMkfb0gbRrETBDpixJLA/kTHd2lrqQ5ALV2d8Qd3jtP9MZka3Qa/p2e/mXkYJONGIWGhXj/D+aGxTG7FL/Jz1C9D5wZ6Sq8ilTdqf/EPSLLGQpHap9QU9N8C0Zvv4yEdrTB512Km8DqA6DCteFHuevJE3Z9Kjk5hdu/Q911becwHK8bLgu0AWvHOnounrkr5x15XuhteVdz5OQKoT0YVb+XRYPBaCSsxL5SiIbyVF/XYQEr2D8XVQYOh/GG+3Tiwq6AokZfQOqMqUfFOGp/2qCKZ67LH5oIac7l8ELhgoDYoNXQr9BghC1Sz/kq5eNPNpuNu7K+33QkDwxRsFWOUDrMzBJEBfKz4jn/bw/TeT6D+Drv1iqeFSqhFlEp4VXAHC29xqprxpSoF+vdP6O2X1jbKRuxwGUB6H95akHJompiOY9p+863jyBRxMgyiLJWkFiBfUj3c+6kFFvOP1JEAJEMpgJfyGU+dsAoZMLlct8go8+J1gjbeZV7U2Z+/O//uG6APavnnLOZvrrMV8xWoH4yYL5un14Q0syLpzVja7Z2Qj2GowbbJOlv4dzkySREV78lgscrB+WIBcQyuMMAiC+i2Hvrvd39E46CtqOZJ3ifyuIw6cv96W3gJ82WEL7sOHBAk05fctT949UKzTazooNzFRxJp6/kxa0j3Al+/CrhfUIv681dE1rCHkBmv4dpejGTq92NPy9avFEA0Zs04JxYuqzvOKMGosaOEF05Z51hHDAJMcleDuUYp5t4Yo2HvmbsllQbPTibNEcMB3X3B5NwLGFwaw4zKiOUbHhOolue3rgxpqpzVxCADvybGiA7RJKVOB0ujyf1DdNAtn1++9xJ4/x+cBLgAeg9LTdT6nSGwQF5t7Iqyy768QWytCeYRKfqXRplIirq2OmhmpsWiHa/mrn5XkZ7osJb/43qDeWEqC2cn7WZwpxBpVWcfVjUSM2vEOb7QsaezdKSL86qRq+3ITxG3fxQ/Fo3b2FGqlUue/dN+KtvwbqTO40U6wlR0p0HNU1xvUNYoI/iwL8JQXTv/cm9uHopFjGVJfhEydQnfM48KgXACZ9/u6m3EuNw2QO9kmm4Ouoz3fgb98zcIupE7DRc1hcREJKsTogDzgoQQPzTGdICkBkFsFrTkl/yjEK5kY5h7jrzocbuc+d78jiBQhOWc2V7YL7GhoyrHmcr/gtpNmV7ThtQVqunrmIg9VTt7xj5o5qRk7sgLqW9ED4CivUNaZ9eHkm9+MJTrQF+O+IEtkiiIX6xydckSpVVcWmD0knnwbjVXgqn7v+tRc1Xj+SsJoWkFrDjYY4CdFsGGSUwBh5/rztg5/VfoMxk/pvv6SGD/t5zncmXx381g/V6bGrvC6Xoa2YU9ePr1PZPSl8VY2nNLlLoOaGxBi1jAE4/jh/DnStiCwFP6Vy8sVpmf3BmlEYqE9khR+UvrSfsv7uDRlBaAK0r4Il666FGJiM+VwFz8j/kNbkV1SpGBCY9BsiLQ4nyy9aL7tOi8knv9KD2xokszQXc7BDyPGxoOKYP/l12XvnWn2o2W00KdvlQQtCzn9+1w0ONUJ4L1Oi2XwSzwejjsYOqx8+vE3xOqtH7bFE3aUg3n3Al2ntt5EAjVsFYZ+ak5AiVCNaIQmjHnS/1gjNSuFCTk0B6j/gFAy7NHf2b0wzX4UXAq/E16sDSx+2WmtP1aKYhMtTpXROBIpcu6Cvrtpb9Jvvlg+b8E1bpNPhd6Z1C/vSXn6kpj+cX0RDonCTVYz1S5oBQXdxu44kOM2u+A9bFVeUBZdR+hNv8pxQjPKHcK1VVCrnFnXQQUr29ogQta3HgTVMaaN0mAoqYipu4N9ilU/SnwvRhPMY0TeL2xmgYzg3mwctgvysA4NJuAHuwv0TXMDIv+nDQVIkVyiQdyQ+c2iAkTbVNFJ9IZm3usKLf2x5FHS3PdH5JATCrlvUJzHaONva1EDCF4/wLKALuFMDBUBDlK+HhayQnjE1Erh0Non4yShe5yLaW4iESvv4GyxkAmiUJXBA4wQlkz2twmVoheuMy7RX4siL1RRrQdJPQEDJdncIXo7TBa3kslIDhB7zVCD9+ZXTcIgJkBVguz/WBo0ezdnDEV71bMgVGxJYPqntJV4SbaGtllI0+3DdzqbFxHyjtNATuDBD0ZoymCi/zNTnHyF0Kujp3HRtaq3JVv34xSX+NqZBH18dacgjTce1KCNwlYQv8NW5CmRk4MNkZseZgG5rZvtYP54XUP6gQqZ18q1yZrUw2Lu8SL4mXqYUXHfInvMssrq2pSI8A0pYGawKHt3Wg5yHyAwr2wefO0RYRkZBY4Pweh6j/V8kwPLPkF8meCfMrVY6GWtzrY5XEfgGLl7r9klCFX44A39Waaf8PyVdWyZEvjkoPWizFV54d8m0Jhp8/lgkVzyDR7w7tDXBqDSrMz05VpbuLNZoOozi5atITo8JGNaf4Zwp5bmkFhzynrqhopSODjZw6G4akfWlPq3rEWzihu0P9W217K5BuxyvKzno4RUBc0sbXvtWzoIjzdbfRoRaR2tNrLuCb2fTh1TLHDMl7m75DigDiWfWs0Px6ZHlMluVCxcgv/ceqt6l6/P6NEIkSgEOakSpGIzsjFS/pHjlRoCwb8e0oTCCDoDRBW9c6OWn+ja+WbELTv1DC/zRVImNI6pHp7FQcsNa4AYzXdXVHx4pXePXSSRglKs54ZFsHHk/RSAib2tb6Z5EZXuXC+8mZbSzvQpt1jJ7igbGtnYBQE8DUI3WAvUhThUOSJbTswPJWE6WK5n9ezV57xrkFW+cmEvBQlDZgauHZT3i06GMeiIJQsO6tZr+COh9GXlpt1VPABKd2Z4x6CJzswnv/SsNsYOBgaaEXfgDXpVl01+vv5Kf5m6BLnT2KZI2MjUPCM78kWihO11kdqXSB20KQz7ARu1s97omu/7cL6rfl5Lm19HMwb+yNjZSy7neUupsNwoSepbBJ/5qfyeHKAhN61m9M0frSY1IlwE8XqlCbd4Y5jCyxNH7xCL6vfBaXQawC2F+WPELeBWsM+3PZeJbJoeHF2m3dFa14mM9rjcP91owS0A9e5I0ztxhJjcgrWKJuer09otxRgxNEW31nb02qQ1whvk7emHYvtJ/yrSyuXzUPhDw8YfpDp1rdA5JTOI+rZOOwKwxPpH+QRJzWvORMGjndcc+5zrRhDmHIWGUlj4t6HC9L9KQYFSvo3r7FMqiSSU7BwjUsneYdoKzqNLtoAOEl9S1hJgb7aVIb4JbumtLDMRdq/Kj+hQNWiN7ux7I7qgx4KhJQEYxB63+dSAcEP0YxP62Xy8Ke72yWfArN1GBPNRZ9zBRJoUHMs4EWG3LBL36cYUDVeYw6kYunir1ZHaU6b6Tkoqn+7agRaiRFCHIVeyZp3GGLlW7uCfb6vWU0RW3atiMkV3vTiyjn8yhNdJ3pYKSwWVsvB4IAOevDTQhINXeCE/oofZ/j3yddBrE7/75wC0dvnBmX7d9nidXEAPHn/VMFcaJGJALK4T9E2Eaq3OjJF/9fTWSfuqzvTJo4RvGuOxMl4aFAZ6iEg4oL29JbsLtzjXmIrSwH7wWDI9IDu+6/z4+WVMQtvJg6oodxb3/UWhtqMHbcPwbTRJINcSRvf2I/QUSaakdQ8ps/PNmzoZK1jlgm8sQPxxEUueAn/lnQRo034XUy+sCJCf/8vK/UOEbX0xbFvEiTrnTZ7e1xdgMmfHjHxKoyLqDTRVVdna2mAmOFH92NZSIxNwaTBCR1ZjP3VinNKKSYkUeiri2l2J6YLQWj6Q3KLW0/Fkgtn2Qci2rikk0Z3/+QE/H4kUElCD6E6MH8lrUil9mZ80F3fAE+PCeIumPeEbXTJsfhjF1QgJ6GS6eKFiLaPUgWgg01o39lhUSaCNx6VqXbxxGIeu9GS9XteltT9GcAFbMFAIE0NJCbHMkxIhDKk4qwBdq2ZmCMoGmYijfjgci+r1aCtRyAnErtSVRfBpmRiZI57V9qdQvNzRTy2ONJswY1oaCebkwgIvsWw7IeF35w4oOwinqmq4FLoryxQJZBxx/FKPidTgw15z71TxaIH0HQy0oybwlJokP0QHB1iTf4EQnD4PbeMvV+b8zxxmO3Z1gzOXSGEndtTd7R9BwT3NmPv365+nhunwCV7oCSHl8+nqI2H2DNAplLnIqytDqMzMlCvTEUw4smeqDBAvtxPFc0T0POSurjvr5aZ8SHnMauIoCttDfHIGe9EtXqEU7/h+001LqPRuQZpMnCz2wdycLWqdxkvjx89l7rEZttfCHoWFDqX0TFLhW7/uAZ3lGL8KmPzsnuCdvLldaU1RoKl/1KVQMboFJBVu7sb6C9C3nWNwZmcM8D7YIBK/FI8dYxHzMCk/VHXU95ofgd1s8DN8S2CvMmX3JmfdRsdhWss9o+Q/liR8THf1AyDYzQ/RgUizry4R/tJ6ckUtShjUqG+nQfXPz9afeI1KfsCZHOAZMlBCXTOGycNNBfg6NYwIt+eP0JsNZ8+8QMzx3OBXm55O6hjeeh1Yq/ShOxQWdN1vahiRPyK9XPaJ/BFJvTue+gR0p78frjrCL9ll+lDljqVMro6Z8zg50Tqz5riFXzIPDK4GEOMmkPaXcNRVyRk6ElYwRHfdEv1dNrGIB77Au/bIH1BSnOv2tiCkWI2n+WZ9nmgnOlRqXJvQ5dw/2UeD6N3bi2xgAxH9RlfZD9ff4GsYXBWVm7KRXKYEVeCHRmPHJol6Es1WDwIFzmNVAx+WIuAIgH0YQ8YPf0StNE8NE30hgwXW5Yat1XlpuZCwLOsF/28KPApgKuYifNrarWHuTWDiGxeqtXRGj1cBLSjgM/S75Kaw5Kds65sYX0uAiR3+5/TFPv/+3InroPnovp34pVU/GqJUawSbAyQ9fwKY2f7LO4WkrCyKN12c/1gRjIDxBwrctSIOM29o5lwXla4tk3IzTjrOCXp2iOmQIFXJSNKUOT3YsBS9j4gz8BXf6qdiRM6qfuk3OUSbr2aDslpPetQpocJhl0atrAt7UC6zj0Gh+FvBmToj8zOCYz6DQIh0nOJQjrkEU8YTv3Hb735YRjJn8n3cAiGR2dzzIumBD6u28Z9vr5EV/TZM1kBxWNE3XQi7rs6dnbsqMMVCBVrk1h/Qg2yE89lmN0sPWWd01MUcej696A3Omas5Sg5yV/3l2csNJZvNDZkytQPDypzp53KqAOWkYCN9wvODa+mGvpccsIRXri6zfhGepjNumYIkFYbEYIZockq5/DOKfgjdNtKRU2/WCu3QhhXw/iw/yyIrM3aIwjb19pYQXHopKvbDQeATA2IIAf5VEalUfFkHf5cs0LxtX2ICrjzN3MTTBT4qMgYKXtl0BPd23xxp7Tn01F8ZBFMYfIPMxWWuS3Cv9MSm6TUpZR7nCi/jd/cmyqQ8Csu86PAannWcDvRMCldXItbXEV5cvmVtmIB1UsahgXKniNYiHB8YE5hRgGqouTjUWMOHp+FXm4FrtYWKBr5xwMcdCNAHf1WMoKNsum8YFyjrYTVXA7LY7WghOFEMwssN26Jlr8eQR70d+n+XKrrEW060m9G3jEU+4dCWsNtO4n/kLOqEkwPTYu/jc2vW7vESW2gYC53FTFllKfvSIAcqYJoFgwoD/ftfj5XlKaR12uUv8B5sE2f3Lt6F3WkJyUTJ9JwHUPSEoqb7SsbAsb1xB/5TyghQnqbQ+PzhAwEBu7dBzDivPSQ8uRpoDPqZR3e3XZtF4c6QusYhKTLYGaf9E/35R6Yp2oRQV0JhLd8tflu3fPkVXIcDdYfLddBXr9mSAieDw9XTzmcJoSwrK5qrb378v1qFbhri961OdhAinBERGda/y5yy14xyaQL/tcZVEDjMQzERtBXZl6tFBJuIHESJlfMAdXAKohF9sT9GAhT3pmPH4Tm+R41xM73inp3BAqzp0/ynXOynnXU9uM0UpAyql9hcPEfsX4D7K6gxySkl/1j4kzm+PBn2zXZTpKJCCbmT6zrp9DKUUsdw68gL6IP4HJOko58g4i08Pwcuwzun7c0XRX++A7FQpEenHV3i305Ylyj9LWYMqu5bx2UJfdoeUOqiSgRTYRlXMpKx8s4c6zO6H5Xe1rANEgLKClMeoajDXciUreBa9veSzgP2yOa1DUyORccq0O63/q6fyoqpiTksvDD1krpdYtePoxbpHixcetgvLvUChdK/cOR3jRkygnM7ziQPYaDFZ7z04NdIUVMO48hBSFPrDQeoNs9AMEApWg5vK5qQ5YiTcFhP1sojnTQ8Vi+sVXOH2oBMKIWjY3L//hi6JXm1g9Ph1Sr/qKQr7JcBVNK7FtIzR2J1WSd+rEuwLL16GNzV0dljSAZVPguNiestcfJ3G6E7+X2GZBmLXUaKWhGvSZMQt8cTDoZ4//e6kswbWmQrJZjPCy9FRzhJ0GXWu4bDjsOTd2Ira1IX0wO2J6DKZh78uy8sruaCaBEFTUzY+MNkUFYVA15ZUYtjUkMlig/9Xe++LY4IAUk7vRLfxCe1gSJrydrQ7AdKjgNtVd88+5SJ1LCTKHS51GDcq3m8Y+1CbXOhtmNHHaHGrTQdsLJfV2Jp8WjLFDjdroJ1KkwUrXVm8lQefygOEDorRsxduRVUrZ5pu6azoQM6VVNstY/MC+bjvnjPxAVjiXErWX3r9SJqLXjcotKeFNS6js7FT8BkpVMQSdPGEAo5tyCa2MDZp9di7wmGwfvr5+MJqirnRgYHWUqwaAJGqie6odiKJtU5axdniPIcE8TeuZO3yT951KNKZQXMSH8RVMXxuk9Bwt8+UZmIBKt6dcphP6wedyUXMzwGppgoE9emAjusnZCft/Bj/LeU3bmvr4k+o6ICb54DHGxsVzqaLZz7b7NSltt1RHfhtGI4RwRe4BLYPGkvXpARFC8vZRurqX6L0bQWZYyJFxnDdQ6Pct4FWbVMXC0Gl5XTIrJGgKOzy//YrOZPxAlcgbzVNYtB0da9Duk298tfRP4FoPGcu3pLrjXRTn1wJsrL4aPXe4KCAyaK9VnNIaBenW9euRxkUt9MY3CvzZ7dXa1gV8WH6DIXV+hOeOssbBd3yl0gTSUHe3V4iNg46+gju233nKn2OiQgStxIBWIiCVk2iAD+5Am2cQthtkBBe9rLXmrhtdzjdtV7Eb40ofh77OjWqaYjalS7b8DPdKG3l7ZxmHeZXTJpdlU112YOvhhwoLesYiZQGT8lx4CXzEznAXBAqvPEJRlG6ayzYEqzEkTaGuBC6ZFKgGe4Ygzz62SOV13aE2iVwhIPH/FZHWytiz9jvSng7oXZYBEeqwmuR8jLxMzrXGYwUyVvvsTgPnWvbA7yq23i/FjNeVxDfNkqpXLugr1g3zMRWb7Sj8k7oscFI261yP7TmrmasqHdwV6VLUtemBNV+GYS/9W2V2Jbr3C9YNGuVZAD32Qrlop9cS7+LWFMn2QBjIJtW8ZLSQWnaMLlS9MB7yKeB8YO8+/vPv65Op01No4I/fzyTi/SWXAL4Ad5l/78JvAqVn6Jgy175vDSFnp6jqcLDFH9hxN+TqEyiRD8Wtr56KYo5XaG8xK3qskqfkE4jawNX7E0EHkirc2yzdB7UxPatYnNVzjLDkFvaCi+6L4v3/cPiMzp1wbeQZsQIYDDj3j3sz/htbm0CSKR5ePDiaXbTSvxLMYccOISiwp2acKLIscd3A2WCeVImBbnLk2zzOOYxR4Zxp2FKvaegGHaIrrodTlDz+5XwIfHTsEOlL5XabdB/0ukQ8Im6BrlBuqyw9UcEjwzKyeQKbKMzcuHz16evvaB0P/lMyZsIu1lGKKusBrsHSditCNrdb1ZWvOIl4EEXQSSPGofR7+I6y+YiYk22yN6IMKilz8CBrglidKgCejk/Euhwv/nSILPh1QxeBstDRbgZmIeSuY9yjElppqoawwGWFgiVnevNDaDRAKnDDdAD6ALnwRf3xo8MGSy+0k5kMowWx9nN6YvqV9zO/VXb1JOvr0Tf1o/Eu9YyMwev1PM3IJOvZKQqEE3Buk6TJKW6bLqleayThC2EbI92sUJgk3wy43wRJ/JqJpIixQFLlabafvdOAGIUGWGtMTRx+EL+1/vR9gaXOyZi9BeqdOyqqKjlYVvcyyXLpw+z3IOq3MbeEckvVRNHLUimnh7v/0kZ0+b1dDF0CoIe1grXkvTnwV01qLin6eqd21Mw3cjaUE4t9HpjUIMtgRnEJMsNhji4/kBeEEjL8Jk9B4cGqY04Z59t1wl8Z/2y4Fm2/sYb+pxQoTD0nhduGcmE8KSkd8wP2GcbfrRxP+EcmgfBsc/Sq9OtFwWK9v42lmcvDdvJl92kCD4tD9BMT3K7LUBteWUlXGzx4/ldYb3e6iM+6Mxrff1/84GtVophuu+xtumrtJxldj0T1pAtcP78CQ8a6WQden1+Vx8pn6ZdQH1LKpJhK+iR3OEuT2JmM4y6pdtH0iwx9giM+7iY9SziKj1t7D5DAZ2JTzmVPz+nowMtzWfwDOo+jMGnRbbZY647+p8PGCnk62tEMjDBYQM1XrtzUONGVAFz3zf6u/DsA3iem8RwzpnkFY97PfK+qkKVSNUJBupTDJu3kGm3YnqmZ2b1JYIPRhtP+mOk5+ShStHuyZjACOUyBz9vCg2K+v3pmFavCMf0RNddeB2LpvQtdVIOIHn+nB8w+Kbj5Kr1IgLJlkV7uEclJSH6L4goKpK9pEPWBdYO2XhGhQ8uyr6Da6UZwN4eq2pAKChYvh3RMkzqvMNFMtOD8bydiLvxqIeCb/GIcjBniXgEzOr0qiUlE6HulbiC7iot1wY/YULUobCOtbWqVEpEviJhduJagI0zwf9/H9nTxmnCxzkqP595pm7Bspui5s2sYrFzO7DyocC55qEDjXofhZlo4fvIBFN0NPmo3zcbb6uDGd6PkcRfWqSU7jPGDqRQXOi7qge4qVZRpeAFpTPNHWoKugSC4gN6ZYpG4qfylJb66TiLySS5GHTZJQLr0iD9d/bWQvGKPWXeKX/yBOmMQAcZj8FXXHEzCf4ogLOOf69SRAhKajgb3jp7EkIRRaXs49M3On8lQtpOeEKwIlj6DSgIWTCUQ9XNsV1r8QfmuCxA4RJl0W5SvQRsxf07OuorqFvHHwMNTF8xUULA9+nGnBZv/nQc4LsWbmTX7OT2ioC3KuY3jlMfD9A6HaqrpzCc1N4Fbl7ExCHU6tjyZvn8BXLN4s3Aqh4AV7gMrA+mUPPdE3ZH7bk9SkVRklvdyyJKBw3uqagRqOWHDaqQuIN5ucutBst8y9BL7yUUSCm9MkBBCzRgN/w0I5IjfbTHs/DoP9GjzqtMMPDXRioYoom/oXhDjvyZn3ZiWa45Ckru23VMM9kAxlPT8YC4CtkR/PTgbqwLguihlUb4M4u2S7B/Bp61coxfLR6oGMzNtkCOqQJYTLjLZ2A3SzDj0LtOaEO2ZE8UgOwRjGkOL/1nFE6AkIbWLK2vT1HV6iePQfOpx4GKI558zV0ywwce889xiSC4pMnpqbIYQ/2QBPTfCTzi9w5ng4I0HKWPkfzKQUyars0YjOdpefWDsL33Ruu99ep0AEWEFlLjpIxvDOf33dyjF7PLNme3l9Kp+aM2GlpEagIQH2yGPrAGXdMPvB7DdF+PiQuLXrGEyJERL///326SkmNVf3ERVlc5lqFsoFyY3xLG+ZHJ4ywxIPzhXoSd9/il55N9G2KKbzIqhjQAtbw1u7RrfPWo8noSfvz1O2B8X9km/R9HieZH9j8CJODqM0ttTTNnG4Z15qD3RcO/5gT8PShjQurHwCxJzWD4RliZs9bCsKFhRpy8o9WDn0PXOS1fiY1QbwL1gYqsefvfSivd63D1zJmLFViQhX/xLL/1xozbSwEHZmbqsQlyQsFJPV3xP8qNRLSgTBUa+CgXYBK9TVtYUbD7XEoPNaC0swleCcd/2pn8mZoZ2eQ+g7miAz87Brl1vVB6FQdxFNO94pknBXUvtruJK0lHpHP6kNHtn7seUHXF0hzJKWnpMwaa0oijSe5gS6xG1vizA4Q9I+YpnT1/LLRRP4XFQzICGHRPmY1hLOb028fIP0AR2PmFxYoVOeT67vMgKJcBj20CwxC5BcsVE7gzIeLZsjufBLHiIf334ZWkpuIUiWhjlzek/l2IYtZ3pJ4uDHjmR8MKVIJvbbIrArjWTNoSgoXkAxZjbQ82x2QS2MF6QtFsATrE/foNr5yJ0UEYwd1sBOGmx5SB6xEOP00lNqc65+rxmJXOOIcnmxTEaWkidlYu9uogYjC9gNkCkJATTg82lTc0p7FmQ8AIVS8Pw+CU+qMknCPgG1xGvM6AGW+I4qUbRqaexsEQCqW4lKUZedAHj34Ng3rHaw7gyH247iNTPP+aFI4F9IqQvwvEbXaAmZ6/YmdZCPbTK+nFnirYeodxxEJetwikH7298YidNhMvUfN/TRD1BVZYP3jYjorErm78Nhl81kszXs88+dub+lfkadtgvMLlKOksgCr6vnze7uh1dES1Wp6gBuKof3+i9QCHjXRBAFNEnaKrRC9xm6TmjZo8bjh8s70n2doMheSXuQWEOUucra/96ocs9BKCgnlInTmPYPGz4BjpCOnJuSfQCiW6qSaHE75iL3xm/OSpwJieXte/+lJatngM7OQ+osHfq8Tc6hyfctth1pkzL7/RIgOC7RlLAhx6VNz7wn4mFbWaGAH61CvMpC+fDm4FuY9bF/dFn7OsillYaNfLqrzh4a2SC3ZydtJkUgpf374NBxCqhZccEXgqSEUppSMZFwunfFrOFz7tA5eOT71JZMEm4SCxC0lT2d9mKp2OlDRmeykNRor3qLotidmiJD0/RBuGRvfubQn2/yQiB9cfIRYvGlfDKRNraMR0lsmSnSE6zt1w0fp6ykb/q17rDt35BiA9dFps/eMJHYsGqLOkMqt3rwe/nK8q7AkeIhRh2AlXHo5L5VsCtF5LCCKMTRxDKETpT/fOngWe+ZMtJvvLlwp2fftvsvHglmLwdf8Ub82hNsBVypv2Fh9PqVqZ50eXT69TYR48iCw0t+dkwl2bfgnLmrA9Le0A1rqSGopRAlgQZ2uxlvyT9O79YQDjybIH4+QudHpvmy964HwqvKOhVdVk2pnpRutcczsJeiIiT2r3CBhtzIGRcCk0eABowBK5WQAuUhKRY/W4Ir6V8KY+ZxUf1YB5VidycXMIerFCENR5Ds8ZT0l63gNG8Vzp1UemSwgLtc+6J65nWD2Ji+8acIX3FfsGp7Vy789Gcu4kaWgyNMOxTJAVm5Oz32sYT1pRZseoM7fQ4Rv9FzkhbRtOK9p5JEi3v00gD6WF9iDEmNzvsqsuYrvXtoSCYHLNs9BdsKUHe0PpcGrYPr2aDydCv8Do4ShdqOK186//KSwT+0sSq3T4VZcQ3svIaWD1I29UXlX+71PcZggxLHRiB7qcMJt/r8B/NOstt1mOkmVV1GmTfuiwUKwH+M/5QqRi8+o7WNgz0nkxMxQnYrhoNvHSyb4hg/dwKxr6h42WLkzPLQU0NE0y91j/WbfrKyQ8gcIztA0ST4KM1tQe+SuhTf8h/yYq5CAC6DWhRCkVBYVsOh7UU+jxqRbtu97puDVbywwT/oPxirSPyGQyuj0aeuOLzA89QgpFWxorUJQphFYmXUIlLzbX7sN3jasBh68Tw4mwLU8HzzX6ke4J0wgbOBUXXhsS/LcpQp8EeBuIc+RKZeEVFv9dJPZBTpvct5B7OebknaWJJ5RMPawvxtMfOXQROzMlzURyjlfZSYY0acmCQnlVXAcpSYAHfdqrY0wpuJtOQJbqLhwtNmYwgccR4Bocu2qqV7XC7BoPxjxGg/in+QblTyIkMvDq86yOoF+qZP82uoKaK/OBhRiCG2hLbMRt3YZhJMhrDXQg5BBsPwdNoGkmoVifj1RY/yEUXzD8RN7QtvfDdsAYv8Lcs3YcLG29I3yD59vWV5iLVH83uCExxOf5fnYSLadrbz72xiq0w/wCFS+pp+Im+MMUMAmyUAKC02dsXSa1YEQi6CQZJMYTMx3h/VEU83vZ/CofF7J4UMS3PsAsN/IuASwOXPhMzUUidr1L1nfXlS3WarM6y1rgnkVtynqyqoM1vT++aS35+BazgSoYY7o2F04SYTM3RzSKjTMFZjp9CnwBDUCjIYNvPTw/83CR0B2yilyLKxIFSclgcETGTlAfQwcLcTYU+C/YbEsHr5uu3Z358hI6yyv/wsear+2m4MP30dRh+Ju3GPT4F3FRjmnQfwqfSk5wRIn1e9roNy7RWBZLstdLgTjwxKtAsf7/BV7EtYdpY+vj8DrzwnAMhI/F5v++guCylDrpE9wX2SrZDd5GZ1Im0Lo6i+F8ksbMcnR640ub/A4wGLZ3o629rza8Cn+9DfE9yMbENX7gdhtQfde46bJTSRDta2bPrUBFXGCIGQ+QQGPrqeGi06lnYDYMONRGx8cHjZhmwgrsxLdkiTPJugWGr4ywh9DcOk2OmxLRZGnMqAmrl+FnSNIg3lF/KsNETe8O+jzlWkBwPSRexiO/3JBqO0sqhXRsm2oWRk7YUYuMdUannOGtoKa3XzJYRSdZ0dDdzHmDn6y+vdNJcXh5nTkWKZYmMQI1CJ+xGUcM6wl2aTbiFyDTMU2+jwG64SkvDAbJyUHFTSo0ZOIzezNRtdz1b7dU5e6eTg+KBUiphMK3B3CPIMCvba2jx+vEy+shBb2mL/ahlo1buWAw5Bwf1WXDBl1v7gtK4PQg6DHG3Xtfda6sJHn2Po91A0h5j/xuKA6T7hgUCRD8UIGemy2sODVvw0Il50WDtYPEfuN4nNuwJpaFgRAHr3PSyE9kpX+Qo3g6X0kYLpONTce6XdwmlWB6YrnZbwu+Y95nADd590AHpzTsp02BBWTG5yx8qby+WWD63xQ6O9IOAcBMfQ0corOqzVPCiVXdUvAenpxQddV2Mtj9N5XftUeT8yF1qq25Jxq03EnVUFbxr/q1ZLrPTteHrEAEFIxCpKu78k+MNlji+rSpN4nR1pQeQ4jPWewFf58Cd3D7vj9uvsCYupMOS6Dc6hZ5JdRAOl+gwvuTfIUcejoEynx2ib83wyCvQSrwVw4lciuuZ/QmUUOyh5b4mSVHT2p4qMBI8K68yk7vOjjW/pFzF/3mTFEFHGJyEogvGeWjtu0F6ZZPX7djj8pPIggI5+8seXPHfIhji35LBhaPwtRphfBM15qYmXSM5ZMDOKCKfMIigwN4+qDXlqTmd+06sP9wFAW8adf4D06FKFwR35vKRU/EgzLS6h+Vymy4F2tvXzOZNEF4OMzBRFxW1br8eTdR23su+1XNqPMTTQU+QBrbJzKWJXzVNaxmqRBRxN5lURXPQgV0n2FC03Pk0iJ258oahfXSyvtb6ROssTwT4iywTJ/EfUBnVt0C4VaMmj1wn/Tk8Hr5ZBlKjgG5SebXlwttdJik2tB/xF+OMdWM+8OYmr/xISkW/jXkGfhUu5c/FJ6ZXtx/KrixRRMvxr99B8RFlwO0ebR8Lxh2oa73gnvR6MJEYJYPpMnqywJUxxTpVXYoQTk9k9svtBnPTjbFZ7QaXFA4oxE8WKzqWOZsfJl8UIx4aLeLSF6u6O7MbCK+Xg1DqFkOiUbtN3oJgRicvrPg1Io0JEI65uT4j9TUOHaDzuKwTbFDxyhpNGd3M73J/gasumHXJgHikBp0CwsDGkp/FkD1O+mhZumhTHQ/Vl11xR5x/RUYa0/NOtqkDS21jROYdUOF2Z8kzJwtvSOqcHHpsStxdDu2R69xruMK/2U5SLvoPDYds+zyRsWcuZkksAENvJvioWTYJ6OFCG2GeS8eG9YIo/3D5GNdOEaN/AoR3pRcluounekf0WweszbiLYZA6UASCNTYlAMJ3I/3vxpebItu7CGLj7t2O8s+Xlk9O9czN9VQFMWaOFSPN2CVUDOIm+0XxAqIpmD4flJx/UE8qWkwGGtr87Ozuq6ZQEJtvjIZ4Cn84fgWIff8FIex3kvnRIFOpZa2S1IGwyk6JN/b8ZZfbGhqu82iMHUQjDkGJdUjW77OjWKDFtCMnztgf249bSQUStp6yYDqyvU3pPWdF+AcoE0E1NwjjEhEFmKAugAwg/zkT7T4l6YhoRMARcl8V6w2RdmoRaLgWtWowuuU3sr+sGYre5UW9ClQ7IH9SnjqR2Ng+l4pPbx1Ic1DTrPX9Cd1dH2dVEFEOKh3/v7/fLkBacOxuXaQ1v8mrvmvgXDEFOENlAchBmLPZoNgOfRWJhZs+3GYZJ0EgRsbdC7pWIXe6EUBJyz36lFu62+57kGvFByrDKDj4Z/SWwcO16QLaFvD78eJA0B0aSDnOlpM0ssNRvUbUEV6H0aLgAaVAJeVUDbLHl43tWWNNvY2i5SNWYEMXtnWjC4TqE27hysOJGYivYHxegHLiIAQlKzIQ+yWvmGdd9Z2/DDaeiKkiW1hklSnrywOrK3oAtHt1RHxPsXaR9nl1K4k0JHx/RGRuTfhb/FeQtNjiIc2RyKVoeI/8MOTN02FOZq6aAZ5/kOu7gw9DxwqljjJHOQAeoIBt2y3mFkRYQdRw7ygXTZIWIhN4VjMtOCNG5eY5VNTyZj125QtINeTvn5w+waxV/PW8EF3zofDOlwR+uUbyy+5O2Xri+Lwp2FJnFvV5///x/8aHj+Shwoy/4BYVnIH3r96c4pL7CVcDScSpkP7iU83KwcumesF26AtKjTI6GojE54Fbq6GpGj6u4woNqIPSE0bBr9YPcARC5ryfa4xFHHCRaJ0INDtUvtqD+LV1qs4EN/6TsCBAkv3zIjPS/fOJIvicwlVQN8JRHxzdZrSDwoq0lqCrb83ibQlSJ3t4Eu6Y1v8aQgkGFL8bP/3N6oKPhOha9kTRx5wt7xBUUzkAqLRA/MxovXks8PqoTxl8J9JLmVHlq1Ba6aZxXWdDIP1Xx0+OQVt1y0JYwhsihIIbYSSNm5sMJdhzXgXvwUt1lcMVMfDnAIlPIlyCDjMU4vPUhgcW8NbJ3I4A603lCZmv/1CIwynRXzbmEA3uBkS2SOxSmcVmS+9ypT2/Gly/KMwM286a/ZYDM8NFoh+HJNtlskrEz2BVf8BAlBXpyGB3biu+T5bSBM6yhnGHrwnrPOrgA0jbSjBRyhG2jQRwZmUElfV89x3oGmlqkwZ83baXLlUVQ2FFQgjChXy/VfRv/pPSySTNYRtm7UngKJzw3yKaJED3piDpolZR3ei6Sf5bl5SlDPswkw8P3en5Mdd5tXWKRPSVl9OLS3q6yegP45zeqJzKanEQUc/47xcBd/fcscGxryIlGzqxe8RTUwb8GVAprTzz//2nfdlt5yLt7rEK0Ia7hHf8PbYYItrbMd/ZmVhKtMvhgkhtU7sAniyuAyw0GsBhAVrW9NQUcYelHIQG8WI4PsAC2o/6dCWv5QLIA1rkrW7elEnv81x90uEsue5r37aRQMob8+mcjNj8r48CWbUZe+uQcI2I4r2qxM+eZkBOdLITlbgWC4OvXbWy6FTAksC2zssXpT8ooj9OvhGRWMs15P2V9POSW4RI3ZIr0UyohVTAMOM9paLVqHkxFrRhcOpatnGECh0KYcpJfShhNRqZlELbHg8IQ1ca4fy1Og4ZPWOefgABVZtdTa8CX7i4ew5d3WSaRZt6qnWNj+EuBAqyNwRvEHVp+1pGtdEDylZjBY1e3E8K2GPrTnR98LRbT09JD4xJ2s/jrVoi53hRpdveuDby0OcPo4PXsirDalBF9YwOX4k1Z/CKFbZ+8toa7TbqOLr9/GmwhH9dDcftVoO41U71YYj4mOiUfRNhpZivSP8PMSILSjHhTVWJtsHHMu46+fEOkiqnaclP0H/4RTXikw/xmAVDjimb610nn/1X7tmtzwgjqYF/b5lMaIEi+lIxWhRoal8rtw0JSvPtBdBAeYPNrs+a4svdQc4GmFXgM+uoRRhMhuihepemWoLDu5KgE2nuTy3qu7uV2oXANTtOg2/Or7n7jwlmXZfKsmTYPGtEIgo358tzFqJuXBB0S4uRld0kRbGmWUszaM5V/idsysIKVX/PkhhtJBwff1z7RxhkgEEL+Lq55J9/caJPaFODrVKO4mrdjKgI7ITFRfEt9f7F8dfmUAlJttaijVbRrfUKgvEV6jZU5SahHltN/hrJNMv5lcGp01fTUEpf1yv0evPJJP7dj/lexK4y4AuVBCsX4V+qDrHHhezFIC6pDDAgs4U2qlTbgBgdbqi+O7m+mhD17Dx6Di159qz7Uu1kP9rAvKW4PltEdZezJzKwREn2bAXF5s4wPhifquLF/4UkiyBQmMIOOPt1RhCNuqikoE8LPBmpKkzuJFW0zvZB9WOzaxa2ax9bh4TzIpvMBHsuJGxy0304HRR5CXpbnh39Y+P/LnnQA55mTcyY2aOo0iUqClfBqAa6eCMD/DwLqPjIgJeY/t4Oc2nlN4XEKXlRkyZX4gnABfWDMwyW41mSJ9/3udDL52R51JjQ8615vPzBNZwI5K/L6BiwwunjLcNqsjWQ6om66WbQPy+VASg6jnG7qZJX0+2tteA/Td0Ks5wlPJ/mPoGw8x0SG8pEB8EQGpRE0pH+tIIR4j8dNcBufG4v1qybUhvBDI/IYpvfbal+mudr2v7oIiChDFpjzDU+40hSZkPWtryvzYi3UO9XOxbKf0DaFTJ3HsjBi7jdLjrxkaWDhFqyZFd9d3s8e0gF1o4um7TcENZH3ORcnIfj8GtD+yIG0urSCRlDAvrdYsQgSWmDoRmVVmTbkn4tD8u4mQ1mlCj8lVjUnVJ8wKn3tWzxP/WBPbT/GCbywDHINJfSe7yWCu8FStyW55qAJn8g/ZHDiPOc9dT0gi90+JYqS+/gPQ9/IqX0O71ufJTHfPz+S3ukI576b9xly4equrCCa+99XZZRgBDSe9E6t2JQk9J+o8FwiG1sbhXyhOdDmvJffbgiRYwoNNFPmCn+sxlp37uDu/Hzssd8+tsgb5Qh9c2bergz1I7D4z0wKLvDRPqPNknTM1yzqxplnNa3DnJpIZ1Wxeh02PJ1q14JjZIDMAboDXCjzAjloCnsqBwUtBd6pwCLMVRed0lxMW/hxa27rCM9U0BJ/cvnQCCuky88k2zfz3XTkq1W5tvLaOS7izvsoaSDvB1Ium3ZxcvSrdtWHgdhE6deCitO/bBFQ4/46rsu65OmeAzjVsj7TN+ZUSv79oJ36S1AunFqF7mctG4mLe8fOi4i4XLLB21nRnyPCPpqxeI3IJuvEOc++FkOeURdPJZIjmuG896peux2fFHk+JtqL175+9scJ9dobby0zOZaABjUUgpo7KIJnQJwLmZKLyU8wFdlX3+LHUNA+0n5O2GZmGH3Wp9WlH+XtlJEQY6v/9/U8rZAXEfTsSB5H/gjFCBxV3p1y5Xlsi4ebPkOE22q4a3997cXfu24V89EhVRqRIfmXEBtDadZR3+0cOBWo3/bT9RYZ6DoabMvUZXzD4rDv70Ofj/uzWqAKdUukGjKCioRxAopwBrLrUuAAThp5uwoWwmv2nk4FpXUW8yNvFvKeEydtdzIn7MzC4akoFcGupEjY+PSxWtCt4d0dWXpYU3+zKqIA2cEw7Gmm0WYlsiEfjTcJ3h4UNzkTMVh2Ny1Whxq5li+EwJzfG7fBAF+LXp7sY2dG2iIPNOkCzw12pO1tvfWWbOWPp6OrQrEmh45NNhZpifSESwBkvgrZ+iYiMLLT06+WYhett5aDiyEGxNETCvsWEtBSv9V6is+tCP/XBdmd/h6eJ18rRp2Iz3509bgRujz2NzxL+/Q+s6Q4T8AZPj06A/DVbTiHVxV/Oj/HMZ21wWhEhbNe6B8wnzbbofxznUulo4nB3SJI+FhaG0BO2/ZF/FfHHZPBabPZF057BW6UrVJ+OEKWq8CYXTtfxudzaFY+dwpo/zJvWD1W6UtxGXUAjIGgg7wfwAYWBk9VL5FUHiAclM0Lf88o7UIfVrJFggIQ2BfzrqBW07qmRR1yRzr6TLAiJov9js2UEtZ8iciwpZsEIWjB+Y6rOBBVYTtVTm73vCUK+cpB3OT7xIlgOK/D/+ouIf6ZCuCPvdBsoMyNPQU4DLRiEn3P5+IT3QspbTfBjZ2YRyyOsb9rc9rpgiDdxpyeTQOVplWv7KVZl8xr/I2aVhw+eNAxNBrrc1g96VxfVirrkT8w3KfXhoqPNFxor88ZIjRaBJ+hc8ydXI7Lwe3ZLLozyielXpUzZSjiWizXBdceMIcObmw/ysQJCeYLfKZU/vgaWQuN7xL1xjHhp2VBtRGgN8plaIS7Sxh7IqAPbktoboAbxr2sNiifDgVwmuqXm1dNXzRWJcTTC8WM/3OHnbeXvi+7lyzhw1CWi5MJTfdf9/mPpXQi0yQsGsh5qL7yCsVse/d+yJvJw/WQI5yvWQrgKl5cZgd468OnlAiQ9rxulmKrHusCTOUv1hoTVZkloGW1T9zV1riL/seRAl0Hm9l23OXOFMjJWzlAqK/cXSL4+iAPQlZwtblBxWxIhi7wmWb1BFqGpbue+iJaq4jEbJvWUA8a6C7FISB+sM95BWBrvQyAN1QS/yR/eRIAIN8WvvkewTJWMuQQMqiNi4+IhNV04u4p1KePUqI258X4i5JRLOSEhbUJHVBeOZ541AhPtCjZPIqNyPUyAABt6fKt1C3q0DlLN8AiS1zAmxMpXYh1iUl/GErhRPGJjEo497w00c+P+NnpxprZXKDC8muji1LxmzB4WwL0tLdTXofRz52KArCNiCT2khcpbVqZD11EjTkubGcZqCejlr4EI8FbOlymXgEixfbZkBbN6G3YpjtLOvRvvsbh92/T3SpHGoRIjbHJgaWVU2GT5b++kYGpm3apWAAM9Ul24GjpjEnzvX1W3aRpg6HLcgXzJlr8SrXbjpSiX3HiRxAfK5+trw17C0EzdMJmquFEp9OXyQ+XcKvsgLl3y+84mjI1TK2L1JIfjrdKRXlTCKUY73U4zGuoIuwNxeLgjnHFoQhBu5T8e3FVMXe97udZwoCESRX/I3HEDKSlXTMHwzOgDBQ75bkef2ZXh2dHdVclx/B2FNBFvsK1ddxrc4YlDr/8W40ZNXtqbvG9IwPSuQPc515PV7XpewOa3ykASgWq6RwLcgFgjVVdAUoGF+14Ij4lJJHDS5UUJkN0Iof34yczAEvC/1BRRIhbKxDzyrVG9rMu6f3USSo3jROBWH45RVLB7NYeDfdGtPNR07g/+tLZNke3mwHVzQagW5fjjJ1RJv+5L+2U3UVHL4usqXcLlFwDGJD+YNd31V/OUgXyPjIjXLUTRMRZGbJKnulgvZ9N3uAzvR0bRzlJnu4ZgsC7WcZIKsEgaP55MAV5YKTU/fK53CXy9kInwo2Ds0Kvsx4zRJVEIBAPcgRs+Bo2EHjVX/1erojrDjGWJ6NFCWuBuOSD6MXuagakF3iH0qsfKZppP++cC8VQH00HUowRGXeiK3/s1BxDKkhSKIt4FKJZifqJ8Rg8Z6ArdjHX1KE6H6ZhjjbuW8zh6bAkQFwEkQAHC97Yv+B7XD5OjSoIEOxJxQ3X0RUnuRaqDtaC/Zn7C8SZm92FPvcBCIhRMvk6C99aQvzzTpz1P7sCiDPbg3w/XdQp9LIorFQHEYVNI2dFucaJmTibV98u3Zso4USZfO3fp0BMx9HEBbAY00/4Nolu2qt1c+DnRLhnDyuwEC48UYgJ46dWWTsvjips1CG0GhMoDHE506FFVKzgwciy4+816w69ODqb3LprOf4STIuFsIl/bHioUdf3MX/aG6BuALNLQNJ7NA1u9EgVp5MWiCium7G5KIm8Tq1d5O/tHQuDSXyORqYEGv+ZicU6ZPieztSQA9Olw96sZqdgdf/ohdXcIdspkkO61M3gUQl0VqlopYjGxqO1zRGKn8Q/5gCmqz/Al/bQtxReAX6PLAd7N+XHvPWDv8jFuOcyVnbldJU/D72PKeNMkXKBLK9Hnu7DMTsCVu1bvFXZftsIUeczyH8oTeRCy28fKvhwxzws7Flcu19PtVknOXotw7sgjwhm28FZTEckQLIJ2dSuaojydGckCaqxtJDImOrR8xvR900mHDaMS5FZzkK6c+qpoHZb4rWGQYqPsEUibjkl4tYjsxFh+AU0KkPgEFnSMc4wyR2aco3gf/CutGS5eBL12xdB2gP3cLL9i/s94hpI6gTm8dIksDiW3Rv1yK0qQW+wo3pBVrAUtoObnbATKjKJaZpx0ReHAujoIBIaGhix7P9zevfXvNHO3wyQD0u3JWWeGK60cdkautzzyanRyFkfwSCVn4EBrTYw0d/GFfyuXjaxurQdE3Rh5r6TMO+qvSWsgYJ96dsooG+FrnKpfd3gn51OPDvxSFpdhAIE0v7dNHJ4tSeaX2UV4+Jfo1qkpIdJOqvDRsYA/7IDI8U2tl1L4iVdg97e97F5+tzeaNgRxQNlt6r2+pJCpjtKLKsgLk2hr+EKggX91+xY+HbkywXw8wheTJs20sgY4uyygmyiz+4ol5ixp9IQ/opkk8MExePeZ5rh4HNQUZBC0es8GRGkxws0WbgBntrNj98o3CCd55oE2IJZpyzxhUOGzOjvWwfctB5drCVZk/GZed4gCMyFShA0ub3I9mmWVUe9XZuqJtAegs/9oD7FRq9yHi0POwbyiNKHS2M0iKArEFas6F6YZF1J3IIg4SSuoWJuc9R9wVu+/K1guhaQUEe3yuK/Js7UOD2SaQ1DJpkGCbDrhaCGAXFrXSkSg0WbjyZIrL5vuqUcNJ0WufTfD8t48aTunWMJf+YQUUrVlqsMI+FSazxgm8dd3rnikGm2i9aWFOJfzVqgXdf3ahlOoni3CQQRDtcWoGKJbLZa3E2yNrXtFpPAg6xetBnvcXdHy12YyOsFXkSnwUmlB7Kme3nAQNvDAzQEJU9R6gYaIwv8NWhKhzmNvyN4XdowB19puw181T/xlp+BiDUNIwnmzZCtOd1LWiJEyvG2fheUgLM90ljZVr2Ew01WTJynx3objDRhsqc3+6LUZZHaqmFP3ZbWSH3pxouTsGwgBLP44aLujCGNvT/zAZdsvw1WQoOg5fCh6+mfeZH8uoimX5vdrcXU3lLdQEQeKmFiMKRavkf9yMfJKYD3e9/FjzX9+vfziQb+N2saCK4LiFGjt1kXWErqRgUizwVMpyYzDB/wJ23uD3kwk4deKLE5WdhnJYlbWDOrhrUSzCRK4x8VdZSAC9zwvO+XydoOf6phaNn/HXeHvWv0MhNVh+0P4fBJMUCm5Rj+FKrzAGNeMhxM3EacG4Pv6QN0dHj1+VyjqsxpGjf45kPPt2jtWdoectktPFPBxceswpiE2iUJBwOA+SzxiBL2vd6yr2Ub7iE+9DdirDmxzk8XJ1xmmWSfXWmDBBSHCIyskz8ZY3EvX2BY3f9Bno1pghFeuPQPSpoZRuKKaZY/wCBYnDfLGItq+NNhSiZU+nZMtjt8oGRtCDmySS0PsW3+Uf42LiPDwbfLiKsDxqxnJWysxcKo3AC5GzVqGsHGou/nXMdjBetAMvHgY3mwmwXLjRg1CSi8SR8tXMdbuz+bDSp/nSF4aaXbps8lrv7c4k8PoSP7UcSHv0A+l27IhYIQQ5EX/htuUWm1W1q7H/aRB/WW2QE59INsFbXvF9ZLKa2WyX/X+c5iHaoUx8dCgFnzt9ON/qgUsrwVODXG3D+GU3nkkftTa9PhAccBz1zIfG29hlors6zf/zIxHThDmWUAHsY2V/iFnDwVSxZExcyUd5xnYVoBbplZRB1drUgTrIuUCZ8xh7991CbLIauyejUsbN91OSvJqnjNJ07X8LanOCTkiVvsIcev86JqV9VEwxm6617SoxEt/vLlQxMgmwAP8f8Jf+PnR3ffKPFi/Z5u9fM/RYzBElmQqdLGJv9+BcM6a0FUjeKJyrR32rJ735ER4usaPeLX0nAF8u0/tTECuHre3Bj7eFJxQMnS1cuxP1ix04WzgnIlxiZaVWCFhUp5lOODHxU4MUD5hm4qEPscM99Nd4UiPxP+EvlebgNBh+KR+ewDd7In+r+56kGDmSwKE/o2RtvIiqQu5Dt+kbmRHiTliHONd5k5Pq+pqploosjRqBFeTtC5El9+nfXUA53JyY6++sjNq4cqt82iT2l7tOeiDSDeTG4nqUE5o4S2IrySlDVMa+ducCVBF5kT1X+cBs9I/NMx01+GmEhQArouSNOqBK1REMmRi3FhPvo/u9S+/NuYUWQc7V/1qDti3cPdEXnXkqBKFg5VzixyYTui0s6IaVnPCGbn35UvS74F2xFIFrNUB9YIwHyQh3BWpFpNfsKD6VWgr9mg5ZTcr+kuchg8hjHCR6ySha5WtqSJsjUtkPHRYmQIeHxOuHu00gP1n7Tl1tuoGTWWfac84mX19ONWpzFU5/IFI024yhkbNChR3Lg9njF1KKTzPfm8ehd9vgf1ujdaSV+VH3YHc3PEMOqb4N3hGe2bShqbyFXiULpyxbHf39igLTYyxx1V8I/0LjpeLCB3w/SoD0856A6uBsYjrH7ta+/kBmSYLGqWeZc12EsQWfFrNUNm7N3YJRrTROa3H980IB6HOAOzmfxynnshUeaL/49i/US5DoMa26jOJ9o8L4nG69r9o+HjNcXUSd+8TdzYdcV0HiA6h9cPJ0gtf+jrA2DEysDebmd3V1OLymH3vOa+/k8kxgVv3u8VIzqjKkMwBa9VadVuZViN5Uz2zWnaEPyP4teMAlo/bMdXmZeOJuaR+qxj4uYQPSRsSuYaYPWdlTaeRkY/Gc7OuJH1Hpj/tndSsAe0MK0wRwPrrUB61B2SmvTsbar4VY3cJLnLkYte1ZWogP59z7+hp7EmJzkCzhiujbwzB1aEDh+/lK4Tf0wzZwngr/K3L3rVxizbEGJqvP7uZK96tEAdkCkw+0e/yFX8xpSPbhS9qfuVv3j0vHsvJtWiYEV7n5aYEGNS8gl9wCOpw1xQrNryYlbIxOA0KtMCTKUPTIAWX5FG46+84nhKKzxCXx7xtDWrATeXs4SjFwa4D8qDJb+pw8Fmn2UsBK795p1BC9kaNy2P+OyNAIB+pfubF1IdOm2/rdPQVIgAz92Rr14P+spCmoQiZRzUGPY6Y8D1JIcP2VWi2YePPz5eKpsbg7gd+iw6CKpDEJVd4Ngw162IoT5LgNRrxC/z9GJTyc6QaSam+z2USn8W9TDlV1pvBXVGc4vLMvB6mbijHsjHpvIHdSByQCuY999LKatin2YdsNCNITqFsUpTROUKcluMtFU1ubrFsZrE3XvLvRnNN4UKfTcAQNnzMOi/nqlSIy2/0xTpdqvMhF13cqh6hDKRPmbvPupdAcjHbR6jIHaE4zvdYRH/LDpLL6PioIwRlVfX+TFpjrCPVHg7KFS6yt8EL/3jY4EtnqE+mu5idvhq8m1bzGr9wrqNoUIjUkSSF6x02wZYbn1yYdIeMISwO2M3q3ha35UG0d19TYnVD1J0qbkHulevPk1suUJHhxmgdPhjwJe57h9xFaT5EkkXqA4EwyO3/hwhOaJ6R/N/ItUbiu7kY3BC6f69ENWBcsXYleU1kgqdfBCS9+M5HDL5Sy/CVxtvYPlnIr3Qg7v40KQ/Mx6oJNkdrq/bL1becEiwSZ7jMxEftJTkwnhO41/uOrjectLRYPgKNGJ0acplMxBPqf7H1C5WMAkK2On69Imdo/Ge4OShqpsIyrV4e74kqw7rh2WYbJ86FfYBocSi2StXdKwZZynGgBgfLaTEnEeYVgbCUa4F71FjMk7Dwza6EKZ89Tb8pXa5pk9bSAjOdc4zbcsxhvV9F7/cmtyWuJAKIMdLa3a/up/XFjJfdb8Rl3Pos71+nwwzuJgIe0/gM3MuiCv6PiM5xlmHfo++tkck/LS7iczOfwyyrS60Fj7qpDuq0txN4V8NgdwwMts+j892F+wTT9bnhjFcezG2KkqE93ntpcU5jY/oh2q3ibOZxpBjoT04PLe8W1l1VH5zXwcIWO6plqeaLf2/4HvSeO1VNNpjc1bpzL1MvXuCDuElQe0iPllTYuJsqzwj5zGpEFYr+StyGdXuYG+gXnzd/DgdLmTw96LKcHKGq55j2JfOLTixOnirNlTGIzyQFtjAYt8h1dxwd3D2d98nvHOOOeUvJiVsEtx9mQM/eU9r8Tjf3f+xNKteilREaMvbJH8gyyKsCJqSTKMDin7bRTEdO/nTCSOXWD5jAsjRhym1RXS9/dyE609kqVcVWVRkRMliM06e9xcEfLrrHGU/d38I949hPSVp9MisqHSYgeYKAFvlasnlvXm77OwSoQqlbOxA2DrdoHb4DiH15YnEJs39X6dqjpLN6y4bnEUjKqHNLc9RtazM2kwpBZubvIcMPLrw9p7W7lWGHKQzW05hy132agPLch7mmM5SoPbuiZrOZDSKuAW/+Bqi4ZcOET7ddd+4nUYNOieScns9Vj4a/ONjAKLWvlMDr56dsBOr9sq8iZpnpD6BjFxbxzP/igpixKwr3XE6F7UT/83HCMZkKMSLzdJdV2wFSlf2PEzgH0mDHq55vewHcQi6tdTUIw5RqrtTRWC741x1FhlZoHYI8so2YJOGuQDXejjJjx39CTt5lufpjSQUT0CXoiud4i6aqEyJJHW8aLg8dtvTmyCoVmISoZ2qLgVySpkjOtMT+psOwl4awMrm9GIn8zoD975qf0LpjATUslrL+5+/d5gS4IzqPLmJs7Rq9d6xuP1HeMlnI/e3pDuZDcECTLAI6GYZy+ysteqnmjxyC45FdVKdtDNwp9kzhPeg83CPlsK93umqfH5MZlI7jHXB+VHyw45FaRXEp8gSg+M7aVNN0gbKBz1YAliHZpbsheRgSMfeOtjPbo+GAsCc0zfwMx6lPWbq2bWmp61Ow3vkXXRzSPmxAfirnJbxLHokMso8CIT0fTFsbLrc3DoPem48Xlaxh5diHOZcI2aMkS54kgH/Ni/ww1NIbE+C4Ek1KnQTCm4lW2YXRfBZ/hBUH5g906P+Z8wZkas/PlYZHoy9U+rBla5O6jlrHGExLKWnokMSbyJKkhMLe/wxQNKm4Ou+qaCBrE7U1EgJyt4mXZtnh5XE0fELOQU6R/g476xIsUDcPTRYPBiz6+Z6leKv0p58PAZQnHd+J/5EIt8b9kcyDG2i17JPks2ebip7lEzjScLC7oNkBsUtKMEpR/E2iebZ+KSxM17JC6oKzqaPIaPXcRETPd+GIdWAQpenpZvNjiBoQd3U4/kzr/mZ+h0AcOoy4jhVtMUjo8Nd2hskYsHO5pZ6ras86ANzcnTwpjI/yhpDY36OyLMq74SVTP643CE1LTmrgqLweKIGQp1WhzWNVfj/IcEppsjZHjfqKQORcMlq9+QIOYFfWsBuDH3y2CcoMin67cDu7tDR6WjYsQQZkfEUG9IoC/xVc9w+8CeLdGsrr0b9kq4MtkFuBh0cnbV9BAlNe84mUJkJOgUjIdPYgIcWjDkD/aHfII4MFQZoEK8MNtRyx5/qp61lNaSrwQ1R3DGCvCysR+7F6brqP4b5pFxDe8ZxF6c9zEyob/sFRD2MAdTgqHbjp+x9SJWSZy15Psf9DBO6727P4znBrj2O4ghhLhg7Vp8mZxXVlyWWgQIcLIl4LTmmZ7VuMwIOOgxOjIY+PrQ8W02jKuYQmUaKCUq1WkGNb1C87eljAvs+cr1ZCRUoLoS4jAImQd4HX9e55V8ZCvTfibi40CHPVrgb7xqNgJZQbtgIdUtAOc7D5IpuH8fnizdxoLsNCUYIOh0hcOo9b1tbLhr5rCuEPH4jEeOhRGIXsyKVQfYNYAfE4lM5aRUw+b4o8TfX2jgjcJWR4dg0J7ittq4QxZSR2RyUso31U6HalK0yZicmPOeewCFuVA2oNb411MORF2g4JXlBKW2t/RIpRADKpmi2O7KLzgk2R+ROhj0XcRDXS9NPCX9ocA2DaT0fE8YeMlZOOO2rR2xi7iurwQo9M2DcNykf5+E8CBcsU3NAUzKMP7dBW8QLk7L27NFPztnhgAxsIAueNgrksP6rqnEXyuX4VKbLWah+4P0X3Ltf/TR+C46vfO0gbEKxVzRQbRoaSKwUXYs0lR7uenU64VsreUTYB5reryEYsVS6+BHdNcM1WlNhchL8nWXqZWQh3WK3XdycDEImnfjTIv51/GW+qbSPkxv70rLX7qIF5Fc5mrbM4ypGiE7vj2wr0GCI6uf7bA/xneuHgi/30TmSxFR4CCYeJ3LY9JLGZgmKNsRBBPJLcl7L+q4SZrbEIpfl5LadGoSrGVQnREpN5DXFk7BAtvHE831w1BTqaTZyID79L7lK73nBRTfpyPzSHUqw1UnXvrxOqYP7b5j9jP6mGLowR7UAL56/J+uKmkFY4RwRD+QrCpwaPFmiF4hZpejc1Xo38+l1El3V9JRxHWgCAdJp8VxzuhuEJ9nEMBrALT6QcbzK+fOxaBj8jtHGPu6bfnrQE2wDbjcu35ho7e4Clyb/R2NsnHFpdkDK5VHv1qPOLkUoFQmtUrtuW2CUJrnopWJZ8qB+XUMxO1V1ZkyokdiACTzwkuXEuLkS+jLVs/KdQCNyFf0jgD/AHdVa/Pz3d5tTQ+hZksZpiPbofRUfXQWl34oJwhyNoqCCcRdxyuKFOOFjwhQN2STHV9Q7E5iqGnTXkhBrM4IqY5qT5h8TGBe3D5RDWOPf13XFPJJByttPHhrVNwRKHeL9coHtAsm2Q9VQgGLQ2PPCmt+3QGbwv61ndk6xuNeJcFxHTJRngbDFqq3plBT63rakysqWlHK59AAXl1HZaADdwbIPfu80rBIBNLcFugOKLsBzNFhOAbGkxz0rmuHg732W507KYtOzHA0pnLZAl1uTBClEDDIk9TDQJ4aq6XQK14NbMF0Uy6CD6Q3RWSl1wDQfNyQUF3Vna50gekrNsJbRbBnB+CKSQB5aE3klqpHqT4e+9I89x96+MG9p4rs6VPr4p/f9dY/WWbnmdGC3dQQ4otKQc7PNGk7HjjLdqPYxdUY3eHmlc5eV7UGrraM6yvwAE3NlHqq5Mt95gCQk5Hje/IFPjQvcDK1XqKuZzt7jPaUBMXsm7GlI9w406QwRl8yT9FVVkNr/VM8e8lSGQjuOMG3ki3sqqaUGFm41RgxeYjhRebiz+popCQF4ovhwYK/0Uvjka/bys2FuZYe4OHwoVfZSZZ63zfz1tz3pOBN/DgRXJ7X8WT2iJ/z0S0fGAQee5gwWS5tbWU0B9dFhaD6QveLXIgz6MVJ4v4+E2ft5E3kLXzKEPmhHojpQzTCfcY40LptyNYwTRw/yKEYHM0BD4quT/BCKZjX0Ngeqim5xI1pS2jqAH3j6sif76tNpv32vYQjBWuBLK4BNC4W6M4HePCfR0ZPyIbMKBmsYDX8Pk368438iqIEkwzc4JNO16zmjlf9RSGQE8Pr8peYNgvt3nvyvxnXo1YnuUW/aQBJZzKytvJQ6lheoXyzYybopwhx75b8P/5JouwfoSAje2pQcYwsKFavcijZiispUt8Cpf4DBu4xhH9sMjctWp2Y1awCeIszUg+MgIqCR6e7RPYLz56k+QchtfMaEbsJqCKopHsxEN6gHbOG7SfL0zhpNjr1wH+kwcY442+ElEZz/ZHQbbsTgOcWsV1e4sD+x9kIV3p7gFdFIUgnc7irZtxqtQscELi+idof33hVvWsz0vwAcq+sKHT3DgrO6/8yGrbcC9Vb+EP0pu2iycWBFPqF2Nvn8t4UMoTRN7vL/asbhZ/rHoXJ/Jb1B683BuqZaC3niJZ00AkaHBzKGtuRdez6JCSxdzQxExc0Fx/VU8kfvSSrjmZguBB2AJjjgKzG9YOcAEFC3p2N4EyHwcEcpeDYbA48B4OTJ1Mdd84TSqVzQYJYM7BIaj7GSnlM7jxSQNdqgnvqzBwAPHqgV9qSCiBYRdfmXXm5l1/Wi4hTWY+eCJ9hsiNv0xn80qiz5i7GOktbn9A6xIvTC8UGNDxpHR3JyzmSUlqVVyUxAOevuZXF9CaU4Fd01tqfUcS4TssdLrQvBhYCyTOzgngUgVGW6c4yVYDMe/8ExrE68B6Fe7Zr9ihkpYgP+ODn+l7lHAzSG8+Tjs3a2xy5CEbAk1uOO+BKcb4/Sk7+08DibJx9C9bKRFepW/86MRglfDpkNNL8Q6xfmBm+mHc6eRL79QK1Os+nWsSWaovgpBuyOHZdWxdjpLSBVEzFg+NraZt3XEqNRuJw1Bb/Y8nJyr8EwuYxpwrezcpReLchIOtZR6Pqn7IkxYCiEe0tc9OYz5ebtbtIJi46fTT4XA4oxuK0A80hBDuIwkKda9rpAPSFIcGr/cnyXbwOiguHa1dfmiCMsW683UEmf+5t3mWEfsfi7ID3+u6fONUy5cSE1hGX3JRGxc84NDQanypWI59XOdSIiaXqDATHO9Zwr657sSU7Q2zG41CrapZgyQNo84yrQ5gaqfmqiHiFHpQdElY/6NP8Ekx1G55tDb+L8bp22cCymkPmugSNLFOo6lLPYtfGleox7uhpAtn8WzounTKifne7IqVLO7DlElg/eu/Yn0eCKS5ollsvZYkK94bA7v8JyUmqoLnXaPspPFvuY0N/JCjekUK3uh90l5HcgTI7TjOZEbheZo+THhmUoHEhy87Fda8jQJBXZSLqXqZNNoEgkfqdjVjN4Cos/baZcNfswzrlb2PylRCi2CtqoCPcSijqb+wN9uLKzJDE0x2v9IOwB15Pxv7cpK7G2wnrG9suN607RXJj1am7wPrT3VF89Ui3FsK09UGga7Bg0x4zmbKy8w0T95ZYAU6z5cbqOSRl+LDTYTWM6pDq5hIgjEoLQhJxdu1I2bJCfrpWJR5xjE06LtDfFlSACndfgYBBfBCKqIUxBzEWXgIcnfxV0RPk4Ap4hJKnVejcr8DXw+jr45wQcpkFzN8VRLOZjeOxXsyGahHeo9eAHaf6in6WqjlPse3z98OqdxWpokCN9zq+X4ibuzkDyJhjoYhkDXBa1NqHrSnyNVTUdZeTbEMCMCILDmqovk9lkwhIlOUGjzT5ry6UDrhbtkCsByc7KU6c4Ue5qXBeGpWhdqGfBIYJF++Xyj02trJ2BjW/XTro/fupjn4ls1uFRKNJhl5WT/IwCnopyUHl0iH0WM1tqzT+S1dfth6irfZKGV2Fqw/+8wshrqmlmPWNz/QfR08T4nqVUxQRny8I/FIex3AxfBnJPGq52kWsHEO7CT9Nz2K/bposmEW+JSNpiDe9hOdwtwiCcsrvhrWwfbc+SHtcBtwgiclSe1lPLO/Tif8psDAWLlh+IXBQH8ReJzOYcmFiVTJHJr1g8BTAaUNNoD7QhWzxeUbU1ewHh8uyqnwFHIXG5WHTcF9HEEx3gmhA9IHnL5IM23e+os9e//nZ9RS1ReOqFtwXblebENne5IZAwcQrnWObFlmOxRhn9tTL6+5uePTLgAAaBLBH8V/FW+4iP7Sv5H74xkL+3pekic5zcafddY7rOPperX3y+qDRy4E8tC8iSGm+QkyLZb5u5fYXQ+qfle7OV9JR3NCELe2PMzEkrYY5dFxQBA7mS1hmBVIDIw93UrvcG5sJAnF13oTFyOvE85nObCdqh60+OiGceNUo64xLO/S0lhYJJ1s76zxVN0iF1NTmPX19H//DT/3odoQ9fLaOLzD285AL7S5fTkcM0I1A1v+UH6XmGugYTDtdpvKTlScQP5SOVvigKPhhAQbor8VJPCamdmpRwuZGPTXBYT7cG23TZySafu15OBFA9PXb77fcC+1Wcuml0LbyWJbPRRetrM4pO5YIpoc5MCrGMNaIqkifK2i1U9K/JqzF5TEwLYThEcg3pVdaK5rOrK8Q93d6cuGzq9gg4WHRlhakkbQFEYzUfwCVNh7eSXPYQ/FN6MqXqPKbdzoHg30wisylsuZ7FJHFtgXzQn9TyXE1L+MqD9mmFmH7vcwd774KeX1JcHv2+AfYs037d5kzRVEJyRLyCBQ0FlPdSHo1HBMWDRvq/j4knNh8seOcC3eZA7rWs/NcrufLX4AHmAovRu/byHcsA1iaMG00IrHqcHubFSDTD8JX3fngJ/uIuj2mHWbaWAxYHfk5QeciIBFCQZ78ocn6ZgZDaMqAs9skgZtDkVKmE0vqGey8R/5nQd0CrmsCaxDuVgF2NCbhDgZX8ljQ09SUjh8vxQe7N68phNwd3tFElTgNyWd9ubfB0dNPBoOwzi43OcidDp/LEWr9ywkCT7U2dnWBzUi7k4WY7za0gfSq0S6vxNZHEN2zqnzk8+SvduwR6qohABKhhVPsftkioaMrZadDEsz9ZBiLr9q3TJ1hvxtEtPWvynyxO51mpbbu6HEP+LzER05kxuRDa1WqxKoqBzI0FaUOnhS6EpmhzZSoGBxdMoQUGx5UffwNFbe23QpDwbQrkKq1DQo75HQ7Y6/TKjJqR1aRnOrYRetfvH6w2UjFgXPW2Ahh6z2h13Ol6j7zT4ne2/Rogmwjshqg+ep52+iW5oUfaHnf7MjWe4bRPhnCnA9ZlJTYApuJWGvDjY12QRdagGiQlhr1poIxWxGWLBOGbFtPk73xwENxqb5NCp/q5j1u9zM3CID4nxX7KpHRLiB0UodGZT5AxxmizDMdQNtXjsB3AdiGsWsOjlAoiqjuhvtfba1HtAUcTGlRs8DySuhD8JDnEg1rYWU4bPGYjmQhcwZpj/jLl2JtASYup4ptdIgRTxEU9pzmvbdcHGFqr6S6gBsjevIeTTBFxCPNgSc5wMmWzL0z7hOI/I7YBMZ8GU4GuO46Q3qB4AlOt74jAqkXugTsJSloNBxgP0xIe77R2eNlOhqdInMK0HcIhcqv6Dle1Bi6GvpRUkBQVR7rutqA2ax45v4S4/iumYsuXdZfMufjBzNXF2JcDIOSvgH2OIh8wfVACUlRqFLsaVj4GByNG0RTjXJaWHFj6M7V9yZqEiromjZXZRJTqnXizvbNwxgra0W+eOxRVVX1qONKDJT5V3B51K/AeLiHLZsrdltqV4kRIETF6RIwVDyeXjKdXnA/hf4/DNaxxxYbx4cOOXhwhq1vW3K6KLe3rOIZnLX+ZBM2h2//KdemK/pUTfbgf/T6unyf+1NTAL7DgB0YBi553ioz2UnQBne2Bay5MjxEl13plHvmdjC8PH5CMJS/M8K2P9Yt/YgiwRxBjAkdpSDpYLOR3LS7+94922VcHb8zeDx8fPqGQQsxiCOMC8ACVQS0SNqKdGf1izBzfbXDIsZCybkZ3IXt0WWFFZYCwi/oisrhGV1fh6bfbZtwFWV8PO4OieN1vndopp1UKPKuUvsg81RanXb6nSDZWtbPa0U59gQ6qaao0mi7QXyv/eqC2QJHi1v1JWE5RFIlr4gMC+5mj94T6N5ePwDK6ItO4/lSSoiGRhUwbZXC8BeICR444Sirx/j26/97Go5BsrM3xKcLbhc73aYf+0lOjXkcKAp1XCPI5MhRGWqIJ2XQGohwNymie1pNz1dnkIE9NpyePKsqMvuP0gn/WzhG5UlvcfENkZ/0ZtSzrg4of46ReqRkpHiZDseqWrcI1v9YK6outH2MLBBkTZGzbQNUGfRwxXmDBfiF0yz1rJ1FLfh2ibvZAZd8wu55ZsBBK4gd7F2XyoZQDK+nOCUHXzqWk5bOklOBwNnuKZuo37QKI7qCH8Qlp2llMXbzXtqA/uH028Lo44zCODkr0f4LVyEIYskodERWu2wF2GlEKs/iilI2HsVCbrlEB7uADz2O6yaWfnMkLLM6/vE2rTKBt/idqjgEMd0YCWfWoMRnJrO1dKHAOMtWPUt6J7IwW8/T9R8B4lNh78JKl4qMWzZj8GTBQmfsrZbkBmdBgukB0P6mqGpCgLrHrz70nu8PJFhWhX+QUH22GJTQXDT1IIpgf01uWWXEg/i51B5QzAWGOPmUF9XDK3lRT4b7I1ijBicJcI92EkWCvdfB2/3FiOpEgRY7v8aj4lYNsdZqkwKfjVxz6GJFmM+epo/VWN1z8UMVzZOdzqXcrBmcKpU8CTDFgwCKNK0dtpRtpiS/KcM4zyvKJdOt+e5aUbgfuMqlEfi7syQG410a1j6bLaYJ/0aBdykRyXgqRq/d34uHm0WlxJDYTavCodX3yS7SxxYrz9zETFQUB+ywwOdpX0nGT3vvJwKPYEJ8K1asigZ1TLXps1LKDTh5iqlLbqgAyKdlDkY7v7ZHlDrmdc7RIQlHZrzLMtS2yBNshhfXoQHgtjL/mVe9+lTdfIfmS63B9qgt6YhGXQ9BROfQkhHACfmhXul/z2iB1zLRKpEjzaAzotCiVVSMYjFnuWZx7gLtlXER/gKQ+NyWdlLBBM3pLWIyEBgDuFkeXqLyiPM2Vfd3Q0OHEvr94OnrRfriulGMqu30aqbUn7XTK5GrwJaDhCiuXPHdtjoYir8eKPj4GSfx437dzz65sXz9XC4c86ntDFx/qKBYAutsKwzXccKpYqjH1MOxveRCNEHyiS2AtXwpMkcDAIKhZGwXTYrGcv96BOXiYMJZdtMRAD7aGAJEh+5+4u+ZWWc0OKRCuX0ZUGrYf5kgYiuILt6o+6enwTIHo4Ot7DPrnY9OgfMyR37L/f+zI+RpHG2eGV174VzdrXkViCjwIwV+4UPsiPP1qse21C/PPMDIU7tepweYZBgjSPSDCFCY2pBvIva7bTbYFiSiJ5jZNxGwTfPqIlX70xny5oiOxuLiiLv6BAlGedwIXnuibbse1jKhxBrcZhTIUU/dF1JooGn5KugpYzs2e0VzfkuyuYvXI6ltXUdnOAgvcHNVYec4EVfIzAqBnhQv15OZ57eJSpbIf0ex1cZKyZzcVscHG7K45Dg/s20lmfXxPgTe39yNEXHT2XUA7kz15W9Lry6auXETMpasDrT3Y0zAJf0tobXOQA7DIJ/H+u+qvkwdlj+jlMTdSqpELoWVrinIX+AkIT/9BONqX2EbtpBSa9FfpxosIhdhfIV1yv5hr3jXOiIZXm3+TdiTOPwyowwquc+Fa3kYHgvBNYUfidgi22qOvfIWxO4yFLnmgaX5wcZas7FOzl3q0s/LKsDmBO7rKEfszUrZlT1PaUttf9iR2alJCitW3klq1RGf+qGUop9SIebWJG0z1lWFhpxBwC9IwfYk5gAVCPfOVJfsjcHqeM4TMMOAcRxKlRw3so+qRj+jocYKV4WbD397zUeym/S4lJRGT0NuzErjL9F0hoNx5rSoH8DzoRy+mkj2L+3pSN+7z4TPp5q8oT5R+9UV/YLiIVumoXwwq3Z8iZb0NWCgJpVXtJ/Y+m8N7ZyKQNUvHHsDPj6AOOrGqQ8ebtoskrn5PW1DSkWQNb1N6jSQDNuuURZcxaPciTaRfigY64S+pbYMlYsjHhGGDGyDmhOH+x8YRswoJKQeyTnf5BvixtP4mFVKcF7q+9t21ceeCS7pxuaDfqNBHw9vahJnJQrfwf1VbU1AE1ztqr39gKauMxZWm2rsW0ajy+/yqqaksg7uTCkPs1oeiJo5L8XHdmPX60Lcc0eIlYLxXtM9n5G0DjchvqqWgZsEIg2jM677XwE+hz/QxtxVIPccum9ifn1pyWBaorpQgogqFqz11MssNdLeFHYb8C8JfrYEvZYapfUTIlZ5o1RKuFFE5WH+zxqNaVca8rBy+KGFtKrgLlC5kk6hi/q9VIhoELZ9gxeRJpzA/gawlwz98aVAYi7SmpY4Grdf1Au9ArXqd1qoGMrboLVIXEpaDI653k4K0J75gmc11HLdewpwGWr0XA+zkTpIvLWXEOYo3Q8mPVR3o6SelVxliOESOJgjI20usVjuuyCjCI0/dNraW4WozgOH/343uz8DhmBWA46E20HY/tELlCckeqUvRgcYxONk3OJp1QSrLosLhoOAmMY5plAcOYSBs/b2+iYpd/cp7vuwZpiQvGkjWrpsNUjHrf7Z7w1eZjX8sJ7QfmpyulCgyYW/czGVGy9OXfz6A7jOB2gF7t4Bj0gFTtR9wvzdKNOzChtCxL1q2ECxMjDhiDVjDDh7OanLf9sgj5atLR8pIoJj+mBmcUVX/BNe8ejD5+1ZrYxilxi169P8ku9/k3ArGgpmRiVbR8eQV/rarI9XdwZsiUK47ER/TgWIw7TOyfCjRH4bpzx2fFNKdFXazfeM0Kbm27fI7OtiD6bgq3q3jKoUTgKTDeb3wMEOnSJ4DMSjSRa7uwuFD8Wi6Z9W8GjvIZRLTnZkte/P4SbHiIJp/vhWGfCQetGHXPbzkKad0aDLJA+IU3qEcdst+vEXxDNBcS1nN5lNq/0cV/GXL4NW3m/UwBi0p1XWbV924j3rsEZ9D9JQTaUP6bNTXomLpzf0MqldXqdFNWsbKtlO6p8frl1XJbEBJy3bSG9bfVjJCe9TdJXtLDkXyQLjwfQDgSuBbSpKznqYytn0SXV+WNXB6dVLf59pnHUfOE6nSz2zXFZ3nzSmXq7W2hcCOA78gBdOjnSSOCbq6y2IWawjovyPmEap1G/Snb5EaURFTsr+nBSIexYBFl3lfxW9o2E5St/bvriyzQFic2h0rwOkBXpXS+Tl6poxAR7gyFHS8MEaHd+TOfm5JfJ0upBlcGxCVX3DhQl37MgKv/8J3OGbHdZLyese6Cbj8bq6Ewh29rGqFRUKtNqWEvt7XN/qKD/bp1Nn6TkcZzfpz6nbiUgq2zp2lY0ttcrYBNzguTt2hrM2ncjvHhRkdIrjl1FKPOw8IIckKehCjQj8gfdDdHSP2AKoOXhATJdb9HuLCPhWBNv1O7xjlyREVz38MRrq7tvf083+ZQzRwY9VLuQXJSQGrBLzvkmQjjbuEyi5KWBAwPaaa1BK5BS9u3osBtIYSkpurBwNNlTwCK3fWC1Ofp7KdUUU8MmeAymnCp6yHIUcnrbTwKG0LDyFIUjIGXq1juiflYngUh4dubJEOO6LfV8NXzHGVSRvvT7XLhrkUcC0nx56dkaJq0yQQXjCTKscach3q0YJn5a751C/EU10bpVVRR7eo2n7i3LLac+Kbh5Sz77yYu06ilMTyaL9IaLyzptUParrBgPxT0pEvNsJKaOLBYo15efCi8zAR1cgow2Vsk3YmKOcBZoROaTOi+qTkrYuhroeHIc8AmymSSaxr5k4IqzdvjIuUOiYcCfBaNnTKbbLa4jX7FSSYpPwxvtC30mNEYbB0KPNkrm5cTlrfg7l49226tlrlbqjgSdDfYvKHv/PQfuqaq1sNZNEiA1sgi6vYsQLCG/jbTyKt2Yny1fI1FJfr8hHKlgjbJizIbF+OBcQNETpZHOotIHU08ow5AbWGhoA4MmSyzc/+jHoKfW8Kh5AmCYCmA3WMsMzZBirC/zkG1NWqBszGqtv/1gmqN1zecfuPw1FIqre2sE7qxB3iQhsJRfrgNAF0KIcdawj1cfiV6xkgpXgcJ+thZd2T58/a2uc2CeBqwHB6prO9J91teuDKxtAUHlnBw/FphY7HSTIBfav7EAWrsP9MkI2rJ0R++lt8SzC1mtVInwOAERYzmk6N7i85VJE7Hj0wzQtPUSHmWoNmsdBIXhKCR87amnecS8NV9/dNflS5O2ZvCcdfW7TJh8dBMu4y6YHqzqcDayeTRoNnaeJ516rZCVKKF7dtntLWFKYX+WIFFszsZecu9EOJjmr7LlBXvsyFFlhB6JLMua9d9THbjEwGzfw/q6PbvvzX/JK5Cr1IK14pqxhSAFadcu10Jy5ZG3iQmXP9+cd5YuxiUAKsnHkN9EYDqajQR3lIf2dAWfJCSfGPs/WjdPxZXiCdGnmtjEHnRVGQwP8BPFvv5l+PNEvi7eQ+uOleUwqgoZ/SxLEUXUGlkmtgiVarQbwN+AA3O0iDVZleY//DvQNq7ufTHEYIDETatw6zHCiPxerOU8uY4Yz2O/HFhRdBLalRJU8nKClmYNNFCpzut2D0ZWcWfCMGPHXHAmXCi0gpf9BT1eUvysFESi52wef6rFZwdukmI0/Lbl7XmazHDpBTH2c9K4Uvn6ODShG1pMj7NdytTxNNS7z/skn+NXnHFUaWq4CMDvOuslr6VWNN5VnGcZzNo1k9fDrhCanmZ2VnGLlyiPuSPvckggGG88Rn4e24oF0oyn399m4XoOtu33KI/LQaRl2L4EklxQC1xe/hqqj/yvcyLukQyEsQIIE1nZwe3CBoj9VWMQDLipFjJwZPd7En5tuMsmYWHZliuwx6uDbtp7BkJZTVD7FJNkmrRFeSuBHgfi4UAFXN0LJ1OEc7S/HqPJFzHp3dUqMGnIyxTPLsrCtWRhY2MKGSjmBerCVW4dvX8YZJUCMfYGoUM7XHcKruNq50QQerpoQzQgHrqHJChkxYgcq0qHEaKAdRqG9o3cB1Pgm8t0flegTZEwHL+xnAon/RrMfxxvowOXEBgOcD6tSC6dxlhM48aJ8oMQlZ5vtbfW42mSjLmSAqNQaZ0svfMpTYs3VjKKjx5IEfS3B/e6dSxacenbXPyDWA7zlrvgdROlR4BPfWlqOWin402/jWaNZ7Jkz7lKXplgai/Be4jEurvVCKNLpxABKhe3/FMpY9We3X72pq7QMCB4L5Oa8zcIMiIP3Eht196/wDRa3OW8uBeszWWh88w7aghCmoejiYkwQXy7kMmDi1uAWwhNYbgFqoZn8PxlJHc1X1Q6KOeE5kUq9F+PZK2PKHIknAKjRUDlNB2NQuua4cKkZZ8lte9hM+4Ddmt+rikalLZI0sLopfIjGQ4+BkAPmpdK5QwgMBPNIID6YJDtrneLnBN1smuqswVcbmVPtiVl9Pt1tsX43NjdxBrbHbNqhkEqjY2fl494alcC3vhSjI3I+M4kRgf/YJvwayaQVmD62xyvZHev37ZCYbAGdG8urj6xAZ5pYyPTBUv4wQOMRFOJtJvQ71/1rCcxVRAUkwNmZhwWI4oL42KUBJSKYdElSPm52B9d6O1noP+kDxYz4D2bSW6/p8agHrSeVrTxSNRy+p1q1FL0ENaBv9DDOQ8nZNAusuHaw88UsH21fOcOtqiCXygWsrs2jU6myLm2cdz6EtS3LIdQdRL3gtQ6bBwUtzHah0C2nkKTVhmOte3Z/BK4hVi/UecQEtKGQm7T3aRxCxaysQoZP9ELbXAYqqt91hkLN+Lh7RJvD8FzdmItIP5DEpF6ymgTDLANBcMrSbq3+9vY1PciKHFVoszfdN+marOCJlDl3osldqe6+uFfENjgog2ZwuZjxFYoBhsHdCvS/McpmT9arIVdOJr3KN8z0VLb89qGOQ6okxXLhsBGekbR4ALu0TBl98CKn5AGONyjIhpDTqQit81Luu0/35WTGQoh3sBC7DqJOR1UAYEuNg4w+HCUYjcKRkinRuWOo/Lud+yG1fAaFLoW96jRsuqfdaM7+OYTX0Ihxz91jlvh7IArV5Hq2iecaAolqnDQmnoGyiEKWrxXd0ODcoA+FEvdv873ZYxBxdpj0EPQjmArYesCLUcOPSVcTvbVy0OmALzozUGb2OG0/SAwkypgpl5ELW17R0QagML3V2xMsMj1p+W/Y4Be8OBWYNqQ7I1Axv+/2TorTwQiZCSAwn1AO7oD9WevOme8ihvTrrB+WyGAazKunt6AEDwwxK8hrxhLVgWfz1nvRviiSbuphgU4W1U0CssSeFNSbW3jcB2IdOPH2SKb8SF/DtZH9759m85tPftKLSlkOQp/o+F8NGWsK7Mfoi9lq5LDpabbLL18FhdxBdKHE2PwfLwS0Vso/kBSCOP+jweD5Ry1bm+dzH3+u427170geCqGtwWv4S7nccH9+x7pzWWuGn5Em9oJtkoQdGJi8omBXcJOz/lOq3rXCjk6P5uyAqKSdMCL1Fq8IJdPRCHKR/2723Xw7DWDAFEK6aNelSqggCyvKGSrpRQeW1QzuKSv0a10X46TjyrtzJCVN8ELu28mP6vLylXuo8IqAAhJaSToD59AptgnubBRQ0hwhJqan6ofPZyr8wvqYq1WIKYSY+5Srv4qKVRlqRphY9ZG1hL0jg/9NnOjMjiuBBYHxAzg57wVxFhjNEfMtztE1y44nNOE77UytbIeqXabfy3MAMpSXrF0mmlNNoR3UbBzElUgrRtphCn9YlrgpITi1EuOvWmupB9nndRE8ufDR8o9Z3T147L8oUaTx+3kSAVloW3+qkqlPfe4ItPM9cI1Bml77NXZvR6c63oxQdTvjmEDpSjeLuVIGaZEVdEhAtQMLq8Mj+ePDuHwINTkndTonqW4AAn4R6So2uwOJoBCMKDG5DeYicwTv2HQccVQCi2GARTWJ91h6EGtr2NXAT9MLsFzimbaVBTwaauBRkTTpMGBLHOgfHi3z9kSb4w00jsryNGFiH7cRvwu6gNBdLwHsI2AXymINJHXplKsVfaRE/RQODPLIEacL3h34HnNR8p99eb+GlhzYg/A8ZPj2ovJyTlzPkxVMMarWeGZkE7qXvnnmNHf5emI7GO5w7kDR489hiEK7T4HCo8jt8W54ywTViFWyTDdessvT7DQB+yRmzTB6/Es1d7yeZnStj00RHwDN3ZXBP2yDyolJNbKzc1rs43Xo5627RV7PWS9ip698KpZsGmKkm1IjNM739nV85+cp5ktB2yun7TgrygK8wi6CvVQnY9KX7coVhI5mYBN4yARNyfJrd8gP9nKw4gx0LXtTVq6yxV02dcYX1N7h0zyzX0X1AA8MCU0jujCLKdKGDvVzdh0l+CwbRcxCgUNe8b2shgypwF2VE156iS44/NK0UvubGWv19NOe/eZotCXYuaTIwjoDHgcQzjT95QcK4OR0rCuWHSwaSjHQyf96mBvXfK3R5QGf0FEZcVCHT5uFVtjBsJjJp02nVYbeBqQ8CcVmmyxc+G2G7I8QyLIbiKZzrQ5pe/XWBsadVVM2vPMed5anFx+NfFTkGDEBwWrX6oIVqjT9UsJqO6CKEwr712cL36hy7zuH2NLhSK8FESMpGgVVs8+RrqXP5oP90k+ey7pYoQvfmkX5zMW6BKj7++kpOcvilRDyRd6iTjXP39QdlLFRxJBKl3qFuFCMBRUy604TFqkICBkVgEKx+5MCf2JNbRS/AEqLgm3iJ6MdGewNo5EvIcc0sJvSiNGpaVtT40Xojybmsi7BRnPdM1tI2vH4EPauwQlvpRSu5poMAX4xGC87imnXvQYcoSJDtMf47QMRqGkJaC/HPz23LcvZOVJXMDiJt8yhCPYqzRvOR1aPGYfN/XYy3zNFgRRsiv12jDPLnS+XyYLUWq3U1+G4iwY+HNAjAufambTV82LjBSBf8JfBftVgQz517LrefChujZFF2x/IG5sQmlWYYFa1HDB0jXce2UuKhd3SfzQwcp0Y5hFe/cuO6F1j2mCPkcUcID1+WfTE7hWCNIz5gG7P9/vxHcriLaYWnO/Gr71Gmp5pGzR1lt5TVxz7dRUoKzbzOqzH5oo7VNDxl4o7h+s4icPDz4aA6HamnvhPYeev0eC3ll7t+l8KSPHccxHB4Zefq7NyQEVzDyBN8lbCNBb8hwJVtmr8b1176bboA1xQniOhXaVKLw6FlUUfindyM4OGzBwe6haWlRGjhck58cvcMhRITloZyA5RNA8W3AX9OR1b8I83jLN09IFPWF4AqeU0aEg1O8+i7faiYVb1093R0nXGVpNOo0MXomqRtmQNs18JFprRFxqr/mJZF6NeKuyz6W0R8lxSaQSuRgOaKGALJymJhQMclsm1qqqO2LqvqkQKcP0Am9qVPItdmsUhI1Om+7QPJfAWdZ4bb/BEpAJ/7ipn8+GALZ0k1aIrfbR1+BwX2Yv9d1yIuLUgS1sqUKEsPS++yJDGVC1dKK5IEBfaM+BD7iAR9oa8th4ew+z1uOAC5JSddlThXkBDVF94usvewLVRA1qT3HSZKB3wrtHmnLOKr2XpjTP8SEgMfUQfvmVnzTr3QSnKF3dcO3hq90+HzJ9WGhQTyOiuVkWm/QxqC1iNXPmhp6wrpiRtV28EAFU0fO9uW3lWU6IGXnGzZA2vYNoS0s0mvAvwmAwscFkPO62wR579/mB5GxDdwzk+FzVpcfgfdAAtMGSAfG3u2WrJLj/zLnusB1J/CyKN6HbnnhV+EDyGb7kPK0avWNcz/NdvwJTTa0aphW+o3BYzQUi2KICU+kp6DaA7qMQX4fb2XLufQhKPZxvDj8CenddUMIJZ+1XLNxy8BN+2a2NbCUDkl6uFJOaLZJ4n4OIzG6a061+FHc1eBSqJWmBK9G9Ycnik/T978y8HFG9EzoDLKxAtY5Zro6ho4GFiTKsdEUi+zIQwDrLH5PA6ZiSFj7HrbHAYsQqIG963wEFUqTeGxLeix1tIjTXEhwAH1698wnDIsGSaUju+HTIMYetCVFhe6S4GNs9R/+/T5w08g0RRGV5DmRjwu7W4FVjpENHYBrVtSJ/QI7g5Y0yFXIUGwKzrHr+ktoFdbjDWFbuLcXSTATljyMmZDRpJebUwBSVP+2yBQkuEQbiIaQKtMhVl5PQ4dD7At7yRumcKWYp8aE8j3QBI/DKD/aloy9YZExkl75wKrJPk2QX3gX9mOmAhoCMD6L+od1zfcjuzy322OXQ6ys+gj99cO/ODlCZTQrkpYi9JE+GsVO/Hwafp3a//o6d02t5eWlVUBCQ2cyVEiS3u9eshbpAomTRbGAQoqzNd23NcRX8HHXh4+fqD2yt+/EMKsaoa69xg6qPsEvUOR7xPnpFOO4WNTyxxFvFcq6UssEkJ2y9CT1L7/T9vFpjUtrHtOZMjtuz00x97dfXrb38rhx8B954+Zoq2eMqoffWt3dWBBGNzgBAeeBzvxKmRJcHfy8XLbrNedstmSXOdkueefPG9ZVkt1eqBbX6qsJReBw/gj+yjlyyMd0L8oD+yzjAo77H3tGkypM1RfbKHJZdMfw+ad1I6EXJYdtImjU5xZl3STZn4frSigDHcFcLvMu9/TiBtTFULPhHnThTQHFGlWdZJ6rXfxQREEX13W+/URtiWrYf1XmDxQZFxOI/bQizbsLq6fmuapD65bumtzvnwl+JY+nGkpWM/Vu9MvPwtn/F2LXZ7YoreZN6ccpfXV4ubyN6SpdOpjD1NMR/TsERTnQGFGxHOmWbhKmh5Yg4ZSs5K2z9xIW9D8IQYHxzqb/aFI5yHkldtopv9iJSwDHnTLRzb1y4/u1Xu5+hdNyBM0dQO9cKLfDRPphXEJplynLXRSzItqw1l3phRUHxznNoQkeUwYpz1xTLsrSnz12kQt6F6bX/EI+4L/2AutJIj0bdLKTzomYDlisWkJA5aUabV8fBbvuDq/+hJJLUAd8K5PPcyOzDXmMJ5BOT4QmYOkcM2Prqxp6hp5UgvB6AP0BNjdRBDHFx1dmc/gyzlgBhup/YO/5eaG2d4Y+oLftmCVnbyICmpAzICeOCa8kPT6Du2qltcV5hXj/YmK0uWfRCu6wMJ/lGzWzVfFDgxOXz5CGvVuuc31e/wRb0cF4g1l+fiiBJ2suPvBHjQupRgTI357eqv+uZ7nwBz8hu1zVJ3lGy/8xSxzX8SlNXqfSxvbRIc8IMjobEwcc3CENtCwnpx9U1OGYolhzvelqINSO6+GTOnDzl+IefU/cgQM1zUvcDPtRP02Z0VvG4T0nQo7o7GN1OkhuSfKVFlJ49S+WwBRfiMG1amM53joUdBohd3ot3x+pL7Xf5P6h898jZXdG66JOj4gy5WLvkND1opC+9D4Mtu84VR+Dts1w/HojlNdosOFfVlxi27WxBAlmp4qRWdE8V/k4zZLvvwcbZLYnsKdJE6kkDO43t76HHcWRLO51RydWt7yIfv32vzcx12vaaLqpjV58siY6wLPOsaKe32AGidbnITf0CTgOlIoXslAHGe34a7y78WBo6za5aK1RpvIW4OgbTqEfM016YW25IheM/tP0wv7dKKzee1rcm+9UKvb/aOYJfp5U5C8BTyQ5JEuoHmwqf0lZZDniO8NSXBnrjngZBJy5lcCzkRulIumnLdSbCojmA0EFWxPSnthOryyjT0WAhJ9Rjt7RHw7epsKB8lGY2sYOFB7rEGFbqvcYPRn34OmeClW7hCfMOg82E00zmC7ome8iHFEotbQIiuWpvo+OymFYbwZjSvh6SZ+qKJttukgUaKTMALyx6aoQF4HoVRu+bT/YSAk0fjvy72Nb3G3N8D/wrWNdyes0BiT0e/xdzdeP2WnZLzbxvKn6bFkfKjzStrxAGJEboP7HxVoaTNevYnJ3ZUV2Lc+zmmOAYllpleVYwc6fx/Y7BsNrmgLIb9yVygGKNo/7lqh/fPH1Oi4H+S0WZ9Wj92ZKgj1+PHCq8Jh3NVS3xw7u7yMeU51OnDOu115L4+j7yWpc53w14FJCnRuX+OL1Q+FedudgiP++mCG74VZcymi27YAfVo6TdgjpBEjWmo/MfJKAOUXSOcObyQOn51wNQcLXl7TnchJjp5YIi2r0nF/dg39FrJXdz1Pal3MjZVGXpiCGLmWQaSeoZHwtKnli4T6C1ERL5SWEKz+aVGqod8Z9j+ZWN3bgFOY9+vRmqe5kk1GSV0DRTDc4dmdpXImLMd8/b18HkDGr+1NIvcxPENCeWBbgTqGjt1szfVgZ7dbbX8TcqFoNaiVNct9itF/E1Oc6NyDyh+sWBxJcBArDZB0pnjB+X1S6BgE02UtJqCf4xmEZTWAZmjxY4aSwcc/C09sCIcQnTtNoqVdkB6aleYBehCmFRh+w/i8bDZA3m1Vt9mHe5oSLxdoJdheZxdZ+dm2n3hXj3JXJULm8ZCRf7W6l5bryFM9MRC3b7cNflW3ADWh38N6PV5qAxIm8YqYjxUdMUS1Ut6EMZ4Gcx2JctxON8Egkp/mLt17+FqY8Gyhr2FLAuhyIVdeAwZ+itQn8juQ6S3Fx5OO2a4/xXhrVUjwQl36xhMb+EbH3t6AKO0tlqZDQJkrXQNhqDXoN3aP4iSyP9ZZaB4gG9zYXBVulU8gnzdcktt9On3VLAOLX+xa/h4VnM5ykk7U7w4selrzprEnjFLNMzTY4cAgt3pi60rN8sDw7CJ/UOivoxmVka6toMpQs1f1zWQOjUjE2iL4kluVkm/KeD8iA00ju4v7LoXTOejSTEn3giZ8iDtpgiTb+As+C7yXhAdBAHBJcILJAp0H63XQY7aEJ21HP4H2FYnLJ1CJ5qhC1PRcubvRKYgiqLGFTFyPo8YNAEJIq+AUvqmhEhDnug5g1QZoI3VDP6nl5JgtzUWcPuelfMWXoUycbo2CmTdG29g76x4dATuQIfwETYx9QmDDqqSC+ggRAxCMN7tGACgjWOFBhAxLOFA3QcMrCwuLaxBWZ4yerSuaXsHVTiCqHkoHoV7jdoceTk99plBxafwO9TUG2gUuoe3ecgkHMSvV9a8roJrmEZaZRCcJJQqhOgGGIp9yXOuYOJiwRyl4UxOm/zGpr/K6rD3Ru6OW4GnnpH7SXyA7/9/Y337gUhnrbb10r8Fjju3tHsBeJTQkcvWBS4/xnlYXXk2ZL/CzCfSdEo+vFvqy4BfWojSnhGUi6bGdiZq68Z8qVLEckXr3Ti04Yu6FhRHzMwVODWZBN4ImokEbXwe3pZkPSc3k+Yi1KjRfBtOfnGmN68iJmx+qTdPwhMoi8E1WXuWeX/WpdyEftqFYdPPbBN3bSxRSe+wnIyNC27CXro/6GjDRXh9F7NOYF6Whq+oinYIaoxDfykUemTWiZd9mMeVE81pawFEoqGHOzGFS10riCAMp3cMGmnD3LGJ/rOu0sdB59hel0/H6gXqWyKnHEl4ko/8ExxI4822MqkPJf62R+57As7IfDlEybYUA7kFs6VlaxBhsuUUaBK/MeLQehsNWrSwYWwwTe8caOPHkcNjY1a+Ma8EpXIUFYVxtnIU64uoA1zSceJeLjPp2Wyctqh/kvIRRv8RLsn7QqDDjsj8MfzCBdqBNBzgwCZ08L9ootUbsM87BkQ1vz66vs5ViACfQP9s5AsSS0CjNlw8E8kZDSIGx+maAMNF8PirRVhyTp5UriboiixrGqruHao+/1hhcg6KpFPe7iwPj28PHbJVz6zGyooxvbiooH9glDcQiqPTBh4gsE+PhKad1YQYNuRYdvzcPEQf4oW+K1ZyEcoBbs7U95V7cY2bnJrgqF+66ARN59s9bo/5AWlT6Vqa/xeukFvtDNqtr6zzSRydMHoVzYRaUTWP2+T0G9H2KPYdKPV/hui5TXKBJAIHvyz9Cn460rgqocTLw0jJRKjG+K+N5S0x/7IMTXto44M4fbHfy0IK5lP5eH7tvl2TLEHMZjhAoE28DCFHNcBQ43CcxcODLu5IrXpsoLiTSbQpRX8lmCkrUeT8Yf5iErE0dJKcA+awoPZt1ihywqRInleNMfyAZYWGi6ZOTW8gc/YfHiZ8TO1g5TPv/7bnMeAV5uTcsgM9I+tTu5WytvDSqBHr9HOoQ2GRqKmy4oLApKciSHZZm2/AWom8rTIU4DTlvaOctgf7ToTM5hSDK+AejsFBwxyENlpDNvIEgLiohQbBMwO2nP+fiK6+ir11WZziRg/mvQDaw1pZ7OQr9Q1nqL84k1HEdm21Ag+QL4WkZZM9tJY6T0YV0LA0Cvl8pDbvoLuSARFO7vx8/ksmgnBnOClvD5RJtA7IQod+NznrBmSkAJls4ySPfismx+z3c0WwdQxqYfcj8GFF207Tljyszyu1rXBH6VtKdqBmzA7H7mbY1p6Mzm1l19zfblyZwciUnekyxLtEeC8b91tcMuZJEXCGQP8Nc7a3bKd+iMJeFTnH+7bnn5/maqjymFG2OLkvl2jjVifBzfI9osfoX+q1zYmfQb3h5++CIXgD2h7DsYJuk59JR4bBO/uUf1rp/vDl79CUpUA9VKsU1pZY/qcyl7TRN1vx2RLH56zb1pfpMJ5L0567vCGQLopI7tL7qUxuFIV7pG/PFb/wMmGXuqZBiO/eD+tONf9e9m8sZxPjkLFKRbmlv+ijlLAe9RzDy8l+0O/DUo8qJWhY4mQTe3procdTAtDgBOPJlY/toQzAGc31L1iA1bkOA1w1eCMXk3hsDK7SPZwxk/fuHW6VW8acmUas8Mi4kGk7eDxGAW4yf+AH4qkwywSwUa4ufqHDgkHtbAbcLIpde6YJdoluNBX1+Soe9zOurKXZRpJNci+P+TJ5HKtYBK2RlqfTZXMpmztOB1xam0O9vqDGnpy1brTqBsamu4p+/BzSVxZjAkgEN6wg5fUDyiAvUTznaWTbYs5vIk7iZmcMMVZ+qOnLpOejk+YMR7reDWutrGbG0wr7U1c3E2jcVwGPeXGArmBdGtfWP2XbY1EU0C9ydHJB87O5dzMJW3bNQDd0XCZII+gOgKBNN3PLHf/az3k0tscH7+Qzz8B3iDuLBTm3GTxSdQtF5a7fJDiM2y3UV5XCxKh4Sn/zWwrTH7N0Ierumpm2QI7CvrxITKAkXKsfXox5wKrhxBIiBnjvpP76tqFmoGOY3BX/Tol3hJsbZj/jZXvpjI0dy4L6ZTW3u0aRg3BKgNxbREioLJ5CsHMxNCZfF3poHSQ9in8alHRmga9Ectb2JYg/Sk2zmTwnCMzUGTMhrIAqpPwpskMfxmTxNcuoIONtTUAfxoQyzbVp9qhAFuQ2omUDfVniNyEJCmXR0YVwaj0ZsGNLcCqmABn3/BVE5BJHZ8ztsV7SBbTopn0wd99RVbF2zXQJV4DqZA65JzXse4MHWSKUbC7Y1azdXq/ijEPP3I0ryR9MbWneobXcaBqziS2C/pKhnktJI9qeXlRw9uJr569gW9CP8CX+KWb0KSus/KdM+k+qPT/ivHSud2IEFYBImGgLt6xnWVD3MNEKPtEDtLr804IbgFO9RT76hZWdu8SNxCgq6sZpefieyr12/om8vQNmCoSX7n4l/GXwFLW3FZ8egV8Yh+UkRX6csZz95RDnuKvOpiPxVUyMysq6BT4wfVKg1zA2VTjueQeQLHQBJ0iLXqsSbcbZEQoKFr6G/53jzaqPBZHp7HhtDH9dNCJRbjMyV5UIBOCc5gK4nwWGEV2nYqQMuAU0/FLV671ddOOMEwDab3i6Juqjtf5WLRqwn3zQrDMMOAnH9Tmp3fQGDyDIy24biZFLkX+vHWrH2HbNgoD3mSk3Id07vsFuQFOlUu0FOJk33opyhrFVMKoV5haN4c18z4zyCl14AxhvgBz9NXCyLQtB0rB+yy7Hqqi/lZPKHc9Zp3KDacVSeThW1khUAFG/QGvpwmEYwBcCVEcG0yl3jRkfV5TXLQOlI0zQ4JZffwLpRrllQ638q/wFmoR5W14BTshEknEUAvtyQBLC67FjRQWF+3++RPuGycJfoHTaD69WzMRSNtc7ixR5mW1RyUuQiURMtANcczBAqVe/t1A/oPAQl1JtDcD0XJ9LoCGHw18sbNbx3Uep1eRhflQOjIN/ICrSwOtTPXubKMybMjncd8gt1eLPHGgwooxXT/ySmbh+P9UPSAjyMBFAuUlRtfkkqOXGgzKJfeDXXjN8GyG4sCpjyjFgh1R0DamTTW2c6PKPpCi2dcOsN/vk5ZvBtQ3Bf4eWmmLJD4V3oSKL+xomVbG5McFgrXnrj40lZRetCPWWfsFbpzG7HvLXQS6fdj/RJc7YcE7D0QvkEqwAANaTJaKJJYMrEnCpkzBRSasfX3fBXSm+LjZ76I++RGJpxEO1HCXUpD9OtR0AhcVWZ71bFa9XhM9J8KAqslgKFEu1j44gYndkr6SvUpcEc6Lfy9jUgKBFmHhndQf7za2oJ4KHof135InCKW3daFl+Zwf7SC1fgndaV8XqJtz2y68nEREVcTpmiwVHZ4B3om48GttnsWeWInAJPNKCdgY6+vZ4Ge0VL0FC0O8ZeE7cNuQ6x5bN3vRdYKG2QIVHyCuj6qDmNbL3r2w3ZLSOweG7HLO6Ykacw/PdCCdC2t2gXWZP70rOkecfEYXsq+JboxuIQtkLpKc+KA7fc3Tb035wwgujOYlVD0dUVI3SlPCvl6NtBqQ0d/Ng/fkcOqmtxY1WhC/unE4Uk0qNwnMzkzQ5PaMDrql37+Tufr741bzpXJjTKk9NzYWhLQIIA6K21p8ysrxJ2VRdfFYdo+dQvXeScsK+7HAsh/JGSADeHRSLI2dUIVV9myi3s4uGh6b5JgK/Gy368HYF+lG3jpAXbGftqdJoyvWH1ObmORGDsgj8EV4BmHABMrY8V1Y5sJg9R/sOfyhoP1zVtSzQuu+rFDumThNhhBcHGi8arnWmsWKixuUrw0NZ8NlfUiQGsZ5qkjNuI0yZJqIyfVFz4Mxiu3kfX+UlIOMPeJD3XiQ9qhnVr99R9Erc+2i3uK5qwI8A4+/IK+Gy8790lHfkMcxrG3tF87XU5uenVz3/J5UIOcgHXVAWe9nKy3WLND6kwYtdlxcxfpySrUyzt4f3DNrCCoVw0Rocu743dH+npun85mGmakJwtDQQxM0l/ndRyuSJ3UqAYUKcr/UnjRmN+6Xl5D91LfPibyfrtUoleVThL2RrM01CzJO//I81aH2qY/e/KvDQX4FruarO0s3IA3d9GJmdpsqrhngEfa2a03DwjJU/rEMOhnwmNGVrk8d+SBPj1GlrIYQ7asqB8PTl4F7b6EHxtJv1ADl9qriOSz/dSHJOY+AC1e1nog58WjBCU3JeA4eHJojWukwWNQurm2/zJ4mxP9b5rVNIO3lUWNWhCBp/eTiUnYkLqiKDqYSs8bD1/WeFkRoVwN3BxPPO8kQPtcGjZMkwjJX+QC6hye7tNBiinG3gnqdY2hNKrS/gu4l6e1QIQkHzym4qKLihqickEXG0uzh1c7mzj2cbuVRk0THlmi0HlFbU1ZFguQKdrYuZF/aX2d1+I/IGfrRHuvMBLfKoWo3JTqUEaeK8COEO40hlDRtv7rFIv+LN4VAwBmaingZ202It7uQVRi6g0lQg6XiW1586Bftpt0/2X9tpaWZ+dJDrRv/AbTZ1gJwW2xT/EjMN0AyeU+Y786lftwaYA9I0oRZ6NhWxr4gbR0jWmu3uJgg7NYf+nJLl5kqBfcjDFC0fIlXShcTYSZDyn/eJ9TE+d/5/vIQZaf4T8bbPXvyFeWfyQfiSVVeb8jIYBssJzIj4D1JC0iuZ4uj8356XIt0Axc3j1GTJRFlabDk+b35SX/Z+OevbuE2S8CoSAnhqucmPj9OWYlUNh2hpjFDqVy2EKpuOmdJpGRirxxjiUWROtqd+XPyeY2349sGOHeYnpAIHlNuE8DuES6Na1Dx6UsuNZOscAMNkV9E+aFxIgY1yguPv7z5j/dXCeIbxj9nmZpmB+CRxBdjTomK6QD2T+SJls7Yg2KVUyN2jSqPJBBYnGtzqyzLyHwJ0GsH0PpjJveuIY13cE0b/SQdv1U1ocoIYjWZj2MMfldY4fuswWYMPZxK7mvO3H3H3HYrzoY8FIQUPXNqmavukdOPCtWxyk0lwgzia1DfZijcgYz5VA7xRXVe8iA+Az6gwnAEPWYSPSoyG9n91T4d3UePqvvF2weZ86tgqlJygwFQXuXDgxlIKft4JHgV0t0kvNx9ThEWZObGhjIcbZ/LUWyYYEWIlPtFlmGN6f+jIPYzcDH87pqHHdo4bDn7hUJwjwWAgIM//Z0XyfMKsFJUQv7gitAAnC7GD3ISBxTl1CrSFVIe2Q0c6Yw3f0xmARfKPL5PmcpKXKTRXgi5kl1BfkJHBgXsW6UG/Bk8Q2M82jVb1gwo8oCfRAW0OXwPNyxPnkslB8xhVSiXz6XwVZXvi0/30yIr4Qu4OAv+j6EJ8L8xvVe5lJlZeahp/eRZ6JCGqU1UyavkVNoE58hJALQPbuXtZ3aY4u1Z1+fKIjtSvCBFp2d2YsVYcrgdOhPO7hrg/pcoqJDgXCsr45djfLVQ411xw6sHI314f/y0QZbYMfuKXp/29dv1uZQUy23/3rie5Zki5SecNW4x12PvdYZ0qHz31lsrtXQDU5gZvqy/1GC8Bd6lOI4miT0xT8qnjiAyRCm3n6la8J5iO+wGUqPKW1YzLs5pgMKkrH3QYdXI41B6qHFC4PR10QzinLEeNkPytvwzwdpJgm/T2dQ8N1950gXi4FlTcr/1fQuUaFDhy2WX6TQXI3NxEflHFvIJrVgsdAmr49pkq/+8Uti7u+uOQeMWxth1YMd/ppyuXACD8vngA6aexVVDjTE7ytlu+Pm9MGaGaoCw6RxwNHggIWh2zU+8c5WY2Gizo2ZB3Kwanlko+Nb6wqlztWypIYtBkFiNAKeGYTNuF8Ma4j0M55HumFQz67/p7XlM5SbBoWd8Nd36C2poi4mZFlBmrRRUVU7ATLjl17EPSWbJHEgjta5hVI2HmrUDvCwO8u5lvydbs7+PTezPd6fBR0h3jXElU4BTmZ6Di2J9iNOF1/7b+R0Oy4X6HU74zct2/b4AzYDzG2lXUuoHatUi37GH18DFDgDqdgtdpS0yh2Ov4C3g+L5aAXfgE6pzGOATUYPXCu6F2qwKsfKm3tV3CgcnwYCz9NxaWiLyA15Rzk9T1WVn1TH8n2ZobKS9xnEDLifwmlcOB7S601CpetP+ieaEVow7Mn79eRZdUzsOYYaq9yzJ8cvkN1CFK6cKBCeogPqigYJeKeUqegX2txxIYqhrDKE6xgALNhiIKZzdUG9IpRpwzAvMX62zg4tKKvALQ00fKZUcV8EToksQw91HnoFgOzmlwFKfai/p+e9bXbFQvNeto1M+kicShkl9XoiIUAgshzK96J7Z2H8drkUf0FdC771JvGOFAit6Ln0cLT4TuYzF3u5AMHjNj/K7qd7hV9rYRiuOn23K+4/UULfgEP8g699Bz+u7rdgdPzrdlPybAAdOhZAHesIIGfolWWw0P5GzVmPK3wi0k2yGkmBj2ulkdCe6E0G9zMPE2fsp9yl6DCt4YQkIMzhGxu8SkCiMFuIjzAx2QOSeyGN6N4y93DlS6go2ZiOrAvD229PfDeNJPgAnF7LX9p+bausOlCvEkO1QJWBLzlQUJbphcWncN+7EVH1AbJVdRnGPyMwhRKQfsbCEf3hahMqrMN7PnJL/WdzvumqcvGFWEjPWg6igRYcKse6lXtZ3Oprib/S+Jhkkbeai+ZZg9IvUkcWqMpoJFNk54G2qZ8JNLYhYMQoZrrN2iE5MR88vaabZe6wmXz7t5c/dTEvTTdzUU3K3Lvig2z+88X2ced8jKh+l4heK6EBVp0d3nctp/xvAcRyNAhX0diqtnY3r3Mm4pOb+tNtfjGZiAshD2llzHlcMsZFo7mMc5g7RW0vhNVf1kvjpiSIeFcBySJM4YvySRDr30+WZ7YxrtTNTZg872eTDC2ARLqhP5iBZiOIEHurPNKmRScGimO0bBLjKQ+zZPHKPGz5cbPQ7cDKGp5RtxOZrB+E5be5Ers+ohgzlQK7Yc5VJu/q2U9LZlrtx6rQV7O2KwDMLL7YwWcN6HaCgjjB0YNTPFcpYaoIzvFYhoOwGy3XLjjH3iGo0h3hrYqlCHPVrart8jyiVfRDiNeJJklBeoPbZufcbcRKL77uzI9lz5d+3VEeYei8Tu6Xo1s3V6/xnLlh74qPYG6Sfn03TD6lsPOsPwib8KV3tZ0gND2FWPUHsS3U60xo9fGgzo4PAxqHwZobREN09khW+etEg9yy/2iPCAXsM9W/vXkJObYhWo5oEZ6ZS9Zw6mNpmItnyNiwh0L6UJLwEm1mXi9z6R9LmV+HKXCMsI+1HBdWMu7NwnokyZy+G79uEzy87rVsBhhBWAnt1oIvyoVB6FPea/5KQ75cwWb7dpd3NEncB2q/uc36wOAytOpL2iGijcJ24RG69qyJPqlLjnF6aRl3sNP4B5DSCRpAMo4Ah7RdEV3huCJ0KkNkHxOOPc24FQldAftTVF1qqsWrr/FCpoOqycjuZwRstjMhNnjE5BRE4YwWnOLWGRFLzSh93Errzd9qfJM0++p4mVzuYZ2OHAS7ni3fwJwYNeuIgccqs59JgjRImLtuwI4ZuD6ndZGDlOTYQtAly9E6UfEBBBCpgJ7ht0ZVZ0C1lozg+l0za168Jmk0jlDv1NNVYy2okZXrU3f210wdiJccf73G/qdrVKkGBb6a2OKt3ekrkP+gTFYRWaUbg8uFlWHQ2iVMjvsIeNLKfNK2TS+u63OulkpeZ0Fmz450HBzb86HRMhm+lj0SqmbIdrQycQV3EJv5xfkoLWzwmYo8iuwPHNX/9u/7hYGOD7f3s3VAcwGoVF31lJ/CwkYHkSWR4LAOtc4PfoRTJrlPm3jXSH4ITCZfhxJ/Hec72mecOwTrvjNRTl37mdGZP4QyA/ASUd5DE3GjD3ZrriNV340B3Jt3l/oqMAS1Y4c0MCHAsps0SgTR+58oek3cnduhtWk/l0YvW9Iap/fPAXfNryrxwbHjNzu3FEFcBFGxV1jRt95ffv2VJFEpGu1Ink1TH1PgM2LmLixn9q8cxR0vP7i9lcZkbAfgzjT7apaw1sCFus5mYXp07naWPcRgeGcSKazu4/x90S0QigahlEMqu9qzBtiTloMv5GGW//xsZLYVPQf/7ieykAKdpRJeV+uWHq4Fgpl0yEscFbRFMzMVW7dQ1bVjhvzDJCIUAiiw0qQAEgxtB/fAmBlCNbzEBfP/IvlMPsYPmRlbVN6mjNSKEOTI+muIMhPcLOTZoqqBhrOQX4JTVt6k/eO9kXzgYaehTBN2h5wIzex2RV5O8iMZI3OJY0H0/G8Nnk2RJWYHR6TA6CT79OnhxTmVLynowP8ek+YggCYoVw5JS6jSixFQXHjWT9nhDRQkL7/OV0gV46e5CV3RufA3qF9sNLTMaXRmFkQBrOAi3KM530Lg3+kpM7XHLQP/BNDKU54NV3MGe1tN4T7a5EjFYemziGPqS3eD0944F/M1eZcY05KJuWZiTE0wMCYP2AYE4lG/oCuLBxx4SbmfMPMri6B6QOTZipVOW8s5vTTcGrEfUzRiJTQdOI0G/YSJSPAOCyQ72Pw48EkDa2QiW/7EzmtkS4cGnglgBWC8FYrJza0gQwi8XyciwijMFQ9I6Rw7JuOwACxf+lprnawWA2Z1hHhLtCryRGKqGL732ZbCWf1AeAKV/KqXRygZX6WvN6bhg3wesCunk88Po4j0bKbciZVsfXcbfO6iDnv/U5E8JURxPNrLiaqeSToUluA+pmFOlM1c3DksUIrQc/6Am7BQfzILzm11sSkqhAK3WpcSd6zCmd2kMM1dmUyIQw6prjREqf1bH4DnTMBmb3dpEH8TulKSpwpJdKZ7ZjmveOnLF2NXxgerxD5KBc0qHzw41EEsQ1moI1a1ZuECaAq2gd0oq67bMJv7Br66WZgi+Tc22hztq4d7hjb1ZMo69Z9l9x96QSbTs13cTPOXq9KtQ1D+SYvK4tzjsOht/JJbExW61XLGjBbwklNh3NdKYwRwD4bwgktSxP4iaLjH31asRSTdiN1QglDhGAG87qmlDt0tykDvQaRtdqXTCI8hSlj7OROXgjBlxVEIEhplm/q7J1f9+dC6A9c+xLkD0Avx88XGACTUmN8zNZU1LLUrd3blqIXI/TwIaWbUmZLn9t0YsgCnyKM2MlXPe+5b5ABmant1rZEzuJUxaigP8hboSFU2d9ONJdoLUJK3lbIexNa8cBQLHwJR0lANRCIQKvd2wqSxl2FZuqTa6PO/Q4Fn47b/LwWAEubf4GUjbLJBpj/Grsdg/3utuoqbe8er1mIystiDYuAJvTGRlppqZpk7XEARfMUTUSH9Yn+39svQVoovWI9M6WCYWapZEJXYVioVsqnmygpsOP0+AZJuFP8jUrRGsmb5SYqsn3y8WdsyxnpPIVQu3yz0Q9pjNKO4ehXQOSr83b2P8ihMdHBPQvveWirZkIH/Hj6MArN71aLgwrYGMF0N47iN0SzDezgx/ysm63AkKq48DltuhM4T/KfV/+1lCJIR9sqTaw70liYnz/FwfHHT1uHtIEVH6AevjAPYHMxEn1kH8LFD0LxYonKwYvpV0fZuuWb9+80xb+Bcqy2n+ss0qrj/IgVHI6RLle2lW/JO0TwZTmbbyubsT8tE3l1j351dF8xNtv8Wan6tB8ejCzShdXvh/ltVUQGxB98FZp4alcfkCHDZ6QYRAOVH15E/3WTlHsN6p8HLM7SysAVxriVwivXUOzaZ6/SiUG7UYQICCdQefGAUAyb8Omh9mbMyI7MbEx2BQ23EviJfgdHwJXcGEW1m7S35O9Za8AjFCROEvJ1GUx+UNsGgbs5/UqTZ89NmrCRTQSKdbEdK2EKLxD0LNeIEdckaMHMTXoy8J8VNIeUEe8G+rhmCt/Y754hrDNRK52P1SFdFg5lPsGRVDPPeX1LCLLP8X0h7Hc+FCnMwbOR5rgdup1hXMoPL81gJODH1mUNCdfpocllAjtRc5POpMVlXXmyTOckA2SovymlbFDZszzXlyMU7pWTqHxoycYxUsuDETKJi0i+Xu+1/e2BuFYgiXjdDLbn4x6GdB9qLGtVGL+tg24oZUDLTlKw5YRJfRBQe/41TAUZmg6jHFpZld0Oggk4kUvIRuK90qg+Q+MQzm0mmmFmUf59YLB9XyXxe0dQSU4qjIDHs4s8OU+kb3P7NRoradkW/J4pfqdlqE+npaECBXHzEbYRicxgfrz/AKGTaqFaRFZuwXrHgaLbgTyIo3CCz9TClIsOytdQJlNaOfTLfcIwgJvaZX9pVPFuDRTeFO+wX6WqW+KfnPgPQUh3cV9dnetKAWX9aCtmMFywLMsYlbVx5s+no39ZlE/iExtgoujB1REcxtPL8OaOBqiWsOuiTarzJ/xcjJfzWDTBGDZ2nIDK1Juc3qvKPxYyyto4cysU5SsPtX2204v6nhRS++8vMC3zdSmh3j6+0LthnBwZcZUNE47sYuiEbvDjL4KH0g6H+XIf32LIZ9vf1oYB+rNI23Qq849r2PEw3sPNdhBQ5pKOIpL0SJcqkk4ZQoOtmwgexSQUZL2JKvV7Lgf0BAd9s8MLysxJ1Bgx2xLDh2wxIhxHMcnfdYo0uar0RNKebsa1Su/CrgsbDSjPuUwzTo4ktUiBiEEgsrUiYlQXLxfuuvpcS1NrWMJPv6MfigPgxO+IAUbuY9U9kSivOFaUJL20kuNuOSnGbjwk0xjMOo3ZLZUJkqtJvuWBu3nqNR+nIIVI+CGK2UyNBVtv/QBPganyRzmLILN2kDvfKwDG2caCm+H+ru4QOObMKJ/IxWdn+ySSfJWbivTO4yESpkEV6ZPmPhJmVJTZfv+wwNPtxFx/Ds5oGJGc9MTMunapTfENRy9QtRggpYTs21CtR2iunTsUC9pTtd4+xIUpJY4nswvPCoi5z2Z9OIihSYuHzOAzDIkgBZQw3b5+C/xgoztywf1O8f+vV1EFYca2SgYoUlSxgBdIJDIUDkIFg/6zIHgGL5a1k9O18sR5wg/fFsrGVA8Do07Z+jMHlMGUm/kb0K7qJ1EZY45fhs+HMsZUrpPF3MKP2RTSzpZs5aAr+ATZ2x0rVFnn/Z9KNeGntB1DCLvDG1mPaf6KGasLWmXVuctThW7xhf5a482QQq35qvHXoi/khZOnqn+OoC3Gnd7BCdpKO0Q6S2EgASjiruvNtAsmotRrE2ahjb725LnztowN8gyVlTrSEX6p5AcDE/Qfdl+8ERgU4VeVjryhN4FpsYDQwd9lYB5lCAkVw91z5XtNc54HHMxb2E6jpKQxe7Xygp2fktouLRNg2nF0mTku6EmiUsdEQKHBSy/iarhEcISeQ55zEhcYHgeOARDHxgLZi1iaKa/Ijt9iUcjRUtPB1rmgMXoFktuT/04ry8txbvzBz56DBmyZzUjL6/aql7z5mNUBD6GyBlb/2zSjfRCb678l8ydK7Kg7FowkXK5+/Jh0eWOQ/KbkLVwdNhkJauSDAZYJyyaR7631Zn59AiJ1TNqhehwAlU9tGAQ8gzPu8YbztLnL6/gkQISf2kmgeQwfrbgZBTasT4sGQ4pDUmixIodkdHJmnAfPVIpZuflksyxkB66n9GQb+1G3hHwM2d8RHrkbUZSbJP79cwgIZsu+gmAPfJMzR0tPR8d2vVAaaZRnzEQV/WSaGHeMeDSgd8j+nfFCN8pJjqnq/AMsTEwaIdrLiVvMO5XDSMAA+JfCv9+D/KidfBKHqVJK3byDtnPS2bMRYSvdiyOUnTbHzRdV1D9MpSewKwzlggwbDIdhTHGfFSRjifln6HZInLbAAtzI89t3Sa9Bv5OP1jjOTD8N2DHpIE/QY/VvPLiIgP+W4asShur42i/qFJPRt7odrb/NC7OcGMsBuwSeELX2DVCQf5AkNerHHiPpJD3JlPl/4FmQb6+ku/w+/1ywpph8es7+PhRoT8oLPwZXEg7DoWdc+fheX+otOqF6UY7fmdrBzR3U0wczv+a/7KuXOkFlCvSWemvtqp1nr+BKblxz2a5E5DpG0SxxXLyKpyBerI2eFls+X6mr2jXkcnPkpoWBoHVRSaxxDAe5x33Ri8x+UqxgZOFCPT2Zo2WjkUGjC39epco/Ub9kBciFB4384qBnsUzd+NuZ1vsOHvs/Kurg+wwIjfsB3IuWMQaIFecbZeC7HoO1qPuHw7BmK45+ECo70W/hexQPxtRrRlGcs3aH5HGnUwiXBa3Z9Qvb0YZqui8eRsuAg8Y7O4w+z+IAw9Ve5zm53RnDqm3slgnY0g5jhU8rxiuLq44GbgedOoqzeUqp1zEhKGMfQEnaN+BgtJ3yTAH5LMAzv5CsZi3QE15/Ih4dx7zLkokcNZldWVq3GO42mrUpi0kQUmtUFv9RyRDx9nEQlXt2ERfMeVHFc9FUwUPnMoDAsvwL+J/Vg3mLHtX6Zha4S2z+0hZywNwMeRnVubrwiKRP84K0+JN0Dgt1a1JsqC1ncNVEk9Eiqosz5iWfvsTIIZ8ySt3ywKybacfzjV7BwB0eQ3UHHm+37tqHmYYQ148WYQcO1CeGt2odj2O7fq09Wo8IBDQKDYH6tFaU/qDs7WE2dnKiMdzvEupJ1ifHKTL/d8mbJ/hfvRuaImuu8o46qvg0TT5QJ7dYqYpztH1wzIVgYBZHQ/q79CTIkuBl5cLUDOZx5OB1vnC63hUIbFb+lYHZozpHt6xsfOQTruoV+ZKIuAiXIk3eZRsDkviN6PfCxtOK5fxiS9tfkuw5SEVvVU4iMzvwq+Ysj8tvGrJH4t390dGVdswY0XPA6cx8pEHtZx3BV03y+y9jLXdt0bqC1LAXiqi2F5kcTN4QRfGxPza7QA2YIPILL7iBfxLj8i1xNebtxVR/XG6XcKCTj6iNbhNrSLAU7cy7y8XQQWp9IfVrpZKn/UfTU/vieExsIorN4rP8/QnBKX8cpZAqiZ+7LIiyYSWoEq8A3QqNMs7lKIMxuCFY5gtavyQholEmbFbUfVS45uFogHpIyHQJSQyA93xo0uxvZxjQvjch3Teco2fBpGZyBOm1/R1Vu9ju9JRZguFXedCmZyBhHyBZ0qpAfnpQUxEC6cjwTjKf9ARRg0ubm9+WRtb5J4i71U/btByM7jVWsSNURlHQO9raPiWt6KYn+xlMFPuOv+bcZLlT3mtYYPnZCgrnI8/d98hz4a4JeAxS1rjuNdxfFUppFN9mHwP8Ye5isNoCUOdHlFJrsKvKKARyXSP2kpgQM3gMQ8XzYe8EaY9712mArTNK0NS2yqPqCiNGKqsROaRLJLIWfVxn7EC7cvjmX4fERjbfUOnx7RhOym2BdvuednPvla6EMbaMzpFS+9TJoY25zQyyzWEpx+deY4ButLEPs9IV4iQBc0kHU0b0lRhY/dzkh8XLhRjda3T2z8Uf7mJyJZ7Z6AmWb9SaFEe/rj5pLcbOysFlefvxCkbx/7JiDn+bosSl6uunHZOvn9alfZx4UO3Yb+i1V4DTNVp6C9gt5ciOoEEIqGVICEnIJKExHuDJauxZSD5qPv6O4hllg4uveEaYe9pqs1owxVFuuC/QX5RdFxPNKzzd7a2ESkPSvfYlCxpF2rU9weUnKmLHyp/4QXpQYjHeOSLtQNwDRGEWHqcrlulaaxGKdHMixxWeghbEsSY8geB3jSXSujuDa5T9AhcuH5bH3kGaBvj+6LdIzBq45BvsW8+lt39Ci4+5Gqm9f08BRpkfSTSH0RMzWXCwjPrQ4QBSHC12lrnsQgiEVL9LvWgLNiHaQkvl6nm6s9c4pt3GaEhxkELSus/hnNKJLeb41UW5n4wHGxxO+3pX0fwbS0MMdWommvb0c3lz/TSnT9hdfJ2K1goeKC4uUhmsjAkjLLMg4pkrRvyHtwxK5ubUH1qeLrTEeDZwHd3IUz8p+Kn7V1m64++5fiWUHJWrPLaxwDhVBf4HbSK66ZejtA7jjPSV7eX9559aLxNctos00VYKex+YzAuLLj8sHT61dWMoJb43SITHfGujcWV2+mIR8E89Rat3GzsBIbKN51qvpziBZeI2SQhEBAFUFLOjnaM065wDT/maxPzW7p5ZUkpxSdDS1vdk3IsSeEIupPmt2wsSkiRUyHy/1uqsRD23++zTMaX+S4iKt4HNWAbJl8SEKCg6q4CSF4euCvg63FYaV8cX6EKk88ydS7BFgMTpuBdvACuYpP36NE8YorVvGpxkUevaYUQb9W3mn4UQQPKq5iI8JfrhA7I2mcNWWYqUUi/yK2iMRBmYGWJnmbvUUoOqOM3ws+DLQWrUWAgL5RdxhHAtq+yZUoXqUIlFcfqZ3VFyuddICLFoM/5AUOskYq6WcMc/5vRqoLQPIpuQrvoEdMulkdBWD33a0ibP3H9fbNwCY2UKYaCqBaJ7rRryxVyTQk9rnQ6Kc0L6MToarxAr2nWFa2t6IY3VWr6mlAjOvXU89TnrvJFg8evqWhQAClFjVUIXShZrdvzqgCOXOyNZok44Rnmr8iLumMXYprozCMrb6Eu771MR5tNX7TP7+hBwtmXJdbfn9HoaJDmCPXO5neO4QmJubDqwyFUIb07C/+se834TEVnRF67L9tCn9wlq8bsiRdgZqimMrqYrf2shn0yl6peB2zKlZk6w4t9jEUC48c//jHIzNzj70ntol1CNHNbCkeCkIMhh5wQR1Klg2MCOtdLCQOPr2KCReqMN0nJYYRtQZc/0KiiVkajWtiCj/oiQmh6ogR2xo1zgQOUhKdbwFY0gR80vQ1CXH2tlkB1kdQrHNcheqlEYTZCskTGzx04BFo9ZzEBuvmiqFIohh8HaH7u3wrBYZnYFAP5bME7Y/1GGEr6QZ1CfxBYd1CfgQ9QIfG+u91tjShOUUSixRfkt2b5X9gD2iMsfCBMxms9cha9uG5NraNjq73c+4yF9wwySatW7yHKOS2YGh+5qjIxvWvMANqlmOGG4gun8+iBFSNfuHUOsdpKmIsKEP8zjC5i/2eWM0dtq25A1sb7BOShSjzrLzju3Ug6R6+/SEZYfVn/9pLUHC8umBFY24NF12MfPLEmCiTNiHiLuuYfAcjRRZF6zmCDBfVdqP8UKeo+BVQIjkA2280ONNG+nS1I8HL8BPBg/egPsRvF65N87tPTXvabEgGfgv8T7XmBmd4TDj0o7egd5qQ33l4mL74jr83Ba08lnWgfo0OcbjR/BiuAr2tQS+EjWorJpa5YUkyvBUdorxa8kgGNGX4SGUFFZC/rGC8rN1T24zvzh2x0dCVkdoCICQ4938xI2t2jAYjtR1c5iL9cZwe7g96grvYCg9E584HvjMWrbwjWxFJ/HJV7qdZSkOqKKseh/L+WcUU9tfawaBzDrWd1yYEa/urUJ3y/P2pK9Fb2aXm4FILRg25f1dyEPvQa5uFfQQkonH5s8FKFXwbRuKiyCt+2o0LT+ewaGRYSTAy7caQBqeOns9uQXd9gxqlfO9LqAGEEWgpCoGCpbhSj9WNdwQAwka//whnJP80/XBNNRQz25Ba32xK4zFRZHNCtcDu4QQ7BKOGjsiAfhOD6xuo46O2AEcVzr/+KB5o9PNAsviEqR9gaiYYdxFHmlMvMHIE3BDxHUM4jgVKT5/y7GpYBL3wFSFRR8C/3Fa1QJgMpvsPQbTEOsgC4/PBiM511PftIHujo1R7tH9wgIb98jqZJyS+eD5KDev8141VviMLZaYCkunbNmlH0ba3dlAzlxUlwj9oJ75xl1icuKlg25K08lwDbq7eiDQhMMBLfsINKomjKHHTEqQpmyQGJN2Wfy4bsNFoypxYkiLH5oE0W24+7q5GQ0t+R9IoTHRAGUE31hSzgkLe8TtP2EygRW+px9NrZIAaOhQGQTsJSkk/mEpp2iGNuRH3zsLLXycgM7jJL45orRE3wtBWgibj9HF1X/rd1fWRzP+/p3NmCJ/uq3JIMDzh3K+D7tlKX5KrFiqhI5/qDoyAFxVx/n4egHHh12/tbj21JLB4J3YiJGBdUUtnnOmN0hY3MtllI8doc1+3g+W547PC52NwCAv2asxMxISt7bq2YjhTYGY06LUf5EnAlSXOrTMBmbksEPgy34c3gd9cbOuRQkU5yUdSPq9qVZ/aiERyk7bWEmAeQavES+OAn3rc6MStupmIs15GgSe05rTU880f8OHZWF92sJNfRthW7RwbngAiR2VfhHka/IrQ3200k9D6X0V9bXHVFWY/Pkw8Bz+bhlkT4rKBhA+w64IZHyzV9C5cO0PKUgquBCJhuqsQ/Sqbobq6ytc8LsuKQSNClsGrQJcpvnP9JfZuMyL26n/ETv0OEgOJS/38ubUvOaQSKxi+M2FpxVdvw5iELtFMh6wemgssyH72ogKCNmiJh/NFNleikWpRw2EgGMtItaWwT8MQf8M7rN+7Q+YQtIs0ReUUeO0e3CAVOfPRrGjP7hnvum+Nyg+j4TO6Zu3A0ZWN7l4lGcOP9E8plcIRO+9/jmMMtBE9ybnw6J6xVJhDgS3OgW4F9WPiIFkMDPTc9Tt05Xp2wfoCQ5pcb7n1/UDqXc4bkuxbY+36Q9nnJ3wV9rSjZQ7oLuRwm8IRB5ZR3MLO55O3aq3xtm5HwHxQ4C0PlvaNo206dJ/GjVcvUfpDX6ohJ38RudUvU5zoz3UZkbvuXnL/lXRYZnNOjAF5mLBKirK2iwZHC5wh+hxUDTT6Lzy4FLTtjr+ewk4lXO8nwDAnwjB1uAGkZ6CGHwgCvn+9gdArQp10aefHERbZy134eO8zsSufZKVS/eb5luRgO4AYPOWoGOQsmFNZRPjTUNgiCjEj0EvUTASImNkUjKNbYqAfn6Zd67d5+fnqs8wlwxoWeJtM6A6y+2UsJgl/PBU2FJQF09niyYkLhdSvFBm8b3THEIoU5JlB6lfQmFhgen9MtDylwwYUYxdQKngCpTKx5nu/KtQ06Xf3HIj3Lv8XZ7CVKWXivC5nNMrGB5Isr64CfPQ5gmJD8IjcIJBoFSHUPY/1VBqRNYy3a2mndJzjrefNEF3Id53NXT+d+FcEI9sfwUdSgFX4GRChLavaWidWnwv5MvdRKWPQJclMNV1gEVzVh3zWdrIyVYxWXDBY9ZKda9M3iejCYjhY1+T4e/oBFn4m93WQ/5qUOaueDlD9cGEoz6iw597hskqRtBU6ZlGJPAervv6dxs1pL087Frf9O5WPkk9ZamDLjXPw9nIiWwVFfel0Im4P28vmNLdJPWvyHKxSmvg0YazMwsXcSd2W/mOMqAB54k/HX4ab/80UbGxusXnrS+p4zwfxowmloESd53t8cr+PAXSdMwH8z/OueYrf4aHoaJ/IzG8eYY1ykWv7pfHth5DwtFIoArQ+Fnh83o+w/60ekprBkI7ADtxhqExH91cEeH2G5Zhf6EZbpW81OO85vCv3acgVFjL6fxRYGmkcw7Bam4MxcETogUCFxs17dSMHYQjg7zIP7DutzwsuFngth2UvJriihEyczoQBjQCNg/Hif7JfTMfqUa36ijXPmtZVgizyakFahpPAu+CyTbxoeOxgyIbL6Sfbfvq3+NRuA+iTkkTVMlhwxv5QUufbyfiiiJtDPjZvl3tpSTqn5GqDAJZbr9PsAa1xSStgeq3rnBXIDZMoueWAIm4ivw3WGgKcmWrDBb0g4TWGnEzUIRJXS+qgt/vUjhNtnSijCwx++bSszEpOotyu3jOLOl2vjSd0i8Rd1/yM1EaQsXP4Ll9jRiDWyDBHEJQE4nNusSidfV5AxtwHeXYF7zIwmJRkfDAAeuN2aoF4cnAPOfWOLSztgkm40I66dBVnkQw+yUOmZ4DJ200YYAE5Mypz4KSDnGuBJUmowXdYUiHB926O3dX9U388iG5SL+UywMkhDOpmdQVWit7U9hPJLNyCmFw0NUQBnihZVx6zvc6tVlUonTQfw1P87Ya+tVwJXL1XO/0X0I341knCKXykQh581t56xSVPGJ3ETImqoTIgSY7TH6A6N2oKleP4t/Eic3VPzd8QbBi7QaXKsY/lv5UDAy4fVRl1emTLCOj0eWQj2Y4RcZBkUXTcuMVDGfWSvFNFSVZLbOlUZOf937PLGIQbUyLIhVYNXaDWIL/gJv3Yen9xmZ0yEf+u7sKBIBH1ZFWTlFHqnhaPjwV8dUI+NSwlUeO7UUbcdDBbUi0768DkGmsBxl3zlAU9pVK0CJPdJlSpdzrAAgwMKP4TS1VlTZ/Nnr8TgZn2Icl3mLAfEWrNbAWDTnFa67TS8oa556kMKstgL368Tkwh4ulyu2QQrq7+xJtP371w00HRImwa4B1Fk1DxirmHcYdn+83+0wMG5kr7t33bNmpzZE7cPwROJ4Pldr7HMFabB0drO7Hc+OzaLVtoaz3Jy5jd0d2foSAzjYx93iLEKbyZ+vqkySYDX4qotilZ0d347S//QF2/JWLpMD03lq296sHo03/7VH8VZXmB4XjadH2EzBSpVnctNpYVsqDuZeo0TPjiuF7cHUFnTnFFZRkFAk/5Gk+PiJClJe64EJooblDty311VCNvSORy/YsY+V59Zmx0sY7K7gi1WIGVd+HfVpnCHCA0qBDBu/EZeNh9kA3EKq1J3PxGC48OoZ2ckOK9BKc25l7riytGoycxfroZe8k/pyt9+FqzsQ2n0DY20kS6CEHv13HYlcFAeYs8YQ8v2v7T0JTDzsPC1H+cKpLSDzQGm2vg674V+qFAEP4nBlRg1SFEmXLmtyqq4UNbTLIcnXujt4tfgQyZJjeZrbR7nFJz30X07VccnZBQbs4pM/CQEv4N+kxUtJFFI+JScXQwdZs7hXWzYdI7N8Nw5s8KdL6MstHVznOenbYOvDq9qJ+F5zG/JkMFIkn1YZLt48Nof6lW2ZDL9tuQyISXKnTvdn06WZ55pKMuBWIBJO850PS7+KogLstDsAR5TW8Fium+C5dAeARX9599lNXzOIwRz8N7Yp0s6LK2C4oKaFpjaiTgtEyYmYEKjigxmjKYIMXmfq/qsyaBJk+PYHLvC7U0Bca4/AJ5b2ykSjPAWY6nSi7BvzEG8UCQlIMRqX9LpxV64ePzuDEo3p+hIKNe/zFoB67AqygCTbsqGRMUQM4gm74MP1514Q59JICEJCMmrHCxS/uhQRXIU4joSFBd2bBDuMKKXZcEPwTXqZZ8Gsyyodda/k0AH3JJr1Y7pWDDRwHE/St6AVLFlL3jEbWyPOJUkZFKywT2kBnsbYgw/FHPlXHIHl0mCPudiwZimb2wOBXecyc9GwmrLP9Qqhpy4WQeu1yYV26qJYLLRzK3b5o4HU1xQLRyqBJfw6+bDv4i0M2YI0EahcIx/f3AfZRSU+pNKqbrc6RBz1CPgqNlVauhMF51qbkdyvpllTNNRU6V2i6J4a+NABp/2xCTb+l/zaoPzc3pcn73vqvx+JT1EhbITUodL2uHVp02iP7oPm/X2tBJbkTqzJ3YWMWhnx87K7JPOrqEHsAHAdjsogtU6+4QJzm1J3BkHehuOLFV4ZLRLkAsbw3iWH3LBUg5+c+eCmeBbA0jtwhBtX14r2wdQdrVUVPgVTw3XjXvrp0+KhPJMRRoAM7sFdAO9erPRS1fFJP3y4huu+V0cApGPuTBAICDil4MCzZJ7rsHW+KoimWhJh4beL16wjUFtr8AyC4Hnl1P6gq3B6uozOekZMcuSaD9Vv4bM5Gb6ujzhvxysHAMppSgiHH4bNg8Tt39tA7wGdX0qVcEF7KrZ8SDOJ2wThCCAdMFBjQYqczm+m7bRkoLFArwv4HgpsiWtr3jWJy4hTwiWXZGCwj6buZ9zB2ibDl75lTrXN/p6yVLcs/3P9o8W543hyWW29pqEEtznfua5KDCahfcrDuGQf6dYGEhwwRMWP3yI0BABnrFoozyA0qocYeZImrLaS3PVzLN+A56cwxcYEHTjCvv0ZRqccO8gXvZyZO571oPIbsdjy25VTJvJl+dCnBeTgmp+ZqIeyMcrDJxNzX/Ss2Yv7l3EwtH+4dQ31J60YX4QAJkY4m5Uxlt/XRI7SYjWUPT4LZSqsIUgvCCPaFNP+Tygng43QR6V2JB8s7ZR7k48oCWkQP/NClfn5+qvPSpFJ3iTc1m03Dt+oBGv9/54rxvdc/0BNpz+6RwmQm3R0EPBvxvyu1m1gA0ZGpTMgADrDmuZnf04xYf+vK9jxEH0nxlL9xYs4jzhVqHufVDiLZknBuraxPTasiUQmhWj546vn2UURTNLJcFPgNaL2aBNM6hSs62LYQ+ysOGHgqVY60+QkTykSbrFfwOkWfbhYUi4VPoDLIrBzpbME3ydCDudb62ih2cJ5i6fWIXB/g1CO8hWeo15/fr7k0wGVtA9FWbuD9YQdY1rgtbBNtuQWLoD0KSvcdTQdB0ZQX1W6fT/PnFiiBDMSyxelvii9d+UkJQ535Hor3ncpnbRiruRkQdOwFaUWPwFbWqW+HYXDhd3KYah0wOEKtUKfckbC2dWQz19LAjDsJP1vnrZr02SBNBmHfjpLubB8gHRCU/lFe8z9BkJfvjUHZPIhA7YByHtjqrVBHR1Ec0FIHWWg5LXiGCqvn2cQc1l9eeq48/zr0gPvREHwQaknV35EVGpzZjNeq4oFNwmroaGLaZ0whTfxmFinxW11Ufp6zKZtJIoQXhXThMQmmWfu4c6Mz5xDLsVD3nn9In5RF2qli1TIWLgorpLiMQt51ivZifVW4GukIWQ918ZnHxj4DrCAn1ZbvzrGqvKuxRfBH1JNx24osz+YOcn8V8CExAUoQynyUwhRu1mL4vW4Ze4qXS1UzQMg+VF5xb+T5t1+wAHFEpApumPTBPsFa/nDf1m1EUr31OUqqHDdU8VE0dHB/NwrsPfpFFB5rv9RX1GXMrlgQMW3mzul3L5XkjwO8rZYucWMprNY00plxuanyKMqi2J6tvy9qe1zrIdULuHer1/PZQ6D4dJxNjqspn92zS6/Cz+/GYKKAoUwNtn9rbnCPvf7aDeGiUiO3RiagqjmeDZsgeM7JjZOSdOsQ4BppsyXQOQXYGmScAhWO45C7+U2nZVljNRtjQps6Qe+iiRhHGhJSFNC12P0zNK+kfWBf93lEtXUZaNdZZREZ4pRbjdL9jhZhhMcUUzfy0ImXJuHlJPa7dd52HrDKpRJ3CiMaNHJYhLw2KKRvpTl1me1Gr9emY2+PA0SFlHTYee2ThtG3xQgNV9mLNL3Dr40vw1iHXDwGV/2favButwnEBplPudgLO2vm5jZLTEzw4EIzvGGFvfQjf5D9xOJLYjUrdQJCQeu3+HhrtFZHcm3S0aNmwIXVbTbFqbyIWfz1YuH/4NAvTXePSpFOs2n8jcp5jtzjL9y1NaShYx2rTzgVqrO5mSd+bCHst0AktFL3fxs6No+6DcazkJHC6Bvi95IBrQKD2thnKBO51OENXsqvk26c46qAIGaxqwyRLU1JBxZf24hK1KBP4AcOtwzGh3ywjjZdWzMidnJtN9Wbe+sLq5LCG2/hA/PApOB22VyMS5a1P4fBUJbF0DDx3Etj12POX/zBTNXWJzbF1PKwkcG6ydI+fGNzNmMbA2ii+EtmQ7cCdDDml9rqizwEp3wyhO2hv1Zqp3eDGsWcvGdGG+P1fHPMzhMlqJry/uZkqa4XUuiW4s9OQhyhGl2eT5FFfVuBeGojy+LpXt1IKzSKRVthzODKgoGJ0bSMKcLm9EgNTb7SzJwn/Ml3almaPAJ0Ga3q0sDxFFlHmuZubNIhZ7nHm5XxJyxTlORDAAOAqczq1G+LC/B3HhCb7kXJyN25b00OQeNu6g+7lDU6dVrxbUbbC0Q/qPoQETKwOyf1bHHn5lKxNVdHRQ7yZieL6blND5qEgJQeRg+J3EcPwF0h4eEcdR2C9UoqWUu0cRAzDJpCP5d+7YPWYC5pU8eZRfJiQIm3ncD3YpFCFTgMXOu2RViexZoKbft+px5hUg5BA3fzs2i44TNWnRPEmEgaAMP/IQS2vgLLmYUbk84xO/j2Vq1MyhJSHTLRdilqYs1On9nZ+awFkB6SbyfqbLRuSMmifSYdH3LzQIEAaSv7g0t0g/w67FewqJ00OyV2Q1Bj8SRDIUIYzg1P1Jo9LfirCQZ4hCjxKshjTRl4TzZ0Fv8u2FxfBwuoPq7dbYPLLO1bXBQbvJQBq6hTItMO80FDW3E64XjFRLsClDOoA/54oRPGjJ+jUZXr+9CHOYBWxskW3QVu9j+SKlXvophXTLgWcJocR+NsNZekUtzGoudbPpwEBGwi0nqz2ieTsq6ftddmx1295FN44HwluAJrEJv6qK+Cn1oFPrrFDA3d7flo1R8Jbw7E8ltiahbVMNVD3iKyMEl25jBFBbrvbG5zCNw6vqJ6RjlgsUkU+6g0VV2hToqXvtVQugm4gSiTg1ZaXq8d4VsgbeHl7c1FG+71dLeIVhyfzxfHZcN49wKGGUXCaauMyOybFYmOjvcEhEG0mJuPPZwa+C3UscNUwk6koxlFdmDbsEJfg7VritPpfG0kj2QTggx0wvEabVWIGAXHUQqKRnV9t343W3mKN9u8kSUxUoiGgAFc9oygGf4PrbdZDhkhmDbvUH7NpDuwhut26ZGvEPTNCv4KgAhmPQ37NW11KEO0SZGFTzixeratde17lffx4MYmhYl+6NrK2ywTrSYwNtdwmtrISuJxbp6BXL4JTsLIHlX/FzrPsJACzf+B5uTVJg4BB8dzl5ARh7t3fRrkvVhDdltoAnv9Fp0fbVMlp4S6wWX5JPw8uFEbgH9ExGTeRc2PAzdTB9XQChYOUAfjFqE33NEEAPIMAJA1/ueQfeV7+AeL9V54+rY4wmQnVb9ZKmKLsHEqxXqCfZ5W8fjgMYa7+Rbv/bQuLlejnjtmfp6P+O3a6bFX0i+VmFL4QZD/2dbyxn4M9O8ynIbyKFN0HQhBfo315LngUcqdYpsNlv27tl9dBWI0YGLl/AGrj/qcQmM3gqIAIgPYA2OcM8kMR9cqldPlRzlpcAmiLoKKJh/a+FlRckJK5VShiNG064cYrgbTabsJhoYmZ89GdqOTxYn++6xE2JEnzE2ICZPK28RPInH5lQ5e/SSKnbDQONhQiXuvautlUDO1AEHjuwPISKcmmwqt96VWOOppp5LOpXhJ5bv1ySL6uTwykHEp01hgOEZWNPNwJeUuqNr+9OPbC4KaA47ykujk5e1vhR+n4EdNv8nfk8ngIEsXsLd6wgvvvqWcPmLBvGnIgJfwtnJ6miF2P3AT4TC6i7gwutW1lTrTjdbgN1q8/jxA2Fh6R1yCeYwoZ52Iq9loGcctYQH2xS7LewRpMNJyd4QRpsS9TO4mBH5zoYK72AK97cvaxjQqYFVKQ0JiO6MfsUvoWkNJS7BFL4iL9ECeZdSKggdkeV15ewGxc4JjHGBd/l1UxFU31ItVWOsJiYw52gVVK8BBUMAxJzbvGorbtaOryVeHnv00jWBDp0go0ytu/kgs9cmOAEQFhjsF4hOiYjTOkO3i8EMlLLCxFjYT0wmlgNPlESuGZ6+PdiaVAi30eKYyT/s51CLUxuhkGIL0Q1dkKyOooV/m306kfDW4wz2FpeQNhhWNM1rEjCvZAigjq2Z2MCK1RDYFUkRAx5PCyZ/2KMhv/Mtb/OedNDX/oZWttgZZ/lODYyKESh95+bX/EdVWODesHT9oZYw9b4cICr8kqiNnbUBrCZjx+izkJdmvOCLdiXFjuUjPt4ahqjLLGiW19icBOuCC6QvuaNaor8CdUOsYibJFfbQNBWOSdh5AQqEyZbtg+KpTLpDYnjfHtEZ0vhro/SM6SvapzRKX3Ou4IyHiOdCcNtNG8NBaA+TyYBOg/mY0oKIH1z5sVMFT5et2hX7rk6lZ6MPSSsyxG5DLMqAT+QY7dnphgOdpuRLjubu5WCbST1gql9QDOxxe0mDo8cpByr7VSCX5q2D01FHgygtc8KpE+dyvtwCJ/tt0/0eK06GI/qwQHuR62CEbx0IdK9knzN365/2h2Zby7Aa2qfePwPsaJdcF5p6SSfPu28a/oF5crotAZfqqP21Tv0mCzRy5Yi3Sei6MTyL4yb3Y77Lfe+TpCgf2oqloeor2CDSF4c1PTQLBAVAfwl23dNp1qsGWyuHoTz6yaucw4uPNyOKFeZprClf4C6PPt3coCjUPIGvMTjSK0w/SoCRrocwWRv5i3PiKhdaHgMxGQS3qVjRcATl9uIQZf5/SymfglvUN3GgCgLfcrDYlZA3P8UfIkRzaDTLnhWtGgme9JqSPZcJumFW1cmqi8IPiShWL4Vwy8ya6819mFjbAfAMfmennhkp6PPNWezfBGggA22PI1ETmkqDDOFspp0IId5pfWng6kYQ8grbEHN2XopeCQJvpm8iQ+RmsyT2dk7h7LCHd15tLmYW5Z1DnWUB02BShV3uIvOHFL5P+j1VsrElGZMPTct2dSQDn6Cg6Tfixpbk5eMkqAGW35aL702UTEc0XaoFVFLlInIgyUqKwe59OHC0V8S2NnU3IEDC6QHUKdWsxH7T5Ij54qmJW7fayohg9WzQTOUpkTYgH9rkyRkAo/S2JTCspZdJqnpomnWYtVWMLBzX0FrXE+q6myLBebHWLk/u/ZF4K2xaBHa7SZCSTy5o/PyIYmSWuoN3Trkc4AYDaeANafPFmoTAmLAN1vT7XzGv7j9em8yzsJCT20c3dQix7J8p5Rm/y3jBe7rQ+tamTbwq85egljh1ypgIwGAa8YbQGZgq4DcfY020AULA5lKwzj1EDsPwxEO2W8u1Z7p+ijgQU5wks+k0CeQkMgOoLkc+doC5m1XctY9nnBdVr328xdgnrtSd/YIiqEiZ2tGAixw87PpmGCBXgZxGdtGjsd7Pe7RThYK0stZevXF9MP8yxkfOxtPBopm04Kp7/SLrKEGFg4V9Lf3H1b1uiM67btIsJ1xjaouSZ+prghS8cCFwcuuuZ5DuzcFG9VMUxA45akOHhIP84YUWwQm6veU4cgsAxkFXrjXEAROu/GUwG27NI4Ghf2Dx5x4pKYBZZMeFXlYtWcx8x7YoPv9Q1jzvaJ0sPk2n05TbRQnQC8NrMbU+oE6+8/AkbM1BvEoE5Z44sNI7WTFhyOU8chELEzEDCENFbZWyYWbWV6sYbnZ5pc8xmmf+4PmPmqqBROQcaHa3Ep823jxzbeqymkENN07vQ00CEmILKTRiVUlHkKey3hcATXd7Swt/c2LKMVZ827fQJ0N51GLXTCtw0kS1n/9dD8rwk6GMp56HwaQh4w8++bOFklMdLGlCK7rOvYkcnRVKuSVTnc25+s8j5v8Wu+JH+nlD6dXfEjntJ4Dyj6nmcXYxp5TX/e5QgTYG7z3FDhIpTrAqh25UZubYUiXi5NZLFJL1eQ+0BfnRqJ878M57Qe1Y1cD+cJDsGLWYbxVYD1TdE3sbQK225wsBD+/XrD9Ek1gybAN9IH+XysY7wgFI4C5WdDVxZelUvXgLYDJSjIRY50uILf3aKs4DynMccMv3OspYjnnCsHvJiXobjkcxLiog116jFGgMvTgsSi/j0pEbyoRGFZqOnIc21UHt13MoIDcWMxh8/0IPKDI4lNVQ73HBSmBTHERA9ANmALq0Rpql+iesLQJWlNM+47Xe0QbdG2rPPTs/mymcjoBbYJs0uL6Ini/WV9ug+/OVfE9Xe7H99zqGXxNZbe6KuRTqW+CWvaquw4Rz/4Nsvwd4/ztgiAB/m4uhoN9CRKJLf4bwpZgr7aM2/qdVTTy8i7L495sO9gisaUadJF0zn+Oxdu3jlxZbyee1tCkZ1xR9dgTbBpHoG14jMtwJkiGhnWi6I074YAsvpMGmQHVeJ7qNeIRX4V1D6uOeXJELE27qog0pjcD6AESeh9yRdb7HNhbqXNTc2sB6fTaO1hRYfmDvEHTilvzNEQOGgTaNW4IFU5kZax/VmMfnEwS2yyjFt0+yATpFFvPR+guFTLiLelHqwgzzjMZ0Y3HEuCd2hGAU/wIv92ARVqI4ASRluC0Ojym/84SxX3Gg7MSFrM0Z67P5cKT1gzye4ETg4IDdnRf9AuLQEKC9pT+ylq/9P8fiIU5uHKmCUe8wcKPgFp4adOWW8slA9WZJIUBpoMQIbLRsl8gwYa1XjPHW9ZhihBNTQ0Og37glaCpmMVtWgt2upUXYR49l4xNFvfOBlypWRNeVd6HswPcC4ThsbvbIrhhxxEhDnd3EgLEVlWlSHhcl23md+Q7u2FryfswWlkD47iFL7EyhGTQNAXldk1VAxx0uJBPBcDVpfLhy4zbJTy3r9ZKEmzpazcMgciV5lXdxGTh0JPQuSXzjJtHrEU4kGbab/GqeC+f7JV6/5Iq0iAdFa7mT01tikfFWjyaVE+6eeruzSEiCmhOlWoNLH2hiVWRclDixCTDzez2WNfY6Z9ecFLu9bz2/fr1VKFxJo/IA24z0WxfPwJ43LzjbVIjWKg9hfQJbfDapL4PFR7NFOxrXLiQfnEcr+jPCeUKW3hMjc/nflPp1LiSYQSBF4kDMFfK8brJAtPzkGEPrD2rkAnGfu9OS6KhqdaGCXLQLEs7nfaFG63D2B4ItFRVLy8IR7rBA6ABGxlRxi2T4Kt5pVmeKJr2tjQbsdSebMiMGGQOSNlrKNtKdWTai0d8gJE5QyovFZVPdHsvsDhMNywxgJokAbaj7qgw2/q2Ap+tgBZzaHKsGGT+3NMRbX8OEvfQODTE8DssBaaX9ZIh2jNzDV3se/BZMTfd0zJwQLIF4VCNI279K94gDgbVtIJ4RgCAZemZ2rPx99jwhfPHO40VuLOVlELKw/m4qX4zHUitUR+aNp9FHnymD2q95N2nk44dikfZP6M5OHg6wsVS2Og0b/hYI9v9xHKq2LcKruoRo06gh8C52A3oH0CC0HobpeQFYharOE5aP9mN0VX8QAzVPkqMZYrIhy8cxk8iHraeV8J+sJmvhxrHCOU0onORS4bDIYVLRra3JzDgCayfIXU9VuWAMD4LO5W/a385c8lePONMyr+q6ZHyBxNvuKYIyfSPlhP4DcwwGoMGY8vJ12wGs+FHByRoOBVQZLVEoTuhX5N4McQqpyNo4txVqDBlj/mxuMgHtoOkWPFyxP0sCn4rBOibqfJU3JckXAjdT29fMyCgDkRcuKQK6IbOXpwynyDgNW+MXkNpQo3Ku2k9WPAv6wdfLxLmGms7anc9i+76Lf1Cvxm0UahGpK3SPKtFBpG4kqYSr9pCtcP6er1Dzs/oMoFDsLYe/exzM6ZJp/bSel8/cotgfAZA1zOnMMfwWCwyhSK+GlgSr/QXJ6ALt08apv0/7OtwSjbxHIQ5XZUwHfGD5mOeXbSawZeZ57o1c1TpsJTlAFtMJX5zsvvPTSL/nseeWoUgMDwq1VZpwvQ49/JfVFNPbXASrUmbIwkMdYfA5gq1m/3tEd/Nm3d6FkJaYxr1QIquE7zlscAausYYgDuKfH+Wa0Ie8Qbfs8+rgWxAHLXkymE/is9kgxgSPG4ol9FT1nOuVjp6DmafVWeCowqXVuG0n9NEh6Mjo2FMPMt03t1LGPdccwUMIa9A3GLPOWYhTPzOG/awBJqAcUvhAH3+4M4v0wBNbdhlZwZ20qAv2dEPIjzDJsdMQyfvEbdlRfaLFrqPRxXtyYC73caF1fbG5nrEsNZvc6Hpwu3qMHURGC2RPY+b++SO4pQgzL0+yPllAkOcpDuWZyH34I4MIqfw0CUQFDynH6xkQKNgx4iu0Qi2yfVqhMSc7iiQZcwgr73e+dAJ1CCGGHJggBcCa470NLvopoKPDf6iKoJFsZIPnUIAXbxUJNSt3Fbc3eD65avlw6Mu3SsWtYw9FpV5xCXjLQZ64Vlrxy64naucVMKkdK5RR+B4ND+dVau8zyy+immACCK2srdREao27HvimVq65NLf/7af6bG4GnfF0j3sS6blwver5xRSiEUy2M7cStu+k9AWqH/X3aFsBe5c7SyXCDHs4XBxx/TnX1mbo5Y2Ga1M3Tpkhd2QM5W8o7bVZ9Vb+YndsrX45mrKEr/rxhVlUZ/TYkM+F9FaJxceOJDdH4/iv6faVDecZmVMA847IgFNl5xSIBhaY0xtMHqTNTKW8hlHq8QTDxtuUcpp2GEiIJFX0vElW8WNM+kAey8YHbiqgqigHqNcvHmj7mgqQtBiTp2mXZuDl5j6yQcsH6UdVEmIXPDroGFudbOTA54VfOvJQ5yqxpz+S1PRA7ny/JvKWdV/pZR16fqYrWFGrGzdzjkU4r6rR/5gjDMD4RltoJ7n63S3Bepx0U58fkf7bM5ygxFCgDHEqjmf/YNju8KYIkOOw7TSKp7cJhLTgxywmBsLaHh6kIZU6piZaNfnU3Yi9OAd95Ti8Y9WhYH79NpKqXCFlcNjnhSeSr5LLBbH6PRPRx7eHg+4CiASzFoI6efXjq1cR/KermYzDWPQ96B01paLVisxIjLdlAle7H7taFSvkTQlW4r2uLbkx1haxENkzhcpWpnPGDw22IArAYfCkiiWOw0LppzCT5F/BvvoNwhLWsFSQKlimV7P9K+5+cGY8qzixG7Q06KRbQbwYnKVQNVw9SErH62A4P377G6S5u2VOYB3xnlvcWMAW6ELhpb0ZQNAvOrRRJO5wH62tgdrWPdCDKPG7fNE/Od7kS5kau091pPlOShVMRr+Zki21NUpZow3NEC9G1ftKniKC4Q7Sy1ZdB4SWcdvTGwtyZ6V2w0uigwAcQgg/teNlNZweFa46+tTVZRW3WiO6icJ9KS9vE/hHt1FXxWozHVj+ud67xz8mKpRPUHFMqcCQk7ITLfmBwYng10r34AseXo0iiKsOoDx3j2IHQuGKjIM9MKABu6x3/UgPnOB2dt5w2veHU2Uu+FyZWNAYUZDYQVrckCUsfhmdWPVrt/3r8ku0cJj3Z5qxQfMQtspkjrvb89WfyNYPGp8rOk/1sEzWBEL5FB1+DMkAgh1+pU0/O+MGivC+C3PGeocC8L0cXoS1d0m9Iv94JRQLco9+n/O5YlNGl0ArIqyYMGowUAfZxWpGlpGLzTq/Ixwlw1qMjXEjIG+V2AOp9+DnaghxphwI9y2TA4lATaL74W0xwut9VpEW/bAQOTz4v3PHTdomo34Kf+lFEX7+yXT1FENGCTnZGILnJkKDoHCSep4b0Ipz2uJGjljEyZMWYo5oifRRPE7y+fngX2v2GhlafNB4eVHFBsQtdMHxs5eIX4ufh+Mq1R8UGsd1/rf4UBIGxIBe4fp05XZQ+soaot0HGLHjz2L46DxlZUDYfzLtRstBYDS9RlUZxN7a8p0hX3QLrPsiNyMl1IIC2ibh95gtxl7SJi5WWD2BTI9gu7XLMzexcTg3hBKCsZSzsXPSW8+4458yYKr7aoYjpSUnTlt56dk77OD65/V/pJuKNW4PX7s+3gKlR4AeeVMAXK+rY7AofgUnQ2RZmOmjDwGmvHnUtaCpSqJS5pHICPG++thbZGPnLRWg2sMWYCDAmKmoFlw4FFOBw5FDGQoM4fDIUkPd34VbTwgNm5y51nz7M26X9q4Yzgvo1LaEEy+R264uavU3AlHjoSq1Vb8NNntTb066SG+10lheexEFT25PVKKGxr0O8S8qahB4HCuxmfYWw1Qn0cOs945SjugnnV81X7XJpI1M8HZ2qHXOzshxcfYusCnNh3ClhBzhOQH9HW4DuBnVty1KylbzsxzHOKw/LbZovIgMznpDAUOcvxLlEK8KXaIDtz8Mbso7/kdOqBKM5zn4u26pjc0jjZvH122uKhiY7yvTQQN+6CGeiww08uVKbJBbrghs0T57YLAwSud+sRIQ6OJJanAMwVw8250qEInJ+cX58U0uuBwknp/yceNSjk9R/B9QIMj5q1PuANICkVYHGcIWR0ftSJ/PUCdKBoExsuhE+u4PbLwGLhYumdWnhRO68f3YmRnQ7CC/kgD66mWcpdbQt7sgXMOlTZp6/ttOSKA78nGtKlLQ7U47uqVaLkf+SksUVHD3lkf84InT7bgUIhmTsrs6d3rU4r+T72h9deCUoV9hhZl6UZv82nbYERLhHqo/atDi4zy6rAGKmqDouHVGnuPVlf9y7KdqZjhwb4EO2bXgTCMDMfgBZS/7KiGFW4w6vfqPU2Vk02xsElBRXl5o9eiozpQk3ANU/ddjTwMngRg7M1MRnz5haRIr/C5IzExsy+h70S++OUJyNTOYfv3yG6jU/snbYVPvf/l16Bmbjq0KYc8aUR+qdfTz8/BYGEmasGlJJqLkPmKUyz3P/tXgBGmfBsGCqyvzOiqxVVJSNeOdRmuEp5exI4nocuCjSd0vBPpQZ1m/ZmAwwrbTaEnkAz3wErPLNJdcLMkTejBAygpCTj54vOynmk5rDF2NE1mncrcJBBzC3szlC/8Nhkfxat/2lvHrIOrm+u3fVWyx02hVBRGl5OabZhxYfKE/0LV7Q9SxW67CdSvTmLiaZSi0yZMq1l0yGJOB9WFOKMHYCCDJJIedGjJqh6RbtFm99x631UXLss0RLWsWcYvNDe5NMnnJKGtfaDL4zdV++tx+af8d++IfpuBnq0i37u8+7mtRRmeggVY3ZZreyeBbq1LOc6Lqt36KJOb/rQ8HK/Zr/+tEAsz9k4+ybW4Bkslc0Iq/rInf/UtRO9X5OqMouT1hCdlor+aDyezl5Ter3P+Lofu6abMJwV4lXPiRlxlSOYueYHV35z6ZwA9RyJyjzVA/BIV6vuFU0OC/6Rtfqe44pmmtvUxoA+zVfpDnQ8AQK+dqgN3CH2y2kJrritziLejpYVmjtq1HjZrYalXH/k413W4NidBghjUsr7iYfoLh45hORsJ2Hv4JdcyvNrByf9yF7vNoBjCeJhPf5bOSVqp/GHn6cm8bv3T8x1J0Znmf3Jtc5C9cl0Y/Ia+sozAeGQSNqntGcVLSjxqQUwV+giOyAr52gzNJGnsxP6+/YVxydLVv1vUW8B3tuI15lhlEY3GTIKH/z+2JfzVauwd/W1r/w7HI41hNzT9rf9wABOYqpIh2Nq+tAR/8FlTXY9dvk3vxFpd+qqFyh4UutCEGRqDNxdkQVDZuiKQKHkoNRzeC2/MN3eqlbXmw06doqOt9pTB9pWQP3STxwernuTCacjEq5hCK1GHYQ5UO9PSQTUVwj1OraqncWICOPGIzSL0dkqDdOm71KiKzsDT2hdTNFlRwtcT0YjZDQlAahO0uAb81vCzYS0e2tAOMlW2K3iXKnprmhrjm2z/FWblQ/MH6AG9a2YwQqgzrxwWnjbDNetaLy+ZiSqhyRWldNzjBHHM9MBA2+KRC02ntbLnMSit/ay6Sx3D3e5HeL4lH5wsshYj58it7Q6g9xzKwjqBnzpKGd/8RCxGF2RAGrCfTBOC5uDFrKn3XmdJevygIb9IoRBfj4SoOCzoNpi9CjScCrsYydieXR02d7iPT9JjrOxnzKThkMoVrcBVkJTzo5foKxovT6jAayfbLwisv4LsD6BDtTQV0bO0vw5MQm2fM+2nEHAS5UIHGoCah+6KPQnfHUlI7VQK/5fda2cbGxaGbazf+Ji7wkD5SqGGBsiC/egEYBKsGLWKFRAWGaXsBx7X94942EBr2Jx6s5K6b+MQrPUp5xy0Lwydoo8NzTskGEo0W0vPLgyxDAPKQTDs89jyH0RV+IkiCwMiFrjXYeUOF74APtCuXCe9apUWMZtImoK7EpShL2BLcm49+8e5dJYp5q3AvmisaVTgEGV09WxQyuu6E/32+pfgnIQTV6ixAtu/ICOdSCB+98qC1KHWJEvAr4JYdB5QqS9ukbnOIJbA6F0y+95Pd2aUkdAmiA6F6QZ2hMSaIfVSLVMpGlZK18CqrwfrsF1S8p0jAqlkAWuAKFbRyZVNv4clv24rGmjro9Th8GECpzsPUi538Sk/hfZLbdpoIDJ2Ayq68RqHzsMfYvKZ/XT4k1Q/UD2mNDWnJq7KQC0pcQnI4wHfCVoez/7t3i9RLFHWcVlXmnJlpHqZeYhThc1g2qI8qWUZvJ0fEf3ZptU/OF5b2qrje73Hf478+FRTngkNrZyY+T3V4hH7GyJHbCTByrA/VK57GV66d4geIehijd6eOji3BZvUtDVTs8W8Ys6JuJEjoFgW5shgLkHPfCh7qGtAu/KVD5bl6li9H0iCAzyY7GSFKaEI3zZN/TVS1by90/OozIbc8CnjU1uch0dByXn5qxycCQEoGZmF9k3Dz2ue7vIvn1D5RFgf57hpdhe3dHFwoT2VJsyPs62TFYFgg4wf85+vJe7M3cJh6oT31x2JxEJCU84k/7lDhaD6ZdVMzeqq/abRvZZB7ttU4O2+YzwlImhKnbIgwbEnN2codhaEVuH9uhu0JNzP0vPQS8j0fuhlIn6QZCycTpcGEj1cXBPAQalH0PW1e8IthdTWNYDncufSp2L3IKnNExs634anBTO3sOq+7PinlUqUdbR9DIdg4qgeRv5nvvp0zBYLDnPL3oNDjkKmhyrzSYxJayyVkxXUSh514Ey6MylFLeTzuHFnfCwivBu/XcnwByNeYfdC3TY6OM71YXuJ0/qBCc+kGWCrCxkhFNjDA05Be8WOm4CL61xVEm4ebhAUaUjOzAR/D4wvdP0WqOuB2yDaMHAMVx0hK9RkWAtnp6/gZG03txA4niogoj2GxUI3UDZm1PKJiQZe8QIatOI6ffi42btjKbvhKLeaU9QC1zTSv1hl2NF0/2Ze+PYr2dPWV8zrDVlyJqaxjDgjhGI4HSt8dqrZ/lZuTtowwgXyI/HEsxFV7y5norgvMwc1EXG7GTo5qugJrPW3OhoNB6AdOU2EQMN1bWKqBGug70coqS51PFCrHaDrdArkPncF5jhM6/L4f7VbR4s5jbxtPnIFFa069XSfCGUeqcd73b09/WfiPUSdbUWHSbRd18o/W8nPCLiYOXICOaBR8JAzfxcTgfFPh8H1Y7PKu2n9KsRxhaE5GH62lM9aDAHOsX4h2WUJ+e5l4oqf1TFSMGdduAKTWxhE5OhOCeVi3JRs38XvVxLrFPPSoASliwwh48zYiIczh7hkQqqtuN/89uQA2KoP5xjtefZ+kf07cxUSxJsHi/P8FpHqAyI05XP4noVRvgMB4bVDY5f+znVDQi27LyVbPwOeLgznisOkJ5OQByh4kYJgIAm2bPpVtPSYx9LGpKyoCWYpbLWbOxnHbXd9VaH7bNAnCh9DQLKxJzHoetGCnZn9Q2OfCanHHB+QsCWIkuARJrmdDbcrTDbxRbjU24Fht1LwekspZyElhQw2v9paCF+iHwKzKjrqENVu+Yaju28gKk1I0mw2QgZ1IXZgyvz/+1Wp2Uk9qcP+Sd2S9ztnRkfk28A0cPxyY12JHjXxI9dzm5xO22E1Q3OPy2ohPsM9fiyYNbDBW/tmpP4rNWNNL0i22KNvA0YuMjz5jOrkSZeDNeAQ9EXPJN2Rc8LAkAoo9txKFqtmCOjMl9bG9XR7COWcf9PtteETOatApFCnmx35gxB9AyJJPblbv823thdbKyzEOA0DQOc80jzmNDgCIg4xFLjMwURXDaMOLeOY1B0biaIU4xJoWEQLwY3KwqEU5Qej27PPaoa5UvjlF21gD0BrKkNn7r/aoTnG98gWCw3ZbuW+bJWIkkOy9+h0F6fiAHWHLu7Qww6tzND2c/Suf9buwSqbdy6zWKJr+wrj/ePgNJyKleusBGEgUlwYfeQcAkHlgWfSNYeZJOjKb3s819ByAfqnpIZJNCi3eM54U4X86WutqG0qlz0ZBYEPImtgOjmdbnleuMhp9oLKpUfhKR9B0Y58pmQoS9dKUNggQt9G+kp66YfSC36V+sY2e6Vy1nZKCmNda1+p3fjhtmjjWoIqIsyX1L4SlN8tawjpvsnuxFgAFM/WHqpjGcza5NT7WtDKHmquLSZFe9WbVgu3p4OXN1c5AW69MvDMu5yfDj+qBNw3yZvS04kggeo9IIRzXIVeSGvCHHSFyCHD9XYQYZLSUoL/YaSKiT0H8smPagZTr+/a5Up+Q0iIok8AF2zsYJTRQO6plvxgDrrDT+jUrVc3pvs61SJmtecReQxG84nE+xlrUt+VRAVl5aca6GSwCF4TFE7yxU2uC9DVnagDt6RA79UnIGsnnEUZFya6u1UsMVQlARevImfBmQB4G3bFobFmj1EOvuBQo9t39Ku3QeU2x6YMvbcJX0hOx5jwWNxqkhcksLhTB731o4/AuKvrQgM5eaO9N93LX4Y5hGN7xHuM7Xk0Hb8rsDaCbqIyNutDtIX8Z6O/egOk3cMxtta/umWXjTdlhsOsQm1S90Vy+LNRzFZEHb4LfyWP7evX/HnWRepGJKZ3GKZcjYXWIXTrgUeqLx/WIGwEDgMWEm8gkDUvGXZdzBTsvnSyux1MiZZSX8Q36NgpfbeYSZCpPeDg4ustEAARkSuIDGsqdWpwDJDpO819Qf00MbZtY5xqB4qWrH+NHrxxET57INHRmoQTZCQidYwwI1mMVb9Z1qJMmdH9F8cIlqm6iIHIiF8bvriPWrwSUQaIUdRJeL6oQrVDSKW77oEwy9EAQ9XmXqJA83pjjRKAV8ACBx7+D6b+FIKeLsPFdkCT1hovmgLsUQ8shw3nutTg+yB1n4HMlch5GIj0Qp9uWqxxoceEGorfNg8IH+6Z3R82Y8eU3Go16OhrYvV9LbZPrYP8+Av1z64b2xb88mCc+0/zfyy0J3XeR6yN0QwLDBGuzXi1F9p1+c3wJ2U90C5mc2MySz4C2UigiMYMupxOvUWEWiV05udPObiQd7sWkalCgmg0H2PMnMaj936N0zhkL+nE2TqjQfD60PrGiHN4fOdRlw/8LnCrWh32zVGCxLgHKrNtgILmO282qcSaNr+b/00OHbJqQ7B9elMXBGCctBtN3EhwYf8x3TjZJlRIH22I9yWayWtio/S9Ntt+/IXDklwO5RvQuDM3r2Lg1jcZjTKTYysHLnKX7ZwDOP4pQc7Tj0qnZJ/12V6X/4kX9jtNvS5nw19e1cOS18SsQB6Jy/2wdwR045Ayb/BxDRIczA0h1AaCMiU11CT7sncSIlawMUyjao4pCFljFVbxArgN4WtqUPj4Og1L7Z/FBOM3pE01uMoR0om+V4vq53R8246zqzooyOjH/RknDYvwALJyeyrH5rLu8IR4e9o6B3OPQ8yZa7CwSAUc/SiFNAmYX9LmCedpEqlTvvatUaDRK0nDJtC0mmwl4ciRdAHW6Ym7CmyTZtVSMbzoSI4/9zMWZ3rZtC7V/S4+1vPCwoG4tcZGi0zKszqfPRs3NgpxD/d3vSH2FIqAeftv1VtM/VbZgVQr4RCR/c3e26UM8atV2/Tw9Sqi2Hvb0YXG+J/GapGKKjm+HjkaZ/yK5KYQIUUyU2G1lU+jCUo9TDcyeIexdWYSFJ1hnwMmWqgyLifrD3Jj2igX3Oy/ZRSpyYr/dQugYbjv0pG+bO4Mg+TBy8Clm+tBDi/Aj/gkqqC7v08Nj5/KrNv9ysbneO5YwFJoF/r5A4f9XzeLBt7ZFzBJgSQPs9IQMgzmAfFPEzjbi/iKGr+BvK87SFj7tsxkJclULNCbtJA9vQM6X/Oz1bcHItZLL02HEOAe4e0h1EvtnIkhbGiTm+dfqhnxAr95oAeaIxIpzlH+aO5XL+Cr23YXI0lCzpLPmumiEUoECyGSJatzfd41EQIHVNqH9k3i5OtPzUHOGv/lRVhzetvw+jWszrlqIxMeP4mNojSXN85ECxDkap74gTPVCndxL3KgkfDLk15u0sdck63/2LBYG4JMgX86jLmSYomehrFZoc2OcQ5K5MWGxGo6xLQk4G73I0a6sm8jA0Uf6mPzrd7mciL1w8X+rDm3Hp6diQofO2e3wlCvxdrwtF5YQ7cmVT6t9zJgVHTO+uvwxyUZdUtjOFKOCZF+UZ5wQlvfw08E0iQVVAFMWD2dLzJ2KEz6TVKosVfzkvyIrX/AF/s5eaUj5e3MtCj07uIZNxWlXNIyGGhQCHNUY2IfyJQttenXnhKXr4JLNOWaX1XFlzKWkkmB49r2+jpJoUg9PzLWXUVGlFsgjE51yxLd0L0he8su9C5hqAnUD31oToWlKS6FZwqECBjoEqyro794QZxml3YfesxUT1HSgdAX9muNQfWYolobLkJusAHHoE39iTv5dcZkDPZElvQuv7MohXi4XxKsP6pvTEVFTX6xcSQ7MQTsaqoGjdQ21FSVv9SH/hBCgoGabTZtxmfyY4lRUIozHxbtC3blTRsdpXQZ1BqerS8ed5OWz3SczXtddf9hqavUHbFDQ1zH5Ql7l1JMH4AO+GENNHWuw9Z/jtmy0TVBEstaAqhIVCnsixaxwjl8HOebrLRWaQ+Hg9QesEAKcm6RrrcWn1pwqq2/ICho3vIUVsvMemR7Iwnr15TRsM91Rf76rn1l5oif1zacnwr5KczCHHn5yi+a7aS4vhV5fBuk7UjfY4p9Y3Hs7+NmuOFNDnqDF3Alp0tDSd8rkCAC5+JXi+91tHWgr0JivruxYzDEHa2f54GOJnpLv1azgdLZsGevojNnLWarD+PLBcLT33XN97x0kUaiMgArcHaWkkhppFAgWDgWKVRHbbD7Sc6tUXUWmXBDM/Hiz5l/bvNS9eeyu+zMlOD21YROOj9PmELiuvFXj7U6TNf3pDTXc0JAPk4WHn2Lze2MzgNuyTskeXvqiBo3AJ+JWuj9qIUCJVYVWAVxAGOK+JkdCZu9ZMo9q4joBXt2mwvZUuUSy3GJiR/G/8SlxEUe/h7rp+uY1rRUSbSvgwijTpF3t+ne/HDyHltVsWVLX1zKBVijb1zmy2TTVwDZtkggl+G/MKCQz+BJ9VuqAjILPs2AHF5UZ4NlOiRAmRH4ZHFomSE4Yme2m0zzGoVGwW+p4vdtJOkGE6Q1gRGuO2g8XjS7LrFXmn1v/ZC8GR2jYz7e3PAc1myVrLw28JlmFY4RHIJoxA/o7uxPChuJAbcPKEI/tjjrqirCwPNNFAmPhQFV8yKBDX7FebfStPtBcoLaSwXaU2rRCAO5NDHB9BMOj/0WUA7EUxy5ZBQaPnf5lqG/XDMEwUn3ry14IDBV3IWPv9r8hKvsCnidjvHDmdXkNR2TBTp8iUdZSw9lzm12aMXeQDDKZnFVtRcoavQaWbe5D4ajB3SuiUPwOqMUrx9aZl6ytDmNDpoY7tZ9EDgEn+QUa2hqg7/EdaPJhEk+/n+FpyKBOCbNDgX4qpV3eYYw5Fm//9FgQiZcvD7Qmqmfl1cuzVfMeyldmiX8ZeSYWAqG6ra5KpG0cl4MQQwk/JPIxNOlhNYZXicp1RvcYAFt/AURAajb32UlINZhDhKPhZMpePRrMDZx7pvta2VrWr31klzrOTYNqefYIcAI4z2Utm1CXcF2ejLE7AjmYMBGgVqRx2Ehor51YZKQ3WxTckb11Ae4u/mZynJ6CgwiM1o/N+HigvzWFBTDqsvZiNTkbyqKyGlDHfLTk7l4QxwkTjDOLXsUOztzDECpEI72SToUNibbcjqbPmhxVgavMNZ61E1+rgF1KpOOBkM1bLtgyZTiD3alah/Nc0FdLHL4tjKZUDjFxxf85Pr9jgIpdGAUB39WxINzKVoIm3Zj6X74h0XV75bEOIPKoI1gs9+MRIMRXV3QWFxgxQvjfLsdFjz8r4rCMCTnyG4j4vIrUikCwzB2ICN6Sih/s0+Mp6X7hadqg1sAGTxqN7MK9g4uDXVahb1G1j14D3hGuoJTpy/LlfXQgiYsmE6846ROGBZywJtZwAIvEAS4mwiYGyqDuWdI6a6NNFMX2NYrKzg0Di61crn8ugPpqlpMT3vaCiGaxNVXxyfUUWxBowTaZUPlen6rNsDVdcNgFc/LX0flwa5sCTcNs4LzhAcLtofaI5uIbFkuRYP+Q+HvFvhmCd4cOhcYUoecWw4eF6xrUllrlD9CEHERIlXhz3DYOO3ndyRY7ZHkX/TSkuurd24XaE6pVk+CvDeaFjQEQGmPJB8gqUsCxernYwvL+9QXImh+yWQbQVgyJ38km/CgkAaU9IUEPP95Xhgfq2V0YW9huXBPDbXtmDX+QykbBpVZm37c9/7MkvVRwPn8BVLrtLUMW5RNZZKeXmqpbdvTCtkLavW0wKoFVT9JL/K27kX/fYffc3smWlwSCS824nkeOxW0z+12bM2vhdHexeI/FOkB24a0Ef71lCwi8aDgOHnfisi5YFf/XfPs4jFXK8cXlc2DNJ2uBJunbX6jid5gp01Mu8wJzG0cTlCJNiGeptsklh3SLQpNR5Gaf5Tpan1pX42CMbcXTYC59mpsZta4fKKHa5VbsU+pAWLrqGe02DIw5SUWVD1RX6ucyLwtdrznEhKG6BHr/zwu0miFOgDEIUqTiybcPYsHcYlC17HWfK8+Wn3QWZtB7QBo0WNQsyMQA/lxDyUJHRR3fuZa5u+gEhI3MChpZ8Rfenj6ASgBt/2twAEyxLpmu8SRC49VZzcESY2Oqgi9qExdGwyn4e/EeQlpJ91QHOcIfC+9M7Vm+Trp6cExOo/e/e2LQh5bEdcJI41wGbbjdfErvS+IIsLJKJghUkIliaIr0I8Zc51uhPEqC+TvM4GFjjkkOwCCrwlx7R5hXvP7/YwWbyDx4hVOBHYhGBYw2/lFBtpv4NjUi67rRSDT5P0TKXUu+Oix34BknyQF1TsQA6QxDfTPhG9/XQyuuPXBp4HanbnxP5Lq8BZOiUBU8+TO7TPTt8dGjuDrDMkhMdHo+/99r8flm9pL7NToabOc5Cuaz1JTpzek0YvO3eyGvgNbLV0T3RHq4uR/dSdCdztLXQ6ZYu7Qv4Xcop1Oh+aFx0SH33QamwSnU5ryDXZVEMfScRUdel4l3cavxh4uODyy8GsuzdLLzT8oulhostHRFkM9FWndhQ4i0ShqNjV30wcmXS+hPBzmSBuJ/ENsFPX69QnbcxXVlE4qkCXOA8ajHNqMPtBjIN6fvTYlN9+7rvmi+OIlxHolRV0T7/0dZgIIwU2givsU7mHymgytGh0a8S9uqMHVNoMhnOUp6XE9WOBUOPftL21J95xzyOz9P027uTJCFOUnMBLAuVBGaRNp1OeVBrnV2koprcZizsOBJdZIhdaazEYuGmM9HcPWwzBrzTVBGHz+hxtaANJw+OwVOusDgAKEcOTd0cerhyPKfjbE/nNcYUvCtdPxK6LdWxCrNobx9NoPRmuGKE3ATYRveubFxeKaneOfWvujHiG+aEKmvAJPihisdkbnJd5m9qYlMTri37vVceezl6xq8AF/W9BTtfAo8Ym6UKatztYK00HwpoTcL7NtZA5KiFBrn0Nm+YD18Wx9XpYvIA5vYpngP1ygWTm35SAH+h2oLcMGKd+p3NEAWYuqU1fFg1IoKpYmqYNdROvViEXUVd6mWTfYL8zNwCGRb0HmEV1x1/tjtzNTJ24in/iMOChmdYh4M8RVn7Tywqm+CCtxTsaiyunDgCLeObVEgrK/FLIQbP3ztbht2x8rPkGjzyiD1NZ/cuRNAKU3lqGnXyB+xsneYo5gj54FJd7RYJhoMhf7mGpnwmYJvMYrvqbJxdUnkRqvSmhEButIQEk1iav0wDQ500sBQz4uk+zGNjk4H1nCKqvld1NY7sigObjprzXhJ2WSS82imeHDDAv02WGZrz+A1M4JSrUmyut0dQAAPYWrHzczrT3DzNCaFDaBFz/0GwTl+Njh1vv+GKHYCwbAzi8SHka/RFh9dOoqJSlYc4MxQ/TINGp1RqlIndbk6NLr/Tm2NKYMr7MhOOySBevxu+KdYKVNKh0frUdZpjil09U/mlB1XImryWDDoxxsMl1tW2wZ4F+SaaLBkWa/SqfYDMkUXsC+920V1iE1ap4Znv+y3cNrXYzx5YvyrgbWaTV+tM1q/TL4kHKsIVk/vHm52K9EcK2EbZLfUnYOK+phP5ySPoDXeBjQ8BPMP3VkSDsjmtTkPs2qMjUTrK5vSa7fr0zfhqxu232IDdzdT5jP3rwu07Siya2IpbBhBOt7+3iQV9JOdhzlkXk7zn+NoBaRjKiF4Bc11zpJBrhKN7ceI1Z2VrirrOyyzdV5KlERQdIGmfmliVAcWGaIsUnY/fXdi1u0HaVvpXt8xeXEzBxezt1/t/cWajfum7P6KlCb0ydfD9O+n6vnYHskqwfyG65JeHDpWWorZcJ47rqQ6Ul9nFsI7jgfgt46qCjdSrrFmk14iRwaM/4BfNQyHa+xu4SHpygRl5rVdptHBGQmAiuaO1mfbdxCk1ZDvYe7Cd2UZ6KY0osGLAnsrux6Y9grSwcwGvbns0sIxsFrj8uvZY8wBMAuuebO2iSV2Qm2GXK4yX2uaaq5GYaApRCxn5NZ/De0yCKg5soZjmKKG6u6Ev2j9uKz+EUG/OoxiUGWrF3qLbEbapDDfsUulPBX/sdnpBXwvnKtsYCjNCr+EbNYsyNi2zzaY9h9tWkmF2+DTgaNLzlu4eoOpvPNLQHL3cedeuzlWKqh0QnsAAF5a3SfypFiSxi3hNxzkLn3AcQgqRfp6/GnyqX/lHUL8DtbBkTkkHGQERn9xzsoG0O9Olk6aVU0gbx2jATG1WvkXEvNPCL0wmVSLv/c5mlvZf/dzh9w4qQJzG9M5Klj5KDa5HdG48RkCh6RKiwFppfTzFrcoeIFaHs8fP/v0L7wOaXiTVfbTBxhLhz6iTycEciNfRs6FILgTA6jGJ/C5imWWLjf/ha5IpfqCKq3YQVf15I1PRrKLZJa6RodC4t7oVKn/z5QzN14sSq56m1wnsRp9BGeqgWjOLJJMgTSeoty6j4uGDar8rMfJ4nVzPYm7mQ0f5ObDxVZZWISnClkEZPo8zj8Mo644+3kpanc9+KnrjEB7rIpri16o0sJPueUI/c4xcv+77HmmnRMg6WwXtr3n7G/NV+Ckgrieh3hQr2jmRJpgcDAyVEkRMKHasf6LGDOQuFDnCZ+3qs/rZENNdcM3nuKdrS4K0z6AxSqietrxHonP1qHi5qRXqVhWNDyolvjdYKmWW5Z+jBW1pzEIPEFeDyTzx2nW8qyzcmqqMK3xC2BzWW7TenhFKP4f/oVuBn8nel0Pyp1TyaSEz3oKGnhVU6JiPybQkmdLKtxiMhonQPlOIfEHTbSitS+RfHJ8e65vM27ZfL6SMkP+FDF5yxDGVsJ5w8GEWVxAbrevAKu5VLwQrRjKvG2wZjn19opK49baJ96iVLK3FACA4E/gaWRLpWi+3jLOUBC/aU0VuSgp4kq3Y6CQJXXYaqZjJQQPkAQKiy4jIdpWuhWd9MEcwvGucZZshwEiyIk/bD+ZgGvDiw6xx6ffOCr6TbC5HAf39RnW3cvS1M7y9iQg6AtuwCO86N410iktAYLcZ7YD52HxCXwv932Scz81eIqAgVeL3UgRH2DjXSN3LW06UJV9MiTlq/Bw4dMJW49mgjQ9IX05MjuzAEQNXvIJc8w82VmO+kxWiwsmRxJsgYu2B2KeuuOu2jxcBkd8ghVh+fbvCHrTbcbIJLHSnVRsZnZCaORFtBYGLR4ZGaPGKOtb39+HTmIwQVefvmGas/q8v5P7vEsLHmkXfoCM+gRnZWrwCdezMlQjfke3KakSYsWjbM7oMYGM/+GphvL4tzXfAchUV4ZbwFE+wIbe/AmjCom1pOMIuSLKr/vRa5dQYPGTYXUKbeeWH3KEFv7ctgs+5+rG5/vOjKNJB0fYz6NA8fEq6DTbYTnIi6lDBinIK7V4o1bkMxZJRauxvPoSjGJm/efZz7oIKvFZrkqd/7yTrMr7UbgYg6nACjXFz80C6GPKPR+cEPXHmJ3R8reSSkIFu05fKS2KZMUHp81mQFFecUMKt6BRuba/ZXfuX5T56x8OiWJiUE35LEcYe022WEfhkjz6wBcJUn8Y7ZP7dt/B5i+tmXQO0/g9FozJPuhlqb8ojHotQcIYDQ7mMPMgsWzlqbdZXzpTL3fyMFo47ucupeK4StwvQUwYWx2WSU4yUjFU089AmXl0hkzzz4U8qayTi3bSaPIJ4xo6NZ7UlwSxSqTecdEuyIr1QneyMmX5u+ZR+X/oeWuvLlwM0C5/8YSIkFwqWCBRS+euiwsZoFWlJzqi4B9V09k3BacPpMYmW6k9XWXffBhnm7Jo/xLjvN/ZTt4odzmb2+4ZoBOqYwU6A/JzyEceWz8zi0a7dzckJ5rT2Sxm7EKagl2rrp+JdNNfoj91iOl3HGULmMNGEPDRKXJpxUrn/IsbwpBQLw2GmYqu+5ImQmpZwruEChqqy0G7NvYsaEAyOx1S8WsaJlAuuBrqt+MMzgfU4GGgJRlBol7KOEUchUVm5PwP8/66jPS/0aM7HAKBpHMu7pQYLvGwLwCdbXXI8fE2HOEt+l7fmQSDdZQFjcnrktGPqsnEsDl6ggXQzaAiZxMm+BZOvUoN+YZ7dzMDKRGkK+m28EtAxhPvLcO3R1mCQ8XcQKomHEfmzH0SkGoFd30GCZRpAkyvwJg8PlNOLsrt5Io8SPvT7P1MqUDSBEOiCnJrksI8cG/BIeLziCdmFjC8H+7bFmx7RkgHAJ3Rh3YLjhtHeVrCCaJccckgo4WGzWXT/vlq14tEXVXu8wJh3WqSalNZ53YH8X/QB1PnDB3dB5Dj42u4Q6iYU5ZiOBL7Dx1c8NaID4PedIxBN+41RgA/z/ZpHjgUYIwXNTb/4SWUEuHX/cswfgMgB7awvtBUa23TB9a+p1PLDErJdezgopCPBjmf3MFuM1a2Jfr+/Djmm5rkExzXzmjN0LKoqo/FJYySE97bRpsAkyuBLmvePzndOTTdPX+BvQKg6Wkyj39nLb+nX0k/2HuH4nlSZjTzlnuBCnPg7G7JtxYUI/ilq9O85cRS4zEFmg/P4Hhov3jHKsXdRmhyXpHuPic3vd5h2nnPa45zKue5g0auEJBiJT3ufZoTFs0xK5hYAUwzPKmFIQiFSscfcEH7qVKuhKWTZsZ3+MEak1NX7poqplD6BzJ7RJ7/2otDla2w7F7BBPdfXkczNpFzSj4ui8nLWAeSjjgpzTK6hSxatwoeDWCqRl0P+OEMrt5+HCr0QoCOieoK40jULEO4Rtx/swfwhdkOxPbCyTuCZbEN8czSsZnj25KPRkcluArckwWscxL0+uZKIqorxqQv6Ga51MhrLsc87ssmeM7mfWo8OYmvnp3vkQEQoLiH6nHh0Tvmr0YMXLpgiGeODAGiNGWfVhevmnOSoQgHj3zL4KTOQwdx+Ri+0dSIqGBmpdir37P/hwhcHUG7HDxq0uW7+r38GPgnELi+eCvq3JAFTmt+vNcpT1wHQTyWaHFhBnhei7PFcolW4N62dtHmeOV0xW8VLet2I3OstCkfRySg8VRDzmkVG5f6GKDbU3FfnCNH3J1QM5ZsNYVFAH/1GsDCA6ZfOlNUKHLvuYfZ0N5u9Vrk8u0ebhVua5t1JLbhpg+nBZ2ncStT3ZrdKmJhdSN2a/m7MS056zuSDuUQgYulbCRb7iiPLKmBzlFhqMqBVA3fImp6DBthSWSdJQsJYtlKseIV8bQMMhqXltvIv0l9EGvyB6LBWNoZm9/AAeGD0wuNH3GuS/k05bJ7FWH/gWZkRmOQO8My9msQnm1othhsu77t5qPWiXT4EPpYNAM4673Xh7HcehZ2Z96RwTsuhNGVy/fuUctHOo31gdEoK6uSr4tUoLqTuU7pDUTu4No5fq6eBRACsIqOiSVSgw8OSTe1T2q190GhY00CG7d2SjNoJR2taioMBwX33WIAO4G2qUY6qrvSt27m3hZc1V2Fgrq4cxomQ762Ka6Fff6Cy+CwYMwNymiKOHJ9b+twTsBq8fUu5uJ9TiZpLfSAMMfEOKY+GRwbdhq9spRbOBjVmvDfLEuzfExKSSzyLR/mWAsrcCNjq44KwCCOKftg16jH5yx47TtYCgoV/4TOqfJQZ1ueAE+TavHYFqkhGoWKSWMsf0ogwoVohVtCWkijQLQ5WBQYTe29j5Iqen6Sty2iSI+cyF7gF/5REEzRrqKSA/QNHicR2T6AUt84dYIT3+9JoFkGNlItvg47OwbMP/9MZ6B0x1yaXe6wpybca0q7MZFN0LBitP/3/ytGXBzvq1HfGn82pMK1aT3TzufJr/jPfkMEn4+3fEtX0leDegj5fVvsj0h+kLML4tXpWvYpV2CkKxXGpvT78eseFN1pTTKRTjLYsglA08HVQsnuQjrUAuHLk0809S4HKSJ1+cnh6PijDtCielmqDcuwUMgCHMDppjccV5dqiljcrdMwmpjBCgZ81I1w7Aza7996rrb2VbAduThLdSUqjpFQsbglPL370ejbmcebt+PieOw6jjcxOCj+YMzrsNBGwVm2fIfVPh+jDmYaaJ95lGou4IVeudlR4l3zMH6Ne2elX+lzlY6wlcuaGqNgvSeFFKow4CvB7fwSZkyXiYNAin3KfVBffakm40uUXH8mA/penycQhdz/bpBEflMga7MlHcK+J2FrwDvFunc9t3L0Qa4iYnl7M/iSsYnOQpjE8xoIo4pJkNREki3ZUHZ8fpScjiNgNw6CEw+VzAOBIEIOlr1T8sBGaMja/ZKaGKCVXscZVOgD7YtxUyJOP6D9IsY5x7smMRTtu5qPYoLCJAqtJrM0Jnr6YcrmbYXK1YE//26vt3UbrK5V3hj8lUJqu2GwXI5f2VYCBm+toaENoRF8JGBk98gtS1RptWVdM99+2qfQyXZA4OT6AQXhDRuOnZGMtToVmmyNmYaFwlngiJIUdOOeyhK/kQ/+GdrRNlnL5G9mDOGcHs14qe5HlTHClbkpykwIiRusZXs/GkJzXGiIkmuDqGY62gcHc/g1P1Kd87ueKIZIulG1dZzSX4K2adBtSlHBouVulujMEqle2Yg7Q6qNfW7wxFxr96BuGM8RxKfhsFP+s0f+clWwXJmDXIqhbBUdCFS+s5MEUZgHuXM/ZFE4tyj9bijKZboJBj5MQXKPIX6ii6YgbymoQnoYHQKENbJ7oPQv1u69HbTuPol0v3zAEdjbAB5ZoFzJQu+xjOvDLrqrZWirpE8Vu8Xr+0ePtQskgSvmPBwdg86Hg9ZQnnKdIb8eWpkqLkOPQ0bkzPhoWG8j4yMkWUcee9duF5Fq/LdTebpxdZbj7b7LnbLqjDZ7RClaX1EiMCbR2O+WuoLbWMxiXEEX4PMdbGWgt9MsOedAXg54Ovxd37qBXrN2HJ9HKskzXS0sIT+/Dcd7epsOs+v+arTK7U1/7ClXFpCk8nEAuVKVUNtErlrhuntAN4YgxVqDZEtRsAEpvQZ7hj+LCZyu+woXeMX94pRuODDKKtmjnDPHVaK8WwM7v0ed/TllxRp7/nrACYsYZC2lT1c7UBBPzB6c22r2nRUcNQn1zcyTefkLjRZp7ork768xpi+yLcoGMG9fAJDOCcx5b9XBela6v56AHX1hKhL4N3AN4BjA6bkxNJz2C8ReD2HLzIRCTqAm5+zjVe68689rX1Xgy/NPgijiBv/8XI9d2MkK7P/mupUwMNz/GRghlGw3WixT1xkgCq+dBU0N+S3g6ddRxSO/hq3PQRHapqWL9vBs92cq/o2TYHpptDUuJk0OkyhIsYWTOIgSeTGLGj6MgDGQ+ZSLotWGg/OGjSmTum+OYpqbMrQ2vVzsMXtKbACtFCKmH66NkpJbmzqnDwyY/TB8Ck7KGWQIRm/FxlcZr5sj5hZkEpJpnmVBcwbBSUvFM9o2nXuSU87mzyf9ugxjZFQGOOxvEt3abOd2FJdDwBglQJOKgVYz68g++3YQHvFhjoucs5dJNvjXzfGKrrOhTYjHzSNZ/hOumQGNNEbGF0I38JQORlaO/nvVS40eJpDRqFS7nl2F91KsX4pu+wPFrJcKnL7mZdsBjhFBq25gD5vNbhYw07TI+qFE29VzzXJu9HZpSF6dVSgOR/vkpAinwExA9CB/wTPxPOUu1Y1HFFll59hkP/+L3v0cTufk3ypVAOk+nUbjgTgNcs6YSxSSm+a1SkZme1Ij0OuiNGfBIOQ/ST4H68Glm4iXpYox/LdE2OREhGRkAnsr7Hlp81TSocuGF3SR/UlW7aexcGNqU8jptQBq5sjYzdUy9T0emTRu+j7qIkCwj7fX85L5f8t6x1irSqOi95BxEBZeaXHgrAvrjAlFMndw/dqU0PdAtiuyWkczubccf12TR0dYKdVdCSRY8twip8isRtFQbV5SNywy457kQVZzeJj1TP2GPaW/U8c1Gw7/yxa0WUGBWf2IE6rBxN/Q43H5OIaJsrkD5XDRXCN1sgdkgYJ7g8mgjQ5Vn+Sv1UKHuIRkrenwFEJfUrIfNHDpILnoYuU6IJvQ95SSDGTbbjwHD3vSKrlXViIV+7MYE5P+f+cyxv7ps5NWa+qhI4/lYIaCj1xgmXul+Hzou8ExI7VSUqs+n3vs8hnjh3cMwqjeYF9hz2VD1SNGJNrwyq4NXOrW8QhgBcWEQAFoqWs/Nr+UHIOHDU/MyxvcQmys7uKcgEif072ZQxZukU33Aby2XU4uCXaqPShxlHWwvQIpNXPXhy+N7MxsB3qbJBWpO8A3ENuD9QLiiFHnrdHY7gIZ5BqwRbNnt1nsW5lam2ezj4r3Vqz/oVF7pezG9JWu+x4zfedY8i7r0ESMiXDWjGQ1f/8QKBX3J/DkF6AaNKWVPbENXJG18Fe0Izj8DZoBiJGWugdrswVCM4B8hWZtKVpJbMqY2ocmRGBL6gfUuOJ05waCpqmlJINiDcoehnRuuBt+KVCDsOeWnMlCrTMHeX8axM6YZVIRt6Atkl5V+1gxfEVsLyUK1dh6Wiazt2vzZAl+bFdmQLh0gQMFbTLleJy+g5XRYwn8XHFu12zCAjxpg5Tt8yUH5HhoOouomalbB+0u4CCr+yQD4ZuOFLMpBn7pFIP+MSLvixQUpTkLr3URZ7x8J0vFA78mI7AZWlkLgTwvQ1SxY2yx7dRS7G1B/uDAWALwNCUq5cS9DwjD2qn8bXnm3tTuyJvn0agyut2g3hv0RcrFJ1v9m7svMXO+3q/hlCIVDlQ41wmLL2nTfp71A4Fpm4AAaV4SxqnG+RI0AjAiWMUaMTx67bCKhNBa6hkSBQFi5gJH9z2CCUF41t67BS4k4oqdvXqutMYdS9vvddNZV8XBl9cLWwz18h7p2uBYftpBrYy94LauFrukg6wAgn2VWDc7mIMkzr0CJRnhR+xneVZOmGL8BnYCpebvhd8xVRb2AL6PGWCMnpaMXl5aaIwdGdyQ0ZgWsUAq+oQRK2xJuQm43A9a1/NUyKz3Y1LLY4u1li6VoP2orZ3f7m6AsZgSj8VMk8qFVVVsnmrk/TTfTz+vbYWImOxxs0SttqQMi11LsyXnia51uaUS3GgCMf9mnSKdeVJwNmfzd02lV9+UohmD6zuVI1LcFSiKBbMGRvSUop9kJPHeCVQsADCahdklYjGQYcgcyjxof03GgKPX4/9il93WAtqS39c3fc2ZscZrWX12ndoHDfZhxeTUNFbvb0W/qyBbr/emr/f6PNnhrWORFO1xJnRLJCS4zMMvzeGIopbXPF9GBS/Ht41Dy9qz2j7aPfzspR6xz6odivWz37GkTv+Ec8E2gz0kYNotuFUrdQ0YccG9KDrXE3kBHiAYbDwD1gtsIZlBzEC0RyDvC/KiOHUQOunHRsTRK12Np5gd9DeD9vghTXjM72Epd19gNeXRXoTC6LcNaSkXNnd58FawpRlVJfWDR5gO1sLHv8u3RBhbZgIr9blhUjIMylYWsxt7Jr6B8YN844JWWFocMC8U7xPxHefJxCl63YBenE7Cpsf4bAZm+IPS16TxMpV+q2OiPyDz9tXVxn9saGh29SFpdNT25d0JnRrgnAYeLoNlZFJ2BNakGXFX0s6nc+/IrHQLSlLsZb9ZMgbkioiQoAeYuMDfOATaLYjDw7TTdrDmm6Fu7m05F7358hmtWHGVkknE3S0ritF12nMQcJ2fDTvikf9t9GdnQB+XW17OoOS2OFO+v8w221Dl3/1qpikqZBBN+mDSGkwjoG+acfSEDlY4+4MBKeOQJh+mEm+GmCC/LI8Zv0riSy3jfrQxIa0eLzc3KImYpT20fu3bIPdd2KnDydUo6vWf/19PuRl/F9m2BhstH8/pxoMkAtd5v6Hd5lzx/052J21Y5wpoT1biOmXiWlc73yUOb1NEmNPj7hMYXAwfLvpLc7egm5/BGotQ5drb0iOOZuh8OBqjzyedlNu+ZB0C7OEFO1PDALDo4MSVHtO6EmM6maUbODwTXSwn8H5ZIjn3oOKsKwGKfRnBvtkAICD7YYz7lM25HWn3EyehlN7ethNBulOFFZg5DgadlnArY2mOEGDfL12sHxA0LYGyShvmSOEZrCln2Vq0iGslVXqbWFOAz+slHxiynHzrknLr5Elq7cHTVX3/1uU9rWv33jhTo+Ocd5IzhaVez3OmWFzq9GEykbbxhMMYOU6g5Jr/k+CfbRMsqiG4F7SXLlK/WnftU7xaKm/wD8r03YowZqSbS58jKcDzgz+FNUFON6FeCtLBDkcaetjURoMNfXfjm63F6cRsvjfjWU0h5JDump4W6ybqVTgrSOqMlJGL+MxavS48pUwu4+iMUbmRxroIBtyPrUEo/4v8GyV9k0GLHNAfK29P6ZX5b92iziIB2Mzc4lgZa2dl6v5u+wVdHrWsRTwNVGe4qYR4Kk/bYTKLTkvY1SWlQYfNOA3qlSlU9TZStoksfaRYyZ4NP2o63UiwNQgx3+0nN826CYoXuWnPgZhAWeVqYY4+KTA447Ybv9Yer5GfyUvOu3g+gzg761VHA5Zo2lTPxZagHRWpVxE9hB+97wE+rPWJjzCMs3N/i8O01ZoqqXGNqbZNZqz42+1b9BXoUWh4o/9Xxab2P0n6g5ZGenjIz5/CsxobeQdlEwbufhNz+TxQ4Pq2D0Vd5TRqtohhLMSlHncnzBdrPSth5tu/iD3jRDOJZgoy7EbDgdiMSZn7wB8vbs+xwaB8LfkMSD+lSWfs2Su0ybjMtjvygLJFyuIKqkBUR78SyPWX821Lo7QRw5F0Rd2kCMf/nKHTfhKqGYU2bjW8zWfDVfSzzt7/F8gv0Pi/xAdpyV8Uc7U19sKhRtb6dW9xsdQMPZ4WWvrrB0c21QufdMZwQNhYtaqpNtoT5iIM9egnI7Z/q4FSaD5bvIVVyaljYFChr5rIFtYSw1BPUHlbA3EpgvKpF9knzkl7HfHiyG03Jk6Ar2nJkiy7txn4LJmwacPwlPZo5lo5bDeZVQQtBByrIjXy1mEMaKSeCLHz6F4CT7W3VwSXr62Kcdi8Y1/riINmj0YSvknF/ro3S8fdUjiU+ivUn5NS0oGVAezwG2Il73vje4rt6kICHQmMh76DNBe3zfT6LDHzkhN7crzLBAk9YglPBb+UdeQeq8DpIcvvfdJg3+nrPCYbWQOQm3zNp2u9vz6Jo3hYkFnEq05aWPJe8XlIMk2G5gQSEjgTvtptHxqcn+LmcQoyoBO5Ougy4k1/5qZAkrhHJnoRYiTvbQ3L2XynsJxoUGwQluIf7WzXlOGKfv8GN3ytNu/xAShDczMVfUYLBeiT3qwDqNp67cOibJD9ovPD6ChuR4n+FebAmgCgGWRsgopwedQBaHSdxDEu5T8vlqH1KAV5RRT137g3/9v7LDie/7TUxofajJT7MVi1nwX5aQjlVM4bO6OqIC06zMV4dD6WjPRhxo5elSVL7at8ko3j9ujv4LgQCQG037qtk+7yNJbN6u3Q42mJei+tvsInpAFUFsKnNLMQFWGpklQ+B6rUxf+e0IP72j9CzFBdBFnWs5WaZMaD5K3lN8QDD/a78ngOSC/Y6bF5xiTEzyS/MUOb7hlGA81aBoAR9/2fIBDn9a0GkbyK+XcJA21yf8ER2FG1ePKWkvyOGrltSq8W09QgHPVEJNkjJ+lHAYopUSqB5VK2qRWLdajlkzFIn6v7ptarSn0KfkcwwoOZWpTDBMDKqTR5gZifugw5BNjRdZHCliAe1yVyGcURJJpgZHPcL9OTuj6pnuowPh59wJArJe8ZxGnLf905NgXQ4Lgrn9ebuSPcp6F5prZp6R5CV4IVgCF8iYF27+QSkuCzkAyppMv37Kl/+fyJ0U2QvuCelhc8CWta/5qaQITz8/tTHiEtdOFoXvuKniUteLXoRQ5zBRJXm6pWBFgN3UqlpR8AQJPJvTTetYGckgm7j7Z12AS9Rzj2B81SrTdCEJ3mcoRibfTdtu8lZ3bMrWT+QMPNbNq+tK6qZueL5e3j9GPAYB6aXX91jTizHAqg7HTv0e6C0aRLT49UK2DZDVPy0EbgJ6vP/kkfDIE+LalKqC2O2Z4E2tgXWSg/QtDTcjTwnd3KiQCe2wRLc2du32o20NEOVBSCR8muSdjLEFZe7+PvRZlu2sIzbRP3kGw2S1r+KYNCcpwv6PjvjCnzF+2z25stQ1Qu5cNNdbZgtg/YNPiOkxSBfmTpcON1oHYYIgIpQtr5MJ7Zr93spXGrNbCC575wuFqNGq0m6cP5WlLOMUUv0L13/E5SnIHKcIZ078l+EL7PZiqqhBVU6j8TM5bSaUbjyOnGSUUAG4rxci6apPQCGICs4cSESl34CjrXLSL7/IFPuHntYMI/1OgivniUua/RBDs1W0sidmj+XwPVCE/VPDdUFA+6UA6yAq6fAcNhExVF1rLRPNM5NgCm1N5S+5UtjRWe4Bo18uGHn3t2BsM+OptwzGRK6hksRu2HEjjOX4gttiqvBRKwFrHdC4y3Nt5CtD+k91qncIRx2aFQV6fzDXAkD9KgaS8DaqSyZXFsOh+ipSZnFuO5gevoHVjYD9scxex1TMZO0UDASvju0Yv1pqV3yXNHoAnm4Qz5ZPMjuWb+2cXUY6RsIP89USvDJWaYO5+nh8R2wzlvnc2eZNeAAxVrCVe0/rqRW9SqrE03Z12F6FBIxs9DnkxuGbXzTrs51wOVLH1l1nVTRTuzYVxjGqXNvztqaIOhkfDM3/oJVccSw9lXiVfxwRSDlr/6PUT5HIIHULPZpOyoZQcaRvJ56zzucwHmr4OjNQHY3WdYDBmspYg1hpoZhBa7a7BTKhtMyiWK7x0k4veOi3VYfUut17OZqoC1cKmtaPcNlfdCB+yt8Seg9leISxS8AZAwGPa4X/akEGBLDL5QLD4LuW0AuzhveKCyz+5UIxWOmilOFX2p/3Uh3jFbh5sO6tj2h0JND9K+9O2zeKlHvSok/uB/7TEsiqAyFoFXuZemO/YYiE4JALhLqSFEP04zWKXXZRwRb1t3YORvKm5LKLudZEUEVh59bj5HrDwps+PkO1rWRzAQ9YBKXufzmURpd2Ebiuek0h8rdZwovDx6T6GT51kDMlrlkMNO0fubuVnv+jC+/rvXLjtpBEAhSoENlaChA+HQB3VBPseLnPe4qZrPNeIukGq2o5WcWBsL/IZjBZEHBmj1LEcoen353iNn8b17rXVApyoiPBg4pEhgnQPvo/NNVXKJ7AlOoNP7YD1EQ+SinoaqPyAwxyW56MT7nsnPdKFOY4wOyyR4jD0jiMEFxngqac5rODUW6jDYaK5xYvbDY4YXYubP9sBuPQZWqScI+pcI7L1hactc3Rv+dkEouOa42kKwUnHGsRkhA6tb1vZ1nVg1zkUYJnuVNGiWY+IozoOCx3kOKpbkC1dOpaMBgqx0gRjUzQpx1tViaAwkrOnD+Nu6dGWGHJdpjW8Eh/Qk36uWwbquve/MGcTmq/mAViM0VHvBb2mqqKMnh4yBdbU7dWS2GL4bZHB8eVUD1dtC5P7um+mu14MII/W9y9KthFFWQ+Ivag9ltrB3FexSgIyr60rrQkbdA+c2ZxaAy+ZFuFMEOjEwc2qPWqN6FMKbrU4tZjuF3vdBcKE7gTGNS5duignMle5YnbqMseD3Fvb7Z0Ptw7KMnB5V+Mg/lJFr22meV5qMSAMnjVUcC9qgh6/NAEj8Z6wDmVPd6uYdhzVXEdkftc+evBMdYFt4yO6R++Q/ARa2UFXkT5D51e2k7+QHaWydSNMwYI30cDopXpMuJYmCsh7cNo7zvcWj5jo7wQ+6zyPapJ0qNZEZsetxl+KaN7fx5x7SaPRjgyMEF9Zye5Z24EgH1wjsnln1CAlPD/tRuYBOo9XYRm11YoLG4nw+XeZY/JY5fB4JV4ig5wCJV2df828f4Eu/KGJQBUU/dqm/jFCq8LdXc3jyQO9D9GgrSbg+8HZlg77eZBLHmQ42YXRtQFzIGuMsu+T5bsPYWMdkDI60vihk57LeSV/8wxrqADwU/k2z7JZE8b7G9Kuk9hMbGO++HIT1wH0brWviS8i2T91sBKI+r8u+8n9QHwUEbnvnQgysVZKehlnZaD0/Anm0sd58CtYL+ECIkrbh8WoGoRsVMGQwfwvlQLE1nbiZ6InLBvrpVAmpAUfa5tTwgR7ZBBcyFLcMYsP/grot/yv/iWYSCMNFV6PZAyCZKW4ggwnIpBmir2T/bOHBiaSCrW8+6reFlWWUCvbwup0DheT3CU/nUBjMLDUPWy5SN4WtUg7X7McZSLdDu8Sd0B4r/y9pMAZIxLxyTkhvuuo3CEE4pCRFzHwGpyvxRzVQojlsoe98V4t7GwDKmY7eRYJmQOWjmA47dqep5zw8WvnsDZTp/OavW1eu0OhS9EobrpiW4joK3x7ILcGjxLcp3f/76JmdoB5sX+rI5xoDa1sDVUj1xCVbtJHBlmfhH/e3kkPscpqzO1dfk+mMEvrLsh0xujd5WBVBBbcRs69dtlXYWycFTy2gef7sP0PbVutTtpzvWfzcGnlKcw15/99huRTkgik3PmFGtuFO1V/d4DdyZB09VnNfUNUyM16pFe/N9QQCul9+jr04QnTOOy/ildww5Iksi/3XpYiSq7jpj2rDKds3EuZGY4O89Ny0geeiwD5nAJE4l40lW5pRIwU1yyk98ZhmyW0eKwZf7d1AuEI5XnLwxbiR9RASuGU9WTrr2IvI2qL2CbUx0cOuVhzc2ZuOKJLTnTW6ki3FJIrzYgUKuYgmgvq0cVWTcTT19wojcyTFFV5GokwLvyawhwod15A0Zh7Bcir5k77XDBpJfAA/X2cYYANS9nNuGdA2F6OwGOeWk8PfxgCG1o/et3TdOInmTTnTO+WEmovWQpD2i1OIbdoxZRFQpKCL4gXbzQI2Zjl1JBnL6WYA47RibOksP5C5/78JlOCkc0c56Kpc+zsE2rs7ocaAWtlDNrIOzRUTR7HbJGTp7rCgzNS610m5rhfO6C0X22XucVzs3XDnRweFRWUzb3HULnsfGjHmm63TW5CKLWJGKqs7dJjXBykNH09se7EhTndfZkXUYE5ZicpqZnoBJ5MskSRSoAwWPVpZEPyB7EjxzCQYpM1j348ecgu7H5x1KVaJ6UeMV0yXzQg/OdMT3oIOlwJqQ+zhLA2BqWvyxEwkdu2/IWW7rkl8426suIRrEUeufQibVCt7glIaUyuFlShn7FeqPKRDUrcvQJSjdQUw+SujZvz8ta7PwLWiUpuji5hGnW0XgsR6c5eoikKZ1d4R4w8UwzAt96ZG/9vHkeJFP6mTxQOlKeCPJs/ExaTl+F9oI6oz6PkQRk8oJxi37JY4c1XXrHqIOZ+0e1n4wg1VKbUNy9nwYPDQDlmAy8nqXmW3Hnu053hoeLOoSopzRkn2lC+KBlXqduQbMqakTHEftsMJTptCGrch6ELfu13DayxZFeOqWcWE/nvGKOSjXUUYKmg3g8lKoU4HH/Y4PwHueC8fJJpkiEyjXwj2iGx13EXpvVsf6pZM9gNM/INNI44+8yLyGH/b77NomFDkeJ7DccCuui62mgV+ggvpkvH5EXmkzqnzunQ7690vuOjofrQg45AjiSR/SC+s6n6nhVFbzPV85VS8ZdSvWwUJ4UUbVlSRyguk8mk1hoO+QO8DxHWsoVLN/+DrMr1VUkoCieJON+DqlEzFkoi5nY0bWQZKR7dqaV2qge2Ou0+dR85zIl0OT0I/FQL7OFJ4rUKvFKUCerZ5V9H55LvsjN9AXjhkH2SSsTpcvrnIqUvqbEriea3uHFuW2a0coCeMVRcdXAwKZzFXG2sOcWWrr0tXjYQtQQRwyFL2zV8cWuPNCu5PUPtq3RErhemq0bCDA/LZUY2qZtbw+oM1d0uhfYNlEfM2Ufpcil2bmg1WD8DOsWMQ+4akuircizqd3G3j11P/lc3iHg/4sEZ0g0lXYT8lULL0kX0MTTaHZm9eG2bP2RPzQmGharQt9eXLAGLHBaOx9ZeeXzM+t4lgFZpRByqVdWMqjE9QkRytrx0vsOgcpJN31W4AWFHWQpCp+qKNTuAZiyh0Rn71lR4jrVreaPqy1j3NjWdbMcB93ZqpAar3TfRiwBMKEe0+os5HwAija/7YZJ1CAYl7o3uDAmCobe2kPTukPw+A3VDKwxc0jqsIJRHQtSDlueLw7ZsbKfaCaXHA5d8fmOuUHzhwpG259Z+tZ07ebyY7AixmGfnDQw5zKlnlxvOI80N/BwfuIHxY7LKmv3+KJZ3KDtmPQID3162KHzFM18ZI9XrWkZ3Yq/WtrF3vZ+61KfsqKVHLXZBUozYNCAkAr8jjj9sssb+9GTmI8aKaIOPXMY1px34rjWMhBkExmh+RRmAM8eflK5iU2so2d5pQfGmKDKbNDqFvHLf4E+uVZ3qojV4GwZ7yb9Ke7/mh/Ww6k8ANToQUEW0C+qo7ft0QWw8AS9CR9Y1hdDFT5MKKvjh8UtcjkLTNpIsNR5m+gMtSuRdfM2rWOB3jBYXXqESBeQIObuHF/q8BztOsp0KlueB9HdYNf5WCO4nYrfvTgXM2Ouk1aOkeBsfaQ9i0rqM25iUKS4MFB1P2aWzNZjBoTsb1QQu0UmyLWSlxVziJkMou6jQgahMmc+reyz/hqS8dUK7DX26vpJt0u1XuIkxTZAAVlb8OLjRJVPbNkOJ2FrZ4Ydu1TgeO1kh9Yydtc7yWk+NaK+RpxzBRjcai8ByGyFY9QzyOBU3C3g+tjgXSA+QMEWajkXhI9gmUkSU/z2+vZB9WvzlR3rOfogmy4iLHoc/p0czoHl/pCUqMV3ME5zS2WG3XPChYQzDkIMKoBOr6lK04ujPE8/EhlkFUrJSGLMNd7kI6lfCMxQbp//YrvFzvCjFT18uF8i9j9S7O/DT0RCjV7RXl08rKzciQ+ppY3QHAA/BSt2EYCsdAw5aH8DqJtxOcghim5pP7ves39MqzU0ltCLQlsssEWb2pIOh6db+zxbznRWnEOCkeY277rM3SvOP/5mjF8XwYLeAP4zQPHwcnwn18upTDFHK1rPY+gUSeQfmf4vzVUtGJTlijkNo6dsm0/qfec58/wVKFbmvxIVovTnE4be7mVAqt3VIiaUN8VVH86oyEpiJJ56x3NRo93u03dOh7ksypBjSXYoP+GmWaNmTvdyumbF/Xa4xBFGkLzU99wdV/NQvDi/dZZEE9DwYu3s6ZlRHdVw6t/Mcy63Wg4119zaShk0UZNfENqksK4cFrieuAuzcerakgwUubQWRBr8CI4bg7av00sErJhMIqa+D/3n4kIWgP5avAccGD4mAt5U7FvT2rJuszbc21cWC6OZgPMToLE3VpTntJjAevAj6ZbbMEV82vUwx/opdCcEC5pFqiijCUq05P6VhBnXJdGxzVffK/FztToPXqEmsvh+DQU+VVpxDsk77qikixzqwgndfvoQxrrIGUzdhH+Cc/03JsyfYM9xZPoWTHEEqOA/nCd187N7wIaXJzwmYvSssGED1VQPDFZgPi4QCBx6TBEnXy1ux0CdiN3Zk7gvLk6U0432whuxrASUlMLFuzvfzqd4u3w1FAvh69pgh0BnEfsLdFsHpMNhAXJpx1z0qpBBgyhbGujcMR2dtl0IBkd1VzOYNSdr4iFNN/6hif3nipxeqQAEpfBgQGCnrWMDgA+Jna90PMABh3XuQBqvHGn5LDqUeaS0flIKnwOvcc+Gc2l716eIheq0BUBdSaZUWIv3ogmzQc8ACohwU3EeH7mR81aAAn+mfDQ4c/Oty2PVd3Qjk8jCU3XNTEp1E9kqtaGwoqMVfBkBQDT2AOIoU9FREP55Voq55XVTXGFI2YmyAfvDrHYacIRGhDhhbeJsfzI05jkIL74ejdRqkZgsmf2jeac1W5dtcrOn5Y/H5NwQX5UnuXxUPJLIxcEUilQZcj7wR++PG6JnTbDDLo8DD26OxXlXmTO/f9XAq1PtU4UK496a2dZskeUYs3iY5AYqodedWcdrei7CBDZV+ID5ZPqIUjQOJYs4+hCvFqjK3xTT5kToe6wEEkPPVgdZh/VEN9mLU6hB1R/14S9IBNWwrvF54uz5a0AiMtLKcxpfRfQVrXzvV5jFVFIVAyiVQY6a0lpUWRKxtipr7nZs+JHKqd00lJHCy9SAWzSTqUpkIwKabjvafEE1bL95Pyt9NusPvwm5iNYN485xG6uySZLl3jpilkVO2RYg/w97VoCI3a89y2q3nK2+pYjcNXPauFcWRvzasBv4PUn3LtQpFc2ck/norUJZUMMPi350mPZLLLIIxHBRenx8uaJwtnfXA6fzVIwuB/jsO/p0yzD4Q7cUMzaT6kdu8KWVDJjWNxGuoaI83YiBpbuX20+bFuPlK3bcOwqGf+OONlQpe0XGobtE8UatkpJUQc1FT1Bqssa6efIlXBH50InP/1RTv611tXDI9C/z56Xih1++qiL/d7P36K800/crEUZeyIyW/xwDhn0Qhq0Ql9DXcItU42Zq+9DOIKmEcvuBPrn2UfnT/PG3Q+NGiTpNLEpiK2x68ffs84WmA5JwTVmCDY/1WsJ5DpgL4HuuLl05pWF+ZxqZk+ltvyAFBjhUoWqIRSzwsWZfaj8TgYun258qeI0YGK/woJ68S3kdXczdTl72WS2YlQdGpjPwryXFShly3HlP5/owKHilK80fYpP6tpnxCxO5Td0PUtn45ZEVQ8CzTdVp4n6czL1lglSds79k+uv82s+5N+g8Ako2ADYSMwEX8jJvLjxpmvBB5CGD/wM0I6IbTxdPizH8l32rsP/qjAOajdGXEoqd8DMVjDCRyxjQkuIkOyST0QJ98iIcO+5y2cXmCY0fixi27F+kxauPH18B4SOIgQhI1OHgQlySVbM8ZK/Gz0yhXZwGwvDpFDGzwG9nixcJk8gxFKED2gtUHBDEy4ftEdLh+LA6sgLSxICuKWa4Bew6dIz9kH3Svh4SE39HYE5JqdagHj9SQQeWMnveUr5OhlNz1gJ1c7yE/xc11IQDSBsp60TIXNGMhE3+P3gNrIPPfRdXiYcsx+eZsHFrV2dEkrEg13nxZtsxMfofjq+xK+B9/vTXBW4451QQt6ZAKQ3DI2nU9ci6ApielkzkhWQrFH6z75yMDchDUMoS1YDgEkCUvxK1kzYgQz7JriL8HxUqSNjufTKr+tLxpKLV6Z9AciUtW+NfRncy1QaoBg1gc3UM67U7xalD1r4sbeLP1h4hmSAZkQwDRKD9kjjPGAaHcZEp5oouGSsXl9fti2y03vU1VtOqY5a/0YdGtMhXZKdss2tbrXX6lb9iw2EYhw1PIv9UBjWJvwmro/O99klTNk2GRcBlXo9+dG1rbBvhmNFEJavoY8Bsd59Kbdrw+UqWXEglznj2hTjgFPCRipIoFX/j8AxQ2naxMj2SQJ9KZYrRZGJMpC72XOT/EeVhKqtGdumXlesKSStFgD4VyB/LJcdLTCZS4qygWBgJZBLIe+PybOiRCU4/VRZC2bYnznvhC0CcZYdIosDQYOy0+dSulgETerAhyk3LsMV5PlhIAd3hFzrUiqkW2u0xNkU01yBIxFS0Lb8FJrhBBBwEyKD39a0yj3ZDYblxs/Z3/du+4+cilLwfjMWn+JykruAXe+LmYpwfZO5oFLXPfl4/LD62mU6Z3ZNfKcKBa6+BulekKCo6t/Ro3FBACN6Qzta/jQ3jEwIjjFOguniU9iXVTdL90h5RQfEsI4RaTAtuiRQAlu/xE+Kqm7Vv1Z5vttBPEpqSRaYQEjlbLvG1ZUsAKpOTsEwT4wOfnDEPba+9XKt9SPr19LmvV4txit+pwfgNeoLRtFWhB5Fp2F7rKcGwBWFC2FlteOgo4Tp/vKoYnvuwOxpCzkazEr+E68mP2Que9oXxGKVsFOjia1jCc73NE2PFGdQAH4o1YBHgiBXhJoeuqMaYMRrsF5x2haQoBLx4Aath0KPT5UVvaKCi+xK8Mu7W9Uqjt3peA7blfcVs0P9ROdP+8JyY5GkaoMJ1WDRngj1zOZWB51aWn65RluEymip0QBsJtXqmiQcqtYYxh3zV3E+qJCgBXeUbD1Sf3k2CDKd072e7FKgFy6l+xcMVWdxI8qqR/e4hu4OpsnDQxh8HnjnHjoNzMjjEzD8vRMwc9fxh7PcdXZpUCg1gn4L/XiDgg0gH1koorAUlfqByH4hLIr1+j4c41VIlOq6/BH4doV4lscBwRfsfoO+iv3+U4exoSfRdZ2wcjFNmzvyHDzpmVWa0A91VqGdsJy11It/UYQVdInqdhlHAS2Pe6bZC8qcCdqp/TZl3Fow0QQqPKpy7nA7I5EAs/GrhI5qR5fS7zu1GSZcpFdZ/h7EC791s2f1l0HmIdXx/lHw9ZXDmjxCILa/mhczDnxyk939opqpwI00u+RhKvn8hg/DfEPzuIXIpOuQTK3/A5dQAViQnTHutL4JeS9xyPs3Bx5Lx7Md6AERbzNvnnDE1p24ogQsPyMSsqmU9DCv8T3UDJImsfZ9PM0P/XNn5ysChTZLx0sDXYnKw4U9al7VMVsQ07Z24YWL9ZnOJfub4z1u2lE/8GckB6sE0hzzwrD7WsDMe2Jk0ZFaJGEXq1kO7hkaWm29GKxUlye7XGjmYOTYcywzlfsg5eAWN0+JAAXgR8J1b2wlUx9CRA7rP1GWfGS9VWpKVMK/CWJ5/4Fs6y8iWNB1w5XAwB8QLHJXmlMOy3s/mT9ByoeukM+ChXz9UsQ8xPb9UyyQbJkdL8gmsc0cYdagJrAHeHZy9wnW5MJG2rsjCdalQmyhNrYRMijEDGFz1kE2Z9pCEtu321n8GJOT4whnhTZLa/NOauX3dlzuktvSEbgLI4hLjD6L/qG5LEcEPTmTVw91BG+MMKvjR5bNw8A/FTN+VJV0t1Y8M6SJjyTU0KsHn70WnwkHVi7KYMum+GX26q4w3QjHeI0yrNvB/2ZoUMS3jVF1E5LTi+49fzox2g0715+MmUrfQGx6CDGyLpKcKp5l+IpaL0me/lNLc4MQdXwY2+u/rwZ4Jniixzq6N8JqB7un0mpwLWvhreiwuRWgQ03VBURknFW87BLudJdOsA4LRtkSZMLef4ui7l2yefTh84hUCXw/8tGXDNOJRd8Hzfumi4TlmrXUDHRBdg7na2nnwxW7bZ2NxdJ3aLp2XkqDkRGFkRqB43dIdWlm3iixAQW/7/NbQZrxSUPQMpGNSZPxaEKYQkQ4pYmGbyI/6G6FazBhwI61xThVre/iQ/2LTe5bQEVk8fFHLQFnhG3nrRXh4SEucGZJCjeTQxpQRNWoGus3TtNV/djtWU88SCQXgs/K84Nt/sNlikTo+jHUNHND+PkET4sHTH3m3JBQvjELSp1WIaKtsntYRDFxxM/9jI5ihibIqlsfsWn4LmWwdhwEBtppDja9QEJz+Tb/UCLVZxoKYwNxWAdlxcmrJotHgYT+011TpQOcfKMELVUwj9C8OwA9PVFh7agAvTVuh+KYUnJ8y2BMpxfVu6x4e76lxHa7UnlqmKb9AGH0wryPu5Spp/Q3pA71jbZzCSvRqZn7CpfWNhrm+3aawKTNqTZBdgx34q9HTgs2G4P6fwnAWwCS/u1rT7WrnHra4W1Bi5tzPMfrz1H5wImLOJBk5qROClcBIyRpAgZNn9r2E8waValUTB4O5qgQwlMY4iY91yOtS85hSjuBZPLRhDJ/GR8ZB6/+ttsqG1HKC4IhrlRxwWsWsZtSuI2cctyPYOqg5KpVs2PRp0UjZmxKPY6i0tPF4SzZqqYbs2ByspIJhApKTJf+KbD0tTKcMpdbBGl9l7JpT/K9nj5isrV1mDv9+a+6lsJJqDa7FLrR45MzXt8DN5FVk2xBKOICH1CxrmzkppMcGC8K1x4HhI7LSx2PGg3WeNWKr/7Rd7QMClqJSbdclrvNA/sa7ATZQA39lySR4tmwy+oVxjCh57n0MSKRQaTyS5MFPMES455RMAMvAk1V4Ui3EbgSAS02xzwzItwY7tor5pqStl4cHANajJok/nKYTfWQnKNpIiSgeWsePJMMUg8EJFunBGGlFkAm1UzJU9mfcFxRHb10D7qxzybGFh3XuGoWpWWRMImMU7+/rvUoEYMMnpF3ofxW+936487iBGMR0RQ/0V0HjglHrKUkqLvDH12AlErkGXc94dy8J82QDdHNJ4LMs3DmUpGJMLoDnpLS0kOPZGXHvOT5Khiz79ROatWg/Rdo8usT5bPARTTAXxKejWVzVT9Sb36Ln+KoUtwvosTFUC682kel0nTiV0EJjE8OWeAPGrD/gxHMJ5HOemB6+mC65C0jl1abnXDAo4LGBcz0nhnMB/EezxQcCXW9cjDcQrEPr285AyYc/bNkXI850YgE4Qy3BxoA3Ez1GxYqmTqW2nNRzp9sm+WB/cZ+Ulnxs1J8gR+FqBEDzy/QOLEHE9H4U5wodUQcWKxCnYN+w60fGy+iViM7SKjkXTGrf07bhCBSTEZMBjhDMy/vzNvwXnX/+6/YBKWPRnPHEMNo5Gi4nDnfDYUmt19nBW//MnkRkYOVvf6mAv2ekCuzVrGKmOckkeezX7MeeN6/CqGNChYY2+cMwmaSrHHdOHr2TL4F6QUPk7re7AkLPnwSL77oaGcmH6O0JmRWukpvDOdIXUHoHq1Xz6xYhsjXM+9tSzNHrQ8ZFZVHWi91qqNTtAjAi4ZnS7wA4BV2hx+3z5FwQnbkhvMxbp/Z7hDFtuaObU7Y2PH9Gu55LTX0rUIO1ZKbKGMcWqsEbDLizklkprlK7ICcnvcy23DG2DAnctnN0Ur2mSOS/58h1vTM+ksTnhbgHrE+59CQLHTQFLCCiMcJxDAxMpf3omeozacn0jd4P0+MFecQPRyeJ+uheWy5j05nqMf91NhiJ6KqOxd/DACsiQfdRpa2ksB8uOmhA4YEM1GJmZzhIsT9RItnieo3fldPUyEKa7HBmUOkS+99wXfqKmIRDEqKdB3cCpkjqxOytBadWLpEUQe2K6n5ZbZsh7+O3+pBe8okklREQSHuSqKzfk68rpqPI/OFDNy4UZWaevnb3bUyDw21PdZbktI3bzfz1ML4EonNHo3nWsCt7UoF5NXgcr11hpH+iW5sk2j+XrUvRiUob0qqaDVe/7zZ2nI5yrmvNwOnwMy02fj93qRSu+eEhqXyQasnCG5NzsnMYAje+6KKLR2zwwxsM/4aIRAHxHFdzZWZw7D98NZveu11Zm1ZgzLEBjAeq3abVB2W9w5pr+gWux2SQuYTFlD5LYFqQXi/Jh9SFZUHEVrxegMQiyPxIRAzalbKsYDEZCcwMiqPSiydLOU3LnXwkkMbM89rs/pZ661+GQtfYrea05qUhQ+++dDgqXWKWYEJx+95rp4JDK9iW0D/m492VtGNkQbwQb2rbu2ZqAUm/taRZoA5r8cmCQx+V3yV0TM4zXm9FUKZLbgleeMZuVvGivwXOyxCZRCNhzRl1HpdVEeXfEilJDBL4swcHVMettV9y8hNLYw3GhqM7CFoD0D6x21MxAsUX+EQ76bgOIuNkkdA1YWQZhR3moz82DlFDNVXR5m/8sCqC9emYoswgmGYf8d2t4GnNeI6BLggVc2zpo4ebX2rT2Hps5wReFspT0cCKV0sitv1/c7+aMt3wgImI6ToDf0ydrHthQN7JViQg8GnAHiUcTwYCVkqnOZtTvn64BAqZkq+YufvhC4B0KsuHLCdRX5wGpAcaW+/CoLq0IQOcyxzgiiqwZYjdJdZIYbNw6sIfmVV0PtlnWDuu4UFgno/jvtmjPCS+N01XUWeIQOrC44YxSuxofpU/xBJsGfe2ElPHElkvS6DIiXIe1wZqOSh9UjR0Ue+u1zH0JRSKut+zi8JHVmmCREMO42oLDAg1ckmCMDkbvKCpjmqUaPVi9EUhqAfxfBryoGu/w88SLknKOF4gwJUeKLY95zI5786oBPH9KgwmVoF2XzTI4HWZZRdK/JpOAEQlBL6Sxz4HDRRBf59FjmnEwJcEIr21FhRTACBqJdLMPW0gZwZ8njyTBww9rSWvjM066QydFw9/oPN9TJffeSj70ha5RUBLkQN9/LryxHI0zAjMk0QCIcjNLcmeVXvfCL1/64fF+39klIy8vpDioRb6LVDAd08Yk32oTyARNvbhR8VAWPAdtMuSblXUaooU/XExpofJGsGPOby/xGGiwmki/mOCtSHdVPlPx0HsbUhEwOUF+0dwrHCDDRAs1fYWNsy48D3adkdhniWTm4EhjnlLxg6DezLB5Lmw0SPBXLkQTVkkzQ/yzAmEUvPQ0Va/8EGWzcgUo3vszvVDBxV40FnXnhXZCHXzLAmfKUzgbINrHJmQZX7G2cVKxpRypxmj1i9ap61zF3Oe2glUZsioQl4vZy0L6rpg+dDKqg2/C1otA9b34S5Rsu/19gLn07ER/m5DAlNnEsCJghRTx7e3aKKwa56qhM6rtwGxwptD01Uxx2DKvpd7oWxNA6a0/vbRb8s3txQEuTyu7w8Hj1VOFU5F06MyTi8tFxLDvFkE+YVMM4mnBx1AWN6fnXqRZRXF6LE3EaJ6Dr54fiHDNd1AC6pQwWlKdX3bAmEodCa29Um/02KUSCmp37JzVqaO1s3Vw/sPJQfCMcEYJt9SsPx2ZB85w0+4sDdZB74PAoJp9Leoo0X+EqkevwDgIoxOjzTLD7+fnAYPLD01q+kchLDut6Qps+jOiw6FhmEcNARsfjS9vMJyNHkaERLnJ3SjeRhNUDTWD2+L1cuxAbeU5IYZ6SQ3fuIRx5qjLEp4GFrVchtND3X4iEFZ1ahyJfwfaND55Y3Njbv4W8DoJc2+bDIGMtsqrJTJlTy6qw+aEbjdB6RMyTjEp65+DrEh7a+PZF3teNSDx0R++if2o2cKZUNaKH0pWMTur5HkI1gq7o8HAIRIFiJB3Qu/nsK8fF1vKRz/JTH4JIlI8XXcNX36wm+vXFY6Z2554VcLjAKx4tNR4fA1TxQO+l0d9RaZxRtHwiJW1pcHMU7I64jdShDn9D6NxUlQEUveLDrfTOifaCOpvM2knnxJh0xd8p1IxLpMAq5UODEdBEYavl42SKqyaENKPYVi/9cQtqgf/DpTxsFfctBYNp+qBaMLMDlGaEbHcXoCOYLMZZadpDgs3IrsF9xB6twX8MQ0QpPUyIy2ntq+JXKzkVRyCmvWMFzt4cprUrX4l3Nor7EP9h2mKZXGJgPKaHVTtom/MCk349u/Njr/e+pnKYR5Urd6PSSyGcm3nWMeMvlwQgh+J88uvry0yFAbAUaK46044un7doQ0nvboi/i7g8W23Vk4EbcFpejzynolNKRhnwBUYhHBHCaWRxx9H1Ddy6VDUT6TD9ohN9z9VYSqhahzKETpnG845G0EA+LimI9bTaClnVCgnDaeux7P52Kzevcp6ENQgpIhFGPsvS1jXe895NhNrXdRWB4dgMRYD0sXx3UBidPA9+kidt8tMeAdkIPAeCC+YHom9LSbKyowVmEQvfSmYjGAPcrwTTw9fEzLnnAYSiuWvP6bch+CLv51TaclN6FVwyjYRqhXm6Enqq+VkZMW3f3wmmedcac1uyHPR+nFZjgSVFjd4quEAEpLokUY2M/sFn+u0SCYukO0BT5UYxwt6kvmwCp2XCwYy89zPqJYCFrCsx3UMbE6/FlLTOrQzGDNr+BI3A2fHr8qCQT8bqzauxCJT0SQfxclGgz49a3H5TjoCXdYDqTZf+kOvWxGSonaFQ1L3iZxdbXIcHuMSR3S3Tu3PUZtbXgBuSY0aPbg4VdYG79HresoncL8dVZz/XyFAA4OgDQtdmItd+X4CvY0jGqtlRJu0ejSOQJaOHBr2jC8lEmpDiX4YVIKlUxpjfObXJAKYYzWaflgP1FfnA9kQJwUjHaMyXYLNinvyeroWJyLn0zjdHPdRxxP0HKFr/WrJbKg4fqMKmyAHkNjUyeQxovDcPGqU3CgIDNinEr/AUctV5AiWHH8SVFC4C7CEN2EHMp8+9N8sxTqVrpXLy+sSZ9I8LyDn5mLNMgT7QaB1wp+5Xi+FFPGXU01wVx6EnfTu5PPT/0uhyI6VZhD3KelQBGQmI/wtHn8YtDpL4WjhK7K4dWP/jNJ6Cv4ZltgevWJ0OgHS3YTZy0lVyHPtHYRsmfVt9oKlnD4cAr1aTCZyXwhR3ZjfiKpQc1QPuL4kZ6JdwNNYsKMxL483LG3nMRtVqYgSoZRP39dZHvSTipOUHlBUSnrBbeELjd7QYCX0j9aHVV6Nct4pcyi9nhIGe+ZwPUuAM0vGntDXcGkvYuKHfiMz4+U9frBGnVwU6kMJ1lbO9DnEI0QANzemOgos//dxTQkekl0sAzV+SMAHcFeVnmo1Bda6ns+JNWRm6YfEEcEkcsUPcXZJUWqG7mHqh4k+hWk8CtHvs/h0mH50SV1NETzJ3rVOGSflPePuhIEY+4srhRjhckJ9zSjpyLHEF9VmnePrjE6Nm2TrmIM9xhFkhG9rJSoOhWuRWHtU0sMI74/jqbBhHtW/b27woXy2axGXBtwmeIg9tWDk/MBnqAAvIlSx0EpdvBatjjHXJ9PAixFAbr/7U9T2cq/LOj2a+BDvAeXCHcLTVZY9tQPLKWBMgLeEh2R4tjP0uIIxPaqPHAbe4fk1dct9mxLzqSqwvA0DJLRD9Nf2kCU+EdW1SOv1qF2c5LuMJUDkQI5gzRnf53MtUjfpEjPfceqhFI3sLsrSwHNONNExmI361UcB+yqSDkKdkQMqXLKO/bew8+8rkMOXZXC9wfyYRuDfN5yUOUQbsuQpxqB33CYzTa1nXA8mO6gQe+9vLeB3hXhZ9FPGWhKtmh5Fb2/GnOVYH6itkL4qWB6+CSwMCYRWLCmWp787reuWhOpFPhqXaPFdZDITeyE06/5iBO24/2je4wC0ioMhAihjgHU2+2+VOMnmC6Ku9yKGrBTnag+OkxA04Qmctnai14Z3AWjiZaDFGBiUOSGy3n+8xcAWWepY1mmNDfvoyHkHLtmiEENMb0OLkH8qAr+P6ElGj4ab4K8npK4QKOWp0n1u5SOWOgmmFJhat6HYyOIX0zQ/ie1a2J3l9QG1PIQYO2VkMM4k7v4XkSKfmZ7+JGRYbuTPjgj4/whQpkTwSkAoSrreoGvKIp1dLY0QDgOux1CEsbX0MfWGmJ6CyIB+amt8EuCRJnLq2BCDiCh4C2yjzvRXciIUOEkXssi7ASILEl+brbZ13bRV8vVAHJBRZTEFvCTGPbU9eixJoVrZwIxP6iA6EUS9bbx8mJdr/t8dZxg2zBiB75VCKbiNR906sUrx9FtAORJ/A8+OqV4S2mlXAtjowPQO0KQc5/b5Lp/nNIclHtQ9mWA5PHpGcfC+ubt5bV/eRqb4s+5dSPltiyeuwo9XPCq12s6pWiWe7BEo/k57qymMcSV8xHzsXx+fwKPrXnP4V+orG0t1CMWFd8kA1B56cAOH2u53ilH3tIUZNhlL36MS7yzyE5Za2nIUOF9zzJ3ODhoKsqCucBZ9tpBPR515BU/xFTn8/09T5RetIQMpqVeY3osIfRAbw5Yv7S3VuPcPLH1Tfpo23DTsilraNUmI9ivCxyfAUtth71kyy+hW4H2T3RvGaca/3XBcOokvsXjeV3vQ9MY3/QNLmGG7jIxJHRfQ0PP+dqUnXKabKADWAs9U+EVEmQ9ewWPDaJZxuULhgn2Deb+7uO9qC/PiooUQQmvQxhDUiyAeElMC+BsCa1v1kjnSKoEnS44IWLWkOdogkx5AkPzZiY9Vdq705Cc51mjtJNRIWczhCc9GEwtBhdoWxK0DSa5cAdaQu5JjKj3xLUo4ya9PChBMoqJGpPUAYW/kIC4Mi0xFSYRcKVUtniuOe1c3x6ZXImoN1wBri2+4+trV9sbbkAJzwvpq8npi1Ysj1CzvD8ySZnZKcJC55M+wXvM+F0ZZXR2EV/ys8fFdDR+3sx7T2enc3QZaBTDtMFDmoVDF8+lySQzGwM1Ns+iDs7zFEjCJE0QTYINZjUz7I5FwBx5xcOrhxFtx4ekGBAhSGffK4V+tnKkqac6QnB55NwbOQah2Ti4A3ODEO3oWmgRHZ2KJWts/M3NiXFDv0LaMF/yejRa2kwSGHI+3dZjfwXn1b589TR4rYFY9Zs/koEOQQjNeOxYCpR7MG34TkGh1+NyxHOTqa6O/l0go2h3wwmG1N6aRGKkofpP8IZRyx1W/bq/l8AjVKzXGjmxlLDSBW/IwB/kKN+0HCtyzHBECH4/j9GnM4YcmOHM9ZlUkuNPyQG29iGTVPfVcebAGzRCCwRbiOR2dxNlg7jb+vBBA2ON6XR/TaEOZeiFNeMD+K161Rm/X0ouDbHQLQJaiM4G9yfQvzI1zf/UlD8LsfWDVH9lj8+eQBUo2WJX71CV24w9OzVI3bui3IE5L9GTyk3rYVQ/1iuAqRcPWfQUfYjoaEqA/bl8jVJZtkKOQwBrC5Xn5IUmzF0c9VnZEk4zXoQhEswNInDn3dZC+gIbDDa2MWjQ+Zf1Q7z/KHKHvlzrUGYWvnClx6MG7VI3XVx5o8RwzcVyS73lFGsJ9qdJTZ/cghrjnA/hhf3p9YCR67FIDZbQ9zZfDxcuDEUvLqlIblOvN74Ur4VQbacmht7hdUUI8kNyv5WlW83W5vBCfxx59X0Wf77kMs0wp7w5G27lZF8qOKzarslA7iwQ9brcEjR9xLlwLL9YpfqXF9tdhYETWvZTGsbw4uWmbgIuNPwRajxfPkmpbJDrOAmVNtmakDibP04suf8oCjwPz+gNJXcB4L6KMBP6YVb/tCrwLhn2mcW3kcaT1Tqn6c9IVNoRXnf3L1ABohHAtzy8rXsOW9uzXnDc735xm7/oZhbRi6ow0+R7o3yyCL4fmlx3xylBLcl0aNfMm2y/kjuzprVSnmHIOylJ0+2u9AR29QwEBge52dl2PMDdv8AFBfPhqsWpDIoFIw9IvEjpamusnvl1h/tmvNAw2rvEw75rBM7XXnPs47pg2qjpLUui2ikQ/VYlzANkypzytDJkuQsw9Ul/awG1FXzdd76eXy5H0x8plkNcZCVcBZa4Ps3mZUqAwJab6k5x732xdeE3lSWNGsI73wiji6evZ+xGqbSGWwzkiWYOwpzM9emZbp3bqFvd6IjblPbStlHNx6v5GQJRPDQHLf4t9g+UQf7J3Gh/UrwuMTelZAvcH9+wwLDFL68b0fqy/xdaTaframT4NvsBqewHzZjt3jfoeCLDIDGMl8tRSn2tHOHmSPyceA79LvVRQzaNqIwCDqLMyGGEoM5qQnSytgfV2Zg+47VfCKjdNh4iftFQBQ99+jk24wwC8/p9ISkqhTEs4lkZX6pb24hpdBzk6m15ZPsMANDJVVX2PTxbxmeFKUVOI1qkA5VD6M+6VlYQGmThnMy6qRomp1T43qz3faJefJ8OGZf2q6rFfzwBPFieotqBWWgP5d4AQmFtcHpPVc/7wpTvjpaNaXM8tpTPK750xQC4pAgogy+IFLKH58oR9yTqgu9k1f5Ipo323DnxiSj2Z5hqJlvNTTWIKOizLundUcUQ13DCrnJnFnkfnW2sMloWyBOmfuKZJSnzuOATW4aN5sMxzGl8Sva9zaYNzSaNCLOlNVK3G0HcwGhm2tTzUSi3UjIfYGslgC3AZxtPFde8nyjQdOdGlGLW0ihC9iVpjqlMzzpbM/9ZuU/mZ1+/URsblKx0x0U9ZCc59ryRzizDPBfsVKxAaob+fe1wpjFfWm+8Q2DDFUgYrScpdFJzctiEafW92UpXi1RjxyC1MM2lkQns0ls1n6MeV1Q1n+ILYD72nk+mJb+vjhA0O7kojFGTmujIsFgo1JGP8HXlv4gVBXR4flpZY46te36hRnWPqkY7LSbdD6XK3KrP1adhNPaVwiC13qJrUtoAlY73Zk5/2yjh1kRVRtC7q+Oz3YI7f/d0s4hpGUD6AuUh6YV6DDmm2fVXjan4mxMxEA6PJkvxMMJ+Fdh7E+zRDHymbHk2GqvMK9YFKssO3tFF3jQMjBeYSRMiAezm+WWImntBIgaAFP0Xzi5Y0ARIe9tW300nHib/zKGo9hvIV5ExQVLHjeak4w1cRahmTT6oyPfnsAphIolgTM7O6ID/ksGB3g+5B/BteFzY/Q/zCpa8M1I2WXG+YG2LDd9dtsrcYMWJCUIVsvQmS3borJ4CaPswOQaYdYd92+OJ0vuUYQdxO8GUk3WcGW0R+MCVBwq3YKt/eDLwJOQYEy0ZHvW41FmAI7clXNHZOzH4S5YIPkT/2ByVRuFgi81c38IH2cbaMsxnxOqWftMJr+JCicN0KT0ShpSqLzrmXiB5c2siURoBtsq/StsAPw88RIHj9OH7Btww8gqX34D93Lwe/aWmKpH8ve/3vRipkZ7sL4JmYbvKblIyfxE+GB4PcWn2e7PzDqvbBJDNQsenBdYVotRA8HX4pqqkjJfTQGrxpVdi+G74JcBTl6A/5/ZFhRzHKuvGEHoSuYc7gqgdnhiA2IdT/BmCyVlox1ylWwa6HEbROxBA+Q4V96Cj2WBaBecRnFK/b+D4GfcLDg5XUGbSd+dIz+pqobcxvWXDWjMlgaN8lN/FU8YFCErXkB6qR0BlnhL52ygjak4Eunq4gqi92KFqI3uwboERWIBtiM8+hzMnespJQ+DDNHLjgBMkrceUr7RX2fqzXpXuLWT5ZsfBg6L7DEnElm1kxN69/kZnybbuMIg+03yEURPek/10V0FuNk4X8lbeF5S3LYc3c3XTzjgx3BUjT0kR4HpijtyhICcVw9c9J4YCTNLYQYPquF10SXPg51PS1SnET0tebg3WY4UJ4M+T1ksszq3bjG/b6vC00ctOGtc/u3CShLzhzg30DQOpcHPpZmib07ehDTAny+z+rA2gufDunUlcwllwgQBRAi84SXG4jq8keMfJ94ys0edeA2yx+hWmKxxaP73jTPJsembZGzkEoPrjmOpAihngumqo783BRR5vvE+iwnjJylmqJFamwChHK7mDKHa9O4OXNvINUkioVpni82mX1BZ6KvmpJ4Sn6QegQT/Gsc18Ua6kMFuirQKeJ4A4qRlZJ7sZLpNSvAKDHv+59VyJCKZgKLUmxguCAhivKjgkArcK4jWpsm/NWiMANsXl8+ulTAp4B4m/uvYSt5FzEW1kGT8BTGn2/zlAx5vMQHgs2hiB1R6i0PKOEVJj/aROIRIQ5GDjSBuF0e4MC6TUqqaYf93fbJb2a88KSbzCliuQeY4csZMtO/Jzt8CbH4TRyx5Lg+UKbrb2sOaJ/loqJx84YlYVaYpm/ve9uw33B6XoqaKHRyU6sB5iC2knPXtEovl+S+oWmuQYit5tXkbDW65MeNayZdsGARYx8pUbeEVw4y17CPCdr88oWRlZdChJwrWa4xwUENWvKmcIqAuKc1U9h5nQ6jTXTVYm4GegI6CFi5zsLCOKvpr2g6yZkuuk0feP0pEbWltbDi8SETu8Jzi6KMqcWAxsiedzgoHSSO337FnFz1YPJaII+e0Mp/ixpaZwUp0h0dE7I5LJfVT/f1zFr4fv9sz110nXQxJJOnX0B1MGySVqtyC43E48gZ2j0weSsIC7+gmSv2WHHn793upScYOB98ipeSUt8eXkzP1wYhpf8k4Y2duec6f2+/Tfs/HCoPK1baVHqXvf/K8P3DtM39ziK+owV6J4z9ZAWxoRgvBy3NEipvNd7IZsraSp+VRw4zdTx5CZ5YtLr47hZFYPTtopUmN1nFQhs4ItH2AeyScaiUTrm05lRQ/uIv2kJKOuTzfWgDkjElu0mfUZiFlFNUCt8AHyfzLSrjneG+OTU4ZGph7simC6PumodQpywaa1FKIQLPx01OvD1iQnkC9AMRD5iRiW5+4PxJ+A2PHSQ4Kj+QaAA8qQSGferdwUCJcSVC/X0Z31327HMFyyJ1sZnJSZXuXKAn688LPdaw7gm1W0VgzX6iRWjtmgSr0aVYmmIm98yrGorMaMw5TfqC6U8H0hobEMMqFj4Wp6+wqoLFtZJD6pghpVxpFEKe5Rbm+22Ry6TFuteVBzVMrpUIA3ljo6CcdbXsWEsS3L6mtDNiuqgIN6/gQJqnPjBK8R9PffphCdH3yl8lHEZ1Wg5LE90uEOKIPF5mV0/KhPWlTPaQ1nsxNsNDIqkhtuCAGBJT5kNROCjHh5fmX0Aufzj52mLok2KQjyFgDXLO61yPqvMlO1tredCrSabvLM338OOcXezLTCe/GbgkMubk7b8Oj/TDzBqkD0DAjLZsmYk/8xCRBsEIO8wnsOdqvVnARSIXz/G/bUYEmNh6TTTtebXaUk8YkTP9mmMdLxMFtE2+r0TjhwrltWg6cCxmhwFPTcJSdOv7kz7RJLTngf7cq/fQCE8uq1oQXQD9vQzhm8705ySO0UquAD1sYE8yLZeQWScsPbJ24nv6+UdjGc15h3KhZRmUNifrjsVPs5oEq6fdsUQfXd+9K7LnfFTPGkSWIdlSONNeOVFjv8vbRtR51+Fe4YfRmy1f368StljaMYpbMVSa7EHDz0wdB0SBra8IxZf7I+b5RstzWMr/HR3pbX+wKZuisBOKSiUNlUx4k+p80DfU1+2O1ZY6EswR9nNkE0ZU3TersEF9WBF8npYmurIAvZUaJ0M4JWGnGuoDJk9ACNUBmssNS+K1p4ieqVdjK3QBAhfS6Iiqz0ox2VcFHE7vhRbUdK/4MxlkIeeLfKFvfm9NyewdcwQzAuIxOV72YEpXSfBF5ZhXCwLDXsgn52WlSramZaJyTPCbTMxbCf4sxtmVy3FcL3p7Viq+biT2aNxzvmHer6aTywAZIz3zoK0FtY73RRwdjXBbg8lCgGcPfvKkJ2iqpbWLS2Mn94I24zjKQoj9B30AKPxy2Q6XAy5CTutLY/N7oZwuRBN89JYOy+F9vyfvQA+Lnx1zhfVngbEsOxXdtocZ7hAUgoPACuDosRLfqSn+F3hWJtb7QTIduU6noAgrnCL7RBJm31npllWD+KFpYySTNlytv2tLpPQ5wPfULBoosV+24Z4/CS/d1U1DzBqUkFoXJp1u3IxicMuPQ1/eW0u7rbB0r/2kp3qyso9yJOfMCela8hXkrmLevcoo0+cue6C4Umkz1i1JiVhcQDEzdK4l6d/tklUi4vjmjYKdBI/snySwuqLZIKMWmxpiSrymCbxNYtW4vbnTFw29q9iO1HI2oIpaz5WyTJXGSTmUdh/qM2iIh5I4xFVbCj5sTjJuiD4sI8hRqFx4LsdivZ+8W9285m+fNwiMIFN5N0u6k3uoDDDHUGTpyklpWcj1cSVczuraV+im+/2mLO2E+e6jbObbd1NDUnku9tx0L6JYQtxgoRNTQBM7kZ1Z0ACXWRb89mmF9XD86fFZutOd0ymRemBrU/jIejxmAEc2EKcsaf1rgZp+Kz46/WQUPOilXW7CKK2mtmRL85bnAmVAJ2cyFbLIxbqi19bq5BdUeMGNmFTSwn4oder3IEgMmdpgesvnbh1QVbwL1p8off3HJLMj5Ft42G4j7Lv6gQpjsD/0vgdXrnKbTFwx6uiqXzmvNfT15+7jRaxFtB9VJNI3goZgp3gzarV39FznQs+/OuErrsIdTLqaS4bvJIHmKy2mtzuEd5sH/yNVTVh4rLwFdI96RAJptTJl7wUYXfV405IuIxOSkKBkhYhyCreta8UfXAJZah8ES0aNaWzWPccvpo4jGJstofbKsMcSDAphG56OqExRpn+l78790UjQoK4u8dexHAda1EgR4yF3JshgzNzhn7OtczX0u7RMr/yVaGfBaqVmcsLMuF9B85nMwijkvq3FuKYBPupt3dADBvgLts7ISLHg3ml/fVoXfXWR2uK29vDapTBRo2tS/2mrIy60siF/3KcdkdYqRy3pQySN7w570RctGH/7H4DdnWn/iejhbiI8DGOsZwjXPJ6oPbDocnZh6ukip7+/z5y9FhlQPWzFa8tuVpecrFVbsOgHed8VaX5w0vP0oufEZgIVJlacRbUgJJqHiNahDj0V8wQEB6f10UbBJ4fKpPbOVUWM6S5Ek0s1I/Uvz+UxS+mcdm8Fq8iFloTKn9spscLROvTXX6bk7gFsXv8GsipWtfLgUGkci18SSHwCxj/lCo/g+xmmnmjigneXYG8bPNHIfdyrTYAcJwq/d4MSpdS83V+r8lLKa2Zsnc/XN4c5cxFI0SsCF+q8fc8zeqHrdE5q/2wPvg2F/B8NtcKPz5JmcvErswc/5lZLr7ex7cQ5pYOIHL2g6nmKjsVhQpsUShurMEW1m8Ui9B8iMWk+Vm3l7YSfO1SfXzAWcXrU2LdgFD5uwSLqz+lyYxi0jMVrdbYsjcNlUX7Ak/pbapEuIw5QnNM0e8EMluvspCYtSpZA+YIN+2ZRp/vUJ8MYCmoaMOs44ykhnOzRrsZePnIA2MMsQTgcsiVSzC5HdNWm8CkHXQShgke3waaFeYrmBsxHcgKGYgqCgQvUl2zE/qpRxxAGuxBgZPvt6hEmD1SaZqjhux7PcATOBgbdIhsUxJiS0SwE+Coz2nnx8KO+Bd3b0rnY90uLnez2i7oIVw0ufRGsvSBRvFZskncDNUjIQweSLBEgJZKErgzd9walj+jsM/kg4jc3flWWqE9RvfNxEQGo56ZeQACXPEWDjEnaK+4FUIj/z5hpjOB0FPZ5fbJDsvzqOkaC7cPJT0IPzZ3N1wJJRHh7bgehWupbeoCcNHEcyLj/NYccH9NWl9ckmI0Hb0J59vUF+x0bZmrClHTFzbzL0NbMvmPkPN1QXOVp1h4oxmr33UYoZyH0BKVu9tXdMyzXYyz3uNHpwENlS8CbW+ZVHJXMXukneyKmq8/NQ10GzJJkfAIHVCRU3VE2tPq37DY4Zbf+xaxtd887xI2eLM6AEw3wtWyHWDjqWUBD9MyAatc/SUXdcVd5AxrSW6eeOu0/AVIHtOFAUOwD3pSfmq2z7FUKOsgLB4IJVAJO3gDbIGoSurCEm56hRsiuZm3djnfywSkBIJ86+ZsooZ6wS+qJuT3WPNjKB22IysbhH6EzILshWkV18Kglb8lTdI9YIM7IbTfFSlU/kmxrPRmg8nB0aEIwrnA8eeH3CdnaSS5nfwCwi6pCnqijZIaNjTv4E66qM0hjIuMFpbWp4NQZmQdDtZT7iWody+uHjCpEbAkfH2ODW6WY03Ih3NRIMJiJ5zbk0aDgFeC42aQmN63TDpEbmoh4Z2A40mzTHdO7GZ+uoc3I8o1R81N70Bxb/dVs/nINsfBwgOOXqe0hqXL99qxE2eqTsrhneQ+duR7H1P9IYx27mQSwLeNO9SX4yuvsU6h2t1MXDnWiW20QIEcCxiDYiTwdhnEZ4MYo/rkwks2Cy2ActxiuOzaNRNDL5N/+VE4KavmeJ2bQkwT5iewRX8LAUxDLM6Hof+PErHN7CSyNXKVKL/Dyp4Vu1lQi0QxpPZ9RQETY83XX/xjjS9YXLCqtFezqD+X8S9dP4ADpsbpM96j5zyMWpnZDQpNdqBfO/Xt4IDTHdBDUIcnYPoqEIIt+ak6E+kI9h0rvMcI0SV/ZQwut2afBRUPXDCAu7+xW14Oh7uR6LC16Q8gPsu09mjrPmht80mijrkK4qCvuwZxa2RtF5Wbk36EjZ/GObM78qR7mHyFa6wiv7hbCZAQUp3zYikytK1ujBT9lCr6uNQtbAf2hHJn3HEdyswmrA+2sTymd4sdhSRo6xtKQgPLWJNHVC5XfKQ9DHKw32+dMfAg4WXTzYJm0tXL7v4HUO1YLGEX3QMZnCrxZUUmzgAi4i82Arf7Li66UM2hHBMtfswheJa4m6vBbO8XeQ9Yb9Oj4ef5R2PaLssW67TWbFAFI5POe/cywVtzIbZlJbFrfHbXNJUPepO761kCZBrgEDNpSaLnv3BJx2HNrDvXqdaC26FqLmG0ylcyaXYuOgCUWch9KOPOD0K7MBCE4biEGKcSRD6cFSSWhQplCLnmLLcYXJL6V3FDVzX8usd2LDIOTna6XcJNi1cvQgnDcufNRTxxJ9zrj5ZAgrMJ2NV9xI/39HMVke89S0XNm89Uwvn++39814AxUrYZMClz2AXvKr6H/bUgSQMh7whvl7MqrGXomQn7sFANcOYGUzVt2whBUgDskckzFmQly8Cnc+Gkk1dIuusO6CeXG6/2YaTczeTIqozYPJrqMIRUMNfgUGyNXhwhoqA8e7f2TDzOwR2lFUdc9IUFLMHV2KdozVGek62jXPITfk2LDKL91p/eI0Lt5Fp8L9ENo1TlbWXwsAgVg9p2bosLDn5y50ZKVNe21u64891K9wBUjFb6CKtgywo7xay1X7RmWHtKgIfm2q5N6V4fooKsoiJq89pAmlHf/rN0oTVMH3ObBlHBD9R1fss+DfaOVIHcj9enepBQnJy12lUJ2Z6fRS1EVGnkRyBOmiYAr6fMI7cKbsBfxm1xAeNuE42Tuu7dn1PtN3Ovtg+k8pvLEXIN6jbcG4DC7O8iEmnRQpnQIvT2qxus/PQqE4mXk4BaXsP9x2Kb0jHQ0t+rKR0dzGw6hlEPc0TNheRiaOdDTeJaTCSXnThf6vRb2Qb2r9END3vQO3YdP2p7cgvKI6ZtedFMnIH60o2/jN5187dlkWWCKN2zXN309/vZnReFveblrTS3JuSVVZHwFPez/JKu1xs6PxLxX0hKBaV/V2xnhR8Gzui1zTB6NylXwk2ty9YHsWv/NSU5SnhnintFlyY9L2px6PT/d+8ek/MhghHCqhSyGlsCww3J7ahhJ50da4N9FBiR3Y78dMfCLLi2fL5xETKlG4AgzouCOdh2KT+AAn4aCDznOGLsUxonLEakkGynmA8+mUK6749gEWrw64GVlmu7huwY6NEr7EcETL7o5s/MyS0/Z/yAgYnr6uBRT/9omdw1gNL3ur2I4VPuOO8WagEPo3xjsFshRkLx0ihSLu1rAf81ZUxd/uG1+NkJ7Lnid0AHwiBizmMKnj8197FrPJU5AT032LgMgzg5L5IvOw9vS6fmEO4K7UllrbpPwAqlXlHTkU1FaCy6LWJB1OKxpwhFbYgDCw6sEjfKiVUfR0BVRt865Pikey1CZxwGnpJQB0hx7ZCRFyZWvAoM1j8CdkxpZtRsZzCjXFZbSqxOKc/S23UY/G8kJNAFmBEu4ezuzFo+spkJEXiNJQUpx9t0Zam1A4Th15NfbYklylKRgbqGeu5rvVB/8KYJJYzC/64CTgEhXeTYebCDpnOUyS9yBM0z0QT64fTeZ6m4PEAbXrcR6z/2e8Gzy+qQXxCMG7z+wDsd37bo/EB8g29NX0Fan1NCA2p/ier6psJmN082zscN6iQ0/gZeEZCJcPKpVd1oejFbiqFY5eK7URtl4FPUB+s854zyNeRw+29x6Y112e9tYkwUd6qh3A3R6GFIEjUcaS2F1uveBLF4Oy+9ZGKLYjpSp5oLUqiCYyN0/6SxkXkrKTIQXHu4lFIz9ortZS0uTDEz2xlkOOaoQQWO6V8Fa9nC8I1jDk/gilTPtEbbgSfEgf28kV/ih2ROViTCGd7WFEEEUD6aI7FbISFdtl6da1tkepz4zdMmdtdZhdlH7YKrJZFQhvfPVBigTSQvcIX5RaIaldHLFTxNhsrUV0N1g7tUpWd+DoGPSbu+hUInBeEqW3S8G1T2BXF+li7SLtJQzGEy2QkiLqwLFWN/L4lQqUSg4CpkmGh56RS4iLBEUEnjEYNPncFEEP4x5kAf8b78TH49ETAiW7io+2Zp2+Oh9Js1ZToRk3MpDhlX8HRZjrUkta6aZKiVZ7NDyMRmYT0BNnfqW56LE3kTUKGIoAUje0SVEgOkThBcoPlJY31OYEJCKGevlNONArKf5gcEvZjHoXdhKlTQBq4SvBcTP4sY+vmH/fCm4ervABKa+R4so87fhAzjFqbZEpaE8xoQClIYJo5SAGsFS1RIwFmVQ5dhYpE9l96nBN2OcVZKjXaF3SBZaoLFEZT2fbbVhxa8lW0LbA4cUac3tiqnAUDFuUxmncJO3hCsI2MMguhsd9t4a7isJhzzRJVNDnWs4Jopqnvd2nyJrS4CKN4Pr3q9mxwJlgdm2ekrUOxO8OJVcU2C9PWfZfiob6uadc1yJqEi62ElbzOqxi4gp1M5w0OpkwAKH9IBhaYlOPR5W11V8tcel9V7+ZSx10OtQ3/i2tnZosQ50uMe+J849nwGo+vYZXWHl1s7roEV0Q9DLZ6jJR6CtElDtRZuLVuWCEhKVR1CTeTBTiTbgjgaJAgndA5M0/y3lyaUrrubwjWhXCE1Yx5wb6ypr7UczJ6L6IUVnoDUjRqHRZkODVEWs/kHpLIWAbF1H9UWtbus0gHrO7+qrEj2NbD6P9RYfoJ/ahDgJ6Vfqcj3A7Ccy3GI50hvuKsOZCEeZtLw+LwjA1kvmggW87uuF6+MnYNE2RNM/3d78J6eSZijEASnGu6OSKEARq+URD2eTuWoFRApS4z/U/CBWBORCVC4iVawN0RIWRPCmBZhTk+I4xs0NTitMBvHAzWpzfw7Z4qMJ1Nu4PYnHrzqZcwgZZ3HgVmYmY0lNVCp+bA2jh9U8PWkvJN3C/EyTr112BQaA7Hg8cG2d2y3B6mhmmqntNWsJYQNLhDzHPedk772Q+s87augsJ1vSTlfieiDR9rShhQtyblwqtQGfGsK0Rlw/PVK2uCq5QgPAWlL/jU3UBXI98WOeeVtqRgfW5rM4KApeFM76EevWKivmaS32wDtgOxw0cybBHO1EPTYUzB6NwSzhDFIVXNy/WUfElA2RgXWfL7tgQDIVAkKbTeg+5UdMtIHynRsiQ4TL2IcnY7C9EeNGJo/w0xLhU2YUjTHtWZr8WQs4cZ8XVA3+Ht3NK6SkYxCmPyARoE9jVpt/O40fxciIhHDcANJsjcZZ0Crk1QKV19Z6n5hDKlkOtKTWn3EJoIvv0wVj39LJ2V0unpnBLv67a3hu2ndK1bZxWjcJF9QknaHJ9/+QZqVPo45vvW3UlJd9pBLAhxdLZWEqRZjI2F+QaoL5FYd1es+rHa2tfAlDD88KKQ4++B6p3oVolkdmN8uAhqXpcIvunUFA95Lyz7YLqo8QfNVyDxVV+cZDPEiYQImEhnDtUVMYe50SSr2JdYc97oUuPuatT/+CMtFx0f2vwrrBA1Eo+JCd19GZMgfniFWtN97HTvfXgRg5lLQOUsmz/7KglIJFnxdZxhlVzpAYF5QaNCITYg2UvExo6/hz9Sw6u8NpkXvoPjk/G3XEm0W1TzA18hO5ysw7EFZSld6JehQVUXfVaWr+M7TZ+0a/Tb6LIwnauaqBjoPlemHErIIw0FeWtxQH6OHEBNdxiYwh/qHanV8zNOHJCcegZd3TTXqhCk0TUYq13CQuPi3IBpS9HQcdR3BSrGUUVglnvwoYaupi+SXOEHLUm0fA3q/jKs6TA47kgIlVPqJRCKOXZsvaX/nJ1F0/2mgt8ylxe7qxK9RQG+swMRhQ7bQ7106fHhN27/6BGdWyPl+0rTJQF1PYTwXT1XIJqt6eMZTuIENTSC9DddjtaPw6AJuzIGzgg57u0g4KgU2o7iMPGNoODl45DuYJtWpe+LGsTmYsijAjUeIho6gPNxjKiCQUEVleN5xoUXJSZSNVTZjFmfG2owGakRursxZN4TzQk/7mSD8GjHGvo/6b68kcz9widtWss55Htz0YMH47bjeiPqzFk1tos7QzZvjw6Bp06oyDcoMTSRolrlDotfPNvXlA+xpIGGJzSnI9iWKPg3JqgDPiDIO0OYi8Oo7Ff0sNl4r3Ub3XlVndrOLg20/ksTAbPPiJt6CKKnRc7qNI9YmZAuLFCQC/qSB9oOsUCfrXIfv4daV4OlVtBm++lpwZ+3bBK9fXXxliYJZabf2/G1bpXr3Dbj5RKG6FValZB4EXngDSoGSEJCf1xIJiogohHXRXQPJPv1vm+Awa9grLAhqJt84df6Gc1LUp0jj1jGxL5wjjhmW/Sr+rkYiZjXBbrtcwmhkH56gRvWlMxAijBB/hmAMNsTsxMLGKy2RlaUvTv64ci7tGqwiS5yNnk4v7ANtoisMREieFn4+6Xz9MYBmSHwIaaYsM+5zMP+m4/0zTbBWeYNbrlcRW2RMe/m29zkdKGL8S658zb+WG/MeyCUD9rLIvOXG7egK57J4R758UszXID8ngFlCWc2YGSv1c44VqYUF1EzXKj04c43Szq9jZ6TiRGoiHH4nLnsHvHA3mlzNLIORBLzn3Lk+gT0aFRl1lD6MbHZcb64Y4dRY/E6Nu8dWCWnEEV/ay3wYoVU38MbdOeGc7Ph4xWj65MpKv5d+39N7qTAXr3qT2cAifQWo/JERFRTwhIwgkvEADbtmhBykcj8c0V1UuGYEmg2OWjsqj49ofrDKUZ0ulGN6lNZbeuLeIYKtX49QuQuYY+ygyx9ZSWyTpSDQdLr+NdgJFI7J2KpgGHabfRIZ+jzM033pZA7sUX8PxiiGroMGxSslbWpnGdFFEHsaIUUsk806tsMlD63Me5efGqBFZX4nUBC95I388AUm25dWd6fiZ1tJncG1KzoHUJH4pdhJ8VznsI9qIT3icCar1D6FbK8Ef9jBKPNa78Lvo6FspDQ9IFZTugpCvce3ffNF0W1IGpHUymnvJuB3ueMlJBtidrfk+954XM3wg4wTqJy+I3ZOZcZ+iFFAzfQBJ0qiZ4DSesH18fozz364e/nQmLW5CwGCAwhVPdDSMoQytJm2HQC3E6s8cKyd3UkKcjkqP4UMB0Pvv1edJjN9Vg+DKOypScg+xhq8uJaejV7aL97b4l791XPifA9xn2sC+9Y891EYSyd/3wTtuIHhJCPQ47RMKuEznDOSDdMzocwT3lCAC9vHHvsQqMdrZvXbH7etXmG+5L2oogLrvgdcV22HCakVbfl2OxwAdaSdDE/RfbUAz4pQ6NUjhd6QevFHVbsWQDQyRXm+lXSZjcZlMtW6tqcEdBdR7Hpdy4bhiDkuvfJu7p9wuyM88ih1DbiACvuSkBTaZ8VcHIGWR99ohk9SYk38crxel+213EYcX4KLILLLDeVMtNc9gbDC1eDEo8YNMsw8bFFlu5yYORzzAIoqah3KyCJT1FrDRp6XTX/l7cDyu6BbV0iBH4/w0QaR3BH3WSLSySlxaM6jhGd0x0a/6KTJh2IktyFti2uf1SOC85iS7Nw94OKrG9wAhtYpmG1TmHdw59H/KwgYH2ANcwFY2FNwXv8n6Z5AhFZ3tjJOy6eucgysM0egat4y/Awrv8B7tL8MMfWGxxYYrUwCC+OYABI+FxPou2DCdkwr4cK9WiOb90tRc664ofgoxXZg7nI1JWbEVnk44iPzsJ8H4MaAlQcLFu4YsAv3XUAh6awAXZCMLO4naX9CwoQK6bznBV+/Wk6xcYICnuMzoQMG8tWUhCr9ZUVJVjoghHfeacvX1LAAPzOct7XGGH2hOycj2kR1HDWi0vThkBuLMQj0ihZOCTw0Ee8BE2UvfZBiEtoTME8Sg8MTqhIcxqYS9v1Zh/tLQpTi9f4SYF23nj7mwTeBdPGQOMKSr7DCCpzgDrVYjhLF/1nV73ogZDGwhfN5sfjWnfJLruciQtT927xW8cvwmAkkQbPZwgCp8fg2IBReI/0BNL2544PwyppcPdWujbEozK8Arx/bGkYx0NLN1tlHQ26xE8jbYypk7J0jqH21vK+/s+pIlRLvbJdTYxdl9x2EY+Uy8rY3yhfE2xNiQvbMRdtTAXnm/paUWgddv/IrNQH2VfNcL/mQmHKhJgC/sFTnMK3x3U4vRiP0o1Fpq61n3x1C/Z3RWIQm1GRfb69Ws5OYsXJIbjFzm0B+m1glkwfZvj/03aAZNAGgst0NWBDSpeo9MHU5EBjhYVSgm/oLBgz0D23ZfZFYr2tSH3FHb55zMI3eYR5HWsiqGhpgjlgXnsH45+dKiygLvsQWhL9KbHzCLr+4YeExTUKHzcWwCbu0P8K5V+CatJ9C7/nt10bnh3F/w/IRvCUJ8Sa54C98PCPLeK5miykJMRA0YB1Ey+hDiYW0tmUoKXAhF32h9Tblv2lLHSWFmye9kb/oOXFKeUAVk03GwV4AV6akkoY9WYXEzDsnWD8iQadsMBu/LV2SsjewFKT1iiUS/cy08KiLumzQ0rq4Onde1ZnWi+M3is15gk/TZCZqqdS2UHkvRfcssP5WuvcF+VS0PnU3LK2f3j0chp8h+lUSzP2ySqUGtcHTgxqI05iNdhfNH2eZEvT7pdVt/sUwXZgPEAST0mzRAflvBP/8iqXayCJzX/0HhXAu9/8OgYW9OrWZb0wnNDYcBTUzLx/SlMvapo9I/2mCzGC3yR8qxUeaAgLkhUoW3zR3jnLfhNnQMI+SNwL0uXvXoC0MqVRmnyM6igtFC4zwa1BS/Jc8rxyn7/g2l8q33ChVMfuW6qKj6UG4f4bBsXLIpomI/YNXjzK5Vl7lpuK72GTjSUxee5ykwYk+O8LPefjarHkQu06l6bgthTV71+lGY7Es1kw3yqWysNP0hi/V05KNo/JK78+p9hzQ/cd1UGaRrZeTzOWKItxi/57kIty2NRppR87H1AnB/e2im/hccsfU1P0Y1xX5NZwGCBUS8CwGCJv7PU87NJRDqqKtSMPQMGlhJSq1Mqh2h2nyaWYXaTkqvSWoGlrgLaSTg0/1GcEoBSY/mXsABGgMtF4y/N4MkhcI11MO3UDJqiA6XePRSoZwWj/azC6RA5vFndY476yEIxJ8kSlxf85zAglIsHZtQtF+qTo41JO0NEgmHMAJAy1BnI1XLBNdNIW27KDa3oNDCc2TBGvPF+BFUZfnfF9ldNQ5BMJba/T9fjPogl1ufd4f4MlyiLIOaV9RLZmEnz4wgWRehnSSmNmdmCIlTptwle+ed+FSh3rvOFhgky5vD0TGiTk2C5qC/Okar/33Kx5/xQ09rDV/6TRsf+l64rL256h4x9EkiaeCOjRdOtTGUoQGQlOkJeMMyu6t6nmT3JTeXh5qVxqjpmTiHNM881Tkfc3fO1loLT2pPjKdWImaMrQ6+tecEVjAtw/6midzS4ZjSDHzCmcsTqEeYxPA7qZCfl2shZG9+PZjwK9cyVsudDCfH8VOHaB32A7yfx2FYU69NT7YRsqGFnzgbnqfHUvwHJmQN6Qml+AOjmFGPufrKCiNIOauhoby3CxS0Lel2KHM/gQ+4qpANDlaKq3MXE8QiIlXl3qjsf8+kn2ZGmTdTTWjci92suBV0dDwIGoxIbPAGwoLtFc70woj4VabVVgkDptluop1isJFw34bJJimawmeLM/xeDY5/I9IMYXPAMoyDJUGz4p7/CKwO6C8oOk4udGPKLqhhrvMrQrTqQDJG3bcNBiqiekI5L03q0EiAvqlcPIKVyb2sqCykmRfe/rdYBzquVPWopNNROBvBYEPKMpWvhIxvCOUy3I0yyYWMAg7aJa37Dmc01qCKGjTMV5FPu3YS4uog/3jbnuJ9ZVhElEsC2ZwrWu+EgAInYqOkHfq9MuxuWnibPj/qnlIAOXGWFw1MAieR5f+LxCQZK4lEdmI2XxSwf0Ke9NHRn9ZdFOEXCQFcEYcPyG9mixFNLgT+sLtspKUGsFgM11ThSRzZNT4wEXFuALYo9VmG0gLQ6J6mPas0Zmy9jytPtTmuii3kLzdV/e8syDuZiqnsf1svzDMU5ePfbYpgoVTMIHaCeY6jiGsIR61T9rP+jrKpcLy3uFFCEos+99VilyAUqfyWeAjbgi1VPnyCGtV549NFjL+FxfkdiQmdv8qOT4rjkSJo0LI4IZChWf06jNLWvAadUiWauAvWZ+CrZnZSnHXukgVNMnr6sjz+CwCDaQEcKqgPfoi94Mf/sb907fRQ6k8TMI7yUj9fPh6IkxE3MMSWwjK9EA7mIVh2opfE+Xwy/OddNLYYZ780FShqUrYWUaOuImMyRszzFWgLaoyE2eokt/BjZLJuDSuTUm3bInokpT7yGMCTvYjk/1GYYWrxTKzDStjDdcDj1V/fWhqyrgNVwVRIIxLasJfyhoFbmVu+c1oe6pQ9ZK/QAJtDyB67zKSBQRSP1IltnOQo70FbD4Cr9bx+Hdjr9+h47F5gN3XTq66OiYwPDgi3fxfPho/yUck5U4bNzGJamCqGBo+BCMsRr1k5GolAXsQvPPNSLlqNdn+6qnkRK0QyBdO2C9I0DFGcy/Pud86zXsGF8tZNmH4dR5j+OVwQiIe2EEaL5s+EP5W0tHqCJZG6BsxRD5tpQJodz6y6HeQWtJN5dj01RE3s3lqkhQkJ7rINrkCkj9j8VR8/vdY0VhDXhhbXvc5Fc/TtDRTGkOYsEoN3RjAjD29qHI/lOuKBX85zbdM0H3j/NMRIy/x3hGpiEUKtXfCnSv+4Nt0s7byPsHO4RijeR3CcfQajqjOKF3UlmRvdiim0zt6hsRm21IhArPhou+mwiCXpnpPomMSkBh6NC3iN9w5+AIJv9+V42aoBPY79d0kn2xVaenE18EYBq0dzXNPOcMGGZZCdDXUgnNGktras76N/+vuPYCxqZsOH9WKwUhM4bF+o7bKhFi92B4KnfwO20PTrSRP9jHT+8l/MeaFsjSlZiS4KcwEGZP6Z17+jd3wb3Tr8VhRd0UDjDjERvhTMVtOnSuUmwbE6f9ysRnhMBE49ebWfmydD99eE6yVuLhCTC4PlpUeH2ComW20cfdbMfqnxo52vO16n7x4nsZJwDJKsjeygMP71GT1laTg02NoIquBo3Xd9aGk8C2qniC7Xy+Mybnjetp1BbTSyGq9YZR7U1rMlLTaAAvjYglf9xuDPXTY42E8CMPGh0mYXRj+cqpxhVYWQNJNDmjhT7EFqIzgBWN2HRE9J/8G83OfvdMzmDn8SjNIGIP1Avvo+3D2j8h5mIZdO23dcfnUyl2/FELzfYZM2gF858c5HPxICEvTeGI4IQqUAoly8tDJWg72SGgWc2gugu/AMT2yJQvPSsX82hRdI6OHqmR/ErTJZe/Y3rADEX14oMD4WRutC5brA8cXyR+HB6Egd0OZeiQ+meLPCAYZxv+M+DPfnp5opEC9Q5BNlbVa9nmBdT7EBu0EXTuSPVvUm0Q49D79q07LfYeynl30HZ8/SVD0w1aDgNPLCbmxatWV1F6HxQ9pKLc9NmaF7sJZbWbnadqr3EqDGclKwaliZRvH0S/Qgyo/wD0dQO7QMZxZ9FXVq7KoaEWvmaJgQ7XNZRztmFMJ5Wu9b1fRBW/lLORvrEydvdkl/vDVpI1MWHSc2TfThoP7VTupA4zfBP1OidJn8JRnrQHVVPysnartANa6jkkzQrA5GZSBerfPUQFrBZO6K4MMikOYOq7oUyfI+LBtww0v3Ddk25QSRY6mCJ1iGEzb2/+fbe6V91ft77pesJ2lcWLeTFD+/0xhXv2/cVMd43ctoZPC7vxmjPlyitPpWGHXmHbmYcEKBXJ5Lrw+aU5ooVHvwK+N5qUx/QORhAvK9oGXxYH5gKxfh5mT7dK6liUBkKkEd1Xm8Vs1x8H2sGIixYrgJvau6jyIk3Q3YknAAa4IRHXjYx4qAgMh6Yv6nt91cBFQrNP/xZ6y+EwiPGZWmsWJ0UbBx8L0Sdc9vGqwI9hETDLLTwWwEuxXPWYhcP46l5kLNvkakJQyHNqwmaPb7Epwg8FpEdAfmdL5AU5FIKt8Bjk0hJY69NkOHU4qSTWyuBe6ebNYtguVSBBOUMqv/zeazcX6uk5Io+YuxSGLdNeXHQiR2wQ3S3VzN6sUMK1zgaHDDCrVawZo+3KOaEzh9d1Gu71TXq3+Ek7jd5etaGxnx4NHveBmicMhK2tWdsFhpJRVSQLhXcVNnCR5oyvW7ih+fm+SdKyiyiZPBGPj3+O5XsGuWHb6/+KzuWCBSCXLi+J36qXURmTq0b7sX6j3ajE5dVA06gRjHCzVYPNd8+RXvgpOf/JHweCRHndXk5c8opbRHKN3CDXCf/mGEqHOH6BjBrEtyiQyCkf5f5N2TN4N8+ux9OQsHiKfXmR9beX9clz+SJESlQJENF4SvQwdzO3vbMB3Jx9K47E/8FB50gfOQGGPPFC09EhCxVj2JLf9o+Nv15i9hbsCq+LcQdh5yeGUtKuAGAjeUn7Evg4Fvzc5CnG5XYwgtUeHKXx2DmR4EnVLbEfkb7fXpnYvZ7vRb0jmXPUAaPBMRdvE0Fal7y7RcZC91qNTFfYnPzeMN7ylZZR0C/Cfws6gzrbCnqton+6vL6c5ZF0jzaA1i4fWmFti2d7U+Ia9VRn4SJLcf24dGuPdmB09Luzsk0+/peciJZku23oXiI0GN4AXo+ZXoJfL3Bs30HmV/jcJxDLEnUtJh5sG5EuWic8PXXww/Kga/YDq817JqT24NhmucNJtd52a+FFxeDBpi0cSeLjiJhxf5W05BIqwKJ9sRd84uuX++AxuBqmtDAbjLpDXIm1CJFKJ4Gkd4Z/z1Aop9MIO1dfeD6ffNdu/RQZoyHynBK17fIvMsMfU2rpwzx1Ti9zqj7JvEdvfZv9SIQWThbnOY8zpGtGYciivvCZhI/zSMAabfq/7tm0ymS+GhZQjmNuGPS5Y+ePuQIx3ntsesgshYRsIV0dLNeqgOA8LmyOR0ew0L5Yw1VU/5eJh9aXYE4nBnETd7JQkGoIIC9JboVRv6B+n3+ieHUl0Ul1A+4tGaarPRoycC+Tai+dXFNzoZ92Cs0UVVbZhXY3Pg7dPhti8umAIxgkk6qnerVHWF5eOpletAmdB1uyTxrO4N3VKG016ruIGVB4mJQwJLW99mG6PWfhHGYENSDV/iyMf9I4nTXmCDdCucWuaR78kF29gt1T+RbXlmYh1ZZMqQrdgHAwtkco4LaJWowLiZiJuAwpsKUOULUC8jAxgz96nuRnEyf7MjWns+qN/+PQcyO8JspzmPXsj3j9y/1EfjpX8tqEStm7io1KKtsjYMlJx4RSGzhOz5j5mlGmQsfsKcw2aWwdUi8wT6kq4jlNWBTXD1ycinF7d3xLGonHVkZJ1sxYGAhSqi7Yc8KuBxw7CFmeY3n7vTia8gyh0uxt6/JBq9QqCLsKA2u+R2s67Zw5jdWsOKalJ3WiSeCBM1NbxwXEdkgf2HCPBCwC7aqGEeLa6VwF+Hoi3hA0RAjkSzA9JMUwO/wS+1PRfL6XMW0oa1cGtfSPXOp8GOwHT93QdIUd5CzOkN12CgL2gBWJenEnEufVACvJ4MoLBNFkMmxrPcGekV6cneChNpPFGOFrU0TihYzQiHBwiolT3E806Dqx8QSCnzlKoEUFYvcLpdDdMUKteVFpfrbVWxUx3YJgTDh6ksWOVK6VQk9Mcbx19KZTb0QKBJYlndX6S1LjmwXslAHpfrWxZ5hofnBdV0zzpWILA+aSplSTyCIkJ/SRnmn9FCE6GXljmYxs+UmeJmCJhYpezZ7AOv9VRQp9fsVZMvOAP2XS2FbVkKL1+g82agyoaYXArrgMpL3l9mUv+qa5yRe9feWURs0rVLhAUDrU8X7muw5vtjUike2VhzwLewhX3WKx4tloQWZ3R/P8ltX/tYaGmXRv81tW+Ppsbx7GnXdIbc3T68a3WbPHIN7nT8bwarQ0+e8KMrJX0RlRGYlYdkkM+ursUgYbsja2Pnxn9b7pYfvK9GILYsg4LD2OCV0kXDTEstjgz7G1jAhCMh1myCiM3p4KE2Nzsc9Pc3sRFCu3/BMVhwPxEdQW4En11XRrW5IbDIUknbU3KwOreVDVfs4yAmRCNdymueN7zfdEdfTZ+1ECTUgCOtJQOUTx7KoOwPrhAmpCQMoQ3JeuYK/BiKJa1kCdk9txX8pB87t5x7ckKi+KiH394TQwMzabZTUrXFXyRJkXa4md1CwSL8oYIlLTsYQ+ylwFohD66K4Utr/MCYV95peCvbLRrx8Oq1tA+dIU9i9pjkx0sEExYZWhZAXmjZ/dQwX6zQwkiqxHIR4rU2UNy04xXKCSKGnekYnlXHag/aC1mJ8cD8YuNS7ZSiF/emq56GHI4M7Kh3s4kZGyu94zk2rNbAw1PlPlxHn22juk9J+3LCocTmNIk5e77lWAszKAhFC0wmCbgQAlq3OUwSLfVJBZcOm6CT82A1VaZnLsGL9fy8/HDar+hqmDMShFA5VFzJnIxbNb6LkNfy2d2GaN59Sozz032Oi9eAaJP2Cl9NveP20x7Ir6gEbNhRmF3t77qZ2haMG2/XAeMz0k8bxUzhGCWf0tW4OO0sqLiHa/QQaoxZ0ReJ6pQAPsnuXHiPBqrURoamhEsF24Vs8LoajZIvjy2l+0tOCnXUxVzFelOQgu1XhcYEudtOTQi6blU+ZBLwhAGLA4+1FWNJO7FNq4xBu17XFk8ebmyGV7g3+NrrBgTQJ8aYVHhMP3V9ZI9rhRlVtXNfA8BWuIw10QiGeP93tT5Zekq9SUkit4CeW6a7U6bUvWbm/uGET4bobqs0iKDjS9iwUMuwXmd6iaiwqdkQ3a1S3P9KOyWUoN4WduZ2XFI3PkOYf76Snrx9CQIGIpThWE046dcUzZZztzRqmxh6LMa3y2KmABYAC4/v2f42cVBfKw4G8cHJoNAGxV0dw+PEbHytJZTDO0Bp/b5pTNWMYufie5hpbSWwh74Qkhg3ox2fxG0DUBj9Mk2kmZL+5S4cUi09p046VwFLK41XhLB6iqrAziYpE4OYoaSMrPiH36hnLglsoCcuuTY1+HB6QwG1ew6SXo0wKzAB+oR7SrS6xdhup7Uf6jtjCfJx47K2auB3jB4eVzfL4xsR8a1Rx167CUvChBlvu5Lch0dya2oWgrt7QLZjQKnJ2NrDOgPfeJCmEp0DsBcmnUA6foD/QSsXBFD/aScybvb7CnZFuIjPGyrBTYswUsDxjZoFPTIw3hOqneGuMEqhIGzFfs03gxkHZPe3efoOrOPFwPYyn8SNETrznkWfgnisMqCE98vhWvSixmra3Utk44eMt3sD9qzzeGkSoNyKgOGqwC3Zs1IKLiWWUpSW57L+eSKO9XNUvydCVm0JNG2VkezKDgI1w27f6RNvSnZleH5rkazo4sAHL4srUOfrzW1yz7lI27D1Ggu9kK9MToAK7sIg5bq2cRBFENgJgh/Vbi6qtEmCc2/R/Kw5WtpiQiKgB1zAl0mr6TjwD9S2jbKxpv8gK4/10H83UKjh7GRrbF9qijo3Q/Q8doxr7ylbazDqVQRJqUadwdhwfn99HraMr34E9/m5ZZd7VNcbGNF1XUNe8ugqGoDLYb6eL/NlV0DgP6WFKKleF7bwJsRCl9W6uwdIwUU48q9XBa39iegJ8i3ixLnzYagm1cyzpqNDh19unV3KSfoKqMog3rYzWCXEWjI4frzpM+sa9R0UaKql4KJZ3mPXDCsd6aJsNnapqqdZxcxr9S6gtK0o+hWkyO79/U0CYDcxk19O6uxtNcfSLWKmT4UArJezTpE5Vr3CvObCz7xXDTl96Dv7FNpYC5+TlvSWA6byGvS3pcOpb5k/RwXcI1ipnfHhqnwd9GvNUoQXe7iR07CR+wk/1RplSesciXlkcAlUgIgq43vRjYoCY+GiJ7h4BFBUByx557Nbud1rIQZ7GfaS6YR/2YoYZvips4v+e5YMF0R134QVfxFjo+SjhUitpqMMpWxhSaseFCD0ompuCh8f8sMTVcM3nLg1QJ8piv/tRdA5/xhUvy43yxp4GRvQXiRCwQohWVQLeqsUDZvzBk7MWzt8xvD6SYCiHnpe4zu2+xzcJvC04KDbREvjkmL0wYY7acYc4nZbq3O2mOVyh8w4AnLaS1su1Z3B1o1DSp7tS6U7FDF5oln0G5q8wYEOZqO7EFwUStjLWrtAFK3FQQJ1dtla7o+RgBDo5h3GTPsuas0tNNAwecxHtK3jsWgZgo5Ypg8s8g2vC1pt7kCo2E5Uoc2JWAu5wVrqpLiPKD5HN1N/Z28omC7f8gsoLSB+st/7HOii6+uphmF1AQRoTXmZYVlks052qk1z+M6S2ffcO/g7IUliIbAubaWR9UqJ8m/i6n4zuPzHEJDqdqG3HtGjU3T39jX/tiDgjWb+Z6UzN/uHbYlas6a8coG7FGxhr+NGpVKOv3zm9KF99UhcOUA9h5Yc11MQ21PxG3ExsGuxF9WyreN0MWkP09X+YJl+NlrSUwZwzw+CjBIT1huPUpZYKUKBvxP69AqmCF9Fz7yUJp9CxBDy6KwXosncwpeert5y+TI+5bhZnoBeE+mBarPKfZBs3IhxTVgmpNPAvY+nz34Wu9ytRyRb8Q2PbdfAkxCUAMKlOznK6etORSSzJ1xCUEmbqqwg1RqHoGEQp0AKDALjNSWzhmZar835I5deWt/NWzk8uzjMtDnzANntULlYe5JVmuU2EuKxrbW2rfPHW3rz5j591mPIJajtzy6jjFxtcxp8z6ompKpmi5ZGBXAHZFuAbwkHE4FvcgHB2kPrxWsEmDonLzboKL6kgJrdp2bih+s0XC/pIHWjsGL59K8/oGct+IYfcquASQ8a6qu5cWO1FgXQHwyqm/IX/hMhNAnLPL5q6HWirQOa+HC2Pf0sqEUx4iWWcKzBBz/tP7BqZ9kiyLxaj9gY+tzhMIyQsbxBHsOAiOwDe5VXYmC8Rc78nmoRtT8kiGXzy9vKNiwEdXfysnFSfLJ+T82T7tSwTwK7j49qMEOyQMLR6jWAWJlK/uTngbs4rnmiJMfelbnfnKqDD9bXjNzhfPaeLGXXDCF0+j+kRg49qtQyPkVeokxmQa+xy8V5B/jfaPLxE9v4Z+PreN2BgrC0/Sdis187U7cco1+Elwq7Pb425E7QUoWDa2uNV/0dJVMJ1e4xvSXlqeOklI7eg34Bxs9yCyWVunIepc9rwj3XpndjUoWkax6KOxotSgJNcBALVAW1PwXDDNJnf43QnCX4e62O1tB5x4pkA4eJvIgpMVuiodiTeDffZfPulGCrUD6LbkYrXlVMVAgHfY5+QuWbc1KLf5xGTmn7LyyvSFkX/G3Ks/SjUGAhP1wjxkQIiHsezd/+oUcAC6HhezuCv4Ej/taPfNjGvWuk5IwWmEr1peRyICQFESRfZiwHGV10FmsJHbLD2JqmDyFkYIMx9KSAjehV0xHIFtqdecRv3A2l4NJcFyJN6C25YZbxL7mPZlrEqEIPomzY1LXc+eNMVUs8sySj0qZV3PKp8l6MU2bxbOTI2ZCsRDy/k/teMa2vt5vAw5Zh2u/EUpl1//rLSpFQGvXyTcfUzXX6aLPKqzB5lJg2Ho8SqH6P71AvgkJ0T1ntS3enGakO32UOmp6kb9hHBu68c8JP7lzKSfksA9XtMq8NJ0yv1DNdi0lHBGH2KXECKSUP3GyeBUivu1b9w7F8Xz6G8kqm4tM5jMGbbc7CVsQlyRL3vxOkhYrfTgCtHmpAPgl1Gb2lHIFlJS0tuJFvr+iz4T53BDugfp3wmujef50j3k5gh0etxdcci9As6kPTdMh17Q1PLjsNsLVqYqnIneOs5T1Ietpl1kORmO9GfcfYurszRF6MHSzuE9Uc1mV1iM1YJMsVSamnnqXdv4MK565bRj+W1HIkq+YhLh4Kl/ySNIGUJreizd1Eym+L8U+sh1GYQJB0kNDw6hpb/12a7ZPIGYkALTb7Edhopd/tpUcBSx5PxxrVZkdln3dVlqYoNYPgDneBmocj4aL+9h6M0fKxiccbGUDtmfSOjO22PeCeZw+pAcs4z8i2mqkzA+4pGChKu152AxM9fQo/SHvB1nn5vzdf2ASLjq4i21he837l31dz5PxIGCrLX5rPwuL4th1sGWXfoXiPg0OqOXBXBedRhZIrCjFXXnmGQSurvLhjDMyFQe8J4CTI4z6MYjqE8H381sY/mYVvGehbqMkeRg/wNQw3eJNadg99sk0A0QcYJqETa8nTKteBHSjAWcQA3UQu1xP1ZTRWJhh8FaksJdckx+L4iaV3UhNS6JnJSj4pToIjTSlVGa3Ao+pcUUjaIL4Rer/dDjEJEs9c614UmibreL+WtPLmNTO0MrSYmjlZgApxPNUHr+EacaLC6cSp/bQaagkH67VByqpB+0MDqv+knSwEQSxQTESqjB0ux55GtxhL9CqhSjlPfva75jFvu248l6JjBUsJSzmI6J9nzw9O9VwnpegyuV7t2aMGQ/mmq2XoFoa74kAAQLUOyBRLGsq0SAfqOT3HAQlnrVu9k7br+ORDlRrPNonZJ55dvQ4lmSuePsBzgy7o9JZQt5CA8YnuR8C7EkTc4T46Yg17shTiktAxZCMR3p+IwL6XVADMnSoR2YtnE3p0pjMilrYN9eewzm6kbP4H1d8aIDZdQDdRw5GsQeJL5prFWquv9xdds5cpiACbazvxFBEuc4/AEunMHRV2flgT9YUpW31t2xkViBtNu1PI76hhNwbw7aDXtZEuoOvcsT8alHpkBS/D5jvddZwuJdG3iaWW7PEyiS4XYvTXQCeQgPOeV+qlRm2g4/APYoj2zxWc6nP+OIhVvpRHf5cKewekW4q+atESbAPRI0dWCciZTgkvRg2MG1EB23s3kVr1/rD9J6/jmiWoDrx2tXY8rSDaKWj0tuyFE+dKuoujmlzLIN4GmV0Nb72ZUoxucvYaQqqSCiStLf/MNCHOonYi1K7/UYYdwSzDpMRgKUKHMKQis50GDR++cznBPr8/fLPn21uzmKPhyhEOXyRJehZEDZ5vidDdF8w4e3gnke+pOvOaZ2jpd6r1t8/SnwttMSyidkD2HzpNsSgD665XnP23K7z82hbirQmsaPexgioY5CKrSjUAkLAA1tXdS0bVTeAneIPkmqfiSM2I3Au3kiessVRmAOe/Lwx/e8eAmrDLPjmalr2aVZmO/s5y6lTPaGW9QEhD6X6TDKeXnRdab4cLmCxDXjyrQI/mBhJwNudNbpm314qoV7qX6Fh5GhUntcHIus7fSHH9RKyaA8jVDtA6dSu8JZ7+9vzpUxWflWaUfxtJLeYSylx6mHoiZCSciyKRRWd2E25+5lFM+eVcmgH8IsmX3v9Q+/2zv4EEB1OhgAhe+0CFxkkcWWNb7rfi7E76fEw1JA2ooMqQA/JYEiRBcrXR20e1K/R4JEW1mYfr9G+cWgpN8u/bGNPZTiaXhqJEK9YhhIsbVqnfr2KYk3KMmwgzYJqBC51XowN57AL+KY2gn1wdQxEhPgTz/qOm6VBdviGB9pTR6iBth6fjnfoDxTSS+RAb0horLGbqcYsMdVul/AUgS9j3aYyal6Wvj0NeeE1dMcLyoGinXToYBjCCnNlwA2t9WFj4ippVve7uRNPl/5G40ePbL9cMPIgghK9UMxs4w/zrob2haiVSKH2DHPrmz5q9hqCT8dDJcLzPbW7WnwNIjW0CY9Vvv3Wiqf1ntHNcsR0t2+94FLfIpM/MsCLnakX7jrUjCHiMLa1XgveB1/VL1kHeA6qahz5kZo70JNjvtdw817l/lkWziB/7xMuSn+PWbRFHknsjre03t0uGOfk0f+Y14E3BUF1Py5jobnJS7CecxK2ZbXxRzy+YosCfAQgLwn/hq/zaZ8VtfmEqXu5Qe5zCB1JHoKNWME1nlTM0R3oM1XF9iUJNtwbHp1A59b+bqXNNFHDV577s5yBLi2ovhCsE2Bh41DuHeB3UIAwW74sY1UyeQl5GGpxdee4ytC2zDbPwDGIOa4ARjTNAnElu5faMdCTe26wBh0KF2cMSfInJLp3By+GJ0ana9l1MPs3YZILxE7sMQgSKJ1OvloP8hAjJXFfBNRgoFgloNyhHCNFDtb/E2/NIZbNCKZ0jnmGEGNiP6KPu6wBvzw6TUgfKDQVhy8xi0YeSQv+pLZzS/04qS5pRFsBUXubFnI+kbZ6hcw6zZATjYmQ/nlYf7qXjYI7kCIs6JAYKpTbUD7KIb6XNqPJ5HyYJvNKBW42pWTz2esdKf0Ajqm6myMqJq+bXuzcNYbHLWkRCnvuGfdPGCncqUGp7z62akp5g+pxcxR4PkAPIf2bPEFl37AqZqZ6/uP3ki3LI/u1O0xxfVRJj70MtKYbwSR2v7FcXirPT3V5ll33vugNl/HN5IvxwHnq3qSedFeGZDOJ8CUw7TTETZOYa8KOXGkp7tL0svXQ7hkPU8/Lwh4JgHo8KCVOvmmE408JMURs5l+gqyFxitjdhV9vyJ5Cr0qQt+GyfJ0yFFttAxju+uD0gHShcn21xHQ8ayu5xUtxyyVp+eDM0P/ZftA/3golsDaGjgT6UITdYmtOgJSYAn8oG9YHshTAIo18FQGoI0Kasr7BzaZOAdtG+zW0ocrbQMdEaST2KYzEnnV+KzyRPnw+cbQ086EVw2uy7ijyo/sOdN7TH6M6LIas30h/+lfNXTWLDDJrflNrWlvGBaLpd07hsJ+qvSJXRkq3odIwT3BuQ+/nPjIbCiMc07+GMMp0IVWpy0/8dBp9/TDDZy/W7YHiREknXIT45YvquwP4NeusiDhoylopk6VyKi1x+rxMy61D/q1nxvfLvGRS27lXn38E0t3eeFwNuV1R4O2l+YolmO0d0d63HrRzVSXaBAwAHLuOaHbIEjTuDvLNDNEMSmK6J+kLxd+CQbsc1/91Y+dqfvqBu1bB9ayG4ib73T9JQkd4SkC99s7HrVI9naATGs9RGDWuk7rXth97sMSDpjnmWTcy78tXHhKiRvt1Y0MdzdwZiPrhogZ8fIhUzx+uycTI533RU+X00Mt15We6zcEvfVwniRacHKFvU/lP3BFBkb5i8VT48O4+Ea3sPjPo2v7iqCvyDoUcLfir/GposhUS2BM9z7DucH2AMbmHvs5Qgb7K9NDrxSKES4MYn7MEAWqAPN3CBgA7bvCQH8BMyKseMMcrYoBdYRwoR4lbbghJHF0KsfoLXXX7hhCJG5fcUisuGV7y05do8rZ7v46IBqY2oLLcUEBxPYbQ4H3Nrijud30zwLJuiDomhg7/XtuAcE5V4JuKSkOuZw2JAkY21ZiAPaUwTOnhd4iKRsxJThF9Ifvr2Ghc59TfB4A0C4WF/Bfol9miOa49ajKFL1itOqgkDrP0SsQS8395xJ2BK4WjX3NbAqddYi78cmrtnlLAE4VR6YEmm3fEsOWhjXkVkwC9XovYROZNCxTrMu5c3UUxPUk3PSCBH71CTy+qRkammbLn6iDOg4YclsCpQq+ikeY95p2K9KdZiJzs8RmwTXXPm+/nmGLWkuCXUoURvJgPmJguweeRXS12Li7g/TyCPiKglQ8jK6tYMgFNUwbcaK1rxCN1gXdGSrdLIhD1Sw8NKL7wCgL6j29yfdjatyMkioLAcsQ17xVnFCXO/6kkSI3A6kC19Apu30naRp7JWSONW+A1h6h+LJpLBQCRUtiug4ZswQ/v8TpYBfoeznFAiHG0XUjlENB8OQPBy+ysOsv0bzeepWzUGrje6kz+8HvdBDHeh2z/+LJSQWYHh24Ek+ZCgJdDJrT8AiNDLpu6PEkKsa0Om2fUwkQxBVxU8A25BCmAK6ReyeKQkFXBFX7k0VASz5VZNMPSmu0DtAgaUnt1uVIBj+wv1fu4MD45p2Mo1dhIKufpcyzcJopk+OcQCyiCvi3FVI+uODlXfNF94CbDhmC8WnA8hdju3bFIxJIAnfNXho3j8g2DVnQNAVJ7o6ABiEaT2JbYaaox/EaxcvqugcvIDau6S3VmAWjDo1Cyu7vshW5c+eJa8AABJc7esOfKUHXiABZmcsyYY9ItgBUQe1u4AAOXX5S9LTxXStcSUx1Sv+WR/ktgQ+VWwIij7PXBj42j4iULT+c1xWMq3hSNXx4OYo5ygaR05Oc+FRHLPYutrtkI7InBHRspZY4ELi11ldDbnM06uaRGZlKDT2yMrY9dr4baRtHMKbOOftz9SYOWdm2X4XQIxSiS7OsK1Dfx3N1zNqEo+hvstH0nngpNTOEajqmHIbSDgY6jqFjhRiUKMYjOxpTKoxyH7e0Iei2U8diR7/BRtGlqU1KsTm5UQyjya6RqtPzbDg3pUSTQa5OqbAHlX0s8QOANWp/tfZN9ePo4kkeeIkCyFcoGB0jo/cPKl1WpQvpEyKfTlsfw37DofUUy+4/xdik2J2ygcRz9TFYiOhUWpTY58CtF6env9E7krj6/zBfixrq46qZeBu5cj3fm8Ojnj7eWx4PVIjlQXdluq17brogpR9sDhlfHjgkoR1TmXxJgRt+Xuz8iq3c9Y6SodZRYvWTcpM1r5YZIaKqZMihC09SPc3RF9/E2oF/2JyUNq1HNY7Mti8Wt0t0sgUs/zsxEBU6U9ae4fhRZilXYXqRGodx+lA4NeSJzFJCwLoDAnENGQntA+Fg//tFILbLFf34ngMGB+1XpmFFrD+2TOUEKGubt3e+oZI7IC2FmOfQjZW/8cga556Rtyug1LhCmLBy9XRdNI3gcYrajcdx2kFbbxBi5sHinC8AHc38Pt9EPzXnCWSc4ngPO99valYlagz7BeduLfbYXi4yMMlV05gN52TwA4gAHZ9naGmrD9VzqjgArD1N4cqVjR8yGkR1zS4Ja4U5bWjbGzFNPAtJ1aEEiB32NC7D+ZcyzbWAZeyGj1sWKXpC5T1kbVpW5TJQf5Y/3bUMbPGFgCsrPRMo3tiE5cHA7Nq20fQeaebx2gJmOJPUkjup9QfsLIoGUrygZUgQttLNo2bJNFJchgIV4ITFcWTafxjrpV/kO3dFcZKx90KU6/2fRbfQpKkPeY8T2qfRE3qYOYucB799ExfNhg+PWwsTMzJzBD7hXjffnZgzzOsJnANh3PkoaxYiKgtKo9kca0joX/e0ogtqjGw0vQ74OmLjaOpeZv1E98QwvLcvtiI0CyVAk9Wcl0WpGyN7y0JjZjo6jY+mj2Qfd6fiFO1ksSZRDQgeDU/QlGa2d6Wnyaq436Ny7mZEyIvPEizEsn5Mz4+eIKp0f/SYwymkbLD7/iW5eMMMQFNX27S/vsMHoI6cEWQPrGvc7hbE2lLE7qrXU1uv/mn75Q5L8wfC1MW7SdAMbgzXF+WBlekjeezOLOSonDi9Ox9KklTtUzxMD6DeDApfUZPstLBeF6eT6ClCSHNDPIIixoE85Ud957ONVQrJZPMaPKE11FDjSemRwyJzfAk6cqy1LK8YlhXyULZosslmWhfc9iVgfTOxg39kpa/MAXofZovdqCYZ0J+s0hEIG90nx0U6GZBZcgC0m3/Ey2yTLaEHc3NOSOFYEFDx8oO80PloO/BGHcoUJ8YWw0S5zK/Q/jvZCiT8EiZBno/x3ttsZmMOPjzyNbw3zviNN+xSKzLDkhWbwDCaOM0yNPhcLufbhYW9ZLJgg1anv5kF8PB6m+/mUD45tInYIOh3Z2sFL2J8mb9Pncruzp4r9Ro2kA6XZXITrc4Vx2QBeTd98vc1DL0YjbMYhmGfw4weK0L9+QdwD/qRYy986FgJyf5A4/5xeRj8uwkAwu6uB1BHOIQiiZ8VmChothSNDJIj0IXsbF7CNo+TdNLYfmKIqIkklAYRTF1IYwCTojldcSck+YduOHkf5O6QfJPv7Qqj1qg/D+SsJ6Zz/CPhqJrnF+oou/kuPpknTeYDREPPepDKsSsQLPU3E/hS1ldPHPXPj2p/0i5c8R+rNNPbqfZQJhFDX/cxA+bQubhIpGizvhqD0qMhXv5R2QqsdqL6eCdMgkuBomNQiuK15DgGh+8QjlDuRHJ36YkA3CdPXV8INUXFCb0EWBIFKEqzMYkzBdNobLUb0ct6qwWV9iUuyfXhfdxyu8G5k5YuCdIuR7aGPaafYvtN7OT9qYu4VHDJykG0c+OmA/1VDAmSUUkukKBNUGMn1v1PIWR8LZtnNbCGsESRhywOxVs80aLGtoCcfRdcr6QnqPEY359+x6hguc2FeoGXgdDgQlQGogYkHcU1U/Fd1SmoWAqi/+bUXL7oP6QvwJP2/WxRBWv6OjUYiZ/14iedJfhSZfgIHVEVoUlhec0Ei4quFYjlI9p5Q72GyUDbCsoa/9ebdI5Lcvg3OmkKC2wXtWPHNTksj+zrZu4wvIWNwykf1Fn6SBzzCQGocHjF3Ri8PvLsezQJMhSNUe7oJNjmxR8emEVe3yUXjWsgeKB+lq3MTKowm8ViRCuyBAwqFkUL6EUDpJNIqIfd1DlXJ5cxWHxqSOw/iKsNlaZkzrNehdEAFyGiCXbDOfxc0Yr3y2YTcmd6Z7uHYMg9qjsoHFo4QzdUbrcNxxAYbFXnoJvhSEtFZNVzNo55azZj9+bHut02pMh206w3ssyLO/fnS6aBSiVdHAf0ApJKQvAjcJ6WXUKUZDQyQ3N0ny3zd/Zo0urpgpyzO23O3quU16L30qvwmdcWQHC/iTzmp8G/paABVyQf/4PzeqhTAxnaNdG69WBUR18yc+K8S7sW0+FlYSCIiJAVlHPwBhq6sGA0D/t+rQoBheFQKEXHwlwLZfFBomX/5Ui8JCQqmWBS3JyBbqZ0tDl5hGDpRuyBcG5DKv/MW0Sp96y5rih/gjPZs99xZshKWkxNqyhh2w35upZJk5Kyr/F1B5eNMTs6rGSAb56MJVlPK4hmlTOXN3OoNGxT4WQLcGo1e0+Vc7XOosN4N3W16Kj+19evHdgPOgoo/V7Kga2AqxKyIS2ZcOR0tELdnaIuAmLZFrb98g6IBLpo9U3JNJS+preUMqRYE5kJlWYLoTOgcXAy8LrpW7dqcZNXorDCGQp2w7jqA9QXdPWpzkyztGlioK25eYTpKQNKFIGBISZLIESgNub1VlhZw9aaLbWpXyXsSm0tXa/dYblJu5oo+srNFR6jQORgbGySGHA0ulUgqNIjFv8H+N5ETKttyRufXBPyjpljqZfhvRoTjz/RYhmtXkLP0jx2SoXX1AXgVLH7LESxOTtiUg/QfXUDv4sosy+3N26XqHXz/xCpxgim+W21HepLkwgwS5+vlaPbqQXQmaHLxuYyl1VmpkQKzmnR2lSU2AcUFg7R8Kojuv2i79tFPl9WHjVmlkUPwn/4fiHKzsKEKslEsABGhZiVw/cjT6o7byfFL0TnUukgYhwrC/DFq3oapnv/dQnhUIgKeM9zUtGdlP75Xz1JT4kk4O4jfd3wua0RsAACcVbhjjT4kDvhP89e4YuBPp1SEwBRLCTwdmUqW2FZgtagjbIgD3/t2ffH7zkGsqRihmlpEC/l/0WG8rfAb0pSRU4gzUO78b4sHM8bld4XZRRvH7TTQw5kun7M8E77AGHXD/eVs4zBWeZ6lJVS9T/V9gFEUHCz9f7HRiQa7t4G55J/RqHqNuEmlo42idEWbk5pYSezsuNcM1aG3xB2F3GRIAi+DLngeWF3bTfHVYSoLIMDrYrvjezaU6XyXMhdBKkZIsYuep3aYLrt3HUHlQbr6CsYmnruBMfA9nfPBgilw4vX8b7iIZ0TaoWAsImoAALsPAWdDoskBaXQjtlE/9tuokEaeXnBxlww9U81Dq9ToDssVh7d+syB8fG3bdhgfaEAcX4ApKwdHY3xlY1umyqNO3okvulzIjnypTeBwvDwbn89e4e5k7Rg5/6w2S8okr8l5/d5XTeMw8uceE622Y9yQEb+3NVV1KrV58CfxhGTS5qHY2OXhvFSs+BuMxyOKrt6eLACFnWS3NcYupq/WSBW3231xbjRdGmPIC8q+/ifuo/LZEupLdabg+infvrMgO25jEETYmJKchg4qx6NT5sHpgU4S2knIjYyiLTQ0uYfy9Cu3ksKJd+CHXzHJlnlVzXNwuiT+11rruJ/eq71pfj31eenhc+R6jHkqyjT85/LAkGwLDrrddFDR929Z7oj+r0UxWkqbsx8BXVWfuHNnm59HfxlfQ8+XN7R0vEifXCZw7aT7xi5imX1bKEXyymZpD486Xe+iGmFnxNdId3VqRagcEB4dPjmyCX7fGGvlPKCFNBOanjg1iSTqG11QOHfpGwVrn3+EsTqoU3SDty7Vp46nhX4f93Dh0lZmkByYmmKVQ02mgbaF31LkqmXAzyUbmYuX5hoB3/X22EzV9nVcDsjOPcAz4EUws8cUCm02dSyzrZNUNmquTWHSE7u2S7Cb3tEhX8m0of4Bkq2PK1fJFWbznsKqoRtddTPK1fCn1dn+QKJy3ac7+eMdQQ/skTopP9rAZh9D7/G8zwfluOGxr3PjDLuWpho8SMLgZnsCtdd+XkJe3TiZQ9IwrkcAu3JX7edSUfneuutZ3SZ0dzwCn+e8UcINaf78axyIpCyuOMaVnkfLqRR1FEu0TbWu7S65ERgLt2vD6ttb87iHFvh1e9Eb2g7gDtqi6PZOGc7DIpYePwAsDNH3lhijB5xGZXvlDzVzRHwBl9z0Tz9E02X6HgBW2EZbYNaLLCfyk5Mr3pICVJG4l7f6tosSajZLjJChg9ZJKU2N/qmT6idd6L3cc0rC5wGvdYauv6cED3ROG0mJJ1gNt0AB6d4p2Mz/lQBVB56FkHZzGuk9O56/u6Hc+93PdRPGyebYSZjhCDk39kwyqhHonI60MKq9oTGgGD230ZctsixcMk44E37ZSk6dUf5MqXxwALjsyoZP7sEORnoMj1FTuTtXHjANmSEXtwWp0G2d1BlN2U6XaK684ST82a5H9kehNMURVRFlYx80Tfj81F8ltXpG5XqRloBotzn7K1tGD6r47DIyTjNYLtXtbZ+Nlurd2UR5/PHOMMmcw7dnARzjjDdYVUwnoHcHrCB+HkVGWNKdP2ZOUnCLWNDM5QSNw/ys8zEcoaPQkfdFf61Vte1uT1xmRby8KE7A+Jn0YVcXbkkD6niM8WEzFHMd0bgt3IwgrxCHKWilrZSHkcAsLLdFStObcF1C2QPXwnGfGD+aDx2iyuSIFyS0qWI9xzDXIGmt626XrQAI1EieyKEnQ1TkiDefJsiehNLzFAYhjLiSChnfU9IvCUi0PVQNWPtV6H8E+qv5TRvxLBUSb8EQ80koVIISLb3ClBs79HN5wIHb1gGF+igOC0/UhKLldFp3qqHH9OtxI3h1e6k9Z7GhpEf/DATtQo6hhneDkmBgp1oZX3l9KJQLfXLuatPud4eUIETXnc5D2PARHxfAL4OzK5j8RW4SNgU6SjqLixbhTpnQMCFKr70IQZ2wn+pvCTsQZJgYp04feWyJmswcXDv4OKSYVjIe3a6JRIes0frwxuJxmFZlU7NqppgQF9Hk+NZXUpNPizGME1QD4+2ynb14yqVNPGznFDHBJZQe5OAo2gBEGG5OAYX0q+1etdufVeodMI2mHf8cdbw/M85ccvjPnLLL2QELAAf8l1eCHCAOZtuDNXIfMHtiam9kMmdewCoL0IxCr2fEMdwzNGEtQrgaKVWX4/Xhg96u2qRh0VWeascM78yyA1sptzaLQk4i2bttN3zLjKl3Z1kVgM5Fn4Boi1F1AKGD0bKFWF+UwsDvU7LObNeXK1Z/idSxugLFWsYjkGWCVdxR67WNRVM+gmwWcbRlmTcv8ngj15d2qsdJJlRKt7+4YDyn56d50ZoMhao9aR22KVnPVN9zd6mKJr3THA+bqy7kn+4wm6NYP71w6JF4INLA/pjF0VdZosdluaT4e/+5m3SOWCpg9VY+EpI2mov7HHRB/RKihg/DDo97apBxJ7M8Qaob4C0fZEDXY5uTO3hqUPHRs7Rn7BeagYz0SHie62PWj5ARaeEjRA1R/Cm3CoNih5op+J7L/2mWoY+DfUrmDlaOl/3cUGGQsr+uRAhzOxs65FGEfxBgAWi1rZbD/gRRHgRq8wmF4Zk6FzN0AZJi2OcVpI9OyMEgm8xbhJi/p7dLiwx3t8b0J2bEpxgYtqOFlVrMNDA2SNmMUw8+JR4/7ac8OkmIqP2FIDyclfuoHWNFtyukx1u95B30SUwy7kBvb8ZgeZmymTNEZ6H4lLY+WzEaBw5WJ17YLrrFGMOb4PWHLp55TGrjSZr7Hcf9RZUHljkb/vPkcKm7XexdcHdmGSpyacFQrG68ksN75JDHWZIkyLU10P32cMaF8a5X3oQ+nKMfMFW+mtA+E0dZnhdNBCnHGJ+/su5PTcA5CYQgVkSqe2kJD5cLbL2HosO23PD68ycKYPkpPH+yGTOM5UN0/zHkAZUveaamRWzZ18ruUjEbyoa6NAcJpS0ZLgCZoUxp2lGJubvdbPwc5AdQxsKwiPZ0T9cErK0cZ/MPfwTRBGM4CRCvFPplya/nVgxiWtQ9XN2IWuahOe+LMKBQG+nC9d/2R3RytJF2s6dBS4dH7zuOR/1XtsEMCwRMjBRMmJyR4EHulka8+yYl6d3aUW/9ZWK4kp4W+WsQ9dtq+w/ZqZIszLycGr4YvVhgtZT05lA3AanceC99RfwJCdmILqs5E7T0j/TcX8lohzinzNC9uQdhw2sfJQmzEjE3DM1P7/oXnf+Q0KAeTrNYFiyKNIrKcXxEzXpE0vBRKsAu48rscskj2UK4ewA2IYbfEJ7v194uPFtIjoKkXQj0hhpW+Z8Thnqp6CJ/z04blC6je0G/diGyvH8ooS/XgdLGZlC93eS6upOB7C1Ddkdph8l+aA6/rQ0z3dBEYqDEFUV+bws6+eUGm//lrNffEstFK29u14E46Ujj4gMqanPbz9iWCGDSL9ygfZZAbiLjaizvDPfy5+4URHFM1m16bVCN33rIqToCB5/DniYf70psOu1EP0fvP/S+Zl9B8Z9np+qbflI5K9hmHHcWkDU21Au+0daJBKqnY/huDMDxkByzYQo8rCNaI5TY54IGg8b9yyFB22Tv5wKEIHp7f9FnMKPw+c9AqDLK+rGsUXYWHpWSjYSfZbff4gkodxgkJaiv9vSvfKXT0drNEiblzB+O0dKWt59ArDHV7Izulozd3VZdvO5nrYUKVtB+fPbSmWEqG5D+KADhEm6y8MPXvVLt2Uhj/kiwPHc2SrGkffA0gySDWYt13LA8Nti3v5Pv8M8rd7SipZTvkuxV02bqk9fRl7g2kK5uKXt/U8YuDEElxKqLnez+CqZO4Fr/3rM74RN+Zbw9jfYaF7rcvSmNtgF1nzBqhljugHxJSXryvn3SHffxiOciZ+6LVhSTQUAgpxHXmXn2RBOiZVLkIiqb8++JoQsB5h/11OYbcmCjwsJOO+F8R3lmZbsW1bfV7esOkJH7beJnapO52HX6V6Twt31SWXLoneimOw/Mcs8UaiW2rc1Ia6L9zMKyssrTC0R4Ny+Yh+2Kg60SY9dxHCJJkjzvmIkAG1Ard6TPWPPwABEN3QJeo41INt3xRPABBNaEIEWqW7E6kRqJq31nJANqMfMy1HM1Cb3cMmAvaGUPY8W8E4DrJ0DESN6o2EyqxdiQeiZV0hC0CQBXy7M7yQnYVw9FkyRKa48fvjpx60ii7ro8HVW3JdAAMgHpI3Uf1FPUaGR6HOdHwG2RCWw4JA9LJHrZTf04LlI6FNlxK295cRHX16wqO7nGh9xfTreNu46HaXWPRh8WImWgvT/R7r26XZkAJnapPF4LrATlH7CPMJB5YCcp7KicZYoR9P8QCLiGoveD/VHBHt1Zh+CDcb8a8hh7+7md+HRBT/J2kvxuY5nhPd5KN7BEjPz1s0Y1sWl7X4LGphA4D946eomjmlG4i6cWl6eEl8+/5ivSUJp/uyUERpMxZZpIIL3vo/Gz6qeWHXaMVBtKYFGw75ijiLpTpLgAzJkeAsR4li2ECj2JavaxvOozIfo+NZ5uropUxV3Y7py2IH3QWUxMbxHZQxcMDQClFr3RUd+tao7hC7o7mYbEcQ5kSosgLdkfWykhJUDeyKMmz98dVNMd4A+G6LQtAZ/GtQ/qxhaRSWf0XXYx9ylqf91yMPcFMY8xAaf9bmsx86JggUTAIVnXA518EomUAbEjhjzdtV7MNbqF6gjxsKd59wG2COFUpz8F+LzV2G2thuHHB32ImK49CGIx0Wj66E5ifvJ3l8RVBORNEpofqYaWUtP8IOj0RdNI5PqENHfMJ6CdGArtFRKtwskGhbBJ9oK+Sz+OeohUFturda+PNU27m1JGNnocfkU9RCVMQ0MbZZ17xyLLAGZtE6Ob/rGA+3MnNxAVKIKPi3wwBdzyVTGzn0zMHPOlF4glzKCXZvqsQHsWtvZ8iKkDQtJaXQiSwrQYfEzWfZxX6lYXjDzcF3UG8izqVVS8UBrI06QsVX5QMEr4WX5PHLMfYGK4oOfxQjG5ixkv206WrCUxfaWP4YV3c6Nua+DywBq03E55MeBTVudtYenXTNcU6c7Hc5i1F/FJco7AQ3PN9tp/+u/175ksIfJxXzjIVSSs6IBL+0TPmgDFgc/xoV4WitdnMqiAqXX9+iWoPPnQr5li/xjoQF2peVytkfsmWqt3/p5iwAQQ9daWvSB5oRmDSP0cTIbj9gwBjzsEyCUQeUw2eM4T8aUqwsDBt5mje28i1hIPFwQAibUy6IB/NTqCfhsjrWobfd10q8jh72i9Um733lbH5hBxQPETH82phTMZgDcToLXM2KOeLCgvvICcHp9qwCPBZdeQlTL/PaHM4k3jwXzIIytfJrvxK9134tJm48ghad9xI5BW+dByB/vjmX3FotRQdXXOxS9J9bGwLdCWJkhdMeLQJqudnmL+7I+Q2Pl37YeYvpPpw1u25T9jat95SaAtyVGgbTMsD25XB5GAN+0ru6vIrOfq3hVDZQxNO0QEKettzlZYmQK9+yeayZuA7rA5Wy1dvbDQOmeHN7064ZzkhNL7Tu545DsSkeBhWhqm4wxcCj7fhZjvY/AlTt65cm+O09RRbNMcPvcvfNPPVn5JN+KCYLxfvPzJ+/bCEG4rX1NIFCBsYkdDPgzVM7W/LMrpt/f3KgodgQ2FurASmmrcRkCKxdEB/6UFN9DsD91Ar5sJn6W0vXsN3cpfz02TTfBA9mVGFbKF/U5aRN74FaTn5IvoZyUsn1pj3b/fshLp1f+2Ys30u0Ime1edY7vnCA+lgrsCUDyiBisXXe7Ge/apZ/rLguXsUVbBYOBTKwFQqXt2z5ADq9PHvNHP6e3740hJLbz6O+2HBIPmv58z9Fn5LTu4K2J6TMtptcRUjFbIu+4PymAHGH3cA5Z52p5HJnTdA2kO1ppH7WVDavciYWPTFFrj+2O9qb65jIwyRDTQi5oDw5aChaY+EQ5oYsIO4WdrjAS0W0PvH4tgH28zoMjEFfwACooDl8SASPXXDTOEB/LXrk94DBvHHwdJTjStk0vqC4xpWrfXR/tb991ZCn2DWH4UKppE0h1wNLaCX9/jBVrduFddTtZ22ds8fOa6ZsezevhTRzKVg2TXm3yP6H8RsugRbQbNO6o2BFn4qF7e7cDfqh5zl34ROSicW3WYWWbqHKGURiSgyI3ez/bn6ItECO2jn61nlTBzt0nRDdugpLh1995/5rRm9D0MF/BBKHl2peeh4+xUmk4sc/Fai0wniLiwsza57Q2riaMdKTb9u8DqvuQbAZ4GP7qdOVQ63XaPmLZZiFDKa4FG7NYaMAWRVU+WYsIMNG/Kv8GKzvKHDTeeAJEv23u7+JooZCBAb3Fu+xBxsrRlSudDjdvAW5TxE3Z4aCfjjPG/i888lF9Up5QyZiGBj5YQ5eGEpVQ3hn8LSsJWFYlAHs4DHaxMkO39d7ZwDiF/rEwcH9DMJhY/MlMZdou9KPttdPmPAVlGBag2QciUmpbcN+QXCRufdcPAEs6/muKSd580mAa89DkURuju8rMjiX9S3rJnmFQX/mAxLoR8aN5W2WSVwsEvbAc/umoKQIDLZMcNaQXXDriDO2qHRhghNgBsnv8+5dNYiZohiSLuJj8itBesS5NWPWKc+tRdnMWPFrGpmseXQMPJ0L56pLsnGrgUB+d2O3qxhMM4uQp/ub0b/SDXOqlUzqj8rK9GNylDAOep2vu73BSd4S0cCIkuJ6QxrNkIgraKoks2nunPXbHDPGeKXb+W2OmRdMHkhaIcCfzDoaQAOOz39UUe/xPLD9nXqMTRyG1omw7MOuNbERAY0D6iZ4b4QnAe6ifQhLM/Sh8XPJgxH4/mzwNsZBT+fSoPflYQUp3/BkAKHwltbwirpq2a7waJF5y5wIT+JMaamMUB+F5mobMqnQanLfdjWFm8WQfR5jDolqICOl5/dnSDcrvzx0qrC/XD70jb9kMScdFlimfGtbLoxfy38I5h8xxLovsy4MQVdQQqTwYFiynvF9VHe+wDZ8hvj1rpmQuuK3/ODMz7HCWmpjSDB3kdJRuPw1wLqR8yXOTiDBLpeR0zlZywcqv0I9NHAMh+rhzYdLk3sEjde6pVlPpb/6kqOEBJCi0DIhqSHUhJ9vsYXq3WCJnagditXrt4ghQTr8T0dRg2Ew7zO1K8K9VpJ+dmz2j5yLGgL2Qq+P+uQPYPjQJvpOUJcMUxBeNSoxRfjw8eFU0L7wSIIll9Z8kcEtlp4pqHER2E4Nhb9F+Da/POzQek74EVm+hlhzt0wAqQt/U0jsPWgwCnnyyBXIhHOUozHVitEgEsQ2ZTMim/ckb9YMwp3wzy8phsd4sLpheNQit+PHx9+QbEi1I0mjxxUOtmGp5IX/sJJFVJi+T64gkMZS+J70PK1aDUVdGhipligD0BGnxseyOHHNlEyvP0AZz3muUOlDJoA8TVP+0EmbviXX5F9kSoWkj28pZB73/vNcDVEF+3JX35AQBDh2ZM2fo+27ArsqUumLSFOXoaTMPQHR0gRuP0FQ+LHe7PGCCpP9SdFS5dEwrKNLWlPLOmBuXvD2x5+xu+vegq8jdFetCDywjtEicCKtP+k+AtHagor18uEU9hkn0skFKFkXY5o/17aan+lLCKcgnrf4Pbm5hu0PRr5hvfLGt2dK9FhZQWeev50EywuYX41n3fmyTu3iu8v3sgE/DciL4RBy47xiZt7Y2ZqNGYPdqIZDAlxxuYM8e1A9xjBn7b+2IIbxp0gpWQJ8av3Em+woADOU3MKC3xfSrcvVQVnYMXE5TblxpIeDYQqlqACjgQ/9t5YWL+iXo7W+GQUmNPnkTQgejf4RyLSP6JDKojAd+3MmGbcRpqw162fREqRPQylqpYiRjYIr8HheGLb5F/b2eTI1/FPCcLRluW1j9YKU9W+yu+Jxva/llHIG0Kel6VRLV6mCgn3q37MvQqtks+pvFoy6bwlh5FulwiUo3sQ8d43GzB0oE7Yk90SkPAXyO9qQexWh10eYJQEegaVIxVjGeYGGqwRucoVY005K3hXspsjZKxQKKQQdefTpjJgrSA/OihQ8jZd0uTgEjW/APksvWlMls3F5mG7MQMja5gEc5Ki36DAvV6J7H098BXvlszOBjOvj629wSWcho2PEEKYH9rOsDiA/aesdKwK+6mlShlj7JNwWGPb9iM2TKJKpBUb8H1kzpxBtkIQZ+nBcr7m0iQnAqIMO0vV69xuMrv2s/NQhmIRR9nsu1FpJTU07reQYwz1NPUDX3m/sXGOV5gWLZTHmBRDKSKPrK6uB6ub/10dl440DZY21neV4flj7IQ40/N6aQALr6xWDMuEba3tXNrmibLTeqL+SIXZuajnsED7dHVpAUbCZ/2payukawRMNFLlxsTF+kKzPCTVQmY32xScFkKrZbad1AmiHhr6JOpvLn2ReCdS6p28XQuXdzKFcABPfa249q1Uk/LYl/WSBWz4IElEnrmGv/d3ULL+uGn7fG8uSL0bBtS4MBeTYUyZLH9bKvncpjb1EveGv8rOr4cuqsvkfms9KbksiVcflGvFuBiAjpyqXIGrF9Sxj9xUDEE/fLQh3mWnL5sNXcy0vYlMaTBwtzsgoBbDhpKQ+Eu8KTNkmlU3LNci2/qDjKEOzYDkJnY65q1isSfEI4ILxYlZDdw1iWGuq/zDriow1BiMcRwsG9PiL2sWDYK+YPDgULc61NbUFDSuMeebAhJ4qh9Z8dSQe6HOGVc4AhkdPWUrDu2/neTpJJRqjj8dByQB5h9zU65GLe9TU0KUiU7Ekj1qGPiSyHTvN1SQl5rSQZNkHqYMY9ZlPG0oHXVL3U17j+uunA6pfW25Qx6r4RpRc5buL6PitVb7spxN77jtXAY2z9loK751h2OUqAuBbmn5s2/SG4OEHzFhY81/2IRM2JiogxtCv+voYRlSBWrvdsmrVOV+vygF9os+CnCOopNQY5U0C4TJ2X3JESk+z1cEKn42oXGYbvSXcaMkZz2nLpa3m2GVleqHLieztDQtE5th8EoC2WXaGl3fK7zvcyKFqM//GpdyrzdqTDQ9sFBfKTNwkUjgc6hzPE2ODG5rvm9FaIwh/nIEcjG+aXJPCTA3C7+qohK+dBOKhTL51hLf/jjdAJkThA8kyLqoahZiZct91KXT+2xCAfNSHakt4S2uPaNGflaFvi+7udWM3B/mR0ICrG94AsM0xInaDC5kxt5OIG5IYqLC4qSK3fEex18LvuP7FB7bLQ4sEMEG/cfPx+CJbg4kTvVPItqwGtlLUb++ccsDODoDtOhgiuSdz6mQ/a8HcZZb4qajH4WedN5y2RTOKhkRKD9a/AVWpSioVrlUKqaEVxJzgeZZefl67xakDV0n+JrvrhlxejcL/Y0V9O72WYWGFI4XhGk5e/dZZGcXlWs5QvM6c7wiwiyaYjf/Gl6sG/p+r0L38AuAS/SsP6OAHwv0ntXy+Ckh9lnL/8qXn1oyysNlW6Sbwf11z4ueooyWMwFR7te7x5jRy5FshuSWK554qqmZCPR2ImwMa7/0Jbn7TGmkFa/83WZZWv32Bv5hn20axI4ctPyTLfSCagz/poZT7h7W9uLUyWi+OtiNkrdB/DDNIs9V+vqRh8s1gtF0uAaTX8RWodbrI2Fm2gVE9XKtGWPvJyFynm76WlsOfKuusY7MoRPN2Z36pxKByUUCWnawYLOQ1F/Y0Wd+OKIRpeyUOgpJfojjuLUDhFeyaj98FSPs2tMsRwPqs/SnVW0B1APOdAyp838b42NghS0wAV3qXy3d4GPat8yNL0VLnd7dVW9/UqmV8522/7Dmt1TOnFD+mB8TagzVUtJqxxgEVdKL2TgrePv1KYCo3+GytAFIGabYXpz/lY9t/cO0ib96eKjvex4uBRT/po5S2BGuYwqRw9SK8qB96dKtP8AaMa1bCrt15NgYrdEkrU9YAVtDY7koNE3fjQyL8l7D1X4GhW4QHUqPlze67fxgr+jjGh9BdzGCDUDORm4QgkgZ5FDprnO0nT/d8IXxtUyqWCAbKvXzbTpKxvMhVoPt9FwdiWZpey0HBGcdNlI68Wipl0RonsZQv3vbrG/w08z2/OmMWCOHMiCaHm9GlNwH1YI4u5pZfBFGxw2uVB+ugBYvqUac6eAaMQDKwLt6TeXAXTrdJ4Bwl/ydcrivxTI3Zz/hzgDzoi4a0BajnhzXZKrI1LxKgIBwELtTEHq3TvHoNwuar3zDCyEraePmzYeeaIRcccsrBqokLPyI39zY1Now7NLIaS6ccb8ZznRRkLyTgmE0VvChFL0NSvwr4t+YgaKH0f74t0yrTKk2iUOyFYAt7aQouHjVf2+RX/Z0a8NFrljNHi3w5xi9XjcwxT9czy7h7SkfHFQ6Diy2kcvqZDleLIIMJBdzuwE4YvEf93y9Z8Fsbnq78Du6RXPjWu8kfz28BRXA0PlKHkncoXeSl3ANTvBAHVQhmQRhz2dTY5RYUAlKDreP2t+pvjemrWQZX+vNTIb3PdJVWsi7IsqGmHf9IywHW9ZO8wqEGmR4TlmaIp0/zUByJN7l8IPQtOUuGCLkoELNbCU87+95pmq+cATjoW+aozBd7yyTI0AdXG/mWA32A+SsFitBkOZ9yer8wwtXMR3BsJd3nzRQKaZMEF+bEpawZ+CEaJSCBq1oaJumYs1BP7Ex7Fggey+59D/oLhuna2CIycpQeucPuLW+9rB745EPRAUjUayoDgV8GU3MVGwvtLby97vX3tMk2pxawnkmmO6emcXjj1qnFg0CHD++EaaDnfgW+FPkumBtTwUPuGfkAFAyCk2zwbSqfBiUEL7CMPritHmlp6hoqwl+zDSeqRrcdmPtb3YO8DUITOcop+c4fQOlhTKK5tdFAt3q+m6lHwzBroVcO9jbxyIWRIcFowz2hB7TlNO6SycN64s3jwqXwqOvURFIBkY7l3Hwqzi6NnBImuC8WZL2JEWoUHgPV0btzctXX8UiGo06itFrzkzs75TWI/LxiDfyUygRwWwbhoDxCB+nkddVFpeFDH0wfcQwkpKxOyRqb2etVO9adroatXsh1nhK59KQ413OktfmX3QBwPTLU1yi+OeSDgIbTp1VXrJrWBSe9X38iuwRY6KCh3IFSsYqWfBmWXsE8rA1dXOHp7XLfIIxOmu5h5PPZ6rySFjhV9K1g5cHndwtJaGjUgRVBTP9V4PvUMry/WWlTwM1Yw62e6H2FltAu+uLAZl//rhoX66of4l9Dba/vYW2zaFUuhqkwvjU8lF4Qv0PlYeRO0ZzU+tRqDKKQYp4e0B8m1bBF0w7D9pqX5M14uzg0CEc2VhRvp5IRelpTtwCYx6TF6OND0iEBt9mShIZMECA0ndYZxhL69pk1xbb00bLZVjSoS/xdvEWaX/y2gbmCHVCPaljLSnddrBs2qzFPkYtigpskyKbnKyPrSQI917ftMFLD0AEGjTz28ZAa+Yva65D7vjbJO3EZOZPTXvL3X4BQuv7Iv63MZ2U8q2rVXUUGciWf41qWztHYZygsD+i3m/R0Rgj9nLqcf8gKqbTi7dOiGG/bRhahAClWwY/J6rX120JiKuvLZAxaNIpHkrf20coimkXD8kLLS5Oc0jazEblPuI8T2tamCO7mgKLwjHaKwkV/QOsz14w9IemnYdsXbKLVEygQ0pgebPJF5oL20HEILb6VqZ9zC23X6GVdoqNhmIntJ/6gqyZdC6F5fi8KTgGWL0BFeOkLTRyP3nPGLqEEtoampLTtfZPBwJ15JpohuFN2A5eCcmDFneWNcULaJPgpBkp9MUCt2uWh0iokXuL3PS2pQVc/uzkFDp6xK7M3+Z45CYOxkp/0K8xwdRTEWbKhCDcnR1jf85vQC2h/QNkJJSdsJ9vEApnU+nQUqsYNI5qlBEnQCbCSMSGMVeGvghjV/W9395OPEMgvPHNGpW4dWs+YgAawjIJDh70alwkt3uBiwBmkFW5D0fXWv0qs9JDPrRMj3Rgixb89wkHXQ2EX8JKvY90reqT3HBMCn13BoOWcous5VkG7pyMsl3ckcL8taOOXyrQ3pe38jo0Cl03Gf9ZMDDjupdl2Pwro0DggX8wIQiTlIg7DOR2PIj/0sH5JdUlg1oGgr1xzeaqaEX0KxHAkCbSeZYnxR2jM3M2LXDTDoKsy7yLCMPgNjgNH0Ec5im3YdWY5z8RiocULCQtoQ7vnXPpLAc8hwry7gDtfR9J7ArPqgYD3ban62EnIhrJ7ThwcTzlGzu9AWcn7kw8Fiu8EAsSe8vL2DFhOjrEyIWXNtZma5ZWO2wSzsV4kW8IQNAif6w5gupsD3NrEYRrxUJxvIICma2KHxvvtksS1LKXplr6rK3zXjdy/3oBKUJDpdKi9L4xBHm5F+pK+8loxyEr4NToxMfLUpl6ix8YTEkj2I0h/xppbUgq1zKHHMQ9fcdqvyfbt73saTXbe3E8KfM4WOhlEcTVH0MCpxOh5gEVl+YdPINeZSQ3T/JlbCvORlaE0ohfqh3GzWm3bNWEuwHIvyH0c1vEgV5TYXfRjUv4+yYJJo0jR42rGxBTQLEYQKJLm/wLEtmegpVIBvi9yAnESHTxj9Qz3u0LwLycVL8AXq5I+G2b3/eJpEgDhZJKaf8q327uFul6T+MmKVC3vO786F1W7rmO/uBIoqCjzmNRhEZ2WrLzgDj8jZCnhnRFvs7SH4plm9uJkcXjN67+j/j/a6sFULxbPjrANWzc4uaCQ80gBpd0bk3VK5l+kHV8VUZaAPsQjQqUadQJrVN84uhBSZa0F8mw/sCy6EXRhbt2Bn3Cwqt69Cd4huIHsh/8poBuz+dOZ0Iowb+j7FVwWzdiWd2edDRXt5UJlkHUeESMjUTt9ubgZf5EBjGIYqkpMoqMyyQaDuSig2Vo9hPAjcUPvrO4OaOelCrcIJt0bJhDlndBoDqtAx/A/Nie4s6T4odvkkL6tzy9ge1OKL51rzjmsz8Wb8xCtHa9BEaPa5X/LFu97MaCONvJ3uXlQlhZOI2213GdhYJVcDc09h6Uy44MPnVEAyTZzw1TZCMNao4JOZfEB1QrXObUQxO/QyhPKmKjsZKIawuHiN4DfbKWtyDm6d0APR5uEAPVHA3omL5Q8LS0UggFoxCd6qaiU7/ltEAPzA4+BZAQTn4mt4YV0SzwSilflsfE0sBSHOioaeMu7QbTlurc9vUVyILdXeq2FmJFAdzUwBafM9QJQskJ1KusOHo+71rJej+c6TFi4mcA4VsgelNCYLYbFXw0JNzcq0rYikjTIC/KZ3eucV3AI8Dn4BdJ1Hfut/74H5zyXjYyy/0a7ylXiBOwiKVtCVDFy07L+K6pQtRZCOSwCDNkcE+I/xJOHt7oEKScldIfJhDZuTd53HDp3HXGhmggPTyC+upcQpNg/80F20RdVQiNC6LMP5i0TDfw1LoIzkP25+8hfZo4UTcJ4+PkY7TJWPVludBVgF7PXuzibpYaFal3fLJm87ONWIkcl6BLUGTXLXj1wQ9BZN/0DAnQMLfhrO+IinaAjjSp9TKwmOeklRYj9MBWFuWIvPgWeqyVz75Exz4/pSXPcfGh9NIrij8+dZiJS3JqvzMLetZxXbHDv2CpRk/sQ/k0bKoG1cwbpLAjwtI3tuw5R6llV8wei7QgP0xYReZhbAlkx0THaQIVZslAvbSGjmSK9ng2DEsDF8JJscK2HcKmTdicLX8Qisr9mRN8EB8WZVIOcGeePBgNRje4OxmcPHafT49Y2T/nGYVCOecxkoAakZoiX4+Bf2OUcwP4XihfB37Uj8h6PG2x0SD8MP3HqGqa2ab0CCa2LeYsBNwfw4Yv2Jf4QOoFapD/9tNrfs71Iu1lc9YYwGxjZYBJGG/yDLvA7ACZT4aPPZMmi2swmKLbXOU15j0pNgqJth9J7zzhqJTqly6ZlPSB/UU14o9moqqMFvCSGaFCH2nAlso40zgMLO7NzttcxoNdspmXiGw+fAxGmde8AEWQ4/WXt7zBtujyORYO/LMZVb4/X6zrlE2mTzlDhRg7oujGmZ5vIXqH9MWNL1LxMbVwm77mTAeO3c5w40kE6dBP3SfTyXtatNd/mlA6iRdrzq3vX17a2sOMjR3E83KifRJPSQ3zoC1ziNGGBppxxJM0H9t294hQr6ve5nDLqzqWrsCIr8kqxIfLPR6UnH8XX/RlngIqkljnsSCkR5YTYBA0+34t11qyQMeWdC1OWww0ch/gu83j611gmiXw+58Dhv9uBPP51nKJyT7ZRye9XNEAahlEEymmfsdEbyW4QzN9LYdpsgefQrohKlkfY3BtRDwJmquOYy0Wb4EcfKq3ZfkLNg4axIzhetyfNLMfRFjqbhuF2LF0d5vGKqfI1TZFY01lfFoBsHbm7+TGShIvkhjHkr2fGnJ4ZNausHBtsqY6WnE5M1WR8aFz8snQq2JEGW84Z9beAg31urTiNwK30GgeOSZAIJHugUDaFUr9/28yltKuA/u17PdVCrz1slmo+sBZanfvKq+crG44oi8ncIxpTND4Iz7RnsrnTziwfdI1rkZSNnEmsyI+CvOW3WaXQ4B6UP+PZay0CwSYBF6BMxreHx05QFvBa9MX0lsMVx38H4AECni1KM0i/TranriIdLnfFxMTpw4A8zmMXNvNU9TyZ+OsygONUq5HQf2FfO/baW+WD8/q5MEBVlR4sMddu3CqN9fzFkY5cdmSxDF/TU6hXUtebrTZqeHj1qac7YRCLy5W/gTNQ2Ue9QGYwXbT7le3OQtSRlM5dBke3VRvis+DEDXShSw4teCd4y82xzVKMmOilEgq0Tk40KfmamAkYvOeHRNF/BszPXbfXk5M75IZN1MBZONR6qtlK7gpZxx1CgkCR830x0VBRstB7oA7xIKyyjaK4mn9gHc2diXd267nmkVjVBIUFFT8fXThamB7R1x5xDp4Otlhbp0lXeCDREuH2XbOS6uiKHhPqhDA3Sek+V3eW3gCU0Q4KQHo5x5RioEqm2phWU3Ag/HA/LN1yDsh9S2fn96YJ+RXozCUMaZNDl/tGtb5fvEK9ylP4xCbugTzMlhL5nqNjQ1Vo8Nm4E2bHsGzx1gTAQ9PtAf+1zuZWqXwSV1p4FENqN53G5luGJJq76CzaOpXvluBIaB40/lSG/N8KudcUeKS47cVqHTq1tRoRN/SqZMo3IrrJaiZuSsPK/opvNHhgIJUJHi4sFW4sgQKsEYISpZCSXTtOQQ3vtG8UJB7CqxNTOkFgkJ7cY/wwWQZKW96hDP9cOAz7YoSLKkvaCYmcyZsvGTYKz7Rx5duosXEXwI7uDRHnxpbsKtnipTUxgVKKAuTqPcRn1d/NtR3b38hPn2XjIK1/Hhz8toDRtMBbztkudnmYBv8sNPjsCBHZ/TNy8fsdufKj+7KvBkJRfgAjjZN9pHnIVsncZDNYkPYP6bKDUQkDgzBHNbXlj93IwrbzlZDK3EVpjrDO98InvP08WQUexTwQ6Xu5DdH8u+nt8BMF9snlXEY+v2K4MFJeTPlMW2ep0LWEpUTEMvmpo2JEdmhQiygTJ3tNGtBA3k9v6kAByAlhnHBUB9+wgQkXuB2OEZMAR0S9t/TeGEzKij3LGeikQjkfd/MR9rnAjFnfNru5um8UshhephN+7pJLkgtEi8gWf51nOrfIYlHsqJ5ezVzb46hZILtvGY/KLl0vUCR1XLPQ8ZiJvu4THrm5LrMn7ue2KpbtFPnBpQtP1EICk5XV4+rHo8nOMg/0o6sNsKD8YlFEep5VjEaWBd212tmYU3emfE0Ij0zC+FB4m0Owqd6n8v2qQawc/rrmZiXuQW+VryhBKjIyxYNUScpZzyxAQmlNtQ31cfPXbhal3TFOcvhEN0tEH9hLUC06zWCS0/AIsk1C8PzQgh3eYQAXIBLwmgcdXSLPyl49vsmPFok/QrOfird3xsEiTc0AhwyfBy89Apg/EdmjNI0n2kneUF9NMVaH0VBRyBPEBVIAbw/SLaWLCx5lurMpcxZE/XYD/K7Uk/X3ifjX86X1Rph5V5mkMmp9PS22htCc/REQ8UXUqYk50Eq8QGtDj6/8RARD1lFFpqRxrHEmQdEfOLtCu0zdJ2iZg2+0gNc91zXCCA1CqJkAQcO8HIUnTuzDEFmuLqCmrDIaT5MDQdbFblWQ70vxzftE6PdyDafkLG+rDTzq9r5tGeo5MY1ZQMkwNclVkyk8oIkEvd7620D14bz0iS/rTa8GILpm9djoK66PWgCAB/LUvQdUHmoSaYg+cP1RZ4aot3T3s17IVkjsGAI5z+PYXYl050K6y3wiGOrDFPdmXgU5PnlUmWF79I4V7WasS2suqGWE1QH+Yw0YcO+goNv9lnUq9GTZx/MU/NS+puYA9AfCJCAm4jkASKg9hGVWEF41oGalJ0j4/wieYyxQFiHoZG3gfCzdU8Mk4eqH/OFiBKzjAUD9EPvatyzxPgPEsWDG1U9qRC/lZDeDGtyvPgPeQJZ34Y+MHSzjqj7lVcA2W53uZaHrWcyofa15slkIHix2u0GsS5UaBaq0yv1izuW2cSKvkPfIDT3g7zW2tU0KbqerWxKRGXyRHRnw7DCbm57U57yk9DR1pckAFIOT4jQGTfP7qgeUMYMnSlP5THKKy1nHAdxSM2Q3x3Edsh3ARLWNojrLeqtpA0XatfdCg7L+cL9fi2EnjBf9vAruHlk+Gn/HJrF2ZQqjvbhtu7IjbCuUOewGHD59o5Hwv4wdtv6g6P2EDhwYYC/wuX8rmg7ONJjVD4LabYo8Wr2lbrwHAsfEZx1v0/H1N17EN+5v6sgEf/OXrCKSvX3IfWQesF08965qdEQ8wmwcmqsN8BFTM9lRKC7WJtT+iYwXDTeMqxJ6iy9SFcISSldcIVzPV3BTvUp6vV8dG/6V53kGi2EYUBj4h5WoMNINaNE71tGmqPCkKvqn9gVbs7ppd/reyJ18cF4AFWlulwow6y6o9LYY+9tGAgCSghxxJIej/dox1tYxT7zgEYT0UwLX5kqcQCh8JsZTzLFgZrYnFDnkF1ARj3LNqm5TV4RymHC7FHcVgYGyb+/S87dPcLsnpeYEk9d8UHsweB3QokmOSBdwvomhTcWlewfIK/7UD+zUzOauzqU3REMqkG3QpqKn3SonCmwZCKMvBjqjb+GvClEnNsTdOvIXybczO/MKmR9bo2syxOURvO5H9JIAjytfsyiV4gV7SQeUzu4aP/wKkEphFU32eKZJi8UZGkwF27/Vczh8UzRmU+CPH4ojD87kdprIVim9HKeQb3XnKLzHyEojd3nRpF8hoa/za7NC/x6Z9L44ioAeCANEShaIp97KK0tvO6ZkjFUfIwHtaVnRIWZET23KQzQN4DagheSwaWK1MqK0tI5WtFec58O17sr4sWCQxrimYL/cvnS24WsPVrSmGPL9b+1Fr+eYKZLvQy7lZ6zmaf2wD2tFis9OMznbqHYFxLNcy2kAfXRYpPXQ89JwKIHfu8/6V0JZ2DKgHR+r99mt/TAzkDZ2dj0k1URfPLHdT5rkKh6QKhB0a8fAxbvUEU/0nGCS2bTI6l12K6+pjJi86OkCHR7McF6rc1dWrAuGkMqf4lgG+sJvg5t5q9ePPEoGtbZi/gTmU3KdMMPRxeCtYYfvQmQcjJHVynyyyG2ixkci0dIObEO3inCcPpMeCy7Deg3Kfw4mWSJSbLW2mNFev4gsmzNpkysuicfI/xX1XzooflTXU77G04EIT31Y215pAy0iRHFamsfh1M5m4oaA3EC3y2e4GhNGQ67tXnZJp2IMHw0ABocU7J9H7UOjLnQjW/OmbCBbufUButPOvUds/EwL2unwF/KwqOWPvvP4qHzO8PRBt5oZz7ebgNuIBV3BxKXFLum2kITQZ8jhSegA0AM0ZwOXIwiBhNYjOu0qjOko3XJRIJtqGiLB/RDBY0bKEqQjW9jgj+Rm5lpdz5y4wquzmsGUYpzJZDhu2mkCD1Un1RUT0iES7TGX72O0+pWs5ZjWbVy9p3pxxSCMZQMsQXfTCpZX+K7cqCNqAeCdObwj0UDLbqxZvY6DglYhUSjnUGgMtDbrEP6suV9R2K2UAfqY3sW3h8wx080RBFhLzjHFIBvMooVuYfnjSByH7llj0OAaS3Tr3uUlNqreLyWpLHMFceZkpkutQd+oTIYP7d8fU0WajSIyi21bTjEWRLsswaLW1h7Twk62vwSxptH223gB09FVR5LMXGmxCeoukz4Zl7K4vj/BRz6LazdLEze6xko4Nqr+IYO+syXzMERcrdsPfLRFQDp3oIOVt2RbpU2N+7napwsmyCrgL2WCgt9TdeQd9NPASmm+RsEjLuyx4OTtovd+7vza7tirpDh1V928xCE28YKjZNeZfS9QRCLRQUqNDKt+1BHZADoZQ5emR6IiE88ioQyx8NVocH13qhEiXFY5HJgYbqJe2WXSXRurJ2kfhU0bYIz3qXnP2erefsD4fJeEteIPp3mCW0fnKBZtXD5u817hvfDpRSECEW561IsqJlinwgKfUiZQw+auYn1kV6ZWBV1yo5FOe8PoUZZjAhokF2lInTVFPyqSrsDSxGMO48e3LqUPV5ilzWQ3JIwh2546qWa5kaCqsbPSISBYKEpSuELnDaafuyy1Q2xlnkP0PEn2W9ZY3OUh96oBMgfac7Bo3xYz2cNgw4MIWdsrWePox//Rf/MPLGMkZkSXtrDVwIWhhow4feiP/8xWCyI/kRS0jhZkHEGZdDObEnAE1A2MeTCjLom4uDNOb3zplh9o5a2m2orlmSP1tgYTx2gc6/yhrrHObRYtl5HZj6UlPL+zxBpH5uNkjiTCsMPpro7gZIfyH8MNzYvwbiorSMlQ+varCZA0ffr7xdIYF3CsKHNMkm9oC8cKKUku1djSQykWhkei4k/Mb6WTjrrthU7+DZ5pMXgdwOG7Bxxbggvlg13uFWyhduuQt+eqzzNO3vknKVWmEb4A8s3S3UYsNRRhKUUxGdyE02fNZ/L1KuaQLpc4lmKu/9PazfrO2njQsCH/pqtOtrDeCYsVMJhPRuNCjE1+boLEWj0ANpd94IgwJwed2QqgzYF23PoYf/Hfflk3rKQiUjwRk3hlS2fAMAMsyWRgEv8WFRC+eoC8wic3dn4jUePJbxWT95Y344PpxInm7KolcW+d9kCvSCgBZjZAV914ZETha5qACrOAU0d9OjDcRSACne8i4kEhDO83fH+bjEie27cGmzLXvwMpp3cYklPBe9JFUYGvzTi7pLmlSukCLf+z73Xrx7uC5u/c2RCEQESJCpwKGZm0hJhSBM1Xvjy48nvWGxj7WdoavQ9SMLkRiHHEQmg2NzrOreORP99stKc8QCqJBLVCVbtItSylEUvh/Kx8vbyz233VcKLYIWaqHORZZzRCm7q0TLJ7JF5nH0xVHyjKPArn9GKlL3e5uEv9jNvY0j+Qga0A02usnXRes75F+wdosWihb6fGS3LywBGPsf7LQ8uo9+88tfFJw5/4qNu8K6d4vsRMWcAkVsFlpJQ3l139dF4eY+tun6R4DhyLObzvW58pnH/v9OonL6JBNenYyy7pmqYJotgfccL86GbkkSdjAu/THoyFTvR8tP2AOe+Clf/9YlU/9fOJFhejuSIPr9/pAWmajzKeAG4vy0Eq2BQcGV1H9gEd8Crp/JDfVpSP6wf3d5lWcqwfvzFxlbB2uXfozrzey/tjNLeORtIWY8YhEPRRS06aam25A+AaVEDGiTvz7hIGcei/Tl/fnk32IpBOWffZXWlCwXBeD8Rioa6KbeJmDrF4Wb70a/9+sVlP+0owVLN1x7Q0n4DDJeG/ZVjGPVJ4Q3DGokCojEU7gIYMJ33VTjXHRQgYlqlEBwKct0j/8afFjl/kbgo2yaQ5/SkQCDtX1Edq06syR48s8WYdDt6f+1zLnF+SlJHPRK3yFIPH9D2nqOlMAdWHrCnUXisRSmaHG19piovlGqRBesA5M5OlV1nhVEHd3KlGsgXqSSrdhPvr/5CeqcbD0zh/rRt1lCsuD8m9iW42d8aNJyPDRgX3FCDpd+xqHJBCUhovdNCp35HoYrKEFZJyb2y+0orl2SbVflVsHTZokIMLH94ucQAq9w24LIMxEmDya15SUFu6qBKQAoQ2G3QC3tMX8gbXWD/+bphaEtvQeQacKXgTBV2qPqfD9D/8UlCmxD28PHuIoPgfRywQG2TpUh889RpCit9TOEKqpWyfLITi38oJy9hh1oBqzfudNHmgkWjxIazAvLwFxwnfYiBEq36rIsL0qyYDBO/mpyXj1Ng5arEt4mGJ08Opnc8ClGAHt5LgRjrhdoRbj4Ra3+5zd76T1msWol/iDGRVjEow5sR2aDrOj8CAm+jDpowGwi+6Y4eDmtAr7vr9OtBUbcHWpCEEfbzgfLOT//n9YkGrdN+LrF/5UeaVlg2bigku6y+gxmMEzpDbtuNFIP+qaTZ+EcrF5ShXB2CuKIo+Hp7rvenuWPJl3Mai8jH64Pbr9X12EMqNos5k2EQP4a6oLSv13NzyBMfdtjyXbV9BDh6PKLNB0UDV9JAXyfiHCf76dPVVRkx0Q75jT/q9TOF3Pwu717ConCYULdAQGUiDVdcdrIih8JoNLdSuEyuoTStURKdQZuoV3jjLFnLhcSA0TctqzBvLdTE/2xkuZCPXaSARInYS8Ys6GbE7dfe4GtGHRX3Yy6YR0SpQeT2Ek9w7LVbM1D2DuCtbHU1Qt/Yrb8A6BKkHWCmCp7+3ok4m6uJlv6G+sThTsTwyQWRkGuaUn3Ni+Zu3L1FIfvdUezjxUtFzCb9E4AAqLqt76UjouXo1jjzWZp3DFzT5rZQFo8w/ntMYWf4qpbCJ0PCzByRg19D5yB5ibfqtAVy6AfO2HOTIbUixacIb//7G0qz3rD+8lkHT9uDlBwhd5zp/tsr0QN+BuhMlM87vnx7PBlma+exCbQiIBTD1irDQGGQQlL3fb0QNTB/pSVdbDOkkbfgqTtY4HUkuPwqb8rkKBQ5Y344rpvcqpeUDPpdwGI1C2/hU9hd4L2CAWk7V3/69ItDyJo0gyo6bVqsS6flQvQvZP954YhXUawnP6RfuQ52QvkS+PSuaws9OmJ5NNMgFVq9AIv/ETxLb7yvkMmhZd8a1OsjfFZGDgiKQTExpcwWZohggGXdeDmbiLOu4RyOtXXF2UOGEDU65B+6M38y/bNuMEah98x/C5PwGKbeKFgM+7m165IlBz9mh5PAUrm57iKNdyCvyLSmvRpeS84gUYh0hccNJTqruf/GAwmCEbRJlkBCqWMEhoQIb6dB7qv/o5mX8AmOZ0MlrvMoYJOQFbDG/bz/2eiq7PB395dFB7klPXCkZN7jAqaLwQ0llvy+KQEKIJb2BAIjYCa85fOULU90HxlJJhl5OCNV/+o3INIsCWJntLRzcD+ttDnonKYyI72G1ue7FC2/qsTNHNYi8BZbYldDVFMK+5mGN9B7/SXtRrwrUhguCKMpugw7x4nus33lqwgKNRkm4oyV8SO3AUh+S3dVhPwie0fcm99UrVhNVogpEaTlx/xvGkwySUDziQ5ZvC46110RxJeEeQL3BaOUV2RMn781iMF0VeWMwiFuY3VVRDOP4YlNSBmmbws1/gNqMPCWw72QQ+DjaN9RI7BKEaYB0SZg/RX6+6OGxn10gVldz9wrK8Uyk+80nI24fJGkjZEg76yOoM1FHzgFvnBZTvhpg9yvN6Ps+xQi3rBcZUOEXX/KrTt3AB6CgWk+xOC5jeyWpaK7kOGho08fwKdw5Pdq1P5o6yDoX43gy2JgBGvkD9QOMrhzPHcExvpEgw9XJ69ENZ9FBl6DOZS+7EaPS/s7kZAXlbQHpI2x7qqmRpoK5wKBSqhXU1VxFaiA0KQoZRBNYm666XqMPbVLwyGMCucmzzrekvcZ7U9UEEn6/qWpeliyMLrhGBf3e9/5wSOUKmEO03DfdO9oGIMhizQbkxRyhJaZSr2xrY92RGU8bmfN7JBCiSVfv7e+niNkb8D74bnm15Fjpnq3MXu6RxkD6DCqnHVtp+Xf3vA611QEeoe5t00pwYM2qe1gtZ8pMG0pGjOqDrnMmVQ4lyyyIDQyTD7WvblB0GsvUJU7LOb77QBtyWY9leKm6826QDuQI7OVXEySK7L+Gj3yJqaKVMYlFtw+8hdqNLC1S6i48aZ6TohNoejPa+ohradz9lamghnoRkSHaZMBk1iMislLFa6dkcB77+y+EycvdzdSx6TE7xA4DF+lTpoyoYmltA8ngghvihBAkYAWPVV37pIdhk9jAEP6JJwEAYZ75rueRUd+cHnvQOVlfkxX/W05Z85nEvl6RRhLK/UGtT68TYhaavUPoRFWnBlDjkx/XUpyNfx/qE6ezmejzViK9Knavek7kGtob86w5950gcrWvcQtjsFIi495K+znkS3t6O+OIkAumUNpsCI2UH7Hfqmvq9+qEDOzVrp2HI/R7cR8gysjkcbbqLt/o2KHEstHg4ybK2AZ8JKMs0BZKLorJWPUAqtUu06JDyIMR7ORB8KrgpLYX51ABY3VZFha+KbUdrRJN/fJAIxz7QFWNxBj5VNjZ/WLMiW8tAvjiDH8tI3xwBCz4LeJ9w7qy8ZL6d/gE+lZdx8tbTsP1aXn8r0I6WosyAKmN3xlGSLf7KHZhohgbvY4uDZLHYbKEFCbvb2ZaqaN0kL9dphK1Lm2rOoDPSFbxpvv7fmx+zDHNLx6zODh12M4Rn1ock7hvzG2ZN2hXlYXWBglpmLMxOzSGFAaDSiL7jSfDzU+yOm0SevVwuMFqeg4jkrjcaL6yUgPeSVYCorCuFy8QuIuox+V/i8nhoDpH3cpJ5bWjUBxzbZNFBzkbzed4LjlLbwa3LrU1L4Dqjog4EdScfj3lM0TYi2c/K5END/4Ri8ldgFJ0nSMww6hJmCwfwQIrz9FNzeDkHCLCrdEUN2vrcYv0tTGQL1qhCfmQ+LkfMjb2YyijwLi+PEYhK8XZNlypvR/VdjAZZdtk6/pLSuhY6oZXP2+OUTQr3z/mPjxfp5FeW9onKRU7jLBZN8YigBjOMTcbpGl/dQcZCyZDmHtVU+sr2WQXTmTCoJ+Cw+kDuuz+Bf5bdl0SigzP+lEM0pj3eQooEj4Hxbu4+TV1Nt3+NNXKi9EO1ueHsqJuF5JIOkGyKsWh5wFgxxspDA6w/+p7TnC6INJ6jtt8P2eaa6B5x+RU1ub/0dPOGvp3AI6JbobBvNW/PNIsAWmXTjW7N6TaktpUfS31/9P0O3/j1TdyqtA4IUqGq2NLV0vsPmT4CskOuCcB1s1YeErLRNmrdO3gNgdS/CGGcUP9nAZxzcxoelhDrmF3C4tOIdBIvXxkgzkbrI9GuAnu2ArXQcvUH6Zi/7UL8QFduWtE0SJx9KSZbi7WV+Eo7k6Kwpzs+3cBAUQn7/tXtQFUr0e8Nw8mrGMnHG0cCiZTyZKVnsrU9L6Mye+BJeK30GvpqlNyqVHH1fNTJq7Jy/8zO9Uorq9YvXlm/QL4706Pc3XlVqjeQe0yrMASnBIj8MPeQwvKyZ/ZbFNdngNnjhOpv79xcKkD69KNVRl7pe///cUH809ZxRPNpwvCfJ1+wR212I2IbpXfEJAFgXeBRWz9ux76jrPCpMQp5dK6McbR5ABx2giEt1fIUR117408iLDelsIl8Uu3cFFF22KUSh3Y+mFIx9RywhU0UozEoQgfYAZLzBec5yiyb1bIagq0iyOYYNjyFCGRC1YmCoXqfJXTFWmTalLADfL8pYgAZzQAdeT5n8s2DBMxyHaOaH+ES2b0j8uDmSxQoCTns3gXrQLFfbfHfJm8xq6yyBjruQCbe3BUwwwPYpSVB5nNGgnD1aCes3oce4s/dWC3DDw8PkDUDQTrXxsq/Z0b1snIfHbO/bLK22TlFRblIRMeMAGeK319IvgE2UtPrbyKPejAFYwQ4tC6Ui1d/aiLs+hLN4vzK7+HEW9e7LQ/i7t5fOmmRHZkQ4lt0EgxUpHd/IncoxDUUTV+yNeUtyL8pFsL9f/omFqHAhfGHMlh2/2XkoYpP3+lhPH9tQ1NethmwOgYnwbfHUr6Ql9BB0gwP3dOyl82+I1ODiijidJp3VDnLXJ+F4/nwNqT6/ByaR2Pjp4akwkzELALbdnqhTACGMpIfqvUkb0tVHQL9LcN55QeQAYKTDHyCAHzKez7IP4aAqQHYgluWMjjZf0W6WFRhZb7H9F1S678VVkWBd2FL6QlaGGjAUsl0ElLThyoRBuYV7YGMKLSo2CsXFf7bJPG+h25Mhu34wvFg4pdvs90s0pWrn2P1J3Uudt9VqNY1LvIOitM7+13U9OmrXnZrf/7rYJzDP1XYqnmQIsa0cbiQKIeIGNqvE+8VBTziofvFxTtoQBXHJK3MTTNRjjJg5FzpGo+O2/l9Rl+wMf6RKqjmkWhdSmaqUtLqxE9SjBPyTBea0453VyhtcwCsb5sb9Nu4l57QiGYR3G6xxUTUO480xUj8+bDOPXMtuFIMtix6JfS/QyuD1Bd4Mx4bfrItjkNBGtxP2Vk/2uDSu5hqUGvhTMMFnaGSF0vsXYHBrOl/5Lzd1Xr9z1lB9VuxxCukq81fARZX649hUrvBVNKWUdgd8WiqyEBfgmqrZbJTGvBUkW6QmmyYdmNAQlg9u/AzLrY5SHMKO3hVOkUeRh8LxKZIgEkcIDnwT7yADCp9ULDgVP06dw4nxKX3JVTsICFb8mcfheSR8C88Be0i0zHe2U5VpGN4OqfblqCEQfBFQI3nbfwnsjsiwghasqpTXadY/WEWGtYlPbXVtM5YYmrGH2iJSLy62kByBvC5EL1VtoeJXJVRAWKj7wJ3nLjHfyBWp1IQzALwqrttgZ/vkRQwK+Hdv1DsBZn9hfDR+XsSGDrY5fSQS5FNmwXQyZa2tOv304Fyl9XvYgfExxKgi2gTOY1ikyqjXAbY3K14weVv8GDXa3czcWZ7qcJOHwKFvVX1cUB1wQqvGjw0aGe6WzlqJju4n1KRqzzETqcj9ZTsuG4YdpIi7WESg5HyvqymjBRM7X/dGxnjSVGQCES89/6y+Ke8K92jr7jJSGy3bY8T9kjKJ3G0UOMIWZ2szSFIQfngE1A1FVeeB2M/8NWLxbYKMsFfjf3/ByHf9Hu+KO6lRUWG4/p2tU58xVOGn5EcMtsTM6HtetoU6DnLG0fKXMlRuecfRC5Kmu7xjRC6fWJHxcDs5wiPqbZw4dT4c1VchGzzqxHB3cV82vloru68KWXg269OM1k9WZkmPG3OzYhpBuFOYdhXcO8mvom0emg5fVpK1K21H8rbGpyjminZpAbo+u5i7Jqqmracmyg984Zw4ptnrBjklrpJ2E3E9dKfpSBAq7AQGoA/gfEfRC0ZU6PIrDUe2r9iTZ1P1Atb/lpeqaInoyvX+IqZLblBoHqsFF94FR2kMoj5vmoe04pNgCpl6MjX/rF84dMKExeoPGk1euQ2h154FOrZmP2DsgMZlPyRghZ87elaJ4AJiplByPqgsBIFBrG/VVShinnNunwUasVZS/4I6MjhyZN8HB4tP/xT6FljrtwRuE8o2fYGB6nnZjdHCH7F5DQDgpc1N+95acxhvXxJAnMHTrv+SuRLcVpnwrVL9Hk5r5WgnH1YAVuJpjk3hrOhMQ5w4gVMAk63WIY7vubIoHsERcxyq4R+BjxyOQREjdDl3aRYMZcnFJf+OteLSiwWtOd7dUJc/4A4plZqOTE/mL+dS5db8C9vx55dEU+vFC9ZrSHGbV1KvH+RIdybYsHlqM5EwJiQSB6oCIrhHzt8zo0WrKsTKAbQr31c37nRAYqrQ617X5ebsio7Xjvqfll+josoT2EBy6h6buHdLnj2yA+AezTCuCEUERjH0tOLoLT7R4yRk1JtAB076oMz0DrjesTze/fYCbDIgIw97tN9AYFd4Eue5f0oBcmaUKeGgPOKV9BO5xKMzkg+OvdloP2Yp6ETRCwDuJeyh10T7mAuKNBl2uTUzUef09E6a6DCAiIVGKw9TfbiFCehlshHMMiwtYUIGBtyc1vgUethHwJjQpY9EyKjwmoIH8ht4s3K9I5v4z7yPta8r+NxTnad7O+lox6lmu6qenjUvmTn0nUdcK7ZPScbnEEN2rm+wjxdY5yVSHuivEntjEh2J5VyK5ElaP9r3hYg4G6XjxfYIY2WpvlRYWjKMVZljbKX+O0rPhjHSZiAgqNbwTXuxWIWLzpZfbgIm1HhfEYa4pdADWD1KN5AsAavY1m7Ud768KUkYM9wjMGo9KwHq9rlB63h4UENmTuULzUavw0On1xSd5BWPNHyA/DKNLY9vQguPZFQLRXNbGMVk5cMdDcpfxhwY70w3sXASi0++8DZy8ghd/vdLheut0qowOUMOx+XLqlUd8fxoTymXww00r9bnXUMDpM52orHGemaVZZO9GizU26Y6/t2dkQ3kIDpLnQUKJjLQLD7tkWkaAMllihMSITOtf1VdIUpBRpYahJwAjgorhxnknHPw9FQOkRwdhvs/dLLml7GXkrSfBh86ygfgblcyDu98DPA2H+aR9T8hRVKnFQAPDDw5Z7SeSkgC03/hMon7P8ykKUm8RPYBNvsbwqTsO1147ej7uFHQYnlp9uCDaOBMU5TC0Vy8cb8hEwlTrmWruKYcRSrri3XOarSFTzf8u6TbwdcBtTns4ctYbmRcIroHRZqMFp9BWG6SedBdclE+zgOGZ/kknUwh0QJyURYLhXPoKfpZO11Zxl8bfNGxoM7F9hQCkI7H22zgUoq7LO8i9oXn854LswjmxZD9AcKAK2a8tC6jypr0Sm0PvPcEjcx4hkq+m1NroSq7Vo6w1VraeEgP1aF/uG7XhSLdUzRvq/hGm3thTFIYlAx5jXxBAI6yhNjWesIEdT0u9LThIBxQsxYp/VpfQeikIo4sL5gOhywjbFoJ64T4JWmwkyoKlWhR3aHAKr4b0UEjjXvyPQQ1SOfjF0TKK/riC7VZu/qdFi1UfUblAKx9DYA3c3cLOGLo8e1GUyPPl7n7KgsmSu/79P/Yx1NvO9RZMeq9TVqejTKLALaO79LX61vhHFrsPFzHRuYS77c7EfXLL/ZhrekT5dHr8u3ZrDMOUOtxkrfznF5phXkwLBXmSTlE3pJsbhmWf3kozHYtd75B0n5MdZbN6sMmI81uWTP6kaUJrwJa5Zq6wnyyJ5D40CdmEWHCyYP6nvqjUA1RFCcrMKmp/I+6VBR4F8kP9syXwFjfTYw7qycvs+ngBkgt+6COVW/XZ1XAAdOXNeMC62+rbUTR2GdjLNC4MO+YSDeNUHkx8UKwmK3dgpR0tOsJGl8TNOEyToQO6yI8wrk0530dCwCwgZcJLuxXmUZGlEi4i/l7Ssn5wur40Ig35hKxLwP+WfuEDcy8wjrIrCUv9dM3kay1oyc3liYFScWfVc+YkedyhTWjYUH3YiCnJrAXMZCsWfAQPg1nD5LGvsixDuE6hJJCIRGMBlCshl0fEIk45lYdk8dj6NLkFYJiwH8aAzaXex16LHchcHPsO2HW5CoL/u6PR6Jl50Feh0zks33hQ75lPmFKbQE8k6a5x+sxQaPZE6BxGvUEm1N9hBpruxjgOeTqGouHoSrh9Vj6Y/Wm7TglOkQMcJkCX9DzdiFMuBSam8aeVRHVrstA/KJ23R7VrBrwninzBcYiJzgOr/tc3xIZxPej0uuDZ0uDymePMWyO1x0XxRYN4219067mWUiZSjxg1einFaEI1pbvVmpi2lawus7ZWlN1IbxVck86Rvm+JZc/gbPBURwF0j2xjnikbaUnru9RMxWilfbFRT48UKGycCrrF+MhYfAIM1OsIz7pElOPAo3pOsw0Sk0tJqR0CmtyqZeDut9lznBbsI1R+pqjCQeZ5Kmbi0qBZevcRRKYUIv/zvFGrHpabgRoBZpo41dGjryJ41PWSiYllE0OEYgh0uLExbl2M0xEd9p9ea9IjMLN7LKTu0LNbr6VKD00j+OpQgmgMG9MitzKUQO74rF447h3iTpyLnjmfxUXVck9GAc+eqzgGsNbmsftqY0vKu9vcQzvBmbKm1/xmDwGuKa1rLygDKXEiOMQ51TW84F3RTSiAkGOaWjFIW2xACVxLlzM8fbD5UuBdroY0E/U8HxbE96QmK4oq5J/AJp8nI/ep6PnPMq9j+fTJr3hOl3MuEWNRk9XSs5PQU1ie5LLcQF3rkMRT5Yi+JV+UUXUvMDKRm5H7hAZu5FrshGAFjyamQ5XQI7b73X6g7DlXHESZkXgaegE0OyyXUxSTzFQvj6F+a7+gz3T3UQrMNiL1GU/pnwkmmlPMdJsTkt1xjfTEr42Bqymm0i01BhWKY6C9DDfWCn2+ivV8Wv1bhDXMW1BaaKCuhmiY7KrAoj+I+Uu2cMNKG8/P5tcaTFFkafhU4ChkeQcIxGn3wClMWbEl14Y6/WAEhdA6JPZXnQ57QKbVNI8yGdSV0UH1q7jlHeS9FrWtt1X0owo2iBg60kdAM4AONz8/8g0FHs6ZjaFe1joVX89X1mvxtVGkr+AIXoY43m+B0CRFlwm3UnjOGMvxB+QD2rs0HJBm8oytQcw69OfEMUw4St8zW+blft9LvwoOkQye+uuByyY5+SNmrUkh7wlBkPmtYruBbGdOQzM8FI9vXnYWYiwpR4HlqXXrVq2TkQO4Vs68WRsxK6mhwHbS9SaaDxTMh/v4K3jZYah9dIZRDPYfyw7F3xpRoEd/086oT8m9yx7J9WKPKettMVgGlAh3i5NzRXpnAsy5pkqy8IBL6LJmKJUIeVbtYMiyBfCK+mee62aDlbKLXVEhj4jPo6LqU6P4G6JCg7NmYFSuG8fqpBPTmBy9ABDnAkr3/13oBmZYz2ugrsEZCbQfwEQX4zi7Iw2iI5EfyS4zp+pB88OO2l/E6LId1eRSPrSzfmgI7++uEuYugr9FzG7f97+L3v7LxU6QSANuTh1efm77R4iuPHcMe7JVKBnNMH4CR+blfd50+/4hi67SCfnoP80J7BwYINjxTQBaNqdprSeMWJ/y88CHHiqT8hyKhBX3NAgaIJe5KBdLJ5+ytnG45g3cqEXJ4wS2HG0vUJ6YwWwjOYaLXi7UaSQjsUBt/lAqW/AE1zOSGmWrdilUtIFKqumHPN8HEMJynqXurAXMpV3qfzBU9ZtCXYbtyQ+ho8NjlKa1dLgoBankttHuEQ2i6dUSYKNrVqd7j7BoxHY1Qk/A1sWg/y4JibpjUI/INB/0mwvh23TAakWjc8kL3tETqDCg2OjOZPUvm4KoCFB/Bra6vS/3lMwEG0BhhoClRtTCE4bjpO/koSdR97wErOlf3Nm+T94bjMWl7qNRsam/M56+eQeD5cp7YrbK0Nr51X7uz1hpIx2ggNKqlB6o5Q//Fgekze96NsQVOjhjzRPb6hbtYb2jXnZtFS1amSqqlnQ6n8Jt+mh+pQUxNv5A/fjQbSo4NdEA5VfkKjiEORzNbSRE+5+YwsO273/V+rVe6pVrHqS+Xx9qayRStmeusfwtUGtvzHEClWoPYlmec5KZ/v2pPTtmW0vikVcJhiylBZtGkxgj0mPNWuXMhgoKVPePFTHWJ5UtCDS3FsBzlZ1dftW7wexvtx9rL6dA2LfgbmuCSNss+nVvZ5X/acyREdOXSsjUJe4kLYni3CqCJhWpQjDIvgcqOg9mfjJ4+DnVjLdZalUo/HCaV245/oHyWfNlUaGli2LSaB1V160DK7pJiFPNbiNMlHMM3v1+t2cOdqehes8ym368c60v62KogBLIuP45A47W/k5323eF4kAfRnDkdpDoTonyeEvZAnlgoGIxrCc8tnqrZGVI2kJGSf5HP7sPV3xEjD+ATA1LyqRpqfCyGzhfXz5lA8MLDlGh4+ockYufLy79towun2WQC+jCY4Q9RxNssmLkS0YTUyFL3Ch/QjBOvSzEtlzT7xlUVlcOMarGEKZ4T39RWHEgm1hR9MzCC2KxZlAG6imDZpN8X+R1Dwuo0euc85rUvGreZfPbgdkRWwnQxNBIQx6C8IzmubKaXPh/R6Pr0pVTsyaei1oDkAyQSQtrWMZVrZ3k+xq7Ji7N9YOYFnDhsb1TS2TPNYMmaHdJEzod6hCdX+PPeWsLFZ7oRdpC7K/2KSAFymmC+V46J4IHNCOYb3ZmmlGHNFK9E7CdFkL+f3128IJVjyIqN/F90AuiEqz+2K1Gbzpsv0CQiS6duwIBb4/0vk0X3simgRgTAvWfHBvMz2SnutSTIzNi3oLWwt8PkgE7hX9hQloXAiUMJsNRfYoxehvkT6BuaVvcypV7kuVRJhQiSXezuMYGZVXFdY0j354u28WgAU76QOYK69YUdur8b0GEmXS4L8PrucbMTvYOe3AgoLGYN5h4jcE8ZzGhqLL6VB7+WhIYwZHEeKd78mIiIt5xoEG9LeQwZGYRlULqwkP2rgxJGjOmpESA9tB89f0PJK/LXlOhz3Lb/ey/aDHK05uf3bVGOT/iyp51jkY25Eu0cUbDfl8HuVf3vcXcUFReOKEH0bOUn0KWMet8K95LjawL8NUqvimLCZI19n/pQ7gPRJvtJIfri0LeOH3lYlKFWlM9iuPOPm+qnZeKnng4CvjAaEU+vuA02eYDycPWc3elMWC36AQBvSnuTFxjDkxDidcqJQNdIYmtiwKXdHOI1jOA4zU8/wl2oSoHb+JFl9VB+Y2Repo/Uycp8+DOD6I94sGXtx2LAE0faa8MJusyrIVALfm2/m3prXmS/paN4onZQwVfOVMv9Q/O4skTcA4RMFzxveB3yBi+eFbNv4Zhao7NSjFSohXOFHR3ZOgtGM+7udvq+imbahS+XbmEMhz2vfY11+353Ex1Aucr1D50EIWU+h7SDdJi9VnSHQNWMoCOYHkSxNSbyfQXm/hu6xG8jxala4spowN6Z5xptvAKi95DGLYHI3tJAADH9gLHNQQC/TZOOsiStcthK4zvlqqiJn+kQ+EvCozEJEeIZlg10VD/4gdXpTY2yBAn8cc5lvh0u9PCWrgoEyMYzqD0MQk5LAUiF/uTmBh50PCf0w7tnxyYn2ECELLjxLvknOV4e4wjppGe3S56gYimcD0A9OguoX711O9b2uu04YWicRsc9Kv/yI3BI1F7eNtAGcyFFuejqvL1wfM4Cfy5z3iDsQ6q54PyrupfGmYrfkif00t+d3taTewXbq+bgOxoZTPr/rtc4dsRzY0vamODAVsSiaPhtVDjHt7lsugRcnrGo+PewOjIvJ18rgjE0gIfjzAvEpec/AVyj3tZ0h35gXULt+fvaDJ2txBU3obq1fIMtLT98QbqF/9ix8D5L5WJv724HLw/+kV1fF6OeEXlkZgIOPEWXMNoV0faer4h7dGVNeI5LzjyWuOF2+o68QaD3baPUxR91rUyZl7U/cFQUeQ86yH7NP9Eg7O5DlfqOKY2pmNwbS47EH0AUzeidHu8Nbz1GlEri8zy4n8466wDjJkuKVDXkWjlUwn6QW/pCexxlzU25aR4dgrzOp5/15q/7hG7rLxIJkPJwr/bcDgOqb+47wEpjf/Dkky78x+oF3rS2KxKqc1slIE7kIO6cDY7JA1tW/htrGo99Nw2cJhKCz1/lQzFla05w3niOAzCh8I7Mt1PPvdgTn/TXO6RqgYqqVY8T1SrQruG3eRwCkhB1x6aJqOsxj8Lq9cK9xIhMLl7vrHkMI19kGXupwTIn150RC/j3OS+sOkHnmxeN4qgc6D5vHTJ3pwNUa1pc4GRaXxdD5pj1yUp49SCVF4RXXzDCk+zWzx825yYHwwVH3XqHT2jaU/zhx9nlGxwZvZe9sJnvb6ApfhiiMK9ruqyfqpZ83wWDlpKko+KvCPpI6DmOewM39kg6C4m8Q+ZDpYuL94oHQ2psJRiCBdaX+49VjbHVsnPfS7k/3S6uH1QPa43QpSLJAH+97sZ1iPPW7H+zgEkEIwwObweGoPs/YA1SCclPHHRNHTjzHnMlnqWbulIjs8wILkkOgs2NWLyt+byOX8iiFRbW3/0G1AYTntwoqsWfbRgxp8EKJO46Ki1Ben+ruQ2lZsBn7vkZSnGY3RL2hAMBFyCwnvwZfh8N6r/MNxor82Rgh5jPWXVrxGGQRjQOFQjxAArMm6Rqd7F3MTyD8guMuyGO0KPN1E5KZX5VesKjQME8Xlap8T5ODY78TkhLbowzWJR22QehQ0K0LXf0sTQFEyJ9W5AiCmdSEMYR+s71okea6QsP4qVcn+1Ui41eEI+K191PIxvlD92IFYB806DveHadIWQsNJsgYn+gbLrZnUxuEQsZ2DdngoCq2FxRd+2c/4DrxC6cizcEWWyxLTxx9vOchAQ8WELueMxSLOkmsBQFZXXNZZ9O5bE7Cx2P9cTyIA4lsSxv3Tml8LXjpONzQWrzU1CH1rLKaziu82AeZj0YXCXQ5wcVGA1rk/ynvBYu3kwG03gJ8okPERx5bKjJtqKJZWJqQLKM86cTSsJfT2RUwT2Sl1RiYJyJmwVat3tk1bGv8lWHEUecjN7iPSan41a+G4SOwnHb48pk3IpnbLmIj9So7KvDwyAsgmPfSYYmmKJIFQXmFLDvKcAeN31Hlvqcxu7pRIbCWBc7710doC/GugH/7g82m7291+Pqoc0RYxDtLd9qsyyl3+7w+KnCpT5Xg18FK7bi2so2bgk76hv6qJES6kbnNrevkYMtMV0TZa6ThuH0FtAyJwMCNI7B2ST46nXJpwn3sYiFk0t1aCUkcD4KnNYZdSVi5qrs9iWPCndqDfEyvPEf929Mozv1NfTAK/5oyN3aTQmGhieaXcNmdrZzb+AZL38sESeYxUhwBe4Add5ZR4ERXBcRi9NRhqdj3poH3qizm3S7IblPVTXWvrpQO/V4kuHImaNOkYnHTq4BzgWgsESrBiTqvgSIqBwZVAotP8ifgkzwzAvAlG7q87P0hWOGfbNnF0UNSfvckxxXg79k56y4/EXuSesMwOBBln8pNyW5/2pvedRO1mDBJ2CCJG4+IanChhJcmq4tmNixD5HFqXqATfc/8AlJGYYLFVQt3xko/Gdp6lE9XnWc9Mud4zCfrLUGOKEX0J1ZwFKte1ETjEh8l99PvFZtw6PrazubNWBBVhk+sXqE1Dv01X/QJnY+myZ/xJJK2gtS8sYS/MvmS/SJmrR2+UXrsojSV3hPnqbdRLmuuVx/4jfS2XswXJ9U2/bcEhQfHXLxwUakg0u4nw54kv3mJDcjRB0AYMdxll43cA41GPaMMg2AaesmNutqiEqFnwbzoSqpwF7HqRLA4qEh5IR1Bfk/pKvFXM1Wx94lt4tjLjtbRfyt78Wec6nzXZZQTs3Hr9l0z/e9zMt6c3Phvf7eEvgh+II7bwfFUlPo9zG73B1TWePGNmzoKRMq+hKxZDED2reNcnBBS5cmhtK2XS9oB0m06TcKhnUagUwaD4VJG5bR4hgTJVREB9PJTMmbnZd5Og+k8+BjdR35OG+aPfse/W8SvaP7H+tmj6HHcRGDjC+4FyN3Lqw637iVpLMPH8te6RMcyG1K1zvVhjbb1UWKKO9+B0TaIcSeR0vnyNF7XHIdmAYLC3Ixt2RvDAfMXwtiY4keluTLhtWC2feeqgIxZsw5qrUFnpFKNxykleSqCwgNDM/6UtXDjCdqFrDslJcF7CqPp9MFODE2XQu19LDYCIRlmluJGIfS8QI0ZhRXmMDhixmRjiySkX2WOPDnU1919YG3Rd2VRIRYnG9IezWhIyz18tk6sprtYtz+yleZ5JomC9T4p3rPpwntEnNU8pfTLTpYjWrpZYm+PoT47kNhHcicyz9zlBTGssSY3UCT3QFR+VVotnKxSRdCJfbwG4S6WW9RRXKZxfNbDe+HPJxAnQdSpfk7gvCjYHV1Xg/arlmt7uagTySQBHAJgEwdmjI/Xi3xrfr9xU2VqetAsYqDVW5drts72p1FtWDSx5ZkteNztdPbbGbPnzrQsLUO85A8h//0PeVe/txhjjCDWUqBNRsqrYeB1hUkdSbiYzVg5Z4Q4grpaBmKyh8KuqbFv8ACrLUzGcX4RlvA52aAwsRarOs7b/Ja+Rph5mB1hJ8XDMUcIK9DfU+m7IWqHGaAATaU359hUEBWuurKiF2jBX/QWmlcRTkKtdzryzz0u8TGrMym3x7hWthLH5w+bHfFNkZ0QrYOsJDRDhyDNIxIqHMfUazQ9SkZN1OhryjYNkXknr48w+7YtItj3Jbx9gughAInTe3otf4yYNbZq2pqe8GPsIwSEtrXc8idBVas7DPjhF1F7FFJ+Vaesf054e6RRwUS8DXO/KreskU7v9winmpsu7KatcXwtLarPMkGo1YvEKnGRCuaIdb0z3y7yws/Ecq2Qo4ze5hdCsjpksIDgDcdbXFLqp+SV+kNNsGIIxaPYwA+Ql+7yqtpWO9He+f9jmiO7P0AqQE6U2dlBJdDVtX3WlhGYFDGu9/WU3/eYwW+JQnc50IQahjS4p7gP+A4loa7VHQlEhvgHHvwlE1IdFoToDkJ94eHCskdQ1PInkhgbWB8a7tteBh0Q8cF2QCB8k6P6gCkNfaTrhmg8884H8QjrWmWV5BUCh5xbN7rXhVLI9Jcj03HZjeoCz5XOXSMpQEeqD3ROXyggCOzGs1+4u0P9WiKG2hwUbBi1kFxccdqKDyRxN51Vv771vaou9VrppKK5WN1J7j1d6rYxwcIJhqoKlnqPRx0yYKDNoueAoCJ6kwZFI8oC8GyQLRTcFAa5aVjyIsZ9ij60LVqIR7khswHgY/WALJ36mc90+eGdDMqkQWt/6ud3h85iWg3ApluOg1UThvIWhbRX23R2Ggq1O+avIspwe5/AMrYpQ8KJ+IjcRv+8FvKs62AWNhs3zc2KDnuIqybec7uG8shgSysgvG1zMgO9pN//NB90Kg5lEm0jXbjc97rZbXlDmWAwAlctrgmKU4J6IJNi6BszzzL4wAR6vefS0F/I+VfCxQC8SX+oA7O3JNiz9WY5kYQBHl+ASMI6FL4uOxMz934mCdmqAhS8WQduabGDT2mixHotutB6+RIaQSpEP/HGhfk7CWN5wFpwGY+Voupqgaiu+0JNyplrtBiTS5mQi1tZtopDIZ6pc2OdsG3uHg5fpVoU9GP/6lsHYLOrkehzWaUNPgUa8c7nJrUHcFcMT+kOKK6YbCz916aZ2Ltg2AU6I3jB/B0z9YojOdMgLsbxHq4oMeDD8AvPcUGtAMnGn4Xp4O4pXMaW5pvI2yhcxFtfwBgE5ENaXJarw/54FVFeNld4NzKDK0S8uuD2JAA2fZIH7AA0l34zkFl6ZEKD/G54Hiaf7wqi6F0VDXkxK05Z41mEfhjYHk9zTrCyu9u7idBrxcxzoS5NyVCWNtjEKhLGL8tZjUP1SVraDzJXuqOBzXQ1RG/G1UaK76ScuSLa0qnJG54wFaAfTaZlHCcVW/XJKMjarjM5/gWZj/XnnSbAOwZUBCCcG7yXVQ7ZKcoGjF0Ahb6EhbJQUWpn8sbuopO1TjHmkpWbd2yXBVToxlz1aOO5gb+Yg8vUR9GqoUXJ6VBxxW9y25lF8Tu0vgf01RCp2gf0UP4IF0Odypd7LZANnVyctH6f2nn4QUnrUI9SX8eZoVqH6Uq374hWn+ipPX1sECQqBKvd5ntty/mxfcWc+5Pkqtc/00Ovl/wRt5zZHB8quDkMKzaGjmqwJExOHJdFcPZZ5ZxnCLCpFD+mZLTC8EAzhQfbLhgeIt6h8A2HHYpRoJGvO1woBtOTj6wQNppdWzWtZgP+NxqT0W0P/H8SEqnkQr8x1aAYzGn6S2zJWp9p9ZefDDMRgO9R01oCEgCJxhqgBHR3ChRbP0YO1T2Gn5DxjyLdL6Md72xQ1amDL5aRFFIi0bosWAAOX/qdQwjIaB3qhJ4oV01CfuqDooxo5ksYILJD/lnmyPP9k1UKVon/JEbmIwBx931/tUAirXtpSYxnG4fVOKUzCX66IthJn+ZToOEuyR1f+gGDstFV2w0a+RZEfucPPMj5/HFiRV7SWvEbDQaZptM8Ra+bNhNVnzJOMaidb9PLjVwciXCadXP1DDl7J2qNXzbscYeTXVok71UHEuk7dsZxg/wyzqz9Iop0Nlwx7QkJZYHQmcGjFbW9KJGS2BD75v1dV+iJ6iWy2ix7fUFAlRM7SdZJnCdhv7idgbn5gcNZSZn8P35kP3OFJEhA1QRP/G2rZVr9iBXqYiEpA7O0ovZ5/LQdKJNZb+8GNZF7xN8paMEH1wXkZ3oyUz1jYxcGFNZWMdIl8f4CQ/kFt3l0AQ0OFvh5X/sYI6yIFDGIWFykKSu2oQQWZ/zvUQPaZZSu1AFfkBYKtQhI3Nd97Tazhg6Zq/xbz1T7f6e4fZBIMJ1BNG6oeprNH89E3djhDj6Xr+vANh+hpJqe9bUj/4/sW9JKf2UZU0YoakmvfXFBJA9sI9M1S4OodrYFLYApFZXD1QjQ1oROQEM9tgMTASr9XHjeLcFIOI8KsIqpu5biSNSrHmnckouqjzO9fog7u0Kii258aTIhrvw7t7S1BWT/k942J7OJM4v9Qio38Jacx7HO4elmdDORoIoWdztDJTjyKEuDJHibCQzUC5ayXiC/lcM8O4KJEzBI5xn3Wf1oOkmF3w88Su8ns0OJl3+FQLZLfAiJ7FaK496UQN3dCDXhdUFne8yKo0TVHAU+Vviad3B3PUzBJue2LRReGVaaFbQupUNDSnJiXyL/AiG05LpmtRq3uQV5K/44EKR/uUb4U8mEglLsqLv10dxAx0s4gaQPUYxsrMP82nWGo005l6Bq7bMCUwCK++6Mkz7u1q484ovufIxRupWqAMPqgYW9/a/8+yoDzIHrlulfvv6Rca9yzLGPt0V2FOvMvoJxhdyMck5712PHBKGfOkE0KMNnpbavbn7/rbEx50fWk9w4iR0bDnrKBNw8MF3K2Pbyf/IgDYhpuPZa0DiRzJmHNKaxE0Z67ylaUG32+z0y/IJbXn1FKAFG6mBsuOYvlG7w1EUioA8/cAPtEIlNcCaVWH2lOD7SRZsssnPxPH8lcMWK7TKIH0YvMmyb+5eHZ/CoWNSIEOEhLUVrFb3AhjC0ormuw1nng/sk4ZL18dWkj1pU3SmFftxgOPnm/G6g5fIVzCA9tVDONFJA36ttD8T89iFEyKBj/LSYQlXcVpxx/pvgeIt6kljSmBjYqgf1YbbpaqsNayf+zQDuNKhUjS1Dgf6bqlYqjKgKJ2rpSybG40ccWVqopu5kyPM+FCyS5Y1zUL3xZ0WRHJTm5WzIkTS/tEwidbulh1ENITxH8bRGaDiwI+Z0Zg5CD8qLU11T3Bxw/itpYvTKL+TtmDcsHXbch4s4MvMY9vcKPJA0rZpNIunjfcBym2jFOXLTCKExVLkMoTlaDjKyAA86YLVVEYmgCJcJ3avSC9fjokMrcPS4JRXdXD9NhwBt0TOJFEqrZvlnxSZYo+Za/xi5L+jSLq4EEr0FyIVw5g3dIGWNSChljcabDz46q+5M8o9WkHPrLLj2iSSUiYpCAz6ZAI7shkAifGEPWyFxo5fvoz6Ph9h12y+Pfwf4nbVIGQJ0LCeGl7x0EBslQSMhba4JdfgO54VSu8B9ddhzM0uPshGOP4bFKsyc8V3ZQPzJHOkI38vb2AunrIiotz6w9IYEI9jaBtZoSs/inSUviApOsE4uGHMGFipFlnMC94qzQgO6U8JhBalqyz1OxZK00bw+yVJl9M22DScdvBaJwgkEfsM7tH1RdQALhR03nZgLVyUx7odWngwzd92ouFPdkhCetmg641e/M/85Ybc8xZQ12/1otACI1sFVeM3euq9+WgACaEL1GL8EZJ0JKHUc0vd30d5RYTtDdbGto/UlexnHwbp2us7norrWr9X/stC1rK5g9Yq0VMBqD5XYO301tbnoskj5sFlu4nAuE6EGV7gWAnQdxZesbCLZ1IqZo8SZ/XKjoaG1xDU8c0cvegES56ZPZoGOAYIMgnvF9teLwYiTW728o1kluciCPeJwEVBPl0JGf/WQA3qtju33TvXdjBkHUnE5/Q3/gr2DmIrHaTU7B/ITnY7EAXeEsmTAL3qcKZSJEjbfkshuK1xJ8hfSC0ZMaYAmLaNS2SDOLx2nhwS80DYSJY6stnsVaEQen8trpxIyGdSRDpyWp+ts7vUF+sp7Y0VPOk+w9Nioz1aHs3yKwgv5le3pL4ajWN349M74SOUwWr3PahbN2fqq6El0ZRsaf/VFFK/8vX5r6KdwkSXlAexQo1gIcgDzanlYo8JSxt+xs36o+g/CRbjUXUaSRJpoEFAjUNc5pL9Bk9Iiwidh7AUdHDGLYMlg2vYrS69iEDllWEtyJqSQtYl6nhpOYOlzeW/1rFCOajPxqan5/E14ywD5zz/tQQLOfgz9FzPVQOpmQfiVholWShEASOg6rh/RQ3Ws0zyHYHO+hzeidB+gTVEYvZJIQoOeAlclGSGtdvU2dJQ819sX3RURrHNkhNOKFftutDT+4UopU1NVyLzpWordKSZ99VXL6/bAa91xLIg0TH1HnNBM1St6O5XESnqbY5ZnJaGGvlJyCa83K0L5YI2SncE9hYS9b0gCFDRnePc31wsjd7xsjIkI345WIo1ShhYbA6MKQqB+joXSC0iERuWhYqf2lZA1SUc4eUKwSODdaiPntPbSjyvtgg1hDBLhr5NlxvUE0LweK5Hr/hFmD7jDAKSdqDD3RR7ObeCN8+RkWHxigH24SagR4w/zLoKqeWyv7vkxvQIDOgMt1lKtmbhPfPdsFGTpAtKzHSDZrkt1a3bqzxVFaETMB60UgoF0SEXddJcKURQMCvgvbDoUWvs/M5V6LY1TjKX2hA6ly7cEwVz/dL5gqeqxO/YHB2k1ZXsIjSXy82JNBYpcvNp7PowW92Ozljsxpl6+K7cWW2q3cLqJMGMmJqVON2Uc4vftGu3fecvUwE8TwpPNGq8FKTH0ZmM+vWANi6Jj8yKXQ9pg2FXNNt9F5Y3ZIT473qWn6HZzpZufYKtuPgnbyoHN3LBFcsDJKbuw/aqbKLGuvq8a6beBy+JBqhnFqo3CQ0PdmxMpoSXS4MN0divqHSrWgemtOvH34Gh9Xqfi6HoPo4O6zFglk/JUb8pKV7PaIJv4ikVa63r1tPI8xchSTF+jZSUfFx7MRrZZKF3nt1ZJ5EJ0qQPZljw2biEFXYkJF7Wa3hsMPihCq/lGYL3BXcnD0EwqR29VmL8NPGyxQVKaV6hUxfWPNZacBBQOFbhM5tW3CzG44YC1OWh3LRrqH4DByWASBhxD7dyfcwEH8Abz3SFgEUe00REP4g28ECSK2PUOi8B/AzxWHIcrkNnYEqC/pZgvq6BP7X2wDPcm3yVhFHqYbRQUFMvTHj2DB37R6jWu7mT74kMKF+hjGh7/WILy1VMFMB8tKsu6lnROBE05SNQ34f96ZQZ97amhAFyQP14J5RNW1DY9OWaMV8FCEkmBw+ZbiCY+4aSQbY1OpIs4R6gwpPpkO+o++mB4m28A/fl64MpcR+Yhbp/38rrYBVSF4+jPMy0y/VWgyqGrBeX+pE8iyhHLEXLzIahaLlobHWxupwwUcDSjMvsv4R1Mv+qRqpe5Rp2zWJ7tZ1iiA8RyM2vlDVGizxDnQaPbe0SbmqZVC96GtaE+1DeuhZF/mTSkKIN0LvZjVpQZcEirbltuzBVK55XY8rnVeyLzEm/uVF7vuZJ7+vazou/IrJ5QhDXOfQlz3Y8Oh+FTu9uDBRHmtxMW17IM5cMnZCbPfzjjlXuCIF7JyiV/ooXvUrYz2sXSQ4f/+WK3O8WneC0/pg8nArDcY6maEyRyWfICAI0IQtDckZq/cxu5O07ToIznc6seOHVrBVgkoC11SXAm2ab8gOokLBAaFTa/56S3M3mJx1YeRxK22WMtI5jcSrVadr7AbGQCc4/V9Ge13GigaYgQ5boxe5SrbCgqMpR2TpWmLHZ93+8y+wRYQuWMttv6fHvMALNTxvTsXkbInIHeTDcLRwFtSCTaX46Rb2a0XsRg3YFlAEz2jOSNeH6iA8jpZ5g4Li5i09Ux15Bd9W7NqEDz8bplNdPv82Xaa1qs3mqzLPBETnhYKWgk10u9TfuQR00/6JanRjpJLTEQdSjFR/1d4vNRaEvzh4ChbhSAbB6ZoYNRzL0XhhlSpvzGUxcLyhl0r+nnmRHEYYt4CYeu3nS3dGrkjPBCTBu+2aGumTw/lnZktMjM7qktu22T/kP1fjjGtkULITACyGQ3QyBQmr67RbbheG33DPy4LccfgfwiiZvYG6LQAm5Ga9Dx36QVTumEOSJerpfKBZNFGC75HxD2nwiDGPJTXTMrvsfTlMcQa9nYlO8wycubhKJ5YoUQ8Mvl+8k2cnE/QxdGQd1ZUWaWa1HNJJxLLBgcByOuWKc3JsmAblGHjIaI5S3kAFcwLBny2vI168c8HuQtoFvEprVvD8l2ccSs5FxOS0Oqb9ok9QAavnxa0D9LD/OagpfaTRLpH17w5H38Cr0By1SanukH7hne+GCIOByrly4ek1qt4oFOgvbHmuGTNULY12o3muDNoUnUpS/AJavhHDY3dMazS0pe/gSB2he+4ZYlw8M21tEguLB8LKiDFfS5pQ8ie0PojfFaHGfE6YQFGCH7Co1mq2CdyINKa2r6DVDLKMSCBgPaPl/lhwikRx7Zf1M0kv83MLLtv0kxwgCTy7hauxRwCo5B6OUTanG817LL+87k2tRd+pVemaPQ7l1LQji1RHQ2M4Cim6mr4knSZAY9DpSRLiZUPve3nW2kH6XStMAYPx7fXI/a72JkBaVe2GvCqSDhUJLZIw88+KCmVNd1eMqB9jiVlgY/JnPQ/CmRVtmtbYuMEbCoXT8M2ahpPxpr7OzA/xKnTyrqoB8Fng10EepVdoQdoDPtxx24ONQwBEP8cpU0q4cmWswUkSPHHU4tFOWpcqEpeYz3PMQMC2Vy2TXdgOE8D4YrSWks1AbRiA0OzMomCjZY18gRJBmeb6K0KhAjTVno816KcXoomeaYSlTOS0WhS9EWkFZ4bZl+L5P6Txf9KnC726UkuYsG11NcXeDA9GUzb1DPpHkVHgyNbjpmCY3FHWEwGJl+/SgNFcglEElayeT/xE5vy6xsgdytn5cUPJvo1ECUjqXJCiPYgCv/CHgHEQl94n9OVvcQVgLAvY43Zgi57O/jLHxtN59kgN/rz9d9CFP0Yb7uOmJ7Ixul8J7eqHyGX/n8DzBPjPA0WfXd65TV3Ka82xVihCDgq+rRrA3vsOYOOvFe0EHFa+OoaCaEmbUiqQA63l+C8h8Z8HR/thC4ciiWwCo8lKJNPI05qHUBsIUKrUslbDi2LeRvFsaKnwIj7syhEEQBLwNe06eKDQlaKBgOXvR3f+ITDkAewK1WqLWxlSg69cRch4yVSk2fAELeTvmN+4thAB6njZTTM3F2Q6U2mcNjZXwLvP+xnng1QTly6D0d6DHdBEljxVbrtNiQ6W88g81/s9OfP5zASs64hCLgIwHWtqIcwFTBigrisgbwQrmyByDMjlUQ4wVqB9lyws1rtOm23AzqHPseH2t21aa5K3m1BdMuKWeQZWffut37bmvFyBPGq9XvZzY+y6loCY8S43lKGGKpszhZGv0Ru0AKQTBz3wP/bnzgr9mn8D2xiSM9NO5NjIVSoqPhXAPBlpoDosgZ0vsq8xlrNXC+/OAKEspzwG0fUwsnx+ZJ+UEVn1jCMtRuJHM7n/jMlkB796sf3IJ6ixcobGMJCAN866Si1uk9v+/7bxAx/vxyTXi59paa9NW7rSlDWTclLcRXqXWEouc6+TEw5raw4sS+yixwzMIxMcncwJAUpmiFFwpt7eiZ+Z+zsx5btyBoxvVsjU8F2VIQPIjRgw1VA0XOINuLNO5M4ElOJiTOnvxvzjW4SDQStocxm8T4Z1FP31gS1qsEPGHhtDFlRqGk6Bk2LdKvzvlXG0uzDx+ujHlA8Qa9lPWKK3j9H4GwOXpaOaFPGv20wVZDfOTCu7HMZ82jG8AULaKks5x/Puz6KJxe7lMOqWqJKqQ3V05Xf5dCahPKJlbAmvrXfElEsSBKsn/ZPiDAJWRZzKVfHHcKFf1gK/gAZWpBAyIhwrwNKXfbxEUHNJfS+rZ2qqCDyl8AfesVR6WW/xEqg9gNbR+QE2DGjoeHqdX7wFhWH4cQsO2P+4CmHD4GNHvXSFa2Jc/+nfJvyggmyKT/7KW9F4KFmwtbKgOh1o8ml4vX5BaWe75PYld2J1/75z6ETfXMsDX4G1c3iZ2DkLDrgm0JkzIEuiYW05QItjrQeQWlYO98mxYV/zUl5z1H9aSE3cKUOSLhryNFUJxX3HShV2oarq1PlvOhamfyRmACSJC25CMZoSCj+aeUY876Le7/hVKDCoVY3K9ee0A57FYoDGJykCW7g2tbxipM8mSIvM6D6Y7ZbeABJLhfGh6h1Zf5Vwii96uSmR5JQjyXC7aBtgTmwDTejjuolsQ71MjAvD+vuHfxEyGVyKqnbQ3zGv/le4Zwf86xaMPNKt3nuwlbxUKDBRd8KZ2iAQ9hpuTC3BzXmv0+NFho7CCOUaNAV/69YzcXDUz4U/s6Vhou5iyg+ALK/QkOFTrAxRvLW0a0W5kAhQEBqR9T8pWz3XTg0QaIvZt/eSeMM3pIVgygMAoo9xSkwbp2mTg5SsFFKWxWs87l7dB337FI+u3/STlewsY6RHFiHxc+dGTD8OQ/YCr5807XsIIJJIufyEIBFOhOvYcUYwPc+WjXsxKycMED4p/+EMVet2zwchXSERNpSrwfZjYLUZ6zvyLIbSqFinm9+owxS7Y10x9G+8VsFFgaqpRiiaKrnMFRRz1w0Mzod7X2EC5G0Ofvol0MWA33wNrPND91gU1/obv1g4zD/XVaAUrMjWCwvd1WjIOTwfANHH2tPAoA+5SKsbsERnP/cv+HxC1JC0k+n2rWImsTIBh5kuaKYa8+Sebov+J54FH2iRBWcrvprnYeOaPP1I6cDIvaflIx4E886/VTvks0oV8oCZyBpIOBG3D4hEDrObigtoUInVJQMw8+uWzjwxDb2ZK6mz2pucMmqRQgiYfpNX2WJ9wWAQEWE+uSvGC79mBHWB4278SDypT9/9hhOjRTO6O0gt3QUNBnnrayd8zJZWNK89G37bFk9LMhMr4hXWeTGtnuNsubtMFwZh8VW+5KPLqIEKcZLj+3sM98z2x1XdOEHzEDHoWMo9z2VCmO/8J/Rd6quVoRVZDKgj4m5cpD6mILmuvNkeCeET1W47+9PFyvtfe1+d/4eYu5HAoTU70WEpSKJ1i8mZdMg92CLfzt9TRN/MwarT7uiJGG4YWg8/hglxYdwTM9qqS/UyNMPcU++0TlY496UbVCZdpeFJs3fBFEz0r9lekMZ44d5Qjn63rjgKr+KSXVGbalfLKnxzYApC2xmOOaHNquQPH3pGZkk/cTLrq43ixj7KKXJQjmQLQ1wNXum600p7gX0vY5TwcUy5U7ymoGPwjK92lYEph5vMc5FeYtjT/EzquOYXo1LMh7sbuOONyX7/L3HLolbT2cNoviNAl7ICZvjQ0C59zkX2P6iSsU7eCFajSb9bte/1eD775Ic7aAha6DCkMDnMbdm9qFtA8Nv2pML+BaP0vQuQSJSoSPAPFQt4AlT+WCRwSva+ab3oi7PNZDWr0epaqplj/M4/wXloLQonYfcXAKC2UDpTlR6aS/3E62Hc5dSzyAGaUtpQxwmAowbOmClrreo3fSeyJsI92X4kGO955SXL0u1gwvSQHQKQGo6sxXnaJ/hTm/62fT+XKGuEt5N21mKDQqVWts/K/V+ZgPnHVp+nQgbFj1HZuKo8qAyZbxJt76KvHcoNIenIP9Dy2M+fVJYziReGKJs2KHZL9y0AsqxmHsBfNxZ60Zn7v/5XO9yma0WUPrh/Y87pOAOi/cDJ+1l5CrTkpNRCzq98YneYiETMKnPLEbgEgSQ33EkIMj5I+nvKSLpMxX2AVVuVHgztIJAOoAvYQ9MS7RGMjtGDhLYzwU06aB0F15mevAcwqS8U4Jw9Kf+2e9v3fNDu4qiIQv+/07bnU0BRSlh5Uav/sImrzJyCUWOWRRvxCLxV5vduvcJ85QTPpwwxEa+zkNaW4/gWyIcu1tIqu3ypBCL6+PDZKNQ4Evtvs9Og8g3XK+XlouLXEbC1vaoBC7B9IPKMUa7wAO3+PcQf4a1nhsT3FsrZ06OP8iQYshZ0YFXCB4D1IabwCGVp+baO6ajRIqoIDADxsTRtUFz8Tf5GQFvX40H2+RsnWDfCYrworKhA4vf3tjXJe7tvSpZ98Ddz923azCKMgjqBlmXQQVXQtpvVCO+4YSojOVs8ZL6B3mhRBGErIlKLYQxIVpQTdxr/kaBbBu5z5oPKNfIY1rdxQo8SVoyqRu/ftoBFJtigOj4ZqrClGfSUkNsqagYzsgjCd3OMZNEWIKsXpI4zJ3J0CFNc152Rv2tQD4OKLw2OCMRc+omuFK/ZkF5yJoxoJ61Bo8A+WBCm879keQn9d94Axc34rYvcEtSox7013/aGwCE7Oi/0sewjLOISC9RKir3xO46qgiDsTS+2iV2aIjqnDCBNE4BgQ/PUKr0tNukmlo9glnL+HkReE/YV3s6f5JFZxYukCOsuIxQOAUt9iUyYmhjfGx5A/V+KRH7WB23/tAVGWV+UikTZo/XfujmyL0QZgumdSHgmlZNeHFrntMklydLDQQpbP1DWhlRTMHIoD7CZqZDWNQqVATLaYRNUly5V9Q9beZvs2zJCpxo4jNaN98rT3vW3lZfVOzW/IYZYBcGm5Fphvir7Agtxg3Ln5oHEm7cQevynmwUrQyug00A5NEqrn9tjx0YqhJrvBo+VdxbJ3RPmZz8wrQttASW98pkHho0rrsoO9xOwa0seqGcfzeCOCJyzdlOWSmtDsM27+Bwx2Ek204Qw5R9n1udT3cGG061kGDfmwBxDZBahNzRJygqRgR337lZE8TUdNN4wHS+dGjupMrpXGYbFqAOZbh71dInJUUnzGHtgafqDoD8t5/fXjkXU8zGGatuVICjnnQvQPLysywDBfztYRPPC4/uz7YblFpJ1oacCkpJgotft10ikbKkS9ETdvIn05PcuhcfXvI/TTscbqpz9rBGlzQPnWaYrOL6dM3py+OKp86bmN4dd2xcKA5bx7R6MMfv+qfEzKKszjRV5FetsSjfSa2TBB4SLVyuBUGwhrHSBTxj/EJmyKsrr+LHevoDIQxkdCXTwyAznz7M+7+GMnXwYpm90j/otxaiCOe1y041hOG3shFLdcDiG2mCyH/yz8RmExzw+NQnOesa9GfePLkW824PTMfbfTfeSI73e11564/diEb6RICpUoXTwK+FJhaEvnggEZah0WKsfEIP4W6MWE3S40idEfgmck3UtXj6IYKeLEFDCXEJ2HlQrs4uaKhid7Q3gCoBwnBhyyPvc+PE7B4sFMIH/+UiKmj5xbW5p9/OAyvJlNmC2g2xpI+MowMMa6U7s/rC6++meOkZ3CHhdRt4uKALda78xfzx4mMFz8JEXbF3Lk79FYm9mGk1txe8SL200DT5XtJot7CTWhZXJwdsLAH+Tjno6Ny4r9B60W89lwoQl9PfP7+f8eqS/DfLshp196aKvVYEwpgC+/j25L2+hIFDXDwsOt4rJnJ5nu65L1LCCU1VR99GHTl0V4jDAn6feeMVpTAIWHAe+54bZCfEEvb1x5A3+jpi2fzmRsAJdkp4N142LiH2P7v4Tts7pjxb+WDNdCwAmIrG/OJ05o5BXWJDRprVfQ8xfrIDi6EAAN14vHjr0CLlgBk7o3vLNpnV6Mrq0mFRVhaLI5Cp47tcHZ3bZNM6MGVgLUziKwQecGJkbusTko07noFmtI/SVMBl6b/RZB72JH5J4Miu/3bjlMYhVrTuNsfJ62xSsXW5faJr0EZ2ferRXrXrSDpyqov+Rtptg7UmOFnkgivvnorZvK/K0LlLBC85tW/8Pyb8HU4IVtabnvcW3Z2zNFwLjvTjdB3exZSSYKRfKb8g5NOHE68QBwYpD1Sf4/aaFNi1wA3wwK/LrxUdKvqXqMd8sIfIcTpQ2kAdqaIo/gig4pJ25fsrdVDANDP53Wd6R1nQrlk3GngsBcEt4CZFiadQrAPbXTtD3AHRUC3elEIgD2PdKScUODTtsunJ/TMLW/H5rTq8zXacf0stHPegVCG3hTdLaJ6MYOA4zmNhh6Os+R/YIYE5SQl8juyY3j4HId4B64oFWCxo05qsh1wsq1i3YGOGVKlUlbhDMAxgnrW1n42fY5yTVJKXusyNia1dPhTcPHr0womwrmKCzxI8yn6BpBAuVu3eu/5AozAD9rGQqSWzVS5s6Bt4/LzhMEtV8LPRPbANVzJhbwqKeCLtUwpDdZ1M/udJTfTseQzk1ipqKeKo2UCezImd5O0nC8H5CUyJ2wSmJFyJWVlHXTmfXsaR6O2xZc8/qrfYgSw6qa+oWIUCBHmV5NDtMZIIg0qrluQB/WCawH64X67Wsond4sMwC0Nn20Kr5ccH9K4i2LLs451LLVFIMOD4AQIKJ8KjZO7XDQBDhFHUL7GnKzKnj/Ekje4xpI5hUq4wEMKZTwEGufbNmyzvGvn2JN3eQcRrejBhNQtzNmrEU8Lwt5KEoPl5JFOBjU9f8Va3nbhRawU1vSIHObGp+PotLAdg/xb09ct9/XImgLnmU382ScZHnBYy1OWYeUWP8hPILgksEeOSTHK5nNk6lIXyTNCgVcrZovONOJ+W2Nzv4hkQEezWfYy1aNoxfnLI1ReqfPtCBHXvefVjPI6IFQN9NUuHl8vHfXFkVw+f6OJ4MiiVMH3ukf12jYmun8uSvjIuIGwvFWdWj57HzgxLUhPH+Igfk4yUelCKqyQ4qIobKMOEW6LmMlUu/UbD9E1xUetnR94Fqrh2Qr3j6L8NOaa6tYg9XsnigxvKjbd4/86elwpXF8/5gPYW0ucEU5a+wxr+6FM5fNYqKszhZuepcDU4Aa7aXulC9ml/yWXEWvo/s1l1mcQWq4R+2xxn3N2GlKNo+Ra1HkdTizM835q+sNM/0qojOCfqtxkbfSI8mzgfzFHFoiByC7al5UBiz4ExzV00uzdBIKW8fkibxYXuzi4t3vZG0SQi3tLWTAK3elFvh+/zomWNvLBKIvUXssiLO+n+6+k7MTVNCBwM1RAVPrWeekkOLTFYXfmqkhSe6qYWOPtCo0GXGx5wpHiN795rR09toW7fOKgDSnGh2kKYwvvLnoFW8tb9fmlYf8mRev7VBYtZ7meJCwDnq375i/nlK4gjV/jQYrt32iJcw5cjZMmaDjbRi1+GRLcqWh/v2U3/igBTAjP80AnZeSypBiPJNW8jCpJWiDAyaCqFXhccHwUXphJLTI1dCIAwVMHlZd77ycSuG+d45i9+N/AXDzgTyUrYf1mZd1pm9vOK3xo4frbMv4a05uHB5/nmfRMHqqq3X+zmoK8FfCD8a/Cxb/W4uTiZF3ZZnYXfxq1TiceY0rze2Xa0YvvSrpLszR4sphxXF1zJp4SnzNzXRqjqLZuf9x54SzZa2QH8aDsBCkN7veFnS4Yi0tRbINfs8wrQAHvnRWm1Zk1URYxxtqS7G9MfL38MyxXd4qxl0jTnWDLVU2r9QRgRagDiOeUxoJiA11r3eLmsCz8CT4XrWcI9ylvqQuAVEQSugP5mYquSun4kch9JH7NFdFNhvOyjVjagLD9cwD7R5mBeIX75ek7QMS3aXXj1CZljr78BhwXroTzmOC5JdUWdJ6eSJdeB0YwXmVM+k9yJdPqE9YXMcqEWpTnwzw5MkolcB0t+vZkafpFO9HHXElcSWDIOfVbA89RXy2tHHOimYoSTAY4v19BegoNzCqPB2MfFtNFiXECITIAOgVyEoeSP4GY8OaUuWDSuiFpp5XhYs0rqjqSOUdCxlJh2EoyXF9QnjYhNyJbnh1nsLkAZcHqOFaCqnDQVo8N3UeBfyIBSEUj2YU6vUyk0HhQ/srreZR+oyVCRiurdsB1f9EIyZjKnQEnhdF4/8K4VGI/1BZn+AetVJv+QuWz3Q/q8ceLKEFU1HPt7+IlazvmUsmqGUnwV+/GBzVVIrXY6pwRIndeav03Vv8i0yWwJRtZaEu4Ed/PRMiqRcZo7OyP5g2quMUoWh76IUL6WjVvoDHro2vGkMSXqZQrnNbV2FCkKUwgQrpR0GiY3sjf+ZlEEPyMZuanyNuhjKNCcfcCcd61G/K4LX2A0VIakNkS8FfEQ26MoYz1duS4RYcs1RNnclWmPN2DeRuzscE2L/3JvTn/zDtdm4cKU5VI/9cPuM6fmmwpRSUU+Q6PYLllyWBlNvKv/eJFhOMeEeJI4Lwg70wTh+5DEM+WMv4cslOtYVqD22NKBwE5Ahscd1XHiYz313RUn5CLGt6znSv+4emmxjLRUZ4G5DoZwwyZF3p313XP2KQUXj/CQytgUKGmezgVDxxzNGR6XY8xI8WR9MBIh/exnc0DpREKy+pmw/5pq3FWMXt6LK7+KrMkqwW+6jjjkrnV3o0UCXSFC0/+gSfiGM6JYvFuiLbpDXQS57zHUZ6oa66bE2BCfg4LXh9do7HB37Uon2fdwZz0bY0ReFIIas1QQn7StZJEMwXuwNXZZSVDXlE5VGrRO25XF9S2eDB+FnIOSXEHE2a2DQ+iN7J85snZruNt6Hh/koYE12Nr6ZsTQ5o3LseXmr+0iKVdBUT624EzdoCOY5X5Yy7M/X+58FSt8dVcSm3HbruUGJR9oC0fls2EbI/2jVMI+CZfTftyLfCStu3A6zGCwy/lTTtS3av/pl1srpkQWawvPgC8uezUeL8b0k6BguETDtuL/3FwfjAo0ejwHdWAivo8cILxp0c3D5lF5iBYAeKc71Q+2F5EhYBPeOhIvawDFQNITQgQRL69JvHZlPWkoiK+H4Ifjv319/foFx9Qu+mx5mCzBtcPIZ2wqDOsXcYiQx+fAyVj8dCkHMeO3sVC5D5fz88bps5q00v1fSp5psFHko8jKqRXvZWdWuorr+aNRBHPXWIGNwr5cAxwrsl67TApL75RLKeB/9MBGSgoc1MyehZBCMFL9nEwQG5AVi9bpt3Z98NBgBJ/J26dRPDv/oLznDq3YdiwYJyQNHbuWvX2VKHxR/nvv8uaxOOotgIe23bcdL/Sk/uaoPY8Oz26VuJx00rzGg028rORzJq+upB8Pmu/IEGNpeb+Jf7QTyFTBlYgWyooB87oBz86gFZLZeE+eE+X8GGXEF8e1xTgFrt4LH/dcyMA55MTQhXubkTQGe6ngsw0uR4f87dgpHo2gdU8Nz0l8TkCM7V9opHId86OTIqNPVyE8QTMjmybiDuWhn1ViBwuK9kJs115W7VRNsraPIvp968ZL27b/zyRuCSbY3WlY/9Ym88uFNyUGrX4brFHbQw0k3O4pMZ1Zsd/Mcs1BW+L9vFVpCocgxG3NMTj5HkRU2nzqsfATaNuGNjkKZdM34lKXu9HE4HydbhItE1AoZYrT5SZjO46WhTAOaq+tpzXu31MvO/ldTrx8FbD9oOVSK75o6lFTFSbgMKT+4SFI2DaR+bxDw+5bL10Mu/ks4l0gpIXH6NVFCTekZygw6N9tZZ1/P3EMrqF/q9cAl0cOJ43Q8X4uwtqteu2MPpqcXVa6RtaoiJPufnqn39N1vyznQlE1kaMnJDg+QfBCLBd6Cu1h95LAagGQex852Uq+QCa0Z3Lt5t3V3APuM8y1cnXr8IZUhepEpOtMBEa3xikIziCYromx75qvOy7dIYt+5TUZqsWB9J9JwlWvx5nabh43uuqduxj32Tn1OWlQ/9ZNkXls+SGoGCy31ER8+Pka+87WH9fKSSNCdYbylYCs3hERiKZbv8hkhxJ0MkKMdXNgXzm9mF6w9JcGurwRsN+nbHHQTMZFo4z3Q2qTTvd34P/HAyWy2KCkUW59fWt71fuvF3N/zoXuZ32LDYQu1PeNRTIKnmlIZGZzr0eq16WIO1dYC2pFMFQU3ar4fVRBD+PpzTqGlPO/cs6X7+E9pslFFUd3BFvjASBWRiC9dsNCFoDh0SILDzq57659veV93d/xrg4jQLheLTAtz+29qYvE7t/Opsz9q33RUH6W3OTk7LFIrfa7Bp4XZowiFwsknjEQl77n2sG1mTWY9c9xH58evTvHBNYdixYHLP7qxFF1XZ7+Ooqf5SN3Krifp7MxIR7ApVPdKH7/+9rLne6xm6goR7CO9VcP/tOJHaTjYzIdJlEXzmaCdIcTKLP+adOkUJgMzYV3ZsP7PPmYiCdx1KDY6dHok9xMmRgQBUkU0HCgF5ZsUWYE0u4YIEm6oo4wTUe51+k6f1b3d69vAvF9CNR9nqHP4072Q/FaH1K89XrlkBjt7hDL+JHol6Zs9jbS4CWQf7djxGpGI8u0lMtEeKd1ppJ0P7e6ljR+z5TTXWKxyT1WwyfaMzz0s90IGP+59XTdgI550LoHJCxZRTez/dNfIohYicm//l5BUmVzfDSbeloeN12braDb5GiawqnstFWzww0PorundGEkpHbNCD4D/QExfQlZrBD+SVJVS8+FlSAmB9WmsDHgWV8QCM8HT3PHPs/fpCopy/Rcudpbl0e2Cs/oBIv32voMZWy+nfVARGyLozsDM9TNqmLp+An3Xpuq0LcgKQMiK7/HZvAlJSDWwxT9rmPK7s7Vq7oTKzn4xeYEEFZaB2nGeiTKaANRSnIaoWYM6Q5fzLiTzHoRl4pOkFQn/CJSq1cZ9TZHn/oENUzgfddNNyvZNsFH+VWXu/hcosRB+lC+z4Y+Oxv7JSMh8RsTtjEM01PvXzFQ9lmXxrbKv1GvmsOoeoxvssENGsjepxGvTBckO304ofUDMGhHsa7oq7Cs4ECS0XLliO5OQwiNOeK2oe1EiMIpAjrRDpbNrMchUbONNVaCJLjPR5RSA5jzFzCbGwmOIaphkzpRjkdyLT4u/yxVb2/Zb5GcUaDl3dw0xPq+qIhBIEIh372RpZZ4JB2jGaXl73n7VEVyOvRbmDK/1ic0aRWLCgXXsAP8i623LNXG70pQgVAP8S2Q83ZbcJci4zvg9SPxtHbA4IkRHRQ2MBoF2CZPVSGS4+FsJleDYmET2YHC1/RaQImil2h19mC8JjgrHhmtzWVqys0klI1cTKLGpqLyy/OR4zCrUFRw0tCywBrxEoFuTwAwCiQUwP8UVWaHctXdVqj/we1D5/GsUAaFQ2DtS4s7ckHVpuIzVVcsxHXPyzouoSe3Yrw5EQRFk4aRKv57Ez0ZrBVG4yjJjGeDTnbnTCCmGiTZ3HdlwOhvL9tiCMwzj4CYAxLzBMVeZuTKGGlVteR0RjercRluA3pIkz7Cnjnvi0eudNaNck3v0Y30GxjOfUIQPynrY0DCC2JqdcFwzRwxfp4+WZuuNluOZYzlvUWCCvd3QDtpfANTY0eQZIxyMHiCgLJ4Z9hFLBLXCrzL1RDcaaLilHax1mwkMcmnqXQNzSq4zbIqL7OYGCJwzJWl0hJd4y0BomQ+cTcGeApQ/50aKznS+WFKQGp7zk/dqkQR/xAI6XyHRdP3xfHQkt+VNk0F50nVyBp14BEW/wPnd9dagu2Wb/HdOZqQY29p5b+HmdEptcm1LGv4CfRpKFFkHz5omKv9mp8KMCLLyX8SFicKOEgAha5PfbXGueE9/f0JxFDsnir7qORQeymIJHd5Mdax2Knz7Fd7zP3xL2uVWtVP3I4oDo9ECyikpOAv5cVMgUMcuQFxjQyMYSJINUocfkUA2x6pZlFOnlJSkWNn215+eTt81ifbAYyxUAw4Ci0/YsAuFCmpJHmjo/91V7Ay8p0BjXdUAb4/JOq3mbpnnvMJR8hL3EmtWjkoy0WKsqA66/tBnKqWm7OBj3amYb8JWicAV0XzVRoOR1qHb+vkFn3paPdZRRG6yvHuTC2p38ShlKGvB0qI5vgrnZOq4gEmcn2Ps3FROTX3iV1aHrLGY/eQS7qZnf3p0ReySGvulPVY5dAVopGil6k+O9f8du8v7v3mNOm+73RCQqJ8fSgGsfyBw4WMhv6G6NenRZOxoFAfSF6UHfHcI9+QKk96jWgt80oDBFyv12LhLYkLMa+4eSbarQkY6E5E5iR0FE/MDAeYHEH8I7m8dDREZUJNZc7HazODE6mKnwaNNwm8lI/Fkq7HY3FxtUC20gP2LpzDDhfvU21SJtN6FQ1qKe90yz37cKieA+/nRWbNGik5UqooikS1pPy2s5vmMv3RNuTcdsywbiJ18QYqk1FUEFoDNPqnAjwW/iFRBelw7otvCjBa1AMduxiCwYUXZE7H2yiY7EGPGfMotSFHXyrHPCQIkA3LnZk+ei8MUb7h+QGK14bqQspq6vobrkxYRxE/Y+JWREeK2fB096WRjxHeY+6v7ntr3k9cP+p4p5uZjQguIiysgQNoUSGjy5HYRUSOL4H/N009S8Znd9VOhgsrBEuqInLuRjiM6nGEXjL60ri3os7jfWuXUYjfvIrAOglUMzRQqLz+7zXQKYzN74EvoW+JIBAjx0b2wwe74ikIgAjNMqFIZHuiKLwwEWBQd0hHFdz9sNKr9ygIoyLRqwD3W3ep/eoCbAQQD6fL9LhykDf+UY+6wkd6yFsP/RkvojwFYEo/enf4fgwFkUazxzm7O1qSv1LHN94DRfcmUvQu2kSb6UhkEbdBAG91K4AwQNKAJGo9rTU2zZStf2ddMrFZxWMgZzFu1zseYQwCEDm5/QkxMEqdj0Wc5MqDgTCbzVdFnVyYBm2ssdn3W7ZP5N2dPKrRZzO2rHtl2XQ4zYfyrwkCusuJWBYpcrr22L5TJufPstp1caXXecCGRsRiO6PAHYknAcCJglOdSA6qtzfKxN6Byh0RoTcdfshtaVN5qg8Gq8cA+MeKWjZHnj/LXTrTG4PGNnJO8xKlV7d3mXhFfXqouxwADL3s59OCKhHJKXXEsSvx56TJ9wFFAdRkJoKGul4Y/D4lA1mgOSH2h65sX8idM08VNXAexlFIsVuencojD4baZzhaYxR38vLMA3VpDeISS1HwXrVSJ/aCgtOZEMLayyoWB3UVUiB+nHkbyXsQy5klXhDdtS+Sqh136i4PdU0mrricmAR86vczJnAKpG/kQQqenQlTIVB0GOs+pJ8PpWgFnxpLxuhwOWj44at0uPvUxLLMqF9A248kiLrDE0zpDCmN2GZ46VUwYHuFWGO+nqWNtRLzf4BnD24NTQIqJrTZZdx7C039H30h35Hol1jiSdof2j/5f33lyOaR1wtrgMLaVBy3ZvQpPj9qOiW4k+7mNCpsn1plnG7EfxXlbh3jInDVZv4mW3x/x/cNJkil8C7jRuEGbKZv8tTtvlNA8chARtzyyCQS4s7sRIFV79P439O07ge3TdzIrDmiMfm2R6ZwYk/XN5FIS0I7R5LVO5ueRtkD8O7NHMoN3iHIzkk0HuJhT4l5r4+H5pka+O5IZlN3fRJzYcUbYxzJ/6RL76fd7zAjgqBQJZJMFFaGtpAVARnYHREB/nEzUy4cdFbO9nm29nC7Nx/XPvNOUL28AsthYbYdJPNCTrut/mnIqkY3W2boxLYAbKTGO4BLw1nZ10ofH4WsnCak/8z2FXEVTv9eVDN4rOt0eQ8zNJt86iqn5rSx5zZJQbg2keHqAe7aSaKX8a9yiuZpI2kLLnZ662v1OVA5LBgrRytX4cRuOG9qbBxhFyG2Faayw7xKJ/SQERJgzOuO8MW8mgi30DjSPwS4+OaY7BMnPjaSBCyYPT8dGRXnJCSVHPCZ16uWqR6vsBVkW530iF/ky173t6NpJk4qKzOmONgcDblDFlWpf/Mv8QhdDbrtZL1zSnhfiS4hwhYe0gqQf/wxw8sgzQZz+5Uyv+s+PnwEUvhCaC6i5yHdB0yhQAgUpMJDCWiRkr6I6Edp0LifxybyKWXGWrvg6bi5TD5MKjgKDLDv8IEpEZrf1APd/s+sQrK/VLa6Wrio1Xu6v3sUGJTkfzC0u6X5veG4wYbuEYLj79toVUuQzs1N+Ei7rVwrSTBMBg9Yw7ttLvx40ZAQrJX8S4imuT6Xsbk82QYfchjbjiMFks1P0ygYqg0C6wqHM/xmtz4KtMIRF2cB9TKVpGrGr+TJq9JX/8y6E9n01GqVp9X4aPONtCztjajp/2usvx8sGP/lCSBYXJgSdhWAS4kRmBSsslNXvvgg0pYrRfXPSk8DFzF7tuYkgHVL6E1QPKn7Oxsiv48EZ1MYD9+oyaKe4KE3w/1hYHHTUiKV/d51UKy/s+AyGbIa1AsGkx8ncj16QIgdgYxThHaDBvtGwG8AUQTOLUpVX7WDQOVUvCbmnrFZszr2xgryIIEe7V5W4OCRQ9btRnOMInLCTLqq7oWrkvzq3Xtm3Ueghle5K8717NoaHcr+bw6jXb1ZyWA6UTDH/LZjCmzpm1qFHt1eVhSBbJhObPXnzkYuA4vR58nHLzRnnmvFys5/pxGgSbhCOnb4ji4VRdLk0rFOAKRRUJ1qeilYdw/lL92J1G4hVUkJcxtOqnUzdw3KZLs6LLxlswJsHr2bX7C4jKa1/QvZ8WJ464/riSRCjb3XYgECBXpposVids+rmKDbIqZe4O6Hryqf/L+5fFzRytUXifLW+M1JHNyCTgsSxB82QHms3kNwR4xza9o19KWhZ/09BdifoQrn4nHJ/djs1Yz6UYr8BCfrvalMVmxc6zDu3ZVlFLgMNO+TV9i1Uw16nCI2+mkJeoTAThwy/ntmc8cGostvvtMxTOXr4kevcsRbDcW6FVOel18BFTRCjAMonPrsZmrOUvdlvc0IsF2/o5mzdBzg55AFfJ552TxolJG+psKwAcFE2Go1Q2gUY/gUObcKyg+q5Dgui8eJQaBUFc9QvLYbe/NUetkv/n9TPvBJVR4j8Q61c7r8jpz87I7XQmvPHW1iis3CHTPOBzkDXmsgngz7BzF0tNIzZsl7eVrSDwSzJ16J4AnAscIsXpVJpnQnhmZnPVLAWp4Iu5dOkuBpz9nx+Kofr/RoawpgCn2PnVrNN0b9mUVoEqKx1pgaFri18C/gKdtpY/OtK9cOzu3M5Qdp/QfHbSYMNwuCZOmZEvvB92R1Jh5W1a8qEX8IP3qMS6NjTD2h1pmdKc772v1rU5mJ+MuGSwXnFbYT05WUXkEZqipcd6mLrTujTv/vw3cTw0CQUDzYLD9zBlcoe+5S4z/rkipp9ZVpNH4QNnzeIqQ/FlY3MJT7J51rvEFcR8fQMEJy3yWeVBVo6+VPO8UWFZMz6KOPLnhiRRNR8woRF0rU+hMjLx4I1Phg8xQmohOgFWlqblYvudL5ObH1FEyF/lhswVcXai6aBslroozDWQA6ePy1jadcDoEQU1CkkSSa4/r25B8HdYrU4zf5erBqaMlvp2o8I3a33aGoV7nMgCiwJKVhbI03dLH++RvtAeh0ZzniJbYjBk7dcsFFLDYUrD4O8L7t2pSlT24+iSGOnvhgEEZnXdfQXj1xYj1uErSIyZ1ge/uxcAZyEvC+5gWAbifpvQ9aVfGAfwwbONsmKtN3AOEcIMvyWyRxOAVtu331cX7M9Munt6xcCt1eHbU9S/Eon1x48BIwtIJ8wZJ5/T0vmz8zscCznw4qA2zc2hAQOLS27hzvv246eOz6eiTQjgzkskhG01l38D/BjUZSqqFxpHjEOgeeie/mWLGEDFxbmO489H+EyKSpPc7u+RPWtzodynUImAo7990fvhfvLOGAwqFhB1pKEz5auMEBXKb/8x2SdoL850zyd9oRmvipTR0hv5xbCv9+sshhzMSXEwa9lT2Pn51Qudh8NqkRHCsOiYB2es5aYRJ/h0rKJaveHfKK++BVHnM0WP05mJgrHB/t4XJHhxFoyNqIPfEqrdgNK+ht9E29O5jg8CT75tvT1+n3Ylp7LDps41mglKXfdQNKTWBwPqmyQ+SHTjE3pv66ujCNE9W/DuJayPjHPEfInmU4D5MJQBd88O8ATISE/Ja4X3MmIgLXnpX7Bf+OOTDmBXiJqfwbp6Frhi0HosPnwbgLndWLH6px1gVzjwP1PA9cFcMCBuOho0lp7VoI7hMBkoXbSBZPrZ3xMJn4O0YRdytI6gpimIyr1Kzx5PY0xyBTK9KmYfqiEVuJq08H8cr3rj7f9ACcg4em1qfluzYePLrKmWD/N/OFDL2pU5yQydBgigoFgAet2GoM/xvnBdTcziXi2jVPcgkkLdJoBiaXa9dH5XcM/3OJxJpWiPPhXrokAWrZchWX7EQdX3vHnb3ShX9Ufw7/3QjjviULu8PwgrtImO2oO+qFYEy9ifJ35bq6bDZxPAtlopoAE0uahVirsfgEMjDfHMBFsQK2lxu4Wbwx60K5KCiz056LRjXEkaQTC6pwv25YtxM8oKy5QvMR9xnrewOXtBD/LO/WUkdhEaCWVJ43o5KEzgYzS+3re6O+5UjEQwnZ2KcXxqP2ORGMwZAAc1n//MdpC2NCY1bWrP2wwX2tWQ6Te1WAkgmDvziyIk+oUb3hrLjoeatV0f6xf5UV77y72ER2T7Dvd/P08yNwi+aHB1Nf2n85GGBbybHYiSJEeKtkRsf7hreXyAzAKQ4MPDLjMbp/aSn6xvPefUNexVMQMavSuLiZZALaRlNmXNmKVWJnwWZtK0BdDvrmlV2Kxq6BflFV19rvg3S0MNRg+sWJZRNRL/6GRSaVdhwukqxRn3s6+YXUwGBeAh81itQtcl1noThB9yZKzzB8IC2XPgcdU6C0od6VrgPKhuF6jA4OBkuz32otrQ2D4m6/QX7I2BnjuiE1qJk8WM24iVGJ6kZw+svheXyk5eosuZO1HGgD6ikjBPc0AQ8uv3lUFpdlWm7+r0OnW8JtzFJBYDK72pWQGRJGbXTillwrk8Xu0bbAuwYz8hVs3cmrVB3Wtx+Gau+fgDJxcQ6dimsbh6yT4/TkGs5h8x91YywNAU2Yni9kN4HVvTlaoWTIpZf5EoDkm4vLD/Nzvdde1hwMcuwkb/8lkzCr2UJvPNLpTXwGm7pI5nSzoiFa4+Ur1NzRkwB0ZGvrjjTPBwUjOtyS7goErhHY4YSJDvvREqd4ZwO5b5h76Te9iSpe8W3R4OLYSN0Q0gDN3a5zXDu614ddYe4eqspzmFuDEwg+b1xn2ONh3m8yUEOwBCbaGNrwqAeth7q88frMkCuJQggDQt2l0Qs6ocX1gEBwhv6uEa2WIi/uARaUTWh3ftDOdXHYc7Fd17gkA9/ogUmS3i8hl+Rgx0ThhmNTNKh62PntqAUSWrI12j7CcKSVqnWNz9R+/RZKWs46Rxcv4DjXGVUMHMc21A1joc/noHQCXw+bdrrjhxwCaXmZFQVrJizsgcuXw/vKdTrVf011tvqJkrWYkLys0+22vbrM7Z8WO+hRCkgpLCFeWpgZo7Dw2iOqVTPjAhZqleOYM6lzMZUl5ModedTezGly96xXTHXTw2ZH9RGB7jO48JOBGqG0tmvQCuyG7oiwOUp9r1dvvud8rE2q6BvWq+EcGi94ogk4gO6M2tiOh3UoC1CGYc20Mu1EJytPxGCFr7yuoyg8KnrEqQAybNyUd5EBqpu7n93Hv5IZYXwAA/G71eHDLixB22+8auCXuiYwt9QBgD8y+Aeh8y4R7y4nN/qz+11USSsXcVZeu7SaMZT9qkeXCxbRt6Gt3RiYjRG6iWd+Zy4o5Fb5fA46oTZUF2JdmxhTYil21eJzSKy6TF5+05CQ1+J/NYwk3ZvTbSiZ5jXU4lKwMGJ1GHir2u22Orw1s+q1zXCH2hMFgzW6/eEcuhKnEaQoqQvIKgVT+5NSQ9EAzWKXh88b+ABhTW07BS+QvbhyeqOgUNkZTZ1ksWA+OvjubI0Ksk7z6YEh8aImYBjldT6Z9T1cS6k/1e7n+2ijzuUMIEkEjUfePYihGPcS3VCfeUNh1clnbQmHaR+GWPdCup4WD3vFt9gg4mIG6ZAG5R81K5cPMsS1tVkdbOJzIdt/pw906OXdZ66ZvMuCXj1hOzYqSwFl75y4ZIRT6qmVe7NblTxsazdxitZZr34zRYFIQVdZB3eXYmFENawSTe0RJxtYdUCML8oqYbi+jROEnJ1IOV/FrLjSkGxz2J05WH6eoXJq+7tob0FdYDNY3ATkC57Rqv5/2JUWbjAUygR/xRLYRtyKX+ex9YsFmFu7JA0neRx+oyjYtE+v98Had7QNZPGIiP2gyS5Fj5v8x+9VSpRd1rXsLpJt6xKii14PbhA2Uf6ZrRgpNqUC+TFSzW125iyepL9yHtROmSYFBTIGZcMs5LBErHC4t9RVp39JHsmf6YOvSuynuXA0M8YJodJC5IvnTHYtdvQiPKQZ/Rbh5DwS+OoIH0qONrlbEJksu1V4x/VaHok5unZ5pzB8r+C7E/x8WxRYVh2ArSnKcZuEXAVIX12UUD3aLz74EvG5ewXVCQ3I4sIdDgUJXwFsCeY35m9A2PVkKf+4er5g90IYPobtd3TL/BFvXhEJMS/rwL5NrEW5ey6Tlg7IPU/jvLG3yoq4V4QA6bjKBG2H83dPu95yIJWqUmyQBq8c4ZggBqgbcmn9J4c2qW/xX3jSGyIVIS0eA3wlK3XOHh9Kb95YSj8XcmPivcfm6cdKpAkdNC1ybzD9GrRdKKCuOmdRIjdkJGUvxrJkDwz9k9Aa+TEXqwPvNDINr9OT+JP/4BtMUj4rXrBOttJaPplKkg1BKlN5iUM9StYLO9Tv/dG7SYb6/3+IP6vhM0f6aqvMB6+REPWk5RPMzCg7UJpATI09HIWUHIHXsKkqycUnOLv3rUJ/hlerEXiJqqutvPGcPNyMlH0UNuLAWGEOFjSdWXx98JbTmfs2ma3lUpRkd1xAGZmgi6ZVsLIVoe7j+32TrBwq7s6Fz49XMRL0GkZ5IitKia/qjf71zVqY0HkKnB2wWPE33JDFzzDubfaP5MH+ndAl5pHLZeoBQkMS89UojO6mTpWX/+hpBZ/y8qmOPeEKqs9oSgpcmadMy27pwmaDwTds+yAgNzJ9FZXP1IFo+mGqL4yhYr5ySVyuxuFCIOIMnGLB6oD5xPvtWyinoh7n6WKgy4gSD7C8oDPUR7E9MKGqLmpjy679d2n2+A188wkHBj50onkMwkh4KV+9BRERt48P/AilZt26vjLgfyFlfGEeX4LWR5gPqHh5N9QBtSMqMrJJwSqepVglTa8C7LkSl5iOjJBMuTGGKRzXc0uAZQuXv5nhMa8F/vLmsTAlIQudwDeFUJMnkdYjsehc6c0v1qZQEigADVqQl1n0V5By0zv2pqytAxk6CP1FjWQHY1Zf8vxKeg54VEYxFJM26zKap+tF4CA+g1xqTC0nGWUzJkWRj2uw+BzboShWayklsfxPBSO1eZWygep+D3jp0rZFG0yow2QhLyyVTthEwl4YDuM7bV5rYHo+ywVxNFHnzFxJW8BctS+be9sA0vGkBAfHyZ/XaI9nWXfoDPNpc5ELCZxMCW40Y8CQME3zz6WA4ul3mYnjowTpIydYw9nQNHbv8+TuCXQ910q09XXwvGuFaHM8NXYd0JcOWCALP/OBbwPY4U0g/d+24bvT0EPUMaukWkTbTkPXQNMJ0hcUImruUfJ43H+H8vyys8mFICiywTOfSdtCdFQvl7H8uIgMkrGd3zY3vFUxFG4WAI+BtYuvJYtcQbQpbVaGYJU8yBllWtwsjAnxH6cispt2n5z3ULNtnKmg16Nu0EXMf2RzKUzSnQEFcikRhkLrioUblEFvNmlUfYLoQlbZldKsd+7Fjq7HxyLDOAB+1KwPUb1puzeO5bkxe0K7GyQyOO18W3/TklsdGCdc2QNALlqcWy6HlPgVPpVWtcbkjOYvXwnOPt7quM2QOJZAqjL+7Fq5iBy9Vdes1UguR21q8Yjhe95DT8Z3qeimtsx48A+JZohcGlf5S4p1M9ZUZC4wxSGNbgrfHOkmDPjaYa2zrg+YSkf9HgvEjUtaQpWDgGtiVC2/SfmO1DiWGz0KS90I/7yM6TnrcofG5FybNiK74jgWpGZ+oo6c9IqYspeOQi3Nw71RW3kIgs1AAZX2nbbITEhbHHxcrqBPyL+pSZVljOvjvzQsr4RCm3xZkzq4mA6trmrEezNHUD2Lk7NTOXv00lOujZmIAZ72H/jWNXNmolItuiO+lGnjfFzeD1wnnn3YOj8cBovwiwX6If7A4KsZHqRdCodN3CKisTxbeR4DQcMmo2YACmhWmpHB6Hy+CRrJ2oQJkyPUchHgLzsKss4LFKGhWzWKnj0ggOBIsfHT5KJkKFLa0ZP5uPSap1BHwfx+WV3rbFpwbPq2cDKCMj5kAdLBeadCs0ErZqd9oDfZrwGKRgmiUSJ4zoLyrvL3eU/GvfUCvApajdDMNfYilAmYmrW+tLM8YNl8Es0vWrs93ekIBtWI8ms7F3NZwnz+Q3kIkH2cm0rBIpeaM4wZg9QP8fcvwGCYQaFd9mkPqu3Lr4paWnomWpMwflScu1AMGUbN60Py1jI1hwMNtcuLjRtpj65O+qP7XPJ7VZlKqXLwMLTLMf5uOsnHh67JvUb4Wj1wruqZo2CJ2Yp0YbCsklXFJaOtFPF94zmrlVHxMmXAk++R9LmpO9UL49YhdhNo1ZXSoCs9ettrSQQsW2M89xcTv1bWuibAu2OJat9s45/5sYZtBqWtEMKTX4QYzFHY4Xxw+vmRcY9mOsOMDFNwyRAljBpL35b7inGSbywFousymnj0l6UoKwZf9WhJXZuzaYd8TcwW7EGF9dnlb0SCLKSSnGjEj12NgCtpqP3QR/9kCvOCILgEnI26jCqrFOUaEQEXAt/jLgKiGCy87Hea9tbC+bYyGDsimbzoGXw0U+LgEX2atiYmJUSRdnUIqGHYzc5oTXQgm91f7bnyqmuVWUFxazyWElA2X2haHlhAfEALebiJ/qFbTqan4DYXVpeb+bI9+YHFpbiQ5pIcvyd+elJ4FBH02AAtWCKJMBBaeoA6QUveZ9QRiHCSa+WjT+nk+8zVC+ziHBPeCziXH5o7YPh3vjd3Cf3luU7lmIfzE6lyzZo4qfPWQjvuyy2HQTFWbAxBg9F0fN9ktyBPiaV0zN5H7WE5+C5iolRdMumrGLswLuQe7viouBnL8ys3voLf1np2WLzZlSg1uuvUnIvClmkyUSkP9RmWyTk9TM/0v+PjfGngOD/RLG1mZ5IEJlaiA6VORL4QCxExivqWR9dr6dei957N1LnCQnI5+/K2FpBf2CQ4D34bO04Au42miPXCz78q5bPwGuq4sfeVsPkj5TN0U0wdN9zuXWxV5ptbCjPN7M1xIjQn5Z6NNDwutS3xQ94CPOdl5Gl0YfjCR+U368hCGbpSSSIBdRcJetW2FeuIKHMMnk3h5me6GpPTKCykiDfsAlO7RSmRDpNkKtYSwZHXuucjxiv8aVicrZQTbYLgJyDeoozmO/DCPG0eADKbdcSumTSrBoQDCeryPJQia4k6aBbe0gIVkcJHgrQudgyuRFUPCnuB0a8lnLVsXwzgLZuE3oGi++CIbMaYa7SQYpXaBwpISNdqZQfvy0BuFM3mQsX7G+GLLn9Md/BtJMLP809LqIdbwiSZnwbFXN9X8YdzarJEKmQY8AXcrc7t78nbsLd7TcUToZUAqOPNLtdZZDhIMeBFIou6IihMMP5tKvd2hWq8Pf204lyQqbL5wx4aWw7iYYbRzNfZK8EYyz0o7K4cR3PVFxXxPFa6P6kagp3xS4Hp+0i/KvCr52KVrb685zGgm2gG8V/FCBBnug+ke4alPpus8MWuvxy6gvOqeaNKAT0JA45INjTxHaRTkG0FsaTNJeCDzoJhhcQf5VaM05pyvrXbWiKNH55qI0KbzGvUXOGuA8XArHYHhAO927Gv6aSTsNyhOGcZlE1xrwas3lwcDvgUPBk0UdFG+0otsu8n0cpyR/CSqv6X49BhtO4tePZ/9sa4jV86TYO4eMUcROjxPxVqS6jZ38bU40Tqz604ejpv7v/N8Suou53ntiazIQ4pEFiKMuFCaFEEbfIQHwvtmeti//WLrtPipi40M9na9Mh43fVjxkEMt5OSuISm1dPCkO6MBBsdQLCXJtES5SvFMpR8a+Y6CS45RzwKUXA0+kNHaA8F6lVcKCltjLq1sdl4emRoEnxoTUjwaXhTIdE5FdLMJDUwi5nbYS39YF1mo7QJ1EwTYvZP74zMJ/XrFkxb8CK3v4gZbY5eju7roc5+fkgu7KmTON7s7T6r/I2u1q4vrh+xlKwf8FSE4IhH+Zy/I0nCcvJ4ogAbPOVnzwmwFRViLEBzpc40+ipiWYyVqT+kYD2gdxvRkqiFmyM5UoFyi4WLSY49gbZNShxEYAD4Gk6Vi26Z/SRMQrUppiWKMgV1hxtHmLgqkWGdxPdwZXdoS1w2K95MwlH77VFPEw9yo0VHTpc2k3P02KGpWiL03+UC0c9RFQm5eQKc6kRNWpHUyBQL4MDqP1b/z2yvTtS/kXd9qt3gMyl9XfL25XQUXiN/dmpQnSG4SKbag1Ntt2zMeN79MFdQ34QYTdsNGwYsbt668A8YfcCXczVTdba1eprlsL1eqqTxGpkIC9FLnhRKW10JRfowjUiu318K3Vl47IbEgeyWzxWxtud3rFLSAR5gkF1qxliizQ4nQkZQet9DeE337etjvzRHAqByAsg0RMJk9alrNjQEUhKAmC+XwIXgQntZZOkbZrPugvvN+jqpQqGwSTRgYFfRxqIPtHu7dZcS5mXjeykf68O2cXqXCENwki5DXieq5tpyebuaqZs08ghi0kMRu5S0coGK+Rz+/oxUluGnEynul+WNJQ+OzrsT6AiAH1h2JMlEfEb9cTDSF+lPrMUF3lHN7gbBlhXpwmUeIIuOqpeEBUE1evojrpsRV55KywNkVhLNsRDkZTnPDj9CXdzuYQIpVkrd16abRh2M0q7VP91OEvgVP7mm7PgNm6ebWl7PxM5H74AHa8a4cyQMBeW3VaE5oBiX/tzo7Jq9rkXopIINF+C888yzZVKMzBXq8MtS8Fo0rYrxUj1259z9KVBcHj+K91v6xWAS3v3ZTJmQn/KETF9fEq4wSgX1NsEN+Vm25o23Q/1H3sOHj1FqWsFGte7QhulciCTRX6Rs2ioI5JCoBpELxigVSK5hRCe3W6JbxAfF3G99Vx4eAefTf+z17cj2lfMWj3CGymmonuko+2hfJZ0XidgRq0T+DTo4iWYfLcGhHjq4x1ct7nE2/b095/wgVltwmFxD9N+WtSFkMlnoktgfcGpBHht/Pb4fYp4KRvbggzVElMHurV9n1icse8iG1DOfSaiklH+AWKYlvrg3+gGywAuF+MhO/oakYMIKPa/ZalQLIuxbyv5sccQvMR+L56hdOefasj6mmNMcWXIcldxKAjC8w0BUzniEBayNLA6kxfjui4P9jTGhG7rXP2rmg2pIZj5quW5G4WlQa8yYEIGP01s7O/WoYIKKNFQL7hYCjY1eu6ixnVJJgS09tGBvzuzpT/7eFoAddrYSyDIpOhJ5pgaMbTk8iGSyoMvejRBGTV6pW6PMz90hzYz0JhKaZ4iHNPksM99IsbjRGnZGAmNJ/IhuGAPqtuStrHUa09UadUqEtz7P8UkzDIxZfwQHasuMXzNgWraEcGtpnB9qBsJafI4YUlrCwrbT0UjplGdeL9ov0mkuCtidhk45KqtNAiHOMeKIsb4Wq7GnjqPHK1BfQn8zN1g8H+ga68KexK2rv4GcKSWJlZWiD+zvPfbCDpXox3d6QtUqITyV4gXwDdNYe95US4lVF6yg8y1pJKRKfc2Aw5S3yrvHoxHqEBYttFf/nOXZvClMAG7llpu6Mpr5jcXXfFmtsD8Z/J2TAZ52AA/Zot8YVwJTuB0z0Y+k3P0898ZpSWxJv9iPsEl8647kwXW3oqQDrQcASZBLVbp066wNhAtGpoh9tRZ65sgCu/EBr0jnZ4+X8typA0hqrC/k8j9skIBu8jtzRDYafEIvo8Fqko3hCpXxVfXllVjJe8pPRdi/7ewDnNpOpzcLI4rWczWr4VWpDEfN+se5/7ZEIp3t3rCA4FwA4Rk0nwpER1LlfX9BdnL0v2D9eGgB1i2TlV8W4I7b/0jfW9MWSnU+2FKij4nHVtFJfIhDLrq+M+W/owBbGLVpbrPkT5JtuOIYocHxYDgpj9D+0i+Klhtfj//59ag+3tA/vVIQ8IlSHU6mtqL5c4yn+zvccap+mRY1BENWsHT63BP8oAyXz6za3e6/CnYs4kbFEn2B2RexxFDcy71+qhZUNY4u7RQnlMJEDjI7u9RrzC1nQFbFSh1pe0ZfLw/WlDT2g/g9qSwQDe/Q0E0B9JtgIJrggFN2xrXzbjySzZvhWqa+2yE+iPqe4J22H/UeRuCE8/ipKdzTXoaIboAU2c30R9KspsykpetLmKM4XZ/KwR4aps6TcthQ5SbNCVpNNZaV7bzOlxFL5v3auUIAMr2omFZYLgX8vV7FqcXpl1lam8J8EOuxWn44sxjV0V10hWu3vPB3UL6dH8AiBLZY8mrtDMdtzm6u+f7ISNKhhW4OtsV1B1xoWG6t1T2BhoAZjMzuQqEmYM/qlJQrtUStrvFvZwVB4E5x4KORKGScEgxrTJ/yu1Il4mKUzdsG83QVCBTzF9TXnnqhC9r3zJJBsuc0u/m46SpMOiV97prkcfJ6tyHMtb4h1so+Zx6BrRP+vTaIgyJqOz6qwJcr4sXTBNu+hv/UAiWeJEir8xArCG3dDAgKMy66rUD0GCUk7CYTeSd7ADCwUBR2swgLriaGuLZLKR/H1XZacFfIan9aS0E8yw7lSOf7UjXD78Cui7OxOKML2XiYKwimbIfCXq/9xp3vpjQ6kz7qEFrneHDq7J4SjNYaY250/fFY0mBB3+fOw8RnK7s9ZXO4sDoRVU0rpxETynrILG2+izudhuffvAfCDekbnXheuuuMsliRsMyui7BBcSS7NNk7AAAiVjIDhqVkihT1XVvFWgPJztH3UJmYSbqMIMkMOku2Z1v6+K8YziylNe9qQretL/s020Jk5iyYz8GYxttFA8D9IwGuY5sBc3yEc1Z0ZbDNy7foZ0E7AepYFXJH0G8iJNwG/O/bQb3KhvA/0+2GOozls4Yen+HZieuC2OiDanZEChhf4/WvSLQevaBvZjlUmA/10PbF0lUPGRuYZDaFfGwFRGF2uMzU9YvjFWcVd+1qkocg+jFQesj8uFjdRULTGFy0RXo5aedPPDATAKpUJjHAF/LyCsluueL9sBL5G1T1HWjHczggsAqsQo0MrccHPK0ZcQNDaYGGsvhIXxJVVVo5eAQZElLl6V2NXrQBgW0LTuoqdVxUwFAGu6ggb+pjJIR31bP9d11+0J5YlMGHBblIYruCKuHlTqvtrrXXqaiUi5y2glwwSgMxBWEID1PhHgeBObF/zam4cZYysEfHxL7RL7vwnjdFV07pXl+yaPAoo3MpOe/FlBQUW/HTczB5BK9+TlUcVe0A6wf3K5wAQGwATJWa0TiYvjkV+tK020kG9EWtNtuH8FHzHC4FxTVsDdfAbukgHT2uN2nii7i+YmSXQxLvPlHQsuMo9m6Bi/etbG4CRdlQhu7ePmbO/WKTzG1PdTjN244xsmd8zPJue3M7pc+j8TpMTku1lEBzV0xhUuFwVdBDm1K3lrw+Ca0F76MiXhbPB+bDJyVDnBa9smgryVpVLcEyYzjMwyrozxXUXwiuTIPtJZyo2cc2++RMjsSD6erryr8avVV3+fK8Y7zkNLwv4X1KHbHgTYQVwCQdIE8/dS/oaFqQtNgl4IECGJnj7tsYJ7maWYS/OyvTWzSzPcsFJWin/49OQj8nB98rqRAQhlLZj/6rvJCCbsM1WpWZVL0Cida/CxHO9OfoYhLCvSZMEgsF1f6JpiKmWLQV3YkoBnTiVosc6jVY00uP3YeDZPFbAEbaV8vvcT9TQ2HhSm97Lgon1MAYCAmOAVxxJIswbrhq6cc8QJT+fpM43IviXK+fEzndl9Ax92VfoYMXNSBY25jPMJ+Yxwf4TA/RP1eSva+lN/g0EDfLpa+62VkDqcvaFM8AtvI5GFmpPgK6gpWcMBipzp5+0t75pgyE3VX0qGXkbnVj3pobXMZQ6ULfyVrXFXN3DufDnc6mp0b6NWsLMBDFISR7jZgydulYzzAsNqA6QTHm+wXoCiiXCMNeVlw6l989erysnsFC/HthviC/bw8vuF83r+MuZmzFh8aWTR5fNF4U07/waM8zMO1gFRS3RypdM0NOOsEeNjtQik+69D7O5FgCAajUlauiGstbNy9Vb0S5k9pQcuHqgsc0F/fH9w7BVtWY5VvCyLTo8qUvvfV5lRzZDMysivh0AufDGwFO6E8LU3Dmob8mnTM8hL5jdFJSNJc01O3TEjso5PQhXxIgn0nmtILMIPjhGW3QhYjP6Hc0RqfDW1ZBqKyd8Xle7rOFzl/T/AsfevSA+4WBCmaQOAzwvt235Nc3bpWKuXvWyy05B7SzeqOs/lPeCesGwXMQXtvl64Ha9F42K3imejZlsvAOeatrGYh+dUecYJOpI4pzuAeC014CQV4nr42+D17nqNvYlYVp8cYIsjUE1PhfTkOcRy9j29jBq7wum2PO4N5SkmAPAxEgmxkBswacJ0ypYO69t8QXiXgy5ksI+puptiGCE/kzx5S9FT5eQJAnYwQ86qTSHEmnP7qb7eSEdiZH47Wx3QZmO6vsdCV3/c3yO+qAJdcslqjcTRHsz4LJOg0bbD2OASOqsMk4KB+D0/4C10W6T1eWvY29NZ39u6A3JTB1OZX8qIZifOfKualuDK9HVAecxLGnJx0DIVWGKTH9KNeFu6+wBLq9WKOlfSUHzH4TP61H4tiW+6LKGPbNjnvO0t6d3myU2ueKcBQlKW8b+rXfoJHFjOEqRsEn3UHuwVyzgZH/gUVFsUioxiDVJSwPuKCDG1GSC0317tPYJf0hi8u6U1ARNUS3ucpwDfmOxfjRyIGVwDzsLdJZMLp7kNajkY11nkwE78THRkYWrDTaXbX8MNKpN11GSKDOD3Vp1zotSL5Ulyirc7yOAav9LZ6gGpWlFAQq42RGvzGib9BBuU7Cl38wPDjD4Dzdlbjd9eDs/3jkIpwUZ/57gK+R5Fn2HQ8JqaBS2NykyaQXJey5YuS+TB011mrql2zOLXuEYYaXBdfayDsnogVU5gCiVEoflObdiKkVIqjRZSKnPbqNDNpFPmqkzwpkOsqRAa+YkjhU3FG+Ev7paUkz4ZCXLFNgX5qtXFf16rarZRZjHslkNscvrBm//WqufR3Fj8lBRLJTxnHr2fCTG6E7T/gGQ8uPlBEVnFlUbb1QcyojfMExoNZPvVnJUu+EVEXRVFoT0hh3/VDZrFuujUdQdsVY7vjxQCRort9P6LAHk9P9VH6citdzB1uoLt4f0fW8A8glzDKPpz1U7Vl4JPU3eoIEdcKTqVvfbqj0sHn24gX9Xc3gPTF2Gau0H5xXJPXGdlhFeMVyqLPRwyH6OOfQIrxV8U4MsqayBo8EQrshPzlwzTa0Jl0SHqiJqjQU6/vv6nBlhWLE8EAlI5atnqpIcBPS9JL5dqykw0L33Mcqy8II/QmPn0rz80gtYc99R/pH8iS0BHMWMa2V3dIglLBjDTv3/UZitq4xbMt7Q7I+j2eCpSZgnLeefoL+YIG17DXWwVyw8QlI+DbvSH+Dwg7pWkuLKbohiEhK3WviJR9sNtDPYpqlHOWSWNlU8biyCoac8wOxMGILx+X6KOgX/8uGbPbfxMpq+cNZih/PBON3sUZIIcl4BFhWmXjIpoeCxKXsCHcWrGA4JSBjtLAV4LDIHFz3sxoZfwyyZfNv/Kx8zQf9lVvh+W8rQTFKRvGJpQNQwJ7Wmbp+rssdWuHaW+biGC8L+zhcfVeO6lCS6NpwVqrJjA2fN8/wkTOhoiNh4px1FE4jOxpKF/LMAB6ajFwSyVRsEqO55GMlKqNOzgU1WBPl7gSGe8mLuH946TV2IIjKb0860H6PAsCcWpIiKFWcCKfuoNWHPzH54lIPmGj49cbxlUGyf9k9BlVCkPXCd1wkpGNacqdZ/2dpfZ6yaVKuEurlaNZigflMMRweNh+sOTkIPcb0qcAHHhPLBc1fCUrqgEaP3hF0cgX0eI+EN1qQyIr1lwRumSrtgnKSR0Q4dk6aNxJETFHsGa4q/z8IibNUmSh0jghLbUfdAR2KjfgGrr7ppRuqskYUH33oneOtzKkkHXPhAC0H+2SEqr1Qnn2e4BAtMrqs8OgkS+LTlmx7iAT12YIujGt5X2HmxAU1fDjDPsZ9rZOxz/bsRTeb0tdNQtxe12/MkorMxeG4/ynw2pifHFd7KaypJXGRT5iDhMb3uFqn08dnADHRLbFZjA/NVDuhObEAw45dTX6IOeujc4MPjYAnA2bqeGl3kTHcc9aWazlmfyNScICEFQ59E+y+4qX7RmBHdQGN0SSCtE9cIMkJQD6OjLYN48g1wYHC6cURTZdwTYuE3je89dU0FxYp9Is+c1/wF+iAZQtLiKBL+MTC+qg3pAR7yIujtjxNRfbDqDhv9vFaOJ/uCZIca34E3irbo2opbIfjL4WYiqG1rK6BZAdfYcVqGN5zgl7+N/iaaLzttfzieMFqk6tpsng6m8vnBfyXXKBEADRJOdMU59QzYmu/Hdje8AzLJwadA90FAi5xGPfvHCBzzv5wLvnwR5NLyrGK88ewvMFLlSu3/MTE5zRsgeK6YpKFjDg1MLyao8W9kcuCZqOJa2o/gTbs6Hgtt3ReX8OxlWfhLDBrNfNBJGErVVWqA/HXbLvPxCctT1Q4G+OYGnkRf8Ytr3N1zFHNZe2GqU1aEW+U7Kts/Afs8ls1zjnvn3FUt0sfipKsnFpj6UNPp4GFKxJYpp+UxRjqVuB72LPNalyaxYwCq0OrV4LIPBUSzJ4V0TylETTwNriD+enwIp/jJkLeZzVMugtES622ksbk5cwlQAMeJgHPiW950PYkODqM0JU2A+BrM1bY9aOq/z8Dbsvx/oXPBDQFIQYSVDdLoIH3eipf5PN+LxMJU+k4hBIsS8vcj3BUUKejoT8jdJqmAZA1j/bZL7A/zxeeSQDudTpq3ovSg2fHynggyMfkYrfTZnGviZ9JjpHl+URZjQed0RbwQ+KHe2dd27GTVWf7ucbTJUa7TBdk0eXyS0VtYYLnEDRWjr6QeboeU6X6Jeo2S+j9X24HhI+BImFPjNTOjCLPw/ZwD0ouwLVedyV/+wzgzd1ZKfVD0YsGM8zVVRecmXTrgYRCA2h/AxoqMG5IOsHBa/cAa6T7pcH/PpLIPLpOaBvh6h8PFg/znqHSY2kYNgPQLUjpDPEeiD9Qe1EuEcAYv5JBdqeEOxF1obDppGGW7ISp6wBSvNMJw4fh+3MMAfA6dzzuYWSX1WxBFWb4nBFINTqSds83+sOiLNshVvYJ7q+5tNfEgjlEMhKYhiOWQRZ5CmOmKMwev0D6WItvCajZcyHeQxZYUTPVG3Kagt3rym45Z2qtsV3Uukggs5xI5dpzrVaEX+kjgWAm++nTVI4NZP1eL9iY6agstEE/0Gx2MAOVfFMu+o+YY/GTbKyNWrTBV/JtdEqXx0ZBl8RlsPoCbZ3m3rMpe7Xve0rLlNXrRNRPPXlU+8awvxgjBWIp8jHQIU2kcEsqv9uA80DXPKwJGRDgeiGsJVjT7+jcdeCVjWS5/aT05UrSx9DfOJKByk5tgzqIj5fWsroIAttTOFcDcXdAc5aw9h0Ci1sM/MrorFNA38/EcXqvp4JaljE9479J8SmY2AV34zRanDwAiTp1/QmSQCOSo6XGkVawx6bbPIkHgbwVBUHNln/FtqvBLNx+1kES9KqV9nE3Fs5LTaeXof9g+unpREuWJ4XviZgq2k6CyGleiomLSEbDLRhyH7Egv2blASPuEjNL1Uuk75Vf7k4prad0xf5pv7c0fWJGVbtdCdcEmTg0zDEjivM0cKJQkWDg8+Azcpt6D2CI9te8FhrKepfQM2t7BvTL7F3EYeSWpwJwEDlgwxM7cQyn84PtUWe616zkzIyKfCxnX2xQYpxmbezwQhMTpTytOAWq/QU1Nq7D6n57BljI0UtU2P1tk21v2hHPGtwWb+jTpMmfkszFxKuWS1NeQl+UfYWFNqlV9v+GHMXSYthU6cFMrZyMUr3CEmiaEroMsN7W0JBSKvn9IuAKqfswB/G4MKHljtPApzYVikfEea1wQ0bbbuutFrkhEFpsKepkeYTSxx8CBnhswgzfhXQptLFZEhlR4wU3bONCMJyetznq5izBXHt/Tp6WXhG7T4ujjy8wKCnLsQT8RflStGS8uguiuysMarRFi2Zhnl5khKDpNH7ldjU2srkDltdyswPw9fq5qsV1ECDB3yBLOtl2zNQR1tC+HmsVvGL11KtZjkeUnGdydefZVXbaCYycVGAq+AHu/8DFDOyGZZtU5CUwQyQCXzVMCtl17tVvG6znsx/Xb7FWQ3CupFedshFh5tk1/9YiXVXBaGNuwPmMxGn3nBUAJKibd79rB27ja+ozqWaLFmnoKpvX0uq3TvhY0TDZqTw+U3f6+PIU671d9GET3uMI5vgv0x2+CPtJYxy+F2BGYeupR8s3o8BT566w/L6kNGZf1frbvYPat+yrcezwq7lyu2dg5muXQM6XwXsjrTCl6y8HTwOFW0829ZH2kgMNVbh/lP+FQ/QTTjnR3y9XmvUPLK6IHWZn2ZL3eLEr0hSiLuSgbJTn17zAsr1440BCQ0rtMfw+50LZcm1Q88Pry1xBMGIyZhVl/UfbVF+Z61URC7Te+w1G7yyXhGNtjaB085R2knsaEmbqNfZnnWjxDAxq9p+ZmNPyjBxEAWakj/KroIGHZcQuQJFhqyDXm7cQfWVpAXmgM4g6KTcUEpaTFBv3FO50BkevPawQKxNwcrVrVfrY5z0FpDv+oYUJhsmZYMX3Q+WQzF3poAINLHK3vC/Lv83NElF83sH9R2VZKyMLJlg7zj//sNeq8AtMu0/pyT+jsSRZCIrJyGY39JG41g1XLftnfqOJxaiBiA85qhDf6GhUtrFhgyhFmPAYlo5H8IUKjU884AWuH+Lb3WD9/OCVLvqgrEbIpcYAzSga0fefK/uZtjIpW9u/CvdHIPiQQ8lB2UL5M0bkv2c1Lyw92HcoJ4Bl6IVMkU16ovrIrbT6JAp38P2fIeg3jKtgaJAgCCQYr3Vu1Lu+rkvJpeyJGzTNMEurOlgNWF1SDaRflnljiIxWhvT48mgJNpRa4bLAz61Fdsf9T80yEDOiSolJFozPS8M6RZcCvrdtqFVNVoRZcvepNw8cdYYXj2n7YTDZhl5ZOUIyofdy7/+7N2ybv2o+G1H1oGteZkctFr0cFoyE6kmGyJFK95kiiCnekT1ih0d4f0B8W1L7DOHb2IjmidVRcQqk+DsPEoor8gX/hWmn9WdaerYju2eUx3KhpQAVrj3C5NNdqfj5dZmlsanbdfokIOqjX8N1ZIBMBVDv1hAWArru03Acd7CHd18OuoqPwlsCYs2a8Ml8K7PyojMlzx8KF+tBUxNQLaQOcJSpl6h24uL9BFEG2TZVJIO9meDGWsrZVUfqI+IPKXnDwYe+fmTdHsSoMPUi7k+SJIWATZB3D5EvRn6JGs4Wb7BDDKKZS01tiVPGuE5gNdVQpYe1uFuB9CI6Ih1w6ZR3yJKAtQOszqfPF9zQ9Zoumih5olVVjWdUAF4fIDW1n8JjOqFr+WWMHdGeodGc0Rvb2DvEOQ74wE+eE1ThXvsXxl3K9DDFdXdlkEgaZJ+yyTNECtPzb1aHKxkS2ckgdRz4t68dqOrclAVUNUDbzc8BlSuFUXB6XNiGvjS+URIGjfcU20IPdzP/H738zmpPvtibh76aSJAQdRxBnLJ/mR9O1aBjT1bjoYOLpkqszox/EY2C3AaYXpMZ5+gXwYKGFktfkhvQowQ/fTJHDCyhnnI8bfpGMqYKGu0eVKPU90cXXJ4Poyxqcq3UHnSkxonlDehhNh+z9zn3IVnt7gv+wNbRDTsvpR2f9aYjk7hNdB8cMKGLJeDSiDAZ3mTv9J2cvNayaqqp/N9Eo7eE/DoqryOifR5eJUDKlmlX1XZlsun4KvZ691Nr6L7CVwplVA/FHVAIxXWQRUi7JWRBZOrPRZNzIWXgCwZzEkCgqFpomDcpaMRB/31rexjkyQ5yhrzNozZFFwLvesqL7ZECsfX8fOrkGoJdTPBquVd5LBFmHIMTpSr7BtWREdcPX0qbsWPimHAoLutws/fQa/0WoGUsKxcHCQw93BbOE8lEU4WFX93OtY4MOF3QhnreeC61chlNdT7WSrrXQQccNp6r6fe2lMK6nBYOUteUXypi4rxVQY6261iavK+nJXkU5OO14oAj2SJv8oqTKyRU+ENWNdX/yQkbK09n5TipNI1W1j7dpo2AkF8fAUliGvMujEAWhzyX4leQ3PIcgui/OrqhdajUByFdexu8a7tkxha4dcs2cf5K0YMexJWVJPlib5Y7jCfWQXMIDRMWdUlVdyGwIciClPgJeM95QsSvETSO14d2ynyEzx5RqGQBsvDTJgLA2Il8ji+xrf4dlStm4pdcfdi5P0ywWmNJPZ+xbW1QVorPIZ45gPHvXBSezj087u7FW5dJns/d/JDXp30/19vhKilq1rvN+ZtJAnE3KPx9qaMVqVDGGRoSCFDhXxBShfJOWcb+XmvnpYpBSlNX/8qBxxcrdjUPbHnp71F2GWqsMaljOmzHE+tGnP246l7l9qxnwUX4YU2id8pnzM2uwn0Irn9UCi/LzY86XgkxBndBETVtSDoIKK2170GPQOo3f4ookzXIU2cVUcyr3icsUm1RZBBRIdrDlLHhFAZxHyIWOR6yZb49Jeoze1DoncI2nHdR46c6YiwuIIwSspFFmT37bHPrMSP3rbf72IjjICAAPM1rNbAhGS1qiMbDt4noreTD174iVUUGRHCe7UNHZX/8Gj573WhLiT3KU2YQSPNZ3TS2U8Z67XVPGMaNin1dcE4NLKw3uA9w40PCW0ptHabXgAn2jBkO6641vgJAeM8l4O53nIW52ZKzyw+IVku6hEqoPTqXOp32xDAfA1TC61YaON0qi/Uidy+Ozd+qR5jAcSe9Os+kCRkcPp/qVq42IDar/LLnZWVStn+FGKSE+bIARdGfBY3SIdM30JlhDhOe/r8vJjUDkXrYI4FQbyQnBLQSTrpVy7EljvjXxg2lHo/UXqrDgHywkm3KddWmEZWDrJgMjzfrbo5oXN2Og68etZHwHWbVxouL3kT8Eb6sky+0gAr6m7oLG3bVZr07pwUkNdNQh4XwPyAbTKjoDH8voyuZdSgTwVa2Oxx3rAYvcaitxb/h4AYEZTK+HUAF3tKASczb4PqRzL43zLE5rWjkAGP5UX6No2lIHxkt3qwmQlUjdxcrcvvhV9HtPTaitXt5U9N61zy/byF2XGiPttmB4+Rd/F8KXywwg8pD0zvdbcGiG2E0Dz8KBpqTgGno/XKXZ4Pqn4VZ+iInJwvOI/EG9eBvbGqhw4GsRaLXXb+GWbDhTFSdnN9Ip+MpJrovneUpfRmpNZxny95fogfNneX4huGb4GCZxGqVE2U/PIJ9iku+gPlgq2gWb1VPyW9mP7JAungZPXqzYjY7Wn/Wx7DrLKYI+U4CJavl9HA0L/PVfFx25iOcH9JYzEtcsTwdBpRVVi+SbVfR/kLqqgyrhcOkyyK7k7uEgnl4XGaw1Cfkk0EHp6jrm7pK+xjuKprANdd+buzMQ56ryL97FEA5Z26sYH3iYeeKlAJi7r7YBm+uIHGE23MCzU1NbfQXS9orFk8pLRpOctoi1X24S4vZwmLle63LeXIr+q9AXjwf8dEPx3RsrYh/ls06qEHWGG57iUWzYw6Ej/ON/2/WzEfE0sldDizWWkduhcJsTpqDdkxSWhSCnED4IJPxsY5Q/i5zxXSNu4U4eIr/l37Nx3TRijbn87DmfFs5Eb0wwokUCS92PkTiesGTjJW3WMkEdiR2gcdzp4/FIzWCa/E4kObZrfOgab6Ts3T7XR5pzhr/wyn2A/v4RP/ov5QXproGHg4LjdA1MnjMIZ7pjacMLMB32MRsQVEz/yumyg8XeSLofZaD7n6agyzf/mRqzLi0L8yYhm+bwm53lniF0jtDckVKHwEoBPtHvdOJL5kRw+YesPU5yakNoI0kE614K/jq3S7j30c6AF9yLPIZeLkj0c883OE8iWhlfKKSOHu1vHW4xy9f0HpOEu1xDdC9S659egA6B2z+iUnrq/aRfRPv4e0TjnvQ+OGS+W25BjNeizkwFKNjDCDpX0L/8RriCyxDFYCTr9pk8HfUOdK82PDY0BAou68Jn0MXUUDSkCE+dJCbIoyD4V0NgNKgGnlkqIgcihAVw/CUCwcZj1DOPvMCJcKZNE0fsGuu6RJBRhO2qTEUL+q1eB9mT2e7BhEPBHQAp72bWLZEhGHhNyFAsF0YIn0NoHgb5YdZEus3x1NyHPMRIKnDe0x1OAQ+Xbp65o5ADCL2VS2IgvruATrNqOErEd4VAUEl2AA2QZCPx3pcdh0xinzp5ZMJsjGvnPgD+8KnmBkTvH7rAHldm4bz2XqYOX4yPJze0d6nOuYrIUj4B+jhIKZIf/dwTsmvtwNJyfUPHQJxLHZ/2TnXhysGO3R2ypkXaG7Dkqlz4Sf1VarGsrUW76QnqqxwFctoXRsJFGf1T0GbLcNMM1oL86gBWLuW5Vtj24nbiUPqt/Qf7XN07epp5hYLz56tAAOVU/MRIzUn0Ss1xOTDsOmzdbXS7P5lW1PPhs4d9QRR1EUiHlRjRgy08/1jn+McTTCtVgJ+pbjzL0KYLu5dKE7o2+J8ZxsCvg2d8nCUAB8TMhr6zBJH+LMe+QWjflq/MHWUF0DPwgyoem6MjF1/4qNCVSP88IEIfVJoq/vfvJfjax8gypMhlpm+7OotI2YcajFMSPAhh2o6grlRipl1qmKiqZcdR2J3N9DJQ1mLfmGK07bSteuveRXxz9tTTVs2T07Zx4Qsp+mUhBdy72A8saGU/qgz2nKoWzXNYv2hOqIWdsOe9cuVsqeMrG+kq80PG/DpGZBxOGHBCRJ6fTlRs91u9m5d+pcMNmsh0An8KT782B5JOkgICIlngzPwl0VWZUR9NfWdhz3ihpdpfbDmxMLcj3K/vEmLk53ASDJFPkEbBU7F4/WwKrJlR6g+JejszGCLm7cgXegCpLE5ycY//VAAC9dGqDskS5yDGyxnzD1soLZCWAfDejo+JJNIzK7ySCaPkzvVKB9LeMMW9ncEU9askaf5IBL8/fvdW1X8CP3CGWCfihNNrWYeKvNBWku0O+C4AEya9LYd5CrlGgqsVPG/Wg2aW/2rPMvd5uQpdkyJmw+q1jq6ztk96+xuwzzl0JiAqE04xpbh6mJ2SqLgSVBIfVL/F8oDaNAW953XsSz/I5rYcVVm6gmlkteboBjCAhqXOVJlUmW+cYxKdDhencW+BKD8M5eFEIe6Pvl1SOJ4C0k/mIQD9ItCCnbGHpzCJXeW5Y3bqhrAjNmn4qvttLx8dYxWf4a8tNbYDIRcNsdzmP2DjbTUOdlxLHfTWb2ihNP+FIMQiUa8s3qH2TofkXRtUex34vf1GmNzKTj7sO4KMPmiXHL7w3QslGC0vC/Rk4JL/6TYolzT1+0yitJWTLLOitphjOyXxgrlrMbxBcMK5NcleE1NW5zMQUHIRC4eOoNqgYM6K47j4YS+MfspWxj+emSU6tYhmbzcBm0kluNji5W/3WhsMn8OmRkKL12PSiDpQPrH+7qYj9HKynyo5LXyrd+7kMIIofc//XfJ/86vkD+vh0T6G3oSPLbp+Rn36VwE+SJMfIWoiBZV6nge1NIy6k2ipBd4ydsBvS7aS6CgmjmMTpR0u7XOFruhh5FfCCvqe3GDqHyLrZ7KIGIOBc2PVxylyugDQWkqBLuAvPYNTpn/fFmkHyQJb80F6uuHEt/CcxjSQD4z3jZQvGLbeseCOH8RX/ny3dyNbDZeJbhm//w2ORVCGhakbl/mxbYfIwjwYPEqu0JJfQAhvFtj65ToptC/adQHXW86mYkEiUGmPXrM3IFppPedlHhOwvjBMVZknxgCLZqFJp35NltkQUniUADhQjD6DaGmkXMqs5RbPhbVxsy3VLYDtk+lpkRhWEQIpvllvntcWNg4TLVT3TRMObS+JSvei9bHFt78R0T0k1UGxqJsapGLJlYv4zF0vHIQhithg90gtM/FuUIhUBO5vMV7LkKK5xKKt/g6Vy+KjmgyQ539TvMshXMsh2viqVbv9CAcTcvIWTrGxen5hv5SPWy2nSinciQrOYKZUs22SYwCbwgXvzM1WDMAUOKaGcD27KfTU+STZMAjbSKO/eU8ZcKSkR7Aklahj4oOv0Q7BkdIt8meNoDHb/47X9e7YnFk7ovZ0abb/Pyn4KCh+eWrnfTdT9ylexC6cHZQ98Xcam6iA5FuPUIR3sbRka8voBG+L4+iVNFNZgeB9YIdAVD5Cc0G6zBddxBqFBg2SuyVyYlpgpkJ8hLrljYuOPglkBCP/OEl8A+2glez6olt39JMRCZI3oxgyMgB3abF0pnI6z6W6D9nudpoWFDWpuoHlvMc4O1YMNpUfHj1NJJ6AlTx5y0aWtVIKltvYb71v88P78H1pZ0y6e9Y5hwidB/W+dWRRc4LI9wQXcpO+Yad5PNalz/AaN3UClAvqCDetFQEmyQoUyxdV4HmzD6sxfBMBvcMeMHk6Ih2GiL50gHJ1Mtvujh1EUSc9g1OR+JzTyEEbaC2JSzibraUcPmrPoh6DC/PdIk1dDtj8K8JozwgTZS082aYuyg9890kH9Aj8sdiE3wpaBJ1YcAghNdCwyBKILmN8AKbhjDopvi53F3M37bXfnpSa5ylfsKlLVepah/F00eHLcUzX98A5BnuC4s/ZXEW9ij/odaJ/gic8gU9Ng9maB+tb2d1/w0Eml3fas5MdcePTKNdQHYrYHY2rdyXzj0dfk+qAhzY3B6N7cuSC3u1ttbtLir4NevkIxb3Va94MAk6Ob93EaLbzeqppnzuc8gCeRMQSutc58TgkHde3D1RPJ6zWyKB+4ArOEFPHzCdP/KAtkJhUcOb3cc6NTNQLUGBcGdA8/IHuIBjddAA6WwB2G7BETakiZhWBkrA/eWp3XNwOqD9cq8kgekE0IcFRs8htLr+5YRwk6oVWm7XWSb2N4Sg5zvIJclf72jTU8Gzse6I6Ao8AH5M3VcvrmaUCvKoexI1wmLaTJsKCsI+MVEbaMV4C661xCsmBHb3G3DHmaslQ8Idtz/KF6ICxbCDhjouN3QsLZn1xYpLPIQ5WuQS8CxJoxJIceH1u5jpEqAlJtpVk4ID6kggfb5UXG9bvgVyn1ZT8VqJ7XV0n6Fq8qj6ok1rLOXq8Z1QJ0DJm6mrzGRUEtKYnfi2ZnUtfdP2XUbMo0kEuJKPVZogbmKRYugIPXHuVeyPCLJ46g8L1vmTdzKTi9/rbsXINH5iL4hBzXw4efnGjDzXFHYUTdygWesn+ovNHgt/PSnQJWwrdsYjGvUE29qWj0YHMvaNTk4vR2ODTVP7ptH3FdMWRhkuhPu3t9tK6iu0HWJY3fGooOgVq8nCllqK6lopEffG33NUU6cbZ+M3baAHkZJoRsBnOQxq1logCZde/9Bbqp0F1GP41MuicEU7laz2CFQ35riXdLC1PZZ9AwSzjQM8wTbTzOs/4c4U03FIXKjRJwGGff7oo3JTtWAfTYVAs2wkrzAxxlJJQSB9mRieL5TpUiTCH9ql8ODfelUHCCYd/Fx1UHF3FG3Zt2NwxuBlvjo2PJJajF5siMxsVnKTNTrGBYsq9AlSE3j2i/ilHE8CD1PiAKrg8LSKl2kkw/rogBDFvIWEKJpQWuF0/TGe1P71RY5ApmLP12U4jKRTolsvqV7uRQkcMPJ53L5VUi8VVqLX0BKE9FjfmeiuqWYtx1mlkG/z0FWp18Jz9OdtP+6kf2THq7lC9YU1ITtYFBzdBFOcYdUVQHpyL4ZW4ARbvUKtmbUNmb5E5R3FdLUwQLVq5r7SpKYkmKEIKmNOA52VpYHQBJ6Fo0iFNZWlUkw6/POWgr7a+AYt5WKnjhcrPsxgAMeOP3jbM9frDTwXggBfJAt0woJveKgiSRu02fRQPLS3mllfRZCAwuYvgmvCxunPaCXs9UVQiFxEeIVWM9/fJjskp5qXetJB8VS/SIFcgLfQxUzDQgEBMVSFyXCSNgi9MYOU94zinb2Lcnur6vbJv/Siv1N/Hw9YDRAr/1YSWtWNg6haHRecd3cMiP123uZEnsbxaVV6XyqTqYBCq53zlZyXEzttgPOPTPTVe6TxwuEN33hmZwE9EkG+5mWQjN3TRq6zdf9VZAyJBIFfEUv9plr4Zg2w9bwMmIeIVRYQMujroGGeoHAe/UR/0PvZ92UUvU3NQK9vSJBf0f0riwMtRdcsKatrEAG5pdDLvV3irMszYImpAy7kSKTZm0Jj9yVsQ9UGGmyKFGsHUpzYc3G8X029uhket7QlHaT+zXZ6R/sbrznC3IP6tmtoyPYP+lITwOglzhAi4DxXr1OJRhrS3TozQiYqpXY/UEkHQw7DGuqXMWXdVZChikXNBwHk7UDxTS4dSYR9SqOYnRKCXWPC3vdsR3ajXhl1yfhaa+xy4k+yHivftUT0GaUxwdB5g1zD+G7BFGFPqJLCAJtw1z1f6L/bu8UL9pbwW1iAoZKM3OCgH9rZSlUgMeTRaWKUOEuJRp8myqarFw8z5NLmpkaAXFXQJ2SPZHcYBtnweOi1m3S6dtQxEPzAU3jDNVQp89c6F0erYKd1I9Bj5DrHIkivq5I0fe4Nw1aKMGa/xKFlsLRTXR05M0VYh4FiBNfc00KdNVyCayrdqyWR79x/LjmnVoKhjvNduLa+IrxAVkYr/WBfAEpNr9wr77IVmDmpkDvguKlq7k1yJVJOydylPWdVTa2sisxNxqr9Oxi6ve2WZKpBjXOEp2zYgT86CLeO6hjgkp3dXUkjniQdRaZNJ5pzWXoWXlQAT0LY8d1tbpUfo2LZIe9enD+1Vt6ys1ztqnVJB8SZBgTOcjDBpaolZYkhSqPkUiBeIkhDIpMVNfy8jc60Crv7fU6gImLSxHIHGTO/pPhH4ZmPeA58ollkWlz6aTpPnJA8DCvrnFmqOI9QhFx+R8H7IC4sasmFRm921aUIQU+L6NufCVU7pYSey8j5gc+liZrhQL39aXxm8KwXQ+Z2VO8PB8Ws8r3/CCM3z1xMEDZGIGUS42/6UuSEiKmpdvu+jrHry5zBgOcv8PX39Zy5Z8Bs2aZ8AsH5d4Z2z2dSCEyHaF7JHNlmglvaoAcCX8EY/jsNhBVkS/wREwNs7CP/lFhTVciru8oxFa0Inz2r/VkoU0Mqmgvv9TBgYl5Ib6OvuSlJI3p0U2PrwbY+Aa+3DiPRgOiTEmKB477Z50nCSGEf+ZVVKkXOmBIRsz8nBWcN6t0qkH4XM3Xcy/QdvwUBwxMFnXvGHbQRUPUuruB/PzBece3B6aioIWYNo4MWSdJICs7mDLRhMyRVmpX2jRpynxP+XEr+c3UPUzQ/GT8FgiIajMb0mDvwbmb7vLNZZ3avBedsiMTj1wiEfWOEXcRxvnXIRh3QjeB3VZrSRmaKlALtFey4PzShFHpDDSLfSR3DoJR6rOf+5ZUVdFQxaYYfGL3SqPFSZFnmD5rt0DmR/XiznyV51rbypIU1GhRCbuJuLnThgfqawX79hwsj+nxxBtwr4vBInXooLggfLdl9SZxQihiCinDcnSYGrhSH/iaStcudvpd+mnNmCLnLi7TMVgnK6GyvFMExg3mPTouoE9MgIjBdOw4Szq0cPNLopN3Ox51Rji8h6OprAivOP4gTDcl8ZpW4a7JPdyvnGblPR4Yaj5adUMlmeIVdzLOrhoh54mgKKPUsBvlGTOy+RA4yM2LFgowX0uR90aMSku3w0zRC/7M55+DuPxDnH1qvdMjwd1oj9uQcxtoGveyLl7IyzfJwzDBBCm/BhIHgkue52SqLvBwyQEkhQwGYr1ZJ2VvVYEto+WTdFwe27RbjcUDA5OaKg3NX37akGPTUUlYkaKaYL41jKOaARlIL0AA7gDWdQeg5iG7Rek/8iuacZ6A49qHJgYRcEdz2bUkCd6JUCjrq74M7LTXDWD/ziC8Ukyb9lBjYeGLZHEleMxhB6q2gev3fiVLqA7Qg3sMYrUdSyLyuIYZFlWegYSkS4tj3BUedym2XZKrFhVHdv2Ph4AV/0f5Zx5TbvBFxmOevrJ2gvupOfhrKvH/ei8glgQVKG/hFNLqWGmIlJQADYD0hThoxfCYB/fy5cUx7oVh2vZ1jkb6fj4RitUy5YtkGS2LY5r5WiNeGCALndNyQ2JJAI7vxUZ5J+G5FupNhocZrP96B+jT2kXgkj0r1BOLK1k5E/kpn7EvBJfI/wziOzy2Rt1hsJvJ2B50J0w+GeEiH2UyCJp1WTvsP4k5yJwfUS1QAPa+Svy9gd134Bt5OpYDzlNPmktzIj6VPyyQgfYCVxygtp6+q6mEllV+7/Tu51j6sDW45vC5gN817KP4jTKNgqYEbBY1VGozg5zt0QariIWqB3BtlaGvzMisR7vYm8fKJaTaXHTtjWL34KcSc78RjWXZYDcL4R9IIskSIJjru83pb8Veh4OF7acnyIG98aLdtKSsws2mRCucxEyV8jKicfrTLxBpaVz7suhUAEahxw2Ak8K8hqlUZtPtkBvqTHufKhkwvfy7MXgCB3AlcQ16uKEoiOvUDpSzlGcBUeK/znH3ZDGaIxfT9eergnLDC3wX2P5Cit81mqy8DOgjxJjziz0c35/u9skKyWI5eiYHX8F1POjyyYSPAI5Y3+vC1dvMbrWM2MKUoDdE7mtOfffoW0sJCtWFmfInB4h9sDhL14ngZUGggwdgUrw/HOTVbFUMUrEiWuyzirPI1P4wowCpzoRIRkj/vvQl3Ao6YRY9H+SO1eKCImnIsrQgwMOtCmxp/4me3Hms6Z/ezZ/WldtI/3nn2EW/M6QWuqrxIJIQISNPINGoZkOLEpo7iYG0jtoOqNJ0VllInf3TDetwXdOaBZoRfQT3Ip6U0jTnINo0UmCjyFu4v5Y4EkkpmtNPBs4PUpJ9V03Z53Jx+FLPJBbhd8MUi4eqK4HT9LEUaVDzwuEk8NmzeREhhryNDwJpj2JXpI66gQqouC1MG/G8NlEfFh42GEXoG8M3kFAfXBySHRQNNR0JDcyLfSLds4u+eVP4dJQMbC2Pg5ZO4+uMfzuIxcttf7xDweocGqXl8QZGAE1iP3AIyvnIXYKDl+f4yQufNVxbwndS+NolBLFihXJe6Twerr1UvHyqbXEk42Q5fon0qH0gXFpA9WkjsmhYhe6rGYX1lCwrViMIu6pAwiKqsP/fKnZpAEI/0HZbucI2XJulejoYL+fw1SghpQdB4Gqysrk1N5fybxuoENWvYnn/pSZI+BmzQfzYYKrqrxhxJvT1Dh3Vs5+e7PadNz7cZAgs5vzVRWCck13SIv50eOsoDdi8adlgzQxBVzCWZ2hssDeeI7VCpnM8llzakkoddo0xLq7SFlK6wMI4hQruSx19KPrkRHIWFd7t9/NS/SxCYc+GHTcL/fZ0F9bV+Rnyr5H6xBhtd8sQ/zqbzNBBcQpPIsUtHmKNlTKb4cWFvCTxFrrTwy+CciVN2Ij7AYeQE2eWa4AcsH/rjEe/QAuRHnhTXGvJt4Hj/h10k5tpK9Etr27ghDRsHPDF/t7wWSIyp2UidUoPZtgqPZWIl89GTlC0YnbyACB/Mx5deK5qbSC07D+EHt/tjWDW6quDusK8Y70jUTZr1lp99LlauNjvgt8cUlh5I8cMZXEv154ob184aUmPus5BS01wZujnN7YYQt70pJhgX1uCteMXVVwjwq7ZQCipyhiBYCYr3IeZmFmKl/FPLGvTGnea+nOqj7plVr1LfoJkKpzM+e9OMIMmZ2U/rUolwpGiCMpO4NaaRtjAvIuGbe2i9j7Y4AlkA+cwt4x4kc9UA9yit7dB2KoQyqWiJDRMpwwEkkBYpUWPmYN45XbB+BXGT859v2B7xX1eqhakV2dH1C0+gfpmB63S9UypLRSgQI99a3DQA9Mr+DoZHRc1hgoUaop3r43jDyOCNwxsQXlzQ1XPzyh8c9ckMHfRPG/gYC7XpE+NmBSKH7NxDZHO8025LTO0bIbucNOkdLtwycsViT0BqOGKBIg2Vt0XrhdsCFtavbLmXAd/YZ8Imdm17Xg/2TBj6NGXCaHsBbCz4FoswlC8TUVd7whzR7Nv8Ea1y//TVFm9iA//BxLOv9Ky/+G6EyJgadPdiiMMBLVyEHNa46xEG7W8MxLDNaX+mzP0UO3dIfnL0G9aV/RE10ZUvEpshXPexiud+RJbxyRqDhTjQ4XVtMkCs60bPe2LqbRNsKGoTwQ/jeVm/nQguP7CeLIevM17p+RTqMmuFfryq0tLOj151RJaicurIORmynBQZOvZ1zDM7hywDqueKLgvMD+fBuA7P11/wtL7uu+B4Q/iKFyXsnGfZDmeJm3vUMbPbvpb31KxIjmdc4BPpNM3AddAA1vcfzWMunWT/0NEHoxCC3LzPFFt+rxnPUuj/6SQkh3qVboAeDfgtRkyu8e+eBroM10jjTjR5XdcT7Zb13NzotpcauOxmZaXN9u9WPaSmNn+VeXlD21N1KOSJ/bYiFXuVNUxM9HOWKmOJyC7juSpy1Q9m97fMvhCKhTodfNPfEjWyCHcOUnHdlV3Y9c5R2lVO0yTGKxlqb//gJUr8YHzIhdMlSuOr2mJ45zZleVDA/2hs2rLGPiCg6iTsKUspoUSinDqVUA+Gl4BVF/w3q5hsZI/wEQuV7pmJ3BUxfTPqae1NTprQ/drbAP3+dFFL/t84wH/pQe6m/4JTPNSkOz/sxIhHuYzSRMB/i8YFbmZ5YuAqZZqxWwxyACoGpqS4uiDMcielTCr9WKqsPIbKS30ktR75SzjOI8635TOKxN/myJdIu5Y0PYsBV96a0J9fCvlWlbDFgQJcI3F8rN3ZbsqHaxO8d5xIkcJJ+b8vkqqlRC1HCu7CW5Wg5zdaK36FAx4AOJZe2xyHQfh/cLI7EJ4Dtn+Xur6d5ytAQ1GzNTla1gK6iaywuF0/VYzYxz5aljLAO7dmbFPx+dEcpHILrtkXWM/ptnMJyWW2NzPKR2sOTjt2pbOH0RWpklocHZX2om82VDNdTrylj1UTiJbV4uFYThR6qHyWQigUddI6HgFv2vDNyUrpbhLZ93/oT/3rO6mn284CXZ5vzRN2U/cvEjC1EzlQlibCK/7WgpXSZ93WL+ZTVqblxVevSwTDNIMtlfZtCfcepwz0IBHCNQMtM2qn0zFWANRPGiFZhMKDcIgyaKCb8uGnZQwcdIEYeI/rR1Ec3qayOsH+ZN0xJi2bT+lWY5Ids33JwUK5hXSYRfIQofxvdh5644yPZXbvhP7oYIbDql8iZEhoI3t16uh4/TnuWIk2eWluAv2nmJ57Fxkaw36M2tYbV3ZDomYpNXO1VqNhBuCp+kadGDZ3VShc1/RVepeSwxrsQTIvFf35IG2NVm6pczGC4DjjBCfGwn+5nHDpJcO75occC1Q3Q3ItzrtBccNNB5yqA8SnNc3iqd3fw6yT3327reC6oRMLc9kSSVVBteQ3O6Q93psySe42q0aR2KlvU2S2iDg3EHYsQYcaIa3K4ovrrVlYHhs9VTWkQmAkoS73hXVq0TLYeLSOXuHoRRhpjqzjc3QqCgpDQrp5zZj5Kf/NJhnzMwEB0RFRnKZI0xWeuci1TGQSibd+1WwRKE93HahbDQw7fUTmUUYsLjR+4g0sUeSWz0f05xVFefNpxt0Rc4K4d29YSp/Db6pLOzEjQU2Gfdn+m1nbL746dV64ZLe5LgUpliJ4uNhjgGQ/mgrhmMvRzYNsU5sqzlauxFjE3v5CpyNxLDSI6e+VQRh1vsk9D+LcRw07p41ccMgjwG3gAVhz7gwyqwIesxj9L8hJ/c/lxZdibDdTznbngwGSjnwL1C8XS5H36vlRL7ZvCR9vzHXi2kWUyKt9bvqnrFXBw0i2kYIRNNsbTXVowQj0Ba0XQoFLCjdBIgiSpNiIBXL+AoGmeQmX2Nibco5XsOMWHYx3c0VxURBWHkPk9UlLouOjhxkOHAMZj3zNuG+ew6bzXthmL+BTWLgqNBczZldZxI8fcyjFeDlnxYl3WdWYv3I3vk7ftrOb+fV6u7LNKg0tNmuPZ3fRPVuzkTYGImFuwEUHOM18sfUsDxZs7Lco5kY19YYQAL7sRSSCa+Ss5WVIOGTirQ8I4ov5/2ZWAHPAmcozE63YAs0HE5iN8lRBZDVPr0VYOYAE3xh6BpxeZBEIyab20iFjLNnkNx6D+SBFUL+Wie7ZLXBF92QY1JY/jqHCKjT3TJSfZeJX0sjsBj39IBvE9zX0As0u3BEyTWsrACyni+d9g/vBrIr67P5KFifH7cSlJhN+E8nHMdUmXUoJVNYVPiJSSMeuXa8HrHv5tvpCv473WxHOZxE3j/WJ5B8qstydq7m9ltO6TgsizHDAQAKA+bZ/9uc4rDDLh18J34UXujblAApEZo8Wbb2wi+CD96aJNc8VZ5ESiSly8TOfoOTj66i9hdfpOGr0BukYY9M7ailDltNNi1brD6rD4UtO8Ry+0ssavdjPTpUUiSWqbAIL/uOBJS4GYlXAW4HMBZY0M5qAccjd1tS+SRnDgrvZ/Efs17o4Zotgw2og5vOUwT9d0KFHIWMAGRyLxivEpEraPvxzvU/C5fhOlYRPAikCimiFD6Vt1lhQ5B2b1rdFnhWoqU6XcyVqFq2SfkqR0DNMMGKyraE3xGUPk21uEP6b4q5TZJxI6TJF17u9qKjJubCyKw5GA2Ed/Ks+IAGVnMvwHt7B7eyZpQUYvJ135SOcMQUUq/WcwFpxqLGZHQjczQUpNVS3DrMWvAaiaD0On6wy7frOwqoaeXSeliUHc72A72p2a6Dx+8VJfpwz3wRFAw5EApS11CE5YBAuvaNsU/ZcLF0G/0CgU+V8VnrdXp7mGx1LQhJMTjNQ0CtYwqO8QnWBNkKTiJMkn/K/yUEgg4sOfFiWW/cYaUoSdHqceSRoNl60enGBeN5qjckczC7GaZyCGvIsnXnMeEgTWUbEfyDsVLzAaf4sqXmVAhlO+ZQ/JYfA/FTLJaRveU/aaqJ5KwRpbK7oj0fgK2oaIuLEY/19Z8LAjis60FD7pWx5glKFizkk7i7Ta/Z+FsQBToAKYSpDhq48BVoh8FnXdKq41NxGivFaINkoX/tl+EKOjPWcL6thItElqg0OQ0HFvpU59ytD6buugnJuNJywHT6ZmXB/EmaW6o2BbesEIHh5CN0avhpmtlmSSbxCDRYC+qNYlvIeEHAyQANhpwCqNl+WeFZWsbh7OCwD4ogeNnjeW9uoWyX+PiUpsapUgiRt76WmQIvhfoT1iNqLfFcEEh+2vjtN8fDKVkMCcQDYbfA2TI84lzNJcAyLZNJ7EXTN4D8MLmPyVBoz6UeSBlBicMMOR7pw/W4t5VYErdYRBZ1yZB5w5OY7JmapxAtI0lEPOxQJDRIpy2cB6ikwA3m5jEbKd2msDOiiebrR0Ai03xes6tMIUgwAq8wwDZy4DhWbBEnlTtsLr+XgcbbwhnpWJXd80AUBePd0Jt10QAACIpQ+5YggM34dy1owowWlvIASFRUwNU6dm2Fyc2KtDz2UB20IzNAa7Ck+3Al+1VIGfpTxIhwLD7+IELGrFGoh/KtuyCv7I4ZAmJZBBOTDBKtq2PEAxYeW8ZOQJxCFss7GnHfsKHwAb8F4iM9Ar79M1cfR3jardk6Py8yWV5tjtud907TUm022aiyfyJ9HnGY6kALfWHCj/zFEuSWIV0g5rMq6bXBdTEbWwdigddxWZ5k3Xdc3N4otlWPc4DG/9L/x7M3m3TT0ieV+ZxC4eqYyvFilxbFB41/RfjbL7w8a3pQ8p8IlgHYpkeDRREhus80Fm6CNQ19lGPOGQ/jUu56uklIVMb4ifvTYhhOBqyrgvIlB/AboEol71kYAYQAHy17ETFrtNuWqrIHG8GXm4NREl6BhF3QdMdNwQeZliS8KWUgQq4wkj9D9NWZpw1cxicFjR5oq4CGvIZx//xVg+pxrwUB069PKXRzBCeTYvI2YXVmMuoopjaLYLAiIiDVJtioZSCV/nm4FSWzNiYgaxk7Mr7v5mVrx8BrRB2iwQVkE94HJgtEJUITVFuMECh7gjNs25hRjplDLpC4bQgn01QaXmVyvDg2WFlEWn43EsR4jBsot3DEob80GLaiH9lMy+W02xlrZGFawEVFF5qn9+E+8UAqH3reYflQ9e/fQ8fivu9++XqmA9rIly+581cFQCCUgq6cZIH9TDNGZM2E8c6hREz47PUZfNriQPuAG5MJx+5+hghFnc/v+srUX5U/Yqhqsne0lKMNdW+twNpkL3+arZj4gp8VfZzKSCPI/RXEgpDoxjyZzKpNKyKZIxsXLrQW6fHTMn3ErRKwgiijJcR4DQGj9DFnXB5Qw8GcEtGDTtvB4vtEdpjLjb91o8JCbHOjGymLEfeVZsjdlwHDaeaT7mbpYzn4MzWVDtnKuXORGHOGNhkH4PxS5P/9sFWP7LmxBmg8A2/L160d/zczGZYS+sgV0IaFPhGjablG/I4lrNW0xTYrepwnexAyZ9rMOOX3nraOLxn130OcqN4HPCST/CXD2F5QYgYvkPLy7lRnbPq1NmOmIrUa+ZmzniTMDo+5j1AVNbPEnJQJbmyINoxrqjEzmrXLklJ/E/Vz4dhTknVznhm0iAvLxYNQJNoXY+8rCQZ94H244HZEw+dgucCXSUxx8Uz0/fRflybrOJoZNUXKNpYfKjBPZexeWH1MTZrsk8ysyaMHSGVZNIXlfnnZuPPpSrVqHZ1XrCNV4RC5inyQpUvMyQo9sdqTpUB1q/pCfbreubdPnhQq4Lj2H3WVbsS4eBJ77ytICyI9HQnyRQbuZKNM1QO32sVObtq4t6bDzu+ngxJ4NhiDpaXZX0jM6DATTBeGf564Oht8Iiy697cCIAHXcJ1QyW7UoNc5ZFpLFtL6I2NrCQHr6AtIia83hNDPlfyHkbqh5u3BKkKxcUz/mRInbur9Z57Z5H+kfaMe3DMJmLM7HcE+ITPfpabzJB0U2MSnEdxRTN6/+TEY9oyRa32UQm2khY8rN/kgJtUPm8+AearmJcdXduLaw9mNJ77cAWnRXVew/0sgIjbbcf3kWtCypsq0uIK/TJWnKO83y0ikm2k00IOUTaHQ+pk/DczxzzzxmxhekVD4BfJm1OKn11iKYyzTl0l5Wq4a2S1xnjOqqmncEvPXI2HzXWosmwhCiTbkEj34QGzGNHO7nf+Tw/EU/HuAfWW+rjFtUalU5GkUWjsfG3VncPPRS3AufZN6IMlohRquwOY0e10XnCphxoRuSFv2LE4pMfK+jpcsm2RokRPzDOlg/Kecbd9+BhsQgu/GaSAxU5+VWSQuZgyx9txPb9xAa6y8H9ejDzNg+wJTDKBn2hFszS+bKOkrfu70pQQfoTUFQixN7rdyynCFgRCl3gCxmrMdz9FDteDoAALKPJb/AhrhKnmS7vIWYsCOmj81A0d9Je/8jGwogedkjNw9PzKabilHCGaed405ZclHZpVYgnb1AWyKSWKdCCnUJS9kQbKLii9M548ZsSNe48V3EvIL3kY32rDa6bdj9z0Piqi0qS752OHr3cuszrPYVgV9KysNRXGFd3Y932j7ii7VAkUBZ47YXPMPQl0PVqBIEojqftOnq18VmtatgCIY3+w15oI4J4tm9CffnDKcHcJSjH1mdmYASSBQlIFJkVvcjhqsxNQSslUMcddfpP/uI7Bi0IbPrNB2xX+ZVvCjRdf3V9X/aHHuGh54Se7MNnxS1WLBM+CMQfNuO8q+CHEFTM4ISs/6I99yil1fmdLQvgOp15F9wpCVfkUdsZ3vTDQ9TxEloQpMc2FKW+cGCoPcI+gdhhHmwMeN5F3eYdBf2O+Vw0YfJmp3tTZhdpbSGZtgz+zk0Pm2sZ5BFVeq5CGMbb2G/NolyH16DaccepdbvsBPnEHEhk9047QSHh4iq4yCBXhZa6DEmIcZW3Iv3B7z9d86zJDVNKcx1rJKvRu2sspo5nGD4qK1L5+u66uHJjj8OyV68IKTySYmiuymcfGe9mCsMNiGxUQWd3g0ywtsF8//QFI7bpD1UFnjlwqh3H5E679ReFigKwpL87PZJrvxiOu52fKfm4ox+FNuTzM/93b5LauStSALzW7dNYgcRpIQybebkl+2oPfVv96fgrqnhruQnTXTtWKkKqQF//S29JOf+xCtCaSczUvlES2Yrw/RZBzNQB4m1QuFMyOgiY6gwGkk6/KKrJ/VueI+lKZR544BMN+S6MKu2LkmJyEMN3CFK7oCQOhPtcLYpNireh/p/KkHyfe+hFPNBj9MQUYBDLiQ9t5dRnfhCfNbO4JSIdDwn70otEq78GVrpbNQqF6a0DXrspNrGEuNZRqDhWhgzq+byYZJta4GdfzTw3kpi+2cLp5XbgJ/txysPdUu0+JxqQZSpeA3yGiJTcIUkB6oKu27Ij0VvIqinbFRqWZD7N+Fk2aCDt/WRbG39CNjCncEjyef0Edg8Xo6bxgwtiWj2CZMToPIET2+6Sw+IprVefWZsTeFMmHWpB+YKX2dyga5Ry3iuJLIMWU6V7TppkyAcMt/deXiWD13cJuiKRtAGgKXZgO4wEGvdVV/rUAWkm2bp9hpz5GeFs7kbqpkV/DQ/SALG5XcZ+Rot+LpEu0NdwzmZ+LTvN5CAFGpoyWiNPfNWcMmBymaAIJVG+pgVlLuWCY9idYPfOzl35ZhiPOuqIYY5Qcr7FtYsbBzLnzTsssXiAKJi/MGEfSLkTGGiYDoBB9vsZbqlQZjIiFFVNjGAd/KJQ0RkYQVFOT/Z1Yle2AKcf/epE91EsAgCtM9Be7DO21G0VQHtjQakSjyy4RzYGib7j0CCjSTSBa2AKo3F7iQJBxy7GKTFBUZv6+9yHeoGbPoIMYGDAEk3H3eUcfiXCWK+S+Q3b4zWHAi+9BFSXD6/2JJLL8eZm69eYavL4ErLgyQGOzpUDTFIrN9J49nOb1Bbjug/R1RCqzQsHe4luy8EDcTLZ/W9zE2f2eXaiNqjmFi90yLCu4eNpiSFJkrAxD1djBfnvEXwL9IQlDIfzsV/IMeAAd5nrg5Cz8iSGPMkzqcYxBJaE2zMjcOKATnsjaP5uxaFP3xFE/2bW/ILOnMg3EwHrX0CSS47O0Lm72l5mGRGMYk3Ea7b4xXmeW96FoR5VwCuLDIiDkyVkhrF3tu59kKhrD5x1VcXHqoYuK6rQ2iO5JJF5+SaaGtf6o368gydPpnY7HPkiE7HNW4JvOEowtSIId25+6Q7Cks/qVblJDmaU4Z6gzTxQN2ZJNt/XI6Q8OPBge5FdTDozzobgSv1RsNFuOQtC/eSAIzSma+pUqR++zZMSq0zzZi5DLSFsy6slGePdk8g/akgglmrfuQXV+64/sfukY2DYo73Fs+d71LU5QZ4R7Up4aXFurWAsOVlyG/MTktko2JyaerxSkbntDF053dqBN93Zr74xhwCU8OaCY90wn9OV54kNnM6fOOvbRA+qsJyC7bEnhIdWGpeH/Xl+v7eInFXaVIW4LJRnQ8KgXuuVMUYsffLzk2IWSe/iBuWWqmNYRPywLuWW7Y9bzQ6PGMTlubAYqOYd1q3MgpHh82AHhoBlA095VYgYrQ660TZUbzj3zQ8CAHfd1LByNm/ysD58OnJd2jLtrLYxbnf7cMuXcMtLAZ7Osq1NgEfWCPz6hCQhfWMdq8k/iYR8GvX/ELzGfqYqxyQst9oV4Cu4rogg9Y3khfwVfj81xR7YsRNyjN4/3ubi95CBhukQnoCbjxwNa2poYY8mFDZR0TUZ8eqPRXCVHRfeGSFGQihkRySh15NM9Py591T2f1sfK2fOoUVnkt/gxK8qWKygvWkaahPeShYe69EnDn93B3jFX4+c7t7sQmV8x7wsGboP8lrl9xk5Y4UIqkUYiMR2r5pDsAwf62lyDEYV2MRWsFE5JAKuWfoaGlWO5S7ckYfmCURuOHznewGXoLEIIHMmNmt+PZ/TgzRwUfgJ6xdi4QYwNfpB8DC6+idHfON9EGNTaRo0AqQErqng4B+aZWUrB+7IW/C/4g7GEyCKUIdB2MHHzD2wZY2a1Ss12dXM6Ed0iRur58xsA1WBbxonoMZaXVA7Hd7lKmDPQ/qUOX6SBgqe+cEJUakflgN7xAI3PBuU66g/PB7pbrL4IkLmVX0ucNiv6V7u1imIf7UrJNgPZyvH06pGKMwCyDDfO8LlxvwJgNu6joQAxZZB10EMFqc92PajslDGTCxthiIXzkUf2/ExiNGMYy2OjCaS6DU5hm6+vxoJ92EzjPFrbn81p7FqsrAErXbByrV9kMwraSLvVe7UAMeL/Po1qEWENMxedspLympbxTh1I3TMzIUxFif4iMA1KAtb8GLzmqWU6cmpglyRqcowSJiWIjn7I0X/cQ+5kbklLKSlcl459kiRSK9PSlHljzQHi9T45fzKNGI0j0Nc+r1PvPnKLnpg4oEKWzymI8UQt1N8MY8GuvYNwViWoD7wyaDhF3MktVOtyq/quNv7aUnOXW8uQn0UZ+O3vAww55UYIysrHUq46FMLR2QV+dgZdGTLl7E7VzS5L+D34AsunTccv6Frr/SNr+piEBY6QKeAuu9iz2aSWkYKf51KKnT2lXLDP/g9b1x0kBAdmsn7G9vBKPXbcDpkbFJHty8bPGMdSh+8wM6AQRpqfk/zc4CMH3GLKEcsApV+pVopFwEfuMJMjmhRcGsViMYedz9V87J0JemzniBsplmBFVogBEZiVsOo8EcfvCAmgZ8RUdMg5Vnn9m2jwPZjoTEDypm9cKOhIjhBKl0GqC1/GiqHCtbciNeuLUOWgX7CvhGHFUQ907AvIY+/xRbICTw2kU52WapgeKM9SfYZ00vif7pWNrEwgIRwDNtfcUhfyFmxEprzpbiCb7kTD8NV6A0VyZZyJa0enoHDzPkNXVQgsRZZpXKo8gERmGxIV86lG+2JTeQ23jKYZilhuRHmgrLz0k25Aea3+P+wrnFpmarYtjPIfpsIp+VDoiXP3isWKXei1YulyqHxVWuJk/XEFZ9E+996ddBkppomjp8SqgAjiQ91zF2SyBT+4Q7l3q7jQ8Udhpph8yqTBAvje7096OmY+qT3/+lHtVVGucs3WF8Gq8FAKdG/CCEtCVNEUr3vm9mjPiBrQ2PA6vWtcFH9edHLqxzkINFob+JhaZM6Z1fGNGD3aW8MY0gVI7cxcuYcNnp+8AggPs6GXhK6YQSyQW5VzBNJ0RN92ogL3IC9v0NB45qPcOnSWtPdwD2eaX4U5NQpQ8bwPgJL7jL9PaKzQGiK0rdhLuo+9Z/V5CasDg9acsgNJ2s8EjnUJ7h9SKtupN32bYuT8WpdJ02yraDXsrzSTLFD91/1jmufRMVJE2eCI6MGdLPCbH9+rvbtZBxGzSGIj+jaQ8wGvVs6Ff8G8e7tpp1SXQDFJXG3LEye8gLf4SrQZmYGJDoCtGvZSZA3DXeWd1+F/3k9OEYj93lX1BMNfR8tQpxNRtsmSl4OVHZKtANGWqpdoYiirrllXAoAANaVLHYuXIJhYkXqdkJ4bzWgLcxtyWTIqZ/y8d8fQlDj5wVnxVKKvmk+tad43K2wmeHxL9UB/Vf8fbbkX59SSMHG8eVMNlq63s2RIkvPe2Bg7CL32U/IDgkaP4i+8y/ePATDCVq0fJHygYqrzLkdYvC3UJjLhwn/JP7VySg0OZ0h3qpwKTA7wGFqKn3ubI3yOrGBn0F1s2AX0Bt4QfB3zZN7EYwf7dmoi0jFnQwew3pUE0RktOXJ5HRQ9e7B7ZMlw+cQo3gbuWVrv+L7pylerlyaTOIgMIBbomjS1Ia8AYlfIwDGmYGYGrba1g6s5M55UjY2QQwI4x90lL09HRqgckZO3dZ0uTgwGGyWU0PNS1rLLhTjI5wciEGiA5FNnmyp6H6de8VS1WYYNA4GuejoZ4utNPsqokNscum/U8+MHaLGZVFPkI9tQ+9Ve8KKpSV9+hJqBo7UygDc81eTFsGVu6dMZnloSm59O4xjG38LiDuosGuy6QQV6l8BsdUlgKKcjrU+kjyy3uz2bFxqLstRhSnu9LTdtooaFdrcg8oT+6GhXf2wcPhqHCp1op/3dXsA9deCL4rBRya0js4OmtKRkSRY/H9FR5Vc3h2EGn6O7aaosV6i0B00gNvnwPJ3VC4X8bahkFmDbi9qSpdX/YV2xJAQETnqA2CeC6DKm0JeDiMuwvz+qZTiMtEoj/x5XQXWKND1DN7LennJWYt/55XVVP2cmAyd+mmZ56Z8z6AlJFnh8xYwfMqUrCHaCh2e8r9q7NLD1vtx4vtVQErenxnmUdGuwuNK6fxkfTv98TsBQQ3R4mFGattBlMk9CpzYR/raXgmNLz91lF6TYnH1TiW2R0pUhQT6v51J8Zv/J8KKayyfei2K+IEXUYtuBf+79Dkv5b6yltk8mYb9MXSNQ/ohhRVYhdM3jyLw9T/FcqvTVD0tJU52UaIIRWzxkXk6Jsowa//d1IUDjfSPeJkXltp8h7B/vDoF5zfwXkpxwU8ZIIj2LNhcJk0Y2erqE3vezTCSUbqpsAlO6m6G8zxHRgryK1SfhUhst7wzkSuc1/fR7rqQJDtvgMQrvmAGajbYTnz1Bm9cr+zdDOwTVfKWBpIlxAonVinVdHZK8wdvwVbfq5ytKxQrwjg9I8U/WI71a92+7pJylImQWTaRwprucLFJLZPWWSs86cg9W2GqCvC338yHOgUpu01FWS2RkxiIzrCaOKoaRC6xVlACQ2fkiZRqIo5rfCmLSl7aW8F/tuiqvsrzIg8tyXC4ah6RZBLqE27hBjr80W/z1zYyjfrJR63wy9zlsj1nc1R0UewpIqujirG/ZHNGoSOvUqUTQ7n9nOzsutU9629HQiww1BGx49M0vUpD26pgxvfaGigXjRtb5nWsSU4m5xg5PCd9DPUZFzDnnNEdJeUFQYRMafVS9qWUsRXQRq07Of84jcycJcbtXE2gm5F9fqQP6tmjdcfq7H3k73G1awPG9sZpXM0zGF4KTxO5U3a8+T851wAtlyW2wOcTdsM6OmLuKTM9q4HTe2bLvZtdsPdbVWnf2aI3P1gWo2rISq4ADdTj2un5ktE5JC5C8pHalHrFHEqS5X4dgQJ5iyNxQYMdHVb+bKGAQjVGyQzW+i7bThfLrQY7S3P28BWhhheRAyUmqUmOEPs7AF73CxZuULDM9Tc7EbUjAHWCytWO1h3My0FwfEwbHYMGqldxAxpDpmSW6dlmTdjpAk5fwBAqxvDEZLQBOBXU28YJYN4BnKoDeNfhSoUm8ysqMVsun6nkaO/DBizAhHp+OCoQklz9j6M8M4WrhO8HqfIBIiThA2MlDF/WJDZBzxhhA8zQgmburRcUlQ68YCL0C7sWrVNM5DiDAjt3IR8jocbFiJGIlbpnInzOmSL1N+od5487zKMrRKOyEm3O/tApSaisSwbNH51ViSLIsKRRfbZ48TdMwiJoZh4nLdTFhB5hf5dar0pWUVf3alR581dqEvyGfD5SRljR9bQk+29sH2RaAWpKRCN5e8KzVmYUtuX8tBsnms4RIeLcV7KkMfeIv0t9eFsNJCGF+IMM06AtVY5nBWmEoYRsFUaKFuls5AKPJvlURdDTExrxGqjH2u8V1S4pSd9+bvKllmXbqNpV21BLNRXOL+MFmL9RYaL2joeFp8cVucryvfN7h8dtiP/D0Sd1lxFEN1wEbpUywIm2ShLkTAKnwT36+qvzekG2ur1UT0cgwphCm6C0RoNIh9B/9JrTGtNVLdP6yMsh0FYzlwj5EE0KEjacSDkZFRaVGDjmVQm0ZxXrbWP5eJqoZ7eT9kuVWxZXMpsUJ9Kp6c5CIqaskp8UL1niXdG/uPKNTLWSUiSoa11dpZSMwoWUsRo5UDxiHFRUfnseCQiG5YywfYGsK3ctPcKDQrixeCZ137PbWIhWJhym0m/WfacH5iO1uym8hitRTFf92AsAiq0ZC0xc6YWZYKmENIM6OFal9BwoPcybQNlv5kDM9qnzeQVT/iSCrl46lmnEJt484cK/DIm/AALGJJGrONHS6iDz4vK9ZHDOv+3xX6LnCurWNHG1HFtNVZyoOESTmKPc8zhbwwQi0Hlg0FSzYYQUN/tchIM4qrh/6hLrUzeXejW038NgBsH2dRzde45dI/wWoUZehmEty0GymzqutFinO1gBqD934RGQbNi0KyW3vcsMBdwqNIea3MpfXsEWdBqC5PEBx7QDmniqjrF7aS1rfBI5b4Hum0y0Lm1LYP/CLpobVThhapGD/11rVtYqZvgvKna70lskOd7D5cqgXotUu91w5y4jmLB+OACgeqPJHrXXAuej8Dpaj+WrRHGNj0eC/1BRmKucYiFEzcBSxXaySkotftboCEDrTQyFJ8e8D2ag3rtCWNGUIaodSGfWt5gus/nJYmqmdRoU9wW8R+ELOVksEaD/RZlpF/aacZQinMoJ2+xW5JaXfyZZltz5KJJXzl76PxlVgIBzRDB8J6al0O4oyh0K1odyKFNte66j3P2MNC8AQQPXviTox2u1n0lvFcsldtwXOCOk4mLM5CeE+QaNyDuCud6CmRemUAYIpyKvBGD38aCAuiFvK3nnQEo8BtUNwv1qlqQPUVCw4oaseOXDnuMYQymQuDgQpHLM4K24cuXkJlfZrL9dPZlh87yVoIWXtHIgBaTNM7r6DgguGpWz3CeqhGgDnSuYRAqg0enl9cxJSn5srq+krQjr9iCsFyRNfBUjhr/54cjkJIGw3mQVsucpKZztGJzpHCJvI9DrhwuSEjiiK5YUcIXwAQqj3iXKB5O0bc/WANmSgRsSSpxpGIV0FQxbk5x8B3+7/HucQq+kV9wVDQN6x018C4Zk2TXyQ8hzoDOENob1AhDOPS/zrZqMpQG6msDCO3EDsGLLdBZFx2n4zWWk/uGfWf746cKuK3foU+g3IophlElXe4L42eklEgX6Ai4wvOmA9nkqP82SlzvkulOcpiLG7KtCA3IG+lXtyo54Sb5EQ2DrDwH6DsIv/y1lkoG6H6gn0IbDBFL07Ia+HJlZr4qlXMfDItEBl96L9szmDHPHkFW00xe7EJWTq26O2yTBKp1+qC+L65S0SHAhgal+CUNI6xBkYWGlduHttH0LApMO5EzArbnlOMKPvJl0YeliN1yl1LZP0w/KIW0Poa/MkupFDfRc9P3CywM4X4aPJzBhULbdacR7N0tUMFsDLI+JWcYGX0oCuF1w6OOF8fxAMmkjhQOEJ/8lPab4T70jevJwcAmxEWrncPs5gaDxxHkXIpharlKPIH1yZRG/XcDzcAsHxScG0/oo+//EI8dqlNEdpCqb0cTkaThGlcMCo5EM/ZqRkej+DU6hELSmpsNVsl1qww5RvJq5Ilx16SJePzZXeS7yXvwiiVwD3GBaesOInhFteCpsjkui54qIX0Q0fBlrO7IL+bvfwnwOpJ3V7JhOReG9FUxTmRW+qnG6dTVEjKIfkmjoeHvNZC7wXblxZB41v8O5D8A4I6BRRY9CBgkowohNHkrzq6Tz0vf8xq0o1OX7DBLhSNT/lUGYUY0J5QDrhSEZgs6+/64VO577K2s3jyZwFfg+YAQl5DA4r96e59PFPHeRUQlj9PENM0728UFZ/0kXT+7ZWpoZpm7KrO0qLRvbrYm1kODIraLaNlJzS25sxB864LaDtFNKIFBoGNRnu6uOYegOUWoTxz01aAYsYX7dW34COvGOB0OAUCKLgWf3i+QjzRoieqW38is4Cvsexr8jTz03Zlsenr841zTO50lvi/61E7R9UqDF7zIiJiUfsS8k8vygqj/KWYq9xAzzSeA2IktODFcPKrK35RPU9c8e9ubShvQMDZ75iVctp7yd+ZegQQvk98OV6LzRrsXz5EFC6pUb0MM2OO6G2J8JiTc7mXqYvAABJOI8gk1MK5coIsXIaHzLjTDOd78N/HKGVxtLunZl7iipdA20rejhmn6rbHGPrq/WmlslaaWJcO+qKnhw1TiW8X2bWQk5sl+JYzW7VX5fa6t2MAMSMqL1GLU7qbi9F+duLQze7P9FxZwI2RR/JhbPqwXaSyteUVaPf6QFJffUoRnTOw0P1khg+s30P35/rwoorrWXuDmAvbJdUW+nUwRz3gZ8wCCgk4N8TiooqVjBYyiGn5nFhcZ1Zz2J/Q7rxY5lvcDw0xrDlZB4Njt9g6xMhfqeIXT+KnyQ+cHBi7LX5i2x9z83K2snagfzCFugT3vv13MYjsw5pjkrtjw7PNt3P7P8GFu0fmrhSyJ3vqfunPvGUewe6HqHlFMwyWbBHO5BRvamvhFrTRBneRkOtDgHyV7+yrD4UFMhGyk7+Q64wnbF9lR2BDSp2kmtADyLSyx9LSHJdDxXASvoVCdWvJ06ix0OhHZNthlHiCuxJGL39M9fnm0l25KRCUxbOk1kQvRtnqasWZzKbzyHW/f7R+8P7RRA4A6nQ9Fo69lcNIHdpLnapniaOMNiBDQFSPR2qsYVJnIfIHVAVSR5Tltgji6LcawI/sP6XQxC5JPu8WCiGvunQRKQXf5uIr3IH6LBmH/ckwjqrRlnDejA5pY9QvSUund8eoQdzA+qLTX5NQJNU7MF0/nHI3lJYni1gie66UIAIZZ2cIt39lrj8iqW18D0Infp4Pd9AqagqT+sIEyeiz/cMloBxtZ+nvQr8bxo4XkLSv8GkGnhdo5/YEp9NJqxfvMbCZ1lYBiLQs0eTWAtSO6WKY3gVfQkh+NxCllwcYd+khCJij5i0gkL9WaZYOoi+kJ2hhlN6v52RIPHHJgYtDpIdDTeG3WbMuw8MCUVYKtQNPFTFFIE6A3hoFjLzAbBVj2HtN9ZupnNMbmwQcVkk5AFhXbphmlm46RfSB729a1MpPs46Bzsqvq5darC5tGq5JZ2AZALecCA6jbWTwQoP9Ou3SF4/MIiffcyfc8VKMlU+YxFHrw/qL2JUYwVbqprIuv3bqx9CsX1VQAcwOuQJstis1+NXaB/uTEdCCfanFjZx6xN+BYoF3etUUbVvgutSlj5YdlvjMLKx+97dCII66niiVa9LNmBDw1uqBlOc8RdM7r0lXLCxlw2iiwCUw97qQa2C1gpMu6mJr7ozUW7vAyutjc1rozs7qEbkKIINrr+uI9+1G44tYnh4Y+KsNWnj0vU4vBC4kBMwgoTKebHIfUW//8biwlKo0M/yApn2b8kNyV1JYHFuKyEdAm8RxZO69AKMYXsQPIku5wNcZXOH+myub40tCzp9h/PnOFlzLa72EoBOmKic3QGdW4DdHt99U0JrrL4ZT7dFgvAI7Xy9weya4J6tVIf7NvLEwm5JaMndT2gPDn7OEUU3ZQci0fZNR2yIRVWONLMkCqiJs6UwHIKXURPWWSPsJbJxetztx/7VkkKYXTdKoL/yKMjvsVmZCTwoVfbsBKNbhmtDExDczCrzBjnjkjnwFLN7PFvwNXnZLELRmRka1TG7mKhQqA+SIYW0c/N+k0ctWKHjH1lzLBAZvYjAeOW7GYXR/FcnglS9z648TvHFp+ATLYvTV9xX6otM8M+7TqJNYt5K+ErZpVru4sKJeJbcNiWDCeKUhtdeklSIdbXgpxOUwRKUVVY1XB8pR64L1dpFG+MOPMCEbpgar/SWeDnIIlcmXhevnVa1N/sIOE26IHH7Zwz/9Q8+rzhyrRcRjIh2TeCFwyAuFGpLTzwLQSrePenkZoSPwmRPH2ZgEfad0dUJIt1VTsN5DqvXZIKmXpP9QowaJ529e/4wcWQ/Hpsq57vDflMeg2X6omQsVX2PcIJhS5Wb8Xnlh4gnPiksFofMYJfjR7C+2SCZQYHT530YiMt4zumRZpxo2Re4skx2dze2In9xRVU5YFUdMumzrixUeN/d+P7JbuNekTaxGXSFzYJUGkMzSZjOnzKO6bmVUZZdJz8ob/n9YmHWG8AjeSIzUZF5ayo9ebCRdb8rO0qce+HgfSQ0H8d8BPEy2Jh18b0fTJxSm5zfqStOzrGgDodfp3zKAH6C64gGCmylj2WwLoqPoe6m/9Coxecigr5vzua+eZv4zphPpmZBlMpXGTYgVAmwxPsUeyg7F0u66xinP7ksSF1IUeUGizXnFXvrG4wOYGq47fvVOiV2jrR0Xoo3fwQygsTOz7wXy6cZdMK9rPXoyjlEu8PsKJ9Ck/jp+Kl593zQdeH7023o2epv/tqDZahIvNY+xlpziLUpCW96ZE6Xi+q7VlScVFYvyckwqaU1QMZeqvdMmF+a6WgL6pHhM6tz4KPQq8rD4FdRfs5sX7ROZSGHcT06qnQr/7MlfCmJeOK4KXvajjjY8IBKno/n5Dh8PgVPrUSAGeMh8imcfq6osXQa3SiC3jjRwZC2MuUi+XhJT58hJHESiACgaUbiN8C/sxTBD236GzwDL6nO/dz7RaHN2XOfcn9jkHekyGiD16vYRX2O/Z98Ry1/Fgsfw1kOY8JP9xhC6MeX+zqRR9AuIUkKyf+5+XjAaNfker8jzid9j+O4FM0VJinpKSIjEsM3UdxVq+ggOJGmdlqdCHvyi6UqMInlsfPYFrxFVrhPE+ez2rFK9iwwXyV+qRldig7UkRUdzTq0G6KLUhOadxBzxhoFmUn1y+MwXgfr9IsglBt0pDvAUJQdEVxZedEnXKUQzXUiEO9UqHaPaiNoWIEVAMYWTFbgPzRPpt4i20CfF8gLUxgEdBo68wZCGDIDSu89+HnE1c52xzQok0gFrpu5fIz+ow8GFJrDUkM4t8A0ZDlzBj/mQuGmobsrs4xUmwVzPoci/hVByBcPxavgIJwYqLo3h7oUOgr95gN/KlYn2GgPHdz3bCbtghfdgj3QZhEYKYpieKLcxO5haXSoQeGhdo5F8tPYBACmaofeQY47seBhfugi89ubqmsUWAkjKkyfj16k7b3aGKTgLMCbstVOuSw4FGALAXAVMG6xzP8Lqx9b4S0aoln+V4zw2NpqzPYh/jGgVWUlwLDJqpQ1M5PQyx7ruABefFp6a2LXrS4YPuXkx9UAMbZOzCYNyIJE6/qX7FDJ77EglFO4rmsQrhTQRN0eW5AcGhMnftRxiMbwyi0/aG2vkpTXswwwSfCF30qNbu/nADaGhx3DrXMOgKuVFHOKksHAJeHpvfN4DV65ArnD1+URBu0j3La6S8yIUY8rw/VQkmFI1bgs/RDMrTfRXBbhVMrOqIRmiulXFkLq9yQKXFsRca0mA26qVy5L0flT4OZNbJyHr5NwW/1YG++oGFqnMOpooIBBCXx2GjtO4ANXZpoMp/QN5MmMX8IT1rbnPLFSQZN2g5Uu3RcQWO8yOyE4ZvAf9i4OnViodT0Qq4PDhrgc3nJ5mO/IKv72Q4NtEy2yPvwRAUv4aRP7eXfVDDzuRT5OeeZK8YzA+WLZGN2LRQHmGwB5QTgZ1d4axSeYDVaUmyw3vvAHQfoCGuC6Qu75id46AC+36ib8nmv0Wv+njdbVBJkWYu5B9bKLspn3bNBekrvZ1BVl6Q2zXVIz9heJLbICqPgIRe+i1UUIl1Slncte71RV0Y1JmJEewaDSbYQ6XtYlm9QkUVBRhfmr9C73MKHqQMY0uYp85f2kKajdOxB4t93MxFfY+FgDxWu1jGsCvtuGLDFuuQjZSMjKHDPJBPby3CwGZei6mSy02aBtH5a/ayBB9ylT0YoRUFM3VkZcUrPl3eetKLi7iIrfbXS2IQjJVbhJEjuwMdQLURqM2lKRc+g7+1hiSeyoxV7lTpnsnd1Onyl4hdrss1yW31OzIpNi1h4N2dQeVQr31bSaRVqaVdBgNM6Vdhkcdcj4Jd4RQFqIG7BQtEQILwX8ZhuEv1pTovN2865YbS5SbEKNvu8sCLRe229i+v+xx4QNDVBY+tH7quZ49Z6LobKmz634YS+EaKnUDP7+pvZ/TAR1TSTyfkvLVFVs9pSqYprndHi1BQxNrgJ7D6glR3fdE5hnCV/X2fjojk0aMqBx8jAH4iAGryQOLg4liNQ6CdiRQEscWpDu2jRgYTsVA7nvlXHoj8x2Nndyu8XtiwXorOTtwSR3pZC8+hbSR95Vpj4Sb1az1YvfznZQsiHXdc4mSMZ+/9vkCkKAgZPT4vpFEFV0Y33YWkQYYG0SPC85lhMOuS47n1SjLFQW37XflGi4dVYePcA41CGKs0VVpxhWh/Szb6LD4VFLB9yfosSuIgipgle++at/pMYIsFQFCwsV61bHRZHcXU/S9jhpNmuwRXI1PXqndQmI3XKPHbioyy9kLdW48V5xNnsw1lrBMXFAYOzeHtqWWQvXheY/a49+hEsTOjrReWUXFiCF9cS0o1qbKovjNUulwFDGdBWP0jO7jX3qAtNs/EiosIv/E1nsMyuRJu3S47CF6mXm6uAVRDZOyrmMJZBHgtOAdnDe6jEXKcPd1VhW9dyNuRmV2gFacnyLqlxdY7gUnlPE0/tIx5iNUH6XoDFssEgoPt+c7bDyKvXQ9tnucC1phHisZC7OEN9t9ZKIfn4LYee3dHcCn9vWA2V0Hmdo3tqSmey1YQOiJv56HKCVvqTNXAV3LeaiZO/wiKvUtXvHR6FjPJX0SczWvqZJ2r+yEFvAF0tXUcfN0Kld0nfrvmILGi4ONow77dNp4RgCAcIW653iWSavpYmoQnigekPUn+Yu9uoYww8tXS4ICjhj3bYF3inwx2yFytSZMibFStGsLrzmnzwuFYY/+7GmBMb8tJF9vyBX6YOCyLHzMnbR00t3P9DWEpbjQP0e/i99vKaVCHa5T5ZftTxf311KW+ioEA2JCn8qBGjqasK2+Jozj4DD6VuJ9JM1BqmUhriQofmUJEvjmzKdyacWiosYYTXHcc32kiHbZ6axqrVxwPlfNEvhlt7V0x6vq4h++mtbuuAraAuqmtqvos4mci3ubuzPcrGttXQxHpvOJHjp2CAevyZt7rW9Sai1WHoqMlZvJOEJzVT12u64GCW2rPOcqM8iY2o7KCR7sQxnYYgBbOtDX3vUFDSYUF0P8hNwvkQeLL+kxCuzHXDs7WPendKJFresJROzs5D+ES6yBb4G+FB8Hh7WbJjx9avTub5Ps4xncbNv6uY/NMN6Qxz2s8qhhj1Tu5v7TF8lqHkoyeCkNtOCyrKsXRImQgUnGUdkAcsu1clT+lDfBM27nMpczhjsexKlfFUaZvQ9jja7w7RBhNvKT+MQKUZ5helqr7zuJ9aeS/hqWYxb2gOxAX1V8ZzU6QELzUJXWxsdzaoD7ZRUZvUqHwVorTC/liMitVMlsZFC96JNOoZX8TYP/fM2mE+2iP/xVRC+H2Bd64MjNOnkbOBzYDlrl1PDkDT1cfNGgs21D9hbb16CHcD1GQP08PTPIbs5xVq3RN4EU8FiwVR6WEwlOwNg/IQrDWlREdYlmQhf3PzPiuGunkIkA+KWyIbxz+IFx1ZFNFm/6I9RD8+bqJSFxIq/1mo8x5iiGMuwd48YymQF/gLxqFSDV/TpvF4mROxiaSr34jBGJl6C24F5D9++lV1mVsk2p3EOIkxovAjgHMhHLkSiUp4G748GQOjB28NSZ5e4uG0WOFcHHcGzPSbohuu2YMjoZ0AU/J3qx4dnXlIWcqJZLxEOHQSeSOXOUU3vdkHEtOj4MRBDdbIOy4dembC69M+V0S2m+HCfo/n4DAwmPTHXSlfu0rLMTDg/37pLzw689P70tLgE9Qm2Q3bgF4WAEjEknsL7V5nzn2Mhajk4HA3xYKTkrXcjYTHZl5o6Km4uxHNkFpL9fBdY/+ZE/FcMzPocvlSbuYvmvDCXlqzF7uF5Jjy+hlwnTSF9xYNZl1XuBcYecGoFj7wqAGJalI83EOg9yxEIbyovTu7suita7HpiK1OOMKJ+faHPEYlALS4sGQTxc+wANHvhHH6QIDmsccAkVjweJJEagUbLsNfyX0eA4eVdQUgWwG8HI9ciRxki03uZ4qd5ykXREd2FRjX5fCT5QNJoRZm6I3MaXRvTBH0jjA1izABZM1W/WQQ9a3YYXiQAkk23J13ATd6Gzg6JSewGv0Fhs94n4dYUAfHDCgS4WVCL0SI6R0vcHdy2tubkMROP7MQAxtlGyZjGNjPOGndma5Klz5HuLm24h2CuQBwzxm3RiMh4xLi8c3sF4KNDmRuEkHWfGbuklKpuMvoXx13BnrxVtNsMvtCgH872JovkbkvIXjfbpPyUblt127CqBUqr2VdOjPnFbfQnYrj5tU/TWV0nYpA+2I0QkQF6OLyES5Z1ZGe7ABdpgQeL2rbs75HOvoOx1duVemxdo3BWIka3okSaNlFH/8QplPQsjWe6I1r9LjEvWQE2ROP4R8FWZDSKQ5ETEWeT2Y5W8VTpdcL8QTdVlM4Qnor2vDmZMB+x+9MnpKFa7+hU8mgUPvBDj5CXIwZE+ErIWqfyHHVWCXpODh5fImn7qqXRfiMMjhKnlBAsiCdmQQSdRKQx3ATcWIsk3CrBd67zzgnU20FVb33+VR/nJLhByWCzLYFHbusjSVqFO2bc+oYnS0K75l8NkBR3CcKyVbQFDJeqMwrLB83izZi1N+0cl6oCDMcfPCeL1c86dAOP3H5PXkWNffnF7PGpS8E5/upkBCzYDB6/AAMZafQfix/cJwxI6nLo0yksMEYa19lVVXTYKlEZ9ThuSurP6vRpTe02faHuJ8Xyfgj4q7qg8JMsoQZd3HMzNmbVXPeZhE0Y8wOlN9bmVO9KJmuL2JfO0GhH+VcDNXrTDFTWxI+SLmUKsm3mklIKYDTttOK2THsFdbyE32J7f5vMHXDiOJxBvrFCDFQpp13QWaIaqjDf8+nF4zUUmVDKWlwK8SWq/gxrK0HX8t/TI3cEbAAZGMs3qLlBbFNyel3WqaieepP6HlFK2lwzhs6taSruti2QSdJwUsVnAmgmcTqqf/Zw9WQyVOh1P53d/Vigc0rj85RI2+ACsou4mP81C3cRg0T3GX5nqMvlypYDYuR4S+AIQGygYmp4fJVBr6kvLLys/6LL6AqX7BcowfIjlkKbPvHKDX7WhFtyfrgo0w4AHpjZsKanGI3a3SYXFFXne4WlxvErlbrd9wiq0TxPSKmvccGIOlNMn5ULmO2GIMJGlMYZNIwk7p8JMuHguwSTNZRoGK/HJ7gogOiqWWo12Z04BAi3pBduCdtVR8ucXrMtFdm1PpFlC/TDC4Y77rhnyeujlgCd/NPLNTgMZKe+uL0F91lbcFMUmR66ORU8eChB+aTJzCbCVPwHnKR6QrvMD3rhvJ8ZHGAA284OyPE6mZu9kCEGEQd9L9srNkFr3tTH2IZ1JPPy90CeoaOJBp0KpH//lDqX7I9LDjBp14jL+XjBC48yfnZWAC7P3NMV/N+Gv8/LlHdUtyJfMWGHX7lv+s7I4pAQCB3RSCEx7ZZhN6T9e6svHbv1YAEVfrevW+WgWcl6E1lKMvygPNfw+81UHbvaz5Ahmt+z7M5J7W/ahme5yQFqx+xI19UFpYx0Y/8NUcsR8N/rt2/RfBawA4MpO84RVzSslPSse8IFFnLV0oIkYOuQWm6jIfhmrpKqqlF0itWP+EhSd7W5LVvatJrIaQVPIIbRjGTDytd1FD5kCzpMuaZ2QQcD/WXOep+okqxjGSs6mFEF0dnHq0jOCy2ZoMYu+uvZE9Sy+vheSZkZE00RxZPIgKltSWfQGPNo0jxTUtcNAz3m4jE1cQl3Bl+nyW3cE04s5QGzWYiTteW3QdOeNMieEx779pri+s0NwHle1znD0DmsA+LiUheCzz5Jq2EGNP/mQRdYhdy0taB+GftZwJrOIyfqBH4Rz/lmoe68ADMkvlvPlQWD70tEcas0lHwIhj5kG5IhsM3Q2phH8mQBY1n6vS9wSMKU1Q+TVhthCXfEhwW29eriE/wLDw5NgWEyEkfszGi5vNF+SiggeBq9cnmchX+HyNiKDFuJSr1PmBMy7m0lJBz7/HG/J+8ElUtINy5fLkMfPlQNnf3hMnTXuIYcrTh/6Iiu9cUIk+Al/WTLXSiLK8HwtLcVW1joaAN5RXfZqe/P+p+hBxu5EFYJq/opznLRGJbac56rxtbPCwiHbdOMtBuMAFCQIiEAMceWLbrDCl5MuHsT3Lso3z43+pm/Uf/YBZI2X5q5onLAvDNIiuXoP3XkCzZ+cRlwelugQRyvVJuQ6fonml2/rKFRT/B1OTjsGNzODCJ16sUKTCJDPiHHr92TBpKH/w5lpuHFZv8ay43SqiGkwaBUa7gofNdxc8B6+BgQ5XU6XmWOB4ucfnIHhYVOG1/4rYuBRCdDNwIX4ZnScwbg0Wt+dILQ+vcu70NVG8HzZ7LXBe0UQelcZC6IhVNaIvVk0iHb9GHFZrJS0gYdqHMwWcCgTvd1v1ezrIMVFUiELNhyWwWL0ZuFt8A0HrnLnZKejL9nyiyr7xOvpdCOb+QHeFeWdnVex219b7rsRH/xxnz9miucYZU3DoBvcNnzIm7+wa3iCvn6fdRWxAaZkhDE4gN1goo28/nT6GI9Xcl2Wkde3p4iyLsNTtv0in7DuY6trD4saWqk0vPKab7tGFsTQOSiGDL5C5c/1tGidOsevRGP2vOOhg3i4tArW4VOPBvHTlHjvSOtlNNJK+xczM+Bzh5TpiBRW8GDyovN0WH6UhvUaI4vWhWJejYWMHmp5O7LmtRA3KSqK22SSooap5ebCNy6bvQCIOhvsCNosu8RtwEWY4vREXB8xf4JzdngH/i2gEZ71HPfAPNMuMn6zT1B4o5RHm0vbnZJC6w4zbd+3wtLf/mkPXuP05kEqzu6/kSsxuluhPZnb5jAlsKJXRVRc6UI1Q8c97wlF8XrowVoopyn+dSicDaiFdx2OdhZF3e8DL5Z6rhsnDCBLOjA9hCOWlQ2TrJAp78PCdjQcmsxPHQt8pHt9nQCTsdpnwvaDVByT/sq7NqwhglPTcJt/8BRu/sHcQej7CAPVplVbvJPH5ftINTcCVFuYpIqSUPmjwpc3RwTYNRhaOMs+bbQKuBwnbC3clP6Ci0wXGDz4+kzeT2YrRJdJIN16tmHfaPJLdFnaPe/OzLYpluDqyQ2eG3PQES/Dlk6DxT/cGjzpzeqxEzyxj9OwGlh+XfbyVnkMdCrDVx/4U2bTydk5YzuRMxdGY500vfwumiwyx3xHHtZSIIQAqM3xbl8ZITasz56pCGv2EC+eKYfC/ZIRh6Awgv7iOkSJAtYMJBlLBs61F9a4gESh/Vwj9Yuc6RHOFpSiMC23Ocspra1Ld0D8zyDczwrOBrWSYQ1p/t74MMNcG0yheTtMtRsfm1C98GpagFDkBfZeY1Oanb/aQwoef9GZ4NPqg/ZwJelql0dto2k4HAa14ygsb6XnVSwm3GfHQaW+K5/1NkwjrwI7AkaILiaGa8JVf0hULuWd8B3uREiotu6p617eTcjMKQAJYL3FBWMp11vA1iqHPkrBd9zFrBRO+Qttr3LGx8lhVZOS03XrzLH695ZkxSTFH47m9ergLA3LPzm+CVIAn"/>
  <p:tag name="MEKKOXML9" val="v7gi1bernuHACGgoCxQy0GsuuTY+3nnCvP9CvAeOK2QHh8/BYXCUcH6zOw02jBZPdMtnkzV139INiB/9j5DKwhnnr04A9vg6y40ljKq+9kslY9tlkiXDNwNra888D14bp2MiEkIv9AcHEfuTFmXsgi3CsEcUbdAVv46C9V9OmUSEv62nw/Btdk7q8TVGaTTK9fp+P57USsM2Ohc3lRWl1UH5iOJ2ot7LD0cK86NCEyaknJD6dgzEgaCeFqFOOeSVOVdpADvq6FE5aZZQRylXqBcIpHU6KX67IpuP5/iIwhft+ntPPhI4cPXfzkFMblp2++aRBeOYh9p4vqOixx6ks+OJLapK8v+/QEtVPK+CWKAugxztt+qecLWCCCkJWiGN58YtXbcACfSVUdCEz37w7To9J5GFJpPZ01nAHa1DULe1KjGAS64mO+YOcF3obQOKOJt9T2aZh8y4rkJ2sOEJNRr4bvRaPBDdGfkMIuOrNN+Jm9d679/t5rxvE/whHzARPztckYI7m32CMEcAxvuWkl0DCmULeD//XRQR9IeCfrEO23ojRrk71izBrFCmskk/jSW2FkD0ZBbxegJqrLyl5u4oscAwl+AKnX/vEN4EYYzzn2KJ5ieynak0Hx6hUUePYYQHRCu2uwMFbeeeaPDQQ+LyZ3/ddlUKVDk5UkJ5FmIVN9cvIPEWEflv/Na8J13dm2aXUeX393Rj+up3DFVyWG0w9dac7ZgnsLWyX2PXxiuICP18eCmZuSybMWwIDfPTZ6TC1Jy5ESrcRUKZw5OHQ3WbrqZgHvQDi2ztlr0w3tAh2yNiX5decO3B2CYrPUwHtrSqRYLlZzztfKabJkbE5VsLkwFrzB4yb04FkpQE1glDq/7YsjV8u9NM8GTotUiz/tjUyAWmSH9DTb32QOlxkRihWtJgw7ZrgSgKPTgf19ATh2QcoaTcDJLbCrHojrWAZ6rplzl1NUe/g5URmtEbknKpB97+td9Z37jH2EN0GDlHIWXG9KnIeC7VjtUsPKzIcbWeZvT2B1nEyFtbeLeiQsMTJCt+WPUADNHce/oUE+j8sz6wTwoBumLDy53VaKinqO26P2VvPxxyqgSx7CBm8IL69m4fcruKHZ3Mor5fb4PIHY8wdAAP9wKTmy+uHU+KI8vitAUIixiPiQ6W7AaxwWw5p/W5qJcsMgH3qP+8t0SlhWty6rJls5pEYZssNSRuYvVpOq0kwqc/TQsifkA9vWh8lVo41cTudOhblouo7pC7aO1x9mFlH9dwfa6+Z991UV6Moo0+DszKzHKQCTMPCU4aGs1dnGxoBUhpg3fZp+nPdNCD7MYzQ2mC5PebH3ml2sYyOVaW5dmaAMwqpLywbfJLT6zoySFnsUEomfHBqjhGZSBq8VCV4uonrqNxJ0W3NxphCbkQeyzLfZmWklAqaxlzsYzRbmypKgrf3NN9mnB/PAa8jr72lFacCzdGzHyBpVS4/0nIOeHZyaaDlcPOmqNXUL5rbQeyYyceeM2fibYclK5hEccByzYDjg6tWzmUd+//aVg5qluCi/XEcdC67ZZymO8UuyIP0MpFTMZ8E3ZZvAxiIwjqR/kz7m2+jwKcwX/In7VKnjLdsZuNBYaKBLgpBDXCA7/GYhHw6GG2OLqGRuCuzyJIIIsjT+SjiZq06NS1zfN2Fjxg8x2FaAeXavbpuIVxLHLILNf9NEWURsvSdmtF4L3ckEojG7ePi3qxisn8UYrvKmc57krSxo7nJwY1NOnG24VbF+haMNaIZB9I2ShSTQa7zuBKHPHg/FaFh7vnd6cN/4h267wKlaoTQIat2xsUxzn+nJKs9S4hQ4qbBiW2KtbyG0ks6rBTck8KKNBHNFNtFX03Ysm9fPWP6dhKca37b65miDoogIDgbqXe+acri/cPPOq16KrCdGNx52prdDx5j6zrakOtHYEBAHF4+b+eJ1QLw9ceYyWk659cwzNPJ/ECGIaYjpUbfCY6+x/dqetE6aBDaPyUR+dh0w2Hvt2nsCMAjXtzqS/OHDE5MXYYOBIMEHqtC702qMRteVWaE2rpZ+spl31S7TTOoed40bu2jArn1aj8Db5ry4IjmR4Kegm1g+dPm/N2DVAMkKngN06UvaG9361H661JCk0ge28JBwuHiPO2XZ3Gpb8VPJNfuF1UwmGgJDHgSd4c6w2Vj6atIhmY0nEVaS7mchRJl93Q+z6iGjXjF/C9sY4u3HhiVZVU7svrM8fIQU64x1yfCUYneI4aJMeoigleKs/JwrnmkZe8PQusNN7Gk8k9xevUdc+4P++zI9OpoN1a6aF1O12G/XtoiAn9Icu1ublUU0ddh2yx548j++pShLHD8ifqNXO6VcjRvKvgb5SY1L8dyhjK6jarjDZaNRhw7BPhNmYdSIT0GF1qpYeHNrbtKa8sbc+AgURnkoP20jgtf85DG07UAYQbWEXRWCRQuO3YtH2gfwZln/4JOQ4hv9m9Ok5rXk+Lv5LFCgAcYo5ltIBqBboSC7np1EpqYstKRmN6l1iSMXLCpt1haG6xBw5bz6+tRbEjNQLFYjn0KxN4rRRhHn6ANfNvjTFOZrNGP8xiWdSzfhJFiwVmWTYRdQoZITZCsZCt54w8pEcIaKQQWfihhETsAAjf0jC3yVCiWqWUnjKvqv7CWIUSRE/bpBZ+Gcd6kk/dMxlnNUtVxNBM01Fkq1kp4fV0CJSiC9lC+IbkWQJmaniONiPFBmO9QFjo5gbZt5sBSAVXh6cIgs0czzBwWEfyk8sZ2k1FpkH4j8rUjIZupHr7s+MVT5icN/O2uHo681vf8E5neoZIWiO2qStrEdyt7BWVu0eTyfR4QTPGIMVX4ZnQrz/WLFedOwEJud7v/pR1E1ejC55RfEHsXaH4ntcNycOjtPvyI0G38hz8eCEvP33ZCMWF+rfXtN7QmLaBcwIBREJTLbr2SJzbdrjsTbln/xkUN6A73o4F6TcWY6tC3M8QPi5txRGYiAAzE16vCyNEDSfi6nn8WbFGuZsfXpYapklItnkgJZnVRNE5mODu2EC2ahRp4GI1vnlmJtJr4DdtuT80PrF4zPqOKAWPN/qEj2JDkUCGl8d+0+N5E8Vf/OMR9T0aAPqsDup11wJzaN58/i+syqbG/Z3E+DxQ7waA6Q8kgdwHYwLDvb+Cn2dkW2XPOtXbcRT2n2PIlsHIKb51eD7UqoEwVaZyEli+/rlqQfEnBeA272NWSE0EWQ/1aoVOKf+kQC1sHKqCgb9U0GOXSxU0EkCzpoEjrDiWtuG91oFEcgsiUymzWkGz9VC2XSxMRarUoXrA3piaTXcYOZYqnLdK4ezV3qvaSahwBI7JC1LcTWahwKjEhrHIJt72T3Lqtk/oICPQvbbK0g2mO9J4FRHC9RERP5t1ggxeOCNokvsrFGcWbhRq7Zcld0lyYegSDAyIDXDnAGouzvmLwLgwk8/5W2s7/Mb/YnQqKxDxb5PKYq6CsgXPjQtTXiVCd1KkNcKTm6WsKH9b7Flk+FnAUTHfQ9HF+J2jrPPzRmbeaSXorfsizNBD7EvFph2UdsAWS7URqqasc6XP9ZkPziM5b/nbOmol/p/DfNrK/8IMLLdrpXTteapxqgtz/s1eRRS8kx6nf/N8XmfT+QjjNJvA9cJycj39YzCjO4fazg/g9W8IWrk9qW2+j2MzKCaHuoCDUzMoa4e29VN37U6I/moYQi+e/FEH5qyM7hYDM5yfZlxCGYjUhV03phhcsOga7XSlDipRJYjqCSzKNxOTX6vVd0DOjHPbr0gEfVcl5apCeFlIriqzbG4SdAhpIlbhySQr4eClNFnB8EGJivJdUJ9HDApXcepINGI87XUWM4aytA8RnxZW25B8knqGIIVFBTTld1RwelmlD3VTi9Lq8L0iZkLiWlp/560aqI1DRbWSNJ/+R2whnJbm1GDkH4fjqkN9V826afAmGGoh9grWuPJwAzbx1pj1IhqZt07Fn26w94bOZokGrjhYWMDTYNO+ShjmMRlJqYaFPYtZtjJNBwmqMDIZx+SPCgo1TLxIEk4Bfo0wzdiSFDS2z+OIPkDqiGDKSyPm/8XwqIiB0fmHhOUoZm7yLHOMGlSLwnmgAIM20YwW8e7ALyMgsPKay8cvQcJ100Cq2QOBPSYAZEYSv6vwpzoyzKcrjQgbl3rWvC8lMJw0Ft3UY0JilhttMp1SZ/HWX0X9pNTHADplW0ohiyKajfy42/NXrKmvDwuj5vVuGeqgEVIDZux53El479R81NgdunLbllrqGKykGY9XqlBjZU1JhspCsFCYi+lLjbpJ+G+A7G5/y/E14MxzGN1rM3rWWzzjK4DsB5VG/z9sLNEkC794ffj7AxW0SUfpj5hlRfcbZNQHTAM4v3DEyhfpv8r9QSqX9NEvGukFmdMygHmk9ELuBtauqc9LAgaIX7Mcu0xW7rqaf+Pe6laU4S/w/LqyOGm1Mq1WBt7iWaLYH3JwUdgPNoNpgYVizq/u+YNxs94vt/Yie7qRU+HwzQtwno8kk1U/3IklU9kK/O0Na1EOGjAbJfPvNC4Pzd7LXshdqu++yTHuI8LNDIBsFp+6VMRuGXXBwnGocg4GTyI4NQ7gJM+sg2njzMHaTJ8i6V+ZHII+kbqhjkug4dDz4u4FdYLe15gqCosPrgXyYDYrQ6Lr0BI6cNAAESo7n/2syP3VjnUades/QYFfuTNS9mZZwDLlxC/UIThYQDKfyMDHC0C+JxvRz4aRez63OwVVtJQ6zk4RqQSRff+KkEN8fQEcZczjiQ5KWO087CaOgN4kPPIoOlD9F6nFIcjn3+kLRULKgwtNTy1qZer6Zkah10C7uuMDoXWVPdsh0Owr6J8F1+lMnJj+5VTVe8Iqx7LlZP6oDx3YGMhBeqGUlsk2uNjlJ1+yAOZ9o/uYExkMKVs8hMyG0PJouDFZU77gQ0HR16EDbwaJM8/9CmciFHj/r5U1vDKHrbEd404G+chxXlLNAX1vZ4ccScmRIPXUjHso9ID/CC8w5rznY4vWT2Lq+OuxLnpS/tsLhFvS0+S457HH9y9xxHmoC/mmeZsfnMhgwPQj8n58SzUhGv47ma+syBnWDQRhbIR0LkuPkS08d4uzey4ck6Oh8NgP9lDXkduupdJ2NOJLvNeIHn31kQrdngZiVRwk5yKJraaOk9NNx2pucObyyFXx+uhT1UmXhsHEEwxqw5zZhHbRzcVjBssHvETRDXkInet5ktBsDC84xdHDA8BkOQ978xd3TWy2zbHbObrxYZWFubxvCqSQz15SfHB5ipemJkzRwnHJVhMhIpVQhIG0fWyUOPhIPPs2VEir5b1to5HJIG8/5ebyyMDcr6KISHhSju/KjCyIupEdOmI/GO5YT+S3LpKLnCJ6QyhtqtBm/9aVxzpzbfDdN1kfCxVaL6ONUfDvj5LkVvId6xjKivw8SEgmzSd5JKmvCUNKs62wIL0AmE9r0homzJpxu46A06+msWQRA3V2e4nhtWE9xuQeymT3pgbuhlIDmGehtNCQXRHu31I8EJNopLjQjRMMzxw6Ffxe1htS2+YJgCRym7LgCNQLbRbxnw6yb41DYLUl6cSUIGfzQ+qq+v8UKYngDK2/TCTAGbj6tIVDXX/a2+tVPwMbSRCpAmPFfP5nU3BcldQ5kelW9G15yybDCEpn6MXrTFdNl7PymxlHenVOdOVE7HQt27HLyf/PvdDqAAAPP+9ZOlFYjdQ0N0tXOm1Mp/xzEZFFWJD+u0kTKTbW9sAzwMnRPAIXlA/rYgrHezxFgXMAjvDYaHMdAtPleSOmheqvw8mcqHAi/m0Ir20ifLvgWyuarulrmY6zQgXYnEPCnrf/OoOkJzVXvgDwj3roZGEY5N8xdXuMf758PrwRkY0Go4lGO1oFrWduo/+6PnzlIDjZalEE4ovKLWFo+ROb/X6BCiWq2IYsnYm0izqUcFokHLbgfr7KUAc2yzu8yxz5vqikPiituydtNwNiElsodCu5GxdiZ5M2bXMUDnbG7gQgordWXeNfnFRGEoeHkoTIyigU9H5Ruuz6zErK+RBpflxK7FLTmRsNkffN0ZLfSEUv2KM8Abk+MHQxBdBfWnQpQN6BRe6T9wKha1LKnS6P4Hr53TXmGfbbBd5N8RsKytq4Ip8kC00iIF8y0N/LApCGehl1nO0OU44AgsuWuTu5wOlnOu+0AOuB2aqUX7ku4C5iZ3T3wBfmLaYTO9ETnGzUkR06pc/eVY8OYcgxHtwWH6goflAsnlEirKjzFZl36bv66bTyE47B4bkVOh9zeKX86hnV8tMwYU/ibgDy/aOcSQNai9NZrKnMLqlKjFS1rD9AwFo1AbEF/+D8lOtQUrPt9NOfYzYu5BqqjMIUgeZjdkCekYJzv8ErI2K7jVZ6QvZW/A6G45XPLZinTOc7yFJI/vZhihobu8eVa8zkEIDyNnE+jO0e5IPzpi5bla7esJSEtVX4sszK4bhk1JaupBv3o5ig3S22DRBHo05EdJKJ5Oly3Z+QISGoJ6kaq2EZudpiyfHmRcVrjoNeCPvpB8AZew5MIYrcftj3dn8GbjANgqVkjBIRpHGTpa63/lG45ZLd/v/Lcd/8FbWtQJuplAq/EHXeyHu2qk8dWFQvpOoSytJPmJ3EyXdqw41jFwWU6nAGx4v/R8CeaMUxo3sQW0aYkwQ/TXKY7Xcw3NJST61epo/0gqghudYQa320pk1eJHzRw0POlT1/7lFnttrE+cPoeV0wfWtmtzmS1un8hOrfEYzvTdkyiYxvsEWkvLquf+GadPflznDUHIMziAombLKqbe3n/Cut8utU98jYDtfwI6dn0qRTyO+4TZil+cSl09oJgRO7Tl5Tg+Kzk4AN/LzDn7akHSgyMgEKmqvkUj03IM/CAfdvEdfndwONQ47o8Vj1Q9XHfUHZdZ/EATSTyOK530zRyiW+aqbRnr2a4tHEWGgXpw+GdhLCdHXoYJch6/XHU5NNM8/5WC4JRUJi9rSk38iReSkHY3Azw7wbZ/Ubgntm30hx0ugSN72rEAYhspdQxX6H1ms/tq8NfjYoWAZEgPnl+XVMO6RBgUa5qsTOeY0ef+EiWwfRPjfJKsoMsUMzXeTOZ8bATOJ/Gz5CfFb/RYfryRj/UBvMDn0sQU8cPTg6ZCFq1y0cL24AfMDgmIoqVPCWGuI0aB+Muu60tnZi+U7LvnqeWklslu7rx5sPC+NTSrK/hD0uUvzcM+m8mS98UKX1h973L7gVTRvLaKj/FAqtdnFIjMZH1/q/Bttl8pmjqlw1X3xPBd43PUOKCTTDNSIbRHlzft6ZrJFkuhElgxfrd3KVg+pgjSKk2R8m4UZSuZf+sEusZQo7EdGrClHkgkh5b2H8Qt2u2yYrdh16poPLqFDB0Y+e3j5ghj71eLUQJ6oOMSHz+NI3+3pL1dD7hARnH3FpXCPz5jBE2mXmyqrdg1x1aVDywler7trdpPEEWhM7jrTkaVv1YbieJHvzhK9spx4NT6LKbcDYwJB14SV7BphXZJf4opE72dmVbdmhB6NgU1Vn9h+GbcgnR0mRqYIcFC85eSKbFTVU6YmUVzbKcoPcPY2JPGXEaEdnMlRitOGPNQW7SWOtSFaGoK6fHUh3A3McrOsSXuGzjifX1I67UR5YWy4ahNybhoNPo3scKLaG9Ds4dIoSOOOcJuLuwrqvxYxiKVqvvcF5ropxeQNBH4jHh43WKKBsJmbqefjoz/bQG8qI9/FP8SdGlUM+U3tWClBjUsMhF+Zvqs8YPP/6iUZ9qrP5O7aEs1B+34E5yK7yHhYyj/faepIPTG6GjTYJyoDwRaNGjy3DbQxp3Zo5jyt51HpqPQqyAB+En+oYNzL6nY0pESI8/LQNyllFYKTPJTb+INNAyMi1T/+aYnb1yOK8qPaM3alPliiYRGCuLhHB7o5EbjIHpycJeV3mQeJeVZwHqahqb6W5sYDsnNEvcga/2o7zcyW5BQj82ZDbVlOIEub83gXH+5Ah/kTizk2UEDXUQZF4KwBzL1Y7FQ0v7Qb6/ikPIGsVSbs6vqb0VPAIWo7gHOeStQdUSR4PJBw3feplbF1YcyU437VPZyQHgBYpp1zKeAHnGmpnnaj8/AgcA8sK9TCmsDYvNsbbxn5Ea9HjfDEbZvWf23iM4i6B6s/Bpzl0qgH0pJFu1LrGSIUN16b4BvoqFwnDLK/6j/bFAnCLhBeF4ejC+7bF2epyYaf56w/S0h+6fiy5Ty9gkb8uSl0+rTuiKzssvMIlvQkJh6zt2cN2EdW0AnbAHNg/Pm7jlmc5y818FaUdhqLHshY/tG15ONglsv9XMzeeCAcHTclHKIwzHU62gUI5ZZRNxuBiNRkCr2iWslnQyfPp+holcjOGi4RB0QQiqM1YhxwFvVbs3G3l/rXsnAApZ6DtR3ywntozTkkO8nog8oc4kpz5dH3dg6AdCWqdvYO6qRZvFEav8HMdAEg6rw+1i6XAN6G96rsmaosKIczXkiar+3DokEHKKp1X47Z8zWHOYi5dgbAGMmTplBgxExGS4Q3Tq4SR4Ggj0eu+LLIoAx/MabYSryJtQIquLP35002ChuSDMCH0YfKIDSc/11QQb2CUj7yWKWO2TdV/vskDgpiP4SgRJHeWs+VjiyVwGaDIbILHBwTkI2dQ6PQF05otn58fpxtkRhSCSQJAGS/d0IpxRV9EdhoYiTKCxmEz6ANqrNyAx6TiXx2ZgLEJxn2plG7av3BCV8umF7+GyktuXScbCSxyQtiDhxMJEyOwzPwYFY2OANb/pXurrjpwbAsFe4kubGw1azd54YnEIDtBYIwfxLXghUmMFB1+ufM/+bP1ILVPLUW1zt0F60g7fU4ttQy/Nu9225qwZh17qtXZBtFmZmHyZ7iwKSPrOYOKOz6h66gdZaqSVqIWpcRbmqUYlbhj9qMh3qk/gjBhAbZ5JR7FIDKpb9FUUeaG5UEyrfN0fiiujTcqIOM0cy6sbr3/TkgXkiDBdsNDpf/a0W+H/zQ4847sDwrhHdWFO7ZFnIDLv86Qeon6lsvOAK5tKttH10sZWlZKSJtdwc1R2D2sE0ZMhy0Ws5mdyZ8kJ8vqig6y9lsR5NbNMTS/v1d2icCyTiIoByJ7CeUuaayROjQ+yMxJOrP8+kN8jr0MG1Wapj1WefI2MywdYHknJnrKRUti2j3kvpoYW0DCW3Pz6UDl91SfQjZeH3lflqH85Tn7A4xDIjCJ77EQGgaZAc7ntdivFd6ztxVxxdz6khRZsVTVgyBA3aU1WAonn6ftz3RVjZq5ig9Z9LZ4fs7+YjSW7/E3Oi7mGMxTcLVj8sGkErnP8iYUQ2EzSnDEE8LSAqr1LhX4PCbEZGMFn08xRkM79ClG/aWUN4M5e8Z6xeCEW1zjHUTmvfI+VcFt1yiTFTmR1XAb1xmeMKCiyTqmMO0UPIykLylV//1i87qmTX5loopJ9ktVWZLfAs2VwTQbGMWVTk0AERafm4lN+01DhboMUsK3ZMq1M32U8MlOuS34oFdlLEpwiqZyuSbFz+ZR13lRr3R1/oVVcw+vq6R0pFt9eRlcOfTjY9aelsOrWZUdOF6wfuRwhkDxwZkEXd8Bc20xvw1B/sAVuzoZbUFNbzFp7OydC1uc0gVQG13ydgDJgEaI5atDO+eVonoypFWq0NhLj9OvxRb4RRmLZnrPKc4caJEH0pd8HE+HIHS/mlMe4dbPVVzlwDwhdN0oYXKDtpdECqKA/wAKRkMgC+N9qcuRMfyUh26PdVJM0Y92QUXmwca/Jsk14Qfi7Blo7r0Tcbys8RC9RwlKr0aBWCOZR8c3M/5EaG7bxAvBs6aL+9BM8+bDoMHAmZA2F/AEnfBpNKomYoS8JWZGw/lryFqV40F84yl2783vaEnWHX58/cynekXzKNOKtxPtilaFbcM60cYSq4puvsf/aeMMw9f9PZ8ugAKPHuYux+uWQg87CtaIGYRZkcCcWj3Ia+eCTFgfEUf4vHZgm7qz8ZymqYcENQAOiH6nlhqRYLlkac3luA+h2Xob7fMaSwscTw8IIrlANMhD9QOWFGjm3eF359MvZc9LrHd2yEGEBmc8J/xRxZPUmu2nc3RXXAtqQfJY0o3Y3K8A9CZm4xDl3erASjGqtqkyE1YAC1JfZ/zTJxGpVcOYiOOrm8hsvUoRJZ+Z9QBVlth8ZMDvnU7z0dAW/V+q3zg7g5W+Gp3cEz6k86BzeLTHdKwREtPJJkphn+72pvK+b9Y68X8S3GDY8gIvWwxvwGrHIutHQGp6nNtUypLJpTeaiZxPghL4HnYXRJckcQaeRt3s9bBE69bOXqvPMhGiiiIy3oYMmC2JdOiOkTdZ9gkJDrrgeP85uux0XUvB9Sj7bxLECNxBBzoNsfuro58VAfY041hP5kf7L8d47gzMrYuszL3DulxFThSgkzzTWw6hoEnor0fd6bUSr9GxMDbBsiwVJDp2WHabs4loazmw/J8BYA2bwpberTVcUCKZC6D3foNsDMESl1yXcTcG7/7/X0ynHKDcLiUoIHFn7Ze4CEeFY7Vzl6TvJZDq4qKvbofIMd6yWWBhyher5CXYE0S7+/MRQDx977oW7hu0qqmtxoxsgNQcTq4WI8pnUxlWLW4+Gsp0r7JsDwtfovI98VDkeW4k5wUgEUls1Q4vBazeA1mc1ET/yTXBMB5kht9tlJNpzOXa/4lqmys3CfIDRghAJzW+yB84L/pAqzkgVCcZfcAFjQ4GjkAN4YDZP8oISZoLu9TrqQNnglbImn8HuUL5Uofc9nTc/oHTGSWMrckhWQTITDqruqEHlPq9F2/wMBm/uvqA25Sgh0Pj2Qoa/TFx+xaqh8XJOuhswyOjGFQVoZAmdYB+kYq3KjZCBmd4PO6QOlp9dFDNw8+aZ07IEgHOymjqSiliv4qTPXyVTFgJeBqg4tej4TKH9iB1W+X+5HeME7vd4lGwFwzjBCvF8vLZRMP4dOzWtaHa/0RJN1z0UNAYnIBPsN2Ae9AKqRh6YshGlyCdUnz2jrkLxo48sqfwQ0TOKw0axcxfJFr+4gOm/SdjHzf7zGR39HU3vh6X//m7nlYmyid1FOAHSztWlpBi9y7MugUJlvAemfeGhgVYnDXxSckp0LvEshBETuW7S4xswSnsV5F1Ugl627qpSxZ0LLZ2MQCdI7mVnjnQbXNBVfYFPwdHjUyE9Y6B/xGXJ5BZAPnHtd2Z0YI05u/GmWZC/qMc2ObyL140B8EKa+XHkamFHRmAq5NJDtQ4H36KihaF0zQS1ih2D5TdlqYW4KMTZgJAPhTAx/UUQqO7yo+DlP/F1a4ub1mMETX9VX3G8j4N4QIx3b+KDUhPbNWbYjVCprW5GjbimCr8LD5yGeEoCUumnrnC4AuvBmwdfQwmE53YTCjmAixPSmRs7w83kvONtuDvZSlPVkafpFSvFSHV/57RuJVfX1x2cWLRd7rBdQjxxt+7R9MqK40yV5opAVH23f2vw8wb3DMmk4cLYHs5ao2IAbZCSQqEUBhmRtCIO+4wjlvFn1nzpev3zZa5HRLA/7u9fcNbrLUhccdls6/DZ9XKjx7sXDvFv3u6mEPMoYk0VxkCLVM1Jt69B9mHpsie0zCUVmHcqnrxxCM9ipcHoa+GpRmGFUNiSDOigczgSz76yzF5/EPscJ4Sh2kt+bRjy7O53xC6KIiq8IpwXIbP17F5YwWYVSnx8fvaHbBoWd5I/0nJ1Zcdc3T0SL0rBaLF3nsg2kf81WnxydHCzZclmv8VvDnSs35rPFXHKbNOk3mu28dWOolbNguGstEEnAt8LRVtS+da3DXsTiaoDVbduB9rk3zFz1f5W4tZ+0uDQdOa8pYsBsquFuGptaQt6xaXkB58Bi4wAUpWJOCYiijjuuxw8fOCKwhN8gOnImb+rBfZYWGPXr2Zy1ZtxAIY1cThEoqMaBRFWcEwN3qXXDmNONz/cu/HC5hIf4csT1aiH+veYiW/uLrCX+2nWPCzsBtw8HU62K56gSXfvS8zdIH9RuWTxC9er9WjUJaEb2bcAStxFE2uUNS5LWpfLpfthp88lfQf87oL2UHShJ1oQAVxFzvWLjl069GX+3ZdQKI90K4xmHve0lxs32AMv9H6jjfsBqd34TbQoofg8ztvt0lp9GzaCjjkxC5BVMH6ctq7DNFCDjpA53CwMDJLPeW9FRCil3Pk188rQ4xk309CIQ0Y1vLAPHCRPdBmjDOj5x69Fbqs++DpsiigDB5tn1mtnsSN39Swf4oIfJPcryp8BTtCRzmJzJKTq359pKWUG7pk54cXkgIFeItq2Ww0+YniGFvzJahBbb/h8wxhJV/MlEGf8kDdXqFPoZ44vbGu1elav0M4k1uxvaQ4clMPaIfqK8mtGr6aGE9r22HNo6JQxsQVv52WmAbSa4UN60qrDXacsE+xeDCCwzejmPWo0cm74Mr0gCd6GSDM+hSOAcaApkiSv5gKKo76pi4ghwcKcG+3LUt/DdgA+F6m8KrN8UxgK0+wfGIJJNlwher/2QW5en5IIUDdAQF2u+yeV+5SM40IrQy+04/ktJ4Qzie8tXJ3lFmkmD3tSSoVj3EZZ9tT86tZa5CsvS5zFjXAfmWlwM66pMLX5FJWY5eJoFLR/CLhIyss8s0iP+91Pz7pM5q9U8Yc9oNHnfuwP1TgELyM8PFJajCNsRl/cau1RujMI+sv3C7vHv9SafOEN5PqpPOw8R+t1ZY86y3pbVvb2SO6DQo7e+PXs83LikNcklDe/ihMRMXvTSQw6CjX5t8cl+eoDbMFMMssPQ1IYsyZvT41MlKTeuRtRD47/TXj0eLg/u+klF83fQqGKPDWXZx7RrKtP2QzwfaoR8h5oKWZwuLMf7Zmz23PD+A59QEyIdE2+ucvI3Yxkq0yh6vDSqispwyPo8v6pzFcYcIuMVT87+GLE7RROlc8ledde+CJLCw1fm9uYyTebIw5Uq3JC+EUnJoaZeVz5wFYV2i7W94XCRi3el9RO2itwgF1eGemF+Req84hjkbWq3xlQOxDc8+AbJOjF+MBfIxb6mWXne5M5H+RZx34lGbrfDVPexwD+UXUeVvtrOl2h4Wqh80ZxDPBCcv67yPhCJWhC0sYKrsXlu9UnySLN/Z4Z6kwQ21paBAOpTsdYjXZcKtkjj3H0PSIXSVbUhbF+rxz+xbxy9HkBocdflR7qJtzM3HTevp1Oy1ORf60rzaz7Ju3jcHjuqlJsBfOojyBJudiPTWs35JPf6vZlYebkYbpDfduxNwzs7bj+NIUxmYglejZ5nLmL9nYIpYHc+RMq3unGILzEuG9RsKDCop5+Hs6clHTAeCw9dxdtgKKfizUadsQ/Lu7TzyGqFJi3+NNM//Sb3fIwBR1y8r0HFzOWznOoNWbDHLHwpgqvy1veaOYMo8/YKaxrGNXOBhr99/7w6NiAdBQWEk7OwFHwiYAjM6iNVPmBQkdCygl1+0eQZV4dcO+qdV8K0g9NjCU9G6IaFt5yvW0viJ+oeR6axLVS1OE3Raq7CWM68cPDLdbotCHC7bV06+zNQMJ09Bm+g0SKzmznSsjU16s53lrlv/NiWy1O67JYirUUUi+8CNRLVSintq3TP558QqkwCUqEbOJo7VHUaDcpeig9pqKVvxpHOYVLg33Wyj4NYLli+K6SaNV93VSV/siUJD4vLKcvT5bzMZCqTI02Y2b9xrDTA/9yHqapaAJZuVhfJ48unlWPhAb9rMRdUZrUwqOVM2IvIaFKmXk5YWWxS+t82rO3WnmNWZSvysXr2fTd6u1TUXR/hNT+vsKl5D8Bg8/P3B2e/Nq4clgaB0vhwj5Er90AQS1rIklgkr1kCQ6sliOsW/WuUGpETaiDQmuhob63dDZtIANl/69hwUNL8IEH+QKxJkZK8ESMngJOua0SR7X0oQa37J+bUAyAzhTx3ajZbYpz6XipwwejJdsjaULk+8HgJs3BdqpjBtEKRS0ntkGGIKp6wa2eF4oHzliEOjiNLmKDa27v1Y1dodQ8JDFLkoBGmWUCMOULMkmehbyGkSfIDcZoTT9W1IDT8uSiiaAzJlLU/dcpIMX0jbhBet2t2Re9mQZi2KAHAHSYWZ6HKHSEHLrGm2kBZKGo5imoG804GKLYUfKh5z1VrNHzNvLOIBs7K9IEFrUeiUAquJaBfzonlULLTOnhYWoP2qeb8wfHurUxJgQimmlylpR4wFWLq2BJJSkxqybDS8x4T0zD12qUbOtmWHmSIRVpmHhM40haBuMoyH8c+Pg9cSN6Ax9CDb3PTfGbR8kIjLIh8loZxfEoF/Sr/fY32vCx+hbqw9QvyjfyFmM7bjcRDIY8lQxc8E7b0NVLpGArNreEw62OvbeMnz0N7T42CkgUN/EM6ofw+fBSN4yDxmBl9P+jss3mlWfFOxTjo/YTCto4lp9C4AZ0wuG+RAkvP7UjES2BtYZnXDVCPQdEPHAZEyr2tKkwRdgoCAzo8gJVssi+SMFVGM5tMvDYf9r+DMupwM+dW4SvTAm3WSv06wxAoqIxFVgAnTYf8pByFswqaqMu8+M2+KwrYJYlNh76XSMwi08RQYiRosvsdizC3QhIw2JkA3RZdhT4DcLf8pIal4HV8CqWKDAV1nDEGWBULE4QMZkw406zT/moHHYn/3wakDnJxQga2OBBrva26Xfl3SGb7lbmChBeyJL8xBD83/8YNKqb4i7wgiLTOOsJ37eDoheu2rX7T/MkRYWCuARB5Vaoy80wWk82CzJOIwKW/ccmSiRJ0iqqW6gKOciTXFZmZ9mIW1bVmdxEHQlkDDdN2RpZ/IYpHFODOUCiukGuxTN8KhFVdj4UMBoMCAEqNmy57FsU1Lz1m2YaDYPgOs+79fYzfdJWKR45ekEFjmnrCrPYRNZat71QdK6Hqw+VhASlDXUVnQ5Qug0d7Seb3dp/AkSJE5pvo/ya8GCxheqokZE7WNHHgEVn+5TXNPvBc2A3OmTUIvarnqLZY7LBtbWm/UhrYTRHxMASVje0Fss5wMEti9oRxUx1UJ2/TQ4b8i4e+zgQL5tXhJu0nbjVnuSwiDJuUl0oLY25R26wolGOvFNsdYToeIdnafYX7w4t33d/ZCauQviwoAGMw54K5lGJG7A1smyeuDBLGHXKwwpcd9c0STgVgMARhUZoWb/v8bEUSMGy2nQREKzNYSjAIZP5ryL2sVQZ3Yb5RzlDj8SBzgXUtLwEmkVgheSaJZz8Pe+wl3zfjCHblODkytJShmxEtklVgf2JAvKE/CVTbnoZIbIE951qEV86RwKJHML7dGSqqdITrpvhzueFP4d4FOTZkRnaGCvu4QijQ3ldEcKfzG21dwxF/0DtWnzLKc3715RB5iiJdn0T6Sp7zFN7zKsjgLwVZ270AVps8rKhchv33O0M8jw1K9tlIP1MDrFaXJLWi5+C1Fsn8hDTFE7I8U/yjxBQgY7MaLcJorquudxURhzkLb/m0Xhuayti4zPDOXf4qwNow7XkAx3rlo0XBhFytstW92aouTjsv0bFq6+BJc+ye9DhLQluPQGZpCeOXk9Ha0WNv/V/8CS85VJEvj/nZuguW6kfTTMJAKlsdc5LJ+zqkkOXSJ7TLdPoMyk3chcaVqWTvuUpk6a2L9h1X8egQ1u823Dr+n6ETjX2tgfuWmpUhl39LVar5XGylOhqVUU75g988OgUI3SaAw8UGDlzP9PNmXT32cq7BIp5FtRM5CGiWgpJywaVM4LTdgmSAyiH3OrqUsNgf57LmV1PTEbyky03DblNFIyVZh75+ccqwE/qizx49SlVh4nExSItEQrg/Ohbw2ZFKdjfjfdGqlvS8z60Vw48gtkreUg0wltCcBiQQo7fIGT16leorjKEcKhWTsmMFrQM0YfuDk5BwW0SF8+hz51Q/BAtPezDVjeraOs2jxG5Q60rl6OwS30Y7lYasAuyQKBWA6v380LMwa6FjJrAJCG2uJyRH2cxafSu5Y5YoNITWSrsrE5n9FbM7f78QUVGdCkdo/xT4YSBPbc+iQGVucTb8TdxTzD2z58HVkgWwgn5HmDmq1QGzSW7Icci9/6+OJMI2gUq6HVtqxVYLUJPXEfgx0jrtJZtv0U7u5MWnsBnT8m+qM2YHax5HAk88H3eZFKj0C/hNZlahyG76ebua2l/W8nuWZOoHEym2nnID2SEs/3zdR/HvmaNNHvJB0Apd9+pxl0ud1AioxXimSDgq8lVnoJyom+pjEEf+w/qUWO4A9l+3wfaREJeXmN0oRMvJ72g3weo2+f6atVvlO36rH1G8FC/ktb0ys+9Ohh5T49ET/pHr3e18ku+acuUq6ihxACLzR9nDE915GPmPoJmWj4QpwhMWDRj/Kax62bFihUKMjMACGNiN2zSMzQROhjuinv5n1ZjoZbp/XTcFA+y2GQt/8cjGeyYdhM+Y3Ni2s2bxo+fjgDK66VljenJfwsd3kw+FKBIZX1v/IsJOLUfK2Cxp5fNPlgdAuorTQdLb3+xC4rlyf6ff429nDh3I98ECusgPJZuGCYjpt0IRLYBmvt2yhteo5tFtKvpBY+zoC1ElqhP0PlnGJeQ0dt0QjroaErPKihtpXuaHlIb86kUxFmpfjS0vip8o/rAyclBmQqW59g2QWXpQp4qc8i0uITSQcfMCvRmxDnL5creN0mBL1aT4klrG1DN4qwQ7GlvoTthDfbDP8jVbwoRznS9e2jD1OjY5h/X738xyzCZbaHqT2hkR4kZS20vRB2mQdoi/CKZsks6WS6kmLgnyUFmb9YtSvvo4Bb8cOWUFRHjaxO2VpfJYfb8Ay1ChdYIY+2YK1XId96arDu0XAvNlFQN//57a+i0ug424g1OX8cvKAlKb3JUZFjRGDxqpXqwI9TDKBt/OU7RStcCdYyIGKH9gV5lEy+4KNJp1AqfzRxwBoMudvLe9bfkXZtRU7DJ4o+DlKi0V+BMKGJ3PQ1UAeh7aeV/Tl1OUubDi1daivle5tJvRbbDquwTozO7U60joekhcYmMd3oNfJGWvOWpKfeWUgozfd9548CPZ9OdmXk3/AvejvvT2fyJDqHuF28wgPQROZb5m3c7wJWD49fr9DoQgRAa6GnUXV4q8VbJJsEjtGODx7A+cgyIXPAHoKDDrujqbjhwbTKPW12fAD+uaQQ7CRVkGmy/quF31omxq5eSqNRO4yQQHPt9osVM/AunaXL0HoPbACuGYPVsJfLvivPYtYkGfDn3BSrStKEK5qZWm73F43IM900/GJX4tYbTv4soiti9j3zFOPgwhl+EsLfrtduXR+huwcmMOM8WdHPx/F6Rzin34jjaSGSHT+HbNJdrKShNEZxh/QLCa1Q+GlwQNpelO/5sE0l+/ULHDXZ3HgpgUJISmPukfg3JKyN8lyWWvpQIfmWh+Fx+qvqsl82pObirF6czvCOPLTsWhVWzk0wCZVYFb3DNCfBcvShbKEWNornvX865Uj6B290l8YcUpRa9/E3M+AG07sRCdSiUv2JpNSsvSWN2kUsmTHDApw2XUTJpmVubB0abNhy3nxqrmk4By6B8xM5CHKhBN6Es4n0fliMLRMuIx0lwPvDcdrLzrY9y0YLY3a+krK9c8PhTZlAwbSy7UIjNBxhuABJAbyEDHUqEDid0dS26XLroA6feSZjf+S7mYTm5c0r7yKsiNpedhkaeUL8KbzfB2/ul/yavwx1OeCIGw1334VNm8sFouBQrpPvXXYTG3S0RpcwtLhViMjD3AH4pzfcwe477tDPss4wG9/zThWNiHnn+QHZbfM38GpbdcxHx32cXlIZ+qWnO+8GLRHpXTGUwvTTUwrhfXt6BLlYfdUn2ihW+TxuWNkcXZlpM42iDr0OEWm/G0+g09ddOO4ntuaZfEzh+b5yr0weKvG0T24fGeBoyx8LjjGBJmG6kdiKv5uO896iasuzqrYIA1VqriqovGPXDSgdGz7VKnPCBe0MSs0eJ0UI3nYCZ8Z4/fclokNDpUyuUr3ODuz/XAKAi35HpTaYlSo5FsgVhvXBbdrnD3rv88CSLByniPM50S1olmDdUk1JnVn1JPivQ/ckdc4bamkg8+ClWhDh+jHSqRinbBGBeDAMAoPp66aLSwsLFJk2CQmktQKLooKjxLBA2jc4rPVwKhxqB8SSJbuD4XG17VlBbdnDoMm7ywEfnXTvK0qwzq+iXApcDTep0QB/uOkkV2j1H+oJvWBy2+tvEmh03C0ZCXv97UE6+1BVBo8MFpjNElEBWoRhv5iGrE1GaobdimpZEfEH1ofB76oEr7csukbgtCJiHLBMEunkvC3JqMRZXq7bzRC6DdfGW6uHMXXba/tgptoC037g6QYPCUt5h6iL8NDXwiz6exXnco+uDEOuQQO2kzLcQtRgYMm7SIbzyxaQWb2a6ryJ7U0ep0SPr1jAFrWG45nre2FHnTbXhiXzpNCVGr5bXOij7ddTUkppyScI8ShL0GwxBEc3ebBHCLcH6Oc5aGxEl8tGufFsw1D9B/ft0z0Z52GsJGz9GmB2OQGIL+DudMu/8+QxhtXv9kfEEcJXdL0633xGXWZjDUTtKrfZXy/1V5W1iJVuaLvvQvBrU9/KkNVgkyRjk/UyAhbE4yinb1fO1sUBdRFGHl7uvHDNT2/yZsxDgU9V/WPQxLjoIQBbIXz1ijL76433rsdxZu5vpq/4vhTmOnHckIT8LQWgSSTZIkieG1A2rGG7QaeO5RZwd/gPnB0NwO7YpeEHTxuJmDWFQoXnMkGTF4fN5DRsa8HksuH2TX3nfoqW9LPRnVJrTCz2ghOva/srj563FonLhjcWM2oHWH3NEvKX9xG2tyOVQYYvbwJZW6bDbZ54L4zNiKsTE8VOgkn8MUqgN3d9zd3+hOUhTw22l8R63BK6VlVLYRBZ7+CEdvlRzRJ7rXxrwRoj4mRDrW6CX5vAbktcwEs9THwmf0KXl/25pwC6dxWL3DN8XbDFxSeGY1iR5XSZC5ajiQ8HlGCeMPpZd4XBSmoYybdo2jROPyy71Mp6izJfFfAsRllglwpIDyyjoFl6iutcDIYdct3mmmSqK6ZRoHUcrHomQOgRxpTzwP0AYz0s38DhbsSmO4PpHsZNC4ETkGGvePgfSqedJTHXBxrDn9qh55DFu9p9dJxXeCK1LuFoUyw29N5ANVOIdS6MZG+kBDNsID2clEu1uGRGUYPOcaeQOh8eB3KA6yQt+TpUDizg4QuDkf+OaHRQf6bk7Ehz5mhzPUux/KosVcbm66iCl2/ylF+v8VHrqVimUS5YaauX99rQDzx/ojzFPcB3TcslM1qh8MY8pe5qPcEIbA2KqrRAqDHvLY84Kvq1AHuCungXbOu8+sbQ6SkGtZ0TyNGeV7OJPeCGOgjks3D9boSv8dJddMmaWvysp5AcRf9R0o9r2S2Uls8yzVVTkXN6igzcVkaInrReEGI7MK3TVdAPvPdDnbjUNRGRQPBFDac2//j9a0GmbJkZeRTIXwp8t7j2z7a8/yj2etPVAVKTUc9T0jUHk3VvljDlSTTjRzw6yFnV2uc4vYRc1e4b6oLukxb8iFhGZRFCp78yHX20rHmnb3egHGSE5X1pHVbVX6TuXBN/7mkLNpbkJD4jmsxEqPG/mVnCbxQe4CVY5vk6CPxiztC3flwyimtpe9tRgN6sVwypqDKxOlKgu6Jr4xmVRmHhCOiFIwiuVDd5tL6IsOEsdIAkCjdUhryfJSQv/oCBmfsb99Xbp2Yhf1jV96I7pHKiW1MNLn87I7JBYkXjjWhiVrFaluWobkDn1ZyL4kjMERVlTq0iiMwdEKPQ2ptH6Y5FKR9O27uLTjwwKgNVTKA6AQ7yTbmhUju6y7tTSaxTL0dApbzFXpr24V5jf39DG56V5ty14of4mHJim2lsjxpq+NBdVmu7F3t+sqrxUeyUbcg9DrJH0JuJIBwyeQyq6AHnkIiTczJoZmebYtMSnw2M5LEoPlQxXDXKe+LROMfFTuFAq8mbpNkz9xI5q1au8KgSXjPykWvnVUPvMjbCVR+S2Rp7i8Vnr+pRnWHAfM4IDZT2iGuAP1E+Mt3Qai2gX+1wSlVco0PNFLjR5d6Xg50zxypT1G0HfV5b7MB6SrAqRyg4i6KQpEOKuisBVemKKbtw/lFvyonmMfhHrOo//Wo0ZNUL+H54NB6mBUTjHJY6baPtepll6n+m3rkqWcy/x0M5MoL2fu/wFj2s2q4lVUKrLkZy4uLXtu6/ASUU/JgmNMBfLJ3NCg5Sw53BEMXON2S05IRtBi98lsr3XhwTzik8OEEtwtCQNeCGUoylAicuOpGMNEL1nkSzFJNsExcr8E7gWt+qx1TrS++7bv+dzbYW0e3Wq6Cf9vwpm2UnyYPEyfi3MJz9j0iq1J3WEi2JVPu+gkU2dFlKplDfWVxoLdTEtJfw3hNFYMYYvnlM1m7/zm3hhRc4vCVA3VobiAK4x+fto33qEDOB6Nz+hpFOGHShtpLQ3Jt0/sOQhblkzwYQ0XgHLSvJ3l9/AjZwcxYyVNNFIZZ6QR6y75A+AZWKfEdypZh2hPLbTld52GW6+pM54CAwre+zzx7O1O5yzA6dbKLsNQDC+pXRPeSoIWCuRo/m37L7+6Z5LcbyVj151CP+FZbBtyS8vCoWMM7D+4phVxqctV88RQhcApFWzknOiuZptBMdn8xqLoRJavnO1sePTL4fxzVtToVVfZ6DfRV1xytO/jOFWHAnthN5DB1jvzNEPLt1VtDeY2EuedwK4em3QMC5gi3Cy3TUCdSzhf3xetI2usrzqECGQDJW5ORD5jX+ZP0eravZ2cBdWD7pcdN6CZJNrEOD+r49GTA+NCRDtxmhXffWjHjol5Uy9pxBOwptzQ520FWsmOTykXD1ytoNj33lunEZA8jvznrNKfhIrKT//DjnWoHuvAJrw6Nr8cCRsqeeYpdW7az7Njclabtkw08PyW7reudbx/MhI6hLsQEDT4mSo0ZbdMSc9VXIP/Ja3GgQmLtF8nlpNeOYPttH6NWg7kWd/fCosen/BGpSUZAH0C6scRESmHZMO92LemIk5bG/ttUfBumLR5t/alH2sQT1Fb3pohQtUW2WSnTK9CiaQXMPmUqBwlGXqcqCyDBhYPc2DzbyJwjx0PGAsFaCPkwLwLJDnS1RpdwuyS99GMeAXezJbHRxt9EA/o8Rz97QczLXSj/MwKp+mKpxNZ9fbUCKAw1xoCZDivFp2Jf1NNAwPEuQPi78xy6QbTyJed3iIVx/R7VGfW0bTMnM/Z4COxMUOKqr7HJ9Wjw3Xw7uImQWT+kFKSTv/P9mvd0NQnUyVdTsUc8Idsewo0lBsstlJJQoZGf45xdcCaWc724jtt5UiS7vCYwbWMd7PPj1tX/fRRUXRF383d4hzS9iwnOhF+2GZLkqppAJ8XgiK8feLwF6eBByxUNRWL6vaqQ5NK2qxDP70yob3oX4rzy5VHvfM6IDhg6MQfnzaIZ0XdtNPMfvnan0CYlV/C+W3rgi511bhjSeK62qYr6fqWc0mGf15blhw+XXjOSGBjMxLdPc7DNqM3mddVBwO0bgHO7OfzHtcKw2KdGDnv9t+ovbcimb9sOzgUskgcAMxmmekoSv12u6YqvGc/UyN0DG4qa3Z+QJKm3pLFx8VvYDlrqRFAWKQk56U5MXaLai4aInC/eceeatKFDa+oYe15czlicmdg6FQb7ErWNqc8McPzrRjaXTHTQPPiwRmey2yx7uVYYuvmSMYD7TVivj7eqDh3PS+KDd5QEhnGLCxNr5HjZp6FhKn1tAgpU8ctAwKimoPPHl1wz2ioFu/xtxePK1r5Xx2/q+68G9l3JcZtY+B3NlivcUyY+DezWO8S32n5fsVROD0z0PAqBkObGVBbwEx+3MpebOR/dqOJ1eR+ww0gt1NOrJjY1Uefg5LmM/XF1IJU/OiRAjL8mzRNkfV/5m0K+BFJG8gcw3sNh6HyMcszDr57M5h5wL0EWnld2er7jwJvKsqvEvyU9AR2D/upUaDO59s+skBsiRD2QZWNXuJdFpoTAJyA37ndTjKc+CV/7TE0tmTaayd4ovxH+32HUR7PYT++bwFwkeinbRndz91LZVtke6X/hCaljr81xr2pacJzcbS1fitSEVlcv5Z1O/DLRUevrMUogh92PZVqiao06u+ORlYZDFwwyCLI23uuwQmW6gjl7un6q//Jc+5dg5RprgRuQ2Vk/tf3lmSeYGDaU02G4etSH4lxWeX/MrltmIeV4cHzYluB9xL33zB4IQReDXyneYb5IP7uxuE9CNk3IR1YQdEPduvQKnKhN4nV0vI0sQQ8IgijDYLniJq6cP1q7C39en0co9Psn9Jy3zCAt948rB6AaridhwX8j6xnWiQi1tPl0m4LdxHyvhokunovM3MA6AofCUBJ6mHuhT+cdndFhLvdBwexh7t5AhRR7d1JEobCY5m2ZbY5+UuecmhbJnExOdNlAo47uebC+qu6a6PWFCSEacIkvtxZ8t2HcJ0/4ofmLlaXQiubHmO9kIRzuRWQByC3tse8NtuLckAd/lKtaz96ml/efn+2K88U7w9Cyjc0TOLX9E8sEkS+9DzEbdAO2PxFojHUoidpvvCql5rTFxg/DNOaCePcDer9DXnkNoSSxfI+NikNlzbN8vfJE7KJGPYjrM36xu0Mjj5sOXxSHGcc+ljnqwYzTC3GTezoQFrHYJ2kh3+rnWiTwYsIkww55cD2XN9EsXDPmKoInkAnplGGrH70WWQ1JagnUZDRq75/po8fnWXrMaOOJ/E+5i3dKku01PtXILXRJ9eiUjHhKgWf4msGUrirAVvud6dyMYNnEcy2dC80DAA9udXm6qT2z12YZXQFC2ufwvusgjxodAUOi26OXRmMe298ZPjpOTSZFMNIGTLnbfeU4LOD3EPIueqzkBSgjCl5NBgfGyDRLcOF0UgLbk0xD6mt2+YLJXBXWuKrJ7QezSoYmsH7biKZZXfFleRgwJxH3NumYDjRnOX2jhkTdckORx7tuauV77pZ8YBvL7iGdPAYsoUgW3StV+zFP7OAq/MF/3BPPNVbO9er+39/DnFlQYyLr7pVdtWvtN9OqV5jS2DRoD5mHU8keRDMVR0vvETcqgrMjf/2YLFUQ6qCjkMwXjz6AV1Z0056w/Q7mD+DIIBXWB/VY05+tPbHpX8bMWnHPFS8MCcqciNiFw417sUXiLbgn+CbevtAtZuJbUxOk9kuzvouZ0sVWkpE5mElADjeiaiRt811PmLGT1Pjn/AInjjVSY8dfMBtSZvPdyAinvlTuxRd2O2uSqbxjrkZV57q2vqkQC/WXzDAFpCk2jFCiEbSOdnr+ZpIcDEJslRXZwGbhVqz0MBVQkRf+/j8ixWwJSQU8SK5mJsRY4mLV+3hnY5efYIGFwpMXGbwC5k4HueaLlu+BxGoRMnwFbP6pLWD4L0LhGuPSBtzYXwdyxJXyFhyXB2rcqfMjhs7X4lrB6Eq64WYaazOMmwt+SWiNKpRX4pZuHQyShQ7nF8wuDdvK0h8xdCVT+9iMRxbWvh0sU9dnu/lQD/CY2rDbD4w/27m5VTOejYw/foxbIBIYztQ0uGUVOn+UyiEIkoGl3qpcpe3UI7mNrJhKm5WYxFdAOF6fHgxaqgvjl7rh1P6/BZ+WlpwF7AIhqQ809CDlIfStZDNUhAHnsrUK+FpxCg6E+D0oCuUAUupLIyfSr3kwwSP3DkwunIdRYbLhMkvhxPIJU+lw/cC1c08TJ2TWii7dXlwEdY7lmaZNFq5g04d9/h1exmN81/4qucutepj3LDbevBcjpN4yO5vZNk4d8FONeWFM66M65B6hc3vPlgJ7BZj8Fqh1Boyzsg3xmECdg6Wv9lKWM/SfUdcmJZfiMcGr6A00rieBCgW+VltUtyOCD0pGEuSWNyj2/V0pqUah8qEIi7KsByzBYsV5nAi90loiXcoUQSMz3YAr6R3oTvJ8kM+DDd1EaXT/gG2N+JNu8mwPMcy7TMNWkLRgeeGBLSv7wqUdBKbto6MlrluXAJE3EpSBJkUl8/HNGW4a4qHqMh2EHggti+mDFvMgtJOgdwORaqbH9nONeGkNJVqxgWN6CWzUyc+u2AXRfOqEFpyBFIj+avBAxhA6hxijDKYzKBqrDT9tNL7xV5Du/wvVIXluEbSiZtkJUwOE8zJxlBqasimga93ri5wwxifThuzB3OCndwgod5lkxlVur8gp+EMJhFIWLZI4+Xktb5fbVpWXJn4TNTklw7zUns1u/jxKtj7QmkoqDCJ60SND1kzdelgtO3LhKl/QPmeQEASOVQu2O/pCJ7xo2ImSgSXSwqQge03Ch/NRlKMhDpMFhTdGQGj5GGI+Nbk9KHoA6mjXnFSmEFhCj1hS650lxAtHXUSRMxsgIiGoEOy1DqryxT60Ru+x06P2Wz8LUrkBInCaLI/9/DokV8oo6Y2Ca91/Li1dS9l08ygUXWUse++WkHcK+TanzknscsaiHoXNN47S9CBHHKPRV4H8CMSPA3a6ZXwi6sCMheX01dOXpI2hfk+BcLuAvVrGPkPplmG6oVyxC8vWsNhPSiWEHCFV9R+HC3xXxRUkM27m5hCFopIYN3IO46DJmnzEgpKfBPyTz9Sn+eFMTwgdM0vj0GFbftRYgmek4lE3YpHk5WPmIO4gphYXPJb3kG5YwckHXTwmgnhCiRkXA1bdMwxC10SPQ8//VwGjzuCW1w4Qae50b2N5kn+s9RgYyoP0uF2Y/lN3CcDeDTnNX0Y1mzrSXc0NWrWEFdrVwjyyIkRgFTYai0A1aF3rzmmXVngXsPkC08DW6keW4vCvvh2N8sU3J2ZsLKpFYe+19AJlmRan+WGB3L6pShl7xSPLMmQRsYx8dVpXyajFtO8uRO9E/oM4jq4SdlfGw64SdibIfQBsWxAyotGpJZBA9lsko8eHKhiSn1S9t31i5tvZZjpZLD+JqAbGqT+XFMd8cCsJ2D87S2/7VlYULMeccsQSEs+YWM2AZMew+Ova1pqE2r+gwDYnB8rkT/OGUaC4OLgkukKlpsmbyRwGFbl89ScrJDtIxT2PkWTBKIK6tWOBR3mCTcTltHhijS0xBMaAsKhcbGs/RoHQulU9aEwFSd35RhdBbX5xaT76QUXdqR9xjcr4Cn23br5g+6Asi1lOSwYlhtm0TFApgMmkdpcyj5aUW6eX3u1BOseY/UaF5QNR4kzOjc9ZmIdWKIZEWmL0GSYUPrh38q25TWM8pBSfL3FZy+79WwIpBf7fePruMXh5vjgP96ckE1EY1zweJ0g5zrbOQ6ZegQrTU5sXXMfL1T/TiT/CjwYX2+VxDl/GTyM/SibPpkQdZrSUZodk0gv79dYwNT0CShD/gfCZ41+DULlyIQ9l0IP3jeBFjX3nxpXVQ/LWMhslsnbG4DNO11OOqlGe6AVooealo0bFMLpxzOvfnjEUoPn1GkKgs/Tfsb2uKJ3CiYtLxPs0txKwcl9Ux4R21XUXw96wEQZyZ4Vx1vLVjQ5Cx2uZYrcpN2vAkWLK4vc1ki/f0ic2KXSnkmgBrcYE9nfCcX27z0s+nM3BLdgSdKKwQUetFirKE9RAtQHjRw7GywzzH9suhmjNtFNTsVvAEI731fFUTTrONI1lpNy5cVUNZJKqwsuOXphyoBymWVJS8kBhKflX+ZK7VEf3Zui8aj7FMegq07dyfz2dz6T7m9r7SGNSKrXsAna1IN1ISrbUBRufS6MWtbvw4c40WpBlEKVmyCCkXj4IuGaasuHUL0iOimqrma33SI0iuQqPEHYIic7TJuNCkA92XwRJEpLrGKphRn0GAv7UOJVrV/+YN5PVeEqZmURihF2beksTeZi4OfUzsw2Zc9WO1LhtrtXxDKs+lBH6Hrkw1orVb1n86qAPD4X4/TP9sv1zCpX9u2exG9fCJTBY+ou5r03HRcodBlNv15m5b4UU6QcxOFPLusfjjoVSaU4RDAQfQt6cfvjeJ65Hxqhxea2BJp7WhLVBHcyweFptOS86alghKYHQOdaddBC8oI62t3mo7nAxDjKLYY2Qe796r3dygF6o2zhJwuxthj08OX4/osUi99Wy6ZruKi+z6EwgiNlaqJfTdpyXFEWoqixWLgLCfVgrOvDJyMrcpWZuLmyUb/MUfdvWVEZarQ9YdwrbbmdbPi4sHxk5NwJ3fWA4zA38g0inRf/tupz0A9P9qQ4/bPkYusOCnHpQqVWNGzD0Y1Vmg1TibpRgt4D4Ry2P84GHd4rYsu+WXE6nK6VxyVkza2wa6iNwN6jvjkJaFhzSpRpMBGBvHfTRy+6xdQdOTgaUieFHExzuf25xmUJaqHFaDOHOJzfuqbzessyaNNMkTWElo1LQDkWrpxNm2jlDNlSTq+qbfcUPKTJ/ILEA+NamQx27t68bDUkU1i0YVNiJXzp0RNQO275/9li3ZtkNI3opR2vq50VnM+tUbwUZWmtVBWAjQRgNjYxm3DLumXXO/AK6G7r2iLC6kXDpuDwc1gn1Z14ROInkddp6L8a8P1l883dF+I5ve0BnGjOjOp+1fHGUywFJBsjs7RF+d1KGbBmNnDpdYSIwrUgiVMHE5t3StVH3zMkZ49ODz9cKaXwn5qXf0AMsJ3B0xq5vAejLrkJrEC58VZw6N7/7VUzLfywFhcpMl3C6jp36j13cr7HLermvkp699TMc90tLtSeRkaw8vLCqfmPoiyhJkPwDkHwRVSAqn187+0rMEHM/DW58+x8NAu9HX45liUwCAJGETwkevBarKmKXK8Q2LcQYhaln14u52fdOnsX26ngMjHId1yBGQugJiZ9W/do4rNAb2JT/i/Wy/G/Sm0NHu41m3FEE4vw1chLrE0+GVpgsrH4MtcA+i/+GhDbC5k/BJqrXMMToY93cP9bas4lQ4miYPgCooGCCCrhjEgOkYZksDMpeq+pPUl88jCXdzvkF5qUKdFtG6hFnxVAWgOOvbqIychJ3iSkutolyiExCzhX2awY7vJWeQN85qagzOa7Qt5Z4JrShQ7I8f4//PR3j4S77jHob0V3kHsa5wr40jzgSOQO3/j4ma6oIO063hWKDPaiTL3f6Wk2rrGfUzv8jMRofBslZSdbmPk3JlsXi0z6K+t7aUdMvkTxz6ShAb71A/zRrO6rmF3t72V7NClbNlcyIOeROOOEhT5vji7wfCwGEwICZ930IKrqpQCCHy936kIOf2vIv+Bjg/colRPRoY4JnTr3VAPPIrQufMEkQQEIxVJbxLfDOqIA8FrEPtbuPkprut4FtVlG0tDchkOQhfoyOE3Ktl9oJoYBJm+kQKEy0vHNsUT4dGU3HbjEz6InIyasof23Jitb5hSYFZmBNfZiiXAjHt2V7JovswBsJATwMnzu48eP8Xd3aVxszE9duKI/YC58VZf6wF/EGB1uls2GXbaY4AUCvqLlvic4hxZLqnflJgpFXM4fuIxdzJdDSXysbUF3BuFuYYHl0jYcSGwPoHJCzlaiiaunWN53k2LRaFswyDENoMhL90A7t4cpsBl7fA+KW7NtsmGsdcuggw4YUAk6EeERjq/h8w+CNgR1LHUTlfrh5VGmCaMfxRDLyvQjNVZrO5V/Z29TkxzmFbhOC5unUYXam3r17Str8znbtxIrwFBinxDEgQSrvGgivzvRJiAXTxsvoCgpK2mWNBMv2V+d9I5kZN+asmITOAEoV38eeR4n2gRIVglGD1FRGhiA8c3+2M4u9RjH2DhjAXk6zU9m+yQftyxARdSikVEMW9iiJ3BjICuLlfk3pCdENemlUH+DFlYYy24oXytjS1SWobq+8BL/xCj+ToNlbDCwBoI5j53XYJPG0sRSYv0SFnGm0fOR3DruKkiDqaqy7BPbfmI1nRbFZDnsz0Jl2mbSVK0dXdjaPJMi3hwdvVauUerru6LJoePin9DD5gJADDmWMfbepiqe5emZN4zmtEyo7cHVRSr8NaV3fWweJrfw/f5vNNIsPoq9HsP0koV6lYn0bXds233GI6ZA5M4NIN6v4vaKxLfQEbZztqli0lexgg5piQVIT3En/oYoGL5SQTVqSzFOGKzqth0+rayd/0AB7rM3NmgmnnuwFRQgZgSvT6PJgp6MWaGv3m/e0aCrYvIpeOBaSt63Ugwp/gbtGauDQ2SZb6LGQ2vskZCYpRQt7dUUByvTWZ5r/2qiQ9g9LPU34YUhSEX/sJzROblkvB1eid1WCEPD3+9qHTwbdiz5IcMYpK1HA2QwpkGW8GtH0o2gFdnSrUzBLUGPZpUYInQzAuJkNzV2cftw+6SaZ3RmEDf1dWGiVa2oFrKEnkRAMYecKb8RusPBLuzcBg57bpHrjIVH7Phwj7QWkwLB50uWDAqTgI/JWJtRHdtVTQNLLvRRuZNFylaZwNhAs5zzZs+51GsfMtNJxQVGFktpYun2G8hd69ayDO7kjfQbUB/70PEVX1GnqMOk4ynpaoKDKCRHbvi7i41LdyQ6fNKeCkNXHbWXf1EgnN/t9ZD3YPGZWTUCRvYE4cJBRA834ljHU/5k9eV08DrY/3aSSFAaSvgdjS2pvVM090OpFsLwtcaa9UepS5dMo/dwAswWhwgECMKJXeC/ipLH83ACXTXnko3TaZD0VTQVLAsuk4SXyInTzRNGBbQ7NeXZkRQUuElzR51zz7wrSCqV7TGJXVLy1xTbbRviBdG7hM2zV+B5z8gkCsOclmDNhqMwk/FsQKQZoc5lxIQ5qnzumJFvKbEFxgxuxIf+nzRnzKSzF1zQBHaRkx96SfvJzUXGHQdjTyWteeFsE/o3cQzEPL8B09QOmwF+K/hpnVjZ3AdGWku6tViCw6EpeWY2l9K2oJpaLs8ydveqPndZziBsbfUSoWcv47cLroLVvHejSWaXLJZyiNGy030ispriGgDocesxi8yKzTmry5Kjfk2HvseRxR2MKMHNZ0GUKRU4NdxkI3ItVUX4yROFgV2jBZVCXU3G2IQUeJLkXSRCHAtHGD6vW3iDzIcksP8KyB8XigoXCme/efAQNOHJRJWpobmAx/oZbzG5kIAFwzKbQe4/pDQRARITLun9HkETYFPIWHYlnmWu2HM3Pr77cLmnQqaBSjm0DWvp+QYWkcSJbhkbzL73fgEjL8/QVtKxDDTQICfEcG1PkroCVQmV91jaFNJmgCJb7ZIvakVvvBQ65e15vuLYC8Bw8AXNdV46vTS3ZDl6BLkqQRVztLDJHO8lQCIz04FPSJzomL55uvhXckLfE13NMKV1Qjv1AV8mcp4My9+cPfNdYqB/gNgxTL9KZEJJoJd3SSW4sUXUNdNt/8T13Ha2n5MBir0pT+Z9QbeWZ1ZVk1d82uagvz3j5E2Vl4NG4kPnrqx0AJxG/Zj3Jbb30Rn8sRv+IUdFDDnG6FwiF8SPIPC/QeqB3VjI3wcGYQJlzl0JDJJ+50qXOVH0XtP5CsPCncE9yN3LuhwGcXpUTy9SyIdmks/Pb7ZjV55tECQzrKZ9OktjSIJTiH3WLd9OgIMw687QphiL0lU4v1lMgEYK0ScieE6wT5aZnmdEOaRU2dt+GVB7XCPoBfKB105X2m7xmfQXld6s6gqliTZ2dFFlei9SQ2p/Rf/INvlfbYbgjVL2ckgmAY54VLT6aokVOrIHNO6oZk9YAULjcXLdxNInoCMaPSTuC7fnfXpGKrGXvGtMagvwh/0uxSyPb7deYNod+R49hyXLbWJM1k1/8GPocoJsd/FFCim/KGldat7pZgvUapjjG5jWC3heITynVGrofTEcQTxzu6i7fWkvUGcIA/rt045C/SHpGNy7yNz9cJptk29byKp0KT4B5DSS95gWqiRbB/f+T2qfPTrOWPvd8L2JNllPywZCNTnVtEnbGFrV0ZNLrPTC5/Xv0m5/99XP/qJBgMQBKOZ4+vpJ0q5kgqFeImFSjs36huJC55LMq1ac1wzeL/SJAS93fW59nruGdEUk6wis6TK9B03rgBA+vFguo+epOmhc/8O4swiHowSJlONbnzt0L5ILFBtEiIYNYmK5GbaUiuarUXqYjbZcJZYiDn6nF+isD6ZN3UIRD3O+NJAf1JJ0ZEw05L2dEfgyuxQbZHO/2PA/MUF1khDOFGfll9y+jUTEltqGyoTcnuIUaHUQo+vptgDS72o45bUSQokUu/JaFyeszEtN9deW+0nLBcTd4Nv07cHx7Z9sRfJ3bidJJridkplxWURu2BURhvOgyn1zXvRw9jPLnx5IF9DWRF3zx/NMRZ3DqxwHO5rtU3B/7bxWRbr/L56q0lRh5WNOx9UOxkGPYLyu5XvBkWyn2l8x+HfZk4i1qhms+9XMFjios+L+EV4kEpwOMugzJtoxgtfCQTbNkNy8/zt6Kk/q8JhQ98YXjM4nlUrUh+99GehOnEY5upQBSQueYRzIaVuDEnMHbC1W8JCEYxlWp22YhUeX7MEA1/5bl+gg2rmlhG+t1vY7RPgfcSk1MJz+ZAyjfiR+D0DxC5ykE5GUXW21yxDoWFf1Rng4aiSE3Hab2RUn/QngAHf8nNWHurUxPbIYRXksw+53NA/9BqMQU7TDsl2FeatIKFGA9/NUmRy+9fkRtTttMHnirRAPvlb4++hAokRlcCsTubfWkYlbc65S47ijF8xgCPbpH/0QXPNP8ycdKc+HmoDnPM3vo1+s+rd0/IwFVRUZwUp7DCvV3lHmjH6oIh0GZnSXH0CAYGbJoo7t8wgnLeg1/vJn5CxD0+ibFYgeZmNon30HUHiPdxdil2VVmSDUECSvtKLxQqwNn4TCRUw8SFJK5XylMzsyd9niAaqxH67gTwst+XB0qPBR1FGY0JfEGIf4T7Aeph4qdXs0W7uZf+Rho37WaVefB4x2syPIQP+wzBdLKUtDyXcriXGwcGoJxkt0fA157nEFxzbxG3bv6AuGI7yAZwdRHtMmxugZTtN2fkLo0Iepwv/3q8xDnWfVvC9tlary2carcBbUAuaTJXw/MdHdlbn6wGUAqK24NOuzalR+Y6sKwG8QLsD5g/+OnyZSQqVfXwk7ccy1uvxCwGdx5iNFdQ0JwWkR0RenEKBqu0wTi1QxEe320P2UJZE/EZISc+arAc+1YDetm9cxe14LCeqmAwCksYLtkALoKVRzQOsIlx2mchyXbEweKSA3x4vzx80pO2bTylE/7caRk16Aj7VZ4uXUki55Q/RLFjqbXhdrFmMLyKbZc+4CEIbAIvDIzacjYNwaet3Nd3Plzz8G6DdVUkHnH2LRYh1x+4479MQUF89ZVoJBhIEZ5C+eHklFJwtNoWWS96BI6FhIxGx5psVwOwF3BllPub8YExAtJARAcHGKKH2t0ntjotVj/qienUh3M1zCiyd6Knx4fRJnwVOqjAnYoaXG79TvVyWWbaO8nQcPOpcmY7sZyJ/hk1nnkms5p2TKY4lOigHGYMsjk0Pcym8vgqaShgfi6x0f/IIB9+hjvRr90kmjNxGPDgBWBuK/9v8WYTP6DkwPPM9URC8eLFn8R2GlcE9vIUUggCYfTd0glq/HI6A+jd0C1ftF3QkM3hvuEEw4M10trz5Gn29LokemZPTBbbXo8cF7mupoE5LqDjAlM4oOinDPG8or/R16c96kW7700bYyEDppQ6gK28d9q3NePW2ODBiRQKEXW7g0vgP4yX0hN2r/sl4E9W6PzSbULr89OTCcMp+ZelPbI6PqA1fT9CBjzRa5u0e2xRYjdRK3YsXIM5UMFirceS95KUBcFOsqFQRwle0SyzMUO2NV7K0cd2FRUpU5RLYSmOuOQeilDlrcpPdrNxHRAMuU9gUG7ad4nsjRi27ukncdasSd759oybVgajcGVPTZPfrO1iDl0UDyMza8xtV4QoOE4OFJ9odF2uk3rIozBBMPExfFKROzcIe9H0223u00oCcqiBkfDH/ckZvfgryarpDTU6LVNLV89gkgYbcbUMcprzlAlXxQagmkVKWehPZwGyx8pPA31KvFVH/jbBEwOQNjvVICmhc2/jpi/3dh/dYrQ4/MUVgYHRSO+f6V/5HqrqU3JlWigs2JeMWnb9V2o++Y3IznuigBSOcThtq/84B8N5ctbHmLW52UEY4GpQF3KkChOHQXaRLHih6OD5FU0gfQ8IogCzCXxO7ab9Ld688M93yqlE/GBGyspXH1iXwSbL5ymicCZbWHxc75uy48zh/VEupUPIxlVKZlUl87KMd4NjA1J0PpGV4Rd6ed0djBsDenRdoKSAO5VXvzCIu5q1aVh3eJi5TLcJE5LctWak2caXbPqyxws0sO3/Di66ZEw4KWukpcN+fd+dz6/Duz6nXTJQXfe71qQPYK2XiNocvV66lkNKcIQW/hMPJndMYrXay6n/Sf4MxF8UAXEExYD0GvMyK1+GmcS+N82Rh14tk+x29YlKAqD8hn04aCt2PZQGaS7/JFbBxB8lzwzGFHPbEtQqPd55kNdCZiTtoWQXQ0nLdWrPKHur3SbnidIJq4I1D9asSWi1q6Dn5D7Vpug/+2VKOpR+6q7aI4qV1G3YRxgnSNqI2NRdolhCcx3d7GpX8xAtEaR2iWTjvAKvpXXu/YWr4gC0TwAqk7QcMTu3cGWEPND55LbjcY1KzKwim2M4D/QkrrEfIpDrLRsh3yC0Uzx4qHyDoIQ09JFzVbdR8VCEhiAVoUUPCHWdx6klP6DOOE6mq8On35vBFSxleDxpS8RgoRQrV6eNyXwvVlKNHDTTXhusUSS/x+cTAcQ7ETr/+/FkB4V1Q+j8Nbjjc6GH/IUU4JskpQejuUkOLkBEDJ/wGbmzeRldGkLVvMtGLFTbteIKZH3eCMR9/ZuDkb/m7hYWpL+zc/rP1IMQKMjI0ehaIS+qGugXcL3jkBgBxiRHw3tZrNDxteiS+ThzSd8YYm1VYyBvJ1EPBImvi7fgglNE/1HxoWmoS/5kqAH3Jd2uKU8oNw2T9si0TVs5Z14iH5iD5EkIkvSPUbDKKG8VMcbZMqQG3hB0fYL05uW3553MO5Um0AIqmcyxMpHFaXru94diMfPXaE+Byi8xeAqyoMv5IzoC06IlINwDn1vLKR8HyaUoSYMKXK8ZOTjTzzHYNR5gI6r49f4dg2tz0btcPCwNyu5wJRdZ9O8oeXX9Fh9oZ7uob2jRApUSEhJCUf5zARDBRh31AYhcWqkvT/G5EUBG0K5ZbTgMHSPzMbbEuk17I3FzQ5h0r8WjftQZ5jBU1zEP4cZSQ2fyvjg4sLbmEiFQmC2Af0FO2VXnxW/sbn8jXoJN7ABYYesjb1ko6hAkNkoJfBhS0IDavG/0E/OwRVYkTxcIuOkiko9/rPDDkoToX3VjPzFm18TSc9tjUS2xZ/sJLsgujwX8QtnnUn6FeQeH5earMGUKJQs+UYM683NdE/BqDNF8qGDXgyPZKCmPDtXp9WXaSPrJtij7YOWZ+H9C5g0cpqtiv1npoT1AHnpKohvKz9hPUuFKWU0WInYSTlKzUbzioDHOuzDzvaCIitNIdcIcrAwgeOJE4WW8FNqG6tNZMgXFue+eGYJBBpkUeebzb1r8fEC0aCFMOpf3SbvTFZTMQPAWO9OcXAO58Y0RzJ/EYtBZKw0harGBvqbYWzvBjNL8Ob5DIST66fYrLXljY8+fUf1jIPNUFCpAvRCTs0RrIQNriAZfGWPn2pu+5N6kYffFE8Q6Wf/tRbXX5PgXnoGdKBvn9mtw2SsqTI8DBumabU25IZTeL0XiN1kPPEApau2eAhkhvFi9nNtmIJfAZWyg9gyxEf7lCxJ3rpky9Z+c9vfxTAlGO/q5u8I7ehy4+EaWRE8JOilJNjTYabwGk1cPwXsmpGRYh5RWy48PuPX01nyTAm/I75aaIM++TCmnjU6LsV6AMdF+CpoBI/wRMkKte72wJ/iYVp9nnEHNSAxRLzUVl7zBqRuJ2ryoYjbkZvpbJQ81uz5bq+LN6Ce1x20elZx1o6HQ+dCb8vD50IwRvvc1YJB8deURDgwpWmmVmkhX5PG6gMaaZyN7Kd8CjYjznYRC2ZnPFZArUWnueFX5CDFRdexUn/pNp55WldIw2fgP64qHxQTwxMMjbS7CdoQpLhm6wQAZl2oNmoZcSaEhboXP9k/9fBFQX6T0q1JqCb2xfPbepP6pEvuKGwFfbKdoWiXbwUA4J2O2QTo1m81AcACwUorMVGGhpSl/w+I2c8EPydUQ/I0YftAdYsdKe9qN0Mg9HriKH0DRlSsVjAyYvy65z99PGZGqw/UKnYLWq5sq5bM/1CmE01a+J0Z1e9RfOBBzhlHXUh0uP7mXABwtJF7/nUjYrvcxGnD/13Y0s/lO0xRnePXKP47S+a5+WcUrMBybrxOSntgIYAyNTH2zfgz0yMrAkRA6a/iFi3gvKKysRQ5frR8TBo63Z3RGC03FIrmsOuf7sX/sOAZIj6rH8Tqr0KZ/09RJu938I06evOiRxPi1mtaMzXp/4OQ0fuxuVqyTnT0rgHSfJYNKGh8bB+RhY/uUpARQjkVcLY7PmxWiCV4UHX+nGr0Jz7mByKgS6gbueWaJnVaInZFBy+zCvQUXe1mH65sJilDYbveNacSOVDmuHfvs5mxdSqz5NDan/Yqz/lKsd0WHSAE/Ci4qS4a9YGcrarihrr/9upKlsE2jr+0pfF1o8Q0GvJ9TDBDSgNc8bbgkzPnpbKAKqMnxEk12fm41pVy3CH9i6NTiCMFPzRGoIGztWrMfUR4dp9Wa4YWzxj6SsCNQgGDbSBC6EUk38i7CqydCwZwL4Hgr3WKMYMroairi9o7wRq8u086ML2cLC9lQB+QElg6X1tWMqhEweuAGzBbIMMnaVgRnZrccQ1XL/H3B1Fakvx9bzey+5olbnUI3Z0WG+HSOHUo0gsxZQOnIHpYB7z46WY4qG+wxB1LTHUliVVoGIVtfEbCHiCKhVc1KAdDzKYAoq9ui+t40yjxxVyCqn3UUiezqprw7aRC/D7M9JfYyd75JhZHM06nhog5ZMDSjNu8CFtSFNfkFICR05e0XDOVWYL62083JURotPxcPE3KNsKZloZRMxoEoiRv4YQb53AntcEYuWinPByRUdqs6QTEENjyd8BZHQHxROMD8WgOAwYfX441KerKUgp8s0iHO5tEg9c27Ag92Ly8hM9rulQKzTUL/Z0K1eZDP7CyCHcEWs0hDfA0gTCftn1m4RNst5P6jfVwy/WZdNgOTcVBnGjF29a/Z2J6r+HMOU8/DEUlUWbhPz7lKjrwcCRPoMKFi4zZ3JqwlktXGkhACGO6SpRSKGSV/1OZ8kfP1RmdWbPhLHhex0kNihAmwVo0iCS3tNBT4X0zo6G3aGrCTJhw6caTEczLR121nsFGtnA1P3sUht73sEIZGJZZ8VHMEXesUR0WuunsOsC//YUYA5EbWI1YwDbOmMieblBjewAygkL5NbUI4+a+PhJrxltSiM4zYjoo99MDgz85A/kGmiRuw5CY1eVjwlcBVCevdlzhVeU1PT4Yiw8LPI+ZMMb/mYwNNMEy1hW5A5zG7PTExRGG2XiI6z7yrx1kkNC9Qru43q6bMGZKP/x51m9o19HRFvOiUNbeKXNmWGpg8zSZZL2lsTtVJz7AruF+vpJiHgn7OZ7Z8WLSf5GkBMYJdvJ8UiF1GFDFrEMYcm0jnIeIWrPkruPExQcsXnohag0P437XNEOMHaTXkUvbOuBW4db/VfUOQ1+jnEnGbHbGwQgYB7Cn/ba0q/CM5q0C+IWCI+EUgPnKAmj33A8UJ8WvO+mPF7AsH2JXgkY6JlO3KiQTIHRs0HkRR9ra0vxfz+vU+7fppwEixICCtlCWHjcDtAphONp6+zIlbVkNY2HlrdilzXmFmRpLXxmp22ToeidRDCl7+uNnRJaXSVCZXO6R3m2m9Oc+TQu9Qm61liq2C1h7TzJEF4JoJT5fIipXWDvPTlebTO6pwYaS90bYexT9CnP/ljd4sEuFCwYU9fzbROqrgVgaxdXtyXuOCH0O6sJeXvGvNq0f3UdVH4PvzHm8xgTt3kekqJZNE66NmOuIlABv/T0z03QZ59+t3yjffGdmvQrBvX9YRqYhRKKk6blEV+SiNV18Z4r1etOqKgU06PbnV1OGhCNvPQeFmqbp2z06mt9WQm6wdrk5ueANYPnKue9as0VvzaGQ1uxiq9DW6HKW47CSa0yvWTENLdIqZBGNgFodZ9ro3ShJRJsvUFzA6M8h+766s2dO+OmY6rvipxv+whcMkERYldEpvaV5hCDrgX1KBvJBmTh7sfZovdTZ7C/j0EVFXHJ7wexuvWazJbbluPxBHmIjwCM4sW5aT8ph/sSpmnHPBS9yESakE4Zwfx420FcaxChpDN507tEhWJqIWtYNm5v+nYyKl90C8971S56cRLrupWh/gqmRuXGsBvr+eq1frCE46nceJjif1FgRaEfwgtPvcKC3nJBHOKn2lq6AmqCdvK5ErYnqU0Z2b1Y91DH5gcpFqJbgIoVza0ve0dvfcV8rJlv++KvWNv122RcPwhm9enjgN7dJz+q7YLUA8csyreXra9uPx66fmTuVECAfyczasU0fbPD8DlXU0S4tHTgNEu58ObuC91P/DVvu9Oo0mOuLYIY2YSQ1ILpIfLdqZL9FKAdaeD9QEZzyjkb4Qp+WMorAaVYbocOL9NO98akliNKCluzkMOZG6A7Drxw2VehWc3G1cFFqK16QU3/AyVEngm7eF1A+EOdz5OtmbjflQkfRaaQZbHH/nU3bUFhsknJq2LCzil2NcKnF/I9jjkwTqa2LNv6M7bU9NIwgKAfVJaAVoa+WxVlsbjswX6CC/uew+UF/kWhwPJFqE+4BjNIA2606f9fIWe6r4JAzUC1Rtp3bHgg3ohEmjI7h1Ae5eIXcJBncbQ1jIPYQeEVc4hDAhd1ySBSAFy4B9BxwYjoeAmQTR+Lkt4d/tuUFQc2B8CcyF6nqJc5ZgtSlPLmZIeARK/VoyDnerf8kQ0KIjvjsZI3hDYeAOu6HTSpKwqJhX2lYLxwfYDK74qevNI9f8N4UE5QbWFnXpaeWxSKNRER0T+BIeo8LIBsMScF8Urr8nMWYVpE8dT6PI1WTyDJSIMMTVl1PlB7lfA06gks4Ah5lzwxgFLkGpQHfuCu06BRnhdJSTaUYAIWhxSKrDI2dX5tRh/0ny46poRDe9F9EFQ+TcWlZL+lNpXP99DokHUiDT+lK1B0iCglQz0oDR6JUaSM6F+VVPxdeZA07mFCmT4AfRb7ZEmi9PEdVTu8w3evcvxSzlhDVIjjZe9+Wtqtot+UwNUqiZ4HO1dDcH0lTEhXw1RNKwX794+EObe7Mkt3m80oji4rurktt0UegoXszFVLFIO+udeBvi/Q8fOu8+Db/inRAhlYGeS1DEsF4OmoQ3sSm96Msz0HWCyDOOwN1vis6ek/0ENXGu5q8XQVJ94+u1xGdAt6QElz9Fl4gQGOxBjYtmVnSPFOL7jTav3yp+ahtz80ZUbhvhegmdzGjvHnfTZv28kNwnSJAK2eGo2GevK8jseTF+jJNn9TUjkDWwEpm07t2ySbtwc/pmybhbUWsx/TtKIgvRe4FJHx/z02CwqgdKO6i6AxGgw0Og9/YG5wpPeLq2Aip7GXIZe3b+hYUjjGoxkt2F2WPfAKsfOUkgfssAKQfBxS0nd3fNF3kzEdMorxdkpD9w36LIVYGLOHQcz1D+vg7UuQeKVuyt8VgI3N5LIWqA56gYq9xTa+1n9GEGyKJkCdYl6r5+6cp1uSftUqCDhzNdotmogaFNqJUQiAA2nGe5jfjUe4p/fyrAXkEEpyzfkeJh5ganBIP4GTB/p9fWADZvxLtAqoEPe1biTyUZ3zcbvQwx1b8PBtJf+afZnnMS63RDgv4CNFGuqEerQ738XVIlwDsHGePPMR9U89UGN26Upuwe5LWUcigwBoIvNCmAmoEKT9luM+J5O8lpe99hrsfBDo06h+6rpg+Ot61O4LiR8Flv0nNbFb+NcdDm/7YBTaqXo8UFd/kQ5RqfCH3E5wERG/g8Zz18qOCfXAlImOkzbspttgtJcoa/7dcB5eEdEosJ9Zkz0+569T3z7qoQo6GLFY+Kkj7njns/z47Q/28J/ogKCdRHwy+XKJenltZA/dhtmTScEFWRou1gVQjgEfMJBXzL9Ip8Cyv6bwEbHePql+heRuKLD33aHN9xClhkwav2MHZ0JREkkctuXhHqgBsLw1+HXPUvOgIx8hs3zCQCro99/sPd6r5o3iTdrykiAjAxuUJSLSfJ63lGiyTsWTOqW+CMegV3TavbbMxjWAZ8dOCa/+MErFdjrD6bZyt64bASYM4kUCyd2tT/6AGYxpSL6bHpZLaDGhevUyHna9bz6C49hI27yiSLYcJeAX9cPJ9ABzedl7RxeKRdrC6j+rMM7TKSFpkPES3xpJ+Q7cdkuczT0+EZ8ezoAIfoyYoF1oAVTehRfRPGwhhuqD5qozXUjPRvURvajhoKr+LC/9kw82CfTSVcopd8rE3lk0VrMsubm7ZZzhNVyrWHgOozqCAHmFGcxDbXijzIIriNLLY5xLlRc5E9rNUN2tP3YAdlVDjEGEclvL6n3kYi2t3APVHVBXJ7kBwmsOSV232G3VcJZDaTuFxK4JMtSrSNlyLFDTcc6e/6z6wA2tQ7zSyiUxAhAALywhL+r4eS/w/mjXL+FtWuH4oYVurWKnljofpVMqe7x2kUOY/6ylOYCjBucSWKXWL+SSdpeV4Qus4sGGmzcLufN1UPFBo9BeaGR0SYJgOr0GOPOL6d12y0SRLGo8lDHRmzxu7mDcwiF8KDTwzmiZ2mG5QVoCd9OdAH3n9829YKG13duAr3O6K7NYEqQ3AmB+4FEfkdEm4o2rU2PpoJfdDaKkiImCCmY59jCK8IJ9jZjZfl8yHuxLSTPnxaTgXZ82M34zqRj8Ptys9OpV+p+fFqKeexuIWDBnr01U8LNA7Nfu7daf4HSE9X/Cb4J3rbYaJmFBnIQ1KxtfcYZNjO56taavcX2MT2ZCheFE1qhHZZvykBlWOEBsxmysxeB+u74ny0t3ss2XXnIl4ctglVxeag2ZS0tWUiHhupJrszwLft+e7Gb6RNgkY+25CyFjfIsdeZuoioMmS1/Z81qC68Pzmb79nP8iozGpnZnqCS6A2bE8TLaB+saZBETZnOZrmUT3/LPviRewmypwvV5iuGBn6XlbSnShUoGq5mZ5Yc/oLLr3UH6t3MM9Zj42/0k9sDJs7QbVGtjg1xeJYvn/XdNasZRYfsuwUGEn4Ti5iu6Y8lw5rwGFndpHdIo37JcrfdkIJBVujkFgsGeri4kAH8MuSuzMVRk4sjGYhuhHNyrn/35MjiBRJ8Q9mBwqWoVdF2nKJwqK2CpfhjL0nNZxFa8BB2Boy3FahkH5rYETywE13eES2OIafjrAdDA1I1eUgUdECKpgjL+b36cgf6vF4bXkqF5pC7ZlC5pKgekfaBTZvtTmW/OwRXSihv+P2D2SmbUj99t+1RjE/AoVDBo8aYrYcZsCSqz74KGfHhSvmPx4ZliJNdtjxj2vtKSMJm9EGIGvv5+PaObeuCDS8TNW/jZgCOWZNjDrH36NmmT4C+WycXaWfvGSKO9vEQeOFgWzmRzYnYjHlxMtWSg13UYTnkqWHwFw3AQUafSZizFV+3kqzQ3VIhAF4T9IM6me6qEo0UjI9zsL6Ms1tt4ZbK7B+nmSqREP4bLrtcVIOIdKzj8Id3wnMzgHBPQatelymVYr/Z2CaFnnyc9gDGWR8BoD2ceBNRWwzWgkihEkuXWy5ENhNomE6xU+YhrA08YwBg7wB5RD+Tsk4aYbnvTneiPwu7w25AlvBugy9FFf9X1t/MqfAA3caLRzZFJOEcnjeYPMSCn6TwGe6sWf2iKteEdixww8/wf08YLW8v9y/QP2bV0fLwahhBnitPhgNp5dvT+/HoSoKIl24/XrpHaqOTAM6IJM2ACp5iviEhwh+G8Y+ZPtpTkVPW4PY4TSpNju0asaWy/UieHAhu6hSMijZclmaWoY0WjNuOsdTBlMFz1pdOt/LvhKKnmxE1g97aXupEvDSOQ4WQmGJkAkS7+gpe1ZqtUZWBT04TC+NRWryh8yDMfOHs2mcmt2KjNCMxryLDdrrPdptR7CIN+COg7gMDt4gNsajliO8h+E5Ph9K8DdwJKoqurTwK3gnwkkcKm0/nk10xWz486r7AN8fAobhBqeLtPEkTrhHhtXgTPp2b+bIKXH41+8s9X6p5Yb2bGZYilf4dcjPxLEwvKqvJJQ11tLTA02RiB5WB3mFT+iCnyO338lA7oEq1F8LNOKI08n27WjbPihHYvbVFbawRew9jQ+6ouEBTgzIoYsWr+TPO5xh7K2sY9s9YpgwtWRFh4i16ZP/D1SYYu2QR4wjZ1kDuuViTojfpORu5IU0+VwebA2cAz0tcBLjET+ttZJIrSngv//q2/IWtzRcltBWxgLDnFn4tHYF603Oxw6MJnWFBnOES19u5BVIA0rN4/xfcsSp7US1BLX/5ozpr+FxNRqCEchKFx5ApPEZW5n8Vh+1e65mc2Gnw2czmYQ54gbZVgi39hmNMpfZqAWqnz2GT6wK6hxe/Z8zsD/0FeuFkUCeUpIqmRyhvNw0pUvavNgFqssgkApEvgx4MS/9YerjySrFwlPqBqtY9ShaEas9RmFL65d6gVWwCFhjZZTMsvxRXCneClQfXp0Q8G4Q/ZMriemML7OYreazSpw4/0bQub7DQaQ2RczVHQRsJ291cl0YT0N+ZfIOjLbGQ1v3TPyZYi8uDFb6Ykfh8QKwIM0B/Pg8MaMTog7K8UIAD4kujEmCvmfeyuBUm+L4ESycPMdHesoBsg6jXSBMQmhGwpgL8F+tN5XD4HCwotr8/ViMKC8Vn3MkUXiePkz2bSvb6N9B7rWk2HWLgVkprcDYSMIHrWf3MaGHXZ1vYeE1kmC8ItdWbA7qQYTMk/m0p3X4y2TAUQJ//jTysd2ZLKI9ghlk4BmT5Tdl3uQdEimq/cxnlt+kjL2pG7U12noFpQqYsx9otqKLO4RBCyRduIojKeZRj1W5UIt5kVtEck7ihg0dLfkPv1KHmYLMXYZVg/wR6q3p+lmNEK2PE7CSidpK+Ev0wDc89CuxiHcWM//tzO/rcVtepHAShVrq43k8WZNqBwizppvjR3numEDx+2gd9PP7YMxscMAxQogXCrXqWTed36PkumF/IC6uyz3q2qTcmqE5W999OpGcKSe6O5YmA/Fta+q6pu7YCs24WgNJps1ZB85XN5ctQ1r2i3OEoq637hEn7wQmYoH13B5NcZvhRHev0glmVpz82XQwR4BxmZ1QbmiTHW3SvnFC/7pdlr5hwve3STZYq4Yz2jwzgKGnJICtsVfl5DS9dyPbJnL0GCYU9Cqn0UY4epDboO6G8yqELsS4nsdGYSoAnETENQSXogzccwl4o0Tnl42m5oxPA8vwRULKQQy+zGovfTaADHOii9EDwRgfW7+Cp7DAV8ZPUd+rUlr9dzXC/PIgT36NdraRnReq2Wn6PzswZM6ew2aeW6rN+Ip5rxucMEjPmkdKskY9AzFGU/6BzSitVh9JgJWOW9wvDn4RP0UPph+fLSKehI7kXe7L92FtL3byj43S5fmMyFpZBkwrPsw3a8zhQhsL7OfYJ3s30Z+e5nOH8+QjZKFtgu78I1DnE46qrIMNsZM98+RIXt8VnnY8M10BQNmI6YEgyBBLMYoYNZb8cw4cTx14TtzK+UTefb8ODupc8EMj5d/wNl5kDw8cdhsAj4TKTmAnwBmiNff7rwU4/LVr7HtZJGpO/3a+kw4P57hPu6t+0MlOXogNbCCk1/hNiflyvAiCNUBT+8HEtUiuRfJmYrMYyEeLFY1bLFtjXvyG1XF1wVDWxbX0mJHfVShGBgo39npmM8S+1KsNXrHRB1BfXBYmm6FheUsKpkE6uWPE+ZLvHU6bJ9BggYSZa+9YryAEzI9zxzz6wsoW7S6hQCUVFaBXYCVCFW4p2rLKExt24BQmQboHROMFdm0vXKpUc0o4292vP6IBxT2bHrBsK03advIKufJhPba3mWk8DPaqshDjUmM3T3TZ8yuIEQ8ZdrXNTbB0nY5GcfjAmjIAywr0Dvf1qg3fR/kpwEn6B+hXlHKNi7z5+m5ryBWa89+2EDLK14UVj2mR5jm4+UCKhYUz2gMXWXgqlRMjB9S/hvVWmKS3l90/ZKnLvcxnzi4LEUjDnTAzbED0LWEGL1HBoCDTzEkOAvp9hKJpt+kROyDhowRUvagCtWX7Pr1NyGi7/z5Ibyb6NtxRoqGRnTF8DMviH3J7aEy8XLMNKcl+3SuIrS1AsDNttVjYkqSxxb6d+MSDWOH/xUB3waMxrslEpThaB/s3KG1AAgYosRNkPUipmshL1egh3xHb/IZExSTTnc/ZlbWvZquiV+en7cCQJxEp/3xC4clkRm8T4uwudalR9j2yphUTStcBvg6crLNz6/411NeE7MVp5+OEZHe7ht3+yoQ/xYhgJMEEdsQE4oQKszxwkPooQs/yAUaTQ/xuwINqmePSNH8zexStw1/bvcaUlrkFrDoUwUjzU6jeo4DeOSai5eDm1r1kDjoMCEmdCwj0PkUJTSxAYVPvyx5zCR293jmskBcn1QQOE1x59KWD+cWw3e3fLnscPtsdJq14yUPi/MRV+CiTkasXCUBzD8oD8KHfS1GdMKLR5Z2J8Szhy4GZsMpEMEum17JVWTbMvzftHFp5LTV/qmOW9wEAy8AEcphc/ea/iSh8/BAvlSXZN5JNT+1IwMiIoovqWg5+VQ/48xecSebjBqxlKG6TyVUPV4jJbHMn2gveZtXM7UsG9cBZYha4pYClGzn+pu1TnXk/kESbKqPUnyuwfI9jKxYPQuzCMx5lY87obVPGrXscp6aGE/t/VV3dzeP6FFUGUOyMDk0A4s1I5dNdfp9V7mufhvMaA/jIXgm87K/zfmiBZYxRtCCov4oBW4O2OuLXDX/gLUAnrZhJVxF/CjbZPq5phsBMGFmlNrjAJtkXhTO9BvcXlQkAGE042A/bYTZIwtk7W8JGxR44Ma7Jo5taiNbLWtoZunr8lNKghYM5AEanA7wLflNf2UISCIR9XQol+LZlz/xfNfTfnh7ELwCofxvvRTjZ5Vo52JQcKj/r9HyVqKe2diGl+mGlOJZ4p9zOlt5FwqokPMXiEXWG1ioKwmE49PwSr+RjVby2dwkttd5VUm3dxv67gLSV7LJDIENj+WmvcuIvmvqXscPAGdtvB2lNnrSZaX0sOdtHLL9OsBlUy0Aj3vhqKnqqMaJ5yO9525PSWqcN+vhr1oJfeka8o3Oa2Ua8c4mqgecXKRFxASe2cZQlghGUfI8dJX0gkeACiFolOQcYgAoxPEbVzdTUhFj3pltzU2vNXPB8zicjcp3WlP/R/Jd6zXIleyUeps0l8K9352NwFMQcMqx2dMKzTEnNaOhfuUN2OLSEpS8Jfb7zb9QI+bXZ1XKrpJDaw23gsFIu5R6y/mF3zDTjIKBgt3Er+/NnpRYeAvEkIB5bbS/e6OddPE/+MbgmMxPqhhjnfkE5HNX2lerYYBaJJSkOfoEvyqKUx1FpDSxaEeYKS9AdP8HlJ9GMkxLMTF8IviDuZ0PdZYktqEYLIufVwrAJcHXp8FiYF0mEJul32k6FOBurJ84D5Z46mpjt0u28JESuLNeQsyGof3/mqMBHmHFf4hmEmw/OLEFSuUSowz86R+WVztEj09odAknqvbeEEnCgNXs5f6Pxz2HEvf81+MU54YAZ5aaIQDSb0G/iCp1bUt+eGcZFeir8+nijg7VUWQeODKE6olJxgkRShCmE5BwTF5CYi2aVuP9RqUWn5WMS7Bwjsl9FeF9/5Qvq5lKJXqDKYPuB+td53wOomwXBxBeFE0dqK/CU3VIkUwXtNZaKa1qKoHcCA2Qy7UTNodsCGoNRxhTgqDn23vANe9QPXBBmeSIpWyUsNoBkgTdZZW2qQsLwjvRaXIZMnpM44xSpFnrYX90rvN5jGDWJbff4H8Cg8OBiujdPlieJVyQHK4p3LANcbxx9uEElO8EOqSg9IR1L/aj4+KeWSXGlm3NjoAFsncNEI2n836R790mLyjpISMgOcd8+2RSPD0YsKvkOeV3oL3pk2hT+zAT4PHhZ3hB1oTGGU1FEDETi6ghqvdLAP4aGgnPdso20dt+6miOWS0nXtO5Oz1AoSJFxlpWjlEu0KyQArvfo0lmYt1trcjjYiOr7Fll3JSVrPUV61FVDw7r5rzb2ZBnaAiQsAUk767tu8fqgqb8aDS2WBvfZUGVZnjEbuB2SC2ZsrVoNlELDpDu7iEGnQlde+tKNHkAnGJ2pVREhCeXxUDJTadp4KkIMItHlyy0FwJxYpPr/Z4OFOGtUFN14DHA51OW861bUP/edm+Hn8bK01YGW2gMPOfAZ0f0w41HCsUL+dr2yEIow4P3SE3GtZ7k6BCWRa7dp1E8dYGzr9T48q4Xx3es8sLkBhhGJz6B16WeSx9VUx4/YP06cvmhta7c5gO1xoDJBGZ7d31wKG8bFee60jdbl9VHSJ+coNqsBp8E61NIMW/wT78QbJ5Zn3sMOpOUySobDBmeHNIXt2kWnrALoWtGRrZMlN4HwJSG6ZtqZgLy0aUZAZSlQSNLIvyA1UHpSw5WRWIUS9C3Z9flGH1p1beJLg+QkEEVrI7exzy6k29ILdNYzPllVOI9dJmZpCm/Z4pTpKbRU4DGEM1HSTabVTRilsOlft6rrGl0NcEsXaNHtJlXI9zbK68VEC6XtRLeV1CcnpkLokf5e/hwwS5TNy7ya2oM5hITI5stOs01IrzAedIf39a7xBGaipg1Ons/+tlh0/d1ZBggCZcXFLxJfOONAyIunIdTEZ8lV3BH/XblcPXSAc++QS0vAtBJVNMaTq0BZ43agSwXub6fjYOb7VH9KPIcclBtQa2ZiJJbh6rTKu1gzL0cYkr+VAwqa6jsDd2EldqRKSycdo7v8Zf6hk4vQD3zBXxDVQV0QeVDahKpxmNzBqAQ8a305r71AQyiDMPZbOlvja++jcK6xj1Zb8gPEcOqAZyH+dyC/G7lzavSpg2C55U08OEgmzOHUCUwT89oGpTX2J8hNtIm1fD1ItDHFoiXUj6pmFpxz/1/ctRtgZFR3zWalYHbZhy2ELiIs2SEgNpMEB4g9CJqwqEND0BpX0KTHF/T1wsBy1qRTmpv/fv1kLjijnj4dTJbRBX9aiqsVGEiVnsdrhF25SOZSP7+2ykrfK9goyKWRg3GjY5M80WeViWfsKuO9c/l+T7L4nwvVIT36BFd+TlDIbFKryyjmxTVhrrgIF9c/GIEXAOIenxlii32IXfY+Xi8+kbr/sN+hfYYoBOiE0h92AwttHLb4wGS8UdGGKdibHOFGyFjtvD8uUpiQcZsMSsfbf0wdIbczVtT3SR8+mmaJVNFfGq7+qM+hT8gL16L+z5TMeMqKJq632lj3a3dH1jyZg6tqaCiiE1NifIq3/EL8ZZRw9B9uyNmWYNL8pdHiR/MXz6f7Vvecv9iyGw8D3603Bub22Yi/40JvsnE4hMCgGTfqkPnWSyhGGFThdheOpO2AtDJmP8ldjW4pwfGg2feaxAc4eLwe0EYNrigXWhMclC9WyLPkmAU/7oPVf6zQQcco/mDUOEcIQbhRpWvFZpK7PBy/fNluQ0eFb8vzrBRa6lKuAF8p/kGUQjaLmZXF6fP8OACtlSyS4DLGD82LC5Ct8XtQKYCkV6+Xw/y4DM4kQksEAURn7zPFcboqNZDRVxjfUFqAO1GbtBns4Be7MW6sxUV3BNlTnHuq2rk190OcsxqJNuVVfPpr0r7jk1Bp4iAXbS1Tf7YPIE+Z9UzwYpev4jGd8+YmK5xH+8j00cHZMjv4bJ1YWPO3Oj9P4N7hvSGLvrzGZ0lVj16UA49EMEBiRhG/JF6iqeOgNxg/9IM0s4DHkwRM95plrxx/Ef9Qf9rrxqwIglBFi7VN/zRuCv7sGz+7AVmlr3x2U2vpFnTK0kfBChI832EeJGrxevuWX1JzFgmUOuo32tVDFCFHoFbqwF4Rl4XJz89UltZVjPsUwb/FKtTYG2G8GQAi1jXe3OCPMneSGu5iaEvPGzwg/6VVC4EdgIV65uhEf5xLtsG16v2EKxU2/2AsmbKPN17Tb4gFbXoDkRQCadHDPRLXL0IJNYS052UTWMTbhFyVGidUYfJjKld3ZjYcer2UiVlCXxwjSISftK2RLlxsfXQo1uSe6KMR+yU1ZdwU2uSf+jbl0WlntdjvTuAHcOzkeaBjbKCbXL2XWSqcClPDLWlW/5DitvFNLi+oqE+yi5D1WTy+MfZpMo9u8LMszgMU/baggSVS41xecOVuXQNR5FLTHh0PO2OWZCkkd9pyqPRaPiw9RrP46qgRE5XFHx31EK7bZVm4I1d4usqVXzIrA16TGdRRBV9psWepESrgvhGtcsqptgQTdStK2n7QFVspORHpbp4fvyjQqh1KaoO0spDA3RxL+jUfSaQ84kCtk6lDSkyK6q8Wr11doWWuh0W+AX/Qg/+rNRnioPilrlWwheWYZTysYKNeRpRnTTrWWE88G5ZHU6d+nF+a1ASnBVHMo8PC7Iz9M/mo72pm7F4vQGGQymQxDCIIctCUf8Yv+ApmxhtmqlUqx0A8ERNlQBwLqvTWumuwLLRCZ3owv3XH0gDVy3n+PkNI25qYVInOL/Xkg4wIs9MZWwIPxbqtsKG8O3kko93UASBsCbJ8XhxVO5XJd9UdfPqxraU/3nPnsk70OCfCHgjKoaKvTzqvMjbyXJ941zYIjnTycDreWqUGXLJlW3iRZITUOewR+/SGQFUA6ZZ7BSH3/bGUty8x0UOPcNz/8GHkhyE5HFHpDnbsClaWvHRYBVILGo7aJzRHGMiweVxF9GjZE8/uuPwyl45z/x05hkAiMDb4NTTddxZNmeW/+hA4cN3+Z8rMrk5PY43XG0adkDyjHEsRW8TqNuifTPX5HYDM4B1tBHUm2UrzI5E+WnKDfgdk+NU+3v0YRc06ec52hpuBZT+n6c8tvlDjT1SatQymnlAASDlugtdqZQ0Fk/Q/BD2L78CyNX0aOkAkZ8f7cVkzhZk9tcY3na4ZHzlYOF0SqnaHM6Fm7+zzZuCi3SYI9fZ/2Yys3CiUtdtLxk6DgAtqMdgh2HcCHK1WmgbMChtfPsM3bclIdC2EVMDEsDCtZs4W/RuUy630lIyRiPe+yJ0GdIzErq0+zWK+j0TIjxhQ9comcY66UZuxJbyh41zxPC4ft7uUK6dlEhzr+A9VDadC8UW0X7ZOqvLJAqltLbU3YmFtkNE5ycaib6bUz2RsawCs4CXPJhnNRcwP56s7mUI7lMamIPLfCjRZ3pqTPt3FbQoKLY+hkbmfTkmDbUFzFPhfvgKhuNK7LP+76iFF08L8NAVpa83WmslBtUSHoryAyHonBRzqVj8wFIYRHkqB0HRw+/NSTUV0V8ag9FoSVEIJVlyvbpW1gPMuyLGVQgDED5s8yw0001Ta9XQp/63rhQnJEpdGYWkzf11ZSkkkiqGdjup+lYPwAmRBoTft4uJTjAec7xYCHJUHzpvLOecINxdG1OwqT3tIqtgVa9s7y7pZansBeQv28p+m8Uxj5XavfAu4b8V1yop8NdKGlQqSgEieFJ1CssTMSVVhcD2fHxvlIydXEWIKFxjenmLIzHEdohdJOZMlyc/+TuiajI2bB9fLPDgFZ99VPTKBYQ1F+i+Yl6oG8msrFbVlqJsI8aaccAoh57GrLRF9YgQciqC408NEujYQbUI3gVGZ6QELiJQxutt1/50le0HQYUvRA3uc/VsjXbGKMjoaRj0AmtfhsS1WsUC6yxfq4V9tOlmy4eG346V5inqqDg7RiORN9P0djfoZC2RXkwKQLVE1fu6g+JOia1gvgunZO53/DqMD7uRtNU3MGtNAjSlWxoqMYXxTLdSpCbtpUz/w8Pk1BH5txT/xc4hEltJwjkVj3bJX+p03SEJ75BoCyK9BRLl3PWMCn42yk1C/cE9TaT2r3x33PB2+0/47cyizZ7CeXU3OzhVpvJ3HY9sGcd4U6CmQEHAiyHOaPOe4ChMEHoREkhVzxAZ2s0VgQ9PkaAKEz+9lbgrxqnOHo/rpT4D1Yaziwn3+M7ZzE/SuoArlmjpaEE41btkn1Np6MSqkY8N4D+QfIVaTwLHzXlOMFExWxiI56mS04vOrlNbbLeQb4podkgrUvqbBLG64FjlIAueO1PxDKMKx97Slj+j1C5rUxDy1iW3rY4nNc/vHtQ8V2IoX13JcaiRMEcy1VjL3Zn8vpitL+VO/yJtNqe8IPmAz55qnQQwqMXQ4v8foS+Vx7ehPxT88+FFloeAI7eco22t8GDmUFXb231B9eQJRwH17OHQBPTIvB8sjfTg9frlUzgHelVFdUWC8o+7GLYogLU0RJ0q6Y5YDMGdYAdhWZF0MEAgvH6NqqvE1iRCvbERGaqxp9NbC1oRJuVUT476P34u1286MmZA+6hcunfHbOrkEFTVZpTrg+ubn5asolHjctTKp6qdxDg1LJBQ2hsD/CwQAesnZcISWQcdHIL4ubs3c/GEWlFXXjKVeYeADC31UX5k34FQh4cLoAGenOAcUZ1rGxioK/wNjCgs/F/IGErLjDOHeYobNm7g9xczK6w44Y4I5jHas4uv7xMKS+mdN8131cg2HISSVAGEJdQB03xvI5m4z8lT0m6+KpG6zJo1aCJLHN1NxI9rdMrDMbLa9H4INubQZwV6rSKIk/2M/Pq5sWkC/wCnwz0qtNaniTwcjQfBpkdr8S4ZD1k75J9syLuACaHU/sJyTkG9Loqj9XbCvnPRyCX2+WIX21nf6FHsw40Qu+4lQhmnqM6ZE8P5cY+yu/W5wnNxrgYtFs6Fe9fwWUdgoS8O8GRtfG4aU0LYe5QtgLAePo8pXoQ9BGMtwNfQng8zHLBu6dpJ8iGUF7285kle8UDVLKGlCCH2cbE0AMXjaBeVD6sAKzNXxnoEII/FjWhJvIclmLA9PZVcljf6F80FJFNFrFGD4P3ZJwaxiXbnl0P8UtV38MFuLMo25+AcC9SUj73f55k9FdUDOVBJN2Nj6BEi2O0GN851ZKj9YtYDL+rnqQahC9pP9JtF0jj005WvAxGfNm5fPnssW77u7D1+JrOKH5FTa/Tc25LhPq0LAGYJDnVUormupxnJhQREeuhVbwIX5a+cmHn3IUdznI41ck8n9NeHqDffcpwCHSOayg5YzPLaLYqQNeTu1hSD6c6SnOSIOTU+ltXiMKQIC3EBkRy+gmJy74AtoK5c1RHjzx7ne+a6S7cpeDkG7hEvDupKehC0F564MixjSpmf1eBiWr57ks4UlRmNyYGagNCcnvLGq4yY96B4dVcXNJHUG2BC0wZcA2FhlNVZDRwdYyQTR3SvDBKUySsb0AwCp5SHOZEVg6x8DiDKeFs6eHOWKbuUJcRuadSzIftLuJFY5cVlRNsIJrGNc7g4Qma458YxrlySAYGisCcKqv/Ni30m8oXPEdD1Wq8K3rLXvdH+6B3awF6Q3StcXEkMRglcCBDRcKz04DZTgOmte3U1QeNgXI6q+xf2F2cyZOzH7qlDh4aIjAnQSdbixAr+TqTvVj6+4+yVrZMFHBwh2M9nTgiKln+uP37SXqWPPZVZ7lwoU6iuGAfX9S3AquMgQ4YbkRVi4CRJdRYM6hLmeZxCP/X9138VnHqGpAn/5/ktc4VX8AdQ8WRXFkwqj9iWk7VyXsaa4fS2jOr9BRnB8kK7NyxHYGNqAxtjjzJv+2OPs/WMf/yYhueH6uNJTr5k22qeFaYB19FpHYMXRXDkS6Otidnmb1XJWh0+MxvGcgt9skg2BJwOB5gSNTqt+r14ZoKv86qj7GOccfZfhTi5PtMmWTOC3dRgddJWYky3p+Q51RtmIfQhDOPD0gt+ouz6NnhwzKbUeyGucxEDdQCwTlVlHpHJaeU6ANm++v1BixO8SfYg0zEvDimaO6FGjKUb7OefYL3Z1dN0SI58qdyiogvl4Oq6xfHxcVkAmvmbUiUCSbXWliNFZt/M1ilYt5+9qUQufHo55fWRkyy658LiPs/Ik3S+VPIUwjkd80A+2dPIM+02JA5A4fhy/NmDXefaZX2xrXTEzfLV9AiDuOqo22/9b+LFNH6zH3bALx/0POF4x/mJnS9Iajo6RZJ2jhAWDgvyY9dLnEL7wD36vWa0LN3bHrSbbuKV5jzE9R2sCIS872EDxyP4T0hP3hD+2rHUVQ2lr2RzXk7+sNsz/FZZQkVnjdgLnCaT0rD9HJ/C+rMEhd1+ZtAeWW09BFxT7hRX/WyYkZM1ZHZ1U9aLXieuyuna8KIerNUokmPNoNbDvjATBBf0az5AVNbWtUXVvoPptGkiSntpzA4FVtr7Anxy3rGH76D+b4kAnoB1SbG/lqioIo0kZYaAXZmIzITYMALYOam+5EqCrlROn7eLu2diLxVyVjyFnrYJ2BFyLu+6/IwsTu216itoZx3wMfeICjOhf/+uoMciOs0BeUmOBy5N0L+zpvsU17K+cCBe54dqVRvxX5nhi714stoO8KoTzxjgZLyPrWlk1xZIBAyheNPPnb3D7f0CDNAiq07qoH6hMq1cz9CoPGz1s0Qd2NESD4WMYXrvNf7ttdhDOgLxFwHJySt94mhOPPpKA+GjW4Jm0z1u8FyhbwqdvAPannLvKA3vRKqFH7iJUXUN26+L99W9XGbNn+tCidie0I6S1SN/wwZmZU0zuYWgm70Pe+JnOQttTMqFD/ZK4oEvCxshFzcPO6VGR27W68Z3qp8ijFdRMbGTGGy8HoAkgqR+6tXoUnXE4FghDzgtxHEp+0C603Z/JBnnL6X+OsTmwJoyIx9OWTWJmLGQH1WE2lY9AUMnbOK720oh77mqXIcUTpPl0tUX/a5vdFMytirUobjH4RaXmIrunDUHq4L+juElz219vmZNfbW6T5flkrVv0e8+XQn5zBi6pr8+j1VD55RZ2UQs7X7qceM0nedK9p01iC07NZljFfNK/jpeu54ztIbNfH17XmoAd2qJw4oawr8TOi89YZV71nMveIFm5Os1YNEkpAsGtm4LGxBg6Ivsq4nUH9vNGlJh3YHNvJU2VZCANGg/Euhb6iIH1fjfYN28N211KMDe4B16GS94Q3jwv1oLFjAR6bTKsXlEspRnCujJU8stL/WZ7YmwOZOAYVR44AFOoybs55JbvP9ZNKet/IwHR8DjBmQZv6uoMpUlLYgsJU3CL+UND7ESm1PXFttPAnuKFh/EkifDd5ieJFCZTpaAX4aNMPDmEgme7wr4UZzSfy65oCB2/CGI/DK5LujwIsFmEOs1veDuOQy8096wkA1lVVF1aknc0BEN843yZwXrjVRPlMUUzHMSk7z2Y4wkCVn3QfDQwhPCkndDSAGb7zz9/gsWXxtELmRvgeQVrP98sX8BP24ktocEryOLH7SMHqVSg1r+xkTrXjc0p0X08DRszaWHnNg2quQuTDTHHXTPKKE8H5SPJ5GT63qAWH5ykN5ANr6XyGc0+IbbEngsGRt/3bysRg3Vx9E3svR2l+QLrnTzNgCU1BH8v+qc2TVmw5vZc7oZihiOET/IVmdEySS1QAsvEXISvmNGHKmPGKMKRdtk1aXIVIC4uWz3OI7mknl3sIBGlWUztI84K6Uq1/BhqE6oNMXPKHKUXSMMP2+0wCvYVBjulO3g3nUW15VJf5b3qq0FoK4I/UjmQRZVBfzNMt0bkzaOHBVDBwOiuy5tuQynBStDEAmFYQ3WOJuby47lqc8Iu/4VjFYPydJusiwct+Y7DKEiK9wCU/axPo7klhsrz7gnD58mnevLSz7ePVqAdkjcHXITr8DXUq54jl7Q9tTIyQulcFGbLpdPEFztwBV+lXc4ItOMwyoqs4wT7AdqnW/cOjtHmjc8adj1kYvKx/ofG+kKvSRHWZCfxK5NJ6pSsTsyPMqbrga0PdBztGHSXNu0Ar3mXptdy9c+2N5ymW/Xt9m/13TDbufjGcg6fpFVBGK97m8ki8mZfmYx37Hg8TB95bvBsVPj9gWHW23sTyk6EZvobvJeAn1S2iStVkrGKtI50XniyamJLPwE5Mjs3S821G0Wn3OrUrfTmuXrTWNpTB81pV1PBPM91jAATaTLPdHxvoV7iLgfmq35RyzcjQhkI1gXD7Pn058bbPFThifnFU2mua4xdQZ5y2zvwI5QkgOODIsDrOiKq+AK4m8YO0xe+/0BODvjwGasTeBmvu+EFHorcu6ds+mCmNxZf0hj+IjVWEsazgFO/eQLtBHD9hgpqj0uZnKPbHZXaUPmBsBDWHdn0ybJMUrE/Ht9fXtUwzgwSfFLxWUyb2IYPZpH2ar5XzLzxABZjVNZMCWEp02GzmatZQlZflo1ooDK67H+2rE2dtESYwn2KP7oW8xSlJIejR/pJbAntixy1LAkmgyYi/dHqmx4w1eTz/8SM46FoAMXuK4Vm14lnZD44ct93r0iqW6V+sdHbEXDP0sYWmKIFYsQXqd7mDz9piZ1q5qzpWvFnv9QSBxD5WPvgBunwESwpJjFrFUsFIhDAPJhOQxtY+v0iIT5NyZaSQ4CzWh4ashgw082onuGIKgN9wC5XK0ONT7j8sn63QCV58TqRvmtIKpK6dMYe0x0spg0bVKBHHfPtj1tI1h/pu4qpz/dnuhGdQGSq7k04Q2jQpG+nObhjvFcBV52NS/RUr2PL65AbI9sNPUpVuExi/rT/06ieFBeiX8HTWp2Gg0OW2JsFhpYwF738b+5CMO4mAkukDU/EkL2boaC7lhUiCBQ0VwSr3/ZkuEKez/9KFYQjZiIFSYJ3qz8OzBZsSE79jZfqEuypOk9SFVShCB6ssp+OqyauR03VhMV+pNAMn+F7474fgE6OGEPDt+nCmKa0yW1+6ERm6kE7ePgzc7g53wa8JgFNEaySmbwGWT5uAciOYyhHDQCfj0TfXINAIv+z0xtuBx7cQTU8kMKMAVnCoFq9g2LnRAgXXeGBO58beW5DdYb/NEVEkiOMDmlsZktG9OMubdg+8+BQ+S5E1jwhrcfZwJ0bp9iKJNgno5K/G81lIw6xXnFGxOL1SzeVLZjNzWCCSb9DpmJfoJFmWLsxUOTcFbTsFKWP+g/njogaaUMpa75pL3IYuGmO4jNd9VRQZjwzcynzVaB4jWXdG7c4NMzJtJC4qN1rMolUn8To6eKaGcdBX7+7PWd7S9VlG5i7EultahGQ4/ssnd0d517yi5KlaEw2v7WE8IyGBzk0DtFn3LvdP3I766zcnkrZVESkyGpnFpgsEgiHcVnYlP90ONGcsyGo1HpQvy/Z8TdRoygMIoSFbozejm0W1JPgf9EpdZLpj8RNOe3ttePM99ID5MVg2U3p1fbj3XI75NqCXgOEP/2HSJ79EFkLto8waVl9NrihQLPO+HRiEhrcnA3INhLp+RwJBFNbTaYeZPJh54rRzLdgSEih3zxBqmtZ1lsSU7CBvBCohpRCYBH5NWRF3PRxDSLaxx/I4X/1bvon//8bs+we/+ADGIyHNDJRp5hyvmLbuOVikLd/O9Bixp4REw5uXEMQ7QydJe7cUh2xOIHYN1g451ud8hgKX5XlLoi0d1ikstqWxlIacT6cpvQYWu7fdlfi9fnptpm3BCbZQR5V4hfyqWnP10Mvh3U543+406zLeEMRa5ziGmYNhdZhAOBq5HFQqYK3QeEZ3SMWSd3jpizQr0QTJ+iBwZMUQNEJVRHKgcJvZckk41Zoy4fGxIDWrwIwoGt9c7/QkWabaKw1Gm+I8JHzF4T6YlBvHQ2i7WTiQOzzMhxYqmELgk53H8QDvdfW9k7SYSrWQkWBxU75wsICAbzBq3dKwaR5GMIC2BAhqR+IST7M36G8LF5SKNBXateuxbk0TWq8b8RB6X969Mmf2T+QOzDHsSqI71wAvaaNGY8m8lj3xpDTsldhMF8k0lzXKccgu4oplBnx2qAX1LeO/vnovjs7joR7WG1dEHhNbCZT4ff9+KfjuMD5PxaAC60wmfc2jK3TdtxFe/10dOwqa/Z6VLiMUl6Ta8hMrjpUM4eAH4my1KJ6pCLzeQ42YWYpUWPA3lYo40ab+blkAhY4h2l+kH2XJiUwJa+vXKbhSFOic8VcJ4AypLNijGljTR0FyMCaqqMPiV+sRnIBLpORmbnfSDqy8Q0gD6q+JPrI7Bro8//2ZS/U0NEfQSm+j/+IjqeXQf3JN36y17/9F+9DbWPKYDEEqyDALS5lgEqmP1A4xvPKGGoH76sYdDixUOaek/UxZryCe3947rNyakrLOEsCJs3voOZIi8tEXrJKD967wE5nhF6BHHtURfJNnTEpPwdDWUKMthFEi2WNCwvVsPZz7uWVymMHPPPyC7UF7ojblE/b86Er8HU/CWUa86Zgq1YY69Y8me++Bg1BweGk4p5eDJkNaJruqcfC9Sl1v7o4Tk9qAUeBmoSQgNiNpnsZtGbotLwd2k3o014j9mH69IJMx7MdgIWzmc042R257YBoeyBjhEqtviJKuxS7M1VCyeZ3zlSz4W9HGPY3R0s+ueepui7XruEDy2Ij6hQRxeftCxm59baXNVGfYKPmYRZMxp/rULM6NwyRNM1wO0n2O/w4dkzswdag10KIjbdH50HB0wbsTwIHdZy+vgRcfgCyPQHTj/ftZRvZmgbveABkcu/7MSlJAXUnmGXiwsUyamhtnIzW3GxuaXoOW7mWrhq9lholFsDMq/ytVeCtwwlsGWIKuQ3J1jyW22CdMOUejpgzDpHKdv46jFGPTkew1fSqXg5eoM8GnUVG2umXe3B7xpER0Po0uFul8Q06Nx6DB2hfov/0++MwQRXHhv1UUZDvezlGOy8DoouWK9x9cnROWU+EdAEJjVXwl/Jr0mxyiFDGmSAkTueO7PU+RRePFq6Blu05LIRur6FcQGO/Sf/sFcz8g1T6wYeXoWNxpWEOwyRHnFQ6bGZxQEPCmsGYUf8nKeUliS9mYAQlD5jFtisVecCWC2VjW81zdTQq9Gxkt+NHKrQSySZKzlvzq6wGLoz9K6D/x+mUMUMTLbvqkpdBm2OYnCqQHv0Z9LfsUM2EXyrFHQziAGlVkv0Gf8wokVADywr9KGSZP9SS4Xo1JKmwGuQqJBDVP6E9BzvCsFJj/oGmKEU0R9cILOMtoMsMLbm6o94R3Y9O3EyqkLsENhPF5nlJe+fZUlR0/bYpOeW/Bvy/cVxi8atj7aqov9p3XvX09D8s9Qls2+INUj5OmRCNOPyM7Cm0JV8DpdtVgbPTwWgUvpX69QVWbumK1MC7yEkHMsAHKGUXN4h8hGC0C8PWyOzcl0EXj4KxYMNts9EgE0+xiUCIem4cwh1ttQ0Be0b3t8A57d/tO/GkUUVKtwzzdcSKm3ymouoJRNNWPaIt7H9rDPnmWpFvNqxTkZLaSgmZJtsURtzy7EpHhssRs3oPMufkXLvi9EKnx0Wm8ui6b5KLNroA48Jp6u1jlCoX4SaP/FL/LzQ2XZt2LcMfzX0UzL8D213VmXE6KGvlpOHnmg2OhjOk4t2GzaVNvXoL+YTeypqQXxpwwR/SRaXwxvV2eCztUvoIzEkARzXysCRoZYfeRy56LFDT9t8ixRGv8fcphMhoJFD7EnacE8x5Ou0b31LZU+IRCed48/V7hutsGwyRVn5gOnAjotu/X06ns84jrYUWrcOdfZS9jxEgqPmQr1RkhwjMjz+7eAYfjh/4fP9cfy+EjGg9fz6jkQo2g8TZ0POhsK7asNPSI+GDp/Sl6yuR8Ijg8dRX+L3PC0/ViaXHDJ92fGG8/QVRsVebTR4i67cUuniwYv9f5yx7i35tgJ6C2Z3bJfGehRChl/++9XINL7aqDwEQl5Fa/DfSCazS8Y52Kn0kmFtAp4BHhoKfyl2/0/xCzYjxiX/Yu2TxPJQQsm3Q8punNnN4wARgfr4WHCb5iFowlirzSwJ6NHCFx0rJdhHcT0nX4VR8h4UHhr5qIBvgEWChZexxw/8yhdZ/j4aTEIvEffDEoNunS0XmAbQoBFO5OyGH+830piSVsp0ikYWQllHkppj+Nbxrcrb0jEL+TKuBSQkWI081bw8+1JCbpDpW+UJPurVCHEcHBAnztmOjup1Ptuo0Fle8KVj8qtSNDOEpirLYZ/gs1ls7a2Dn8//gWqlVhiazuH0E7/w3FFoFqEi7E4Y2qAr/pe2jw6Dxdm2l/qLJh3e3cD8al/jMBH0pQYGpoP7GR4JlYDu705aA09dXItdLwIXHmqKPd+tbqTiiOpYtcBCppmczpvIQjLXwnHgPe6RWONuxsCaqpmOZXFWRoepmHfj0YqGvtHLRtmzpR1qXMXXQZ4SpwIV64jBpuZctUQYMcKeBJnuSNLR3ZLYMsdYEBKkKR2v76AmswhnZXh6ii668rPFMHqOGtshuyb2q/wUqiCzBKr0YOo+z6f4+3eJe9NtyKzALRcMebwf5kwTdTa8wq3LDFHGuljgL0ofBdB+dkton5P5ReWcPjCQ3afuFIyMZQmMbMIoDRKwVctcHQtOeGPAjW18xEbP+Ui/SaZj5j/MY1Jtz/b75mpW1+4NzcQy3I6s07vlHUDq8M3iRu81OCtIMtJyAJaOKcNmG7saD1/EK0vS3DZE7HWoW3TV8YLAP6L/5lq/ev1Hr1w2/p1HGPbBj65rBwl4DM+B0r3cM3Rw7tMh7+1PeUxAIUZqyQYx7/DsWCe6yMXNIFMJx11d5zwpkOU4GqazxcFAnbnYFLIK89REQrfamDYu8xI/J8Lfdpxu719Nim015Lwslt+YF9+JodKnRwT6g8cwWs/BgnYiAACHa2lFctp8jz/B2uTcGDCBx9kNIXw0BorxiLE+19+xqpAIqY/4ukQFT8JgJE8jL4dFhgav0FIGI2PDoufzvmDzgGMAp9GmYPX8Ep8sikKHGTO/Ra+q6A/Xc1BNytwVgVPWVwE95kG6ZTknW8lp3pEejZp3L/9sBpiIYX6KyP6N+Y1JIV3GOjVlXISrZ/gmll8uPMWdsj19Oz81BX62kgubgDCeXnNBdVrbp3D9oRo228TojFEfedI241cxCvcmOg/c4LJkbR+g64qtr2dmy7KeJ9FULEoA6B9Pt6sKjrRxkDUzBXZbqS2nBmaF9uJUb9IeOC73Ec6Qnc/FmEC06+1uCy3tT1R7FSG9qOS+nEwHZAKnzztwQt9dPKEE4b2dAFZK6270Zt6jk5mOIvQggHcLstFhf2jwBMLJ6aX76/nI3BMIYpi37/tMddiIv/xnyQ2k0UXTtdgZe/9ZdzAeozkseuvWynF5IwcPHuCLBafXNgYExFOCvvF7sR6ROtvJHpgA4gHpjFreL5ZHZXP9I92xAdAilmhEbgpNZMbOYtHnAf0KpgUhVwZGNvOkYui+zA5LlYyVQjGGVtUXOJtQ15YlRR9M7cadhpJUexdja2l3UyL/O+6x3qAz10h4F+U4/9Pd/PDauc6K1ghX9xDacDG7sbQOaZB0p3WBOLVBHvFlPEK4hYS+wLi9yAqAIx3tqqJGNvz3PoioFFR3xEU1zj00/Tv0YgWPxd6hy+slKEe/iQQsn+UzyVR9iyvriW/IrB+i8PpgN/rywYZ+nv9wZYlypF1tEFS7MCNXLGevAsPrX5xdZe4ubP8x2vl/sDahUYuoyUATY9rFV8mQFliHOEbw17b5kyGkSmW7byVuOSQXYK5DgIfA8T1dPTAnr446JM9yeUStrqWnewirUUZtOTXXzWpkDVKFBfHEpclT1v9eHXvCjT78/MeSRFqmZutkPFCbmDf1VTP0GQYPkRiw2XwkRwhFiKHImkW+6hdOGzC/mVHWvbl8C2m0cL1fv7SgK+JsNa/tB8GoGWUgF3u+9+Xmm+FpWskY2bkvdvAFVWhUnCdqEDb4jrOLVLOmGREuxwCJhO8PtauB6iS7puX94ZfKH54JoCcJ9H0s0QjrLWCHAO3gSoWL7R4QP74ZY49cm4Xxhgq67BjjdspTgTVE/u8VCncu/fnwzarPpEnRroUFVGd63GODtfO/Au0AgZThezgZddkMKiJJ50NCjxceWq/yYBQShrv1snvr3XJ5TA+Drcq2wy/a6JHsGgMV/OnrYX9cXwLxOtK1n5nzxXXOKk6xIRhSaZvIIa3vDQysmA5FZxWgrOpg9fMwFvkwNu3UegnwvFLietnh2lEuJMkuWDfyEZBgqM2pkwCheOaiLwdtFeUdsGwuIxYm9D6k72NjZhr9RuJTB+ldA0ejvqVXNMcyLjobrtJmQYLyFfLzMtNc3zsU8Nic4y5TUayjUavcvxsMESMm2Ec652fpB7BWOWiMHselGrntcbFBdhz62beXhnEcpoX8/A/u2Qldv5l+r8z5RgmpOrXy3nIl4qAk3sqOtkkxOw+K3QZzTfVmplJkGEeFjGRJMS/dX6mJHHxbQWTYD89UqLGgheXgkINLdDgWRDq+u9DjUlMOy7mc9f58scLOtxJziSqoepVJhN+ABn0Aj1aAxO6SQ0B10lHUmaqKo6ePRstP+AFKYmD+c7cQFp5tteMD6MUPAcxZcMwFqpCVhFwPntIihgb/RvTdL5uB5I1nZ9Ye/u2A0SdYBifaQ87FN+HjnIEiy8bDxNxMmw2RII7gmRf117RfVDCkx1Gc2gNajUQYct7Z8Zri3+Sitdq5JiAYtDVntn0MMnZrI7edB1GDek3DPq5nShwMXo2zIL7A9HPOTGWV1m+a9G0QZM39IgrnHy2ogP0LL40UzLjPdrh2pltA4xwOxfS/Od6EjHC5ZliC3I9oQTI3KeB2y2wgPe+XJ76W/eVrpVbwsxIjECxJrEdUjfhgiG5JsSGFPgD/W9hoIeMTGKPCm2DCTOWVZsZbFBtr43tBIHc4hIN9RNa80cUDyctlnjYS3lfhJ3xu3xJxpblbl2bYt7umcpuSgH+GwSRuCmQAjKKeYMbPG9XKuFUp3GTFmEQn3F9Jr/6rcFeDseTN2kU3IQhbmVg9C19ZInn21+QciVJrqKOf37zmWrZxAje8jW0znTiT1dd4IbCji/Jvoc8uoJlEBngS0ZmlhMZfB7icdszPNgUFxlaNa5vObFaJpaDDzcvazOmthSQ4b4KUFvAIIhrVmo/gFNN51dxy5SCXhtkdAsP6h47CFDEkb0C60DOuZJoK3XqWwgVBcLuHgZnLlaG/EEbKvkgy77V7E29N2JQmouYIUNzGLNB4nHejZEOVFEDBw5JxuPnhHkqRFPGbluNLDI9rbq7xbxq3ElVnr9nhRV3dXQ1grbTZF0bBgEmg3JtU/3t51PtRZ8QsIwoGZ8vPN8k/fmZ1ytUrwPOHP0Ju9BPrDenlFRkQxNqnxl+NeXaYIuWdaMgKcKhZ+Fpg2a9KGNQNBJCkckm3BO9zUBNbXFIYojKTP7n11jjk//i78YS+Cl1V4++rosNOzFaNZPCptnB9Fw5peP4u30mux6z8zD51xdlXz2VTzvMECG02Xg00aYkF+26lkUZoxPZhKxvrEFOJo2FUs+1Juy3Cov1lo7oe7Cp1kQvnG9BGkFWUlLqlBDtjUzucyyxqaBuq4Xv8shdm9P9Bmax99zj7pIgAj9/kJ72HXtItH+3vVqXjWX0zeM7qirQJPxKvGDpXP9WrcxwL51yltpmPfULsDlLx+nhpGphwUtmbldSBAxIh9Atr3d1tXl7xURCD+MiAbZmvdVPFEwjuo3JowkAIO7mrUiMusxFxVMzVrzpMz+iPqWtOPd0L8ycY6bA8bYvGPMS+8bGen6oBa/W9qWKWKZjfYj4dknveGNMiKXmqfsVg+idBe0ZxunLsx0DVJC0jhWEvfwJh+2yhswxP9NUIyjcKOy1Niy6Ag7rMYdMqg5AQBKOkTO1fvC1r+pqYmwHb4LFutUda3FuskgJI2QzyEoYZq9cSGHGLuUfQT+wXqEsmfVanDjNhyATBwLt2OxTCnIdzAEkLHGMfEoVXj/A6BUrb/CTmMX9k35pGx98CyK6C2rcv75YbavVsvpjATQYW+fA/vaXgkqFagFE0Jw7y/B2PK8gtMcIvGJluN/Q5HfyZGUjA28UpOigYy99Y5+IVhPa9atopBZsDauC8J8CctodFS3oBfsC90dGmJtuqflHLl2bqO4JCZfd3yr3qNFL5l6nw8Sea3gLXyIawhUVxxbdl945/KdP3BsttkMP5cqAPAT/kj2HI80QadPdtpT7S3xDX6mJaJ803kAHfyyT16NMu1FlZAQLTQ92XG9fpJQ5fZ++9qwax2/Ty3XF28h3Bqh/1tGA7csRwgb3OCGE3UErdznarouk0W82jl8KLWqoHLdDH4suFZC1Vkgy4F59e/k/ewzzoDAx17Cy2RgIEwFvLu6XQ0PtTg1PeMiNxTWUWnqlFD6KTyYdgemcu4TZvChiFG4EgiF841SntUkhBtHbNaG8ILU7IlNclp6JMFzodZaAxmN2nsEeWnvE7OjlbooK7MRstpKiuxyrCMwPqRupC/Fk9ktz+XtEKgUskjqK6HnI/8uJrv/CZXOub/nzHQ3lzfT6uev8nVJYWUWoBx5m3czFG4IJy/i3ofBpxdnFuOJ2wJjRGIsq1oxWH9FOmjfnFmLULUKzrLeT2HCHaGeKg3/6l3wAylW1mFqGnzAee5S2d55C01pi64RyKM2m43a4qrOVHS6vRVLfhWdTDBGAbbYa6te+s7bJeygizGD2M4FMIWPTxLGOtnCdr0PgT3pDBu3Ja9tn08i6j3OQs0KFaWlAcfAIlchL3JMrIQFcxSUKswhPiwDl066LLQ03p4rNsQXxxHjeo3Oday8p96ZKzajtd4JzNRncWS4MR+mWUWVM0IGiav9PDf0XXdg/9jk33WX3Ec4kcUlneEJfnBKzcqnFVkriwsPJdOwE0SsPVKDasVWSOVi7ysvZmE6Z0FJPBWnq5nQ0u1rjyri9HdiT6JOYW0+GAIHbm0urDEzbxV5ODHOmBjRtZMeBqslardIGbSALXTxwM+QLfKdIogRLbmE3rbvmlEPz4NinUgyyTxl7WW9Yd+gjAvR1KUxxJ4R3un/+YLmyKhJZ6zUoYEHb3KNaAoDyE+HDzDLJuIkfTM7kjO0mHAmNodrOqAydIFSae3dVlCxrHPO9eAGhQhEz25bMVUq0E0fUGAwu888SJQVbpkpiTYDoTBE3BTlJfxwILGEADYDcXu8l5UmLBn4lyk13+08SDpIanWUdf3/1d+KivkkT89FhWZ4s1/VWWqYfO7hrJlIPPo+PrPKmNwus6Dhax/D5zxWLBhu9aVbJqMH1/RpZ2rcNAICKkkmP5G8vS5+6+ipqRXZuu3q6rh/X9da6b6UHiyuyg7lJ+b7DqK8k7H9PN/+xKw2+9DP9vLmVt+YY/Nv5VL0BdJJ9kliVGMZs+Sux1FVYczBONGvo/RTAHEyjwlyo22GTSBN27DZM673waewPWq7pN11OuQ59JuotD0KZ8OjDQc1KP2oN9dOWXHxGjdLlA7qBUbf412CKgY7V5JeNSC13XvYG7nzXI32oEzJsYrh/lmSVzdMYSqpwV30Iib633c5MDoRkFQLiowfFOLcMXkrRbU0nNNeH10RSx7N9mgU24SJjMIHoTaxLc6SpJxOB+laMWJlWJ08Q2Yj/ujl77kUOABk89NQudTk/c8cUULABg6GlWTbeIxNc2ZcarP7awD5Wthj0l+Q4DKWKaumEEKLIJGHGwgbcTp156/QDnNFr+qzwPHnvhW3il5vu05c+P6JopJPwKa7zBONCQCEPufSRTyFzUmYYQADemrbIKnglGr/ki2iqVAbujYvJgbGrZPDXy16oQKujjPhOtlCDgvK0RUQOseKwScZcjzLcQJj+HPQdzkPleIZZBtZFrOjMKKwN6qpTql0glkVV9Xh+tsdFIACXAdEUL7Zn3vo0pYStmWOMjcmXwUXcEvAN5PWuvuPsFkD93+ZeuBPner+D++rTHR6uUSqKx8eDpIc9mVlnyi5iKkzKOqRKvqP4Ln/hREam7zeav+Y2MYtmgBExBdSsR07g7UUcMwGqS/BLNkr1obh9jknJNa5GOuj7TG7jPK6KxfZHswljER1+cFHpC5Teaw0qv2Wke9I6oxNqn05qA/VH4ZFMb3/5u4jPtpm7e8OWsLfKOwHJPUqAFvCGaag0KnfYf/3yysQOZ1Ilw0CFrBYrGychBSYNq2YSyHibTn6rJBKCa9x2JY+wccHVHgi0DgBN9PQrCb0Hhmey2TCVNRcifdcKpz52dtoCWamV2FxOUjxU6CbAzICvUR0v09EIafubNUnGoJxq+DgFbNm7ryrYsyrVN2MMA3n4oGbIwfvmSq0Y6RXBCVmJKETJJkrU3zB+3/ejwsTR7OY6hTm1uIMFmALfziSJHuCdMoYCjj8xF5qkbxx7/CwtswR3JDwRVV0CnfW60O7lcMJ/0qryJNbriNqjxrNxXOCWhXejQbVOA3gTO4wpSpE18SypTtSUhwFI6b0SupIDl1EVbqwAGmUvxT9F4yOCjBn3ptjoerCClfOlbXRQA+YhqkknT6weeGScMrstJbbj9AWkdqIJcQTfhl/fP/DhD55ujFBR+XGU7qEiS8pGqUSg46zfB5L/wwrzDF2X/XQa/DwZbO4kMwK+JY/fvfXwSfzePUnamkx0i9WmYL/n8soWmC6CXxajC2Y6WN+PRuNpJehpBzajtaaVOt4k3y9VHuTRbxL9znT29tdtroMH7KHFUwCyVXlbyaS4GoPpkk9dIkcPWcQ/BPHh/jMOuyQg74e5qPjWMGSOBgKqUE2iYOrBTCI3UieWpreHGRWH2C9jyj0zPnOXsAFP1RKMWasfVdeFg+eHkRjbj3mFXjgdYa5eW7cJeCoYQMnY/5J8dX1YuEvwuPztUwdGzKQ6De9MNRlpFU9Vn5/gAKhEXQ7wldXGbb5kUQ1aCmknhzIktwM1Udbd8KON9Yc8EFZwO6YMg20n4yPGp57xwqTWWK9tSf1B0fc+GB7WZNRsTCmZ0yQk8SHcV2fd73JohDK2uerKKfpa05Mzw/fnFX29OUPj2k1RQO7u0RLNsolJc5oIpmM5ulfd9IF3dgA6KNeKTCIzmCz6qHL82sOgm+168X9UoiK0qtGig7LHr0yUTKQ7cMCPVKOkVJY8Hi5/+sf5mn/cja00lW7bHTjOGhdFzo/FBWKNdyvLPlrjNOpZB75LD50M+qCCpjSHZUe5UZP0ZLa/Zu9Q9Ts8kuwfz1aJV4qUDNrlgdFklGS4YiCMB4Y61WUd909AF6w69haJ5ZVrg01IZvCQj2tA9NvNMEJPq5fN+0NPvLD6a4rNWKwzELQA9nNI6l08+vj6LWQneQq1PWVvlV4miTXR+V1x0V6fZb2qBR9QdrkSfAFJuCSawkFDlAxBpMemOM54SiO1/PNnOX65KX6C1pdzzOsxO3AF9qrEgbwl0OmU1pO3bzg1SkCWShbQYziE/FwVWf0WtfN+d0+MUvXYKOF37D6bNH+bMw0w6v62jX65V0KKx0/a65mOSvVWd8tS6NVBeRvmKn+HAh8Sa0a15MzLflziMbGPoAeNDyMfJArT3n8rOL2k5sViDpI92Bu5WMMjsMOAg5/85f4ohijayKFi5fWDPLeWAbfcft4d3QaAtIujW5Nfj4YA8SKPnDJZgILyGoLgbtejCUjDowhwVBMSaFiPJDdluBSnK2hyCNqIZs8ngaN0XywAXk619CMCtBv9iaNSFWrZkrA1ne3djmvU9moI2k+dPlT0xJy3jhG+XzELN05x4RTeszdnxA26U0DAcBk/CR+gwhVzK6Av0l9k961uFBP9KJU0fk0S+2UEMAF+Sc/wWRGpMnUurLeL4GrdOAa1yBO+3q3ClyZAiifhp3gvtkXX7f5VFal88FxWEDfuTGIYK+Ibsl+74dVq8oFgWqdQmUWvFNbfiyYNAnXJrfouNnS3POk04jScomauZ8ey/5UGVCTiFEMscfrho09CrcWfxm/UtV/xfYFHONkC4LuKPmHWJb31vqaSImtO3ddqHHMpZjkQsHFeOzF5C5fkH/+FH56v/zAB5BToQ/Ft/5iOtLd+5WuPhe+KBHa455B0qSjdFDucD3do57YRz1yHRPn8BKGP5JTQrHQ6zlLDWRUexfpdMmg+kf+Pk6uPPQ19HwTkL5dtUVFmEFUwT9lX3IEtnez42glS3LaVOAOqYZUofNofFQp1gu4DlBPxw2LpOyywn7K6FSPMghfWq1oglPzPnmVL6Ohqpx/veMloBtS1r9buogNLKA6eQ0yqVIFZvVgf+Jz62f01islXJc1JuVB2duA2AwQ7jbVTw8nde1xy0THC2xIbx5uTOTtNHhFIwVbYgreAOuaC8nHf3SH0+jC/kI9Oz7YcGV0ao+pnJWE07641GKV2fu8R/1tZl+QOo5XG/lm1iRW/UZDkPMdZWkiW94cGL+frNEqlGBsrxF7eLOWww/iqLI6DtVh14/t5xCEJcrfqUNVY77QFs91qQEfBM3QKK93a2iwC4WU9aNp7kptfl3QcxROOhJzTDYUITJlcLfJCoQRI03VXdHBbNQrCEY1mhDODQLP+ojDuia6SMkYVFEWJGxW0qd1EtKetaieniQa6G9H8wSMCO0QcNOCqDA2POiOnqveoNtuR8IX8slZSL9U/jEAHGaiXyFU2ArfdA/q1iAvvxzJl6E57/Ft/eidyIX4j/3087uYVZvXcyk4eWzVVaRJiWTULxHw3ebHVqusx8UUTGxf8a8UaSvV+4sJH543Ex4D92/+d9pGnYC0MP7T4LLOYI+9pIR3PyO6rmEp33ThlRqGw/uNIZvNGXfA+05gUx/ifVPcG35NBizUktOLLSMUJxk4xYr7Dbq/v3L26JLi9u6l+LD7gHHkdB+Ny8//Dyx0w6B93j44YsJF/E6f/TCQU6p/UXKdqjPLXGzz4wPTFRsUDMcl3xcgLoo7T+JluASJ4syV9L0pkwOtsAzO13f6VRsxKmNBMXC+EGoqxV4ogsIqT7lUezRsF2MO6mNBQzElFEIbndd37rlF4GJKWN89yErs7r9Ca3tLJKrDifeUYhTBSyjralEkXzchQC3w8xSe3JKX3z6r9ugFqTy1T1VYoyRsDDJrn+9/dvIqv0oZy1eJID9enp77Z+oQ+Btx+yCQIxEWUWO+coKq6741FJhjklSMMszerh02rTqL0HLH4Hqtt7KQQ+e9MefA0MxdGwYpKmdyBZYMWBa7QEWGJyFWQimPtFfvpUSSy189qANBYptA4jGW+eXMUr0HAbKS9Qio4CvWgOY6M0HZEImeRXUtFyM9PQE4P1Eigb1uMva0NaDPuVqh0JpQKBQZkg0rhAPgw223ksBFXpobWTRsz19HkCY46rjDmHOm+5tkGcf57T3ZRTOoJyjHcCy7kRCtokFKhfvsKLRSf5TA70PA8L6jF/KaUVbwPypPTy0HrUiC+WdiieUvDWouemUFGOu96EVvJOD1U32lL4q9NpmjYHpWKb4B/0tEM6sjCcxNdgQxZac2a4ieN7+qgLopzQGMtavWE3S4u4T1KNWEVt/kVGOpgPpHJ+srJcQ43Liy6cEejO1btNaEnkFm/Kj3N0Pdmma7lS/TxU8ygwkqIbx7A2MsSeA5L6EyxHfy1crixiEONw1tmKaXh9n+SJWG4xkqdOeu0ZWZx3Hiuq2BICo0E9IUMx7q12/zOiGvCpvBobimHZxpiT6ZygyCcZpgBfe2DQ3+wOmsjPdNYBMv7XCUvPZfCSxenBq9L3tZBOCgEvTOdlMJ1vJJtsmR7NluJlz6JnMwrzogyFUabEuvggH8Z1uQK3M5wniBpbhwm7H6yH9GbhYZgSyTp167La/DGoq2X465/isuCa1Wxf7J9JQWm56WkYrOAO2sK/gtyJuJ5xRc3K66w0MsUoF8jkPPC8p3dQxUq1cnJIShOQ8L5ji577HeF6rG/gUxJY54ri+/H781YOOFyt5GOdytf7gLyAbAf5UUnq+1lq6zm14V/cZmN2vvwSLWzf5PSdGa8JsvGRaigLFv+yh9lRPLludTlUo0JcWBVWo+gei6hVxoi54wE+qu2JeOTGvkQXtKf2DeOBf1uHdWz9mhaGPQwb01xj3AMAcLxLnJy/ueXBYz1st9p4869zLjzYJufAGA4i8098qwyVIUY8sG+L7HA4/x8aZGfdE97TRaccuJb9D1LeNbr1RxKYdc2YzphFxuVjZNhW93dZVpMXgwYghevGLsxestxbTcZkHaJSUFlepVn1SIxTiTqLsR6JYIfELEbBBEES0vsFHW1Ok/1rOBiJ5qBc7WiFGnHEUuWi6mN6RIy9gVnfy3u/RYRQ70dKfU+u5jYLf3L2Ky89zpgFboVaylU/L6BIzD2jGJ3mhfgMSv7c7stGMWKLxZR159jPWbeLla5rYGltN+7PHBsSnzp4W1ptbo0KqXNrPqbCWgZ+fwXAHAFzX+3Jhm1gzP9AxxTUgVq/NETJ9DNiXVheCHYhiXizTffJwa03LcXZgIln3nkTM4p9XXTQE1jPi9Q3PC0vz/2tWcsWNeJKhStJdGz2yGJuWtd8CwTJJ0i0MlfS2Gsn696bt2xVcpsKTEJuVgt3rgwjR9Rh2EuBqtQSUcrSxmaL3qnXu75zYeJvpk7k+BPpGjo7zJ226scczc6Nh5k9dKyf7ZOHoJLqagRz9oyLZwtNjorwNpAnHDtE6drT9yhWcLDQO6zVvvQgy0Ir4RoHsz2GpHVmKXgxImOEpITLE0FB+Gs3d6DW4LivoBmkHFO4eycuMueW919H+Q+3uzXHeFeErtjYdY7oI31KVmeUY1ASFmmIP6+a4hnSeB+xTAoRIrTert/T6v+uMvFG7+HbboOXSJ+r/J1EVcV59cLLlndtH5UxgReigGdftAhvAZvjsQR6baAzkkj1PoqreclvTd6CjIMeIAg6rA4+B1iPHGt/TBvcxNgFDJaxWRdSawLgHjfs2L/g+h0oM/SgZdzS5MjXoinNowZp5BgMuRxuOdMYN/YpW126j/entT5OUHobhjaCKRYTofM6k9R1fDi9+qDXUeSIxhF0moIjyy3U6HnGHpPP18ZKC8fDdoI0gToThVQyPFo0El8LAiipYJKLYXbhHxvGhScmK8LCcGAR70Z9dE/apGGyEmVTtVY+6Ir+p+DHqeUp4aC/ZE1q26lO9qwEo8BibdCR0GyBJlpb5IWvtWbSyU0RHDpwrnGdsf0LLkMjRYI4SU0yd2oorc6SvDPLcH/slS2Flon329rLsjMOCMhWbk1skvCz9dK45dMz8RmFjNJOeA2x06MXJP7jeNLrtcPfnNr0QTdWhxnJoPjySPBvACzCWNobkiywthBf6sT77F6vypq/Ut/Ln0O2o3BH7qK/hjbHdWMomKbKTRzQVpPLuRgMqBRzYRxk7o2gpoIywyqTG2YdLmRrwWbkXtxvgC5m2qBNTsK+Q1F7lLGRIgNfkSIcz9ROHY+R2bKN8AYUxq+8BKviG8ZJl6WsBBpuZ3gf8pXVhi6xMXHrE1PyxQVQ8OCe7U2txK+GGn2Oi2ic+jlstQxq9H9Dobn8zCT9BH19nG1SabugvinZpKVRe2/Kave8gxX21hoh5r2TkzE7gbBb/6xTKRDcTH1JZ/5JiQU9T7IK8vbMVq6hO7FpakSJKNgbF7yHhtGY7NEiRS1TQ1L+OYtS1MmaCEi2IgY77OJwXPXVZnKy/d4u3rsQz5veQGMXeCvs93RwZlfzlI2oVqqjfqKgUizrkCtpevuNHKqi4x/SHogop8JZi9nsiPmu7oPb7yLMVxKoBmK5hMGLKUQMNmJjEMaUemARTGKa5g/c1lX1q+BLWmdEUxOTaz98Q3D0vDGBFAxVbJwSp92RIk/dYO2WnBq7YRLqa+/Cd9mAS4hTGR0ez9LdaOKjqEQAfoWFIgp7WGWyMhRzITdFN0X1NFo00gwVpgzT5hWbnkhqVNMCwY3SqCkNn/7ABFsTwpVW9K1jWO/OcjsIunfkZGwFSFgKWHFRAgkIMq5P3e6KGIrLOf9Ow5Etz7hHzleR7tZP3bo4RddEBBpXCafUUquzRaRMcDuWiJm3w82Mtsz8jUQKbO5wcUMEi0PVCB+E2psnRPKOewCldhe3QQ6Atu1YiZNdBG057w9HmuF3Mmhe+rSGksWBcl1YfT0YJQ6la8K8WuUmuK1lyd/fHJtLyKVEcFSf8M+Kr+J33O+TvucVdDQoil1Bz63jY1jt/Cudqn8UcSOQxMKwqW1t2Dz5FsuA/t8yqF3AQyOW2biabpAyjk0RFhokjQF9gwEpzUOGarMrFq0iwqFsnxS+Qgp8cZLKwZIrqzM+YYGvoo9SlXsYMAHP81Cbu0jKzoSI54UA8eV9hrzT7s/gpjIhGsMfRzfyvVwZ6l+FYrE/WS3AxqKSqegiZE0PBGvyVLU3lMVwNM54WvOZiO7ljfmceGfV7xtsW9SFTWLzAmsbX/Ij2DZbY7bII65vOssuM2rJZUMe7IVlJKOjQv2cMXBzkDEkfEFVljb47/KbfXQ/KMtPRMndmUPiIX6ca1w1TiYpdvoU5FREWnBHa8gWzPNPcIoy2p7/55JCM18dYjEZ62SnRpeCKBmkhgyv6LNlLR4ss4okolZz8RE/qCrwmXCsmc852Sa/ZMnOnBpBBXauP70937b6fmvfhwmdKT85QUxbsaN6AnyaRT3A76jpyOVLkXAuzz58owsey6HdC9IxqEMaBjO47DdQUwqH47oczLQflr4s5+5mIO08Vh5d7S1RMHCrjsocOUBhG/IoaKplOgk06TRZrzbCi1HPmwiU29szjbBZsvTcV6Z9nBKh8rTmCw+u77oDsR5eR9o0bUxQo7wM5nGqRFlSKlTMS14egKD1FEd8Ubv6JojXJJq5M+GE6IGF13vKae+guk/ARWE86ByoTcihfJ0+NWKSVGJKQyfjoqvEzI4zm20cq0PkRB/qG3A5vi6Wmcia+2tL1BRYPyq9ngzoaGqtf5KrtgUxmXfte8hs1WerLH6LniC7YYp1ucqsw/iKUVVOhSDfnAubqS7B5cPINQOX1c+1/vifN1tKH/vlCub4FG7qwZjD5b+Hz8usBRn8WesSY6CxncI5yQ873UTxY65xTaYtcdTbWd7JUXiNlyl80lEZYdz9Nlh1vnzmCXEHkEi62VOZ/Ap8qT8ajt2tg4vXfNDRBWAd6vgbw0/jguaxbdtTKzAz8kfX2yN8gMM74LIYfjt0NkyeqD9mKkB8elGvwGqi+wevGabO+U6EC422joFOBhsmSDafWNeAm2k6NWCexn2fAirfFKOhJ+ItRJfcb3aCzp+qh1jNLArkAtm7yHoQ6nk5ulvS7biEWlbF/+EtP4QO6GQspA2yUkBRt2wC6+inZ+L2YZUTXnxqFnusjn1hmXgjp1w7wTKcRGQm/oOIAW7cMX3l2aHazG5PWKGBIbt0qA/HXhzwqkUdbafa43AHB0TRcZBxWoJwvPVeVynbhRuYAiWeoUSFUSkVuuzD2rQUOmOUPDx/8Xap5H9Bl4Mgjy+N0WIXCI4hLRlh3hVdL0UpJs4AZ7F34Weo8zjvTdEr7vrlRV9/ket7Iv2A2Kc4gUerMiAc/QuD0DXY7IeJZlRFYNrCDCt8cUE41kAC2URRe5YaJHg3UuI6EhlombPLqv6IET3LF1vtNZEBncwowDrReH77e/qRqYmPq2mRJqukdiIaubE3dBWKm9dmdkki4PlpzwY0oZrx6J6Axv8cni80QvTUgliNxM9hgUK+9o+whUda9Hxli3eyLmu3Mw5uOd/bpH6bGX4QQnxm9t7O0nPDi/0YMzZhnM6V4xs4j4q1F7tCNMab3G2yGHO1UsUXTCmztLXWwSyUN8ltpiWRFP5GCyRhvpfjOgnDUIGYx3joQZ2GJreH8QU/9QSF5c7Zl8U0lulLLNM/Gx+8VE3D1DP9rKbuTVRnjsU1+sjlwddtLJ0bBUGtHo4Xwv0g8LySO2/i2G87Z/F1sk7WQoYSAXamHtND8+gYjWwweIvsq50Zv+HHT3TLUxwMQgeHvexw7pzLfXfKYLdTluAUlycBXX7GoDkoJw5NEaRUA08Fw5DhzlyzDjhI+L4600dvAkH7fTYybKcDgp0cKvtRNYqTw8xOxGXh3CbB2IOnkNTmH7yfwuqPKhsx5LWzbo6EjG9Kg6hVxFpeAoV9HurNOxoS5i1jnfdcoS1WkpBstXCF5Np4zgXg3obGXqxy5uDCH2jj0t/QgqhL/ugdaRXXrV9H7EqCgKIEUT1c6uvLl2eS06V+8e60PzTJ3rLgH9fcIlZ0+27w6qoJklDz0v9eIHHcAeugWZ0WGUQK9Ep18OVeVLCcUudF+UeDFCiUqVcNgdcHWxrRx0SyuUy8SDiKrQd3d98Lv3nsaRiHjB/bdpuwsB6wkb80oElDRHq8T1/VjlpfZ8llwEEd4AsZcLOY2WvI1ITkXgUlzA4Rwk99DszZXhuJ0BFSRNI3+XROgD3urH2WcTjctZ8Ebevzyu/LtU2udohe4GvY1MBiF624whL3VxS7Z89pxTQOyAL2qVXcmgfMvY+JBGTaJFGqDwTwvpiZz4Xw5lHcQrsQLQ9b6UrcIUxiGLr+B7e5jfpjwi9qY0K8kK4e0xLXS3RQ9vzAF0EwvCVqiUJquiHC0VW2yI8DnRqZINxHspHIe0QB/1yx5SbroyPG3Cy58DXo4BQaSJxLltGjyssmqDZi7tmMv+acQlEbc2FVfdcAQfxJckBtdIxdQVNVFVnFuWlNzz5UY0CMPoRWXK+Wn7cTKboAxLSjxUMdSvX5ewlngHwOlanwv8H0eF9FpOGv20Wk5xOMC6GGYjYUwxlAsfxwQtLwt59DUt7lPfKxoIx8+VYL0WB/hr81CClBWV70KqXYgXZ9RixrB6sNu8XaFvESh8HG3sOspzoOhqEzmdUjbk8SyJjmo7Ul675eLADdWu8plqbCqUgHvEA4iq8jbwGjdp0v6HwnELcjBfOx0zf3dqshG2ZkUQoT5YZUhiHvIxJjPoyJdximLu++4h7fZGyCorRwQT+yiINEl52gi4002eieK7LI3LsIcOSHw2xPKgy/I1I76s+M/Bg/uAFP1IgTGX0J5TwpFHRLHeTluDUDGlGfoFNpZF9E40NBRNfsjUjAWqfgr4yuK2MEBYt6ATY6Ni7s8SYghfrjAmSsYDO0vfoq+iYBxHZ4DElntJ32F9y2tXWBe+6AR6qFD68a/H4hXq0myHEjmx68bD4bTFwINuAKp+a28JBGWbA45P7KYBApIz1OM76GQ6LnrsVg2UL0RpPL0HeHLb4RF7Nc4n9QscpndiLnj38cvbcpwlZUYZybhE4PEVY6VbRgR4jOxX4Utzp4OF/0/B6hP0BlT15hpfgIq/Ejg7nJwam+nR2E7YbL6RMITsm3N1+LgytQvFCf/vWIaHqnYu6iW1Ihc5D477V6HA1YoYQMNPYVRHG4b++LmH3/bvG8xRaXbSn0wI/DPhsbxcU2dgsZjAWP8obXRsd9xTjZBZyja1vBkhepmHZ/5oc1UFhvXUL6FX3BNWnAOdGoZiO/YfuZTQ1aQJ1HJxcR0bAnaApWXtcfKDjOlFxy3X4eWxxWLXmwIuby5Yf/nLRKFnP7+YuEaUlL+AUGysje7s6SwqNqVxSMWBNLiRGpyuP2S1WU0/yYncgBy8mYR4iQ76acImf8D37tn0J3AZFHMioaU3NPf6gbMZpcUoYLndocnSRzSk+Bn5yECz3TJYEduUxpJGcrKzII61yImggx+gQdja+qJYPSrVIsKmOuiApnniR6mPZ6NehpYuQ+uKLYxAgkVuxqOO34QirBwAakB/CGS55v/sSbMjVEWSAEwo77Efo5oK/x7XAF4Z0vF2lRJ39VXaetnQLC5mHz5PU8A4K827GP1PiIlxoTLQaWDIFZxzvTWuonG0nfP7ADPBS7Mjn2WO67tSec9iWOxPfAA+qBwsBOXPsxzqeusqEdnIjT8AISeuc87ylBXqrxAyXdJX63j4shCFY3isgEuYW+HBH33a6G3S4WWFnZttV0nYJNaRPysxWzKcuNLGZUzbZY9nuHll2Btjq90o7Kftrim/4pQ+K4OUsoJC7x+0otBhTtd/qiSgxE6l8NUNOYb5ESbDOMyC1sHBheq7KYA6SuqzuBQfk8PW8VJuR+eN8qNeGWQZh6KdmaGH2PRz2HduHby+KXVBOogbBo08kGda1qrUcSsmCYZtJEisZd4T/9XVCJzcjlsRV+cNsK+u/J/JwigMw/XUy1sHwDJD6NzvmTOkYJHMWYbc82M33NCxv4omiRbpmV4ca8w4C8YtJSt8nR9Jtles4U1ftobklSEMNpblAfB1S2W77UTxHT6tl1m9P6eqPF75UxKzT7wKWHyNeYNJdITu3FsQSr3P7xxTvL9wOC4ALUPDxMKCJgpv/TQC75CRvjYBwQuGClwKNGN7iSgcyD+o30qkpPpQfbNcg1E64/y98VL8TU1ndBfBI7LUPGap03nubPtasH+z8KLKXH4Tcu8WaBxoFOv1m+9C06l1ZanDJS595abjWtMlZ3alGDUnZKWl6TOGCY+TEi+rZ9Im2EADzRQY0h/XwzfOJZgYEX+xaPfOrJhE6TYAUVTtiOJlRsvKHM9bq2nIB2uXnzDP6kpsGsoOprh3QbB47p9OPr6Rz7DOD1X+WQ2pVxcQKH3MCxAM8D23bz0lfCRKMPEDHJ7a6nRkx+AupJl7Ml2DBObvEk/91dbZxOg+Nt1LS2cPI+naLY22B805fdhHfeGbkNJXxam0YfG+WSnIuaK1TTO/q5x/p9vCvMRxL6wfehgosNuA0XRSneS/zgmxEEfnFp5jUpAOsA6rjrt3v1IDDiECwhdM0IUT7wPHLEIZJ4Jar4S5Bh1VSolnKEUhPyTudOsTXISrhUNCFYbGUBlUcpKys9wnWX+ukAxB/NtH1v7VSbQ582vSgVc9fahtfciNTZe6o5K5mDzodWFHTjQ+3DttJsGTZtSX97xX+usNy09x0+iBIr9zJNCiusx9DHmqE7vr+FTTDDwfhynRKS7k1u4AtcR2OKPuHk216nsGEsZzqUF/5MuE17BCwBB4Cz/M6P347lcXPp10XvB7i+0i3KnUonogMFBckWdlPI4F9yaKMGYDguQsdJEWSAtCiqkIbHBHRtzTystTYZY+UtBFWy1R1yJnc61Y6SQQw9rbaYQH7CLqC5DeXrlN7NG8j2sxXTblqIEtodI3geD/315dhuSMAFTNZerUN13vgfOuoQ7SN/9n91Iq8Vq9uGBKjD+i5AoVcKjMOFC9Fdvi9lSwKCdOowd9QuRfvSMoDtOHhwbwdLlUBAIA4dQ/VP4rv29tnYnDfBk6hcUOJT0HukDJehnD9xEs3JeKM/omU61vqKbmC5x9/umXZGONRsuoi7kcD5d3n/ahBalg5DMasE7Luftl96nQXJi2rWIbSFIBbvGilzgDNejL5WXtuovBIZUKFrzLWH1+PQ3zoHc5dCtYqkcRbxWTZMumpJrSElz2/KkP+1uLTOdHgHu4tJBqf7mnUJcmf1sH3ocHCBHnMVHRM1vdkqPgkdxCTA8YM4ZUOhaODLUWPwUodk5WF9729P3Rrvgrnzq8ZVppYbCKTTwx98xBq1s9bhTnE1L8rzpbsGRuDh5h9LWvxApeFmQiqINGnlbgxI96VHheOc9FuSz0Ni2Q/6lGlpplka7rDR/tis/7EBoc7gBpeGeVCUgYOaIkRra2NSyX5W9QMZBfpHzWXC6wsgWvV/42pspNYZaR5YCs7Vemw7cJrVq7xdolvLB+eNl2q8RZd5SX4rtOoQg65QpuiZuShGcNTyZ3o13QmMC9Wi2UL6qUIVsWqbf2PJkpz8D5iAD7LVzdoT1ZVENFKmRremIR9SW/a7gTKZEKqoaoo+J2B7QlLcNR4jW9yQepXJaY+uauLxXLTwutD96GZy6xGjX6OdvXX/La8MK1l0mT3X8jk2MB1kBEw8VZi7eJp6KE/DQ00kTnCMEDKOqa1AJCRnh3T7/Ch1uu+9KKfZsOyw2vItx9WbfaE/KjcmY2bPjx9mZckG6w2y6rcPgnhJRFYAw3+++lvCwPdLwuRLpcenyOlMM/G6ugRwqNlZEm/55QJTZLq7R3l+q5OeGeL2EzDI1zKuXql5zd+WAhri5lb03XhhonO8cUvx6mXzvD1P5c106fgQ99IhDbr6wTErjT4Y6LziYV0j6JfN4GuUb6MIVQ4fDkbMa4osC+wrh330zKmNLs/fKKO9SmUkuICsMnoV/U+SbtX4ICqPzjbNhhDk2HGAbWZl1UdsF5b/BnMQa5vbg3XZaUn281WuRf8Rt/p3LGApn0YF5nBPRG8yV/9NZEobRJtQcP7lMedt8vWmE50sysLcPNYgUn+Upsu5675BFIM6AizB5KQBH6X1Sg4EwAEC5HL6SuD1AvpdM4qXvFyqCd85+cwkw4vra+peX5X6HZGp0GsXIMP1Wdt9uVc5L2Pv2t1k9YAsRAtSsPGh3wBn/jyIpvzSbg7+LP5nKpygf7Ym0I+LPCrmpZCJ3sEeZjncbpToTdWBq0WUStYrOrWIzIVol9gPiqvHJGcyb2XZp+qqzbkbVgO84vRIFGzlwx8eby/dw97RjvVMhAyeepaqvafDGN7rwx2XUDEyRWuHsPY0583rvOJnvYdr96N9NlAav9o7PWoHg0YoSMxV8MT0k/oxR2N9+xTnPMRm5eWSrvq1rHxXZxgbAkNg/NNnEga+sTC9cCY6vSdRra62SBRI219q5lN84QlfFkNkokXpzUJ+QsIWIr54gnjOzrbddGPWdUbsvXsuNe9WmlwIMjzaDinzGVTAPiVarTM6HC1huPs/cG8j8xGpVnL2hEi50Hr3VUSGKjEx3e4WTro3KICUdG0tLEjofPrm0bs2Ncyp9hRCNIe+tyiOKR1MyB6dxcZEC+n3JrbHxW1P7MWSuVej5qV17r+zFgsQFRv+5fVoQwTP1qEFj9og/esYuVP9dVJGRY38/HZ67UYPvpEb/BTs9kW1oSWYPyJoCa28FYL/11e3Vrpmt0rvZhz0jyu4+uajnr4mjvSmDBeC+EvJU1HuMbRbqNVVVxra8iLJOT3z4KjemjH6Dm5TbhrVkCQXmH+0McNWbj7mJe4Vc1sRcoIn+f8LAUah00y2fS+IR5mIm3pXBPqBFjC+SUZVv14VDwwqiMQlGrJKsB+1cvpCdTGxUzWy20fuErguOyp7pwdpdzNEXYnZlmYm6170IP/BNj4T0CIY7vcvPE5uzVPXWaL9TCktOYh9/JPr3CH+0Nt1pvBbogaKb3hUPXcZ8kJjWEW8DuPs4bYCvIGCY3imcy7DDnIg+uCP85YUnDrxU8xr1hGywILEO1vrf3sRG/gnICjr9CwFgny7WKSXWSbYSuVGGsS7mc5NpQptiXP3PcdVwJlSj/YDltdTqzbjKN5n8Uxcf0gPwuVPw+jjHgYyZmbkBBBrbMHNsBvK0Kq42ZDc6kMIVYXOoQ9LLNAFHCrxmjZaEtKTDRLDhGkisycOPszi22xpphxZqY3KFzxvKBIEQWYtYhtOvielxdHoWAvDNTY1Nqx1VC/tG/77Bos5vcKk62NAketlnXBcq1jbDL/Xxy5c43OiLAOpBsHE8uUhDBVeNwbQQYB0lHrBnDb3wnA5vvRJSxZAEIiwuyyns5CVAM5zLK52NBdLBwfeWmtG8B9xLhtyWqPq4KkGDDIxrPSYoeZ1Gdmplfiu6UAvj4GanvR+hZyvR6HNSOKEI9uCg93boOzuFped3n49KF0ZU/qH+81HLgXQ0sA2W5TU038BCOOp/qZ33lHTaKMHAUN/q8u6hf3MoSBkrHjqYbwSPJIhs2PTcI5uPM5AU64BNKJl1j2sN3u2YOcpPp5Le5FGQhTUnSroBFQjbsr1ux9Rsf4Ch+T+LCAe0MKXKQedkpP6n89a2o0Bs6/dp6ShRYGF1I+hm5M1E/zMhDIyZ7ynEq6akhZISspWCEAYbu6oRRcweY/TMb/wsJOwhZkbHj3v+Y4zFfRxbkxaTMA3aaTWM5UOV6xGY0bfkfj4Y05vPrgsMZ5hAT0sE/i1mQnu1q3QDHXJ7pIYEBh+DVJ1nDjb/vbcHrdQH7/i9ND0Q0sNQHyLr5udC1L/J2AhKwNOULbUd1sHfidIZHzo43nHCs+h2y7ps78Uq+nqEfaX12ILsu3QIfjUz8smq9uH+bGL/uO3rTW3zkaH1GQqF1OyAc8lcN5yo2THWohNn9IpK+g26d+bdp7CVDDmAGe+KaAaPFn3RKUoRSGkP/SKVLupmxDnuG2xOAW8nE/yvrHkAU52mZqIZR8HHG863nzEFWWXropo2GYus8g1LKZYE2bEyTqOxDIFcO4rXWkX1+Pda7Y/L4asx69O4qv1hqbaHz4KNLlaF9v5zNutbSFfNPv0wwEiJsEcuL615ULBSi+bJXXJOs5QTKGzV4FNjeiK/J3QvritUdsDAOYxW7dVw5FJJE7t1RMrHdN/a/n1YwtEkYwz7KdZy5fMrs59MNMhsHrCB/YiJkneazYRCOMB/nS5tSvlehybMEm4ReLO6vQqVTQij2ccxxwB9Bz8uUvAM4bghZFlfj5y9amhcW4OtDz1CtR1MZTkOzKrjW2+QZbYXOXth3yj0uxbb5sgTLA2+dvIalNS9wVHL05XGBp6syFbSLTxvenyc8hfguDRUY2qTI/lB0m+7UHeu9nQ8lifGwefblswrzLfmXI6yMGHhS5f6tO2ef0ktyI+EA3eotY1Tp/y0oUSspxBiJ44We7bu4W21RJBTAYplm3lFiTqxPj1EDUHX//GPMu141Zv4eykusPCC8FyRYuMsNbhEDWhJsU7Nde7kvL9ZsEL3CMJq5aUxsmgeLaqzo/KBzkUJFIaF2suhuS35XH88/qRFYcFjCEpAp74I+H8jhxHiOAzEmwZBZxPyNPGaWNyEYXNWDqMsdHiyHPMAAj6UwMvF9AQ7VVDM7/tmAJ46s5BG5HC6GOYULHYM6V4Epp/4rnMRYDYRrnlWkIAzQ1Q+hcJoY/pAZarIV6Uba6Yt3c3I5SEBZhaYKAPi8hNZrgi8qaTI8v4Sm6XQii18WGeEkVn/uDa5HYXE0+r4ySLo73CAdN/Fltjc5HpcrhLDuA5hMfkIO69coS0KzMQ9HoqF32JZb/vWNtfj3Pzp163zNabhvecOB6AEPzbykdmORzD7kUTVCcTCdoVElnY5yPcqj3d6ERdFBB+Np9H2gdWosMYQryVnP/mAd6bCENKSmvioJf5bOy4vBjPnb8KJnZyw/EfEboXZFAo9AqZa/MhA6rn8vP73kNqxL4YxH1BlkYTB/OZxMlfwyMVMJrPGsBPdk8h3Q5MBR1MtNyefDpI+tm2Kw9l7DehC1A2KttS8xjIepTamy757lQmN+2iIbIaLrFooFqw1O0dpNfEvFaF1vOAea6UErk3RoZj0KtHi+BB+z2OhsacNdfNYERTSxOd1w6oTP7YjzyYtB8af3l27Vr/3AbNBVf+SobAxgDPL140vlSr9ScYp0qptIP7SKHLs/Mu4T4YglXNU4En8/UFg655iF4osk91Fm/aM/0pfCu6bA7eooGacclvXf0tCGrB6bs/p4bquQ81fc/UWi0GgnXer0SLe/WzgEA9Vqxmk7OgqPjSj6+OwuZeC+jpLHS1E3sH/Piy5HR3U+ROCuK8oiZjelcVzCbr7UaUT/42XR/jpvWbrv36xi10vnPFKpsKz2RslYtJ5liZ9Xf1z5kMF47RHcuOXlJgmuGvFpNZFMxWtIaV9+dNrTJnfUKoyjtGc+EgckZbl7jjIhBXVTZpmdknAZR2GzO0jWjaOLk0iXrOz1JCSHCQwNNujO7sj9MQZCTnkQtjlkk5T/wVipLCcRja5ZG45isgyZK0thPyOX02mUxewa05VknWufVoq3lvp392H0Qaytr2xr991qrlmdvaAHM+oHT2YvkjqALKrwvy7YHUXZ5yx7zlyMOU6F955rshfgHHtSNdlnhwNaq2wg3rkT1rp6sALv9Wy20U+dUHRhNuuI0yveFPlVAy6KP8/NGNTwS4tg8FV4NIwqPPF/5iHTRWtOvKZqflDJp11T+0Ms301sgkcY7NKF0VXIiwBmXhUFKl1Hp6/aII+8I5iwA+sCF3d25WHt45EE/1Gw4Pe5oDtIkmtCVZd5LiIkZPbhSeh4wHkP0XFuaZXWQA9Q5lFk9Bn8nqi6CKRvw8QDc1GEg0hfdrYoEG+CstF26to5Bfzn1P1Oby5O+02Sqq1UbZYIUAIv/UibOJG2RvO/Ia+mAgD74R7cW/y5Jr72+XCJY80ZXthNuQxCdpU74CaUpzWLTgbfnBdDh/yzy+YEWgC6K3sFZeaG5SDFmM0qyND33YF+PIRVXfTtJ6V0OHUjIf7P+L6aJe5RMigQNcF6QsFktMn6sU+LgHfon4zlYIsakHnceig2vAVYmR++Zz9l0QliR9OL8A34CjkNphfvJR8qOe7J3m1R5yDMNluNlxb9y20nVqnf0RciXHoysoR4qyoBnuDmVDEU9KofJLDWuVz9zltb2tEMOZlfkE5VDWNevX8z2FsfoblJ5V08rEN6sm7laum9LWxn+KD0sAv+75kS/5Tp1BIFAYBEmuCUiHLC5ZS2V3vWt2l6i85t17aatZlvE/6aRZPR/IM7duG07JdukSXrDV5kISRcfvmZeVln3aD3plxRhR9IT/b0Y+TFK286t6q+M12cuSR7nUKLUa/Jq9ib8v5SVjFUZATZw2ghAwxZYhbmyVrZgvtRRsQK98h+8zKstAP3UcYu8Ioq8Z6KWeSddXp680pl5BPD4zSdTBmcAt3FQvr9gG7cpYtETccCMemu+eL5Y8HUSifyWYja3rMhp4JmCbZUBFykfIs6Vcsrv1jp0bvaxogiST6FBYNWKmDv54wm3Eo8kMBZjQe0kov1RcdcY/x2O32hOVhHO0Ntcmw4rnMk8lZQCVwZK4YDtfzPZyCd+s+sghoqF1NRfZ06Gq0SwfUw3PSpkqIvM0chKNOrYroEFGn9svi1xzxvkg+iXHMkacSVKz3Pwrygvt20afcNdwCxaCk4NLmo4AN4eO44elpo9oNSYgEw2pQsm3dAQCnhFnb1txD98vK7hNBUEVFbUMlWnHLgiqPGlQ4FLrFKdoqPXdZe63nFBJFKZjb30pgIQRq7QNQjcxmuVuuD8SayuNYwVTchAdPXNjbf5taTPOoi7oPdqQJOZlKtmQHZeMqrZjigvYK9rtIlK3gQ+sGdD4mxREBVdPF5t80vWvkIdu6p52ZOMFirC6dkC2gCqmk96N2w+/YhJSkYjcDREHmkOVcBNrqwHo+HndZZHoE9l133QQeYY7aGYK93Hf86w/1QT/JzijBes9Y2U3mNmja8cQlOWkAaE4ewYXbqYHVWxQKa+3myXgYw39bVcJPMuodXtCyijGFMIcmO1W/xvQcU+foUttD2oF9xKlqkL21IRjPOQJyNOwsoSt33xm7El2tldeP/g5uZvWlDAU7bJlNieABh4VFI2qEJ2bBqeuPFIm1G6V7KzoFQ3/XtDeTwIoOoNBu/jcltkMWoQFNWCFfhgGtPWU7c6lnAMzL9RKBmKPhnrGr5ZeFZd2K9XZK1SX0mG3WGu2MWqROPQuShwrha+QAGJZAwV6wEFQSYrP3gD5uAzhN7bG91zRr5xi4CY+5LhTj7y3Upc9LOphf074qSG3M+2fKc085UatMawcOj7v0ThIDaLVnPyOU1LS0TjVfTy1zoFgSeeS1usDOLUcysijD6kUh+C7LpjcCHVLkqvTxsGlOFLQseh2TpOVssWN5493X5p7+KdGGJM9D5YwThNetfty26BUa7fMgYUFXfBOsD0RLxXd5ICA+oPMvgwLuH6NJIFZNf7+BdiUYBYs6wJzcN016f1me5aWYC1dua63MjslEiVtq0H3uBgOdFjRK5N+QA/UobLOO/B3A884ksoIV7jzdsVQP++ltDanrJ1hlNLJvQmA5w6bX2tMJe8pyqXqTOfKiE/jKdXaTyUAMve9dDsNbmrrOsdgqMjLTuldhZ5aBoBJkJ5TCC+NeAwIhkiBRLb3VU2TfeabnXh//RIOz8Muz9L1eSTaajYYH4LF8CHk3DymDVHPlfih1WFXozlpDK9lO2K+ZF5P/7TDBybsZU8dYID+L1BkqTVGZRsR9BPTcTIs8K1vQv66AovBDqFod02VGmVCQWESYqo3KLEEcMvIzh+LcswPD/ijqfkv4J5MQJXberAkEEiqA4kHdETERBk3cysR6LQBUY2VMgV2G/2HErslFk4s794ZRWoFNwzY1zf6xUphoEGChFReTIXCQcgDObyTTwOfOPQUECgiF5vRo3lI23wtqS53t2MOlKJzqzNddM5Ek4vr11Q3vzJcQPbUVQpsoFhtSaRfm8rI4bBCtzmYteViS3ge2jDy2RihWhocJRLvAE6kKDEOJAduKF8BQj6jxkLxw3R5UT0asCTzg9wyI/SalZO1gkedA8JgfJqvH/ks2yt6zH4Rl83slveW7d1ifaaKRH21T/4N37OUa2lvNy6z3UEBRzOQnnOAyx+JYPsfkyxAcZjCdjzZmIbW5NUcXHUr4lLOKdtGgV/XxTscsPRHRGC2WfrfhywZbs0fCDSN0T6jLOnpeeUYydU7/97gTaF5NxIDkIfAjsLBAFVOJiEyMg9D5Zt2RQHRPpNgiia099uSiq5Cx5uXrjxOik1x8B+PoQWWTXzUtnhzxeejRXnDl75FpjcsqvwgtKt0yWkapOIexhnw7pBZRj8sppBsyXmz6RaHJGxZ8gbEVdCoZV1Tu15UOEbgT2dXqtKxZigrd9D1an95YcfFfCU+T8OJY/9Lj9pz2Bz6cwRaxhp39vH8JtMEx7webDe5gYPkb36STEzB+CjxFCMRUIqE+tuTAt0josdRUQBjYvCF9BD9KXX0Fmyw/SzJpzw6seL3B2mwi9T81IVT+3fK7XS+0i8Hx+ebWgO2KaVHcKt/3o2OdXYrAdBetGDnYQ3lzvS6NCif5PJi6OfqFtT2xBS0vBb/+MeO75Z2C+E1wIbSNrN3y889y6eN+VBw7aVv4+h2xaFjEBHlIW5UUJHme5rUcRg8txuNH+GHB3O4dh7mUj7uRjE7X4bssnC3L0em1Jml9QoNhdjxWM+G4UvHqqQoqvhvZd8y+lVsao12d8/C5ZkjxA0QA4Ze25VTqQxoM2lt7j9LYsbC7tzpxTtgmyT077O3EL61OVFvyvQYGRTXiWnZJ+Qup/QIQCEWrvipIve1E/lBQzavbfBQM8zFXVv8W+RraFUuoBtiNatx1qtsLEw89FY+BgCCS2PW+efriz9wetRNPpKbMOxWjyuGg0K9qltG9tsupjs//pHt+8O+WsJ7ZE8Y7XFEamSwqwqQHm6aox9DR7/MpbVkGzcMIkD/4hexL547BGQpdl56eYCg9ptREN4exJ0001wPYrt9Ie8k/3EUKd7kCl1z1qoNlnpn9WZsKsy7aHn2IVNIyQoism0iNmrFgpgpGONsd3iwxVHuSF7v6jbSGrCf8mg9LN4LnwQgbGMpAmr/xJdjKErwPth2jhE5stSdKPPuy62buWKPslcID0hJOnRdM0ifBcBzSfPCksvWJBxEK3icw5l/M7hm9cMVg9zI2FAqgKIjs7T2Ehs1B4xqTnyxxcFwWtpRdqJyXSbYQjHwS/QiHn4JS7eeHQgSo6NUtbRVEtHhGPyg16hD5+UfVf34xjaY3C0hNQ4sR/iNeJEQ7U564JKtbhWn4z0iS/Y4s0UJxP5pFIcB3D4qFrv259uJJ6DhWjf9RJclHaptqtP3y5wRXkHzAgrd5QErWvw3w9UZo2YyiHtZzTlM+PRpRjvBKhCx76+f1ltw4Glb6uy0V2SXinTINb/5u3KtampZxRO27u34r4C0mCxNOLRKpj33J6DZC4XSTQwOChy5XMsNGWqkG9CgXPxqePHg9TjDbi0xi0hAVuRKW1VKxacXt1e8BRXLHzoE5dCmrTVNnMQPQ36BQ41TmUnXr+IzwLvBQWGbojTWCQyEBJDTztbbloYko9+1vaUIAzhs3TaAR1/Hrnx1O87tsVwAgSpS+GJRVFlpdamtXzt8fmcDf30D0/Y+UJjoryM/nVWyuR9PLifFzqAgjD1qih04cDHRcfWnVSKKCkkySLOZop/LHSX8zC177bvVmFc84YmDAFlYBFate+fmcDV6zSbteZUBjFT6NJntNDRH4LTA2tSep+ZYpjdqxFl0t86YMMDWkY/xoTAVjoKL/KjRdsBVbZqtiYd2srUDGCulLe6z5vg48CRz1n0QkelKzCKPdzIZcBboAZO+ojrxlHiraQTPj6SJclAwkfyteG3GnRomFle+3QWJiiLL5B3Anf+Fds8ac6VaikiK9V5RAnljnMxwhXLUsPQwwLIrq8+jtMJtpFWpw9zpEn2KUyemXvmv0L1fS5g/o1+qqEc3vOEVwSgdVsUOR1ekV2En0Stq+zSi1CX65q3sYYiVfziH8MLMs6siC7urzgEeWFcMMlMSkD4yqwGJQ4dxOZSMMnZ+HCAVgrkx2OwHH3gLI9bih2bpOI9Pcinc52ANf/oANp+rEMPGBS0BFHfmQ8v1WUJQ8ttbv9MOe3fIxDbO69r+lQTZHvUGn0uIcLW3JC3qyLJxWO4VzZHRTe5uN4p45TyygWHGn9lojOkixYaMG9xuOjjHdTnneiBqrDTUiWgJdewO6lMmlWzDP7MNCAvKsRG4SKg6fQatL5kI4sBHHi1j5J/7m8OO4lS453AyGsKpqAQYkuOJpemsH1aW55biW1H7nc7Emu5VTheMj+8WuYrwLC3stQxf2HXQZYAXQ+ufzlxfGHTu3CHRZXl25FPPxq5MoMCU/mA3D5CUVqgygPxOAzmvkEVICjjjaTHRmgrm44wKJmfSsdRZLMNDVR1edcxcdv2spML3pgoZ3szT2ePpP7ccX9Dv/YNWzM3zIcCDcpZ6tZJKeVo+GSkZHY/4D4XTy5Trn2B/Q+hcgRhKwS4xLwyqDRDJxz5QqduzaiNL7yq0lvs2SwaiQlJ91juSNm6GlVRjTdaNdvtHj567gZBGKgja1Vn/NlfnYBXvnePxj1VU78Z/7nEHHPp2+KnMmB5i5UEL1o7+uvvjff5XFE0dEFU1U870fheJsnEBQFy4jFe7Pzc9ssSgl8gydRdjSuGA+UiqIoo3ng5A0mRVEAy70ApEXy4Ae2EFna4R4clboRDHTCHmPFldTRhp1JWW0oGLjfm2+O28xo3OlPN4EJ3oEOEnzNqu4SA6leZHyuvanJqK+/Tm6eTJKsLAmQuo+joMaat+KIZ70e5+yjGCkiX3CanXOhwz0DhNUCF34Qich/K0eBPKyJP5cSo1DmwJIWYNhLXTT2EsokPkACFS+TJ8pFq7Uk74BkLfd14A9vahqEmrr2rLmkie9FVVC/b9nISObuaM1uHXdviQ3m2RXrcx5PaRhTqFQSF5DjVBWSacIoKcq/yKcMGpo4TRyHHjZiGZ3V1Gh+UCdWY/E1k1CQfRXWJvMqxt4n0r4z64Xg+rfU1U5EUIFMcl83fbSoQ4I59d5OcKWZS0XWzfO7b57TTxFFzygn2Y+g4XKE9dAKDLsWWYm/e3WAeV4COfIsAAKH8mzUlHeJoHCW7B05bR8HxZMKgSbK6s4AlTtgLS1M39imfPWqHSr2czr+Ia7wXmDKDTUr3KfrT/fUXRw0n2C3HFuQFp/CQQAq1MhrMSIMo9ELxf+zsQQut6WlHPRDnZ7jQiY+UpzvV+d/L8ZOgMS6wjvWFks389FglR4dtPqIc1tZDIfoYkYkTvZtjAx77ZSabWZPV5t6afOxTDauG9Wpae9BYcoOYkT8wsyJ7IOJKGsrI7JXmwUFviHR05CNpttVL/gYO4qFXolDuEn7VJXEL1eqT3X9JhyJsaIMmWJoMLtGcrWEX987d04lAYsqEYIEnfs8awkm9Nkbpm0WSKglS8iDTfRAfNPPfIdyJODCsNkrhPADQh7Sn3IZ8F7ef7/EkV1V7fPVDFHlwDvU5EZ9hUfmqcHbkZg2lt2dWqK5fidSm7QeSZMX871VMK1xO2YsaS/IRp84JCWKYsV9x+OdLMZJ3o1Ihy5AM94BUpLXUzMXxWHihbYTnwwZ2I/0O2HmtwBf/nzLXrQR1Qfi6MiFddbVie00MNnNNAazKCG+MhHhMabqVEx9KMDX87DQIvrMChAUwKZvETnNcrsTcFlrLrlwkbkFaJ/s7evmSm77QWQ6SpDtzrGohTiLRxq+tCUaj58WKVCxxP38hH7XhvVXUaXueL+yNU4eTQ7curJAuWtJYiDdEk7akOhC5jGmFbCnKe4CO1JUVAtyiqQuJc1bTZ6GHLj9pM/CDi296/35WQCwPV6Fg+Y40tDyfwLb/KNeqSKJAO72HsG6eJ9q/q0be4pYcqkujNvcGdOCCr8zRhhikbiNAP/ZhJ1bgrfmAO77VpRVHNhj4kSrmsUPzFSvGW27R3+ClWGewOFydXNVZWAPRX3KbZ+sxZ6VDhv2mKj4y343YnM+Qgxs55/8CydqZNSEo6JrockRoIxvdl3+AA34ducM3nk94kyvOfIxCIjWezQqZfnJMbTaGNG1+ZTmPEg/vEPFiwlGrWNX2zfyklMGL2QYafrDXmgiOX0ZcCBlL5O/B2IfQE5CubVcbqFXu+6JuhD6LCFHxPeg0KpDPXcocYTnRIC1UsSAnuuzLILtoEq2h8jz+y2OrN0Uqr2auh0d9tzoTcdcoAWWETZQ/DB/kryKKEibjk2X/NTjk23CYvAPkyCu93y29fhA3RCzX24RRAEAhCXCxtchpavNdyONno8EJ1jJyKC7S40DOG+WPsLaj+HlknI7Q0/PclLXwnwzYbgpnBeFfh3Q1qkbIJRMEsyhvITxDpYpVPG0UhkFw4jwECZDuNr15GA5h7jth2/ItAMxb8TYPN7yx9drk+QvLQR2rPtoIJpBq+q7wI6ppnYyk6R3AJQ/Qukb9oerlkrhL+i3/GULsLHVE3uoJeKuuM3h9+CI8orgreyzBvqJgm25jqxlgmtzwIRdcJxBf5bAyYLqgSPst5fUGOfgVArlWR0ShUOBl3XMJQSI3gJ4nfBtV6FmIUA5BHzg/OJAtse5GJlxz4aDUkgJBgUKvH+eh4sJsDNdCCujgdTYiLXTParsK7GeVdDf6+79gfhnRIkGAHhmGEnUl0TcHCWbt+acT9xiAlQ4Zk0x2PLF3kxajM5CtENcRb5epIELhzwbGCGZuHiC2j2DBnifnHHYPAiE/MEQBhB3fsjdC9vx/4sV17xBXCHhw86BY329Mlawmb2fbA1bmD9pWgmfa6U8nwuj6KzKGKo28j+dqxIkSsC8aWAXM0q7hslCXQI6tKygAiCuhMj/Z5ytYBY/dluZWISj3lu85HjqjxzD6Vy8kX8eTvVR2flGUyFeO2drNWLiElklk9HcMKvaqZURQJWZbuZnQZsqdQ8fSYl9SJ0wkDd74RY3+xCowUHKbQXDdCibmbGoMXsuToG2XpoUgbwtuv1xav0K0DIsCbA2ynvVwfFopuX3l0abU118XaWNsfBR0+52ZCjG54pZYww9vSUC2WumOsx/661fu8T2IeszPAg0SoNVQH64vPlFakIDBsymJ3upciEAkHjeIkoRKsAaN1aHMyYNfQjl3D8Rzu0/d1UGL5AmohL957//bGuDwo2BQVAlafQ16D7u1qpBSx5n4/CwjUofKoYZCabi9GcSlhfKnXBm59fgJkV3iuCvnZZdnAw3GP7oqa16ddmb/slt1xBGhZ2KQqIqZHDa62q6qGhXYEC+CM1HQRwDDVRml+5MMaXPFNScExCZIUCZnIFzScUYIJuQkx4gB8pqYOCWYI8T7hx1vN48ZHJOzq17T1zTWPA2n2hHRgD8EDXs2ipsURype2niexh5+SvOnk1Cq+Ggy4+kGXB1dn53SvSR4gfYuJ9uGa+QaWKqS5gKh7CIAT0NckszF6JYMznpHi6SJOhsHqt7NeZDONBl0iRfycI91YY4lRlAkzCk043WSx4rZBdw7KyrIx8+rRJIcgh6scEjUwg65OjO8QEiajHS0qgzLFTgjQNlTspqSxMtEuDeg+XcZr/iCvFwb754I2KrkSig5VgjrvfBJCLQnsYEM0qsxEnPofPUT71ftmOMD+uWFbrUbkjEmefH7qHsKi14/aOuPWINNJDBXQlmLivH4Kd88x/58+HlAJ3wmiZuRGRt8Xe1xKDFxMCrxKaK/NmmY5npC5zGp2EKQ6dbkORcDZjT9ZYU1y2PJAj1Ieuu6zH/eHEW6i4gmp6emkTq0y5DxGsm5nm2A10QZzTYtey+KDymTKKBYn+MaKNHu5/B0NsVdf2MDSeHCtrVnCciJ8JNxQXojBE1CblH3cUuqPZZQfIUgcDukwp0kwE+1ce0UjBZbYhgNxXcXhMH+GVRQAkLGWhga+aqncXkaghy0AiHei8AmXhhRaegfP5+JyIIunUS2arD9NpAlpUlowSl6ybPy/9F6wOvOMO+Ra1C62PShH1RGrXcRViRCGLwaS1CvI7+rdEmSgYLa3dAFd6FLTo3IvYRLuackapSkxiCBTKu9B2x9he4Dl2Bkyt3jLd6MBStEq7inOqHpN4kcTohMLfGd1vcqCfw2/3T2PzlC6Cczv1vWuHpcOpkemo05mlgyC3vJLOYxfQQQBuJg8VmmaoREjlt85OYEI/krSXK3W3Zk49G4Ak0b5IyagN14nUS4C1VMOzXYq0W6trJx63A1Wh6eG3poJI7UVURPcX+3wy9JgtKw7slq9Pf60IXOgyaqEz8fzsoNP2aK1hNZhUF6WST9zpicwQqCVwFJOIgxUDimP0SwnroKi05uADeB4u6HQShLGAyioj3/2ORoLlHPZipolkMXGRRnSAaaPjLU0O0nUhGC7G235DYhV42W5C6kNEUo11uCdmzHmVHdKdGdfmwZDInaC//sAGUGPzHMG67Lkjn2RITaCpnmMwoVT3TTfOWmDWs9h+9d9j5HLjgGwZq7fGL0fjvEx54K5XgXNHwEz1uhXvrTBn58MFWqDCsESN4FAWQTA5Pu+XERRnHRCrcQXz2wF6iJmZno7xgKVCyKBdFnxs90dkR/zW6i4EaJJWz4GW8tgmn4RCpj2ibn3T4cGhfLVOwHNFeaGko9a/Rtq24FT5K5//NBER+tDt4qB86IiwIf0l79hVBOxZQJU8gKwzaltAryYuAfTZ8IMOsPUILz9+DXWDvZNgS32n8b5PfCoCxDHRScm18f7wMmMxsmyzCLGQZkh0eM9avqCaU5/YkdtTvWDOuwp8Q3iWhXLON3AqoEgrVWvDKVbFDnmNQge9oEw+YkNPGr4hsP7qB8g6rbp10sfj7wltJunwom1tmD89ZHkRjQD9v/YTZpewFosetEAi2CSQxthkmsqBel/7+AaAOdMLoDPIaU3Qqjl9zB5J0vuQgvxGX6zK1hZtC1cma1qMmQBrUUQWRF0cMAK7JuXMPJstOV/0TlXHa8LAMCvt5cMxHVRYJzhCHgVokKZ6HuhnkDA/k8P9ioSL8Dc55KsIGpty7CTXj9fbIzCndijulptT/23qSi6qBiZ10pKfsuexDE18b2dqEoVTLFwwdTA+OEufGnTn9qXSAtxFLqAGWfCA3axpw9TqQTlwyy66WXCRDT0/ncJ/M1mUoANh20AEp53BUAUZImcWYiRg5AA5aD+di9wQRFV0zT/7qBBzFEunrBtnNlDuy0B8Jxj+kxpCOVSB3SNMBKPl115UlkCWwphTvn8KeyGj4dKRZI8GVg/L27A+Yv6zeuWVFvupN5f5IARx/0YXoyV3du2os3PFEsvnd0fKGjOrB2KCvoNCBRpZiI+DZznzYV2wUCQyE5g+EFT4WZs/bgNbkFCd+AJ0k7GU7j1ib3zx/P7fOMNhkzVtucn/POnutx1IQlv4lvWEJZEyEEakBd+9VqaLvdnQo5+GQgOGCuBwsaDm6t/r4S7vCdBd2TcOcc74uWMltGNodQheKO1KuVtPCREFg0sCYCxtOkxjJBxh5x6igqt5NdscWNzBVOQCttM/IQEKOVYW+irorHW0R5W3A/jQNgFMuLG4Lhdn2azF8td1Jt7JhPq+lz0zQQfxJB++9Fmm3lAxIYnst1+Wq/EUMh5XUe0DNN9BE5Jmb70aCrQlRWcDKkyL70jdyWUQN9KiWd7SiZo1v+AiKca36lj+vjThPdsaMA3W8OtEmCBCcnardQO3hFBveIgCZmoeHpFBe/AXOJuhrGVln5gC+nAUVgR7KNT9vDq9NkYH5KslQlFtfl/Q403Ws6gX7s/yqCtVAU97ztse7KxU8vyDDvjfhiUP8JKiq7Je6I/5m4qWNac6NKLzSwqECYOyh56yvcdtaSMvFgOSv58xTXeA2SKCi+sWixjaS4aawS6KZTn3z4NgHsfRYHP5rLbjjNPy6fN3PX4aUBm2jVLho5MEe6jxuMColz7+/AIbip034ntQQOr12VB5TmD6Cxcvsjh4BMd7A54GfGJgWG7S83h6jfvH/dJZvoqlNHfKUsAhR7AN7jpjFISSBf1pumZMlfutBzpwt3rM/2BY3/SAtZyQ883elsqSuW7cVaiKsMzvJd6HP6lB/mTFUQ+0dWHwslj/nhFHYc5FJTyYSN0K+0RVLMXeNIEdJdDmvtI0sN4P9DqgFzwiVbgFDqj1b6IlMUYKxN8cY4GnjTbwP5J2lH04BZnZGDEr3BKv9KUqWMB6+rdqKXwKEppfT4IVqV73T8cy0uAPVN92g04qlp+xqEoL+MIjtcJISMT5GuM7lEG3A4Az6VvPPChaQvkZZ+DLBHDlAhG5l9QKvzlEXtHGrhrBkOtQ6cA72bty3F5R7TOIJ4nxVhuqbS7LQ9lbnunZVvCgWRB+L1Tvr4dxiQBlruZAlIU9mnqdlQyrDnl4PKgKpcug7l2lYZ+P2oPUDaMeAULAPAUZf/enIxxRlVQh4BOPqsSKjJz5MMR0emXQp8BvSfOLtkBI/u7YqNuPfW4K6LJ+aClvlmUTKvZyEGAxpex36bl189ohnLEYSr9ZyswE/iZ3pnc6/NAJnDFtlRkkBCIFKi1sQsteMcyEhO4yjTCcpIl0ON2hco49mfL1gL7kTXGlTFZD/d2aMrDLoxIDq2BreJIK0/L7kH4l44oW3k2vzAL53wcXDyW3ov+EX+zRQQKQxozXIWRiYob6O+nKl+/Q1GeNaWC27g9Q1hpm+fDbJ9xAOqLEZodQXU7cIQutR3S66Xbr1uddcVipPiNA51KetQ/MFuUR8pqehfsJFlN9KJFu4gGontsDVhWU5+jbpsKnLFThY22IiooFrFUaLW9ix5pRNGzaq4AtLSlGQfPkF2lhxKy6ALiMMvlBU+48vBH/1K6jxBEgbKz5Bg4RAKr6OWvVb0oo/BZTLny8zylmMSw0jRuj6WhZp+tv1xtQ9ktZC0raEnRYyiUnfphk5Bk7GBg4ITxFqG54GGPU7q/N6jEzLwHJ3HI1r1kk4euh8zNNEZ1blAnUtFEfSwzNLpNTzjvxLKl/Y8Y8ut5IUXvAUdqj2laP4Day20+qJkQs6XD2xwEPr8s6WaPiDGWrHSJ7sjmCvkwg/abvuL+7a73w56bc6b581IQYhgSZOe9soJcCUY9MHEgcsZpQ8KlAuvnaP0wI48A+Vt2zL8LXDLWc+upeumgTsUZkrKa67AVSxjNuUMt6qcZdhO93t8BmuaomkdXbreH21G7WFP4bygkZXEiyQ9bbJPdaW8UffX4HRARiMtfzE78gBRofDnBscREwC7xP5aBFv9ZIwfi23MlwBmCg6G9YrBo0GG0jcjCfh8wVQGgSoczxTolYYfPwioQmrX+SKsIuyAgxmMELk6pqAHI7R62wdAGHwglAoBTtiFxv4ZGNeCjRACfrIm69oZjmikYGL/Sv6W3dBj+R2ZsBolqbth6uwsVNj+pLAdjTqIH3vOOxh0Rx6187Dt1Yv8C8yOfOa0p/oJPLGEy2pw/QRxmX5ao6JcnQEcnX16wrL1U1W/aV0MlqtVHf1oHLDTFtyHdiA8T+rorwiPDQD9Nb3OiFDceWE692IENFaL1+o4Z52MSvTVkJyfWJXvB4dWNVvxEW/MrxbTJgqmek1zhfLUNzYn59mX0nkCETeY2aTW6RWCAIZ23ABeTDm6o19I5YfcE1hZWqaFJSjfVxo5WPhyTzag71IutCUtp1g15tflvgXMbtTxhSUOjQ+Iymy7KN+Z39fi4uuCRN8r6J9VdOBFMgTBdgobwAEJjGcD2pDeuQZoekF1tgDr7XuRwC+98QaTm3y4YJWRQKuIxmu8rtKvXZNQ49mtm5tRuN2/GVGeCSMviSTmPAsMSQL5wEmg6o9zjcTj7R1pdF/34Dh/jLtzFBS+wEVYgU/82DAY2JziJm94vfs1zafyfwDokqSLDR6fSp3vPDzYKP1C/aENzkgrabpACrOFeeMuDVuiZ6+JYvgDvxtUBaWgMPyqP4XNvq/Re693Il0nxXsRmhKAS8A3ASxGHAmBXyDcziqS3YbVHuDvi5wRvGCpu3I8pbn4a4hQMw0Ux7gMMLLb26EieCOq0m7vt35ZCWe28LYR0njneu/oLP7LrbJDmFiCuLemws38qN02WBXLhPM7ZZgncn7KgFDOyGepICE2E590DmdmkUjQ15oa9Nfm4Iy1QpHiqtpQT7scOPHWImUIzDXPpsmp/d7aO+L/5Rq4NARMdontd65/evE9QORJCdodCUjAO2UAN5zzJ9URS976VrlI12U4qvVZlIPpl2eoJTXJl0Tv8wQij3jyAhJi8CYRJ48gUvoQPJYB6S1z/0OBZZBCc8b65rUbTz/1ucw1K2h6ccQaiXfMvaOm+zuXxzrEWaf/MJ+ZJfAurvjFo1DySGWZ7Vfg7UB7PzoEzYAdUXvH//nwW2fHyJuqhtL0dKo7VD/N24cAqauVYYzzxg36sEVBCJFxx9n3sqO2zEO6cz526ku2ua6iBJtPCLTQ+lj4XHYW6TXJCn4QLQFmTDYqfA13Cij9c0vuf8jvGJJgoB/Ey0wNee/bZa/zlQDskm0ueWAMsRc7/Cl51c1vFMHojp4ZPePVj1Ac8y9qyMJe2oCfzxy86ewAYrdn0RgHskGONplfHbyncaCVVqg3/0V56KReVpTQA7nYJklzd2uJSvyqZv7cPdUEHVashSEZsus3oXto8Qv6L8QUDQfyTvlqoR6SS5ipdnvX7Ez5d+JMkmnHkqsLGi2kbJzKZKCSSy7cz5H6ObcpSNqYP3WblWEo1P2XG+4fXdbYcCI+TD75HxE0y2Nf1+krCkwT8bFnxYiqostjPCpEWUNNboAOomzgQo18UOea3fh27lxIgs5iWL5kJHbXbhMxIY8A+Y0qksRpv4X2L4+8eWXZ/vBfhEGCv4cVVALBoS0fAnyO+KQtrfti7aY45CzzIRQzL28Sj3UbF6iXnsJ99M1juDmsYCA+krExstQMGA1PV+YU+DEtrFU18LxaBe3DsJOiBJN3yzG6xZIzhm8iT9Y+ksS4TPr1q8cJh9A1TZ4pifQjkB2mmNkRHW1irSLGDpmcHkZ8cMPkr/7dMOtCQ3H9UOhse3c8uN6T0+PC80DEFDqUZYKr8bPuba2yv7rD8h2yV594cxAqg0CW5mMlSwIvokfhyqRGpQ5QpLcZQWKEExTb8u80/XpQNZI1qzy3W7rj6WWxA8Wu1H6vUrGiw/OenbcALGnaGcRk8DPVcgM973ipboeNrsdY+f0PkJI5qjdpty9tG9xj1W8Qrhol9kt/sd/WOmixVNnAGYTZaXOw7359cpkwqys+mo4uuRB+BXyk0DTDYEVKB6u1Db/SjvbpcMzH6ddOcmdvqPs6y+geAXfwTthaMdo/FM8ZfqK22fXAFsN1Eui3AafqNKYEzDXLyBACJkYGXZ/AtzGYXnYRA+4wu7nQLzIcrDmhyzFzIuvxuHO+mYs20QhUyD43OwbjvWeJU2ydehi8+lByUKb7FRrEBi2LLg1HJPSYaHeBoiude5uCTIvmgrqQUMt7reatms8QlUBi/mGP17RaRoM2jY5TIgUh3vQuz7fNsJLK7enMEcefmuwaSPq3uUXxXQLUHVbQOz06CWV1dYRV0qwpuyg5XgmWB8Ygm+2jYmZesCj1G3EdwhlKCuWHYtSkseVbW/laXSK1p/uTxbkFk7RBC4eyzvITmDmPYhpV5HEMNa0/ime24vLCBwrTmZi+dLz9jWabHHafL78sxIuOF1aX5hKVprUbQz5VBsk5FKhGmqWmJUBnSzrtLWGUNtc4KZ/FpaSAFSY/KSRzflZa/9zvwJIoDeLM5CoL6DQvkACN5Bng7z2jhSAgSf7/ZUxJhBowq766RplZT3LVmxFHClI3kgcIaE/16dTsI8vZLa6cEzUzRQdhX2DBMsH2l5SR7hh5TWTfTSXiHaqsHgp9pVH4wU3JI5orimuS/Wa50dcngqGxMg816haT+EklxlN+ILqd4OSLfeD9nJtY8jfzF9TAMSO3zENIg+Al3LpMFAuX2GH2s2e9yS84G5xGr5QDWF3JEnR7pLHip3i5n4BocxNtgu/L/sD9TYkqWO8cKzZzpDYLlK9uIq5DgfLZ8TadCoWLl5+I5wNDU8JgyAAsRccr3ejuxCdf7g8+EGK3+2HSODIMMb7WDYw7PvVBgnmpyjsktN8iDFqaJ0+4t21wi9C6AlRIDWATJcdImos1PvQ3RGk+Y8+hSxmBG3hwulJ1LXEbFXYBTx3hngnsMetn4RcMVqkJXMIbhfXq1GVzTL/6VLkXbDTpnSNNo4cHXjd7hAb+6XgQQCzT17SVFWaKOixUpM5QmTlBe2iq04yrowyYw3EFr7lsNVKOavx3p9PZ28wErgizoF5WetlLSjff9P3a7B3GAK5KH5yyv1ASCQ53VPzL/OViJUvD9hhkS4Ib4hC0OpekgAw6z4PMEjki73xrvTiRJcYV3Mf7AlkiLf7JotDxUZens74bTe+9ODh1IlH4HCv1aMuqxqhVrrf0gxzE0BrYXI3oU72eHDXYQSgB2mtdvlblb+PM9xeUD7waG5TKf/FsVodGPNZGa1VNBJp3IU9xopWRfYFOiImttBsNjXowsVZwXur17j4775fKHtXORRItkMiDKQrs8Rnq0TJVNSm1GFs2+arYfdLUGC1C/SrWW6qmHu4nyiYEx8iIf5AIyjnJyfhigyFRUSZo/75TQ7uZqJkCb60xgcP7avyAt7j0/O+bVmWr1SsoyOoMLNJREz5kZmfALYKhaTqaevzZ6bAovHBj6LuJLxb4QuxVuZIuVN2vtkTM2gXwnKU1T2GX7QYmVDOsvNLttNTDYFf2GtkpMqrVOG/UjY1t6qmSk5X7yX6GoyATO3krwfrMV/ppYySlZraBwLtonE++mvRtQ8sUm4PtCvElyDj5ekFl46kz+iBO6i7R7CcevcrBqpFFVz5QM0NAv2zzhb9vr6WiPbHLmKzKQiWau3uB+OkorXoQqXUlxRkkjrMnC8pI1NVbPr4Fj72CkZzPBwUCsFv7DcAS2zono2fOfMVbBCBDKjS9uE1HB4QSPYrU3hYqHVTY+/I5xJ2UnJCbQ6HVQo8xoX5kqxmBdOljKPo8e72WmUvc/EVSG3spVXe1ckOChStCYP7jigrsxTCzMsCmip07W8u3W7VCAcLPvoYYn51fuNu+XHpwR+0WDKam5bbwN5CLGd/dzkBHMi2r89unwakXJTEx8b9r6xAKpgEPLrhXeJQc1Zd19dEliF3qOjNJxfRBCPE6z7MVvWGr2LBfV70oSMUfQrG3NJld8zCbMLBCn5qBLqYeUrerr8867iAFYPokcqiTeVOhdRf8rDwYkbYyCjLJHMmRVzRvSmMXjB2wFv9VysHJxIgvtrY+iNk4z5i70U/tgUNw3vMxxFRprgUnODQGaMjtLB327vUgNQKWQ5BZ6Tmf3YTA3p9Hpbz+RPsyjIbyHnEp+ZC13wnd3bdv855Sv9S6kxyb2h9oUu9gdy8i5CkQaHjaIqkyxV1yv2gpkd1OrcXBazcMZMoqD8ax469CVt4CU15yOl4oeZHlss0YKXXUvs1sR9G06jgiJxRMCetY+wmI9RwLIAIh8EwXm6uU+PGtwP/ohjgGH18bzFD9G9NxX9xEQEg1bdDh+/lJr7fw45Gaq0/CxHUqqrs3e0gYbZNIKPLaTOD54qKW78wnyFoz1HV5mc6IxIGJI9xvcXT1PRFQxGEDrex1JWBeRRUQp1mnPx0wQmOq/YSeiIWj8ONZzErJ3QZwViBzZhPe4HmHTw7z4uP/yMsVYbxgF5gnvbTy5Fj99prw4iJJ07Vay+JTqy2eBF5exNEaV3XIsaJv8CLVXswiLR2iItaYc8YDzRRl8FRt9OL5xQ73rAcYq+OLl2blD5t+UVhAr56OVPecsNuf1tPJspWWoRy+YDOgZV3ismrF3GNDwfxKEt5XR4fRVpGl09V3+PxSa3VIeq7EqXghk98ZgE07jfa+7ktJwRC6WXGI93KWj497DZQ0Tb+IQA7duUBlwqPLd6CLHZ7xksqpO23jZ7U/nq/sPwQIHz2vwu3JRwzOAkTOhjPJABQAU/lyBB35hPiZJeGaE3lGxualt0AvrFW2jbQ0OjyvlWzyabtpe6N8ccwLJg8NDYh2b1JyIKVufb1GJEzAz9kVlCSSx04dzNu3xGGhgWKalSdYWj+1rN5AoMCHPW4q/VKVvx6hx0UAt0Ffv9nWlEtrIxeI3nLfpMR/TMAs/9IofsoUx0KTdG0qYNIrBjtMCqiy6iK4uX6pAmOezxmP1ZP9S/pglIqU2k/uTNr9LsYF9Ro1bNgmAC1nedbN+i7C6lybEioN+HP9a1bztNbGONgojFCo6aNVsD18spncX6FGP/G96d6uf5UMO6BnsTMRRmdOqoqIuNUA0mY84pYE0nX4c/VJGHZFGYW11LgeD36Y2WcXie27NMcxfGq1noWEvW0j5Ac9ECEsRTb/vobTZXFc6hwBc9BTCZxgF71BZSwdEvlyrbnE3Cr/kfMKRcCIoyedmk6RIJmWkP1aLz3/hA4+yCC2aIxaPnPux1RJYmmDDK3q5jH1LSknDXnDmk4mK0m6l3WJBN7FLOVtqpuPTZOFGcsw9nuRO6nEhcVfUKQCyY/pLcxTVBqza9zOcU+vHN4AsKnxOx7aSLvAusi0BdzzziYYV4Xoxg/FPo43Hra3tqujCSW8Xl5bZsAdwI7XqIwutGvmVu2wMy92jy/ubSRjgDzKNPSKd2VOvxt1+sg++hys6c6HmVIwMT1MIAFcej11N6ceLeEdxz4VwI6lkdIL2fbWaE2v3TDm7yLGp06FUHdxTp9NKylmE2vsZvkM5tPCK56EuLAwPx8MBSKczCazoMhlnNunn+LlvSSR3GUQmo/AjJq3VYenGuw5GKuXSFW7EPZQ7Y6SBxoWBscsDS0UVBR+Lyd3k0RJ8P62pzTRrnGbJx/lq5c8UjWY4bdIzmyyJGK9kB8U6WSGR7afcJeXOUXRJdYoDkXq0IWe0itln0U/D0QQfEMpYSmRVyRUDdPk8qSQI4pzrrZYg9iW+P9m2MClzi6gjLZZHekzPXJ5i8QNEg90LLJSshOCmKmvbYXFX7BxLONDRkUNDFBgI8K+I7p6Ka+V/+VWfW1gXTB0BeK8y+iuuWw/WKMtqsu5XSZZNMiktzO4fZH/tCgZTpSg0wEvReRM6RiVItGhK+mRhN3CxqD9lImGBjcfnWwV6p6MEiy2bGug9Jlnb99f2qwrE6fhqLtBKCZ45wrmLjJsdotA67ud/3+R4Lj8nv7RYLtRyX0Zye08ysql2PVVaYk1HV0sPFu+lEscc4U9CfgacVjyIYExulSEPP07LUbGfKv2QGrWxjGJpkTVL2kIuZEFtApz52rwGGZqxksOESQ0tXnlGNPEprWrQtCRHVGIsojDHuYMExiyvfH8T7VXqUP0/rNnBQgK/F2iCEnolSF+/Drs4jvyfY3uPOtD4GPWTLkEbe+RME/cYLlJxB1kLce2Y/1h/K1xkfh7oDIsSHi00mMeWjwKpkG5qCqo63sG0d6miWkgr5/TcJlugxljxyQWRzuoHYULb1U8vPo++uDBrEzb1N9QEBILAzwIvwzfeX8rHT7nd0BEHJgL0f6TMW4jC0UaXnAUy8zLaeBdnFyxB/9j0W1yev4lHHhm/SM/iwS1cp+uOM42gl5lcfjyR0j2suVQ5lsADOJE+xB4Z8FwYcnbIOxJkUMnwDZy20MKJ08+TrrzUs7kQ6HfodvNZGPs4GSXqiKQ2iKxqtfDR0ZNn7aqofD7IJiUNQuR5LSFi31oQgU3z6WD8X+5kF1fxcScnG9WXfdPB+q8mDjV1+iLQ0vM8yxLEQB5esHzNomAgNmpNbVdtBz1xjJU3rEW14QeF/EVr5In5i2mJ2eOc0+5LKEfiUjW7j5PLa4bCngNIjW1Rdc9G5LpF0ILrEpmAvi57AH84ILdGZ2vep1+iSVvk2P3gYLzAjkRI4oTJjhCyZi4yC1n3Pg20dnOZjko/ZTeYpOb+1S3sDxzmfGbY24427XzSBMKpqYpfo7okZ4i9bH2jf3zJRxfmnnU9ARSMKpdBo3kc0fFphd5jo1CwCPWI8dqqB2JqaoEJN+jQW/WfWDRtbNMT5MDZPGyveTravtAQXzmIgauDaCQOCdMkzwwt/pqEscHretRxJXjfvaZ+tqVlDnpvyTShUcQ6n6RDU1mqBpZ4TZHWlyZ8HNa7E+0p5EEwQJLQzlSBKOqQUUHZ5Jqh18W/ZSv+m5syDzAjWKur3n0cbq3+n/mnUFxmhRQJn3i2QZb59iTosPOphbjZdFA8jImVdauSOcCHMRvD84kb/YYbQu9PggEdgsHYskAxsC29LYVGd+hujvr4PU72Vi4t4/3knjWRacRHCwwBYtpCmpk7GW7UpkgV0+6xcDnsTnit3+JlEgJm4S6zCgVRRzeo4Ntf4HtkyXfpPMRqYsfg5j0fthBO9ClOc0ug9YRnYhC5Qn9icg0VypbWX05ZjcqQv/3Xw3R2adXWdeZWbdUArhzgwlVdUCaJ8n8GwB9lveVwgKgYaNawtHtAaLU8xXa5ytAGFpdUtuIujQ7fimmOQvDuiupeVEfI1fYQh8tIC7o/o1k2TlPUYWuAip7gB9TVztYlgFy1nsWqD+c9TtPsODU6yhzLoTa8xMrphSFB+WvAzNUr0rSa4FC5LOuTbnivJnDVXaqAYKRJYPw9DAQWtpxodxYWQCXKcgesp4UQv5L6K+sWhsAc3ckJpkYRQG3w3n11eDDGhBA1t1YGBwtPbsRSEV+cMDlpC1sY/O7Uhv+QMMISxpUJnEh3s0L4uf4CjDFZpKfgiOiaWAEcYI4OUn6hPjRVdp0uwFHD+Lsgau4UIgE8iKZi5m1tlCfswukfJNt9B7us1Ucc8Kj/0G4OAIwsv0F4efqQpHtJpsy9SB8ZMHirP/B8Nw88rZtKq/BO2LIHE1abbJDYVli1xTEKnZLPDJAQ6y7xebeB5tUwzakx+ToIhpf/R/f77iiW5K6tU+nbTAHtBq6Q8tVDgU0X2QgpioTBXIDG9f0yfPp78pKoY1aSIwGwd3NUaUgsp0jbuXnhUGX0daCv1uvsb0wCvyTbaIMYqIc/NG45UbBJuaaGREtI5FEvdlCbdf5FV8ne6hPcyjkdnCIC5IpJ9uL05HrGyVowQuLfZxntCTrH70q/Nusi+6w5lHDm+ECVzEUgtu38WhRHGmHcCFdG5jone13DrsVJV0Ek0scWrZqPC/kqXAG/kAxtVa/QWR/ItUb81+/STOsbDKqzLSN3zF9u0ODSW02fCl28jzB4SD9ZIy6mJovawD1Vaim+lS5voohx4htOkd0mNpGqHo2brHBUrLvZ4WQRIGetSjkAsGFI+FBgSwm3fjx9JmvlbqjWwd5ZeNenRe74qdZBnOSdpuxyKKkNprZqNsdE/M2vAD/CZPk4biMPibCiXslNw/NS/OkdtZvRAXQUvSvcd2uUZcFGq+291xGSOpGayDTeFPy5ps06o/PKQVjAB+V2AJF8v+vP0k2+4qHBqM+aKrXfBbrwvFwsklHnjRKH82wXWkYCvlRfpQ2CA6ucvdnH5t7FdgCc1LYQ434QsgDS/FxnAlRAXOG7rz8m5AMwxUz53InWNkW13JK1iRIX7uGD6EVBBppIyV+hVVfCOVmPT2Uv1bEyih04n1sYpQLllJLdJsKUb6jI1TtwPvw8XrX9Uw2AQTq0JNooOK4UOdXS97EqT34KR0MTxcBulbbtc/knEniU56tbfLSmeOprzZlzbZz21tEpjOO61/gQmRF6e1f+z5hNPfG4pYiDSscrB3nhsKm+Y1/lLU1FghTJ76d2W1+mMGSHg1IPTnowp3apLF4U5CcwpsDb5Lbo2pA0n2/p4oPQwlt4R1GzwI297G1ueLDq31WQ8FsWTaPlcUjH/6+9TiknDDQ8IsuC3M+/49Jb2wJFKhqWHhuNaJTYj4zA5/Gp3FjocMYSDZH20qJPrbAkTIcCqun7ISxLVjDavAbLRihOOsUiYk5RD8wsL1oPeMyMLmRN5dDwHKBlZSB1UtOk5mJ6z0YD3mbtIwHtePqrgMev4JzdEk1LyTtmvtwwHWyp6Wz3JmlLMlwqlewtxclZ31Sh93bgStRnWO2LnIl9G8eCnwbTUz4FVz5nrsSLkMpeBjc3sRFbGKdEdh/0dckFDNR6j9pyyOR2TQ1o94/KSrS+LiomY6V3A2LXfTDKQe1IFqe5Nb1l8ujBn0Cb+ZFAM0hQic/9KaqbR+S9aSi9JWI9NhzvPr9jprhYX4i/Nk2iLr1JIK9881kq2FZ//CJeJh5Mg3D/l3hmmJvFtMcU6UXHk76oHixgjRgaKUWRbU5N5qy6mdlgKPP03cOAbi44XBHA7RcLH9xXi0fApdpuyd0zN1zAsJZUvwruvIbKiJGLXXLdszciFt+hSSC8sJOPdVDG/p0GpFPanSXu+obsMpf1rQETaBwhpTOC1rENaIrrLArhvml2+VZD/PSLuZM+24+UEOOUqsVi9HcJPki1LTuAPbFVhkNOPqYXtUaUlXlChm1YLRaG2gkqa6ixP7heAsHn6CF/K7s6B4BluKsEQrETl2dZs/zx+Ed+WXTA8nkEPvE/75uHXyPsgad5ETvTeDKS8HsHSTW/0CJ/PrJLPmTvlZcAXkQesl38Gyl/rau6bHp5Xib3uxMAHouxKH6nE3nGtuMeW20Xr107WpoQWL9dCIOg2jZvR/7UboHQw1JuF+/NsUKfQUC19wuK8x+9wB26Zpa0Djd3EmWrt1gRon10wqikaITdfGz2rmHbiWHhSRmWzuSZwfOBbFiMUC53tHTii/HQOtHoephpGRnYRauqmTiKL9yjonphHbALsJdJRq1i4eCscM0ruNNobJIicDJUYwCKHI2522hHDr40j9YwB0JVdQRD2xK7Pp0oPaFAu/HDk+2i4FIgN9k7L/V2y3RVmT/Yl6Ut2mMULuknKhYoDVIoZC5EUFrokDXUdgIzneltHt+2R6CeQNbCChFQU1yBjQwLfs1H/eLQ+geGRqirtNcPiiAv1gznx2Iy60agulIMVmNKcJNws4vtk6p3s0eME0ht5RSP9K6rLfbWQIZuQ4nW4tAt4AmJYVFi9h2L59oux7XHUsMtbwFJRZBahmqoyWbg09xORRZYaFOBO2xID+lvcb2wJRflcmjrVVaPWjIYIDef3yhdNsWgWlJxMpFwL04+8wI3Tq/VLsXZUdVR2AbX18aadoYaqGMaGEkofkez9wIdSXrKbr0W2kiq0JOlpxUVs+mXik7p9MbLfzrxRPHhIle3vGGZzzKmqalZCQ8Re2mJfxyJ64D3aFqcwW+ope/WK1FmDTZQKjuIyVpFzOLywY9Qj5RYWI5dGpv1xEQLW6M1AuVPomll2tXsGe+Gp9ktPdTZQ7oGeEwEMIVSWQqsTYzgyiySgd4wlAMrBdiTZJUzsl0mn6uzeFT+B+a/7gRbxIJn/PoNH7w3Q/F1AG9p/iwbiaZkFp7cX80hj3+ZgzYaqna4412zVgzq0MOd8aw4tX2Ka7V686UlAe+9gr7Cc6CSarP/TTypA99aZ0NNqEamq0pQ/5h5e1hSW1u78IweoOR8zrU7Myt04ZqcKBXbkgqDdf4GqvC7+e+E1Q1jDNaidy+E/nIdAmfz8Sf1BNWofZBzOmoT0zLPMzrU+nk4ugj5wwXTKXLbOEQM9E6CxcrvtbibHWPyA1DZyLAcsl05FtUjuzlvYGB5xL2BOqEAFKycwA5PyS0dWIdrqt93MR9mKlr+WsVHIe112q+aInJXyBrJewKaDYZbo8t6jL+KouQm6BDB7cCwgwrGAEP+oQCPZmv9lY0kTo1IZpjTFAaceANeTLkNj7kemooKuxSYl22YTuao+jV64Z9HFwl26Yi0LT1hCker2UGpykX6iL+pWtsaQbivJOH44auAnOzIvNBRhTgOFPGEbbRJS7+ylAjAFQvRWpgSZC3j0VTB1RwyzSmOupR9eJXDegdTvYtAMjbbDwG+DneRNSXFdk7490x7GsKtHIX6VEb0pjs7ihHk8zLcdm/TgnAgPVou3dDFSQ8FC+cEyTDKp6jbwjbcjs5XtBSe2+PWcBTA7CYyl2Em3KvSRIdRNYyfZV8lWIrDgmgV9OVmA2yBB7pnMvI6S0LYZEfI8FQDDuuYfYFtoCHALV8NF7Zdpa1IWzZK4m7cjsLRdAxDXcS6qbabE6k1bjm5M6W2yc23fT0QIc8i7vxG7xykG1Jr6pCN2xkHlesKgyLYO6ioQ588Dzd8HyCyaoHodpvcmA5YdN8vat0BYM8eUYvf3D39Powh9zrgK1IdV/CtlqS6QHSEWhWqRGNqz5ZRBhg7nubq3Ynd5+O3P7z+wz9+696wEHEBsHN+32FCKCj3SUGPhGI2C/pk7bxqPru83jVQLTuTY6ZCiw8Uk68/kLRAL6/MGYoVSZiDY8tRLXVeYZr5eZOKO40JGkPTDHL4yZqVT1EeJ2CaIkYaNhZjHM4pd8ZjlzCyHfGbtFjhjxY0JhMy21aXt9WflfZfVMispXpeFVWWVRf3PnqzWnebItmCqXPlG30mBS/YBzrsDxSKdeYlU6ww2/zRIe9Oj6QiiQ3WPrPwFCKuQbooPQP6NTj00ZX/ejjJPmd1YXU3vy2B9tYDUsekmKG+i1u8oMsA+JN1PqllMZJoqPnxH8YgQw+KSxPfuHjTsbqEhzM7qH61DsEYPoyF4/ntQGMB9YDNrN4G5mJlb6dwefoNFtzTbGR5u0ZdFhxTxiap925774GIclQcW+lmhERfIhlfF8KxXIdqtjB8DdOyBKbasCNk5sF1D1EYi+8JZMtE3yMinLUZN4+uZe5fAri/QPnckGuQEEzGbOOS77MmtGZQ9Cw4tf91bfoFppS36msFxzOOF3i18nKNJkoEx17gpU4U3yR5d28RsProYVSOKs7L0u2gbVVzR2x5NGM8B4gh6CGAEWCP8Ys14tjpG0+NUUufO5bVLbvOrwCDtKj771waSZ2mF1d8+GJghDczvmAa6jO9Plb4UBvDPRU7gjMe607BkVc11grBaLS1GS6Os3JznNBfycH7EU0mOXolTK9o6uLApma4acOO5ztAtCK6i/byRLTCLXw0Y/jtAMalwc8vT7lqBKJMAloPUkuyR7wmwDShB9MBDzRbcN2H2ATtFzrnRAfW7Ql0gQvkW1uHQZ7iANkKh1mPG1mvvOOkHLBp8otZ45DvNFbrt7rRJkG5i2CqNFA1uyfgK+1bHxuANFj4TUYMlA+7s8RNZvPPUet9AoHrSPLQn99EC8m0nbQ6qA4J2JmhKOAnopqCod1eSnlI1IvscrnDuhEJ53HJ5N6ZjNEiHKCuP0vDOQmn78mj+Ryl9nOedo9iAHe3pVw/MY5WXvbJHZM7i0Z1+3JOn2Su3OuYD0VU2EMseaC7rJRZBv0hMX6y76KC9ogkc3GVKCwX/pmy5gdrcuX4K4rkI+OuJH6u7zDpCzsLE9ZBAEdkSo98JX6rlnRcDaU2kP+0gjnGjy5n6l+zGBzkGzKrwtnJkJLbSMFweoJgKyJeLN/ozp3KeennNoiMTa8W6VOFd1WaqWOssG/4VVxqkaVHGwigyXCh7LtRjccNogTCYDrbztWLS8NtO9QVey/7nU45q7keWGXiMHnitY1/eI9X8me23u+y3U5jp9Q6MGxsfG0tFWeFdgZQhaRd5pkUVZcxbNIje4IlLbs72XKCYv/P9SeXefGCyxEJEGbktNVnzzHASS/de+09RBL6h3YP8ZhBoOrXQh7XKFJYSnlLUrBBmhTLallIWQhDZVbvfPhCDvEN8EedkCSkp60fs5kOHX73y3jZLiDaeR8Gs+YaR9+h94yhp6KbW/lkJVSwPQeSQjI3ZE47zYU3L3M16gU9ujkQlzAf7Lri9m9i6XFWn/XcFRUadPvbRv7adI4SVUrZeusnE8nsHChttiWC2iHjuK24Lqo6wlRgU4p8a/mm9TLVbcePuM83KDmksgmHMD1cSD/eZfft09hFwGySCGJqV+UuUvZe7wfDsPOBsFf80yO7YFWK5/rvjVtQ+Yy2FNFYsR+ORBZ2k2Yy5+yWgxRdmyanAJyEFXF8tnEuAKs+mSf1JnwXhmmIoCLsdAD7Ov8b/cm6sZjq8lCMkcyMuhb0NVUxlsa0cBDnwz5gt1L2oB3IOCvk6SwccwoYeRO/NEBMiWNnmrEjYPvUeaUvCFp6zTYodKlXRdzUHsrqPQ1BMCjgNa89LEvui4RTjIFv26dEzS5mu1t4p5M3BGEKhh/b8v6TfNdT3Rx11p33glT1Ls8vqwQZ8yKcSp1TEsB2Mq6rPueE858HdCl5fcI2HJks1tpPONONhi1qyXU896oZR1D9Z6gWiya68xH0bUKNZg/ubkpMkp/0E4WQ+glbUlmKQI3qXXHXMp3wj2+Vlr80eTSL4fRKeLU3iHmo2l5JBGSqropH5lSdOTf45nXTI+/GytC6Rl9ODZgR/rvpkTzX53JhQ4XBi3i2NmWDSrH38FrDVzHejM30JCQ7yxoAe7TMgk+38z9Iwog6/XDDgtPYYxnqiU+dXoRjp9OjWqn3fnUbxl5eYLETtUPT01TND4xmbq11az9aNaYrhPzL2GIlMNd1XwuzCe9LvrGUY+wVAmWxC4qgOi+drxbAdMdCF/dc8ZswMN4A1fbOopMQLD7rxG8KjRRHBJ3S6my54joqEauwHb0KE4XIdidZr7jDN5vqidJxQg1ayjkzWGjHx3An++t9WGSi1iFqhAp8oLZHLGSvOfcA0tZA33DPSWxX5LxsyWkfe6Y+zcBmIrPYEaBe6CdUAE2TiMe1roCF0kGMft4lBwVzW4qX8fVpzpJlkS1seCN0+2sKQeKePlu+wefb+G1MqtEcx1c0bYCzZVxKNNvkB4B/LnvzIAdBjRSuuTW+lZGTcUyN1vETYMM5ZQxH07d1WZo3DPJTmR7epw54RuE7w709PYsybmPIOvMcMgUe9tg7XjML0IZv6czf22gKOApEpigLKJPr0CN/O6v+r37qF9Vml6ap6QZudF/+JwgjNDIyd7jK3leHrqnShx0kOL3RVkWELnubTfgB2xd4zQQX8G+jjG7MLH5cSQ3ZpFRz1HZF+MSkZhPEaqOuvfA/e8/S4f5eoaGE60ghReH0ofKQ0XEIG/F4cBnlQfwf6pPDYVazrJFSOmFjDulDKNzaViJcTHxHfqoDxZ8O0318U7iQcESAssEr6y7UYXlTQj9lDpt+NVi+8oLYiKa2IypP94OGyrdaP78f3EsqjVP9cQ5r+bJUichd+cm5fZBS35tu5DNQF3kYstmvNJfRfcERSJJtf8UBJ3KOIGgK2eJyInRru9fsCS8GV9/XRynUcMn7diufWhmWgBjGKSEyj8Ac7k0H87+BKJW24aSVVUQr/aFy5ivbnM6MakoSNY9E5y6MZu1xhph0f76j9SLYMxYbmzhzgsbeSCFc53gWb1QHjjF4ey0CvbuWJbd1fC0jsCug9UgXOh9NBhy9NJ3C7yBTFeuyJ7v/wEfxZcSpi0xi6EgPJy8H1Eu2Pj//XbW2i6EGEsewBbJkx1w0GdjQ+g+hHvDo7b/3H/p1FzbjAq4DWR8kAPVfOWnIZL5+cSKQ+XF3V8xzu52pDqqpTz9NBPBfcsSo2k+WLpsRxzMin4C9fzet87UpYn9OsbMqyermQm05FI9IUwESApBViaqNASs6gNfPVFNJvd3gU1T4imdbPKN2fvB4YOenrtT7OTLD3G0oucTyQNwT7uhLn6YysoeA8Rui1Lh11VtHy9Gi9GLoPqMJlOZwpybvQv5l4khjqCYabwXwtMXlXoQVP6Oc5H2MwG38ZHl/JuUb7/60C1d2Uhyzy4T3cEnCoILbSqifi8Ki3brD7nMR4RJrajVx7sXLRyhcA+EealNKPna3uG+9X0SwX0Pssx8gg9DJyk0+07a93ZviG21fITJjTp0lBjisNkJ+b1yMivT0/snfRn030SyW/tYaA5pgp/2r/t7QIaElFhYgt8WXlhJlh4qdHnnoY9OfMcfUhhAe+Zz48PgaYXZ4Q82Z6HWLfpeQ1sYZ6r2CYOWui1DQPOTEWQzgYCZsBom5CwZEmw1G0/n/57hPzzdGsNPJiECZNRrjYr+R/rXOXmYF+WM2pHVa9mqzMyjmJvnTOmoAk0V14qFvPIIBg51b+lGfhugUtPZntZXIy10AY4YQ5jungwAgsdXEhuAuiff+MJnnzMIBNJuXR2lozbLWKvQJVEWX1blPk1PthGxUmmYt+44ySOycXoKkjDpV/yQgaRCmFI1C+J6V6YGqOyJgGxcZ0eRW6xboR8/qzL8gfCjNsESd9gWXEgLZ1P4U6Jxqwsq/Fzw9JebmkWqMfP+1swfhsI+4Yy/3+QjvzU2sVvw5kvE/k5fwbIeT5QZ8hxtU2XXO7zCCjyuxjho0n8d4wyB53+l/cABaV9UI8MxYw6jJ8EC9a6ITqJ5FmYtdhtv+4Trh8DRzuJCVsJlIlJ8Sc1z427Il18Q66Uwrrahai7vpDpOYWd+DTjVsW/wtkmV6+QVpOhGnyH8yt515vSEfQJIcWeiLqMRXFns3rUZywv/soYNSi/0lQFDChnwuxREjD9T4DDv6H7nPNVNID4yyzeHPnxRqVEI8g6xoVBg6N93pPatG/DErOh+FJeKRv9lM2EAFOt89Mai17IP+iVqhSeEXy1X/coo1I15RPHNXwlQLxuhE9vdOQwvnzvlErD6qntHoBAqvqm4Jxs3zmaCP2TfuVAt+q1LakOWRKAFg53Slf1HjSk8gdthey/v3vqUZgy3HAUyi+3LqvjJ7/9Pf43sB4+Gvk/PSwLRDrT3hkfXiOHHKwWSSs4divHBf7NJ89Lz7ieBKdfaQuNjeAOLOymBoQDScDmsUppeiCuh6ZiuM6cU/K66WvPQjFqWmDSM//zvTQwJnJL6Q7uqI0fIUh8d9hDuavZDTr6Dj1Jv3FaHdOwgaQU6UA6cEAEJgcyGRAFP8ZNYc5Ojjl4/4rKrYvImTJDY88X+knlR4NVzefAR01c0ER3JxFOJ2Dwok8MCEcfUAG1E4LnRJVt8jRb9o4iZp4DuIOpvbn1fo5awrQFVvy839bSsJ0FSXVVixhQK1nBh8Pc1dUN3T0xMSvqEuFoISPrIkhxQ5v6FK7VpFzgh2Yzk4hFKoVjq9qIRZRgubTm5gNu1/WOrqc2CS97eFJLxjdfd0529eRqyOCYMU01+QY3IP7xQSMGRuA2B3EEGiJ3iE14x064AmeZQzONXYN8VVL/t0p6Y+tCKCBrEXN1vh/+WXs9NPhyNz93Tpt6tzWwkLogs99rBDpEXWL/LW/+nHPnFh+wCHMoVuXo6ymfFczz4I9golfADR30MZa7z/FELdn2hk+QzaUUJyRGhqCU93e5u7prMV+gwMacNwENtWMwB3GRsNgFB40l9bwpI0yHk1MaiH/I8CEUasqHc0+45i4rDi/id7SkEsLAMfNxySdgIYdKxWeJcvoiWwYkifGCiemiBSnGnv+MwnnVMyePwDp3eoB3Beh7tGM3ipa1tiy5IszZVR0GBOPMkUCL4fR3K/eDxcgCRV8VVM0QWdGgYIgLjMnbJ0iZwZlTPaaUk/hPvEaBsd9h8AjgcYK3/S4hupWuilI2A+kgcWLDJoBbyCjlrwJq3lJ6jdFsTIEEWFKwrExFJUreAgm9Fii9Fh+VOxv2NLjjhd5wOvX5y5211wQ6Ffwidtz5T4Uh/ACI5YmrBm4mPjz/yAutSExd7lvbAL4616X6+ioHMmJp5M5lj7oZNESAHI0PXbOH7ms2eWah6HPvQfVE+Q1cWwci5M49BGpI1QFa8kKzmYyIcHt3SVZhBFbrXBC2VEVhXRN5R63Ez8lSAD9G3eFvo4W2bQtFBJ9P3oqg+AOXCy+aWRZzbbgFuNCZyEI4TKt5SHK6Lvx51HxhTFBPy/nVLZikqM/yyGKo/36HO6kpb84pPl9K0Qepa1M84akqgiCvRa4ogewL1ZT1XMBo10HSaEVnv6VFy54WQDv9Gb0MeGtzL5Bd3N4g05FW8/jX8tT9li48V+Q4Pdbqui30DgTMPKtKqgIAzzcHkovBFgz+/qH7N4kbiSEm9LT6SFzge/+LlBh9xQD6LsMtFeANfRdiRAmHI+wXWVWx7LgYt2FypbtXwHxLbppjXArw5bXKvYQaLyOo/9DP+WtTKSPyUzAEhlyeCUkI/CavSHUvXruZsg35Zo6jPa96vY6dkvvz3fumaZ/083HurB2+mhnQqoIATIH1nwrln8S/d7GicwM17p1Y9JQyOGVk9J8A7dEBy/oP26RgDVzjD+QPXtatY2R6kdr6F1zPhlDhIVaVNVfZlO+m9QiUq28fNUEaUqC0pggxY1ibn43aTK6q5t/ErX2Fs1XEcI0ebsEtcJtdIF1Xj+Tkb19VKdIti+MiNTTBkrVBfAtIJLRx7FJOmsbRFmnd87uZMpVwcGz+yswG6rolyBFPIRj5RpAodYzQQe/JCj2hvUdEn0emo1TzHFbP+Zj3Ya9jYM3R6llDzL0y9L8/zpPNY6YINJdxPZWlj5X/lEI3f4kRokmkgEjaAFQnCRyfoBDVhLtUpYudGWQQPg1ad035+G4j111ScEAIZ928Xt/J5fLZlxkxC+bWQBFdN/kd7tLuDyVldZ22vkULeHOFquoxEUjAGeEE29cq1nM2QobgnHQIMC37vq0fNC+J03UQ5H5Sv7VjRJYhtNucPU1E4zgiEYQHXsWEV4lapIqQHLMfht+1psbSlLrOIuVfi7i/q1CL2hyyHmsfOs/sj+y6FVd1OYF/i2WR7/API0qD0SRK/3KZMFbJGRfqd90mz0LxRdkxPsBaF0bapbjOTdRs8wdUmo12ySJNN1Q/XcqlkeB6P1Bo4st6+DiHvO0a/N15/sA6pOcIetVC9Xbz3/xzC7nbXaWvF13fHvbDu19cPJfn5VhnNUtY4V/w+1uiA+Jab/RC0QXYqeibnc1HagJjl+q4QUQBmDxDkFKiH/jMJR4wJgI1l88O0fwxQSsH7Wszy/iNLPkso+KzDSOwnpq0Ygql+V7HCXKAposrpPdtT/1zjkcxldrjMvvUXj6iSlYswi2CJlvKIyQlBxl6lUZ9oIMaPLfwM7nlRBablqZArgvCHTsLUfU2snI5KZQ8PgHWyiKq05ml2PP1ri3CcYJVhXDy9/qqVg//gY1tiz9DGjxZsysMj3CwFPPTuI0NGBRCdolLanc/fHrvFs/SF98xMRpCg4yObe/TaRH3ci4YFJ7C5EXT1FlwYNvKJnICunYR7jwguI2iu/CrfMN//zCn6KbcL0dxcLC5bzcpO3igidE97iHItFeTOekP+ytKJgSOmHsqKGC5mBqY7BuFEpgkCumTcO1HYefabHDQIIey64S0jEI57smk11T3DpipLKOJhikbbTj1mPeVkEJ2k7LCkLs//oksxcjZc05mOXCSLuOIrnrPSCd8ovCJsVbivqW1GKBbNQgBFItrwFi1jv692DNkzPwxkcesJkSbW9MdnzBzKPF4E9um3t2WFdH5bK1HXPu7k6kf3WRClkcN67rgMwGv0Prm+hxHqWVUt+MqGxayElJTZN2A8EHOWAZw2CSE8KWcH854qCba+ufZR7IwrbL4bKaUzeyIpYamM9KnI+PCVw4PXaNsRY78ZSTPrQZE9gNkbNNffAPqba2B4d4253CpcXdM2Ur56FlLh4vAlbP/IinQcr/paFbVlwoOXqJcCkUsm2U0lAamKdpMinAA9PW1G5FtlE2bq8c9O0u+caJ7JqbcHI5AgKRIrxG50YN4WkubyQ6Js4THlQKnrSAS/nxL8gjt0Pp5PRo1Ovpo2zgoTO2UNwk7tjPfqMo+9KbpxQxju+MK0nqc/jB7N3h0BmsJUF9XLt1K0xTdev9et5rxhVMuTUBwylZuu02dZE7CHYEgWx3I2EVH+261x4jtxO4oesQNzc40Kyg+hxLwDhMxMRn9Sws6LfRlJmNVTcuzdg+x23VeGXrRmnQfP4FB2pUOdnGF2fwcLD40o/jXlF3o3QQwpKTnvzwWxkIDR+PURiQ9InuX1Ag+S6b+Uulpz9OGbvSoQMGfRh9CQSLe9OGdR8YlfInMqv0WagcgL20L43D/DxWYvSQIgufn8IUNHa5MWQe2VsKapNthXwawcVtD9J4FWT/vlqzpk9Ag95lz5/uYR5f6QrbbC4lP+OUQYpwC366DqC0vqUKobo8xy2EebxnqvWyO/BIoPKX6Kxl1U9Mzdcro20t7Rl+rtAVU0CI7o4WUjDV2tZ5OsFUpAYKmgno2qGNuNDn52OymsMvzfvV0uTCruAkTUBrnZNNqh1ZKGcR9y8X/W832QQqjtf6kapm8GaT8KSHCTuryFmRV466G6vRBXiP3VtJn1xDQl9tTN66hzXBfTB7DCcleEfMaBe+i+qL7ENHOPMDzlJst0wrDGTatUrofsMWHV5Qs7j6UN+R8cESkfJOc5X5SeQfTENTYlkSUKVwoeryK0trIA9+9LgziVKKKyz+47X9Hskfe35Fy0IxU29RgpCYiPRbPWyyNehNaAy6aGuIKH1znFhVyJ0374sV2sjBGFjp5MgWeeoV1EmxC8WQoEyuC0+llqZvEIqDkNUjGgkGkHUsKyIWZ58uSYUoMZ9fw/2OiNiYh7AlMTUmnYV02zwABYh9vgvYumA7w5T1z4qkp+c8n0CvcCYipI3oVhbmkggoXhy+EZCFzpm3sYern1hshinfDtajZSzPUPF4lNHivmrhGRlkNqwRm4pgGyvibNNiRu29LS1Ak1gnqi1+hXzeSXUeIWpDJCwNXAzmNpeZpp3btvJmXgFU7XxBg24DNxBWYdVQawnNk2sr1uwilXIFL+P5JDn4crKrBvWXcu8xCFZ0KM2pYn6McTkhjVwl6eue+vq8iRVhjwXYqtfdTKI22DiPTJLT7i6aW5/i1SgVwS+o1gLEzTpFxa/2BkJ6OFBKOEmeqcor++T0i4Dcd6SC2ddeUYFCPOB//rv8hIE0p7Nv1BsawH5s2/5fbn/99sraYmRXlrOpQf0D2yXZOMNOcpOiS75H/toXwOdPXQGhaMqsk6vPOKYaksEz9igdR/CfudlyRbf6+H0dJjp/B8Jv4S1DGDHmZaRBqZEfz666o+cC919c8Rb+Q/RnJQxd+XtuIJu9C9f19Pysp8aVgnRlTSvrH7hTZ2hW4Kd3ZooR72HF54v4wasLXntaILgh85BcwkfHLcZq535adRUT6Xz1W7TmEeMyboGdJitePMv/j9sUAnvEiobzbP6voxMmTOQme3sbGXry50yBfYGI5Gt9IaB4GUANbaOjzj4FUEQehIcYjMAA4oL9s6tiGSnLGGrH8HEkRDcxd1eo/osPj/YN1yatislataHmCqDW3cqEPyLtemFUMzLILuISPSCpGqQ7JRem5J6DKfGgpkcv0K54Aw6foobwKn3RGKSRPme7BwZ/NfqTG4OeJHRe5+JtN6YRFxWGAIEw8QegsjBVjZVx5bfs9v3Ec8CVmP3KF6FnqIDztJmxEs1tUAhiTea3rvT703ZjtmOdzm0M+UCkUtfIM0xto5LwLIrJUjUDu3jBpSBiTBkB55LVwXvbCuvhQ755pUxyeEbi7StXkDYefoeH0lkjyGNEoTogDFWivlLVD50AIniBZf44OhjsnSTEek4UEd2/oEueYeovhbveCnLFYvl6NfPd1obU36DYoGXywN7vZADar8U4dL7iwsISQnoodACXuj/vkODKnx62V6ElrxXoCNu6dX5XcXoxTZwv0ug8wrqe8ncuCsTejqjnCWHaQ3SO/Cn2SDWi+eJPkfn8Zk1dA5oJdXkE/GnmsL5gatLWvk6qwIi/H0jN1DJPgSJtPdinlb6CxCe3wgPG9OV6zwZM0fjxhwG5YUgLlF2H4lDCs1GhYKELkkeHXx+f2fARB7mKVJSuE5S99WR6EGSbrdpeIcDzni48J1r3O42JbjHd9euN2xFpngn76NztbYnmvW19vbYhRYSEn+dgXT8iL6uVkSWA0wluqFAbLGxOT50fl5+bMRfmw9w6cZcBZBMe9SPGdQi6jME9CLIVcyKP1Cb5JqrB/Ud3Lr2TPdN5X79kTaUB3CXU6nq/y5Wp8qPwYU2XcZHsl6Yhdd7WYKyqIP+TY7JGibYUEi3In5pT2ctzXtCqc4sv44qzxQCEUaI8P+NVi/FjrZHB/yVPLO8mPOXvAVkAshyoXiSQdz84Bbbn/tMr3YposBAyWl/9tbt92lb+ONnH4pCJK5e6MB3xUditgBJnogrHRT381f3dIOca1s/FTI8lEzVBatm7jU0FCFdwQXI8/ODXwYlLuWvejLyJGk0HySgGC7Ikq4frHl91wm0wovTWE349DsEH+s5TgOH9/2Rt6dujIZSzBsbbwKTq73EwD5/CeNMPDzjSKTSgaF/dfHNWwvhcmTqL1qIrNxComIypxQlbi/nmdiLscumTvdu7TLKaA8chQfzbYPre/zI2JzJfmV0MWG7Z35WMVqAKqmoXoDa/2hWCz8cZsg4ViKKDFQMNoah0VwXGknuKz0dLombHLYwKs6BU6cgBUMtXfNE5C5oPnn9Uuqg5d8rndO/eYCJCGmj/NB6MlI3L+FL+UqY/FwXnqtyQN7DmKte/aNp9v9nCGMSuekru2dNtAcOpjKkGE4GY07MZDUmCgp7paaBx/M/4vDg7TFzKQzr7OJqNAT6qMSERxALsrZzfXs4XIOFX6cVlDz3ckFw3chURsVFb4o2NuivDOHxla6jI8HynKg7DmOI9Z2u6QONEL09b+5MsZ+u1X4a+oIaDF7jxv5pfvY8l2fEomg9BtBh10dpbBLf6Ca88rS8d0npmdav+NQvMbBweNMn3ooP64jf20T0jQXZlf+dzNDSOOsm44YOyNc0v/Z1j0lQ2eXuKCJryE6Jmt2/8BPV0sK1t4ckMGhPEEx0QHD7V14zzjKAzM7DpIvCiBZmVaohG8/c0XtcX/S0ZvAIYHfg49CLSgG21MHxeQdWS4XDnyTVCuB4Bv2cxg+EnsxkSPbOpARKInSRnkvDkT/6oiQlrDs7sq7TerSecXMoX7thiXFQcIj7B1rKkCpeJtrIaA0oQ4fDz5i0RawhNaF+hW2iN9fsztZE1oWhFBvXvYYYuWm+XaPIFI0W/IdTHc+ybxmX1HyonUtmG3ishLF09VodLNe4A7l7y1cWmB2XlMkWpY7wirJHK9ISogobwsijULcd76Mdvbbw1sCoazQg2s1Yjn0TzRGslAXnLXW1QlVmByF4tWNHfDZ4468DVPXKxdiiZXSTPrTVXH+Z8pRGJtMiK1+CF8OSzjX+TJIagV0pgIJYdH3n7vQbcSxEdcKJd9w6pnNbKV4+45sKtODetotDg/8ZKOhrKmtQ4585yRHAVp3fU4l+eECDIg49P0CwlbtlxKmYjRZ524tE00NFYlZ9diLdwY2fff1rrN3ESx9ymJEKW4E8c32ce4DqGZ0IVk32C9PQMAZpCx1yA1peIY0TgPhJfchX764QSQM9nDHoN4EZbiOF57NoVKx3hHMMKNCs4dDxPNiWLtCf3dSI9PmmaTjxRJpxTr8+55qlgTMUsLrIQ4gQuGd5HxzyGGURH5nJpQZoVroKToSAdf892xfBD8Q4Da3eAU7ARjULBVT0USuJ52bTVp+2jnCHzkTzV7ATOje6b6ZWFxdg0zzEyCMMo2/Rrp8ZJmkn0OblzzqO1gZEkvCrpjDLZXASeY79B2JWKtHrGzpYrYg4z9bGaK2tLYPm/zjKJtAj0ff5/HPVLWDjc0iIm+vIRSd2hblSOdzLcbClwuzm9ISMj2WvgYMYiYTcLwXrEBjRqbGzQUNQukXC5b7pSYJtzjnmgLGykadDayKLLChc6bgGX6RNSzOZ+O7p4vwLXcPGoZEOIvtUCAjWNymkE2NKVRy59Ua9mKW7bwpFE5qc96rk3mljaklMd2zi+7/wQSMTUfhgNS7Txg/VhGK1hIlkgialIg1BULnp0qHviOmnnKT9pi9GKVNTL3yVANOgHK1nbzWFPfEEqAmSkXLsavFxEfgDfz1IhbCxrg1Xy59LYoNmu4Z4Mt+7gOqF6ZWZ448F3t/uzI/LVwztp6I+g5LkcLBMOxAsY1yyDrj4p1X0v/oEQhBRhuspJ6Fg2hSQbd39a+pt7O9k/OUM0x2g8tbbJcwIkRyB4/J3IZmOA8h+qKxrZJvs0AOeT51g82dx5puRoD+NKvQM9D+luBDJFeYufnSarTKf8v/U+ZtwpMiQrjhFfbFEssfJB2O9RS5xusBUJE1dPN3UcYa3x1pfDIBBLR/PODaVPSmrNxxfuNN3dcwyw8KG4h8gJvfxky2r1Uw7U9FEg//2jPSG9KCQHT8LnsWthzFjnuUqY7dmpT9nDY7bbhe8N8e/Zj6mpWUweXZtvMqiYlJfiZiX07rxiah9cdckhkAy7E2IU/Kw4xB2HKsfYhMxcVje/ylM8MrjGn3/4sa37N++2bhnyfJeBWl4ltlKccetdzxcoHJqizVAesR5CGQTSMztT9dXviTDBsoixVSoZRrwpoEzRyR97WEXxh84jbf537ZJc16gsUv8hdQms2wafelRfvQVcCLNHanKxCvAe8cqm1w6x6Fc1494zuUAze/Ypvg0ZKFHe4l2KXMVGH2t6AM8k2jm6It1MvBdtab2DcrQYr11xS6oO53X7Q5oHWe3dTMdUwEKV/SsVWCBjSH3sc/7/qA9GePA3KSNdqadJ3/+qPz82bdwNdK71Yy/XKlHkR5f0eBq0vgqM4XYrsQg1h+5xR0JQpe46PcDDz0l6whS4B0agxM4dzdbo3sRPlL5JCKW8cidaLa3qKqVOGa+t0mxx/S+0A45tv0El684UPnNRIM+wGzZ9uvZ+YaFDWj59cCAgglQanWqH7gLZ2lTaQUbx2raGNLSWJQaE1GDywVJ+zKalfFD2ROp+dpjD58myqit7grHiXzJUosDTAXtMSA+/0b8b2ZW9n3/h1DCixgiMLppRr8E6c+jcGSvfoZxQBioSt4OzcVurdVBBKZQv8/QHaXiq1ymM4gLsYLh7Eg+0q3PFIiJDCWHaGBWxM3uCSlOHfOzc+kbsPMLZAC9NINe5+UkNUS2OR+ZfrbezYBlW6AcKegrYz4JsIAPRCP2iOmtmYq4aiECcI0hs9M3xNx3TwnhsHNefVOEPnGnG2vEuzOxnVZcPDqSVS6uC2Vu1f30eYigu+phTxXPBmebffjQj4T3HYeJSCA3aSwj1uEvUq/6/Yxq3x666HwNPUELpQncWEWJfcaMwFuqVGSfvKWJOgWry+KTP0Re63HSDOToPISE9ohJUq2tqn+dE4FqhK8Ne/3ef4AIk1IJ+o4GOXtK9x+BXctoBLoPd1dwy/f442wjiGj6VZ8+/1DojOMWbzCUS9JMDpVGz4ZgZOGZHLCEJGHAY7sefKn33V+T2N91oJhYl6d+0qD0A2S5MuxSXPL6xdg6I+z4D1dbJ/dkj0O+ValR5xx8PO3uyvpG6DqezuXYxe+1OsNHnaJ5myAq6+GuF6ReO9Ax9+moSJVykZ8Ypk1XSqUz5jd/Cn8MVqtfBOfWLOnK0LIZ9uRQx4JEj1raKEb8vovn4Ox3DA+j5g8DADAylq9s3HNH7qFFxO/Sdc1J7kq4zHQmBsFmqsbmTgwL5NPM7nQCFt7AAk451Q0pY8sJNbQiz/HeSo/KDiyBADxetrGQqv/9q0EYWoFlu84Obrk2/BMozEyr16/z2LPX+AxeWWOjAKRPo2kwwGPlR4x+1J8xEnQ0T/N176STH71Fys+div/ST0rb1irUwM1fga8e7Is574TQGIVQKJb/jkBnkHpB+CUXrq7PyCByYHAAt3Ox58oKJhIk1YQqO5RQK+A5XqCypKcXo+qaLNsrD9OZ51kaoT8wugG2l3L/KQpECgFdzddWZ4JE6gavTSViLAE01Vbk8mNYupsUBVtnhw8QwrX25ENleHxVN0To0mboTXqTZsdlfNvwZm8cHSlxzsV63M/5oK3FMN1383Ug3HjkCnPacBwofzFR4u1F+QZwWBJn2XNf0T2idyMcZbI1jBocqS86rVYqfW9zcZLvO3tx+ApSRtF3BdVs3FGZ7PUMgvKQkdkWo9ag+8x/wn6whqRvydvd/+6ZeqjrTBVxdg3NuhxfSCtAqsO8PKf4ml71B+/cX0MsjHIelBcqJ1pCnjlg8A72rFOSIsYL9pRpW3MLAe215Zh6ortJzBX5FnS052OkM7DPRxBYCJzrgpqesVhmPZL1ih5M92HWRiF4c2PiRSVeHD1xb6JdQ4s6Wn2SaYIQrfL6R1p6nAKNK3tu0AATGqb+Bc2yRPCKiW7dEGIcjuA7QglDuuKVnU9ErY6Ucm0HY2R2MZMezsPOpJ0OL9shJ3AVaX6Y4ZyTCxaNjavmc3ZXMkAGyzrIimFHSTeB1UHut9+k22q26xQYyF+OHgA8PugMRVcYCGS8tiSLFtVexYQgJhDdoWIvOHK5u/OtJihxt3RBv8cY0JoKxC55J8gzHOvyRM+FRc0/G1jPkc3xTW1GUvwZJ0r7ZIKQSE51cDrFn2S2sfbVTv6M1BpvwvMfPkVyWq+1YaPe7/ODO+RNz4osrQ6Z+/5QHY4UmfprkdphuwheXPnm+K3Mmu260e9cWdVWOgN/0dcC4eIGbjqVGKTfAKsaqphIFw2QYvdIC5LQaUd+dMyxiIqj7ZuFy6ew8WmiXtQgb4WSu+gXFY3qHtb+ynLWJ2PETwGJPIHnimlOMvuiKBhiLGsMWzlGfBSl3wiiKlq97FoU6YvTEhAZWHVXtpnNGKgSav6MaC1KdNPexzmLt2IilKhhs/NONhvdGzvnAOH6cTTvdDbLjUKTKly16vuYwJgYVmXaNLk0m9Plh538iPNtZ6btCc5sHlTwkET86elunLSWN/ERBDtiTp26T9NslWd6I1wqwOkK5G0YiBwDddsTFDBXNf84tljmMCSvwHyoTsUHoJqSRN5xjodnID9ubUHv9vUZYdI19uRJAigG3AcJwg2M2aPCYIKMAZ+sB143dStlTQ0GQzUSobCJPMOBlyNc7aOpcahn4u13dtgVMVFpplrIU8aRmubeOxyhl69R+pYfh5e2pTA/I7zSzJCAGz2/BmPRxdNhnSYE5uTuNnMS7eCN52PhuDXa4J5RIzOX7y5cm9xuZ4r6gkXd/3oN9Hf5rePuaZNmopN+pSXmwIOj3cxESE6ysnAs2yYntDbSgQWnTpBEYrXc6GoB9KhhCVhZlBAu8wTRf7CkMS6ANBiSEQJfKzYKeyaRMet0XBfsTeBhusuAKyNfVcldA4HKS0H1eW/OdaJOuh0kXF89ayKbHvKmpCUOKl7hZVESx19lK13RZ+knqY5R3ty3QardGgCrhRnsDgLyWHymxhkMzvL7UE7w9QgKMFBdNpAFmoyHbNIL4eN860Ln75gMEi64Dr4gxzeCdJZ629nbhHBUPq85jG3Us/sD1kdVYKjgNTjtoHmsrDRULHkf/b66iReUIhU7j2LISh9+iZIEyjyBvVAM/g9ni92Qo3flrJ7lwioFYXOO7rfNA1VshHsLNiVSC1m74mGMpEqPa8jnm0A0r/PU8C9wq2RS6O9evzsCy1lutZeG1woNtScfAebeuRSeFvzUp5p9EQg1DuLvXGQL4sheasZob1TnsjC8jnZtxZsuuJbzh9108xclD4a2OCED0BjP0/liWYc72uV4vkRCyQxkyy5OHYK9cYSzFWhzBoFWjZuRbwOua9G5bO2klOcKQ1T14v/kRZk2z4RHIgFjZkQm/HiS7esnmze5sLJhTqtQg3P+JVtO1QXOkxXo+LsEaRPPwEPSOiHZCA8Z/IjB7EGcGGkhoIve+5GpPJJn5d8+9A4f6OFL4/yKgobvA0Fu/PXF0GE3Px8wRKD1rvaSupeum+XTOaWM0AxHlTKG14IQL4nm6mR24Z9P1GolZLbtAaSYaWRzFHXKZBrwb0yOdFrXS2+kmHMuE6ETwqhlWnTRLdq6PiYNUzwy0kRhKndgFyNbv7gV+pTiwGkn3ZENElI/DMym4yLeq1Xui2Js/U+FfLQ6tZiqX8HYRl2oJ97w6XN/N0HDPO8D6bQgcZYYp7lGPrt8/G7OMQe6Isw/b6GJk1DWcTg2b6uuwm7xJIpl+uCOryf/dSSidq4fcH+P0KJF/Qj/10KjLlT5wboxv65rfqAoquya+/Brfc/HSw/LyO/vGZ1kOuZ8xcDhssh8+NDSypyupqVW9SHN+GbtANcxg/piq2xf+EoJL9w2i4l3PUiJr6Ifpet4E5X6dSYGd7lPqt7k8f10a1CReOl2xUMY1h952k/fOSy2C+kv9I0kNU2IqS5qFM88YTXj/BcZPyt6uPPbpsh5vwIf1qtfzCtC6tE46/6qS/Nu9De/MDnf7wIfK/wPas7kTYS0qqaVDb8/ev7WNaH8Emq0Y9Qi9VAmvIisv/RN1/RZO0KegiecX1uVg1asWluAJjEKcQQ+zlVbr8n8uAyWKna1bI9FeAo8KO9pn6bmV8Jnc59k0Z5JDAdGi30UZgmTuVrdezuzYYQ4vOC7rAH49qxTRxOfoI+ju91AkAwnNx3JZWmJufDBu1b0O/tdmlv8nIsstCfBg8Ruf0Ne7N+JeLTv5/TPJyu95nA3a/sPIQnY5H7BKQaTmesFpVx6P8kUHiL+gr29iniKOeMs7vjYdc+KQDLaVC4gdIUKoJPtHWZI8S4oOqnILvza0HCCVW9njZvnZlt3/96IHvBsrbYSXE58bSogUetBNe32ac/JSDo7BwQoiI1jBl57O8s2PUBjeK1r7Uqu4aEr8OfOJ0vhywFUEtogbufDCl7IBMIa5Cwm7y7szZuA+X/dW98WXXG5urFz3SrPb4CzE1TgX55xpLBQBs+sTJ9YllAhfea1k6atFnKMQWDV2Htxl4g6VJmLtVcfcoC3lGRza4nDkfINlkOunawHNCxa0eRxw789Ex6nr9PMbM/VW2nzu2p/fLmFHIC0+rdqMgkRjLo6LAfZnqmykIgp1d85F/1lbgDZ05aqC5ftqbFZZEAz3Nn1hsZ9H2fl9AVzDGonZvjD61RSJ9n1qTuTF3uqfIiizjgx2FAFDDrJr7d4ECxahDd+D/Q1KGWx8XoyM9WDfMYLFXROyEkOS31PGcFjg4vJ6hDpwND4E4E8TXqpphNOWzZLzmthJaK1jDCb6CuCl28BFRZG7ytj/5fI0itm3MdF1Tu/OdU1p92IshmJZGhknrXt/ywPaliP/2FqOry2yRCsGx5+BhnGsG2EzVlgRIpId8gOvl8FfCkfixptdkenctutRZXr1bJc2iyj/+HosrnfCRXQ3BO0W4zTraww/RRFXssTIg0TxVhQYwkOc9jsBy7GH5FiMSkP7oSKwy5umC9RTQlNER6ET6TLf+4SgWyR/sl3ZIcDFKsM/5h0PRYfSMpt+w+ykIeEuLHH9NPAD53bXRzogwHOS1oXrxcpdF94W9B+9dDUQbPP1JvsGINDlsOA2a9kLdHqV5KTHXszgfjJZ33xhZTp6aJYgfFLD/NeQoqpeiwhen/0sD7HBK8ldy0JfPjjbC3ta7XGUpb/wZCw3DGAIIuJoDwxTxYVpFFiVLVlDR2S0meVlbPEaqvClWXLq+P/bq4iEBELJcsyOm+d5e5jsuexoEwPNGypI69iDM4ts0ib+lA8n/aTrcxZPm9QpryvZJFDRSkp8zw7IgC2E+ViSl36zWJP7+wohNLxwhaSnmpaUiosVH8RlxBC5VCCnRunnduF1p4MtiIHIU1sEWLr2jM4kvQYRltKz5EIrZC7/Mt/0jLe7r0zJStjHXk74Aen2xSl9F9J3Jh3DUM99fdhljGhF/9np6TYaI22PKYc1dTlnF+4zkPQc3+wBaIfrXdFNl2x2NPFy6899LMyWT6HhLQsHqiAxO165Jlq1sOx7+VMYxusJwZfnc5Pk0oQBxO/dIBMlMtZVkbLPWiNTAYmzKjBd0AjeCixglS2eA0Y/D2ysr4blpIv/Z4g432EgwNs9kemqhdVu4iOrSW6Ls59Q4v1td2GC1Ms24nH+oHN8tLN0BRvCs05Mboj6uD22CB4Vc/XOnI0t2SJsB1bYpMG0pICk6boP25Zg8aZMm5Kgel6dR8+9/FJRB2KRvxgLUbMaSO6aHzQIDtYZeVkpl3HziPO9Ml6Vv528fFX06Pv1BBNhymGzqS8yOh3uWMSFFYWHgK4XA4ZqKXzxwt5z9fbzZ2P+J4McriUgNumnNhtbjdqwgCxaC2Sk9Uf5pDhZjhQQCli0SaaRtYBZXkcSbGOMe9OX30UsfU6IgT1PN0Bar6aSaIZSaGiG7L72HS4YTOfwYtTjAtKb01jwLXmRJoaYEQmr1ZjKlUQpUs/gpDZSRE8xZQteEz6Psoeyc26HhCrNbKB6iklydzqvVfNREicpE64gt3dfl0EQJafWSt1vCkDjY8EwrgPvWHadGVyABQ7Qmkcl2pgpuRHQGOsqDZunFXQTWYLiQhug4uoXjhamzwUgYUkvwAznUF//HdzC0XO2zpXe8cRyT76FygC6Ph9bCrgLg1wQ2g+OWIr7WefXX06Bpm9X9EG9m/r4ueejOmW03OBuWwrBeZV7g1kEkS1reF4Ema7dYn+vwGbysuNyWEHVkIvQDoR6e2KbjGoITpCY/Cx0AQzXSvBxkTA0IqlbNTkJggD12nTHe9cLvqsIoTiJGZ9etNfG53TUix9wGLeOOLqsFbzUlCYZ83uq2PmLbrTpMX3w+Z8PfqRbjqMIIV5SmzMQPbVf0kDR+mkXaojDnad51lyqH6/e3mHINmxjyJ9QtodD1Sd1Vv6ofYubiPGOBieGxTiIegBbGkd+/t2YasmaxE1+E2F795cGVLqREWwFPFWdWt0PfhCvWZzpzOpHYlTS/CQWW+0bp2VSkbvAr2SQOGShlv+17yisaJIrPWGeZNKd+nWK1JOFoUUEB7IA9nqs67KwCg1b6Y/HPyQ6eOrqt6/qx4zG2/yrMBTg1mxG9ZOdySmtRrtiI6DgfFF4ycO1rabYwpDnS80OKlCvswlzaNfvU0dzHYPEeUXG9STdYC1WMLMRg6HbI78C02+UG/7XjxPbUBrprPdtTntJ4YDvAj6NCLOHmbHO4I/8wFtzfyD/ZKNj6lyahUHCrU8stmO4iriR52jcItc65EJJdw5x41e6I45Wi2FbqZSttCqAylx5kACSPgnyKoJSa9UQat6duQKzWTOJBNRZT2AEulbcDHN0c70s5Op/BiTwfHhsRXgytS09tcKm2RhJwcLW7px9zRF9vl8wkU1RbL9JdFxNR0el3ydN8Ic6hYrT5yRK9cWbTGmzugqHoKm9OcOgMzbrGguMoKr3AswJF3nFUDoDKBtXT/BxMJF4BuGiHgaMRXgxTOOoxc7fbdjOMlVlR3rEWgUf9BwUfaTE26ZeY6IKRWeLJSRM53Q5jMWIjJHYnhUSZQyQue945yo5xS9rThrRIdcAKXgmRJEekoyoJSjcLxbiKjVrJGWln0ZdkPvzYDaLSInQdP5tcDXxyl6dy282kO0tKxwcUNUZaGLOqksFgYjg5CNKZVGIyDxd3U0Q7uTzbZHoQ1yS0EKRVmoDisZivLI5KX2/ADVH9i5colAPRdJJHkRmN/YKEGFScY3OAMBqOyYWNx7wjNReIiQvd4vG+EbmWJTUViHKZwPa2T0XqSlBW9Cm1ieeXHMDcQaMIX73oINrWxQuNgs6pZP+iMqVENSB7Nyj9C1VCHRYb9QuvztUFTqtZ1xEX2QxusduLC22w8irjZQQuKjxPEpeRk0/tlKCL4iJH5CzR4CVerbT5cpZwlBR9IBkhG94F50vSo1+shrx5DNLHxl60S2/UIFadyq3x3DjiqC1via2SmAdCb5B7FvSI7mv4EPlc0Va6DiW9mWtzw4A4SVkvdYVhohgjbsT7r6RHcl/xIVrms9+5j6UgXFVuRGiR4JAXinV4EnjYBk8EAVsB7RhXi0psHN1nNi57dxQfef9gw8XI9oTLzSeSRRwMnD3T0ndMbshynYMhzeNRbsjY4pzlfMexOsarDCfODoFZQMfGOCS7S6vpkpD5G60CtBMW2LG4/jbYu07JbkTt/QaL3a4OQ7mk/OfkZr2Sc8lkn5zEQEGxEVtWOE+xaMvBKIqrHV9a1Ddvl+sogJKsCBv1e46365zfDyrCY/3KWIxx8+ZtocgSCbFTj3cV1OPbi/1rjaicHOQcTbLP9PiJPabSeHfRMBPaCDKZsfP/ZMKl+wnI6XQYdaMgURMsImmmroJ8lOc4dymMRbVHdoANW58ACyxAVlKqUWc6gnODTNhxlw28zLkXkfHcmYTHgaEzMk3qd14VQfBXJiysoCx4tbBqL0D/t6LX4GAhykdu4N25MGZtTTmUTyxFA0md+Hb0rTm7bji2+f0TZLP2De7j34HnZUl0hM7Kw+MPTTKhJiagrRsikNHg6JCA5wPoymipwo5Rzo74+SaPl2iRYGfb5hQ/k8h3EjJb452sN0GyJHRAAxdyKen9xfXBU3zlTW3d/0abBfqmnK0GR8tsF1teQsFghRZL0iceUwXw0AYbuik6JyxBg3g3skDRtKF56a3puqsrg91J+BqFvkbkzYBajOdz3v0lmdUlcqIC85uWgc8TDn40B8fKHCHaJ23pgPW/GW5p2kwyLJ2hcaq/kUmB4RGt/SCbweNbTzQONWY/8LfV9TI5FXHHlBop1d1XHT1AAzP55mXFaEC4jDYhIXc2yi5BItIZHC9PgnrkHBe6aY14fhKj8Uz18betUfif5hXbhys5Mo/b7+RPSsRge5XQuzuLcCZmKkGri6HU/64oIuq9xX9K3x0qefkDXRdzQuJ9SyPw8g1vMlIPAH764ad6chcbjO+Hdya87goAgL+ATpkAW9QUFjmcJ+wuQIpcUV3WJiWFUvIhjFxfq+pkrtAUZvrjMv/M+AEBP8Ch+v/QCTVZMmUBdHfMbzqLD+SAQoGKEQtt+GTiv4i5JiqYOFz3i4Bkx3VgymqLeg2KjW3fv2gcGQ8/jGkI2qjO/EY7XJ9TX4r9zXGHWdvwM27hEu+bSQNjbK4DQx80y+4mTztaymERyx8qQ8lUQKvfsb+ycaghba2lCkegBYTZqunG8zcZebHnSikuOD0v+zpGM40a1d8ueuLyFVRaE3uro4WoKbf5phsROcONI+ix1Hk+/jsgPRNaz7vU9W1iT2/IZA5eYCtRCKccfTfjeH+c3bwrTftP3aOwRsGY8IfpAlMYhdKoiI4UT2y5fj3ZyQMwkxUtwEa64+3HUvgPmNhZCSF4GWN7El2ImcgO5O+9bvL70Tnw028eyr6ZWescZxC0aTU4raVa+nT5E/6QjH70+UYm5hYMU4/HhjjWnXvWwHHYLeGlCG/PryGxno/HV8HSKC96B6oL0ONMseFNrLBDh8QqpoB/0zOwbp+nw3pD2rC5CweSKNL+BMNd8XO69jgWFoTftSgCZJ2MyaPThw/SfFXrrGewhRD5kEHolQpNDrKbCodX0quEWmBTW2irimJ7Q5rX2bYAO/jaKj4NXqF3Gqqc8iDccJVqtvXHaePgBNd6BPZ7zS0sMritCNqOGz+auS/r+zY/fUiDgYMUZ1svrO6FxraEgKH4PJZ85LBG51h/X10ZXXG3EevLD3lWxFv3IpeiOwX4M9Q5bO8hhsEtjoilWqb8FoYhs5BNp6Png4FQ2nsWnfKt0T6aDyishULje+PmD0EpeMi8xhB6x2FRzB6zZy2d0wTyUXqjJ0POAcopYapfOG2mkQFLnWHUpevttFUS8tP39wyDcMMS7HhB0Ozt+Julet1uEGzIsF/bZQIbpQ8YvrVe7hhBW6Kb5Gi6f27I2A1MO0/0zM//OtwljkCzZIwbcBNi1IaEzYER0/e830W15ogyBL8m90ffWL/D5YHgX0XPy2PflET4kKzBEzQjdhJNYt/reQqWV10UkCVPtA/akNNsMv8r10ZT8wsCk5BUjGfeu4Bhb64UJqjqvu6QwamePb5ax2ogt/8jmPel0xPXPSOFcGCv8gD275ui8CYhPD/Vvk4X8c35WI+P3BTZ0WBGvh9UHA9UN0MdaIDN5BHDxcrQcz2jIfPA3chS5ivYm/pGrjgN2e38gmV2z6+Gb7s2aUaqZFsHueIHdeXc4rvTTGcYjmnEdLh/gJQgvaXxyPfMLNrb6sk3fer0dND3Z/kJBk8wR82Qp7SvMBKZzfdZBB07SPHEi8kpBRANxS6ZxdY2Dx6T/Zkan5nFa0YzzmdEXkdln5VFZR2WiSfpQgWeqcJQy6NBrheqS2xEV+fCw1JQQRheNfL/Bvjd3I6BWqQ9yOUzL4BMQRVQl3rOlUk9w4YdTQb7BAsupMdmZtpY8OPBARW4l3DztVwcfBWJ++y4tn7CTMU6zKaj/LypeHItVGCesOLyWzmGQa9bzgBnxYE4qHklUB2/ZM07ZkMM2TTJOKV3ctBCZtMzt/p2pB3m1hJ8onecjtm4EDu48a/jZQqOR+16lmTynlIwyFOciJKhAjCVBkR8zyDuu76OZeixwSNpnxGksoK/PI8JXG6R6NCPN0AMzptda89GSFrHBUXzwILaDFSktwoSD3Pt+PKkR2DW93Em5t62M7a+NrNA0gWIGoCaSnvf0MdcqG+26s0xl6EMbRU8ovgRXmKxZkYZTR5HPbsplcdpMLvWWbVFdIY1FH2kpnVrHghCy7rCqLQSjaY+NFHqsYIFuDPyJjPHlmZ1ksPzccoWRlnVL00T787iiAaORnv+81UEeHD0fCMEdjFGtsl6d54qDMnkjuWJuJm4tFnqUYIxalXyPA43Qr4UcVPELs38TR6gvxbfE49ycBUFWHoGmKU+A67qcOKdZjyWmKlfQU73VgTkLWmsj/tAGEhZeoGTjqQQ5jRFfzsh6LaEUDwm9LGyri3bOhFHBPNDuZO0YS7W41Fkca4zrPKSLV1O7p3IXT3xbrb9VWrR9jSrCtXGjPemPe5bXKaIsAtYDDFz6/IHDkihoKojFNTDkxrcG83OW4bF9yCPqRwEo+9o3Hz+l+GZ5RIh5ScUOVbtk0iVxjtaFBY3Fv8F0mwZRuyXEPQ0OKVqJ6pMJzizOq2rMkNI9fkzErQPKXzc2l1A8tb5svygnqJPr9I7WjAjm6ulZM38XJfKGHmQ6PZdWMCgVgY+dRV47MVHJhOYI5s5BWpJybPzjwmHpIvF9RPiujLED8n12J2QC4PURYpj1EcPqMLC1jD0L29wmEv0Ta4XzamaMw7RorzjXZ3YnslJ/l0cyoB+6OyUuWvCli311NpJ2SYNmovxv3zRVNCsbEJ49gkmU/sIfxRYM3TTBOn+U7Z3dq74WH0GJ0E0932hf6Cq89rx9ytf9/DQYFzrFRR5ynXYwuZQUVrWpnpaijs2eQVmGoCbQMBIx1ShApHxs0+UR63OT+01P554AIofE7+tDJHHqvJQ9i5igoKHypZpMO0+9nY9AlLS6Of/jKG4U22jgBAEelwi3DKh/cNK+n/OgSYDRPqFT0FQe3v+mqTTIpT0tmvrhU9Z5K0cWLLpnUXQFWoxlRt3eUkEzERSVP0WUxAnoJHjp5EL1wg57PIqEOLuhH1sMnNLoBfwymW54IF8oRp5AbiFuV0ulu2xs0ijz7jtZLJzgX9C8B2rlZ2haMDgE/MOsNuwWXDsPgWBpK/8/XgqAwVlnMWWMKtaKATp33gLRnK1+x243Ufdvhu8kNG/w4YeTS/FXwjh36VCN7NHPJX5IPd7q4czRk1oODeRGVBkuTMhabyREwgip+8aW7N57N4GY5ezZpfR6r+iRzMk+X41NT7uZ/jhUIFehYxnu1mEHeP3RfXIE4U9zmkHHKuHKp6WtL4H1n58iucZ1P+U6kAH5ExK6pFuuBFbAhvSjRuu9IYMjbIBvuMYtiBtQWBCQMMeOeb0PMR7V+hoTUMXrtRcBn9AvEitKnDUhRM8hW8+yXZ9qDzLQ8gWC8syCvgRaD2wJ1Q0GshL4yPlUDw4Pnka+BKJjsW1w+cbybgBS6Oq+DFL+SD+JyUKCf4JWk/NEtsZqm2WSfoXqMWOXN3uBD0snO7h9KzjiFW2T6s4NABMWxe6CKP/x2fNzT1w02U1yAL0f/BH5h3ObuMVRuQ1iFyzzv0RR1KJcGV/9tWzcP3116hv9SWfImcpLassr0DtREQ2shdh5DiY8B5rZ8kFsgryXXl41k+bQc0maDCsV4WGpuisXhLMUs+ixBmLY+/ny7tOmBDJSuwc75UvTcshm0u+CSNgxmJ6mBJOH5P7F2CMRNR72uy2XPgqxxpMsGf/gf0ZKNbVcJ6GZdkkbA6YHZmF4or/jyfxQN9Nnm3YHkatoBm9LPq4BMnl5jTXz2PWHSOZf4fbq+G6M5Fxd70dQ3v4GCN8mvW5wZld++IIxKPcrzRNUu1I3Wm8S0TqYA/ofKRzuisS/jEAX4AO0kiw9lFfMTiR1h7vEgvLiONnlOPgDzaf4DXT3YfZuT3GZM+pELduJXSHB8jqmmvqLN1c4kKydSEDpza3dp8dvl3JcQwxHISki9WeoPgYDYK5gzutd3AALnzPp7dXlX7GrVcQjle8rTmOrKw2QX5bpJm2HBbvD636U3SmZeMcOQ5OxyNaOoIHzAup0cB/M3n/cswQHa8sKEtj2EsevwsZ9f3vdOjtPiUgiaVeE8IB4Zz6491w2uBlYYKkyCsy1vzaJT7Vv0o6csACXI++jMLYikQ3CBGCVqsmKGJzBq/HfnCkBQHuuxCxDhjrq2nk5Z3v8V6wD3enn3Zv7nJXXSfq4y9yTOzk1e2H3rjfmCbg2+QiHhlJ6qe5YYa5vpHqipln4si/fD9jik25LoOZ+kJu9gd/CjlwXgGXU5w7V7jK2V8U4kf5aCeSMdCNUjB+jVw0aECDUY2YXN3QP2I+QicWHqtiz5o9JJRS7HahvX7axHbrnfjP7Kfnspc2ALLC92Y2d4ccINCQEghA1FWm/JIgc/yrbV8qVtnrOmiHAsN58tPozKfWSqcMF1zg6xbHHFHgK5puTnq73jSPfG5B8LOPKItdINnVutvtSPkRV6WeXjpOjfTghWY4VCP9Gzo0+Bx1iNcvz7q1LCv89ZwJJYpNduh8C5DOR3XfRqEcT4ygmTzeQI9kiCXXMRkAbe8MiPG9LLdLCWoYt0a3MK23+4Qi3MoJx4oJjBtdocTapLiq1cfjMyuIMQUambbbBjWa91hpUORBtKl40cW/je4Xweyj8wlBb6GvBbUm3Mk+KyepbZhfc/3WsAk2zWzfHabEpKkFkWbfMQuEtNytQj91HNNtoOqxZ4FGSmZfVPITw7+KgkwvXilfHkPRXfWZ2/5ImcFa1VxEHp5EBuSVB3h/flGws4L1hQmki6F5SqPlH9qhtOUyJKmPImnUvmSn53FK1pWxRgj4GQ9SVQpPeq6tHcQbSpetdwKilxt7bN0zPkrMM3ciiC3LHtJchVHP4V978xqS5YbVoPhmzGKOO3M2xSRNT/5eVAFdc6Gkkx3ZOq5sKjRW7aR+YoDiBhcxEmwVzjPBP8XN+rv2xnPl79Iaigh5kU63Ew4pRNcBw5djOAcOTgYWxKEWBhPYqaEQ3AFcZou0V0lISsITXMm6ZK3tJf9ELm6IDyeD3J1BUEhu5Zkr+4tJcsJvIR+Sk8m23DYCQp9o2SPOT6CyQ0MGtsDj3XxsaYoyXg98k8BCntNSJxx8cZPtZ63WjoFw9fjMogwY1Px/oZ2Ahu4obCIj39GrL6mkqAa1ZCiZj6hnKoIJM2zTJwe1YxSFbr3JASzB0FIOtD+q6lThJlRTWv3tsbRzvhdbpC1cBk5tLpr8ttIxtNe4UZgCt+I3yOkeCYE2VRe4a1QRYoY/gSvGbRXkFht2zpphv3mQV6JqzSw1vA2K4nR8XgYnTqlxW0l3l/F/X8YgI3oYngenSYGh00Cg9g9/rt1+gluMP5FIMxS+DJgc6ubfkYNGivq0bLox14NbE4yjRfb6VM7yBbln3kSA2GdElKfgW5tbvUtXidjEsvkeH+JLievEkUWwRH4F3vmg9sHgAnoin0laKa9fKlEmdoOIEhxcFTpZDTd8xirRSJuFGMqA9K7JIWBDL3KeMAhOzndTBVF4wdg5x+2mjnBzJsnC2SsEAryfmMz2p+plAePksrr0kQZvqg6/ppetBvBZY0A6gvBljlL2rw/L3eGUj9zi4hEthgElUdqBVnMH14FCAIC9tHAEByUtPYc3kBcU4pIp/MvsdQpuqgReU7JagFIr8uet3wMIV8fpSri+wZthDlNgACAWkkzojUPLRZTCgNUZcL6kl+GrlH85DsYObV1hjnvNM09io0ENZOJfPL5io9qwBHfms7GCDaxVt+DwgR/93cEQWNSmkErGy8sL0ocATf1X5ImpOQf81qbS8Gm22UPGie/G22rpj9B+EweZWPwVmONDDwqo9yGiLcLkEC0JMExnHgjR49xjGQSgwnALpPSiFPvbkEla2RTxEyN5ZU8YlfkvnrgWRrh11r/h0KBnKbTKj1T6S7z18cpx/oT5HiOwlNG7u2tMP7h9LroDjRdBWCe3zyfgh0YiDewqNzLj2UKWmY4E5rr3hPSH9Pf1AiEjcABxIz/pcivcdYE/l4EUfYMmczKmAeMib6rvHn4ypVN+/suV3jVUkbDm6MHIXwRokI7C2aJlQ2o0MoTZm3x35uiwkas3DDxV2tkFrRMakxFTGys6dzvHkBzeTzrWV4CfnNAnGnsB1+KFMiCQ6ApsCsroW2eYxXofsotqZbHOH6dbC4NBjTzEshD4ulWH1egdNzNHn4HVP2hMb0P1ibY6v6Gvo3vdFV/s3UJEhNgcKueqPc2gkr4No+cxn501QfEh3xZgzHXhUxKrF7OTAIb21GuQJu/UYnwjx4Ll+ysu05P1c8cJauGCwvCDSs84kQ4HnaJ569h0d3NqmvBtV5oUnVEPLPW5dYzBtjIVuCs19/8r1uEN2CD/HhtHu6fVZ8YIDLQS83xfEKBrod6s+qvnbLZKg3IeaV9+xKgiQ5XU74AP6xF0pqbj5WOYHiyBVSWFKzQqUfFWOQxvgLzqoQVhjcHkO7KwUoSswmN3ZvRYvajMqLIoITWANwQx8oXgMkddFzMzW9TnBG3sCOMUr3jAVapWutEcJgfGZNUWE3yv4/uHXP34aaA2+EBNSq1CN8NKJa+zkMFAxkHwmiyzrRJN8ZERfu+LWl4k8+ZFXiJSnFVtJo46XH2BCWmXoZhyEGL6CbQIvEVQTEfTFGNNlIHmbXFZhWmQdvBvCG7otbn3N5/lfh3jzFKKDiHlAtubwYSD5ZbW98hook1q/eF9OpE2Yxg/YEnVs7aKVABuFi9ic1dng6nw9NVqSaoo/rUPWsruBq6jF01FadNpIfAXCwbXEPXHBL07d6bOSSVK+icz7SPX8ezmoUO0yAUe0NNtR8iy/2X445r/+h58KzT0WAQhwFPnbMlZr1YzUbG7TzcYQf7uyDhSso8iscrqTQxxgqo2aJDHCgso3S6l14rulgl1WhRAl12H10twb7/WX3ylHrZRb7MxbZlcaJn3UWV3f0Cl0idPuDieoPu+A+9ff6lqR8bsoxBnvFMDP1g6wZBNO6rdi/3X1nBF/C1cwQBrAMDHksKqn6abst5cI1dq27+szQgGVKaSfz8/ppddcXKR+7BIcDhu7u/6DPC5TYcsN8HdNQOCuYW/Z2Wm/DayVX201se+jAF+/h2lVjd7SGjABe6qK1q53iArJ39BByUuYn2b/Kd/l9HsK9MC4CVknf/hvsMIaq/foirN2B8eMKH48vTdOJcdCk6h5Bz0Cp2oQfaPaKy9lfit5EtqKDQ5ldz8pOFBb5gwCSTglIo2u4KOwFdMQIiiXxwzxcmATaJkSxAnHHPeVUq+o9umMv0egnnN7gknWKSzRJmwiYF2K6h3dICpPM5R2hedp/Fwtfp7WRnRpbFi4x5WyFV79S2HwrWl6KU+4ImepNyXAtwp5b9ynZuo9/oY6oicdHAbB/0Nui/SHNKb9FwthpRq+kc/+3ZZ1rtPVmdl0Jlz9umDo5R+HDGVsNKmqElddzsZoVTpUIqgd8a27DtSU1C9UIzeX2TixciYi1hSvLY3tol17gkJa/Jt+pr24E16U62wU+qspNheHhfgQNpNoalATmAivcxh3TePQ1lmfuYWxWYum5uuQMx9liqDCEVeJIdgTRCVQLf0JOqr+ohjqDT+BlsgyhssyuazL5sPtRjk8iZttJwbksoWMiagfTfw7bW/RyiVTvC0rxxk6FsNUbbCIzw4qV3Qy7FgaUzBbegs1dYiVXFT+FwCs/lvYS+sv7Akd6uaKGjk46oRvKuZJojhiSWjHyzgYNgYOPQ71T1ShmOXoDqOh1wYhDUDrXiWO8cFZcBQMBJrDzEg3rKA0dWp9NJUP406O817qEwZBWQWvrCSe05I8zAz1eT9kBeXCp3zY0W0lRcXXxma+b4iMo/BJtT5/cAzp0kPDwqM1FasjJlfqbM180P1fp+4Tjc8tJ2Qf0un1QiNUUnCussj8KrSYDsxGD6bAgKtcuEjkzNYcc48gnn+laz/moQ4nncmMUuHXXDv1PlqL+hM9qlCpwH6aY1vA2NlWccG01QHvEtpfgxd3yLhJ0nJrnyZmF+f7JH+enzvAFGPPq3SJlVRgVYeSmF1dBl97doCS1V8G8rN2vEcXqqCpGio64+cQnug1BfUoqMYXORGzt/lIu1TUWVJQKsoKllDBhzhx0/jtD3RnAd39WFgux2eqRhxb/Ym+wF0HcUxl9zz82u5xPe0Vdy/r5kH6LXMXpDtJEiY8SD3A/ObTQtdpZYH1Tf8PyCR+e08C6Xmu00pJgbOK7TT0bEL6h6K+L4/0R4TjvRAjx4qdIMKBFg57ouBTiOsokRclN8w6gAccnLXZY8HimYh3VzXrm1G1ZouEYrcgr7Kj9HKF5t9qQ89hW7p65B4FqzlY5+EjPkC0Ss+Uvywn4O0sq/pZSGglnaDEri7nMkNHyht6BviEYwKSHN7iP61Ycec6rdzt33SjqOmRJn7GQAsT8DELdM48AnJfNYKMv14/64cBI3y1FoLEkDjtYI86NDZqwY6OEb5GolZeCbVKGfrwKQlS08xeol2MaU1ZuZEmnfvoUS2pRHumM0TB+S9d2DSAX3SPU5vSciF1GGNi/8ehVKPs+Fu80O1/JeuNACxwhUueqiSYbFIzf7k9dAhTCqzFa/9Mqg9qPT6q5+PBXhuG0P+gqvqEbK6GrhgHrkQbJBDVjH0FwCVI1tPxaALQ76VLwPsr96iYbz5RDYsSQW305y5Y37CMBYbbxNXdoZI89ukVapjXNnroRhjKAGWp6ldsdxa+BIM3HhYv+L7qXCEJ4xF6V61X/wHCsuCbcBVadc3MkCPrWYayJqZ5Ff1G3dZNI79hBnGxTMVdVxydLdQiY87q3UGU0ozuGvvxLrcRxnXyA+BRkxUth/o2YSiISbyW0VjHqEN6lvuuZXCH5vQXZAK5s7e4UMJJrV3sNi8jrrhNhGeuAISdsRyDqkYDTVbs/0EHUD4QWJa5B45mK4dtKYfvSWMOL0w48v6jOU0CGL8/ZmLgx7SaNrJ6e3QplwKCb8aTaz6rmulpb7ImTny8vkXlzh2UgAJh3PZ7j88rGGT4m+aiCfm6CdESPl0msAazqwaeQzwI8hlSzs26rNeiPwPV7+drjqttbuOp72dmdnhNIilTrgNDCnUs/Xl/RA46q5dXp81uD0cXEbcw/fwko8K12t48sx0CfLKZ6mXfKdQm+ZTdltLk1469/jWlKuxNF8kAfnWJiDKu1O4CWsExHLbfzpeKL6PMAuDegSnJL9oFFlBEOp6Trn3jNdzdVkUmg2o9vSW7mV2mE7/fcT5J1DJAGT1o2EHWs6B/AkM2vNfwNGXlv96ceUoLz362GmLxLxsMoF73rOf17ZADfN509FhGMC0/NEI8Ax4vHvdjJxTwl4Eu0EKl4nTk1RzaR5h637CV1dr0glt9qic5zhDK0QVZWflaYY14AvT9h75+6fKO1L4M8oVZeN6ZlHQIxRk2gLpaBsqbkHS3rJqzYfTrIKI8UPsQATIX9X2FfS4WQB4ddFNh8SVW3n7eMz1oAWPHA2PhIQB9+4HPnVWhSWzfIniC+hZywS6M9ck8C04f5NYu+8Qpwt3JN81nNRa9Vjizn3hAFQ2XkKCslh56rktRulgWZWJRD76kl3ZM9ZUukr1mIRjcVlNadOoCBX20C0G+y3k5+X5V/xeWgjT3noVQCYknIVIV6qFlOKnnWiXFM5P0D7pCE3TOXAqOxoSp+atEtTSzqwNh+dk2bTb/bZYuT57mKFo+yXVLHufJCsptsUrXkAHBH+wzZNkfmGyGK66GgVU5bqHz0t/LChRGRIljN3DuME2ZHa+MDCEe+A81ij7T/SAtZiVGEGcMrShm9kfC4AqrMkQmN8RvkKVh2CrrWj3UkY5Ja/HzYiuH4ou7mjsGUy35vOgmzIOL57C2gCSY+YpuMrr+Hjm4ADN5mjCijY5d++EjYBp1aq3cJboyIoZ9jb2eb7D6A4m5z3zF5vCuXxKT/KOGfdTywP978rDmjceRX1MvccBJFrf92G58KP1/Led+773R87/yCEMRYFvCH/kJRCuAzfmjqZE1+FU9KooIJ9x/FIvjBwNetgcUmJL7XppYaJpz6meeVwDocrLKA5DgfQOHU33CrIJB0HSfYQxU8oFk84G6kcaI3TRTfzaaImw7T+JJlOLCiRvKUhldBbXzGqyjm6vOWqH6967Uj38HwQL2O65fqM3VPHQJCaeIRPt7sjSfI4BLe6bLcZC/M4KFtS5dzr/iIGi7qDmnugh0+OMtfiOVJcNSsUnP9nAUJ4HLv9f1vcV5rGkyrLgJvAb6fabhIOVAFkFdvVP3sOtSKXY0G3iSkDZm15AYVHndB9VMOpMH1nGcgbkfyViZEcF51YtGfWW9sJ6dSRi8VV77vaDDs6nDsHTCG2eTZNeh0PXl3WLH9dQGc303/jZwKpqTA9oOIgVJVTfGz2pMCdvHm91DolAYaebTYpIbbcZ8j5CBRD70NZkZZlU1lR6hVJyhPcU5LiN9PPTdg7wplpbrkKYWschMS75Hgz9HO3SwDL7dEwdZijWWAyxK8KaRrimOL5SGhuEGGiLnq7EzcTwBISLWKQyGpMXa6aQ0DZT4TEsi0J4pJVsNub6GyPT4FcYH65MRoKFkYtUTEY+fTkzrkl2wxIMPxXcLBa/foj27W4ua0HUtCIyPhNpGL0QxNFDv0tzF+U7BG6ibL+YJy9cS/jhP1ZBbnpiJfkZgkyKAPuzH4l/HGfzIKVhoh6TiZLeyEHAWZe3tjx9fbGZk9JgXploOLrvJu0eAF1B6rFOFXbQFQrQl2lYql6W9sUezhFeJWiMZFQC19H5u8xXnURg9tFmS03HUcaweN0hTwZi79InVuKG1CbotUGnGc5+vA4Tsx/r6JHWAmom1G/+86lXgosFj00c3ZkTV0ehAlnW2c7JPfVMwknAv5iYagm/gFjKQo6gjh1tbxmY/Rpih7fSxXAb1lm/nwPHAtDdyTndZ3xCKICX8VvXx5hDyYGzkyyrRNM7HzUj6yQ5ydPd8QgYoANnJvwxf05tW9OxRvqbX8rdIqfjnK8Qe0FOhKDkvugT56/XOpGVrgPnYZEvO7LhIA6GqK2p76ES2h7l0Ppxn6sgC0oDoAq/m51k61l4rqb1kiCs05kfQeOB1LUUyjYzdhdOXiCkCU1LsvEc8/KKmG/0wGZenVgLt3qtcJFi8LPuxSKu1s6SLrnssCTL74ncpevfxbYjFgZrQveM6K8fnOHwnJjnGNtGbcn3bWxd57grmIDtiAVQYfhAu1y6I/vbYvYIMYwAZ1AW+zV6x6CGd1KeHn4YzMKoHixS3i31zsLnp+Sg4LNuSFRrjwXm8RqBNB6ak2nqLvm4j13r+3VGR7jusMvOo2SjMB2H+jpYj8oi32HVTH9dlNh6YtJeGAVpCAY23Cru5DjnXSGV8OABBTgCCU+ekiuttZm88j52WBeXxoiAtj+nwMY25IpFMneat2sQ/QxGH8GKpylqhb2HaHPheCWmm+IbERAMoRp5Z5pS8B69ZssxjSnD+sBj7ZD3BrhOgTQRfVS11mZksl44j6wHji2iqfDU43FLIIWCS2E+PS1oP5FbyLN8En/cRrfeCbXHXCHcqxkjemEhb9/yhYslBH6MVU8tzZa+9YAqwnkwNQdiyBhE0grMsKPKvigzLxm915vnKj7FBxiqRN727nsFoOCG7Z4TdEVzKKklUV/U8qkIiJtEDyyiwu7eTVLvszv50N1KigrgV8Z5n+JPudavRAZOOimNXTshmWQ/qxdthrBVO2oBHZqH7EvLtU5f8rV7wULeQF/XP9pUiQuhSk4kWxC3zSw6eXpbJg4cKOW8gtdByyMi9ewEjHscl3IC724TTBVCO9pkh/Ztn186ssfnY0t7ljV1SMNhGz+4RMuHqOlvHGnzbp3P5DSLegb72s2v32+tgGjtL3Z/w1EOjKNhxUNY/lQ/70JS0Sru9BLRuKP3vEtIGq+t0qTgbQ+gWoiiIP52Lg2alFDD0Fqm6GjnYo5Opzasmg1MvkHMqhuHet95ZEixrdjPAECZ2XgbkmeY2JE1poyptCa9yhh3RlyTo0cemvdG16TX0sZnk/mrp4c9dF/lQmireDUDa3c89wa63LVzKX/N85aE4Ug4P8c3wOKSBudmpPlu2bIafWMJPMROl4Che8JEXWIWTbBVLvi2pE4sF/yi5mY6sp3ByuEhbAQvn4Q/ZVIFlsfC9DqQECG3VlD7Z7uvLxS4Nvp6/0SVmqrOB84Hq7EyIo0rIko9ZBzVuaqVvUrjGRz6yaat7n4oQlFXcNoFdMyQuuvW9hMBCpW6COAf//RVpxGemGOza42rr7MIYhqmdT9LVQtR9eWwKOJOgf4mTHI1D/ThK8xgGlObUycGo/zcuRC+5Um1bJg7HJq6wrot1ttu3eg5p03hinNcUeCaO4cdO7/+SXydxkRNzQm4Nu0pcX81XwgPilbp/2os+8vF6HpYNpGkyliTGQ/xXLAvOLtLrrDNCPR/ReuC0gNORuYK68bIVvMKyndVoL5ohyiNnH2XhuXmDYCqMYfXq3ry+qsJr2odVSJ4pE2VLlHt+kxRYJJGMwjhjArXmBGr6OIkHRhqvF9Z2m1utobxjLi0aEIu9tjdprMDf2mQQN0zoFahIeHClohpBtiGLc5ZltwzVa51NCAkAoFY7e3SOqxoVWoPawlEfVYyuks/4PoSzkcSTlmzhTQu9gW+R5Zy3KFMJ7gsLduPvGH6qawo4xGgnqiJRPXxuIrxyLAZgCVOwvxDO17/U0WTrs+ogSItuuI4U40huZkbNJhdq+PDksY6dN8I5hpnYgndtWPkjt/x7w8/viDJn3Jpd0dFBpsWMft/NX4J3a0hYSCffX1gQFegH6Gy436N1Spq/t58e9cMV4i4eFtFcvWBCGM7lsAG0d/dHSgmoMwHRG2pwBqGMNGlMmXXjWuyg5OO3PDiTsL3+lAXCwrpk9p0xtzGLTmwSM+d2vPdJjzE4Jl6H/hxo7GlPTZxQ9OmJLkupi1WY1dbK4QYY7MLjBPg1Os3fNQI1N3SKufk1348SpUcZj97Dzl5dU2ELfjea8OiYw447r0p4oMy++yoBs1p3Aukc+RjZgJsf3vOzi2z9Gq86LrGFxK7GbKN0WXEzRI28HwcbCH+lR/nqLj9tbjlCXj9XOvqNU+sOw82fB8XLqIiOdOMBGh/+2ZT9Pa7nBVwSAv0vchOIsxQOO1QT5EPL27olABGOqWAlbDYGLBLZqpZiJv6xMFKRcu2vFEvK0gcLabSOuAMhr6kdk5s54gJFQgx9LzhibZ8f4axLduRYgV/AMr+Zw0U+HNxkJcy+LRWERRauvOih/xff/LnntvJKnEU1yzGJIKo7JpoNtXhsQINwVdKc64P1BqzC+WjAMrOzsOO+aB5bHF0EdFdYQ9KN+WTAnGntAA/74Ypw1MWnJeRbjVIDJOPxVPt6wnq4V3FszAbrHR7ky0JqoIatPc3UTYtihpXtgLMPAk3QacXAzOasIb7b7W6Uu2HIg7y+MrQm4NnHHns5PckMVaV+nb3mivzHrJsazZ55zd29SuK6q1UFFfuke7/cu+5zz4yE9rUcw2h3lym//gnKqG+HioeqFrICmJtgUVhjTeoYUoSt88VIYPxX7cGdEHreowhIQvxtS2uDDLXVwPHC0CU8KxlSTwPAm7Sw18wiNsmttJEerqxA8o+FxMEyuroaM0TWBtsbJWcXWQ+zBQ+TAnYqsnR8A+GURixN+5EgA6QRGiXxq7uYR8o2T/IZFgFubnxVe6xbEmtBt5zj+RnR7fIGo5kZB5ywfH1qaaKQ6aaHPFTxlvWEILZgN5VQkCDM6K/1QwYC//DWgmTeMmMW0D45R4CMTSzhwAjz3q+JO8VPMTemhGs+ziUGVCerxLp8nVyOvSuhGD5qPkN+ngD9YKij4TH7iPxT0xx6DSNVhy/OnvCDxMeaAf2yCk8F4X2PJ0V7Bw9mcOKK5NvGoNDADWVlU9vv23Loat7omhaTUHPqaQ/VkSbuFpO217X29gnne1ABPtA7nkpMmbS1Tu9ZRa/IaNmXtedE4cUN+QOJbPuizZnVJfNu5BH9mreysJKOk0bsYSdTqLr9Kg4d+2AUlehRWU1GdYrLz1+9ZuHyeez1IxT+oihildvCWwswjcgj46Boo96ttvxedou4z4EH/OvPtdal4OSFofZYfUGEerPf40T0RY6Gl2mMijRQGNvPSXVCyQfr4tyHLZ6Sn3GHDbi7B7IfcbS+EF/Sa22CWSCa4BKUSt0OLCo9+W2af6JwU6aVxNL8Wzphwf6HPtlEeKzhgAWbJoxCIkc2PL7koQYkaGeqsxt+k0+toi3x/up4yjzVVwmtnk31MyAqKvqPvNv0V2VD/4PTHk6yzzvLipqXEzOK6j50V+nxv4v3D0vNgDHKXhyuEmCxFOpmdpJeUvAEYdOhW5X77oyi0hP5WKZR7Cg6E53eQCdLOIbBSi4DXGQPNNvO+mPamVLIZB/+UvDcjWYHwqJWMx3K6ft1ptwXjtvnC6ZYYkBKB5fbNa8nRpz89BLflOJGnneU4uE21e3NG8772OTgmuej/4S59W7TnNzW9FYxktgSLRJ9AQAHAfRPIkgt3KVxvXaDzcSw4QA6+BAHiLQxZ9tIooxduNsu0VjV6gvtfSuA7EdsQhS42As/SVDfhLS6l3VTp+hT3OUNuWOHeQXrVx36IOZlV4NKfnhFSZ+lGQ0irr/m9SA/mKiYUCTn7TiaA5bpS3w5fbsc6C7MtIUw4NuOeRa7x7bAFpX8EI+vOHqQrWJgvqqOVzwtUNNue+Tvr3wkTel5rydHmTW/BE5604PgiAT2ltmC2GdntUf1R4rmMo7RVRphF3VjYkfArS7pBZLmTAZcNN1S/3vvcocuwGZgSL0+sxkllW0SDZ0v5nzgIvip9smm+Y4ZpDzIqwz20V/ftvgUDKgIMxCqMbfvKTyobGZg+/7rOrKmZmJ6WIJxZfEDWONYwf7CH1DHq5EB6gwhj8zWrQ+5XfbxC+xEFg7sL4i4g4WWo19hx8k31XpADbNQzwv9cgBKeLxGSV9N3E8yveLnf/+mrA+M2CjY12MCjxpcreFRXNmXNad2q6mRnaITXz6Z7gLUydVyGfY9wqyHzNIc17t5L7XsGBo+Pw7H5smSynx+qB/Mo6I23xn5+6uwWP3+Y3r9QJ9+7IUsaYKOHXleriuacbsqcewJx0fflMsmNHVYdq33v6Xh07E1wXLnO0Xb188mVk61qpoD1Bq3/hH81AHG6FsA4vzzg8vDRTtKrkVkS4kx1mqrzY9oNqzesD9yzexRXnuyglptHLAr3pKd5KLiJpS6wVIvqB/Hw5l5h3FixBa381+vGjewr2/GMAssic9/+kXkqaiFRHudgicaWWx1jXv27pg9krtaBBkBKOHSnYnR3N6tVcPz1dtDRhyp/vrK02pZ+GFRs7tOMJYE0HwP81nrBUJs8QjpSzdSuPJxJ3UWUuNLLzQytrqoFmyeHWjNE+uA2gy02t3PzqYQvNjg5aJ5bQdBORee8kHTEDMe6ZH904QYDPyR/d9WPuQYx6nyiTdgh+9SuU9QFn2V4ek6Gw9wWRmnn5xZTKWx/uvlT3cJaiMyw3AbOFgbf4HiQoVLfsGiAOeQIGzGHFbMiQLdN50/MBXATCBFekex622i8vPS/RZf3ayGIbQ3p0BZU7LLm0zwTuF4x7VbZRH5vlkgx9dB/+ms6c6i4x4yX9btN2OeQFgmmChQaHhAIEQF8johG+UKM6PoNmQ3YajYJA3bN4G7K7VkhmrFOJpMsi99UWm2TdXg04E+ElxmwGtnlgwYoxLWvAyBJ9loqrfmw/4cZG2qy9IChARrX+F7z+SQZPN7TW1JYg6FZBeMh9gBWE5ZqXE4Iqcblm/ibNFERMh/y7OYfa7U/3MovHi2X2DhwNMQaqnhbOung6lTnQVq5pyS5T8kLedoMeRrUJtrr59imXGbJG9YsI4R9YrRC0LyI1PAf9f4VtrzPsuXNwQQAjVzk2owW/+Sd6CDD0tDM9CLrR7XVD9JKqvBuzehgCxIbShl7GizoDKACToUkQB7A6zwWnm12LN+2a6t2EwPtME+W3NMxRjq9x0tBeznGjEyR1k76kel94eRakSxZt91YwyN39dHks77q8Yp4B87L6+w5AbjeGA1d4zUiUr+zowgwC7hVO0zZUsyYnoXZMgOIOf1ODw8mtCd6HHKclh9vmvFkvNhHSChfU0axF1wZdCbhCVqbkIuIEv6Tqt2SV1vC1ZVm2d6paslVXvJc6u9Xn+8KTgBCtBH1ymGgjALpMfeoG5Z2Si8L72mv618zsydAcKudCNFhYlgs3EkNMfsIEcRl60lMnZhR1HWZR0RYncAla5BY9nYIxrLMDEZFDp94vVy1GKxqSoxs9q8HW9rfoHtqzhEH+QETwT8LGRv/Ixi4dVha302K1mBHznDeDFvjOTFtnKEAB3NQfInq/rkzvL9wal9+EkR/Tlifph3fwCJeQY2/UOYzux1p3p2iquPyo/CDeFKeDokN0O5F6+G8aIjjBHX4R5ND6CHapXF6lPqgVdxxWFxkq70KbCl0FAbbU/DGDcbwIWod5B+Va/Y99F79CgdUkfdPoXK61PHfRBRfh0MFaypSdos/yhYZenY23hdab2FLNZxXuvmfH7pHvxxuZTbTmDsHUPSf0n6pN4gyuZOW2/Bn0DLAo7q4QZnFnlaxQqXNsv9C+k0X+/xPW8ogg09rBpcpOF8KSRdbPGmhMQxQe9HppFJi8sH+UOBXj+U3ZzO9YOJ3naTKA9guGao3aikZJblT9jbhxCSMDrG9imMIv5L9nMFS2jvAavTCG0rXmZTGecvv1JQ6qQttfqAXhua7jlhgkNivlajmJkI7yog6bXXiIu4wdLYVK6Z5CS/1TZ9MowjG9kxF+y30W48+C7ctaXECt6vhrDfShVXGTw7jUq2diA0n0jf3uA1DV5W3EPR2xjJ0fDAyOxfuGotQYEuHeG5RSwgaenVgE8+UWVrXatpL+q/EW0YZrzW5G+IJH9T0nbVUi6XkdcEYn6Ao05ncqPbA9C/V1zovVxgneCzNwqI48Ns1cftBEaECk/s+5sAqDGQAvWBnviQs+RySlc+2OsNIjFpji75Zp2ppk+co7XLw9KAzTfdSX67GE9bcOBt862JFC5zIGxUSpTVjEL1MKQ1am68raKOCxCSo1pIYwU40WQFsL3qXpm1InYFnTX7ql57lq871evE5are0T1uO0EyjpU13AWwagGpagGtC/hE5i2GJz+yaZU61nDRWxjaP15Nqy/NRPCqMrYPSNAvRNTeyH1kZD6G2QEpw7HovGgMWmWtX11wl2httTIk5Ch5xUsMjtYVRDvK4BZs0D8pgxKeHmtls6pte545zj9v3vmi8ei7eZ739WkL+7qIST7IhzUC2FxCfqdBv/G1zVcidGQJrEHRODRR0n1jATIhTPLo+9sV4gh78qGQfdE87kLxTMdl0GqU42nYJXvS6MpiEzci3DNEHWi9gFNFhnwE6U53uqXqkpTnIQdfrTXnY8Iiw0pVF+IyXKBG93Kw+RZ2mtka6XYqaMeOiGAWVDkHUveoUpgN25tkPPWWibHfUaTbiV9fjCfciLpn0tdSjy4E0/+3nc4l7VOSn4ckDv6cFQAR4o+seNPrJO+u+t4xqt5SlSLZa2JEDjUW+ZvuheWcqypeT1vp+tRXiaWJbiOWzlnoqBBYxZwATs6ITBpgdLNM5DRko4xZanQHyTl9TfAnysyASERoKBylkIZuCftfJC0YVCeJ9PCbdscBiYZpOKCLVFuPm37S2m2XMl+aLwsFbg6zbxFuKmxz9x5ekiEH44KN4suhb41/H1e0le1TJ0BnBGD2OoLfFgi0BC8iWi0ILUf3TrbOGCDl9r+GfP+1JOCPvqjHPu0V3QEJ3lsvMTjVgLuT2Jp6aOA8i9VH2ZPXQgBgko6SXDkGsuW/QDaMFrcXDpnI0xYvq5rXwPvM16tZUHB0EYrl2CtG6HT9fyPyyIUQ6NiydKb/7Ci+raO+Y+HyDjXsRE7p21p1fltneqBDr8obvUaLKX1/mddntnPAPTsCY/ZdPFYuEHTl45RgNqQjjuwbPPqwIeX6z3yBHhU0GVYIW/ko770cjwFYq2gOgF2szrgRggGk3Ty0NOBvl6Rmbl6PpD9/I70SNrzJw/bZVQrlqln/EQ3YUUR5pmOMIDDo6pF/Dly0ke3V5odpzF4mLQ4GPFDBqI29FcrvIy1fc3Cne6hu8pnnif33wvcbVYfbQhaWe4dlhIOjyQTGu/P7FLZ8KLOM+dH+5H0/Hx2VsVnl0Q9EmY/K35RXKA40Q9nUsSlURzcqPnutxuzIHUyT/NthS4zbowKS0Kgkr7WbQZLMWXawIBB3cXgKtEF9aPdXXxMl84PGtEOmaBWDGWJGFD8PAyJoqr7alBYzDLD6RlHtVO2crZFzIRFh9FNDiiaZWSzeWIEoU+aoAhX1at3gO94QCVrau2KdoHMDcZGYEm1hwvTwKogODeoIG22yEMlXNYHVrh0e3TTbjXtwXINjnOByjETztimTVDNtGu8cxlTTHOdtColiCMqob2T44q7dmfVm2MoS4Fy07Mdhn5HYeikS8gscxLvDJkAcpr65E2jBUNrk7yO8fEmH7ZvrN8kLjeWTxKXvAcX1Jy0rJHiVM3cX4oC/WQ0wCyYBvjz59IBfahMQKVavIjqiEqhtuRnYkbSz3IFF6pBMsGnng5IsUbRKGWCGF6Zt/UUVEufUwcavK7zAZzXUUsUKgLLgDN+Ho7mYdkVfhABdnGbXJsCuKOBt69JtrtIzfmGxQD/GLAN/ZEXTwApYpRzLUuMNWrzRsimxWK3znRQEcG0DAhZhkBznI71EVFZkfxuuLr55iQQ2EjqIYptZMTQotnpQDaLF3F26mp6q0nmocYtgJ3up/+FWZoErvETDttXKaODLmG7tZLaKZy2RVrOwRbMncZb8EbU2lc0dWtCl9MEOXQfF7jz8WOY1wBFJ000OJGD3fp9f6RPtD/TZMcUmlRRYuN/AwPIXDrP9rSSp9ZlJ2uNI6H/tXE8VVL+S8z7pgFnI54fU+Lrj3GQzX4E+XGMZ6fpr+xweV8fJHwuheUnBI3Zxi7DIhsw6Pd4SOrbDSvGbNCljqPJ8sgLIr7UuoLH69yQLP8KM3KN85EmIx+FcjCUTqvFsQmTNjm68KDhH4/iAvMsJJkC+vTu/2Vvq6/hmb5U7Sgw9cTQsK2GxOch4jjPHvlqwJBlwUFdKpYMnHIEhw0Y02hhxgyhPNsnT5hIT16jHA+kkv1hMlF/6iqjoN2MsbdEGiD97v06AmLEaDLFBOawJT+Ki2ilSAfK/2pT8Euke3yV92Nuq2GzkzUJJYxP2eT3xcb3ojOMPUumR6AdMLqidQQ3HHHz3Z0cCrozlFm9orDCGQxuQLUxiTmWjm4G4h/EbGTgzK6T/bNHE9ElXXpRyHRAXYWP4IsObHdLuT3HZD8vrNgipzgyZpA8OvzlEteeE1zjVWaC4tlY96rayJgZBXbErBEc0uOudP7rK5mEbZvzbpf0CFLPp/qTGXIn1u+OblvMV9bEJbxFYlwtdAKNmLGvzxT9QRXvko94cJLDw0WmBmM0JoV+ocxOHaenGyu/Hge2hNPAb45Tm5zCnlyb2sOVEJCwCnhoRUkudRMwSZ2LpcyO7EYgdzAbrB2mZZI2ZMnluKlmz/4d3CrF10C4b/2APwrFMPuApkN7vlZsZWcMm9XJRnw7/4655OLZQtGDcLXW7Nwjo9E8Xfb0ZZq4fEsD1xhSA7gbT3YCJq3rYmaoGJWFFF9l+r2iEep7evykjCfB+cTkUZhdhAphfmVsh5cDyDQCVtOBpFPQe91xKzIbQGd1yqTxnQn6LbU7r+4qgetuLkMJGTLA+7+wTEbxih75vN+evUu90nyiyO7bdBjqqR9s3YLMri4wWishw1rQdcPNS4bby2qEf29v/8I608943R12yYzYFNqSiv4aB1xRFYMRHEbDC+n/W94DJXzUO+B/f9R4oXGWBgEvN5DUChvrY7T379ZQ7hKFJW1YcMhAuGoX4fpRPR+M64POvyCi3VEal5t8Hiii9sH6snFxvnAXpfySzAc2TSzQ/7fIXA3eIdkZ58Lvp2W+PQmgJfqUf6LrDPhHRhTTGjkgbu0WwPxJCF0WmAHMkL5wSO2pnmeDXQVfXyD0JSr5sb1Mf7+GpJtLLUHRCuIy6r3kD/QyPexv/kLvVEUjr/ApDYcqy4v6hf0OoUWhttiCjdsGl7pKfdXXDvUuZ93mq8pjdMaiHIsHrlDT8RdizWjfRexICvLw0L6983R+YmMJYVhyZJcDjD8hBaK08FMVkWlu6xMdXFtP0qjHsYaPILKORd5/HqZJIu2RpJnC2v32CbGLaUVA46e9o1k2H4nakMwQZNXSRXdlLF4JBZDl0uG4W0c/rNQkpN3WVjNxzCFOGxf6JKIXn8EpfwTecBi6FgeXhp0MARaYhR79sYQA8xfV+SDGm0daO5AHoxhY+07imOSsn0eKi+dHV4E7Vq4z9xfI76WXJXonKobUan0+/BQ3FtcZRGv2VG5HlpgrKzRLFMj6IggwdUGJ3YvwR3XSKoVpeaMUoYL4WBW08GhcMZd++0Xn1fL4zRvtsAGZ1VRx+79quyFXJSLA+wbumPezAMw7qtQRqPysf2T7/bdzAHXNFcOTxCItueOmCetKftpaU7aeWE/hPL9BmCswmm9BqvpPMwyjj74OeOC+kPBe9RQy4DUNPkIbC7z6By5H3nZ4lolWgt7OG146eW0enWejszm8g/oJeH/8cr16EsiJ4buf+X9Y9WpiP7W8JCEamZVSnepzWlkamlGwvHkl32OQf1LydGQ+g2ximsyPZg5rVT2FaqmdxfrHIGZzL5jdZt4jlWn/qFsS8oJquhTrUP+JklJ1sDyWeyZ32RFRkkf1AMrN2P4xoteF+RIDZKMdKlybEf2S/ylAyrizYWIj2WriTCi9yytIES0Uh+84v+7odoWavrx2mreC1m23K02XiRFMgbSNSWZOgIG1Eo62qTCKwh1Rw8Vk50w11zBpaL4jivawvT41f4yJPxdgf2IPp3OlhEtAXX4wEtsg+f9nSyOQcIi1Ex+VheUV5EILQRU+SVamXzyrJHc6RQTH0QwvJXIYLcFWQycCMpBwtD4JLuLn4UI6lNULuv4i4mkkb1KqZX1+xhKmmgawmZ5GFHYoGx69kwu6rI1/FKOJOqOTEYQzhgtuS/N7uzkkZSRBONj6U3QbXd2uPwsEVd8yRus8FtPS7XrTmvqjVGdVdcazClUAbO7Mjxj8qA1HvUAa4AAkmKSFNqQPZGM7GqpqmGFAfN3c4TyJXnCj+L5X5mk/T9X2f7SRG0yu//4/TtEym8HQb3EHqUJ1dg+K6ZuaMTm4jDsliHUVfoSX4zray1PIJTVcW9XOZhI0E0OyIN6iP6mYs3XP5ScN4R4hSKsEYgcIk973PkmR04cuqlSOF+KZ3Ap/wcH+I9w/gR3dos/0YohIiCDKC7neexyD1aCutGV0qglOJPCvQNVNPf34kV183lBng/u44VaIprCVIp4NNUKP3NAjfAGliVN6qPO3ZYCTuVKcrgRavj2Eoi8+hQeF7fWVsrBxf5Fqmcyu56O31M+//SgolWb6fBznWf3v6NGmbDGPLW3TFM2/1O3B+MgvnAAR29mB6DpatDKDW50y0cJqkSAccyBss7uUhCwhplBDh3PWQQaqllVgMaWY3qPGMvz8/8XhDpNu+tTc/aGycIVwxizVvOy0vKSikbU1EU+kCrrBq0qJOU7TcAmoJ8gV4gA4jfEiDaTDm9GqDWOnSMYGi+PTqaaYFiDPbz45OCmYiEPWBrXLLE8X15PDylYla/S1tPmnAhiG8PLHbcVGGUJKI7fPINXF3Q8+1kbppfBwtteBxIxrJliSnwQCNSt+xnErPAWgkM9m0C+p6qBL2H3WLVe7/p7ggF/b67Tf3ZPqcZOqVvgwLMip1KxvmqvOwmzz5dhnyq9ZWBz8l1VjeuyREpjoi4NBS3dVkxNjukpEMfILJacbyEeY4Zo4VH46OqWWQ7uUIuJW6Yx5XVG+/pt6QH1lAJFjULlHofxTkpHRmFrZsnsyjipPrtbZY2+yqJ5Bp9AWanBC3ArzGB3CEtVQ+/ka8r01GB7Bk/f5wnjXxJgBfykeF0sYlaul0kj7JaUIIrc48NZmTusZ3WzJoGcABuU5JHGNl6+udoglteE6oQMPrxmN4Ouh3jON/nfPzWPqUZjEAgcW/Gf6m0b04M0xwqZggFvTS7XjORrk+UeXv/VTqr94auFem7VT4XvJd8dBLpvz4CKLDNKZPJnTTObHEvhzlA4k3wqQnx4fBLQDpHS3sp/64Ij8okhwDZ+9OP5KY2EzcslXstqdoeme5+DeJlO/e+d8+FIShO4pLkZPpFHKXqTyantvAUbiKy9TNKfvVrwGpTru0DoI2pR8sknJbfxqhbxZ76yqVRBEoIEJk9OAf07q+rzAmFepHTG74Yy0dVot6dYGhAz9Z8/qkICqc+ZmF0R1INFUXpY9xKt4DjsJtU8eYH8Qwi899uFjbK5x84gPsgf9nlndyQbsnh0brgv2O5kj+T1+Tlci/ThyKTQ+oqDRi+sbhKYbnwBD8iS8Qu3g/xxhRmzznFcZrIuxsWKvYj4x3mwxRLnbM3SdHcpErgUJiOZlKApS4ba87L8hIe7SiWHwzGwVCPekKikt6x0foNgAL7IpZTXuprRau3uPBpqQ8LMAy28abD0bgghA6cVJR36CxkV0gF0zXFcPGhYDje0GLrKYyiHNI/oFwkQGetiFYPhpkFE/Y7I1Sr+2pzXTj7/SaONRy9Nnj0t5vgWZ/uJYA63o0s2tRb12IXS9d2IQrZcnfuYJO3wyjotjQA2WRryRV3EjZEHCAj/8oxl//DT8N65fDVPo1UoYlzgxRm6bxkX206CyIHIhzqSid8kmXlGgg1jSR3He1zj7bXHmGGpc2BsX2w+7ULsr9RB/CdF25iZa+MRrmySSZp5t1VRN2UFQiS/lM7t4dIauGhlctFx4gnb4DOgngS8nzEqlumUoEPJWqn3SMk26fO7w8+PM3MUsdAvXrViWUGNSOUPKSsNmWxZvVDFzOSuoJnq/94HbwddKIXbBjJP8vvTMK3glpkkWv78J65rp0ccDbJR4h5/rfmOK8xKC3lYXHq0kS/jQJYzQaADOhJaxZ6GEhESOOOA4bT4F8j/vaUb9Ak0VgQ5NxN+7ywphGS3R+1pBOAytbiFtnoLkWZRoL6kUO2wcDv3OHel/G4LPnnXtqE79PJ1zOXrpbeKUAFDkzNLMmLlyro211YDqKDeAN6msHWzsAp7p35p2x/Oq+CcQDz+VhrfGweQnvoqaCbCxMmTLB0/1GffU75AdGm4Aym0IAoHIO8J/Y5wceWOWjcBAj54g0f5aLxRt1qr4/0u/b7ZmjA1A+ps/j8HfAL7kdAqJhpam3QKrA/P8B2FNpPvfW0MykCRJHQQHyTW6ZO3o/ex4TezYLf4xldkjT4OygIoWLsQlCEMqXb06nZMKzer0c7IwDKK4RSZ+bLOVT3etwBMKfsN++PSCgoFOJLUV+h/WlxC8XBYWUnmAkf6Hk8BCkGJwank7qz6LCa8oLKM8FTT0RgHPR8JN/Jx0A+u49SjjSFd/L5Jau1kul8OmwYh/tW/tfDFkTqahvKnfWjKmJHh6dJtzExesBMh33/GBLNy2P4nOP6A1mc7DTxVmKlTsKjro/Nw4RpWKhmJUqUA9Yj/B7NEQYnsRn7FIZbXhXgGkmZ/ICFWpTdqcqPNKkMjVQUsVwSB87N6wVtrA2Hbd7aBWqs57zFUDbSQ/QH4bWK19lL1xIY+RXeAg3QqVHyATOWuiajnqfAFgSLFy8IRYZkBHF8lErNuetfOcjUHwk9HoRMIjzAz8jY/VRS1yWEsEYeIKS0kHMydHCpf0RzxOWwQJ9FPwoP1Btw5Fs33Jv8oa5z6Qw4Z38u3baweWA5TOACuN6SaUwB2EOthWhCDNOI6Gju2g+5a4fleDDQxS+edGRapVVdxWWFYjtKz26FMqw3N45eAABllOXe2wEPWxCYHIsMf2bJUQXYuCqW77W4WNaR2VRhL6xNtjAVeBE7ESKibEQRpXrxvpjCd5Q4r5M/VEFPgU0yF8iq2dxpk/omrxGsuLyk6PdDHFzAXewnehXLP1Rke/C3ROQ3exGD8PTecPB3oXXdv0geLz8uW5BPWu6pUaYGAdRQdBa2eGtkzW4+zd+wbAlewh1f77Hc0zLmpcc70EsWqnZ+uHcxETgqn0mO1tY7rGc9uheMshLHO52EGYq4iulhvu2aVd43zKnJqnc8/96txyI3+l6HiA2kQOghEjhWfX2I4Zg72CAxF8/MH8zxN2r5We40h0nbi8yTphBmH5nonp8BKCD+KAq/L/BWHlrtVp3WxcepO8u4zscrDwjfyQ9JVXqzrvlMG+HIFddumPHx+DaLis9g6xCW+02twdL9aLt1YwoPowDyBA7sFDvMNIUgBcHEnwc5w/q6AdpqxX6T5Y78ax3lp8pkyViRSYVx8xDgJtECKV1Chil5DyBkCFZKaS5lHiEtFdb+X3GtZq3g158jrnMKEDtzVpalc+Qulm0o6h+4+631yE3dCc2tXdmNVHkPcDxj9ketMtwKKWjavlwUalDVuriEsdBKrZwlf7vpXzdxPWQ24uvj+Nf/UVn8+G8U3b8+ckhi96Aihv8iVM0eTVXbQpf05R+nDb5e17Ux0Toq2okTQNVVT+Vt8DhDo0mdbgD6HCM80WI90I0mP1+L/U4pjUCGA7QSIc5UlhLflmQVJTmI3RuGjxgw2wars71+6Gmg+OkrIKTk6Qp8wM+I0rpyLScPEj+fSGr3LlPgJDfTkwomYib50Snj/iQhfnuSV/ZuVUMEDlNBGT1NxNYQyfH4ngCidc8eKglC/jv/qP7U7pObdmg9HoNO+uUGO5BJsfGccZkysIg9m7h4ndEsbbixlYmRaK5yatG27GMdAykdWKrhIk3cVU5SYGSLUKAF6UBN0ev3jVGcceTpWhY0JLsjVmLQDtRcZhrccf0pO75JoGYxrb1dXp701Do3Ou+AnsTR4VisObbWsrBUMkfEmy1iYG0v2THRxQ8FohZGuuetwF+84C7mYH/Wx58bqgjLjfSe6JWCgD/V8CQTuIJD6WG7u5nMp3n79bi1Un9bN+cijpw8hjkP2tpsIn3why8QML/6ICURqgpoG/BVP5K4N5mrX6d44JLRLc/+WjXU68CCUyuieRUUMDKJP0tp8f87LeFONGMR/Gma+Kt3JjiCK+G0NVXf2hXzZJlXv6wMUwSHh7hMFtx9D8yVqljdlgUdFX78ZZyzv4OSB0nv1/730V4AcMxNFS49muMvQFm7v8yHFF+elnslq0oelu9NrX7MxtgRIspb2SjquKrfUBt6w+10A/yDz4wdoICkEKfFyXw1avYKHrZuZhd0d09q3Lh5Tw+h1ZD2zRHWViB62IRHxdbT7m1pFWt2w0e6AQrmmzunPeNJdSbTLwPuLipE7PbrtvC6SjBb62CyIizEvi8C4IjV8byPdWpTfRgxRvH4VlIJRQJBZelZYzXnm6tKMmUP4H6DaOat7vSC6YnuavQHncSCK2+r6f17I4X1LDGcGzv2y9fKVqiHxlbSR6GDJTnRnsKvkkGz4/Abrq9HtFaRW7CObzw4awv158BntFc6ZSHHHpxZYZGkh5aHTX/s9wpkNPAhxvu3NPB8VDjiuTtZHnl6sSDtvjzFtDt5bcHdP90PXRe8LmfL39vJcxRj2wWOhUuDa+Nq4Q4/Oij6heFc/Jte8xsjBlwt8qqCXI5Vw8mp5neVugclHSopA2nyWFjbLHq++LnAiS4uOgYKtBJ1Nz3fxc6ADNOaEbLV8iDCWQSq8pUe0XNPihX1kyVliLrDrTVoS3G9slF9acQv1sJ8rZ4U7w9EJ7ovK3Aaf5+nxt24eVhS+P93DH0yF6lL1oboDDpHmCzO9mzBCREEIQRsdzOFLaTx0cyjUS0e8YNWe6XilB60pvVErr8c6TWdM5WPADpKgzdMJHWw+SrP8fOtfhuOzbRe3CKYKFdYVz9VTyhfLUQbW/oJI0+S9k/BgwA1ZZ6Cn1x9J80mLS08nJrPiLkblTQwWkUibGWRu7yt58BR/J6Z+Va+4ZPeueB+y1qlMf3Z4mB51Tysq9o+kysS2i7tkj/wxB4kiQ2+gNFv27vKmocS6wJb4EGmfoDw8WJl3szcrqguQ2qKpI8H5PTPurwdOKao262rNFsRs1VVQUnzO6WKrE55IYfpGYxlh2t3eMZoUVYQ+IufNdgfGNu+pxdU2YOrzK1aUW8t7QuKiUBtaEvBJgz3LRfW+1YzDdxrr1Nn+jK/ilKxxssU4+lTxy39wSTlSX6AUd7tH2TD+he3T6NBMop72tNhu+3j6jw2plJlmL2+WSrdlSwnXYASisw/ap2ZASFD49YctF+xoLumj4+GTYGhVss3dKnE++S2gmQM7zYHZYhsOwhIWU7zVJM10o8usz6fsuoemtMDeopShefEmSLv3IV3dmDhNoiS6MPudsNoxJJ3k9FqvHbN42D/5RSs1sjB1C2tpRzbtIgbIP7DuiXAHuT62uIrpfRmRI49EdfVuOAmjPx/ck/E0S/rmhv/YXBWnskM0Fld1yj7y2HOxDOz/L2za8cJ1bTCr19BOXdJlojK7bu+VDMhWqGEyUJeoNRh6lOSyoBn8w+C3eURdgOtMvMvrpW/FGMSQMorvBK0j1SH3QLr/G//JnDr0nbye7PiXOUnJCekrEbVK0OqNzD0QBNHZPqIz0SdO6+uokOc/deoH72t52gpTOBgWJEe/ejneARb4X/NMoAqZCZfsfn3Vi+iU2EvthP482BTZD47vOozWYy6HBUkLUpGNtBnmQt3JxDzJmi52nFJ1NdcM+P4f1oV//qGYgBcdqdnHEwLaKaX1HGBbCuYmaPm6CR74oZ2QUak2ztdZvEmeN5i7VOLTMmzxpLWjCDXRvdhPYg+26ao+OX2DDmfwtrR0hwixvA7OvMO8cVywyalbpxuSR4n99AZvSfCr6wVPku28A9S7HRA5CLpjBJfVq0GNwsmMvTB/pV2Xb0NHcihjlKe9jDnpc9VS7dd+5qfjHQ31zjhb7flOL75ukicR+Vw5THRIvsFxuIA2snZ5ylrjn21BHjLQZeZZaJGIYxhSGyt0Fw0vCctAeI1o/grRuFdsidJiClNHa6pZatBDhCr7gkRyuas7a3V1HHi+wBBealTSX5hZqGfp9vWA3hjOOeBjW1DvbtB9N/TNleqd7BzjIA0AmN9vdhLYnzHyb/w3bN8BDqbmtZH102TF2yVSi0qLBIxaz3wiI9gE+8ML/AOkW85Sy9iU6U/YkznlKT2m0mIW4zyY8P+/Q19rRDzeqMfasx57e/C+SU2rN9A4Np1nxqLa7lLwqvke/oyKSpOXvpLRog9iHbEYN7JLca8yWPccOuNcemuTmOwm2b6sb/OEP5ZAHTm8ITFHflnNPqKRXZMlSF/oGsJmthFb3U/vSLlTpsC2um6tqDTw0zujPO+CcAbn0Rm2lGbOs4UuECNY6J6LBdKV80LFBgp0GJ9YsvobkU3qT/nBlASwjJnPWu+ZBS//uA46zrroJR+Pf2PeuWowfWGEZjKoNdQsyJ7tSX3QgqOkD/X4e6wAzS+A37zmu/4KVF/diifHnfX453FZyy6zDRxiRDVK7/Y1d8dSaSKhFLqAxJJZRx3vheJDzmcf9DZWLT4/i72/pcPlYRLgRgZXT3jjAjBOeVmEFy29oTnVWqPIv3bbqwBF6vbIu15nYWY5Rxvm7pWz6biNlf6tNUIJBL/VttYWKMDZAGiLuE3p2l+ywJIZ99ZrraLJ2MYEIcGYVJJCzW9lHozW+s3gGm8SwlLKw5frOMNAy8mIIdQmQTPd2kOB/9GOiq7UWEadhs42+V+nIX1zXJk4girkeHjaR06OHFUYGBqW5mjXZALNGJd2YdfG2FuNFFln5sXTUjVl+/ciqkN1gCr3t7hbdb3bWrhPnFzJTz6EtRqcYnogqy3gEBtfkFRIe6KM3mZKi4cq73NygXUmG2U0iqc1UXgCCOCnJw6ZQKGhiiwyZTlmAzgk6BLXmZrF3ilegvoHy8HKq8S0gZHxHVDXhcSFc1NyMeK/y2vy3hXDKFg3Zq5RXIIwydIvpdHZezpLAxl+q3Jd/ewyT77tNilcw9Wz2K/gh+noMbNI6Kj3W03qIRU0QeJfADYW+2tdyWlsjmDvE6/CpHmLvhI46iRCqzrUWPCcPHhue+h2wjCR8Paj320L0G+KkHG3cCKJP6Kt/JhVw06uxtF3hKJM8PMtMODJuC6W0UtRZBw/i+u0hfjiVnanF9TsFqG6R1m+v2JmSGDaJTYpNvL6yIXQFbICRIT3qfboyKuuPCcbbEQmRVvH8R7z913G1wivPHmkYKRwnRTd0WZJ+bHOzkb1Gp3ijYLrZW5gPvrt8RSvxoCNEqnUh4curmBtRhHOzVZhCRYQ1XOe4nTv21RjRt9EuLNx9TROWleBtmrGQ3wPzwMKzIo8PIEdfnLA1eE6a34+AhJRop8gMv8rddYFeuXQdnn+jEiU5uij365ih3odITKV0m3+xvsiZYFbg+Jb3KOqneCcdSpaBhKLDFrRNyKVfH/v1PNAjZ0k6jRlridrisUtfqVF4maIz671r4r545CMIBrqMS1HPTfwQFM6nyJrLxL3a9ih/qbyhjrQGRQ5MliP1l19GNtC9N8zZdexuL5sAsxxH68g3sooScUF+pBvX2+z+UgsMu8+Bve3lrYC0wuk9QOZYBiL+XnHEZozETb9dK0WF2fph3nYNJ3L7uj7XvezQ2n/qLvI6y3OY5gAdidrUGd86y5NQRSEu9jMEUXSVj54OPfx5B/gxQQk2QZHJNCHUu216N/aCgU4mVjcKbDp6HHG8XWHhEWKUQX5YlTs3LL5LYyzbetCGKIQREGwE5sJ2VrA5BnqvuLfYe8v+2k6MAAk+h2+kkjnRVMoZCVWMlDtLmoDY5kIjBfvP+Rd1OZk8ON7hLW0vWgczihM0VQZl7atNdUul6kjrM14yAwO8zR4QXg3RFmnhLKp3gmNxLViYIKpW5gjibWKmFtQM2MMhrnDMfzF6cUPzRTCxNcBCMEEz02xzS98yRzwg3wjtefHniZSooaP0prKVfBk+iVSKcSAJTkGoWi5PBtzwGSiJ8bns21k3DjfJTf4iqcv04IA0pHPKx6QmzTlV/m55A4w8keIANTn+2vCvqu6jwNk/Qw2glll18BOs524fMS+z906fy0eJMtOHaOKc8w81I7e1JvuwDaLdtuBwHxluMjtWVlGRSYRiNlokcAoAloYqsIOh+/G2Ek+CuB/ZARteaZWxNyeoCOqUtGLyBphj4RHnDsvJG0x6pSvgW28uU7JC2zEEVwrjDKVMginjj6+d0JkRkc50LVhS213tftWFEM/DOSCxVCdW9Hn/GGGJpEThn2YwV90OgWcyK97oyU/ZuFOuLMr+fuRA6onPSFgG2MuwszQCHvCcJXnZTLdB1QF0GSWQPReUPxSBQ7NOmirkjRkwdrJKhE4//TPtYR/X9EwKpiWhfHdddd2AG7T65CC5fIiMohR3BKdCPGATbbZeD3uX41ollT3b5voNZtn37qdm/S6pqeRU/4bhalcv/W0PJ/DZ3DdmFW71GIP5dkDchtJCNZVWfMxdNuIA8lYxv/+eYYhGg8KzKqZh44NbvuX5nGryjad69WQHfz1xzk94J8PRtlA84SDUGc1GrK1rViQkwFq1nxNmuL/yvyuNMBnWq4+fo5JVNgx6bkRvh8CTRD+slTntXWJvCezfO9q2xrUTyYQ2i54CPfeh0J0+XQipUhgICN+HRqoYyj9OmrDX/t/g+xNJVc6V5HsYjCeOUh8zv1gW51CQUwRO+em4aHYl59oyeE3yQ/Yq7Aiz2H0tjXvCdgYAZHSNvgTvW6wnKjxG7ukaG2bRKo/6dp+22cniMkcsaQNxQFCTk+nOKXFERk9Lc07KSpjvWh1jRlIYTGx2Fsw1n5QHUyJ3mRYl+qbyeX6t7nIaV0av21AFV0OVaw0bJHz8Jk0iB4s6ciiOQ1elcQX6pSR0e5X69xDBkNzYC2pUvp23SyTza6UoQpmXOCd6wGB2GOuwoLx6mPiK0xck9ZNep5FACHGOBbVBcad+dDqP/O28taeJAQI5AEkX/c4Kjv9PFFgXB6LA+LL3uh08ELlvv7qSm4QiFKKE9tfcVWOW8nbki5z6gVp+akq57QTlSCDjbkkQsqaGn6kPCIjb/p068uof4ZHQy7kcjx+AT4frtK7ihKDW5Zt1+/7RuFnu836ft/o+/AEGQdcxHXUmWtXbyd0wmJMc7yln63KxzvYjTSwi/j61OfZvTCnQSvB+26DRkVWcS5ADqCwZCEJ8o34d1YNjXaxzECdQcLqKrwv6i3ODv0VprAN5dJ0bH/fnxmRlP0RZA9c8JurGrvR10cF1rDk+DQCim7us0Z2WM9zYgeSuc4eUJ7lveRjsilnvmzPEarDjiUnhq0UVwENbPxbu9mafpG0lnIegspC+gtJmOyKCXgWD8y48awYwvm8xIiIJqO37GXCVTE70obkzPox9aRsnLb0a+YvnPCPrMQpDmpp/nKn9q85BXg52ab/czm4wFjexldjda6+H7Pz70Gz5qf3M+vC7ewE1yxegVX9G4j2q671qHzIvvOi1msv3lWIx+lRzDW0KogTf2bUn09iQWF8AVDuqnI84cB1xeLR6JG7x+FvpBC/Y6poTMK05MnF741PIwlOR4X/CQagxvXC5cUsFB0XaX5nYTL4OBCItDx+ze3JIWsH1senzPiRdptnSJwHhsSm3plY7Nc0dhNpeqClE8Qtow+z98+eIQF4ACt/6PNsW3hICuCRIivalrX2IY6LvHt6WyMozuBtQbH5DmIfCjZAbmHl+IE5WqHEy44i65InwNLJhQcQxK2z/Q3n99k1h8LJ3N6voj0j+ADRcnz/FUUE65wG2SR5Okw8sQivooi3/bRLDxCMDvIK1YqwMXWNiOOulERztgzWnYjXG6k59TupEgblDxHLkE8EpzP3X/vDjb8sc6e/lHrsnfh/P25kPiGnCRaeAixcspAl9dGoTaOnNanKYYkYnam2PnjkwIG39TYzdgu6FKAQzNtetqzwILhbzIurWhvwneNUEOwZPa3Q/JD53ipRVQ2Fm7bvbMN14tmp2k+s6Ipbz9MeIC3YQx4IQunqBBliwNSC7Qsu4E1VIefK+gXWTKvaMUTWEQWgVldq/6SOPCyXbSuaxN0FALiNyj4083hnqUYDS+STfKCPR5UsKZsHTZWH8dnqYSj8x39r+MpMOmzSb0xObVBkWMrdINXzXOEubWqdXPpg3E9yvddd1Yvna0YYihz0UDBbAI86848AbU5QkS+/nrMPDjBVBQuDaqQOPHhlZRtytWi7jGjo/+gXE3+Bq/a88Iv45g5nBwVgiqU2IPBpC2vBJeVpnBdvuyHvg3uocfpJGQhWKsXjXWN33wIcSk81m+mdIFYqLaqaY8ECq0Eyin5R6rXffhfJ0Z+CACHcTdksnr25zE6WDwIPgeUXiK81rpCLsjwv6ZKSafAv9oUvB40vfP+XgFcUHxXP9nBCHcdx49MuRgmJGxoDReodBiHmQmTdBne3wneMrnIa0EmxTcGliq2ry1H3RBehSY0gzAri9Pac2AKqEz/QXZfBBdygiz/Rx638sy40b6qGS9ME/3cuco/jy+M9mWtjkg5QuwnOra2eCg3gfawEBCHFKIi8yDglrllAuoBfi7ojuXQziGXXh18lqfU+r7gtX22/ylqY5+zDeCiKEAcrZEWVBzvlgcFbBXKrlbfzzFjCAl7KwpO2xCzotWQEtFNvdeTs6aVZKucbBISQkcmzJ4mnZcksRqE8gFTXbABqktNAYBfyY8dKvV8bVm+jDZsaAiCwAt//yJzFMGyjc+2Rg2c5h8VqpIgzwVauzS42Qu6FZq5PtgXvPH7zUcurKhmKDuaL/yJRBvgvQpLqS7hiLrfMbntNgN6CyWRaH9/3Ej8SmCTANxxb7i3cu99B69ZV8Ygpfsb/9wAZgdW6pSYZby3m76AJKkbfn3q8lBf97IB4J/RgeKmW66Ljh6CLQlZJUG5QPOZjog8M8BzSY+iafVVKPGgruXrrFr5ShId9UrJEWECzBPY8SqFqahZBAzyYT2Ao7kKfYecu9778IY25oMi8ZLn8UAZD4u9RGor27yJFawttzyYDmbjBCVjZAyYpRgy0TUSE9RLX6qOK0BFn34rcivURFHNJLG4LXR1K/DbS3BC+9dol54oc0201B4pxLu/rTo2o+sr5O/jV1qFU4Z1Z6pLahiZlTpK23l4RlnvnZ11nJ3d890b7/00fl4YxSPJ5S3a6v5RqQFy2eXEcwHWewBNHChuR3+8ApJ9IkIVhybY6c46aCsavpOe+o18cN4eIFGhxm5eOiJJz7NWR5mBfO4tGWGe5vAri1fFHd5HeoqLhBt21QThH3zzHl11pxMt2Vx+o5qj9GQI3Cbq/2NX7rH4GZeSRxLYUF5lNttyGfYj7hc3Nbm26Vga+WVovmvxr7WRrz2tzuFeMvoSs/p0HImNNaRNuw5quUHkDMntjFOYAPnXQK2LbJwRaV1idiEoWV6yMSn8/SpeURxO8dTw2P2VOIuBnGXZjHULRXuTpus5XOS04UJrW87zRaAdt6NBaQxRc6T0cVeCgxQeqAM4IynoYrcuirzBjtxVc2xcbQxnHntgDUDQrKVy1Ov+0ULsVbMlnnqcyf23FjzEDw7UV60r1wuCuu0FXSB+aC0iYRlCBUaJz5Fn3HRaqftRTLU8YNV0yAR6b1iQQeFHvm04RxaE5iW5L6dkSN2ceikzVdVFsXuWNgdHSV1DBj3xOt60HTAgTA3kGXkbgrWCG7PFZc1MNKGFAM5wi1UeXbcpwdnYMCaxUWOZejgPX+TW0qjh9cqxdVLUXgrCCybpFzmK4nHnmda1iOeIzNYnwvqG9YTddyGdvn23Guhl0a1l0C6+/F+OfkPAXuUyXSTZ57kYGIN9UCfoFkh978DeaA9T3I+3vnSrqxvqCm/Vb8qH2K0hRxuN271/XZqfSiY0RcIEG6mDK776ER1ePDh/UhqRwRog6dPXUvUeoslYvWRJWjX22HD7P4LdiMSTsv9r4Vg2IvlekHbPPgMNBxXA6IRHnht2c2t+sEClj0E7AtWmQFcEH96wrLa3lQDdWgun9nWpvv+WyfvlWbbyhCnqt1VWoVyc7YbW41xJ5AVvMGrvccgt90jsq/HDUCsYIDGFtG+4xSMSw6qjDl3ZLFiCpCmzKikuqB81cYbt1hdVlaQefSxAP3qRHt4zmxK67P+gfFMOjd5G/vgEcgWXJCw8GMuZOQJL2j47AAnqHzEgubo3TAvNiRVtAByfJG8FHL9T+bYll92Icpy/B77CrGCzlpvV4m7pkr9EQOgX0VPfFHAxfHO5VPqzGJP4+5TwZMXetqmWdtbf633LAlqa2zkpm++GSfgn6WxaWtJNRrSOIxhlSGSINLbT1OImw8aYVOM8rHbZXVrduJtkvlgJCWB6ry8viStrhtoDJYI5Fz3XL7TNFed3rozvZwVIrhLE0qX3cQSYcZ3Ff1vuibiE/lX3j05Ef9B3tlajCLfj2RVCq/gMzKZPQIn7bN8ofKtUtjsslRGgAuujHJdjrI35od7llsYHTOCju+uUxBOO4SX/boLqB9aj2OQKIPPX4nVwJhktES+F/E8C2EBbFNl9ys4ys0mK1yoPwOLUDHoNPvYQ5FBpcT35HGlnWxZRwKgHyMJaTnvWJEbzXMRiDD4RfXJIPLyUNcvhtDGCgMOoRLcgCQ4X58hKlL5zhjDe5YEAYhq7GOyAf4MRMIcIF5vae2+KBLuq1HG7aUNc/kizIzelu+p5ErexkD1Z5oOdPwxDd8B8PypB761EYmNjlYIFvzvHpkgXEKlWj2nGH3qhQ6PpN1WzJU1nGgPVEUUEr6hheo2Vp6fn9Zq++MyEV8ywwr9mQ5tsEFWcGNs+c78vUPuxTbqWjgXgpchKiod0DEVWHFN0W9CncGZeCmbPwCyKAlNac6bny6Fl6U1ZyNX5lF7lwB5HOzuL1uGXf8dyxEfnOqw3WPZpnlEapzl5jgUp2L+jUSQMGZzlvpFact55dgY7mfaDgknfuS2bQaYPdLy2HWRyTT1WCOJDwuXgwv+g5t07V6Sq84glN98VwRR62skz1zMtyOJW3QbCON7EW6psLuQIt0GjIgBLyJK52JSkoVnzH3JDc8VeahHqIK+i/Bqat/t+u+sxHK8AmT+tO2gQmKzMsZLbWWBUUZEzQ0O+6idr5+169lK1ST6bt36vJCQBnH383NQR8MliGsd0dFpGC4p4iRZ306q07tWDjrJVENX+yW0KcsKfXw7GtM7IZBGq2iTDJrOMqqhjBxIy3YJbuDi2XE6PnUFcss4dbc/3yhAd+ibE0nqjmZa7SiJq2/LEoTDFuUMUBPbX240bvgXYCcu7xcR5k9l70wFskC77BeRvBIDsHBsw7ec81JHmXOEEQglJmnKf5kxQb6Ez66SGCUZWeXzHkjVJqA5H2t8HVFGY1Ze2C5NhF2M929sKJO+9KCwZxKYTrgAULLZSOqp7J2/s2wWqcEixuObGoe2XjxVsQkj99eiZuX+9Cz4HnTEXTCiC07BGRO+wrju82/W4cKGhB4drxExCRFlucuhfpwLVRdl8nd08OERQkE68/TlDYj5rqFKju5597D1oy/0HAU3KACH/hjGNA2COc+4JWA+oyPpdEU0XlIz7rzchvUsUaYYfmqilwsfo7nCCJJY3abhB5pd6M3uFZy1yBTpP61cYPoaDAbghWuwGv5LKcGGzjdUd26sQYBS6VWypbuuzK5YT6Aa5feneYJC5MuRrNXHNOFRbbZm+kgkJULIGKeGG64aGrjlGomsedWVi74QlQQQs7LadV4rAyEecOpRJzr3zMqtjDAwvO1xUE9X4eT8f3qJs/Wb+GfyxUDqSqkFsOHrYgRYX9H0QU6Gtx4bvKJWDdCAFcxfSZHskM0PP8Is8cvHMblcEw0xO54WHeRb5cZmCHh4ovxSNrHKTZRh3Rewnz5uHsFGCTxJJfJURIoLwTnjkLANa0HkxLSAEyNCs6sOUEyNMFHayFUEqp/VCTgBu/SSeb3S8LdHZMgwJ8/pwd+biK0c7I4RI8vN6x5QlxKqFgDOubJBOGTolj0FOrG81OHrIYyJ5DtRNZZZeI5OhmBmuBJZHVPfWjbVAenJWC2h3+5D/SuSCBdXIcAJ89KiFNbX1xTnGve4ltmCBovKEhiwMuK8Zc7v1wzziZf4GhPrXco8JVWLTBDO2fZIVrMa+x+T80W8QwFGgZo8JV4X/hW+feBacM9WvNMG43ZQo0golqwaLNz0kuv8s5O6J3xerS9jh/8VuODs5m7srAc/i+SL2PihiI4eObGSNftYLEX1ZBX2fl3LGuA3ZBD1feHCzIq5p7uFOZqQ3XD/5//XVEJ75YfSsX7KJPFPpNekCHdImYm4aItPejxomQyj/EKM0sSuIG+8kmU5UqthjQu3eq1oZdU6ruaWR55wIQmG/vgEFy3MW/UYdjUvb5HQSsLfpO/vj3AQJ3kx7loe8cymrM2q13GZb1Lre6eBwdMtywADagLEZD7wfBJe5rcvYNSQkIxWg4vj2Cy+cXpsWFJVm/Yem6dZVmrOZHtKB252inQmGRCwpROef/Zt0nVbVwzZPxskNfdo4/LyH3Qq8v67jAg+fdx4G1NaQd+6Gzv+yBDvGmeR0qwKjKrDr1QxX3/lfaFg0BAllyRjhAzPCsXt9xG59G9O5va2UvXEISasZe18VwfFsa6aPooDnoUVYLAdDve7xqvkO4Ld3T3tTEQEz5/3ruS3hBB5cJBmLnbI5CN/V3MjmUJpeqCSFPPRqW7jue7bbd0RQfymqmzlRWXnURF8FdcpJiHqhTQlUIr3GWQ45XhbeMPyYmwvB5VlOMSQ25SzEdcwAAAkxn4PsgrCod+9hSHiTOBNfEDbKAHD06a/+T5c2+lTnWXaEoOjrP+O7wvqpUHrnsJYCcMBpFG16COyD6OPXxwMjmdCrga3PDl01zUYO5tRFuN+G+s35GWFus197VuSkz5XeBzdYCh1nRC2lM5BYpQf97yrdADupF9rwCqikOFizuMNwKblnZwPom45WWo9S1D3Se//h8DSKWh906tYt97FBYBN7D2sQDrJuNFQMrfpDXzO3zevbJUbeVwy/z5Le0L/gUMAa9iUDe50Pt/QAJKd69Nz4EBUBCSOPWzykiimhPPJc8354CNs+NbeSn8ZLKCZOy9/WlAey60T9ys51xk5cyrWv6a7tuNNGBy46Eur+WkjIOOn6+33xis4dHZ0Wgz5p+1EQrUs/50L0MeZqURENctOOwT/9xzyuaLhbA27ujrH/4WbXpAPYGh5iZZSKwSRkqMr/vz8X6HctL4D1gmrqCHYgAGh9SSZJJjWaZMSzA8NdIt6e5XvQscX1i2HoqUHD2cwVfDwQoC/lk/OuaC1GoLHs1q2+XQQaED8IUx8J8ZvRMFy3T53Eo6PDiw+NmheEP85vD0EV97dVUY5VtDThr94MAkzl72YA5g8/0H3gUQ/mp+nGIB58hf6axiiC6VwzLsZa/GD1OZpJdxLKBSMELsU/Jn5cc6+XBiq8tLv2lnrm1kv1o3jNcMbGYCmwkmk7XWqMoDwxR5X2Yf8/iWY8zNcQClKnI/OZudf/ialvfyM50qKZ27nUKEFOhGgXUAfTPzJe+tfl9ZBmySxRvSVaRz2IGCW5UXoqBmXi5z0cc9Y/3f8pjnZze9R6YkHBk66XX/n8OSPnze3lwkfsB3WKpA/mPRAcn7ziw/VdmDhm1s7uZ6P3COyUiYAD10L9K0Ehlyv9t3AboBWLQD/RW78RZsHO9ovXz4v7QX14FuzPqp+Nh+91h3t1px25KpzB7+9csGfZhn92p/zikCOWRJbLkhgUL49elt/kGFzmJwqRYJemk2zA0LUjorpyNr2HpB1Qi3qk1jG+2FQ89Ps3sW805KDHEYwuOTjCg1tqJc4QKrslprinS4aLbZolQ9SDxLL3Vcbytf05iQiCfZEYPTmFk9O/EmZCGPZ9f4gX3W/64Rw4Zpjdlm+mZUsr14HWM4qlUatTAtBJVLh7oWs6kMxhUmfgpOOQ0QEXGw8d52bgBTZngbSi94Aw5R7KlmGOsAcsY+7OVAMPa8m1WE1sJvrRDBUnpih07KXQXKwIer+Qx//U29IbF3zsKuQKUd6HiQ0M1VvfVgFPFgeEYx1bnYIG9JekXPJQq1T1tMCw3m17htZTM8j6vY3zIVg+jUpluePpFy2VzBUGlTvG3VJAqJ3zRrHr6saz8IQvzwxBsbBesqmYBAJUO/YSwh1hr7IeHXEuwj3/B3hprhgLn8hGB+7QTb0Qhg63+dOZB5y8anGkKLqEgImp4lACFKdCsWz7R/Q6lYpIuPqPbV93afZj9aFvuHBy57nZE6DcqOrrSqPZyxFXy/mrV81vttYnvX220Rim27UQAJ2fBTLZ9fYwvKm7JX+RaTCDDuFwsD9OK8M80hj0EFGyatrHLPNcqSkY9z0okkCuC/dXG7A4CmjgJfNhfydTPqAggOZusfzag0gvCgpJa4vZEBYJCPHr3CfdtaoGNzjzZQm+KCcb94kxZ4XhBMZutiBc6+Dabujd+WPvWIE7p6sBraCtoDzHf1u8GAondfqq6oA9SONeeDDIe36padTqhwIa7+IAjxC3rgDEL4j1fQ4sAehXDFid6w/MaTGUzQx2JcI/Q4j/cIy0cZhsZ8nyKgd73OQBSgwosxi0/9muw03fDARGk/czd2aSGigikx5YjJaRqLjmyA3o4niWso4oaicyQPVFwZ93TVXCt023ep0LvXF7zSJmlCmhJfeZWYU1i6SX198DX71l66hLSVFtOzg77sPXLEDr7VleBdMQ+eKYPn2NYcHvwgqIfLVDdAZXhe6mLFVrppfSP2zgB153aJEQ+LvQ0hg0QfM4jTg5rSeToNIl59lztjv08CRw1SaaRHzoKYttMhO5WSPu/Q3MTzEdMn/0ES6wINMWAbvtkd3JKNhpD5IpHxzP1RfnblXCjEr7ZZ7IQKSsPtUxErTRrOLpzjVqZUlqEYHIJiSAVMiDQ97UjCL/L0rpts40yeH9h7ulJsX18SmtwhTdK1Jt1Ji9+5s1huk5ALmVRtawE/Pv10kuAbEA6mWHHaNxxfMf1XqsULiHBtTHvOC1p6i6/4TKxtymPgkPPvbsTvdfS0r3cJ7LMfZWaNMs8iQ+EyG5IoCP08exgG2XNmPgA/I8nQnqER1skrnucvbJWu1LTschiYLe08C0+k2sZU4wuWYGuWxsCn43E9mrAK/gGU0MJHceoVdifxXjtQMtJl2+IbKtxKLvM3JralLwB2kVOP2nd98vWgSw9C2qgUSEiNZgeozNBjp0nhlvB3baFVZrepnIxgyBFB8n0UDU/UuOwhKps2Y5M9fmLmCtvKtOo+n/cbL/6Ibqx/FrlFJfddSYNYDin+Qae2Ek2+BWzbOYcJRv6VUYgQTJNoYpy5qhW2SBSMb5oc58bOp5HykUx98n/xUW74akJNMuvGlnYMpAwJ22oXZ5Efk5Bx6U3tVZutbXvKkzWDvzahX2cK+UnRg3ww7EQR6VmOTkNJBbcuIwhrFfFLsDrUFqbQA3q0oW6oBpRmONsJXUDv/iPkot3SPlEI5zYuNUyJByHUWEH7MfdoiWgT6Ft05HLxO6rKrEhVL7Kl1ORjCRMt9gE8Da1ZVfHFuEnfxpZqqKWt1KxaUS0H3bV6a86WEPGWomq15HuTTClLygH7ayIezKFC+iwnsur5gOc8Mmy6y4ddlvR8d5mZL9AOq1VpUMc/m3herKQWb1go3F6OgJVEXeJHV4Bj/F/aVDtKw1yeigkHkfpeIg7DOzY3a78NmAkPEE6yHRsJHiW6Di4NZKk+VMKrisOKDkFNDSMXLTgae5OW/R59U1wfCGlFoXUpjvmSptqHKGrw28Xxvb9p6GNBUWQUM2pHzvXQRpmQ7X+GVDhCwfIwsYqsXyINiIYsbJGUdFQ4ImvhDUBiC/WpEkeZcWFcQzylYVfNlDbALQlNwFoCl2ciHZNb7tZA+hGn9pa/dvej6OjQVOTayvzNUqrGoUD9omoW4POkFZl9xYo/e+uASpt5B+ADSPSJ1R4aQmpPOrQarMSvKDDiGevnl95TLmsvKODS+Z1LpBlo2amFqQEzW5HwoXuUOpBrnzCuH1fIaAzxhU5cmKT4DCTccB6KZBXvdwRR4H3jnNdfmzn701ot0lSkrATIKTuKD2nkc27/Qz/H6b0LbYsyhEXOtlNN+0W8zI5kSR7zPPomeB8Lh3hPXquVaMGJmK7ZuKEm7H1F/xDlO0UpmbOkBMLFKQu0MHOmhiy3vsfEWojqQPcD1iRdod1alQ3ksqgEzRXyk4ap7N+PNDRcfycmUBM06GgpLPBIo/nPaW5AKgLS+NByeU55GrVyuz457JG4uG7SyWB9WN61j7nvdqmhFqq5OdLkNVNNT7NOz74EyPvjjSVmsOi645/1wa4HwOavPQ0S7cz548hMNu+6f3bhm/9NSU04tiDEb/TraIRn0L5TR0mkf5IieThRG+tLJuqBSEwfKVKUY+Aqab+hzuSq6XLtlDB6nodSHDypp5SzxFNKYI9EEeNr1NL3J2dhKfww7MHhp3X0nqBbQ/j+h7XQymF+p9Vt+gIUdIYE0loWtcRssZxZUgcfPglnc3q5oVlIbXiNWZriTuZluRG15Hunb3loKZOrn7+Li9ms2lcz310wmTP9lrG2w4tOiG/qm1/iESlb+6IVdk6YhulomC4Zm8+KpK0RRVWuG4vq6+mX8Dm6V1cWO3rhGTz5XLIXryUGeqyIS624S6+zlZbHtwNbDROysTpFxCuWdXBtwIxTCGyyFYd6EZhbJsE1TZyQGT9hjlJpQeJC9l2VV2lIiu2IDsI3px8PNy8J+S9/l4GHIdMJszIBEvUj2BssOCH8TuAuHUXjTG7JITcUMX/mQvsT8joJ4Mva7PgwzozLMGbA8iG/gYXSy/whv7CtSzv+14sXUE/tJwNHw2Rm2gEsup4NrSKhX9ZxF4M4eixTK4KuD9DimWvtjB04fHf+k/iRcMYfcQd2j8fX2V5W4IgtvRxCQger9cJdwmRfjHUmdf6VTJm2zOlWWIszaafEshUDy0OFwV81MswHNbsVJJyFQsUWlXsDetRTHF74nH6NMaO7r+sTsKfHl+mohPDtOdFboAyzQCKULF/2n04Rd9G7CfjSUu8uqF3THFxvgkZRADrPHRYC+bfkqJ6aCkEmb25dx1t4Vcbg5Es1tPN25DWG7UdBotPIxtH+jncVSLJFxDFB/iye96/kLbpO+q8VpZ0T/wxCCBqyS5eywgGsnyowZx6a90lGG05kZUuhJUbpZdmQe4VoxxRYUbgwh3mRgejdqZHtK2zLQadu7e7SZzydo+G1D3SaUbqr7e9PGL37M6bEUGVkcpw/u4aT+Bj/htEiZV+8T8XX2y8h+gJ3n/AiSbHnn9BgR1Rd9gZSbilQIwOVGXCzW21Nz8a+L3YRiMB0Vpm4jgNv/gPlcz2umKEL+mxkCB4PgzvBYCbNieiUr3HyZbJb8ana3qr5W09ZeZqdXQeA5mMInRJVW4B/6SRSv6clCYYXPyVVHNpN3iwlBgLqwS8bsRvAz+2ZmVgoj/qKb/iupDjD1FDfuy55lzDOTN/oZPRsz3oBqSgofS6j8sM1IKZWhy/iXLPrLh/iaLLvPrUEqT8prcjbRhuaPiUdCl66p7CNvS95vARPK1zZzJR1S/PkUXFOAkPvjKKtwVVfvMymIzT4m3e7bsaXs0M5q+GzaGiJofP5NTJItrymFfO9Ao31hJenfi4tIovpivlYYAmTwYKa4OFqmyxYutra6m1icQ9Wi1PeDvumd0oiUc8u8wBJSYSORpo/NIckoUALcN2ofdTs6MGRG93vCGMTrLPYHya6Nnv01TZ9AC3Uxdyo5/8GdVgRs7TB7U3nniUVa0FNnaUywa9nTDoa+MgSroNNjuvOnrynwK+mc5v0mOdVCYg0qZTClv8cXIdOxY8/3LA+V046NbVB2LKH46ih6TYV/kKWmWonXixBbjxWz0HHaeRFU6jUtXkT498gavsp2jKlGFr1wvpseJ5HvWkzD2TpyhRlLiUdCU4sKX5we4akdLMuBfy6DuVw4rANiQj/2/drETjw1J4lGftiMitAiw3EhJ0L3JhwW6rq+gFIb0oMF6nZHzeMYnj8R+fbjr3d6kL2tKhJg1IPNIyWGpg8Jj6W/0ttFYKeGH2KCpp/BRNy6nuv4LVyECIf0VUfrx3OTM68/14J1zhwirrqG6d9KIW9wn+i4MgqcMM6m9JCN0MfatMCU4gMhFWLtGIwHSYFZRf2IZ3nr/JwEfYaObpROzDUTZb2aN/WqdWpwAIs5FWHhPk6Ymjxl1ey9owbz/H5p7KyDJ41ZCdBxP40t9UXJHBsdbsfuYaHsoN0FWr88Dxued9bpkU/jKUDJrqyebzGMeD9Jfyqck6yx4DBJ0bq3llmehnwIGrkbHVLi8onFfb6BTAN5hhI8r6AJGFPB6wLY5uHk75Mit6Cio+D8rD0WosDNaptQDNBZlAWxhrZ8ZAI8A0CsphE2ltn6IfS7uTFTQUQYyxgTZf8q8/J+oPGOpes6dWKQRp+xrVlUzDJk847VT1sysJ7WbmFOjiAv61UA4cSdnzF0kXtAsrPb1Hiw/t5xF8MybWlWpSLPEWpQrqZGfpMSjfOIj8LNU0DnHG+Fl4ulpa4O0GdHgZoeNDqFbrrE6jptPc0W6mYa3Cpz5VVAMqJh4Ci33ghIJLwXqicVYzeG05XFzAPK3LzZWPOoZmqcprnE2K8aMr0kcmOkDg4wvEziQ6k1h+RUIToW6q38JhFQJ2E3oQMKZ8SrLRg/WSaQdDbL3z4rqBloU/3exn7Tx7gwS5Ho2ECy7ea9T2PygL4FIe17/baJ0DuyCshPW+pWOTevdWEbfv4ZYZdgQ7uFoqfDp1XAdze1m10uTVHtI2PZYynPX5LG6H9hjhS3pRtZqqgttRLshGlNbxcEVdnlUnStI7EJJ7UFqFwpHMX16neIYE2Vf1HnXRcCSGYG6WAXaGB4VYAfJ6iXpQnBc81yicCMkjAQucZpN3YY6C5qwhQpyV/IK3qawTwEKs6gSGwtaeprjZzfnIwcAS6ZDbbu7q8Ur70665GIZkGSdjamhwImtNU/cK+75cGniuys6EDOReUmY0JAyNX6GU/QnKHxpWfBtNcobhQzSAho4c2Tg+1Q/BXad376ZCua/YFEBa/qxweRna8XhRWEv0ocCu1M48ippHnl/p5cUJKWSD09tC9BRdevItHkf/3F59hUbvlRxNgm2hB18aGmlOkvMeKeL62rjy5VbWNsPGlGSpKs6SP24Fm6itlBQ68TrhXEAn4XdXAr96uE0hb687a6Gvga0+PRNUL94HLcU9kuWPvytp9B84WsdwFeiJJjlGYEmDHcTB8+W8dyyWgOmOmwdN9s2XrNSp5QLWQLTtVFPmQMGOvsMgeTTL2FVLzISyXfBa6VgC6FeCijHUcA8fSl4D2iWmASK8k7PvQvR1t3YHMu4Zc5VTeMAjtHX1pXH3ut6vCKNVVdMyITPuZSa85mCebkYBoq10ds6axPseABF9TpZZFEOdFpTux9U2qN6mwATqq7JEuQlgXWgz4DyUpFISYMJXrmlGYbsHztL+uEkRbC5YYRWZLePOCTpd28deC6xKRw+2PeXEGdPuKpwWxyzgyJNMYZS2WqyogOPPQC6jAtedLOASAqFeKTvQMfVjhWyzjx2HpY9oRWd1pbIXJvAU3cDhjFjKYwvFska/57Vo6WCVeTXwU+lR013cdv55CAwbmQEwfqA7I1Kj4CqHSacwvzIT4e+kL6r133OdpIV3TjGOl7phsPZaHdG8l2MSq/qzRsdU6yEk5d4CIn3QmFcW0uqWmftmUHjIW3dXMyrRYnlMyLjceoWJTxqag/sXj3qQuCaXUCRavmi00oULy6tQaHSxtyRSrtQx1skjH2mhMNhY91R8V9mDRjZhH0r/lSoUMaS7JXRWEbSrUzMKGTOcLhGmaEfjhtj/gdcln9n9SDnpD6+RfEnToyvSIS9fqyCjNFpIMsbst7tm1kgGjymfHS4de52uzcHvn/8bQcJYX9yunaxy/rWgwRPnanDUpWDE0UnEPErT9E2fiQuJUB0UNqBs6rbbNOlYORtoccHtmdwciZ89/oYjTrTDmr9VHVD5MopxO/af+IgNbZps5GvYHLaWps4fzRmIl9vjerLvZhUf8cSjcFpUlIO0DmgacoKT7Kb2VSmu+JR4icnHIdYiaAZgek4+GRNi6Jwxhzi34o76GH516QZ5US/mZBh2eNzWRYCJnnsneLDIKWwi8wvbzz2SGHAUOOa9dpXiypOFmhvTNl0/Epw12Q7lYjd3EXZyzBIcSGfZELtMVLPQ+ci+vZrr5tQ/kP9f1FdFjrTm78316X1Of9gmaXWJqCVfx4pqMz/3k9a9OEjagCtxn8H+6RtNd1Y9odqhbiYoW7Ykt4+D3YZ1CJKMwrendeS20hbe1q9kYPDK+9rPXShsRRtRFpdC6OAGPRNyCoW3bYCR8k1XQq8lGBNCCfMce91/kQYiFTTBPWnSc/KEYDL0gE8A+7f3wvOcqXz1Ch0itx9bNVVZcg1krvUVd29qZRMNZSifU4ewdOd0xREPVC5EnEfh3mP7j5+Rkd9Lo1kfu5o7l0DmFbQhQs4oKPyGxrATtLnue2ZMtipsd0yL5TDUt2OK5vz4gBb1mwtsxYvQlwUsXXx4lYDeGjR92cVKKJZTxrlng+l3nepVjshfLuq4Ssx4q7wkQi2j27zAB/rxVfpF+V/uRvcf0bQjaAGf3QeLyBm/V+s7Qz38DiFjW2br9MMUbPWFjcVOQszck0UG+JppbkE3dt+UfFTNoccZQEgdXHNlnmteG9JcKbx4vF079TsvVc52fjU6tmX0lr7e/NMqTDCI+/T7b235qqLpP835XKy6lAHTOJragMxwGrzudc88AGvDqQGpfSZ7QsvflXrQtWc6WOmmwb9wVZlhhimkyiiW1NSBjJE9OJHrX9a/jXX1fid1sZCD/kt90SUmerB9b1SxQ1orfO4SAoL7z0Ooye7EWdTt25ky4oeZ9PjQk5oCkw5tyzf3M7LvDVOt/FrXI0HnNuBaO9bntMFiov54sw0Kn9JEPRl4xdfLm8hQzQoHXTCJCQqPqEoSafQDW5HhVHJL1mswWSAudI09vKtSE/G9c96jf6JaBsWIB3kiQplwCJnGsV3sadQlZY2AztXGZDhuHomcswzdbDHecUFq/vcIvD2Jl05cu5rxIdwnOWTuK78i6cqRZAPuOBA+RNtfXfMHAHAMH1GiqwlbjlbKCe4ud8TaNQeQddkB6Y/elEkIlEms3u0VkVS8dTfBhKZPnMhWXh8d58uGceX6WRmzXgkageux0HGKkWaY1+LbeA+6Dr76BkWpCEBeDszuqW6KQAn35E0EzddOqGw1fyAjvPAWFAqDgb61zODtPk65R+ONzPDnuOZyT0Ka14yGxhl1OaHiWn0viQlKcg2xV37P4I1Oesl2/8WuMjEAVWHz2IGrJM9XtLT2dyQMFUqk/TL034L1y9csc56iRwyRiHhr3xwjlbZHV9oxzUEVOnKi4vl59DkNocebp3KQfVlZmhijMij6cQWu9xIahmoXgtNNusm4Wtn3Eb+WFb03LllS7+ltoMbRmpXCcfozozAuH6oLJO9lpkh7brBGzLGa77u0cLNfDs6fxgvTlCXqgqyZ7kLjIrclmVKVkxpMyCx5RshE1asAsCO1yH5PGQVDNVCF3kTs3G9Xpn4UyJK49dSjyTBn8PyvECfmBEMN3rwOphbF4LRVlKnYF7noLg9X51dUaalJNhEZ518Q4DKg7vHs4QDL67PmHN19RQc36jhGcCkWRKzSktd77kIfEwnbde8kY3Ep1Zzw09x2h6B0PY+wMsaiH2qyuz1rK8OxfWAiq1f+lCCLl9ZIzaIdqavUQ+HXseWanHC0S3sULAYNZFjaqn5zE6S/s4/PqNbCM2tGUlwoP1r75vK3BqZXdgivXOwL++rdlgb6Wnw9whF/g3UD9Gh88xYZ4Dd3mkF7sSS7tFKYPcGgRvI52S5lxAvxBI3s8lwmQh7lF3VD0pDpKPz9st45KiVC8gLlBb/da5hMow0M6HUp3/2nM9tcgY/Ma/YyIYP8il8r999r7ktg/tE7JQ1NlgHmO6fT8De18B1337zlAi2vqCoQ2g+c8hTQgb08tTkjQIDl0VDybxoQIP7i+lN5GWBA3F0b5OT4UbgXgrAOZ2WxgNjNEHnqyCXjbw4gSvpmL+0Jn0fCwx5+BGlruxQAcuMFDLk/jVuQHMUOj5nCX/nM6r4q/8MLCLWrXgtE4w5G4nyqES9Ws+ofLzEMoc87Qu93IpgnGKcvQ0lMfhljBGidVPNhDES8TP8ZbvpyzYGWMMUfNG6XWtc+f1oCq56HLZ4duChL+c5cYDFYcC1f7dAzZabe5Rz2kJnK3FCBsQP3GMzCqBvpOLmZe/L0WWxWmpBhqKiB5wK4h1W0mQ9U03Gr5MbvEQJlU4xy4jH+fbFgqzLP2Vm8Wb8IB5ncqHpzxxjGg/lHh495QvfueXTKk0vqMII4v8jNFCbLU6LO6uBkByij8z0BRhddexxONeFCMghUHd+fXgKfRKpMy2DdIJrP1Xnom+zOu1Hh9x17sOXvvCNy9rLeZJfqOtXhUsnkARNEnQsjDeyp1Her+0DGsOzDnYU8LWI3Uh4srYMNBAIQ2IStsVMn/H9TCunrZRTCseVe2JZvzHIHqDrir85GuXnqAuj9AIEYLHsAa8Awszm0a8G0bLA06vUr5bYywKLO2WWS8Icp9R9BOqGWNh3kFizky3VCecRfz4Kj+KllZ1ZQqCVjq274RaMpdoLtVqyQA2Y7hblDoOi4/sNYbQgelSnLThqybxcY73Xp1UVXiDjzh2eCYgoe8UXzyHsv1uq+UrrrVc5MWh89OFJM3VFlA6JBd/3XBdrRCCzFIQKe5ZmYek29YVlLLEupVbTXrqoaI9e+E0lw7dSDgbvj8T/gr/hq2mC+HNIoCq4lSoB+uMlE1342mtjVZ2gMsghBFipFDi16u2i1LjCKuwPA5DixV+fhu5uSrdlTyt6Fg1PGS+bcKwEWrDHnrl3uLdSMOGDgZfu2GYftOGJ4ZWPrZL3OlA7uZZnXdehyC5FRb9aQe4ncOa+z4JAvnAq5UH0auhX/44aqgT4rmxEEnhc3BIoAAApe/phU8uFWQg6RputArHB40VwZShZDNH5qNq5FA32DyI62Vl23OsPxe8Q8E1hDphEy+1rah5Ls5IukXW1FSrNLN4xPL31qrViqneFYMTMa4Lchk28om/BVT7qEoP/Zh98lrpd+a0BiqtmFBcY44L05IGe/JUs5zWlT/tAqQ0McYInjEqetaUjTuH4vnCXjatpizVFlU8JQ/ZLUbnxagkJp3B/DaDBKG6VWp3YHXF5bBAkxYdRU9s/woIlhkD+Ghz5z7wekb6ew898bpADNQ0jAAF5fxtm2fYFpH3bOHZipUpBub7hhCjacpY+4Xy4FSbR575uKdL5IeT2Itxz7c5QTGyQ58cITndSnebb6d6cUxrmmd56F97SXs5A9VVAoy3PCDQbOsKRowVKzeQnFmXFw2fb5Cng0u8X3iV7rgqrh2iD0hCPqbX9ClPbEh1WonzXrROjUlgJTeLuyoOSAhzCZSFGEA2IWK38+VMa6oaQWSZnGcfw4R4dZ/ljw+Pq6JfISHUcFPr5u6SRx6PDrRqEnppPdGqYIpW48GcDNvbjPMVUYfFTAvl1+qOK2xGDZ9BQN4k9o54JcuseEkyg/lvDsT5G3MVvaISAR/3P0htaGdHdGgerRDrxBSAuflo0Ik2cMIZx0Uh9rXjqlBko2NLc8WsfBu6O7k+6skQks+mPB/8fwI1d/7pXeK7CCFCxF0CyRlQy3LPTB9PQaSNv6kRz3gsYviFjUbuNCz8ITksyy1+QoXSHFf+3ZWZOaag6rJBM1tyyklS5de6vpwjt2T7RbAzsyR1gtm7yEN7ZpwdPAyjhSEaIRoGMHPiDH6bJXILYH9+tnqJJbRo1urJN5I2PMLNG4bX/5oqYiugDCOMZc5kPjWq9Oz9OAPUthcXDyO+ULdoxKanACQosfmIccPPfMF8jcQ3G4q4Ghan7fhmktL+9Lr6MgDyIdNA6MbeeHZTal8P0YITXhHoaW4+RmDEbR58JbjP5bH6HMbe4JdPluseh1rttcTIyaE+06VTF3WsKABCE0ouUueSA1yacAsBV5pmMs+TqZ4ohMAkEVLeit/3HLRTvZjy78yVUWvb6E+Nkdx6AIMhZOpTGdDVJBZhVdLqkpLFSI/onzunitb3G8zCx6wf8yp6Z/EsIe74DHdSN7dNUSoUx2nAFWYpzyIINgdBmTBZN3Q3vT7R1Cw4CSbc0sPv9WdJI/k/Gt7g/WDHxEBlc5L3gUU+dOTqE+c560lWRxwfzocpY0mMWTxdtv28+iS02l1+MwS09o/GY85P1aQCpMYFoieDsHFyuvPhfUqKdu14Za3W+vG3p7MGmjX62pdmGD1XIc4JmNlVPJiLu7laDcXLkgAmEvAC53An89JfY1WDnYWleg5HTR04AZsYPjQoUEEJuJWByJnZ+WHV5xxFslStr98FG8KSWg+ACSVcHTWnKAjQMgtBxx2fVHrwybTv2YVeX6hsopGedDcI0Awk+nQLDWxVcISxlbKdeVJrLAoa0ornZQbIS8DofN2HUp4grBIaCUYT+c4QwWDl+zA/lAs2aecEHsHD11QRtFmAaHKO+kN9tzEMnk6Kq4TjHxk2FF9BCP0qEM1T3IHE9isf+20H6ypiEvMynpsEen+o/QQAqjnNvfSTKgzWdEB1Q9FH2U8vmPcHS5VC68lm4tUDYZ1L4mqvuaJM2kqOwvmx3qM2VLhvyR1Z68F7+GqI8P9CVjbrfhdbL3VRRoBxcZG8Dd43mm9ojCeiOAokyw6ZhBwqMGz1FnmvztOpHOMxPUYH5Wx34HnUCaLaqZ4FEuzr9Nm+AWeyl/nLwX9H5Whnxq0KnksekFVYNXF96c95gramUdMgM/+jtmcCZzy+afIQNLTVDjTWyvYEtBmWGyXpgw0XU90240M3Kv5AFtD+mKcJgKNBmEavu8PDRe4VCtRY1OEB4+pBxAPK01oNrUEouAVBw17owTMiQsf9pw5jp5WLXdAqDZLJ5AM9DHaZoiWFiW+/QjiblkzYn68tbxoYTs+XuSTQxcNMVYvcvvfT3wHBsSBV6sGRwmvuQC3ooJAvRxARYCn0pu8eHAqMtrHxTrM8itxy7T6hTapWrj3OVKpJLbvS0XfVzDV+OXAwUbaRE7KZvhUeNDFppob5aUzq/e4HeKX2xctth8qEvdiv+cScE37J3QY0ryuF8eLgLAhzhiWCI4iMJxAxQ7IEoORU21sjDi92gCWk5vv2kkAH6M5wl3xPrzpp6HiKaAhluTF7+dCGkHxSloPvwsfQm09cU8Us7gU34Pe4BiifPLMBlQ7H6GJCFCkbFuxO77G0KMxAkzqXcg88EstOlH/5IXcu0r+cKVtBV9Hob/bTVkPHryyZlbpPY+qLU5FdqunRJd6v2f9e73+ZA6Klm8bEC3ac6GwOE+yghI75fTfMcALUGKlGFmWxJHDUsfP0QJKlJT/S/E48PTbWOukIgWXUHyHEqGlA6xe8RuAI34NgaRezIX+hq0VQwbjWM+4A7R8lKnv7ivYHVWkEn+LU6xUBmh4lVEtbD4b5JLXTKBSrN17KWS8ZaV7GIGyJyplcg7u0+iJQ8qSz4Dwz7RPjd8e1Ud/DhMM6yFq7tNACOctgPfS284J5i2Qhhjtz4YLNHcyS1WIzQzI7F003Ow1eVJCCFxBz09p55Y2TWVRBwFqFE+ybXsSzwDHfNI1nv72JsE098q5uwyROks9Ili+INPvgD4+xGQljWGMLfZUS6L9O/cE+ZXBoTaxJjLI7LPy5z+2jYoUZyDSL6EhA3zw8plr/RmuFVRfnpadUAxhRQ8m8d/VgPkITM9LzIirOn0NdGiGshQSnZaaBNrIXiZBB7ksuasV5TI+BX202NQD7XC1wT1K0KYI89RnevwqfdreZuDupa6IO/iXhEI7+8UnTh7qDuc18pe6R6Fzhhp94LlHFM6bJCfqc3BW+BFameQ3KEnF+BAkwYbIb8HzqeOo8wPT100V5Bl0H+i9vHrGRy6vXQifkvfCB6S8dOkiv3KZjrg0tyLlyaJZDFTszNKIAFvzIfUJgXj00DetdvZfiSpWrret/0SzJIYgR2Pb4za9VzpvpQmIUnrbaJgILroYYrnWiasjAhhRsLiNuO9mXymYugn3wjHXpz6ee5BAi5peRNbbQLmSkv0M9lJpYatSPLAfXZaLgl1vEr2vFJjru0QXBbFMPkwINvL80wm0ylaSJKmNLFBiIVGA/YdEye8ts9KmgdcDaK73Ry5efGYTQXL38luSkcFnrJAx12lra5YzlNurv24PmlXs05rIyjo5QhwtRWXPC+ciIqdFGWV8SImbTNXuiIjb0i7ZlC8/fBds9J124yLS+8Dc7dOJbx5I/S81vM73bFJ7G1p61BRe28pWbKwz4G/t5MWz4ZhWHizEvPUS7F/Rv5nLFTM6/ebzvoVY3rZdPjndIoJSLzl3GS5YyYpD+QRhLgT5hZcg0deKDJMc9wG/3lr9o2dbdGPEfv+a84ljyzD3jDUvM/xF3Y/kn+Dr3UHqb/lBYQFQatL19nLU4kM48xWzbLL2rTPChHywUiYxzFBRCYeZOKjbBU2LGkX5Ocgn/1vISNnqrjJiExcM6Qs/uQi2NoDdBfoCkWfwSHJD3xnZMCIqh+WYuwz8A1/rLEYlSOOFx0DTIgZSn18FyjfFAy47w8ATJykgRkgc00WFKC7kpCJ4D5Ug1x2qZDavXzbvI15rk1rTe8T8QTmhetlYNVwfY7L9EFdBOrZcxaZUkhXsMdyLNbBvPxJs64Q2N7FxgB8IPKUVqfNqTXmSQ+qP08JcULdnMB3gBk644T5Z4AfbahSHMAqvrW2hwsDzFJZ/RacSp9lVLUyyIvuii8Ozvfh0ewAc3Jl3/a6YvoF6rsuSKaEUaoDAMyRoigEfV2FKNHcRNa8Vb688aevpk1dboE/9emJAj8FFGKsJrS+F570hKXWu58zUhMvshWM4LKX0xZmsdd/8LuHP0QOFb0st4VchYfAo55G/bSQHPxMeN2Kh4CdojANrqaoAnwqGj1/+EWWgeyAa8zAtdctVlv/AS8nua2Dk89eSKLGwwYa2O+rIMIAMNofuhqWm8FJLnwd5r4BGtmv/v6AHkelVT7Ns2rUotYYoSG2SzymqfWMKFhWEfOCc3UGEx57k5L9y8Jd2Z0j0nVcdFYggaPIv7hDYB6KDiMMfhHtzAX5kptof4aW5EJ3e+RduiUS8GoqKXCv3POF3OCvRbnkERXrjLxNMCflQG6jkNe/wqiwFF0tV4FIIicAUmHuIzgBKjzBsceqsQ/TWa8gtEdo0NL65MQf+7Aj39wDXa2HqC9yl5peAcvpbgFwoXV+Pz2d7P6QOYnY7GqPxe8/CpsjXbHFhsCggpwv/VbKXUuZ/2DuOPVMkHRvMJAMEm4gXz6BINq1pniStpSIA1uAjR+Z55DK1iMo5INUOnavk2/7O7bZU2WxzyIA4is2+WbZ/zdbriTMO5pk9AFeZB52EXgPN3yhePynk0lgwpfv7kqZnKLTcW6PED04QsG5vJ12xabIjKhXd8rWjfWrUt0gG4l77WQwwNgcBJzp/13sTDZhsmIEWIEzomZoxjtX0MIvtnu6zAYeL8EOxZcMmAfKyWSWE2V9sMGCWyNFmAQoaLtBTYMJeQk2aDXkJ1Zzdd3FkIvnU9V0cIKizmec48n7bviPCN4O1UJ8O0nNwX+AZv36LaGdbRAA9so3Zl/itgGUHPa8Jm32sCD/Mha7BCYMXHJxBf0mbVBOpb6kvlvg76Co+eRAa9fATi7EJehejLODYgIFfio1FFnenQxnuEXSl0zPPs5ohufPaoUb0ytKO3fNGGANdYXXiajXgEwL6dDDyGAfZ3NEMXTmvbSCFpgdq0kW3ZNFt4X3Fsw0mqjEO+XIYw18qpNY0Anb5yIFTCKmenpEnFevSm0JFrk/BYQ2Gt8OczHpCEWy1/5qhbRAOCIMUvlQojk2By83vGM0Czxjj5PgIu36PaBlPphugm0YsTSBuQIaEspd6L1AgVJEdYPrBrZhDkmQuC05fLni0I+kmXiRonnNCPjkiOJdl/N0BZPrCHlyKA4sSAtug9bZQMk/Rec1Kkle9IUJ3NpzlkF6cJpUeq6T598ykJ47u6UoPxBFD6PW/KhErl7DFqSwupnykDr2mouk56e0J0nKYyzLjnPcbYKJxumYfeeegJF+Qq7ZwN9bwryGSMdxwV9kwsNBE/SnB6ysbGYfirb6lxACCPaXECCZTU45te7HA9zxYfpDCj0ooTMQq056LNFjtZjLOqUS7PPW92aQVdLKMr4XDm2BiLZoWe6hO10f28qOk/CNmXOiB1cRRYyhGoR34eILLTXXgE/o6EbvAzLtA97Sv5UbBK/L2/BIKbOmx8Ixd2rBAsrsruBd/jYv+boNMicHNHYHs7TaQehgW3kuW6WTUD/RmaJ8WzpbZSz1bGQgsxhtH2YDMYktvkHDpT/Ei2GlE7jcZkwOTESASftfRXbLMmpTfGsGzECUUDLCAxDvvrwiDHmhM4gzAxeTrwEQ6y6gJkmJlF5rXcQf1RfxhsqJb06CdtAmxRXfLhZF7vrpQKxHImVqlmWdgsKLqlx/f4XujoZPoKEtfOqFukIvGbmkFkc6sALxb8BZRL3sHHv1W+SF59Hvop1QiMMEkqHMNpan3V5WZaViG3Sd4HmjxKXK8cVMuKO07yf7BpAI1d1JFFJUwXaqUeVNqRblI90ecAW5TuVL76lPQuktHd5BlJSAHNljZurZd714I1Q5GD3bJexzy84dnnK3cKMjL7Wut4lLDXgm8VNpSDoIk7WzewMyyEGZojfWi5wTun1xyNEpmN9GF8azlaobQhlFhYv/lz1f8bPtFtYaGpt8xnIuBH/n1ytp/Qa5OnfI/SLcr0oUImT7hMRFF8sZD5CTjcm1rSjazZyzO9punUA5S+i9Zs8SIXemgKLV9R0RfU3p+jJ22xq6IkxkRk/WcdO3EP2md6nhQhA6yHhq9mr47CV4RarErErimPahg608XaI8RNYdTn33PKekfZqMvEp8i0IPp/47W1vFJrSYBxY5apm2qxssPIJh49q0EGyxwhUH6Tk4VWlbo+8pbPekMHjceeM2M/b7sm+kZGkKSyO/h7qxHIPUmIE7naavRQL2jjeWuLV2yDRjYNS//LvvCCKT4rF1D3LYhNfLjr+unegkXjEt8B/C4WqUbsPjeOKm/dG38QfWYkSN9a5pXx17XWYwSeABpj+sbNXE99rLK24FR0a8T3q3S3f5u8HxBA4zP0ZUu2ivClzNhfOZfFQ+HVPDY0j8sAFtqv6vErIoSYtQw4bAw3YtLgtmWArv0vPonvZ/PwONq1p90kHqZxLZRgl1gshxHi7n53UorxEcAgjGZpYPXE97K1qiCwKbs5wApzXQJQVGeKZwJHbM0fg4bahBPWv+dxotf6oNH+7fLb+22wj2sM8QF+Z/DDw0RLderjsxsB4ZMTdvCdA+BSKWO/3vTe9nZJvcq/oFqFu0OgkLUvtqNpFy/N81vWDMGUvDtDKU5dUjdJ/GoSPBU/JtL3ilvNvBt9wCnjthInF12UUwvj0IPKiHK03mP0QHATq9je+HOWJhRohw4Oy3COb4kyRffKRaCM0747mTwrakzE4wyhm0oKdxtMBxrBD0VbOqm/s0GHr698YE/Gr2OqkeWBQM4Nr7fiYnKK67hM2nYQNvcMEMfIl9PSAM5ybEWArSSF6yrHnLm22niHm5o8+umxp5ZN9DoSKZfOlFuZ0AK0zv6djJw1TnTMXL8qhBjNn+qdxwSkhsWs8tof/qWJpDub11ARLdKV340J1/UAGG/OO5YZCpg2aU3ylFAFltqxwS8U061Q2+YScQ5e5V+ab1SFaEMI8qQoco+H0d8sokt0pRNQMTLLNCIgj19FfHkM9e6oFYDzJ2HOxXKF2g0bo8nL5bbzwZ0v2HjfmmX79Hsx+U7+RuVyBRqdh50mhBPjXg+3tvjl47Bu2sJbWkQvqKlzgMxM/HemFP9YKyczA9ejwZteeWy/2ULpIDihX/sx5QAGY/PKSV5xkC1AH+/mUaTPZwE/d5HsS0gF0Sc3ihn9CLSTwPXSb0DYcGFUgc3P+EcbQK9IJ3PRalq3N294Dp+0e8+SXBNCcmrzlDIwvz/S7fzq1JZSiSGdczCuhwf0W2sjrtabF+g/43rXideI8I4iu/J5AQjL+e9Ja9rfVP4WwNTCNsBsQ2JDmNHh8kbiVxSZvjETeVgZf7sdlTzgtm9H669HRufyve92R2qdXBBGEqGljC+xsOfJ/dM2dwXDW4fOyRuvtwpb2cvb5t6g2DK4rO5NilqvhmjexntQHY3a5GEvSathPha80NLZqwCHb7DPZoN9BaXHd+AobDYUwP95k3Kh9/BhVaQtknL1WB9PbSSfmcYJuuXhfroMQYGV5FndHijkceoHKKGTDdLZIsPQmlZ67BvKieA6DfGCddOlwbwAa0etANOpwuYzBtntJM49JUGyDBNEeMWGhWnylIsNlSCaFNRamxySKtICeF+eyjXhS3D9ygWL1Vja9y0jFgm5pfmzerC1fdEa/Q5L49SH4hKm2/Uep44iEYZ1cLZyAnYmvZxJoY2WUSMi5VRuIv2jgo7806a7J1X9sVNEQ0yHDqkrHP7vopEsTQE3KBaMN7aPToDpGvDZCG8iEZ2g3u7raQJq1kAczxyIdy77D5Zx5EdVTnRAKM68gdzkpojz7vZqtPUOpdMoZHzgukq51jtrppTz0OLbxJzCv9iYhissaLexs0IGsVmo5qhm3hzyH6TRCV1v/U4bS0nqWuJql24+2bjkx3VXDR+3ARf5mOtU6LAVUuEsdGjovv4duj1oGZpXD7CHXHQaxcppfn1850NMmRFCjazkfCQ5LjYRvaDM+uaehmCE1QNAbQNS1Ap+ep3lE6rNwddrMcBSSbFEcDVEKoKVd+7Xm1VU+jXBm77DUNplKB+FvtcpVPCzodX0qqg7aMbXyIFIN6ReR+xg7/5EHpyX0VLTX3fEdcMEk1/gBBxLzfQ8yepharbelUbrb2+2GgLxMY0fJ10Rj5vTqrkerkaPFxFKkAhfCdABtg25arY36Rff8pnyC6s6cWdr7IMF+quWHdHD1j6Gp3l23BrqfUKQtSrH7KvBv+gTIq2aTl6pbAysXGbIXWVPJmxINzE5N02ROvpR9f8VqSW7i7n4EjiGNdkAdfsDPJX77yduye3cDvrEg5lbGqNk8MgytyYssjmRUOwfEFYk4enwC9txLatcg9/jpPZqLXP0/aG7OIzBTxa2LHMCst13qO7hepA7ntYEuWc0XNFbGavZWzohERx5DIIOQuzL09Yq1UHVO5NU2Lq51enkDW70LtpUaGlzQcWIsVOrgstoT2XhkdlICMf6DuXBOMrXGM3Psvd4Zx45LNW66pFn3LaS/3LDYUOlDkyd8BqIkUU2a21sK965JTdfTAV/zP0d/LtpvbjFIDXAbM9lLAJ/3GwNf/XNNBojRO9z1DgEKihaeaCMMncfsUrs8GVWMWAq2ar605vX5NEz1/CTQblLMT7P7gC5YguYFoyiNOFOB2sRyJBxbANPKLGlhG8SCmmeu4Se5KZyywHFvEBFolzOPr6sw2bV8UJGNdiWpnDv42PnGXUEbmbNRURvgxNvfRWy0/qpbB9Pbk1iVfnx6VqdnjITw4R8OapL6lWDUwQJKjPGKTFoPNvdRcOqoYEiH7Yr1ruFHUHtRqX3jtGU84I17g4KJKQGr2Jo+EHaZNIUJ73OST7sxqRUvFf9sC/PZQGdgsTJrxgLrtzKjsPiIrRqnXQAFlXb5FbZ5iCo+3q7X3mcEnVqpwc0JrBhTeaygo0PTmS3+mYPP935HfGYxDPqaxpPwOwB//wqH9l3FhDn4Rp0LgAsU15xR46otYDNgxcctYPON666odogjjAUX7VyDOCA74PCGry+YzINLbFMnm+U6kaiHhpSkIZAV6bwT9X6DIVNet112o7hpJXC9Xx/7b6ys3neruQchGSLB6OOoGfoaeWJ+w1TSaa+vsukbCTlhWc1yZSsgIitLYOUlUpfMCwRs9/a8YEGN7EFuvtX/ND691gIXxiSJ5xbGgx8+XIakuw2LsJ3Dm9leQisNJ+T0r2hXBE4KgZ0llKNFEUVGxWgv8Yib6gPDttl/EiAD+vnfPK00ScQ/tGGljNXI+GV0LQKF1HBTFuLacJAGLOW4JdiQ3Z0u6wGY7XgMrd7YQHNcSbM8ldSGJMtWnELbmoRB3uSyBMUCg64P54BA3esMjbp6FFoS18HyS9WaDnafoJx51CElhsAe1HWS4Mc10IA60hrY+XyoB6YZC+PTibb+ouG3NCd8ofNlabdF9TrJdodAbuvS6ICcwly4BpwgHBDJc1U7Imd5Td09pQle39sir9ElP6bEKuP8QXdmOoQeCRX2QRhmPozopblBtjPDq434nZ3fgoN+MIryZOPJHu7RZoGy2EPRvEr2IsK3p6r3opk07n0pRCpZ2wZ7c3cohm8aLC8VXNg7lFa0yACBhJ+pS3MTdZ01LRR45EwgvKOh0b7YlybYGnedJwF7ripi0Hz9pnZpND4gCousLoh0sooY1dyn6Z3+cbwLmroz8fwmkpm4k465emxYAVh8GGhF/9NEJO/+7wfXbNYYYzSNNSRHAll9Kfkp0etMWs2R32Bv0QIPu7SU5P01pNEuebFMi3XVXDFS770MnMTqgaNNjHcq7h7hP4gGErzrxhWzQyAjCFQ47LeEtPmlPBsuMK40evuQaTk5BHswXrBT2QFZ3oFSRdFw0bVU3kR6mcsP511OmOPV3hUPmA4FZdVNllI8SlWI3yetoC0ijc5iV6TxiBXArpW3FsscV8SpcJFgoPV9B0tngp1SNYWBh2z1jQyNXrIoXiClsfa0J99dJzIr5ISca2Xds+K6UUzWghusUQdmYA+H7A3CsKOtO9qy1vMdtJ13R20lkyQJxxIGLhsl039mh3coyFC0Fs+xlXaaPh9ySSF5WXlAsQhxF+6RftRprrGbqgd2DH2FM05tQVo3J5kRDoner5lAzYGQ/ravhFnQLooMLbzUZaNy3Deiecu5Xfeat2J22VrNIr/AiB+rg0cngTojpnUqr7lZ7VrtOy1aTmTlYYxZB1hRay+ImvBTaIFqW4E/U3PID+ChR/7NI7SDUQmAp7e81wGF2CjgJG74iKITMUImv2YZxOVM1noISTvaC4L5MIRfxtGeHMBuDFx7IWn8ytVfT6BOZ1Cf7hXcGDAz0BuZOOwtoKs/h32+zhl4963inUfKi7W/dhL19yo+vaqeGU+z4ZTPldVtc9O4KCEV/EqOrp9C4mQgD8WQfftH2LBqxwC0CnuKZ/uv13jBza2IOqDk1CtU8cis5Y6ss+4D9evJo7iNVEV9YsT2uq0aGhR/ARJesjX0xSIUH/CONePNOIDgryueludGGe2Px0tlYRtESXxIG6wisFNn3w+/ApyxLGJE1bjVQ7GXi9iCYF0RB5hxakyghr6OzeIzLpSy/1WH/pSlSkP8tqBn6GBfQ4ybsnB9gbhiPVaAEEogRBe6rg4KXAsppteyORwB5hvWCfsgWb0B1rXcrB/yWyd5S+bhDosUeiRUkj5X8SZM5f7AUaWFjO0TKNoL1/DNEhhFKIjBsO8gPIwp9wIP8VHCtPn5kSN2bA8oTSLIxp9n2uzlrzZnowzWTrawEyDb/UPOoxqbh2GzZ782D1D3KVBs7kEsnB6J1f2cL0uhqj2T7aXgxjVS8pntsSdHaqszzCB/1Bd6R4m0K5XM/My7x9qdZoX52/eMFSEL4CvKQRemcHG6IX5bKUhUpfikTpSaei2AwINRgtsi8ExD26vmNE3UyGIyf0a5/5Ixj+VgbH7J8GaLMyxPg09FoX04JPPS+mmf8AuWkg7a7mECNSOFV8ez2k3vaOTgszhFN9GAwYfFU4QLMsZVZ7/Bksfdtg2Ur4YNYqg7KjlFDR6xk/nc1o+5EvQ5Ur+82aoD4odOIxZ3WMc6XV9d8nNHT/24OO4hJeLrYZmbAVYFu0keq8lB5XKV0vlicAhLSU+46lQqwYH7evSfTauhMgM1dP4FHMRbfBlh33oKcz7L2O8Esi/8Qb2hk52sw81oAo0+xt63TfVTc5cIh5RslKlYO8WE+OcXsbj7U9jds0qwSeBayvoW2iDMq6ldE+uDI/IPRbpXU3yHWjbYT/qqo1rJbJpS/J3ig155Y7Djg/vrJE77GPu/CYQkUHZ/wyiJO0z159fM3agz61rFH2szAizAdaki58baJrkMdmspF/9bC6xj8iVh+yLV3es2vbpmR7mt+SsmFoWI2lsQtIyHEAL/oahYajlMQkksZ4ZqpmHwaZqc2Pm7YuGqU/+UEKJ0jy1UGl8ijpiLqaTeDj8UJc4Bc7UsIvSBJ+5vQHZYc5TVpbllojcvplvxWXZfAqHnDlel1y+xOw/GoMKxi5Xgaz4NvKl5ncfctPk7O5/121QJTNcAZu6NcqfUmd+sPCoLXGbRiRCUPZYFmAvNPxm9ivSE9fX/nQFhM+FaPklYqaFOlTQE+tlEJMuqxy65LWvujUnjQ1skL9+sZ2iuZxD6vKc4lfLyNa9LAodehkEHhR27rwNcTfKnTIizcD5mG+CNeGKp/3GiUoSL9RuMiZKRitYdch8qE9k7Nqml0DMOmuTWSk/TkUjz3zJaseFotHYT8D3p/vpA7q6ro/kBFX8nI8rIBn4gAng3r5cyhSwBeptoLPGTfMBc4jeKNLPuGwcNtAFmOrBtB1u+wmYZA1ZPMn+UFPUTI0iSLytObBMfSP+JUwvdbMUVCv+CBePUn8+/BIR4AknqewGLtpD5Zne6KEwHH+x0Grix1ApEkvlGc3DN0cYmG0+U0ZLHa6UBsHUa6gSl/x01a4dkefTPeeyd6Cr7vZ2eeHAxdvfxYbbvhQ0mTbEtB9zRPpcJs0KpdK8nOguGp7FVBPRTtDVqQwqx92fqLqVAVmgPGYvIdGGvvoM7iaHAoijWfOQSPH/CDAA+1Xew1JjfSKy/yT8f7dnRxRSowaeFgWXqStjfLFp7+Dr6cZ7q2HLnr8izZYmxDvaXdTBXlD0GY1Bg5dGvwkP2+neZGwLXDyIypFwlHZfWoqgi+jxuQ3yrtrpgrJ/qHSQG/7i6pdBwT0pCXrCUBIXf1QNaixl5fup/iE2O8bXRzlPYAlFDGZyb5aN2Ip04CzIUpyU7y/GZNrqRSeVh0NzLow3skQPZurUUYhsiqZdMTd+CouSbFZahPzFlqCMrYnPIiu3CkUc7JRiLhmT4ozEcqDFGLQbNadAHWuAh9HmjdV6XJFVQaUyw/SzAEqo9WCgqc0mYYxscWN9owG+0EusGnjEbEdLl1dOVacQWLpZEMxoJOQvhuB/eIHqPJv6fruvB5y7KUh2+g1RyDRrh0HM1QLyXkJXnSWeC3uK+DnabY0b0arHwI0jDbAeRmOiKOstNntYv1hXwb4G9/nCl+hPwDWuBqxWVrllpSvUMUlfB6JyKIMVdF6UbR1qj5fYt5/gBd5aYQ+NoWUsQXkjkSzW13kqRxcMC5aBeZqX6RGddmugkhJn01CNL5x9WPn3GxjEmoEzUwjDqHMERSrqGgrpgAbH5Zqdis1WQBJk6zWfRRNE48am6wxyPmkfE5rXQKDcywC4jOkGU7RRclexI4KZpKqie3uoYNQhYayyVAh7YN9fGEau7a2ozykjNzJTkqTFCzYeWUpXr8fa1mS3ZWsC3AW2VvVRc9DZD7qJ5Xxs2o+LTR6WNZ3qzr/li/Zaw4SppoQNfvuc/M9j5mHs76S7xsglZSh4iHQJaf8HSb77P+2Ur7S1odeAsv27xYmaIqIW6gzOF3uKYGfuekUnhxbbxlD81birLWrczgKL1i8Mt05du1l/1G1mzeDUlz/418YgVb0EDKWQuFGr9fh9di5jCGACRIkNgaAb1HU0n200jbNveG/1esUsPAfNIsrr3xaVqRPH//TJaWHTDjgThy6afXSfYrQPuA3pP/KPWniYVszSQjIGaSRLKvyOQiMETca31rItQkhRGUhUD7xRPv1DSseKWW/JSdulzGV4jtyyoxcXwBT4SpBMBKurQR+bi5LFUkXhAgV4wH81VatXlieh6o1Y344BXqMQmv0mgs5h+Q4vzEBNr+MwY0aYAat4fiEHis62Xcx+4W/06Cy8ycwIni/h60QSHUivXpNikWBfFJ8/0fiZRh4T/pJtGCshOTDkIu2DAadEuzgiZY8gRCdmDSqaasbvkv3m2gB2m5ccbs35lkt3AHR/slXW4MtZ0jZWAO9kRl0LORGry0DJfGcaFkUokulYkkbmyykO6hcGzE1GnAcih1j2xla1nw0NSjVPALTNjMrmuUbz76Jtfm314k6jzW4/o7pTTXP+W7QD2whZCgER40egGwywJQWCyjNTisFRrsXzS/8M4jvy5iGTLCRwCOeuhVI0c5jTdSsFRf7vZECt1SQUiSlM8mpyriwvT8R5EgSBAVCwLwoXTmKKWV7mD85No3mjso6EPfZWkF9r4of3OWkP5741+O3FwVzhsFYvqztUlznw8g9ayg/BXyINVPa7aFbyAtoPllOTYP9Nf8IaOFTyjB4osnfcu/fZ3ta2GLmJuqjxGUPV04uIFoW1QezChgnwDwHMMEcnO9ebI6RgGAV8rL74FlWi3BimkibzmX0nhBlV8yl6xfG79/Bv1pLSJBONy1+PS5dYzvrp/z84vPLdZ4IG+37bi8XfT+yCbEeMjMxAccCwGcOvSnmYUaX9Oov6ESbwtgGeY0UbK8+bJ6UrfyMBifImoJ3sfYnH/yj+c2LDmg0roIa58y75TlNUVCzqlPSs10WIk2+7LjYHhMkEAM3jJkpPH0H3/2aEPf9ptA/e4QHua7LLwSzFYLe0rKjhijbXmHW4EBksi6RtenhToA2aPwBZIv463CjhHtP4LKeyFuTOzUJUQtgIqux/BqHHRPPgJSTc9ohy3mNpfublmJzsZijtlvnt8A1kPbtWAGkag62mvN30cY2ApTupNUR6dnEClNZ957kAVu1Ky8+IvPL74ldlJV474EpgemFRh/FGrtj22SQa9WWu0jLzwy2n4mIHppX7bX1XuKGFFH6QUulxXZo0iqKH0UfutDP0WL0P2ei5RwvhJ19XLd0r2bFsjxJaQ/b7oDYj5fm4BWVRzBjoORBasUFevCcbceiYLNt1tjqlRqnkwZjGSw1ePpGg9BK/ghdVRLd8jApOmNf1RSz74axuI74SuChc0nTBg5lSrSVNH6PCE8rJUZjDo9biMJWFo+SzeZWM1dDuDxo5dgXaM4ljinEzi0Cwf+9pPo4wYAOOduwlTD9S8zp35N+w9Pr5Aqn1kEMFNf9cqfynEApVhZ8y6KiUTkO43v5ZxBfqKWdRb2qQv+ETY26ZOg6oM0e7iiNRU8s+I/J7ip3uBS8DPH2M0Gsm3PE8qA6C3EvyLP0+VyoUqYf3lH9wRRjHVfoSsMbfO+udTlAZhsZdB61sWVTXqIWHCv9xET5/Bb2DdgX7sCeBm3Ua4FTnePXXZDWwn+ViKzlIbctkj6IQkFrUIQtPUML0cYDiBa+T3aOTEUpkm4BlhzBKAUYrP1rhhmhV3zfhcT0iXKRRXynOtqHoYohAUGCppSaH2AtbqVUHrto2m4gzHEFgqZTnIf0LHJFNUnapQA74c5KmQEZlnejadZ4tT5G1YSM3km9H42mJn+iYZ5LMHZiLLmrXw9Jk6wKxn0X1uYwoCIMXVRMcZxcuM9p4V8nujhrUBQEMy/Z7o6kIf9tNLWuVVRZ91Vvb9+YPNyF8oA3512taxQBtdFC/aPVcJV/4JBmuc3gP+ljBms4LVCTUWbFyoco03PFTKNlPI8lwybng/yFBaSJLGpUjj8oWUDRz0prlurzqVJYXBhe5c5GV6vVlvwxmAjNSVP2GVhJ0LdrVGOhOwKOHTh+KBDiXueUpc+E8oN7WOHqeXccOvIDWq7zFYY8J3NMc0aYONH1Xdvfou9nAzMqBi99uiYf00ijfPd61E93AbmOtz2/80t4Y7AD9tuJ80m0tY5n48k/8/0orCn1kwsDw1cenz5SPdHKmvdeESV6OYcHiu3VxHNbWthH1n7dvmxjEfR0pMDUecC1eSEMd5n4tZ1XOJGM2VX5NCiB/VMELmr6cvyTk5O0+QEKthiKtcFK6wdqzG+fWxQSfrgR2HKuYuF29muM9BT5+VSwHJtDoVkxecWWiNPU2btumb4WjJ/S+0K0yL1rCF6WgS9gwkfy+fkamR2ES1kgTsXDcmJL4eYSpT3XlrFWeiQQtZCwk+ejRjoFYuIx5Y8GX9hh4u69Ua+WnDIXot14HUQVkX0umrp4vkecesTU23mPULzZCkldVOtJ5kEiyCRcdRZqVgjLf2JFIH5JvvCm4ZNIneFVSr2DIbdWI1wxC6erTjOM2bqslkUhLLCqpissnTj/yHjXYU6fSgRtMA0fmi+al5u+EnmkI6mrSC18LH1L9ph7SsruwcFW4AsQmT2II6JHlSqy8OAPytfCWEes2mzB13cRCFBhH3ZB9UNyA479sBKcjDVWJb2x1XjWDoJKu4fk771iYrtnmI32hjc/xTnIdTM1Z7Cl+XT3wAC9pxis0x17WHOVYD8GudF19p0Rr7wrXuXjM1I1WQoN0DjVpMDrXFr2SpJ1FmQ8IMLVlMzcAsBSLvPfrGReQcN79P+xSm7y9VZ3LictzixdfeMJINMhvAgoprFWLGXWF3+LHU1JrZ5K6WHmuHU4PPdjp1x6Fo98lBbmCtHSI30hvkDAMCvMWF7BNKtWGescKZxBiITM6OPN6UZsvc5n9/dWwsabiE3+aJJW0f2KBUpRp7kEmwIvvzXrGfezUSOO6zMTh1Q/iHOEB/5h/Ppn23uAyaYTMcNKOgEVFaMYF0X7MIpkShtxbViCXfKLy4DF+b/ws56NKvfr2HD7ty/VWVVPhdSCNa6qsqW679cGTkULNWmV950Uhv6zXq9sZ33Od19Y9R+AcKhY0/dnjkK0Oyf11oSvf2FiUL931aaX3paOv/fzwj8hUnPdwCZFiFRG66urEaqGMSqOmEHpAiuqJyd8VR6hxGEON/+Ysw+hiEu1ZIgbpuE7K+tlP+TncKIxS3v/iDkUb4Ryub/TWnJ6jOy8F/f6CDdlA9diO6rS1AJw4EfnmDcxeWyH/gFgBRgknK3oZ1ZBqMH69swNJbTlII0Zu7cwOGJywcxpRUVjRxVAueqLyPw5fU7AZFOqYTKRhfMnErRemQVBWX0tV1tfndnum15oHhd/QJREe7pdlANkII89s0AjOpjt3nGs9anwugaVckuu3bPGiE/whR9vOYFCQ/TaudI7JkGoxwD07DJNsfdDUXcl89gcdi1lO32HyrMYIigoYSUar4JqxNfvljJKeq/4VY7KWTaDKr6N8KVMrzadZ3HCGHijgBOKluaAdotS7+xiMdFkf10gDWLjB1wttl8QO+WIG9S8RfmOQ4c4MpKeKqieRQulHYbRasi8c3F8j8mMVJVA+G5VzdNmy7CB7k4ceuZPwZ9L2dwH2DkQK9svUkcA9PqJGBUxeLee6Ct+REdDWbErZj1ldu9ioZ7y4nGzn/uo91j2pmsarrnZjhn0Nd6c1GjMhm8Vm1awQ5KULkfBDbk7YMmmfmQseM0ClIzxWDHazVLeB46rP7Ht8YeA5ika6mMEWqxSzLHSzW4gaNlyY0iwu3ZbUDRoYhoHxXcLAq51BxB/+/NmkiXasKujTgIdbjHpWfwcchsk1N5FhYD/R189PQ29CcvnMb8XvCipu3W5jQPK4aWaXZtQywan/lq8CI7ejJHdSjDCKZP8NkMazeVGmKkN7yTlr2IfSDjETNDraxKy7GFVnvVd6gSZPOYk8UUeUC+Q+UIBBVkXvRrMPlPv8PIHGtN9EMKoFj3CAv4Iuw3KxJ/YzN9iwW2WRxhVz7eV4uQ03olTWQKX6F7cOcTAgwEReDFJXQAZv42/lQbWawtzqtcA9y0Phr+kpOHSSywA//pkOgQxUy8tRejC/TH8xVx7kzcK+JTnwDI2z+gET+QFnH0rTpwN9WCmu2TSEb6/PxbZiSL0om6mKD/yVPBLUf8RFKW2gEB5VtQFRTS8Y7PQxUO3Hn1JznebcRKrUzfEgk22fxZFIecfIoR24uNYLbY9oOhJv7Q2ftoQouAzXawPBg91I4WjqmpfhQeMimzjPxcIvLd+0Mo/klJJUAG4Y85XwagK+nO+/G444FF+n8EsnrtiF2LCQJSRRjqf3Puki93kaDpgilcvO/HFINUjcCQFpQQA7uxWJNmi23ziEnNmd0uuB9DS+Oh2G2TDtrCZ5PGzqOMro4aPfIQajg4PqQ1AReAtNoQuyT9E9hWoOFNB/atV1BilkOUV5M3vjOK/mdqj97ajYAsGV35Hc0Mt/sFSSJMBkc3RhMYfbe6inIaZBnLGXZzjqBu5jiy5k1MmQTlYQqBblpl3aDKlDKRv9qAzuUQ3FAQe20aPrTLu0Y+7w+KbY6mCzCIo0H9IJ56deEhuVxmJCGA0ajSmgB65APYBc9f3yk4PYwtsYxRtj6VFJwP3D+y6RAeIMlNIhWAscWKDobMJIG5CKzanXDp/Rsn0rojKxwUvB43EVoSrUteqb0EU3b+CAZxnrWqSTcmPnSwMkE/X0fdk5wqz8stEOxEcW/8FCfI3igMQNtkaY7B4ieS4dw++dMCj5Nanhat3/hJgT4I5SuuENZzeS2QQjXWCzUgeSQANYkq1bJX7gx2QuDqSBM3O2fM1v0GyZd2lL05igYDICdfHvMVrjiw5PEvtfdqdX5YMb9GZMU2s4ZH6ruQFL+dLarq5N/umVTTLVVye+BblivfOBo0QeqsuGA2I7MMU+b17wMQ5mBixEHB8wOJUwek5pEDBWL1pPmgojLOM02V5RUr5pN5Ptdf7wckQ0u40xQhKmneecsoMlEUYvQnN2LTTt5ev6bNnzfn/lkE7LU75WpqX7ooT+ptMApLI7JvB6w/k/qb/k8cG/VXvcywt3U06HsRzTMrZ6DLgSeXHI9R2MY3dZrTbj13Oc9OfPhwswDabnXR2aJSRNY7N9Q14XJ7O97882tQgWJYqywTi8BlbOXlYJMR60NU1zTGkPqTLBtqLvvDOZCAAcrdC+MvHz/HWLbr7JCM7t6dPhFXEeozV9VgJyk3db3275VaHySN3+HOMp8fq9BrHHZg8TIBS2epynEASiRl2I7crzDuWyktiTrOxIiEMtzJ0LWY3LaY3UZWhK+PgobH8gMoYtbfi6fg/NN/V5jiJa6mHjzGZCP8EeXHpe8hTrja1s+xliCeEjdqTRkYzqRwArzvsGVBn8S23A4y+YLFIMjPHTUMqkYK9GK24vtcG6Fe7Y9QgoG7C02hvY7B7kcqAbuPAXeS2dwwlma4KbNf6OFIVg/oxYBDiuZtfw5+zFnWeL9aRNniHpxWWGjLU/XJtbd+Q+gfBj3fRk+n8aysyQ5xy9lLFoF2dcZgE8UlDRfl1CaNtcxv/Y23Nu8Ve3EQhmyFMecCzsg83bkOniSmKCBgIB/rI4RvpR54IlCEvwnLkdloVaZujQntH4wPxWS95BZN03dMpJp0Ao5//Gw85f16xZLKNVEJxzEDyvSqFh0iNFDq/RRu82A+yHKyr0W+GDAwiSjPl8LHKzc5Wu4tpvYTRk5x4b8oRcSyAC7rHe4HhVDwiUVWxcoLb9Bz1fdFWNG80eYzXN27xU5X10nn1/O/fgJWdgpkEEK1p6wK/ZmXUq++KMeDIvlxPeFO+EKcKRVqpTURYiPH7LlC7fsZcAvXZmiW6H5HTY2Hn5R51kYKG+WcMtBeBQC6hV9vl0M/sclbnsycE7yS90Rtv06NEts1TYJODXqFJ1qkNu7runPTwivujcun4GZhIrYV/LYtlX7+gyhgYz/aiYdRw6WS1CpeX1LzPZDO7idEqeOXIdGmWnveGGkA77NkVTa4hrb+9dWqeTD2b2fNvzbXidbYm0uwEkiDZCkRvwzxTmQ9IKZ7Qfs09k0Vta/JDgubhc/uAHefkx5rXiVKKsGFX7EFCnOAjUtowWrEnc9DI/zBwwSbYSvSGQh201Ai3eJzJeS+o4Uvp7X5fDHtaGMX9/U8STtwZFupsu5SvwsjPR4DzQ41jXtHJPVvx9mIxjsEUBdZM4+xmEJ4B9bC7D4KQaABt/N2knArsbyl0+EB1mA4+29vCNUPXNQyMp3kEG9kG+HbU7uBCJFk33hOhO06HAynfM9z3R8008zQ8bjVtS96UZQBt3LKFQW9xdW4DsJlak9mCjM93Oo92/K888Kp9Zby4aqCrk+n87beK8DEen35jtf4198ZOH14pB9npwMTgboorPhzcmldG/E3qR2TZGRtnjBtNxxtsxcHYfy32bK1xqZRVX3VPVRNQ/8z+PNDxReoTlPVkj79lLsuuyOG2ZNS47d3nr1JJuqku5NT8GL9iy+lEaA57gpdRnV9dgBcW+LoXtF/hS6XBOfO9p+PgP5fFXyojWC86y7wTTV2oxmq9nTzXvztLUwFISUI9snyLDxZ13OulNJumnkmXIV3YXmXiGH5J4W7aWeK5poNbJdVPErMmwzABRcjQJ7+MqzmRxAcrBRczgcD4P4Ul9ULe/EKtA8WoxQy3TbhUDVSKzAzlo7bDxUXKPZz+q6Hiyx9Kx7/7VZEX/TN6XSLveNjMH6324RTAHN5xgyB/wvAspJACUJIGU0z+ObDUUsc5mD98Fx+mfkuRsAUKBh6ayatTUmUozwRySzluRyEU+eVEmwzf7TG6DMILLRZ8dPXewzhz3vKl7mSsXbJISUu/3+4UnC/umWhV7B1gf5KoUWw5TgIpPAOYCQ6EVQuGfL/orzN81rBt12EaBVjjVR0xcN5KUZ+fqecNBUZMRx3hLQNt4cDYMiVsZL4hKvIH/RRLNXui1Qw9dZVCE3Fve1XY5Bw3EwGxEFeu66M0igvgpcYWcD+5gk+t6qEdAUKwQN8RBSOEDQ7Zl/Fijj5ICZmUk44giP2ZccU0yCMy999n6V9kFZitbRarO/AQwh8IBdLAFxIbjlxXxcNKkHg7c+EthiA4gL9PAAi4fNHC85mVXhU0BSGDBXhy0ncE4eLO0+0qI6MqSim8QyUXnpAH76WfyapCUb/4q0JPPlk5AryfNhU3eV5QNunC1kP88KQpKk1QcaYNd/8eBYKZ1QCQFAfWGml7TQoYhnnCl29ej/YXkjbDmP6BvmZslUuBcbB42ZjpG8pZAbSnmsO26AQZN4hyV0xF9yjPFC4ZUccFw5qwlWn6AKPtZBBg0P9LUSvmPJ0qz7dT3KPmn2oE6TIi3iQd6eVHObfCQ+7I5+m4GBoy0qlVgpVKdvwmD40LzI/nToAMNkb4pVHq/xNcdfnFDWyeaLYX7B5+CEfON2V551XJhC/XKz/YPyTTrx1xQx4zbnS7YcumQfY6CVPOt3kt/xye3O0ITWg4OriD2RvayXyuDl6r5qx187wwKWdyHimm7vxXheocmW/svUNzXAfvJuL1EpW5JqoGqX2LwWJfpXNvgDzmwsfzuXyqfaLpoF1KfrKMWtgsFB1AEpsk+V+Z5zZC2x0Bi7dT0Rvc9yX+H/ZbVbKo4hl27FrTsFH0MGBD2HqlBer5PVFeWVf1u+P9672GBY5yzn3gxE57elUvhc7ucEI5nyPY38iv/SdpCE2fnwZ2NlWV8/ZyPr/8DzWvw7CiyiyvEkGCQBdIxop3v3htd/DFfnI3HvU2wzB/CYVijzVZXkn5A2u7MGev8z3iqd3VXuapg5hl4bil9lPzNkC4KybfEv06MDxmCBpbduEdQuhKb8nBlbKyC2/WDg3RU8xrETpPs7E2Nb9Md9J7yx6troY/3PQENbdmJg0yILIs+DKQRnQ6NPCo80BD7+TaZBt6QjUz9m/0UlW+iqzrH6Aeu7lxvNq23DwLPA+MiLehz7uxSQIfsvePYEOw0yKnRs3RQL+bZfuuv3ljH3+SfV3mbFnu+M50/EUPzgCeK0n75chxEdHpxRYiKziCWBkm0nFWBQxX+3fsAXAAklZ0pfMb7iO/dVlrIpc7PB57HFtdwouu6zywdTAVeoxyzEsPJ/mqCKITEQzua6nnD8/Tg8idbnsrpOU3N5OqUISadNlR5wSM294KnoGpdGNGalsGoaSi+C1MwCpvEUVpZZRgKIu5XElqv9RHsI9VChFj5jIaHFHI0mJDGlWQIZGARj6MoTglJtdTALTf2AC7jgtbhKf32YgwgrqzsetVLKdDT8SwOasezxz1eabmkniUyMP0bK5uvXQxxKbz6xwylIV9KYdNCGElzZnvlJOgqATIfjOSAS4EFaTWFpPfmd7r8JG9U3NHE3cK+kQMIddxX/ighhCjHbgRGUGPVZixRXnIrJ+WspoKxXqJ7U1c5nPxzBO0NIrRn3bYZ7MKhuFBHMilWctHFMTyHvO5ZmtVdA4QB8WGcL2ty50mD3xaR/t1OaTdAuqjye17J79bB4kaIhO55Z4EUqtcd8DAiibRv9MQZXCLi241NfHpGKuUUHEld7MsMIYp8epqfod9xy2CIsNc/yscCJpPl5eaXkUIJHDtOSB3dDjcHxh7ltIETIUn8vNCjdBTMk91lXfC+kmVqtTZOB+ExXTrqvndnVNWYGl5vJELNSPIsXdnw0aPcZdbSHHJL/M2njqv3oLGocEY/B84OAOl704ytwVN+m9JwQD1dq0VzULI4QePIPgdx4EXyWLj0OHRVklI9jjK2h7L+5sUB6XkiqLrEGjm9ydcnhdkR8YaDZv7/KTl7zuucSG8csypbBk7MWiqP/J/UOvNL8ekPh/ljfMsb95+Avog9bpPviItKMfkSKB6WXARtp+8extt8Erw6wMB513HXthXGVnOluEFlNLsLik5sOEDeg0qzm3wTz0E5hEk878O3QyjXnGtcjDWRf421+z5OvTEY/Gih+RKI5iy/LPDWIOgGuOzJhO8aWXMXiGpJjoPpMR0DfrA1F1IRKOHTBrTVpshqWOu3Vn5+8bkaDNv3NYGEiS62Fm4OZz9adv+U6/zf1EVL+eUi7xLxe5C6sCq802LBZCXSv5sMDnMqAFERplbFCHdLcTTYmgO4pcWo8klfKMfUS3i2ARqF8/MOop1VZC9sMICQvJYyC/7C6daLqztSJbxiKa1FeEKc35tnqVL//k0pvjsvF2wDMbGWLTK1cbrH5ydqjwTifPX+1IcYozsz4lb/dpmlMfRKu2YMtIxJSTiIMUy1M0nROhN/B0AFLwzpLLBZkDL4Bu/zQZ91S4NvTTMSU2sGXgNGeq/fL6YudcLBmOxKt5axCvf1zLZFuiRFqb6wHXq8PGCPesNSGZVIoMN2oc/eR4cU7Azo/o0XCdQ4loDVTJAVPkWTCZgX4LQ6ZK1ViySzzRzh3XadtMwPTTH9o7/eIBZo1w5COYhHRm9kjcKCkbzAYbc1q6vmQBxBluwFKI2Iof8yKseAzZ9Ysj6tjtKMhfhRfuhbE0ytAg425NJRAtPDBoLQtsQ3IKPYAeLYcg+ASQnecHJAi9EY4RDYQXkjkaP4Dql52qxXMMMuvFId2o0Xf4N+HOEkkdhwhUVVOCizA+QSGhuXN+/JY57TcpjeJIJhlD+oNlCjySkbWmn3xG5G4CGjGxKideqYKvC6W7uAeDJEtO1/AHqzT78HP+4zvCmb6Kj9TnKfGtPKT36ifJfCWAmoLclfUQVS29P9F1REUNVhKCqg30KfVktvPeMIDqfaX82CGiZN42xmATc51ZGjTvSnzlPGt0+MoUkNIiti/9/GXDbL7W6h0QdqjUpIlUBEm6jYZSbPZNb8mKtD8oazoRq/erEh0CIYpvwI/JVnfo7yZF8EfOnkak4Ph8sN7t223XAtFjyJXY/U2zVT7SDjig2ZILJN0hZU0ced98u/pdDLJcZUz1A6/g7oxAtfFPsL6lwon7SB4yFut2wcN9eVwY7U8pKcTTIpsIe7cX4x7HbMI1SJznnOpxjneVRw9l07bGi6hpAVm4jbnX79khrxZtni6H0Ky38lOXFU+ceIGov72jN6huBGbsrPs+FjVwwLLtmJ0hoRK8P074YswNjIOqdQswM5SFZB8DUn8OQHctqmI/B1YNM7XwUj5JU46TRFSICWeIXQvLh+B7bSHySvDB/ryv8zZZNQGxW3r5SKFHwQpJSA5p5SzRNUwW3T7WOvfqwJ7iKHKxXju1NUBT8AhL8p/Uplr1FEgeVb6MUV3Cv+vYn8ssn/fFkzaAaEdjOq6b3LEMtDugdsvgGewNWOvek3hfssf6HKPbnTw7ChU/sikUAdJckGn7a8zCoogaVQucA0uijoukO78WZbYhj3hGRcct8lNo8a8o0FleqtAOO4VNn2AZaa8KASEWgX2nRYhNEoVoRfs35GkbgX8mwu53RNazxI8huc7ZvRlkyPGkSp2ZrFotdt17dE+2BHKzo+CZOFIwTU0E4X9S00Pq1BYEIgqh0DY8v7wR5zkFpbq+CWyim8NB0a8EfIIQO96y38d+tu6JgV4YLB4FUvdAxTM3VIKXUg1wq768qMXigGiueHgqodEl/p19FWM/8x0wFPJ5DG4AH/iCWcCdUW7Lz4tv8j103WwN9Wy5wosdjN5OPiUh+uQd6mr2SBYCtQ4gymjUnEKSBZVM35APBs5Q9Fjs9vXiHYderQUyiHQnUtUGdNOF8CfogkOz2QYTEnFpKY80Aj6hYto71zjeht0Yv2Fb70yP6De/xYw02i5/oAzuvTf1DYIHqjbOVicW6GTCN4i2FJe07sFbgtBqxCqNXuiqnnF8Wkx0GwMHnw/CcTrHAr5MKO9kB7A1ha6+a0QPQjog6FwB/iNAX2qvW6RgqpG+nB60DV229qcWQVTbFQhs3XamTRXSBay+hf+nz5HTzqqEEDwAkZTRC+LBz1R0cB/QwKZLsxq28tjxWRsrq28UjpJ7NdjsfYqDeKFgaIZ3vRbUbkikp/i7z0RqXjSmEk7ri9hm7TtWsNaiBFGvyZ7LL1+xdHPXpfFZpLPoWijI7A2DfSqVWlsWT7VR3KSYr1oSCzFRjd7L24qQ2RSMfuzPwq2qzbToWf0/p8HoDgNVQHDFaFXSh6hc4GZW728GaUTwQ3QumoMHFMJU7qFXbj3bQmVU9ufhCUPrsTVj8lEy9GOwh9z7tUOHM7EZg3OMwrWmSbsN8Zkbpzhh7Me5dBdmTVGHT+c2ew/7mfD27aBoujCLyMkYXxMeSKAxpu7glCZhZ2y59ixZ/B3nzo+IJytDU3lyvRtaUhXxJm7zdDbK4JALB8O4nGsUpfcQ1CM6uPSwN34GFZlqMB8RC9jGxPuDuDdmcrvNF2txDHyhrL+7L91vATY8F7RPWKelGDALI29tWd43rLXUpJyHv5jWNIVED79tJVE68TKEo7DzQORi22tssK99pkZ3ydPTJ2QIo3QNonqeWnsp5qRtwmJof8JdgneqjEV+iFQ/kh+BfcJA9xu8kMQ/zofGF6X9kmbA1d7c2CUXe8vheeRms9JdXpgpQanLk9+SKv0XAUW655KO++y2XjhWLlPgIh6P9V3jRKxjrSl1xrtDvGdBwx8w/z+GfpUUmDeLpBcaA8HNRABpX3DJcdfLbUA1umKHXhLShf79m8LP1k4tcoa/SoFeQw75w+PERBEN46c/feYCd2ThYZTD2IaNOskpDbSIHHNh1Qs7c3HslNGjZU1PF9T369mQAKeyTVqlpTSrZVAjgNmcc3FkLcffA9wkFItmUwIIbViQBDFh0zID9IB/wxzv4iAJIAWAfBHB2x0CP043pGWNvV8q18jMYdVoEFc70zlP3priEbVY8+4sz5GhhGEPlWnGRRr1bdvD/OD0RVbvYMxR/YQEOpYnZmQ1S/Pjmyp8dGKf80f8Rmw1i1d068K1CmIhAsC8maYjxZcAkjTBbpPrSHmdaEkgXhbKxY0wvu4jrkw8ZBKs/rDXKC3t0sm0ufzt5EGxAUutn2SzxFils87CR9Hv7JvZevBlilXTRek7XfRS/dZg3K+WylAhpGT/9po5fWpp7FeGr9BAmStCOt1nO/v41zhY4xUoFCkt2BAb//hH1ouwfL1YAxoTiZeakBg82yAVXu0IlXEvkeXyybiNpLriu2JO5RsEp35Dy0nvMHqUFF0MKErE09CrMHCsEYIRVwuR+pRBZEgQxcFTfAsmpDrDIktQvLCgeEbW/xCxaJEqMLzTRBqYv07JXjsFJuj6Q1pbRWgkr1kCKXhV4tWPFvPqeCOWmwO/uteBVa1tZhVyNB2gB5om7Pidppcgr7k4tzor2AUQSRV+b/xaXNBstNvzYyE5yVttf+0NzUAj262p0w8toLT+EVRVw1i32xK4Zjom9Z87SOrbMrCSCcDP1za/3iBysy39umxq4TpzTpMUiaU/PMhp/yS17AIt9xnNCwxt/LSLqFNPYU5YQNiIulz5LopMu+wsjdtq6NzIe8yFWi5JSJJ3Demg342HZucYuRBZRhp2GPs5kt5RHoSJs3yef0ZU5FSTLS2Fx09aUwFqSYjT8R904DFZut+3ac2K+qPK9rr9OVdmJhsEVSQn3iHrco0Ssya1yU2zpStZJ9BzLDVWF5QSl5sbX+GzOiXghKw8rwZT8eX35946d1s/1hjUxdDlr71rq4DKnFVoRPCOBbTD8EFOG9NKLu1d1XLX/oCaN7ZCIhA0o/vYcVm9Njtz9VxH/rKoLs0+7HYarPek/LjXkuTRSxWJt26FqLGVeiaOkqtc3TsDmrGkgP/8uCSj9O1Giib3vP8Jv6BSsOM+5uxOH4xEt6dk9RJt/yqtwzIxXBp7EbZpraquYtKGvGsJngswcbu76oAL+N5kiX9AC2Yvks6A74BfoB5gkxpcJn+8JChmXNrL+vGbqjE19kaqmFs7rZTpbAvwWbinx30XlkL6YhfkUuGaXz24uU9w8WnGkVkjIEZBNeaWaQaW4YK7kKoBFLVdOBshLQjGzaFtWs7WDc7upjXHQXfClyGkitSztx5bXpi1V93f/NFn8JVDdK+5feRGJDYnwSsgz/YkKDvnVNsxfIXmmzNcMY17EUWs+1cIo6yeHJKxCZLoA4ARrzr+lpcVsaS4Oc6Ctv6VDj+hKhfIk6S8TN+2PuPEJ5NswCuYA1UfPwowXsnmc8xkUZOkGelDBqhLlZvonvR6wUNC3GZVNoF8Wge/r06XJG3UisNYR/JakpLhWL8JvFeuE32zK/SyDPfpQb1InYCgch6+aBkHdPHPuUXD395XC50I/rh/WiWWDwoqbTw5c4X5FV8BHmUs5WrIRz5n50vECaoyqs8QIM3T6vjcCNSvdIgq6Xn7gbPQM0/AELOXUvH+Z1QNhFqJNmV4p+cS1BgvlvfAQ70x9lgU2Ihze79Hi2VOejjIECEG/wgEGS2FK6xH0rxVtPXno0QPccV5b1dyjXAWqFRws/YNZSbkEpUhIPjq7oG79+RcRZynqJIOf/pta4iVJhLzpCn+At5QbI3Eopyisg0FcP5MS0RXbZSmQSgcnB/NEs6/6Tzwdy+YN9xvPJn6ObW4+2EhQlcL0Lpx8CMYsmVKQUAL/GCZwm7rSLwauuk1p1OrnX0NF3CN3+as55v3HWfEEKt46sUds5MqObQ0LE7yFHIOI20yZMJLiMKCbcHRx4fJ7A984R+qa99jlltermc1KnTFXrn2gI/6llLFz4cKLW8xWeofL7eaelMN5TDIGKQoJoEE4RoPqPiVRP1daGY86kumoXFNcfHKE8tWzg9RiNtft7xrgDI5ktoQVuK7nhDNeZmzkJNM2TLxtnl/UGld7NyaRuty37WVwckVKrIKbutu7r7S9z4lvR6mq3kG9mDNZNEVVBcQEBtiQ1kqSw3nqMVrRTiaUuj7OriiU1HrAHHaxt78CYuq/rIgdniPo508Oc7NAEiy9fuHV3Koos9f8Cays52C9uN018YteyIClZbI2ndtG7e/NiLrMi7GVLKj779OdftQ7LTH10Xzn0UE89PhDR66XhBqTOslluLzAi/m8rzua4n3RhndJfwAxxjwKg0NUyPqYLbR5IQ5BtFqv75PpjLsJKnsAqxm0+5XQwbcx0wtqPIyxgy6UxvYxI8SVuZD14Ww15XaZ3weUk8ChvzrEJBTOTeEGYeLE3XoqQ8/sxjMvRQJHWrsT+qHoBS5SHfmNdcVJjxi3ts039qkBnan6zfwanMjiTICnFnWmptFTMTshwRN1Y7IJ9YfFz+c7YQnH/s9IRoPi+VM0mvGs56HvudbDO6ewVY72WpNSLXZhtp2u6mMyNrwqv+oNTPBXGHsW4EJrpKP9+/c+uIAUXRaxL9reiuUtQ/mDURW7KrTaIXXo5/JI9wt8L8j+E07lUqv9RUbXpQ+nRZvWUzmQ9q7JUEgjvJF01jWNHLG2SWFHBOwZWTtNfiSNb5fNYP79pR8X7C4LmpUky2zyVXwYkgT3vP1cl5yh3Aaa1pyYt41ILzpOrzuZkWAwTbig2+3Ke7J9JwniheKYjRn6t26Yhv2MlojBDLp3cHMBTBUDOSXxOnYlfMa8P3hjb4cL3apdH3ThcSMC6nZULvo9xedU3w4EUfeMDZM/tAp4CT5OoPt2BNVvXuBDS576VpwHEzZ5Zl8eOkIpgIv6EjaAdK8ZQJMDzFa/PWmA4BJ3PzAUtMjQzTQpaSZtmXZarSiajEhm/cvvPsZWlObOXGYsc20sctAa2fZ3nHTg9xOaVwuIFUmqgxTsSSE5B/MAyApaaF3fbNICHKCVv7SRrnRnhQJqu0pnIKKSmWIQ79z/8dghw5Rcexje6/MZvrI6FLRX4cC3M1xLTYBzglZT/FZlAXtR3l34feUSaQipOtHEpwcxNZM4kKaE7j9YmOeRuDk4zLrWjiM6P6sFClgBZTu4oJ8CqnHJj45EdM4N388Bn+JuniSYqatjqGFTRhmkE8kNENw6IwyZDG7IMchECpwjivuxca/MrnafvDOTKx51Ex3Uv4cVGvZ3Wxx+VAlISKfGMP+D3ZRchCi0pulPVNZsCJwKTpKYLCR4RV+J/MxmZc2gMDdPJCY13IvIT1qaaNB74WZG4xNCohYhFSDk6PAX7lE2NU7tg0Dfx9b2QocQ0OhowvKTe9URfSDlgRnz+0N2Pyf80DZa6pfImPxdPz+CX1whT7P4NrvfTTJ3+BNENj7QXR5Wy/60sp0/dpi4/w2e1eHH5EEypQ347liNxBRy5m8uGpyZ290uO2IPEk+9F0Za8pzZRg+DdLVfkwX3PFW6AGMSaq8XPalYW8v4Ndh8IfWoYFrwcQwF/Ksu5ptpQ4MvFm2xJUdyUnH7pcu7fRLJR3Am2m5MW7QzB1b0MLTFuVWl16CrgbNbWB0xgqVHoAQ8kjNMLqnFrkZkYJ7p13JQCDDvw0vVZJS1LKAi+rs4pgk0gC0AEIGAqfb/Aq8XygCA8IuJwJN8lEJCWRIbDyVWMPnzoM0ko9pgKoybxo1rnWAMttJU19ok1SoU903Gl4GfmEnl0BrOZMOwvbANvbkBlilJS2tfWpuHs5XQUlAx9cPFqYXq/aNqmvSBcEXh4jrFLSPTSK2fMcO96wYMHE6M+C2dBWDcX1znwHlRTL5ZmIkId660cOwZs+DcKL19kksX3ttem1TQMycREE31xtCo67iuNqTrcMZLsicNER8aQgxGsx0tCBO1/PEynT3qPDzC4gKxss7UJb+3mIB0Ez253KefyawD4RaOj7Sb0Ms0PeApBsl9xLRg3dqRKLeWeyEoAC6ponDKCeinHMECL5Zl772c0ZvnKCXr6S8SaI6xcQ7WfJRKH4Yl1Gb7XwCerNdqaSbaazB7NtZI/8RQ14/e9KBtVC7iX9FBCPAmVzRsBCy7gcXBaE0urHm2y0YCCNORCxvFi8VNp82JqJQEr7tFTiajU6uYMR5ll/Hgk5GWnYZqB5IG0frpXRJRVEygBNybnTY2vdwkVnQy1kSBGbGwhpQNmLLYm4O3JPXpgtcz62etWdXPKaivQlKv2xMqtib4kjMQiEJWZrHtv9Pn8fqbTpXrzqB/Y7PsycsUh6Tuvqva5GjuQTRMSXOHk4KXoez43G1EysNgFsiAUgkBOgHU1h48Hk9++yFHQ1G1QlIzG+UwdKbfa3n3KDWe3chu/LTvdc9PPMAv1y9ICcv5Wm5cCEiZLGj2Ge2sWzgNQ4/ROSRNp8OzmeLwl9p5b/92R/F+vkjN7hVHWs7pPm7uMDlNq+W6JMKouz6RYXvOc/Fz1gej+j5nC0PYzfQceOknKYLcIhFWFVoHcYICowqin8RJJj3Gco11aARtUQhgLklB1X2sT0pgbFdu7/Wclh+vMvL6nFFcCsu7bm7JUjOdaRiq7ZuWXmyOR9Yrs3Nxn7Y2uqKSyqphPocqQQNT8W/GH39iafr4z0v3edNgiIPZA0YtH2kieezUzBE9zUtHpyXViIiPTuPV8i5zow2gLdgQ3Z6pmR+5oc4dkSOnRDwpT4EK6qVrFQ/QkpSljtE6XvpcyXxTbzuyth7Kz1Bn6aA53wPl3bgOKvof6rc/iHOpNEhhziZ4oH8F2v+i6ktNvfRHlLxf9So9nvu6TcoXJSzFom7daVg9WLUhFSpoXKW9SaT2b08uRNam6CWBG3QeNNdsc+c/PAnrFrB/89aO4MRILhTT1W7rf5TgrY8eVpNDeiyZVwhti16I5PH4Aeet2E3/xHb4xBI57W7T76Rn3M5So6mkIrjz1GgJkimwh6CTsIIC3esb3K6L4R+P4ogz8NG4jPWDlu3e451xTXkgKVvwGIRvTmKFUBKoyZPf+zmHJudoBJIcEilQ3Jwo0lBf0ejlW8Yde/Gfzk9zsS0yA+1k50WnAr3yZ40QNU9hyNIgg97UFAA8PUJ2ElfYrlBsyZN3JEJA0fQKvh4AkgvI4r7U9SNrJ+iYXTT4u6saVqnsEJ91smqQ5aqHEK9JMRbd8PgHxyC7RfSunyoqcBAq2j0VV1jYR9jaoCWNVdOVx6phtJDzFcwzdEPq2atC9ZEwkjOQRoH47ZOJpA7hp4zIUYmKdpxzfdOWxlf1Upz28R/oLbVJ1SH4xyGD6Sj468bWNpPhla4mDUzBmZXC+U5s66/FZBlO5rrCynSO0ul234PMV6ilT80aG4hQaeNVnpAx0ASIkGH/GPp2x1tam9N7ERD179YaXkQOsvLjVyTDL03eOzIPmsj+WBrdBznUv0dkFIF4s4ujFvhYWOH9ADxWB29XtFmJxKZg6LVtc+HJwj1rPYskB2T+lkStO2u7UWR76GYOK1jxrn/ZStE4TCQJ1J2iGxerXrgD9QjSBoTrSW4jPgTqUEhQMi9CT1lfhnZGVEj0plSFr58ggBbiBs5AgIvMww6Y8TmDULrupXUgSD7WDaJ0GLHrLMzP6aI9o28n3c1VBZdAnbnl1ChS7M8t7kpHTOGtfwULE/I+nZkcPdw1SxbzK9RcsX7MyWUKxyXJWMS8U6wiEwBtDHEKqRwTqKEE3nfHxXePj8vn3j7MKOd/Rlid5159IJIdJv6VQEr7hvUI63rzrI8xMlQwdWouSZBSPhoI3015mO8sNVLqCvk5vv3mtXtZmq3H1gjGhBDR5tRBwcQnKsmXN7dH/0jeom91RfDdMeyNo/L3HLBlwt/NCdzm2uk/8LfgBthUaL0w1NtBG7k+00r2hNWwzVHxjtx5oFX8rFiwE437ffCt613Qw7xbmebv3tpJtiNO/5378Slm2/c33RZcOXGqZNA4jRH4PFh//c0JGT/3zUoIUFTuy5FUd2VsqgHcFx5Lqs012Y58EC8q5hwCtvFUDdED3XTYRcIdGiEzSzuxjSKe0l/cG/Zgjw9GGRf7ZgUe8GFS1q2OhoI9T06zc87lBwSdwBrp8TJBEfF2aqOAYufLqIZxRiVTrSAqsvtHmtpBkSJkQeeEwRxb/DLRvZL9HmGAi/pVTrRCbDf8q6m82d/nq+MnNGvdxoyf9VfEpddkxazOb4sde/QAMUELS0bjJ9Hm3vRF04Ss1GOdGX8ohJCdracM6kl7BhgY25Ge1sq17bwwaao19TjrJKiUVSmJIwLLokxPHuWpEnoKyb7iefHtwmhyl5+Bb36Uy5qjtAMwbKJFpoDnSxN0h6CPAkUmEAldirgti7sVmDGCAl09GTKkk5zSUUlYe2Rh0i/HI6hLcNhpOzYx1VUOVGQYf7INNlx1KGuWzQ+ScRbU5TuwFH6ljujD00s0rQoVeqC7Lcl092r1cMdGQN+R949Bot9W3Rpu2G7paHrGqTez5ELNx7/V8v6lBobRyBt6/udKMUQ8SENthqflhgFgLSLpKoQfe6sAg+w+9EmMteB/1kaj9mvxPIABzlbo6CjCjcDWiS2xqP82Vh/6BcnMWWaukp+dxyLFCjSWx4QxJxlkQXmNBeQ8m6gslSFvl/FHDWSPtwxvO0yE0IaoMV/8SMkWk3JkLO1lBznRljC4o5e6wnWTQwXA/MLTk3pYaoScf5bFKg7+zUoGkas3lMH6tYSxuqEm42H+nTmMN4irHxdV02ENNdVvNJC4dS7z3G+oJptPb8DlJik0FCxm6JXGX4srCP6O6ZQc1dH3Ut1Gc+TyZMOvksI1pImFiMgLWGaQvnEo31ikxsZB+o8dtXkx90NttmtKUdm2lfTjaP/FUBo7JVn/DBnlGog7yGMU33g7yQDfgZAHbwGFWFP+ViwSGPkbsJsaJVN3RUd4Y0/BdZIE9ALvuNIgyrjkn9VRDVC6Zlo/cvhqDHPqYE7yD9dDuozU5+0N1qI1hvWFMABzCNjb46hpRC3SjOu64dHJZq8e7nAPU/tW42vm/Yl0qV9002EGORXNYat+TZIfUxcb384mnsMrtvgW2mr4SgKSrr73vh/16Kd8Q9DwTWwU1Naogm2inzKXo/dla9WTwplFeoYGLyaPT7eyDcsC/rEg1QCHr4KHHBrmGsUzAdW1lOVU/nfU6wyQtdPKtJBxETFy2twD44L/jgsWW1T5ppqKociOM4AKDuLGJqyB/otNdPpRVmO8JhyecMloBR6XjSo7m66qtuJGHoK/cTOqSp0XuLC35iZVWW2+sozXfCP8A1m2MDtYr50TbW0iJuSgeFAyM2hbAHZyKXK7bvIJPs3MwiQOO0zUGiiJi1QqoPvRWBfhQS+sCovWzl9NhawkskvrLDnspS92olbB/JWX3mAmM72paA5Y3pW35YpE59zIWtZRmhebkofpX1YrfwvpTSwy6tigUjDyQdphg8PMR8EXR7pBt6Ed5Nwdv1KrerP12jsVVc2Ie2Vn4CUKhIqYn91pIgSxixZeCwsxm0eA+JyAXUdJnzSaybxm523vC77fjl1CWXdu4iG8LgZhfclYkhTs4tEAFHZ9ZidjiaiZy3tALXT5QSm4q2RfbevZonVBLdIuE/6/aABjjihWehiVEInhCGaEeVGPrTkslsvP82VST18wmtzWW7YNYquNzqi9XJI1/321GICUjEV590yToNm0QfhAcT8BUYY07PGyPjOrqBf5jEDKHYKMOf72+0l8Nip8Zzw2l5gAwLw6zspYlYyC8a+Uhzb6NYwEmD2DhHM4bfXOpwEhEFQ8uLMuhxRr0vXE5xgPT7qU7DwRukB6lpxLGL4+30/IpvDXMemU6fzbK82r2L1zmaYDmeQURcw+DNOOyRcPOHPS9L3IIJmoBOfj9Ff7V3Kyx5ab/LadeH9L7gTBWjKVQyPjZ8yyDNAJIL6zuL+4CojtqRzAnKuJ3bsaoqlZJXNumj7MKxIcCYO629vmP2sKsXgF+gOIoNb+iK1LebUc4uEAN8h1mOSPPrV8kiUGiYKgOtYpb0LZDNTB9e111WnBkD38gDlHIUZbciD8y7pzPyugtTqcNaoGtgFlSkwuLlDPg2EAepv29rynDE7dh3gPp5rNtlMebUSrP+a2vrRgR2Sf+ryA6pCeCA6TWwglYe+kxIvc4lznZUQZx7v9ppsRkwhMqkgn3gDt6mVLPqXKtY3CehlxylENwaWDNiRhMH10pBM0Tv2RlRdLYI78D9cKygWYsxtSKmVKaw9a5GVEGHdPkmsbA9b2M3ljysi7JItC4h51hS7VNGNeR8bN1OoWNGfcnsVta0PZaAuwi6rG5Sqtur2XvvZHqNSjYAqrkisxLZfsc3JQ1AW0nnK9xdQB5x010jVOeVxMhBKzfB3Qes09koUHF0kFOlSr+cMJH27vwfOBc6qg1knIoNBSrCiVeOkOvF8FS9rguzRZIozMDLWPCDuocsFtHGIcv7Kzod/3n/hQM/gBbllU2iWgaz68trUmIvfHfBDzcBzN6tsY1B/TJW3GWezr1tKNZfMNldie3299R4Q6IvQnyuyZI8vO8bIIgb9zYVuKrscC/ZoombqWqiIofsH5t95Ne7TQZB97kaG5r/RXhPivok6Bh4e//MagbMAk2i4huW7WK91WEL7k4jxj/Hc13jebw1hDJEB9bjemb1xjLbnTaUM8SyQHTBq/NNhiJgz/aBfn/B3xpBpeuHBNr0ZIlf6uKqwwchL6vw4Ti+Yq9Bh4Hu/EDiP5ReWdiisYrKmYWOfdB9XET40F5Js9pTKohLmmUgN4h5WK5FyNqp8H02bfAykwGSLYnvsfePSTh4IbtZBSEPKidlCbBsXUkxlFMPNT5gITcURi+JmTHyXNeSSLLxWjbofNOa0vm8g48mrtuhJFQumobopf2WRoUW2NZspcCxcitj5N5UOOyFAu8+gnjrXtRrwb7wG6DduPl46XCyXTOZhjTuVoHWjcNtuGAc8AXLzJgWMLMEkI2QZiNkGqRZK/e9lQdfQ2Ln9UbIqsNSXlhNJAulZWnZFwAgScfowF9LACr7FDQkpsj5s2Bb8ptmyrqto5Z8bwKLnOwo+SMQi7F7NOUSpzKa8j+OSCTG6SIQwrPQw5FP6Db8s3u4FoIR8VOVAqpzEwYuiEYLsiw7iG8nnjAWdPVxBnAtSnShKMP8GgG8SlDOSFpwwESzrELmVWh1gtvQzxAyEQpexUQu0uraN7rkc2pAqgHPNt9sllXm87qTYDlKlYUp+m9vpHkuOPwb8p0jioenaqfJTPQNxpnP44AjjfSGyqyv8paRTJTrBmJ/o1coKXWSOMRaC/xNTUBsqBinzGPU0mgcXp9J98ZAchoge7PgX8Kncn8iJZJpHXARhepUSU6qfQzYBTNdIpemj7yQT9gR0UGLOGAIF5us/KmXFC3JndElI29UIaBWd8Qnmam2dQfBKQSudwyeZeDROGgFGjSXy2AVde3yS0F/J3KyxKM3e2bPE2fVdjG3Di3cJqB2u8J0IvEIj9Oik6cNjNcM94wS+/SGeUGkyenJee29loQG/KlOE85t0+ulBH4325+sng37AxGe11bRGzD/CrAe4nz7XZzs4xOjQ2ex00jhx/ZeoGGCJouXCiE/xWHa6g65Y9xCqn9xscql/bJQqmWfMS6UDEd6EYcUGOhdM0/tKjCzXtHiYR1vjsCL2TPSCE4MmKvRmAIUfEsysOtA/I8v68ANFX8gP/nANqZdT/3WczcPn9p6rkCwHg++9IOd/GgEezM8R8yu/rh+Tg93PRE2g1Z69jVy8K/FyT7ThxHqa4y8FTeVagQGsUCLGG0Gg620QYF3u/YCWKBFbVkqpBakyo4hiSvFh7pAsXS6489ZWQddT0+Ypc/zZ/GIKzMcKCu8rwonuCXub6KN5fLx0YFoqRq/AjdaRVz1Csd3oWzGI437QJLuWd7XEWyOfGnWrw2I3l4Mb24aGnKv8H8cxM0w20V37RFRcSIwQ7wIAJyME9mqF1YsvqCnHCOymG7HG6cPPpuiDi+P/11LR0zRIM41+z7gdPESDpmlaos6dYHxbQm/YVGz+5gKuJbQcYe1y9gFdnUV7wf3ENcnRDYbJ4Rzf0mXltf5r5QXihjdHYZfi53geTlZPZ/oaQNcca8lzkTPr8+JJLdbwrONTvqCv4ZX2nifurqu6J/oHXi7LrgNfh1T/RBs8RHVaTxkmlUbSLZOMcZ36fqNkWOtWSrpvLxsIf26PW1sXQO4mi6Zyndppdyft/XRczeYJM9rles4dJAHeJnCvyphc+pul4zX/0OFDDCYpLbdLtSXiJHZUuuTOjpntkLSmQHt+woRRWi1mUI1QAFQu51CH3GnfWlKjyyqHeymSoCZfHlXXIGRaIuY/L0ONTeQlldrcH6ZvJBiKDJMaOHKptMGFnBLKUQm/RzmhFYyNnkWxAuGhc+k0BvXwqWVDIKJUBGxFBJat0XjFCp3SHMegCDykAObRSoDy2ul+XbpAaKdje418fLetwR+be3aUx56huQp80Hit16oJ9hXs4kXz3B+d1GQURdvnXBQrpntBVD5X1OUSkeoFTSOXMCYQSCv3/xJ85opoWDyX0FHxcRrZxN8wFBn0oYaOXGXrSTM+ZQkMtwoWwvWTdiE1108B3JcdvR3KPxaHS0A4X4GTOkjXGDviwaGrXGwyTlCnH2DwBV7c2yGjzXrpbA7vs+6IkEzgwG+BFCriHOlcQyctBLke+18ordhRdQJr91mkld7be9eTShYvnDtJh883MFrQyESXUPKa8vPVwHX0lx4Bs6fc1+inTLzMnEcx2zJt9+2vSkUlEx83+e+VaTG9tjXOJmv9FnGJCTt/axUzLExqOPc44oeH+4qbS1FCwZC1+oedM+JsOrlskr3rjSkTaZbN1wpM1po85eFR3r17JJ+Uzz6M34MXIX88w7vO5xI9auBD5POr1ZqwMROZjMTiYf6jOkOftuNp21InpPis4sTcMO1h6vCy4XrP4EJJoZ13F0zuNhTryPoRbPsjhtCQKYeXzUVumxpgRrrg64fmHQk2QlPFgJ+cjmX0MIgNdKfYgmSh3ugd1+6lBc57KLNCLbicP+SJJCR7UvrlQlsS0UDlt53XuPVWYN+66T4vL5xXtgN3NFkwfROdH+9HzZpuIQXUz6TtyJOtZRi+uzXezoPLvY35fhQDALNjdhE83EWIvxW2Ji6RVn9rvuZe6dQP7LW7WYGngapr5jgUsEJDCNAVPwKXv+WTgFc4G0Or3wBQXu4Z+1L5qqZ9kgx8n9ja80Z7MmP4WnufRx5cICODij1Px6Am+Cy1ogcJ44+lqaVwB22w7a17RR/dUZap9sniBRv5qQylTFI4LgdEMud9HdRIHIq+tHUx5u2CrZmq+kW08ODdnru2jpwx97JPsKwvEzAgNoyLkOB4THEKnAX1ejqhCZBDhVyBLHVBs+7H9wlsUbh9QLmCxq/o9DHUXXVTcZE5AGm9dFNmPxFmbygi6lcQl4OS9q65+lv4j1f5WjY38jLMSGaCOPcblyC1Oq8d2Jncj8IgHhzs6u4OusEGOnlZ54YumJR7U2Jn9T0bZdE6emssCI78d4a/RSNF5Gzcdv3ItmQ+BFH9lAEG+3dddr+V2hoHFnJ638PVRJDH+NPCxUKYJomkuMjObaLYeCj4hgvPsuTHuDIfh60bK17HVq66hkwJMrj2p9fkEmiIEkhj6kOxxnsXhWYgvI9f+dVewmj7/hQcAY2M4wrrU9DyFNMFFAwxPqfTBfXdwV0/G5GSNKVQra7NAwlF6kHCnN/8kXMSEsNa1JS9zwgHi9SrPSS3rp9fLi/PBpQETXnL82dyNjwc+vArjH/DbIA6v7QLQu4XebNgLftxy50/xO0n6lNVPITZZHxwxBw2Sq9XwY1yX5iWZQ8slADN3HHBQ6R2D+IaIr3Qk/ExG2xMi9CmgVVC1wvCXMJg+qpkwUX6A8kDbGaLy1OjPFfCdxcNuxoAUKFkS27ibJEMbOtsrCupZTLPB6+1kbWS+plWRJFWO7aMweWvRjpMDuoK1YIuwLvKfw1VsJa4mxgpg/flgGb19ZL5NTFICP1xEVAbmA2LDzI3HFhAuqEo+EWDDC5m+5V9ZRyLnPSeXNYKKOwImjoqCQlN2yPnhj64JCjPAXJ+fc90YvEkbuXct5NEdypx+qtkuYKBQOHLLmvoA1oZ9MxKK60ChX3IAY5fjSsUIuGmDp5VlOfoKIIBxZ3ag7D6oLnBaaQzphZsQoTCyoDNO5sLvTPc18BJbi39IwfN7/wvLhcBll3/nRvze7AGxRR/PBwRaEYan9fRAIGRuAFvdAdjik8uTmnDOeRoljDB9DR4aifZIdwyQEWQr5VuNpwGuLRXK9k1MwAi81cPPQ94uaHD2K3dhvF/aWVIjy7gtd/BgG4+z8RQRDqd03yYer1idfGB+K2sIgCQUXGcqKkvXsXV4hpvJa4H79SqptrV/4qt57AxAT4+eD3lww62kp8OtbG6u6HFR8Od9Ttz6m4QSPDiYOtaNO0QBwwzOb1xEheJ/IstLZLmDHG6LHrolaYEEc4eOSYKlxlGPu0smToz4Vl/bLMaL1Tv0jaB912WQ1av89aqFhSMkPxRWKRZLl7yLSOa+XK3Ad4Py2JmaYWXwwJeW0G3+Y7NwZ2ugul4AQNYxjbF6FBAOzT/ALdc64Alf8LPESwdLaA8hz8It+y9yEaBXsDcnYq2YcOLs7nJ7fbs47qEpiYmX9XhVaSp+T6LGZ/6vLyww1gANZhngseFNUZttysnSX4XlPriwWxlGpWsUAoxVky1sV0QcYJyNkR0GM/5gjjlBnfTvKmyBUqsKE36ycZweZ3FMfhWmtq1a9Nn+30HxcTg9m8FmDn3D3wplR6k/xcgfG0q5ZxPJVu4ydL4sHOYHZQDjUNsimPr6nhU4C7KlRnvykJvyKx1tEj735uPJ5OibGdixvI2MSUr/otb/1nml0flOpoItksACFZgmI0a870Gg9ziqwH4SIOGKJ+dZbE0XYxZACxAAcW93GB3BqztWI5m60EyMg5K58ggehVMz6W8geeF2G2p/CtBkJZ7fX2F0fqZFuH2HWCT7QRrCdcwkv+cOVbPP4v/HK7XeGwpjQPBujISKUnrfJCdN70duWfQWp2ffFownDIUlkYtp5Kjh6HeZYU1InGoMK2pdVTSr85d4zdntJqoRXsqqX9rgB0kaztYOOgDy/w0FK96WOBZyCTJiprYuuKS3V2525LnTpylm0Utrt3WRCtQdNzKIsEKglmzMKfall7k44APjJrAdWgPb1fbLk7B8No8sM9d1WOU49oSWk0fmq5e5FS6lp0BQAJPmLQWEi5nJg5WGcTHa8nP2+Wzm130/wL+sM+QVWQWli8X3h9bVcKUIR9zLFogutyrh8yzuIrtsYbDF14PdyUEPsO1QuZ2ddNb3A9PWbonUWqkF9/KbRCwYLpX4EvxB+zD98CufhgirtKKKp9zxuY0iLTjijtBARm7jLermcP1UGihMKIsJ/PsTUmAoEclazaPQ1SNtINTFqOFzyOrcpQ6thfsF29mq9SVKtnxg4KG9VCxWUzNgb5HzWD5NP2fweAopwx4gH306/T80BPaYHBZsLPqiHtYt/qFzjV3Tn6Sj1wjde+DCLnwFq0K8byfCa4td0gm0bljcM2o8lxuIMJ5RCeaQei28Q25NtR1yK+yi5aFQkuraIXFNumyH44aYN5UhvfNsErQwsaEE0L1jjQy2ejeeqZYFKyf8aA16o9G0p3HxweC3rkMmerBwI4Jms7Hqle71CMX5yjVWEa6QyJw3FjI0qV1iauu+jvgRTjVt8C8QCbkR/BbeFvTmAtFaA7E2vh3A3NHNE8zQLgPkvzTxy7FtOYDKs/rN+oyjlMm8jiKGtpTEKcLONht9Y2HNnsemFNxAXXIzIRTzJ1Xic5Qz+DA0JRiK9Z27d6Ic99e3UXberjU6zcZYyF3yp5ikUnmwGafZXVzwjsS8ArPHCH2FChDvOSh2P5da3Pi64FZUlocf+vGLQ7OW1q8rMNdszXY7I0CcUdGOk/TqC926HLY9+qt3fCxKqozrdunAvYEIQgFgJ7naKa0kjWlGu4S4Eg1HKQg0V81UyVdXFBw5LnkISNRZ0ZXJ19mUz5uaIGx1M2a2jVRL0rOpD0E8OGAxP+bBWtZ1eYS3MpRdIFEjKGNYC6xswWRzqgoOgXwvurllRG/NjYI9TgTYOH5AFAc9wLtYtN9EommHa77VYaaLLWduuGSR3NNJy/MGb1mJoxZeapHJZHnptiht0Qv4toxCK98v1O03HNd4bSPDnQXuvNMva+33J/Ldokqp43KuzmanbvU2WtjZhBl6quyKIlk/HblugKUy11bwXc46mkQW0ykwsauooR/8+GBfa/t+yijsnf/nffGJ8ryZrnYZm5y4LiWxqT1VKT2R523uujflqrutqANOw1xJLiVYqz1OUXyuaZQT1wL8aLL3zn/WEn5Tx0XhCH3ebTdIHSUsrxP/WQRo75/nOYKFm88tGhHmSJ0uKxynaSjwLxqWY+X0xHjJLvRZEZoGkOG6hbi51tWkyEz0X+LKmAzxaHFZcCJDkU/Lyyfcre7xXsfD7u2Izu5v4/Qjizpa1RVo5gnyQ0H9VicH7knLRB1fPhZsQFX7uovaNzW4bKt79z7FQrwNTC9QMjsWDTZNGo1YoKd9eUGOV2ROz6GKehe6wuCPsxdxzt22mfpFSlpAq3RQETzKHqnsIKaZHOKVYKiQJSvLsjdAiKMqdABJZsW2ckF5ZHRqk4FXBGGVr60mtKMC6pv9sPu9PHUINNTrZwEZenCDPqqTRGkoum2vhmnzxoTuAA7T9PMn22mAJMxmZ7hcBXddWHKEZvAeS7nu9Lz2Be4HpIoCv40EjhXAyUUvhjyksAjc9iK9fjH4bFL3vt0n+P7uj/8bmtMzJfakY2KlUPrL8oXzsQ68uUJX5OGu9uc3k6fNjCgtfpl1yixspL+9G7NK+6UWvN/HFjn0olyHmc6f78sTlhUOGNIBmWdys1BVHt64Ob7xTdf+f0Ek3PhKhokZ0nFQUdjnhPlqsrTSshU5PDl0a0ETGiwBBlp+FqA/6PgQUeIfEfzSrzMEmTr9CyhmYUfSuBryv54drkQ2L0TxxAug60wp9cO3YEVVuEonQRuZL4EPFnUnsL7NTytvq9uELgt+zwE6RGJ8ShANySuy2P4uIxZ3ZZSB2754vd7HomeRnzqE8k7eLIxWrfB+OCBcCuLLO7x5khfJvwq0r78BiVQqR8cWP7G0j7vDD/90yEf8Elz3hE8YihbtkAnD+Utllalysa+HdlHAi+/Ysg2KkRLBn3mCaVHUDWRbEsQgm+3nzrIZ3d8rNMlzJif+4mUxIucxS6uBt5ChP5upEUIElfClH0QWo09boXCflFSOtmG4XTi5nT9e4IVklpagTuuDNphlTYopEUNlPK4B2WvknwLAqU+TfEXr2G2k52MeHKwVnlpTsmpSRSJqMLBTmqg15M7aY4gk5qxCXfDcREoJbIUTpLrCxdHMqYQ3KyGp1txvc2yggN4/XtJSNCQbBBe5EOhT5bgTbkbGIUQbNL/ktuyP6fRnUIU21jV1SUbXoxkS1OU1w5PTs960jQu/r3XnwOJXe/BhCiws3tUzCIzZG5HLH4ys/X+sPJrGBKbLD9WCmYY0g5jTZVqzs85bE3UEeUt+6P4q/rDEzU5jel09pdyfpuiy/rLE9mhsHo7nyxh3g3YtxE2nu09bkd0CZczq7DBQNSKCGgqKVkCvflaXUVqb+6h6GYIiUNvnPmHsrp0VKn0LxhjUAhBDZCOQj3WocFaD0GpcIlirdged7mkVa+OgLEWZb4xC3BdHOysE3C/Uwk51cVf6R1gNxZi9xG8mvirYH5lzl0EFsAhf0t2V0NGrfpR7qrgP44GPOsbL78rplcrRIN63bqZoppzR60dK/jOdDr9WA1ilzLWuNx+8+O1KahAcnZNhGXj+9mjp3nFI4U+ZC33D99oXv3/dVS7GAlyUXCOKEQMKWN9zqaP+v9gqNsTimkKA5xwco4oKguAc+pUKMc5UYYCKtKrHNwR1Qs4y2UySjTYHd4lJiG9W1LJUvQe7bHBTEBCH4XrLzL9I0y2cdOEjBgHgnj0RJxDrGiUtAVpdvKHWp7LL2aFV8C7NsI15In9slJbzg2bgWc4BSRqTD5x3xzBlC1XLGH+PynO8PcXEXkoHV1favS/t01dWH7zzObEl7+GuX6mF47UU5mkKv7A/6ighyIlZjWaDX4WAnp8Z1gEtAdWbUyjQhjUPtTALbaKSL4iRUy6e7p9rJBmi6kPbjkNHywlnFe5VHt0aToHJ/s5a/dcDGY6X3l69xrXOo+sBgG50eFtxyfAo4ZfUN+Np2sIDIVDDhEqUqqq7oAN8hv6CWy+QUzJMop/EqUeu3WXYYjNB8qBo5PaRrnRXTdGUTKe5lNnLbnN50Fl1NjknzYf86LVg06BDga6x9JabzJ3nSVt7HqEaft81CDFkNiYdC+Gwx+ZRJVW18IMinHcQKeMYpiyMYyO9ArHMJuDMdyem01uRQiQj+qXKFM5ErAVma73gN6NlOrA3DqzbSDAM/TwhYDqmwY5CLMjIDuYbZvB4oj9lINxApFeUP0Nhmc+PLsjY3KZzELxQTDIzsQ0frVsGTnk7r6t7L9cpNRabjlZ445PQ/HeRGwdsWOEQ6zZEt2CavfMDeYG5ZCa9CNWd9rsvSvd79+ZP0A92kqluJ2vNA1LQV2TNh8V+v49I/O+cFS5V6sbv9pGzlProe5xCP+L3cPiFQCR+8yEPAAKwBJF8urDFfbkz78csOIhoECbSjIknN8NwFrieZRi6JX5GpH/dZw53uEoi332YWRwFqwNUyE4++Uqdm04zGaCE3pvjS2uNDwyA/tjtCq+23dd//M2fhZhpDSoyA3YfI8Gm0LINQxGZfN7hG+iJ15/ms81jQTMTMqCbkzndRlpm6GjJctL+A+MjfHTxU5Bj6L93ynBhD5K1zeGj+u3IPIUq8/hsPg057QKQO/2goLVH6Pscbqzdfk8rBioHwfyKbeowtwLKUJ5t4Ud/rziYnQOyywtgTpl+0qADZLc3JF4RXKJvKON1qdQyh3Gnl0IzZKzODx5yNJeMTeCE1BF6S/dh2gswD1tVjo3NXEHcAlsxesZ7du652zYu+99Pc8SSyxYOFslzE42dhU1azE7jvEgt9Dyj1efLWGw+m5aycnPPWznYbRVicCFWXG/c3qeRYRgGQBZskc57BjGTO+PjLdWWM4qqxWcdaxIPukImESmcYMmOKJWHHTwono6v43F/8E5ImVZAg/JPBXVlZvRh02V2NNdSpn4XDlckxe5wo9tDCBvHasoliscor+5cQE3g4/bwCpOGs/0XcFQw5MNCZK9dZJar+eOFKtN1SC/lnUGEg8TvVIQyH+sKsYVue742G+vJtBRE7+qOs/1E0KNGGkUfMuFnjZT/rVYEY+ZYcbsXKzBy/N3B7VP1dRvnUmCYWHkqgRa0au7U879dPwkcPLKEJdeCKu2kz0egoys+0uHU4Rj2otfi4LWydJHgCZCUm/pM48VRmT+ZLqAEdTsXnktrMVTbOw1Szet5xYeVxUpvt0AcV3iTg2S9GFQk9xQnFj/HaLdDnGBZsZ8KOE9nQ+yXmV6ZXL9CO/8NZoU892lul2rGuVJ7e0CL3OneOFdVbmU4Z7ChW7O0zyACnwc1B/zFUhwul7suU4aM1JGMAxwwG8Eei1YbPv7s9WS7nCnik8gEnfmZqgR3+85cEBBvf4+SREeMh7iaJVUUb0Y8HepMI/lm+3NINjITTrChCmfYn9x637GPdAL5lCsK85AR5CHRY6Iv2JGsErVvq5WqEvgYno6J4570r1h9Pzg9k21e+dX4omT2O6zmnZj4TWa/Yo64ygWCcP74xiL0Am9yCXisM0tIxbuAbBYdKGz1PbngovR0USsBK6z6Txmgh05nLJ5VK9Mb6FBHpnqRlNkUGl4dfozaQnBGuwejUhsz8yHgC8bvRm9Op2+d4tajwytOV4cVHuqUI+rsD2kAc81Yq5ksZ8KRUM1GkNJ8lgQSgidJnqcF2zVDk19L7yqox1X9GOutEqvSgdwVbBALdgwMMjwujpR6f3OznQIpuWFEhDZPzrdM+EdxK9kn2uxnrSZAXR/If2Ska8zhkIJNjoaWiVy1/x99iivW6lbRw5tXMRiULFrZYTqMgVmPJezzzJNr9epIrrvWwRJ7TNHKaolqBGyQHLHFBo0D0fCTfiCG9pFmDT3f/91/GuCUZAWwKC60c7UNbPy1d9SXyI589+MGpfg91MJ1e+AYGEE3KM+IarrLdy9uOqYPgEe2A8q2Gkyz5jF0pVkmUVylpn578X6ByB1QqONSdDfWb+fuIPBHNjNQczi+Yoi5VROR3dF//K0pp7urSDMREet+r++E/iKw+RX0OVax7KbgHGtMazgtgxKb0EmwtcvpRrhZP6brCPMsyugXb79Kw/HXFYFuwnouRJDyn9oFI6Ma/wdZI6+s4KthRZBHFWY9mneTq3Ebi2l/xJa0LHv+cbZGOgg5tRz4rfiLfD5BvQo0Bipt+ijTJz+XeoIATHWQ6MOMsRA6HVhzk8TJJ6mbhhqMHv9doT4wi4GPR1Wdx0LTx98RxvIJ1FsWDf+hkHdO95cNrnKAT8CzYQgsKok+EjxsLfzND+kbwTYN0NFkNMsDEYXGqFdlYRZH7sy9ziakJKZHPkvsHludzY5fc+fbG6JqRcRE4JRWit8KYnOlnghaZMrpvKbOf1qiuyGoqt58vbmHHD3jh+E+QTPS0cGb4e0tkfQar31KWoaTeFpZ720zxTV4rdU9CQ9Bt5Kb4a2cbfQr18Hm2piv+9ZiN6wZoChdNmc1wTZT/HiMKIjmrQjktLITwGQ2Iirpb/XoQ3kWlrRFtCORhVRbZzXV18KUgJY3CPF1f0Q87xmAuxgGE9TS2UNwoqT/6dz/9cu2+ao0NaTozvU73o2bPk2m+CjxZi1oYAvn0MeXUsKVDU/XFC7xOwKEB7syxjt4/1pmflfFOcMNgwdHQAKMZ3Qhw6I+7KoOdyNbFlDkVw3e6+5MT/2KN91CsfWmXcd0Jg+hTpCLRHxu/4UYewkronOJGn+c2A4E3AUmZs3CANMaXe3GSdY0304ZFaB56lSYPY43icgzE5y6iLCfFzlY7uSgAoVh6645cbpbl4Fqq74rZ6Hd561+LX0jn6bYiyftvVldmm+1I3rTOB7+jlxC+AG/6IoWjZhcBCxUmF2df5wMuIFp36bWmf9UnNn4ovqaXGGexYqc3mdnLkGjpwzBhFzR2YtthDvJoE4sxgvFtwBZbgB6JH6q0QPD4wVRMD8fmM1ig9LPoY5D6nyhldPHOVNaeP6EZV5fl450lvA8CvbmQXke6T5kGRnjwSNv91OuwMtqjEjIVM8WDD3KNZBkXREIU/zzTd+c38ovDqdGXoc3rBRMIUtASMZ6j5CoPdwMgeXDaj6wjDBO9tyNvYno26ueVyegX6LaIN7z0hsK0OCEkUfzinzJOzAYwHtArX4Q5ZMW0oJa1aGHT9e3JLUYYZZluqDQE7KqzMRvqevx1yoD7qEiDyFDH9xp36HUZiXqSTg2Tjn0iyTsTawEvHuLLTnILPnZHjnL5DSSEejmK1WEKcS5YUvD3X6esIX56o83ribsooUAH4aod50T/U8fMEyay9EH+HbZ1VN2zmjUiFNjBztfzOelFv+RwopRU7dUbBNC5gMuWj/LdDN5dGDc0a3NHLVFLiDYpLne2tltoV10bziEs7LDe2f/okQ6pLK3t4JDcVEhX1XAip/RKqJ0kTWg5wohJRVroE0xvkcLFLDNgKDrVRWJ3Fp3dPfajqy7YaU5fBvBOZZG1+bSWks6Gt9bsGUwajS8DV+YG5HEOxiJR7Tcwjq/3CvRuAXvI1fxvW8kFrdO98TEBAZr3FwSzsqZejXJZfINgcSt3vrNxzwXxucE7GFwKq1v04FnXvNJ+NuHrhOXZmDZniSvNwNJeqGGJRbZ4lJXG59t2wIGavRJkxBCClsc93hkSqJEFYmqRTT8DXVTZ4Qkt8dr7+020C/FPoNhfuDXkbY3LGw9d8XB5XWyBazPQafRUbnDp9Ti7eDIdxWFE2OHRN6/kprIiolYk8H/gvhulnUfa9F/Dwtvro9ufaOLIBrYNeHSGoCt/T5+FidmQfUk18Pg4gNA3vdiXbXOP/wVE2Z+OHLWX33VrJaAumxylB4qUs2Z5To2gjFeW3lbQA7tGlL+XF90iamDCF3Fjts4JLzSNt2aV/gb84oOBZNObmmjbW/3X5NpiBYTFqEONwM7yyyz6pW7DPwXn2gNCsKViWS+ZbRJyqeGNCw3EJi7BNWhG1BlgPgLy5t6XKt2qd7xNKsCefp3v6/2uHupZtN/3rEKYRBUPwkcJG0+EiLbT6h/ey6WwnhFGDxvEoafdYSnizADWUDJOxOkksE7GqzBq0p4GuC6/nDicpnqDBup0J17KNAW2B/PaHcCkdZCLp4lBQguLS8vYhyXI0sOpWOkgOEWxka+/zrXWbOdFNwyBoL5HEAPe2kxeKsgWvw0B9XQP9IUlxPSJJs/6kTjFAfPu6pSJx90s2ZYakmpae1czeF0SGPuCev36OmsyoJo5IvCbBTPXzf9eMRn6NPrJ07uaLEt/pz5Zxxcw9i8PSYkNtLalyJtRDdmj2XQPEe2p0cFVVCRGGgc25yl2JUkarHYy+2enqMPGj1rhSYcxQZzGSwBVcKC6aw3uhO4+uQpcyrUKFMiK/tLbqw7s77Grm7p6ihjonOJdkzQzB+B8CDUOUwgBx28wwgmuJ4+0txYl/HLeZypJuis7hy7tYTL/tZ5Dtfr0K38d/stJkSNNExOciTVAlFzXHG9Kav4hNIQam7BpefBf1woK8PYiK78ntKu3rxDVRiqW4RThfG6jzY74jsB/fNPnSY41EtmpmG58j++cfksoU6ccG5niuIYI90XoJHOP1/1aqYX8i+k935ttfAn9Cd6cxvfJEcqmHREiw5O4Uu+gC6KBuDmS3MNviT/9GuuQNQ2IEnBflYOoQHmw8X2jl1uJqKoex7Z3Fek0NPz0PT/R5YsOSPAo9rkbpCLR1pY3Bcd3Z7F+iAIajiJcv9gZev6sB5kDcb6BysrZyp5QbV5eH3RYuznoHTcJUB7MXIhFs0UOsMv3/nEs2fAbLmsw0lwg7UOVqV2+ht94KX/Dp7R1tunngVPNcktHF7BCuZKt8jyr5JobXCC/Kkd1gDLC0wsiVtHSTzcxNPnVjQJmmzu7kvPEMxle7nLFCIC1Sz4ZS+Mszz6j0ThP7lqilTq7GvVAcFn7YDiYR1RxFEWrCddwg2O+b//tCpk0P7awMEZp4o/bhlCp0mg6PybQTg3SZ75qjzNXJQC8yV0RWHExrohRVQVlH117l7w9q26cZH2t0la+ykPj9utB5D72Xi/4bZZrorgn8wWeHn+7VLWWXFAIemW7RAPfkNIRMzVnYP/lmwUR9+V1tljpnooUsgqJoADMq2Auobxdy1rqRZffNuxvXyMAvy4OZs+c8l7SPRUndNQRxX8rW3DeqFpxMIxcjsPG4e4xubRpt6OPmewctZhGGmfUKUkNgODPn50w1gGc3zMgsAml+bqoBB1hxpxFu5J2ktS9+s60vwu5dsrmHUm4xTs+EwwMNfiTCCV2+cupAwBdtBkMR43cKIu8F8j8fn7zhKEwkQmSr/EaWSE4PRsUERTfXq6thcIevJpYHiOAdT+MPfqZ3zRC6k37KFogtQN8EjEe4ke1Rd1BqOGyVovykcryoNLy/vFHCqsIm0u1Y0o2goidz8ySWOl7hhdGTqL8CK8jBZ0ToQAjplCm7MjWfRonB+41pONOwR9XFhbXJny5+LSWo/rhdmJeecuKaOf8BPYn6C4vKwSihglmTE+ouuJ5f4K0G1LF3DbfDIAVuHxWO2Bh2qNNqcccKjo2stICoK4sT/mOyCOULKeQBhXj7nYbf/qHGsFQShXlYDCA2FpY6MpjOKeA5wodgq0QQTx7opIow7yj1pkn34FPBMNoXb+sfALPQYY/Ybv1YRKR8BqwJ6TEV8rnQqEGrOC6QZ9gqQVrSO69LLMHtFBkEudL+ph699VJQu7mSHpUEgFYIpGVyVS/Idl0xXVR12uIdtaZocXbBaclsrx8TGDfcZ6qY6LoxAWHCHZ18jAD+yxpZ4y2a0dPGIYJ2NNoX7wPVgEPH2MoMi05PwPTpW+TnuVpQtbGRoI9YfzzoEZOOjFqNm4MzgoJcXlvRgg/JOhM1m5VltrNAnUOQFJX3ZkI9Ko52u2KfScaUQ/fznseLu0KtFU0ifI7JQYCUSH9eLl/WZVfwb3/2zr8mvKy9qcd9IcrdCAgrrbFZXJzGUsFm4XysI1HDGYOCT8mxlWBTBPgaZoSb0hz1tQCGoMzcbb4ZXWoi82qlcdb2e8bbWoZqUQ0v/J8TnPh5Jc0gcO1etjxZ9z2x0U46ziwH4FRsmxoBoU5YtuHTrQljFcmy7NX9bZscTpvu53fFsNzMdk1w3YuA3V9SYblsxFb6o1T3EpQiZcsii9asmiamIO6mcUoUD9Dzi6STrEPhGLPgc9yC0ol9VpKud6vRIOVzR8c7IX5/ExgLP611d5W+HGg1SJJ4Y1nN7G9rDjCA2PoW0FvhPg1X21Aog0QN/KK2uoZcLRSH05uWcFowrhs/pwpBtsO+dIOfsoFXa0WMeu9DRmqXjS6nJ9YxeUB119MsHXLMwIHDt4+Lls1jfLA26sMju+9HuHPn63dMMbZrQPumqTLvmzzMktsgEcQ5IAXGR0MQYQggO6xnn/bQ8yoQ4djPhWlD8PzbQ8mNG9XrNWXaNLYMYzdBIKJiEdAC3j7aEAoPwUr9LPl7kZDvIPMkZdqckQCrElMqbI0GPnWy25gY9rhzFFFLkDHIEWVTbphhrp3fnbSnFOZxJuefwc4pt3OTQf9ds3/w5ogKobySbGARqnMIl1wbed+t8T9yidDfX+F5wD6ioK570hRkoixANWQn6HC/5oXVSvPfXgEkwdnZUpq24kNkv3SlA+m/ab8V4SbW6QNFiG2iynldjv7qe1l4H9WQvd08C3mobmxjE+K04cD6RwhT1Oa0s9Yog1nVQ1nkpElyTO5Z6h8/a8LW7gWLq0PCaR9TcOPWCee0FUMJnskJZWWLYNAfcbUygtp8eksQwbTMNikiqXCnoMM6/Qy9pDfRbEp1r23qEipbNlTddNyQZHJH7QhK3ZUE5S/tiwWuUeppYSMS1szWZG8L171XRo7XGeQsySSNtoyQktzGeziB2zM48gN73RS2cvLkj0S58CDcPVeMvp9u5m/LLdQgNKcme+wy9Z1bZsUnrHbk+iYFavaAgmTuTKaEK1Cvk9VBXfdwaLh+Hk7TXFPFOGgNEoKrLBpMNW2g9iP3rJ37MrRlJdfUXhLA582EJqTL5IueNEcrUj2gsdvuhNM4V3ukJpqD1lSYN6j3RAh/oYHrrdMpXXr0O2WPWOtsGN5Q0eKs+89Drtnj0JJIw8Ae6vhH5hhLnqXi3XArudLpe89dWkry26XLue4dW49GnAkk1nphB5T0+aScpFNR9Myo34fHDgPr8dMYYI6+A/5/kA3zvFMP/CcnG25vyAwHl2XFJNifq/SsJQy+YVjx63pnzFGXKjzcC6ZJhWjcreJMUk3w/anXwjowMV/5zIc26ofqFxadGJeR+TgGK3Kn+j/zoyZ3R7tx1PgEix1Kxhu5VL04vFvdCpDHV2KigohlUGVnqZ87A3I9CUXp4I4ezBIB3x8/mfeW/vas4IeK0lNZGXLlkxjNoHd8MkjxBMJy7l1EQRSxjjhxOdaROx0gOWvlq7YCrXudk0rsZqeVgPiVhak5qqgp5b0TUaLYjxbt/mSw4H3pSe4p9MN1UAlMSlLiSxyHAZJfBHtrQm9pbq5nc+/yn4ny2U0TtLHFffhxkRSy6R10XTNf0qe1iXSXum8b6l+bsMJQbPzzm+9Ss4gnUe8+bzXj+PRXeiyahpw+if7FTW3vZN0P88bRW/NE2pauy6/DmDiPj24MUCzLyzlzKVZ+9WCyo8x5HDEPrAc43PFXbc/zwiweGzNrLFVeVMaeDkqKqFNHuw0redji+U9iqFbvqNg5t0vEp7uCztM9SXs8wq7TU0kdzqxZtVJi2yeVWV1u+71HR4WOX2gzZDv43eGacptfW3sMzIOC08TeBgaDPIKF67NHwfSQI66ZplzIOc0nt2o+lFPEh5pWyAdktaGRkzCDtHiCAM4NJMJtyY5VU+PsFeNbEE8hxXYLIhc+72iKdEfnavmwC1AM+OkDHe5n0fSkNZIa/jsqre1tKfwt5ZEUde3Cr0MgBCvIB8BF+BARUOcmtdedYbUjFganemmKCvqEzfrXmtOyL0RW0sfnXWGqHffek71EbDSlSh+8aF72VD/fVl3n2bFQtmYTVDeHpWdjELDRW55bgikUmYMTHZMWPAoT9OOjOfUJg4ISenYTpwFIzD/9LNKn7POe5zq4pCvhjygLJrO4bB2SCrGVtQs/yxs+D+Yfcmwdm+6tiFxStG1iqIHE1AvIgL6UXIp+9Zrbb4RkgdqXsUXMHUKXO6FH7of49UGRFmx94qpC0YgjDMvG0rIZEWUgAPSdqj+DxHG1KJ6tGzuROOyMR2/j3tIml2fRSYc4ivnlpXjJqK+Rro7L3KzYdobO48VsDvjLJeCEuZ9g16XeODGhnnyT4sz8tuHjyQvZZtBHlhFUdabozvJSSy/svlcSuL46IYvbPCRPss8T4Uh0LJXmrkVkm/K1s84L1fXLK/Rad++oVBtAlGorCsEmzw333KAXOIZPv0B6V/wWJLwO/PF+gx/Pjjb+LCiqFXg77FmqqqUySVF1nuVtttisw9dz/Vx807r6g/uNLc9LizbjBR5gZX4zg13Jx79p03iXtpr0EBvwa1k1zJxDcu2gCmXEijq6seh802ANqGdOavKYgXQXj30qRWY260zoVmgjKbD6EUQqi60uG3ta+QGdhfqLBDn6G8hgbLjIkQa8kaUECHBnxjoPHW3Z02iviyXL8JZtRt9mlVHM6mI8ZczO/SgG5rMltTyFlFRFkoTaUXbz0R3CjFBI5CsP6Ha2DFq+CQgvY29a6h4aJ4EJZZoDLoUcW9yzCh5Mqa4eJMpnW4U4pGNadBAFDhyUoZYpTYshbcjaohy3Z3zQWJ8nNIYBk7YEnNtnlFM2Xl3yeXgrcrSxlfkhRQpdHKDx/7/018hQemGA4hmZPmGKg7BAINZJUs8eqp1G4xw0FVwiNVUvej4PfO4npChx0Dsc7aMaf3kSZJglmzNBx4VOQigBAaYiE3z7QO8EdTUl6jZftjxuGHR8YcNt7r+6ZD132Iv0paJD0iQzamMWPc3Iopi5ruQ5rQGDqxSO4D/o+kxqf9F7S7YNFIwg4ubdxKJzd6S6nUVeF0t7qV5vZV2kk/ESKEFKlb1kJ632pw3W9xtAB6oxHpGqDd/AEFDnqHqPi+jRtB3aO+yhTD10P6QAM5lBOX/v4jU+mDwcj4c884ukBiBu+NfgIcN/8alXtjiBHn/NTvhV8Ej3e9FHbhqe5lgm2ZqTFiiFofNvYLh9s0sSamYlLepb4hycE0xVxcZfDCiT2IMlWloz34j6V41vjz68tXd4SaevRJsLl9JKzVSArwEHcZEXFn1heHGPwewFYQ0un0RSCeU6TnLC4Vhm7pxxdyyREZAj2U7NqjY+R0mgaVMHE4lk5ZCKEjcEAB9kiAYJUn3xIcydZIOGalYtYXSQ5GLu+f36Y6CgtzPBI4zYcLHnVskY3IBwC4qWgk+bO+sLOJSMOz0B1obnmIZfuXUDqYCPJkippDrz1FRtl7GY17SzBWaeAxKRf6DgBvOIjOULszAHROEkOtf76lX3RYSZ8q+0I9nPShPEuG5Qvk89Nq+zLFCFd8RKiXgCx9q+IHbAlZWEfr1jrh3y/ECsivoVpMWKJBEeEgjdqosUUcoM67uH8CBKbsUsLr7jAuLzdvL36yWbI9SS2ECmgvc+BrrBDgEg4HsiZOW5Ll65mjiet5RncHV2+IqIcerM0L17cdBqvrr0GavLDOy7H9+149FBykq6+DXMW6WMnnRVxmfdCDxwpftrjt8ZTEMStMLle9zg85+VEMPppbGdZagptwbglYx5I7tIrpi23x6VUPOwKWiYTtVyeWpNAP2ZGPgXpxIxvASODbgopoSwabDpjynPgcePUG+HLH3Cbb03fSKipRP2nh0Tvczhdx225il60Bw6sq36ojMU7KnpxmlIIkkSx9+8FboGNc6Jq3fylAmMXX3Uggyk/iPY1JwsQqb+E8FHuMzoEmL7HnuSzt6lX8jHZci/U/0wNEE0G7GbQnLSTA++XrRFDkD1OvZax9ROFCqH3YDkXmZT6evDY/mewPL7HuKkQId83N6MVQxffkHmL0NKbeMSaUCzuI4+aq/tfouRQV6ebOpFKQJdRH9ybZfLuFPYcyt+exXeLMMjRsx1s6FGGlr/CnF86psZfEhIjie4Hl3wlEFNMqpWgm5mqwiSPC/CVJ5kLOV17n5Ua9p2V2Qau4990DXGAS2eoKQNhF60L2SWHXJQNgTuJq5xdC62iowz7sv+sjflHpIidpRbx7bKxrrNdn+wn/19p0UBvqt0D8pUy/V6cgOkvZvQOgiCNkX7ndbCNKNRjOnjDe/xLxt3+gFL9jsQxJjnaNojDGvAR5/maO5Y8urzK13X0D4buyeWUMyhOTBw+lTxf4geybTttDj1HSRGZBXoqClxwo4Sw+ETDZ4pS85bpfL0ZN6VHOUhlxx/VizpqK3tsYYYA76eQkFjxXXVSOkhJkTy4ECmLDPWcULatrBGhh0vghNKSmFZLgq1wvugeeKwBgU7Y848tNESE/HNmg8et62F2q71tx4G2TEEERgu+pL4yleTooxu+jDUucbmS76mqJzpf3553pGBTfh+6kyTmlGsIbnRF8kcGtfF05R/V1oj+F/Bic5IRvq1lp0kqTX6zf6r9i4K8Jj1my2w0SzYQ02uOIz/YvWc/Q7oYZPwfdrzbWWOJtvx7DteJBVUzOVcTeiP2nLFrxERwVjw+7l0N6AV/c5b/x21TnGNiaRD+Z35BDc6TaResw5I7efakDREKubmokLqxjtGJK/5+kM/pq8Gjo40ngS9vN37HSvY4Xc1mpiQGAf21LGyMPfys+qSxVe4Tk0Lf599IZtf1HmeKFOZw8FmZ5PtC5l3+yO4OuLgqH+v+QHuWRIBfOaWBb9903YGuKMz74Fyktzf/tu1Jb0tuo9rVzsN/arJGE2RHVQJDw1iTr9AKwHgCxP/EpUhPH9ffkz+WKCmqj6V4ahofIrLzybEz0EnMQgS9z+13uJGL3Q9klVpqBhw5MRZkpkVgo6g4MZYT2zac1JIeyiLUCNB9idgD49BqMgQgywQksnfGxeHcJU3ntsrjZ2ouNpNwvtRuJvAt/SHJ60pB3XGiDWTmEoAqG5kZM98MECI6wi3ydmsTbUX3g0u6hdz2qLTkv170iPNIl9w6p+a7u6t8o9U5fCniF3PxnpHYHtIg0Xk6tUw2sqUIr63Sa4qcd5H/FV7RyAI5h764lyVLRPitFLZxAh+GD0QKxzX5Tdj7fK29vei/FCVqXP/wbuv/NTpiYMeRWOOF8nNl/kHFW2F1hVtJ/P5wzUdERbvFuMTibWRK0XFAWzSYFRuXjoB3Ar12lC29vSzZzVUY+i9vO2TUFnkOLgd5mgS/OP+cv2rMtPm8nqzBBOu9eIZ7wssBNreAtZIzy6ECyBuBc6gZU6lvyXgBPIXMVjysTKDheYijY7ezsgSjJ3x8hhmSXSwwg7BVGNuQQy6MphyYqdZXJdq7gZQRoEyFpbXJbcEAlwcj+5dmJMco/SPGk9gpj8Ql7dIewOejlVOWSzcrLmyK5/sc6KGpoeWxSZOD7L9lEa+nzJ5CF7J4N/h+EDnmHS+AeuqYBeEB+oytjyOXDZwRZIPbuD8uynm8Km+iu29ux2tCvbKKVrWvRBF8aOkeodPBrdtKTV1yvQLpE33VSQ6/DI2wVt9DtfzPMsGeOaKd66O53TR3AGfZC9xFNHFubCpxHUYakzGEwNbVPs9eF6Rr3lRgmMqv7KJYu6WJCuolTF54QmR2vgB/63/1J61QENe1PBPbAOc0UOV8oDfBnqB9ViozXPPw4ZooTHSuI4GR8Oxogu7bHJYagW+PrzPdwnTfqmGISzp2vGyTcLeExzE897TB5ny0rLSeUCM7W7JnZXVhUtZEt6i9AQGr4TB5V2kOs292RaOI27ZC5tOwJteMrLwed1NQW0ZZIkMSyeK5V+L1GChhTg4n3lsq8HSd8Ewtkow2Y7rXxU+znVlocP50fpXsLWUXw3ELT3zjmVbOAzJhVAdpWGBweaSQkiNo+CEt4Fx2Qfgz0hLgFivnld3Tl6SQuQVHPNWeuNuiehfYW3qDiPlMS9LnFLe/s9yaQSp/+5xvvxYVO5uN/tt8a8ht00j0NvKw/e7lHsPqQPgNw/ohr5oK0Vyl0jrgHGC5sANyTzh6Nnh85FNiLvt3UX17AOseOAY6u8toz9hTdcnKxFv08/Azgd0WgHZwb+SCpMf8RzIzXyJJ7AcWU5IGQf7FxCcjuAk8lyU2B49eaOoNuezdriKYUkYaET0A1VG6iZdVZYQDCH/Pywio2irtBVyJprYwCxEVExC4gU0rOSwWGHY7Dfh6ifc3OFqObK5Z+6sygMQHkhTP4fIqiP3VsqBJR/nblFQOADmuKJ6HMbB11v/MAPSS/WN3ycTIeqQuqytm4bMlo2ChfziJr7qHDsRnA3EDKMRvIAOXCKcORn9ybksWGRfvfua/TqaWKjkO5sF00840j8/rLRsdhes6Y4UOr0+83Zso4WRUlQXMRynlZH19/GgKj/LYKBcp4wdLYwZW4VhzRBmnr060XUSm4KD9H1CG+ZMK8qPmrAF9GP+WRNyZ6zFasocuJAf7nh14+a7h1JgSVVLV6k/F54ryUmVJcfyeeJy7czeEbLf533TwIVqM8G78TxYa/ht8iz/LnMGVtpOeGPOPUVVkxoBzCOO172FemQCX3WYOdJVmthweQepr1YIZKZbRshRmQ+MvXYJpJp2JXwV3+B8oXovDzg4hvmMsEE4npKdUlcRoZgEWSwTLsCiRGrkR3rCsqK9KNd6/B7P481Yubyx7IMCoJXY3bzkggs417Tvc6qEm9N77rL7vIfhsuD7xkTKkcwIa+NlHqO9QWUoBbZbH93b9MLKez+h85UgJrRlmvH1uwBjfQT0lQDUGh7wl9P1ifm026r0Isf6uDiAcWQPG4v3QkWo9rOIQiSV9h81TeaI9xmrmC3aEy6R4T9xVW1CXbi5+tGEWGMdgUJhXl/1WBIUhoMYXWkhn7FjfsK2g8ho0sPRME6QUaevjnT/B2CM6YjkeJwjwSDLHLWpIiPYYCehpuiQ1nCYKX1M6vqxhIazr1LFcbS493mJf5oGiI+89nNzIagwimMKSFkN9CxrAFgSYwyTXFAgcjLMi/QqiO25GxP/hYj0mbQ+1oUj5pUEh1gRiewHFUmtyKun+YhzwiRsQZDmP1Rn/aXBoPFRKut7KG6IOIo7etSb1JMs+6YPjrEvQL/g5d+FivFUBx4XZNQiJAPsF0W2Gv7mJ5Cu5cNxDQBVjDjjJL6es5xIBwaUPJDcY2oBKbda5oaNCHUWhcj//tp9dkbo7AqpQq4lBb6xLF4UKgEiIaKJn9asfu7HTEjkgytpE4zBo6GbW476+MOFOXVdsbnR8e6hCpmo5lfgro4M1gh758auPyOlvTab/4PXAYq0uNIAc5ICpKzgAskbHmqdv6v0YZ72w0740yD7WOc3MkDjkg0OLKqNr0mCSPJbBxHN5edQFwScWBCtfs+lPYsL/G2rzY5HfPIflMptdaRprjjCOpfhGtPUdv4CWlCEYeTK/N8R6BlI0//YD07POL/6pSJDhfPBsMbVDRpq+VbeXRCcNKHaFPQ14FE1FDjx/Zvac4TB/dp/yYRYmk2pC+mM29hEs5MLR1CxOQc9WBnl7wlfg4twlGd3ZyFn59qUbigPPwmWBYkYOQVVLFQ5vTUXzrhfCDENrcmcMM4v9FAFz1KVd/XLGN6EFpnTqs23S93HqaVbELlg3djazIdF6Lj4nPxeEhqlBeqogsQSfuJRxjGg7ASmBxLe4ai1JOJp2u1FHepR0cmse5Zg8dhuQPWBSNCHpwQAn+4rJ7GyVDYE2zR5lFTfZBU0WTnSLorQuUv8dc+g7AjxxBbYC3oS/WKVgFQUNkHNThk90qNOQKE7nwTU3RhYPWzvZOiSGn8FQtngAdIKqou9h8VFWbKNpL7xZGGApaK2+PL2YD5BqfX9hM771Gan76ssK+hbibtFJdADpF5J5wOfF6kM5OXtUJ+c5+h6dWCWZsOY+Y4bPpVCtj3z7hh25zQiFUebaCXFEeDYheiU02FUk4tNGy+VMWAj/V3WURgQ7i9JCbHjiAiomxLUrozlanSGeRoE0q5Ce03KyDIoP5jEF39CJ+dgiWeFXNc635dJwq8EfOi89mCxh79mT82xIEywegx/z6y2juYD1cghBLY0oABGYkHa0bGZyZkzB2mMSrBct4tTHfYhqkPoe4PZINGe5zgMU9J/6V/f0arXktFfFpYm8cfzGd8ZICi2dng0TGR84gIVOI8PQ5YxYIBp86l4NfxzGq+q7eNfACheSbRSgEU7/AK6epGLb4J+/hMILYP8x2SLlgYKHEWd9puKPI6cxBp5yFX1lDjP3MZD1s49xorZdIzIlRil4uaf6IeJhjUUuA4EyVy6DkBkHeN1n74cfk2S18eUGGHL7iaSzArmbeFS6Oh4Qg5klVg39gR/1KViWxI3ehROhP6DzVdRj4/JZQ07FSpmCBNyClSdVUcKb+TVIQIqLzMatrI0V3j/7aFf0gzV0LyaoUOAeNugXmg6fhB/SQM+RMkzOmvJPgo53RkPoxI4AYCYaTk+nRRlzuzhzTiVradPTAkSeBxVCndtEbu6Y/Rp2wCFQzgcM+aHg20ba0AJvKY2i/njxrLtddv5HpbZRtdwRhTPwNLRKgtwvRJ7LONBICwU74mxufAoaoxH6bWtP6o/IPC3klZTku1jO8HChnfxSxzuu1q//Kox/Op5e4tfPXdyCZvinGtNP34AegE2+QCld8lZo5DLPQb06jbA/nvK+r8xBtRRHmGvI0TXbXfLrqbk4Bg3bvpoJYETEefbHd0/jAL/ebc/Y9GqSCPRFGzIWXhlyTJWzhx5DcHwcAeURtkVdTet9J753Rbx/d/2oYETmAp5E41G7WoyTEJjHb56r+YWJuI9zeRzyS+RsxO/LqhcrCRyN+x0WyBQfQnehgECKBMoRBWhmSQao791RDN7p4jIoF+HsnvSuljfghKRQ4b3SaiI0IS7y0ZybodpTxcmRk8nz1l8T5Al1F2fj6el45WjkL91jGkY3yhaO4BVA2GY8eSwWsBJbd5+LZ/BDLsjG4XQp6wzVhwPATuCVC4cBc1bGNXcWAJVEiZmKrwnyLKseVdj8ymusvHyS84WrCBqY+//mkJiVYBaDUs/iabv6B1cFyspLrcnRB9+WFTjfQwgvSmpsi6AQLT8pO43v9yLaqctBvt2ohdk9Rwy0A5sv6cJjNkFfLIxl+Vxa/eBy/L0J13o5eGMewN+RkwmlBnAaFqU96cNCansSJhhIBnpeld6NayoiCJQo1+5LWnp1AviwuIUF1kYszQtIP86biUQ5grxnCHqxwLuS/UBcPZxa9wa7Ey8POgZxEm+l5Xp29mc3tVICSL9pB3ZzteagQvoAs8EF5aE4JfiGgpsjYMsaVxgpMnXCqNyuYMWQoV+uqFbkTc7aY4Z8AlArON+mN9Va6qXg71kC1QVybXKqDEAqm5ZdopBc5wuFtBUYBAWdcwm5sPk/tNUiKHmXd/6a9naP/OOdunHbsEWNK8eNzzYDMSgbeK/oo/lXbR+OaGkkavyVMrFeNWG6cJZMJXL6QsqbOVGq4RgA8qjQseNRoRzx8SpmIJB8QN/q7y0nAHa9fE9vp8WiK2kI3J4b9/KqjJa7NAQGF8LJ0fH8xn8LujHXa6YVCrfOv7iu0UPmxwU8ThBp8eu7qbPzSFZPKeq1r0pH80+/olrIMICB2CUBmMy9M+lq89q57uCejw8uki9pScz+Ao+jGO4nXMmZ5OJFKKZ3Fr5j4DGk5wKArffgT5wBIbCjF3SEC47/HUxqOuY66wWJt0YHPT6yJaO8iOVCQQIF6nZMj4/r7ufiI+093HzjnB5NJuAkLGlM1DPEdfZonIb4lF3LJbi9YLlrnjB6SuL64lw2e7nWZv1YoQ3RB387sJfeHOq4bZskTpUUx01VVqkREUbkTxUzsxObAoVMAckrssX060r89oeJVMvJXwPoft0R2SeMTMSXSDCbOIKop08LbPJ8rbgs+ifhGIpnjnCKrJV+VTbc1Nll2HHg5nr0CqosDhxH9quXTnovxQ3z9UCswkLJDLs7usUTdArRaXg51gFvktZbylCsTm4D3Iw8Zk1H9+u0zfOXuerNx03rz1JwY1HWOgQSMpJaY5SI1u9UNXShyILzKtTGqaBpNYNyjI3FfYdwrPxeDkufiL/Z5Cc0TmQUJnkafKI5r/jjYo1xTFv3ZuUuiTSgIFNm0Hydti5ZpPS8NWBH+tEnnkp1BcAMhCKZuM06GW/BuOMTDfeitil9gqbsN/KyIkdwFe4+kKUrdlV5dVKZdtqquiRSDeVNgXekbB3y9sL0kGOrJCFY6llQ37ql5SaQWuvBnDVUTef3G+zxOzVfP+PVEFglMwX8/mVa16uMDuXLZJClGvKMn09VBOawjZ+s5+1ULTGnfTyZ0srlcsEReeXmmnDEJuaBTrDm/YrT2hsStykL7veWYb1TuyjHlDUkc9NNiX+dygIDAWi4WoN85oiSE2kcriB7c71Oh2m3SkZjYPKzhG8Yd9v/h62oVU14Af9tmlS85r8YW2zDquZBYAli0NLU5Bgd5NpgrLQiRAk6kVaHXszzgfFIkuJCvrd7Imic2y8tt6k3RAsvbatueI7fnobYppnH0baZM/sINtYksWKX+JuhxIfa7GExBfV8tIiT7DBzFn72j47xxDeYaikISPDAPuYUCrijbRSPTMvCuiuwvCbV+sK8aCzz6kQXLqPREGoJzDNnx+mFkFsxPSpoJjfDf8Boj4Db0N1O/vO0iTFA7cGrzQnf0t8p+NVWwiJA2Fhxt5D0xKuAfPJ0G09wDXOBldC2Tn4yUBLgs5eTgP8wFLMD2gyNNxdf0aUT829B20Ka6q6Y8aDrY7gcU+S92hIJ28YdG49/sBReGdJJXFcBZ4TAuzsUXbQF1oySIPnoa2pvNy6mokFxrq5NZSa0ubO0ADdO/AA0UBd4HV7mYldgtpCxg2jxVK96Gv0aQTtSb8vVaJDO81IXfUCyJwhZD2evGXjUJqSUlGwjW89T6yG+H1rfqa3m5bDbVhHRmlTUxHOr4/5rw17xT3Kz8xSw1pN7EfuMPnkggps3n7DnAc6GETloArZIV36YTPk3uSI4/QlwYeKOjo22dHGy8Aq8PXMYHgOPT+JEJN04OOJKbEohL210TyuPyMJ3zIJ2JmRgI7Oz5qI6Wtcyfm1Ovp3+2I4RczTXQeDlgLiPVt3OjEqI4AB0f4ftwL+kzeeTihaCtnRQ8W6yR4l7EFnHVzyQla1hkcwOW/1mmytbMacUo/I6fe/wzvfc29h6zP17AJyC1X3zvzCpmMpfKGwhGlxNii3S34XFM4CYA8r4ciQ5D6lILcCN+mi7PuAAGGMC7z9ZgYPKKzH0Tk/xwY7Cnf1Z/gill6GfHoRfiqTb4sTK54VommeAuroR7OjfH7tARNIaTIvM9Kv7yvB9BxNJvzWANbo4AlZfQJ3RgdM2MEkZ8Ens9jVPcLCldQHK/MtMA+I/UGVBpMHyrqyv4th7bFpR8+GuvfUCE8SAjkYEO2rkde/lQGkOQJ1paezJFniI2SuWuSGBuyAyuQz+d5coA4/ew66OCD5ds2KMbsjm9gCSWPCUDfi21fmF0C43i7Gmd4fZsO7YJVKMtjo/G/oDQO96aLwQIqwtH+b+prJfCQ13N/W0206Mii3ud1/OTUg+0KFonJu3s03jsEZjXCvPtsx9Ukm7s6wZuWBcWFNDIWilQfYTE3MOCWc3rCkiwfDw/Orb6ACdfrf4wuoFKHOI3WWRa45pFvPZ8vVZWVFWACin4GZEZvOHKBvbr6B/q78BY51FNPIanZ8hMEPF9A//XSfICZqQLfWtnKKLvzxl/0jkMkKMK+RRx2RTaLBN6qHpHdsx9fBrjxjR6a/gpyWamisOaVTGfs6nxqxa9dwl8XYp2TF9fAOGfhrTH+RgPCx78AOHFQFW1jKpR9d9eqpnVviIjhVnUdPaF8jYHO4qiAtNiuXiYF3PUxsdohQTCDWXbMh2AGd4B3/nlkGt8XcqrEasTgQX1P0MMTK/G3oA+PVA+BTFcastZeUNV/Ob1BJgstozps7fwlTq2I0V5UeETsnGMFLjl+iiJq+0HGWaMadKKn5YJ8nr6wVYP3T9jMwQaMHbYkIx5nhNj6rWx8UtMViYqeqt1Rhq1NhSa7SdjGIvZBvOsF48YZaokJ+DBWddsZtK+qJCEQUISIDG25yCXaNQAHYXsSqKbxwwhNGVIbQLjy+Az8fk5k48gLmzzuVVrTMqB8lbt7puh9jHtNoF5MbyZBIcMhWlsMeIs8FWIQaWnR7tWtmHx/aGfxlbmal8xilWLX8lWT8W3XtVzCeqq4QAzTG20Qi6X6nQa1h77e5018pUSCG5LBfnTgPBhV9IfzTAXDSQW+mH8uykkPIqyuhDfFlFAYbGWus+kHcuYzK6iWgJk52lmTDua6nnf/CtzMj3DHKYsp8fKr2tIXLv0aJo+m8DQ85hgHzfFFZSYeE8Jq+osAtexEKrBcd+svecZyRtKA5a13HYI9CwuupYPkDuC96t0Y2ctaE01ViLiGFc+AAftH/k7No/8TqFbBlodsR0HNCG2pkUAEmlq5Orzkhv4W5ksBympR46LoYjO6sCQA4RH1z/L7M7ixZu1S9/JK8lfLTT++F2rs2oF6S2/nG7BGehbR7Q7/tiEwnXNEBME5afBQtJfZ6bk7FMtXX3jyPOOfYHeAQuEwS5nnt4TxOCnQ1q/RSpfO/sYCfaIvVq1FntIB2eM4BladDKejpKb15/DIBtnYyu8bnFDxAjL8QecVrvrTEJ91sPTZ3Ee7RygHobqTEgEm1X7HrQJ+giifmz15BieQ+oyqG2//S5xTWMZkheUySyrPoCRtkK1e05HO33ZidUi7CavSoBOyYts+m+j3zOtZ0mw7axnkjXBGoKXs4gLrqhD9q2VnpfB4cDW1GDmyfY9JOsXzjk850XFySoZTvrDTbIy5oeLxdTwtVT0pTo8dbU8VSnTvONdV9sM5QmWdBizZ6StkqDm2tjveC2ECzcEWvHHsekdRS4HG2ZN9xCSTxX9TJhfe/G8S3NbHPhk3wJbf5JJjqw6HJQojodS/WZLxiLgDLVAcKOVNoHFdZke1KqZjOjXT+ax/e4CPucN85wpAEt0LFzPsjTIexFN1y3Un6I4cJCzEELtvTTUPEVRCO5XFTMQENx860eNDGiGMlSNd+jutL9a3WRpKkvYHzGG4v3hdD7Li2gUGTPeVREuwXNaoI0hQVpchv1iIRV+RZ9DdOhW9+SBKY6rDGBwYy1d8L8ICcs4n+5Owlf3KZwBekUDupt4YGyR2ZxmG/Ch4ijcq1JSSflRjUpHeNJl+FiRuwXI3KqkZtCmwF35AIUxQFhL1QwvJtK1hf6lZcI99+OKrVx39saiTEyTxZRcFF2OJgX4rNcLTdJLsp8JwXkQZHBgklcO44Mnhm/HXxVhvqHNUVRMHnG7agrJ8RGTvzZQSYBmDq5PV3WPkul7jV2RVWG95u8Lofg0RMCXBrKORTkeaj0hLX6pqSwg9sLSy6oJK2+41N+W4jsENX4xW491034Go1yJJruj6Crd9hOas+8pHd8c0cPV4+NcvxNnDxEBgZcGqwPmbfW5GPPKGXyW74DydTSI+mKJqqfu0RFKJfmUAlAAzYxRtlvv1Dj5fJtFDuGYNZHZ2wzL08RkAxeA8Axl2ZerhzJ8Qd/7iFbpK/odf5nCkzDe6sqWeyPXidP/giGjCFUl600C7UYFNRTBLZqYAv8KCWvKva7IyDP/AcaVvRXDth4brbSls9o9omuof+MhDbZ898YbNywEym3PTjNXP9kJDRdNeKM6iwpgNtZwNuebwhWYGDpljxyKaa7xTyXz/U7ickRhof4sGX+P5UCSCK7FT6ygoZcAXRlyJBq2XTkzY8aC75pCRxC19Kdlzu3GWCl1QQNecJUGdUp++wfZcC+a6riz0oseeku6RcOD7cI44iE0Fx9QtO6Q4E+2Q0bpBqnMkJGQAoToJl+ttfzCOvhasECCSz16UzFnWXU36eEh9Kd7RLTqWDpK8BeYIAQP1KWwOmHCB08fhJHAnbw4f1naGorOzGi4BT8y7/ZC/87ZqR9hCndFnG44ymtj9oUNucTcUBhgVPXIbfqwlbV6RK4SXsytTXKq183i34teBtnciZ7EDJ/rd5qJ1nZpoXxVqdq7LWq7Xs8WwqY3AOu4FuJXU8YsHadOtKeekTEfE2W4eCZDiQdbDUQ1Wp0NVTaH9izluvomLz9ZaybfZY68YO1qSHmfDH2ZWCNIdslDxmaomkUj4EYYTBRcy/5Kq8TwI9nIzp0etXITeEPDIkRXMQkr+QSX18jCQ66jvyLvKgPSjAC+yB6C3o3Re3uya17yOsvou4hzyTaZSF/pHmmMB83FcdWTDV38mo2g8wuBl13QwrYO35jDS6OJIVL9iUboEIIbQjHh9o2HvVr6LqRKp5XnfP2Zfh7y3u8PM4Smtgxj0E24kSVdErMpdAq//GSK0JhN2+v1Rme35bYd3b3HVP7hXVRLxUpz8y1Jm3RV0WIPlF6RHAhBsckpZlEv0s2p2DEzPkqKuOBLmcVEGYL3KEnsR6Tmirt55AfYyXRT/VcVW1iYAbLfwif5kbFIgMVOar7wUvjU/MR5U0qrV1vaj494SYQ3l7tAreKuoRc6J1khmMmOfV/TVd1/b52ePgU9iFntYPJ2TGWgor8h46SnZPO4rWpoS6q7SPfZMMBmVC0MAaVvhIIDjmpfDe+mXew6dJ5duH2QW+TxzvTvbAIJdctTea2ZPHbRxOFyF5WA/zt3WpQ2aRuJZRoHuoqFLuPHiJCinPQ2PZ7jTjpjOL/h6o9hmSKs2/ciqohCTsPXYt6qwDmP1Yp8wBmJRJ6jOgyEGywTnN9xOpVDx5t7bWED0+IPgXagFF4ukRsvdjWS26pA7iDOZFCruAWkusHV8vGwhw+PVmU/i6SMXM9CfvHs9ml+zCCa+BH3KqnT+BGL5bSlq+2sthgihcj4ysTo3vPTb7qAEd2mMke2FeO5P8lAIWrjgMmQoSiMxqa7Mv5658EWwF91R91BolbjFDPgc5nmQkNzS1C8YNTtVhnGoXjowbukglwyJlkNN/30/0vyxvhwbMbK4jHvHzGq2/ruGtI7sbr0oYTGRXbNa5WYpB44++i7KqkxShHYId4naqAK0fYxZvqZsE4zEbOxZDUenJf9z70fLl9jRdvh1JzrOPEG80UYpTiU8wqAQKT9of6iHYgZa5mbROF/sau1f5CsHO0GOnvDiDUfXxyZEQRKdFHlRMzxnbEsnfz9wP+n141H36xII9tgCDGbsqiBCLahc99WgUBe7Cp2SFl6PS7TbEH+DUJ0KHF2H/yH91m03XDfZU5tTCozn3V5wBpj4/8WIwhedqEn0Q5whTcZKlrdvxV/Vhqe6vTy7ROzp0OZoOdVk2Nvlo085wTI1UMURuQIriMiP0B9C0EWpJmBX2Ab6KRpnF1QZRK9JCrBfoMH5HA+T3nA2/g12Uml2ryKj5p5BKdNBG/znUuK1KxYWbXluNxpR6weyXI2bXdaZbmUx0tC4RaguvgJyDroIs85DebPlDJ/dsZmAedcmDvdDuu+YwBcgdmGvhAuHcB4AXBXtpuS2yqjDW2zI9uuBm7rCUYyoPuDG1/vnr5qrq+RrPoMVc8igyjT1sxcvGYOqwho30p+KEAw9fHay5h9JWaH/t+R67VX5TawZ8DGUW2/QgyZUo6Oh17Dyzs22BwW1Cvs6SPiOr0t+CJt16/QMb0auGILzpTU0pCZBUH4oVwuWugC+AqNrANkbL5+/RtN4z95hmHfSkEK4R3louGYrHVgXNRhqnmS/rZ2YnUg+pqpiyXF5Sf+MWRjcSd+6dn0zcuE5/QHPeDjaP+EE4toOqF2cb8zut3JxTXnQFcgh/lGeSCg02sTPmlIerCNR4XttsMtVYNuZ1nho00KZXPSDUbR2kV0SFqPvON2CHPrlRmWrZxo0sJgJjmqcttZRKE2yai8M12AkeGHC6uObeyJxYQVtdr/YCmhuYkm1w+1y6kCOWN5hT4mI3aZDTnkWrHTQ2HOjixgMsfRiY8weRjnTj/ZMJYPrRHyBRpinoM28WwIqLYHnX0KwCIKz1jQTu9JyGssNvSwKglq7RDnnLX4JHzLV88co/DOpZUAewB/scdpomiTKg42lvLiSsy5JLkOHw+ZgANL/Knr/e7cDLKSlJPSWovInLL0m+joIvI7hn/FpLLo64jaFtgVEjDXssAsil5JhueKHdioqpPSOf0Lo5wP/o6Tcm+IKmKvDrJzcx+c4NxijSW5szDb77q4isFjZhfQ3MdQ7QTBltq+uvwAXM8uG61aaQH6UYAXLI2U2Ktl0qQvFAW4x6Hy9EdtOJvc6odFViWm8bVrokc5P+7ZLtg5T9WSA70I7N0zdIUjeNPLqv5qmp5V/FrOYZOeNAGXdPY2f0pPL5LliJLNoxsOgMMhZ1YEY28Va4IzLfEk9qxzoLLyzRef0fMWkc+y+o9GaTLvDBHSVWZJdKSjeY08b24z9xAjzUh1SBGx95RBEW0wSd8oPX5PIBeJVYfpgx9zoYZ5mi8DP9C5XCnvM5/ChFw2gJ8AqztZtFRjj04C2AWfvsSII2Z4GQHRrWCYFPB6/4Jl38+T8gXVvbA40nLhfrCNzd2SNVz5JIRVvqaWJWE/1u3rUmfnKS8O9naGB7ogMXNbVxezRME9+B8zFfpdNy67ScjlrUgzCaaUdpvbFKr9eQCCahgEKghEdugY7AVJwi3cIr+qYOKmj1jhcg/cyqqu6a17Thko9cpkdBGJHXCQF15qF53e3LWXy7LU5K7Lftoexd1/nEK8XlHi1FccqEE9rCUntmX4fJWG5gYwE4JsY8gfsxZoiU4PfV0gK4PXTCEEXbzB7826ICVYrn8TD2SDihZJulhUMp8+ax/AdLfTEl+Dc6sgvAlmM3ACleHDFKKzHd6ENjH3GMQq9/X9PeZVBA8gkPkPD+D6nnzMq8kloUHpKG5VIEm1OdCDKWE/f8D+E2ihG9nt71iofarUHF/TEmgRfnDvayPRHDgfauBZSR4CV8RqX6Q74ClvKCO5i1sVMtOJJS/ZBDyYOQ3+yjG8G/TVLY9gsWbCShGkpLufk56Xopl8pEj0n4dLMvf2A3R+LN8KEjwnTdmNG4ESqcFZpmWTLsmVjLK/n2irID05XL0Cpb40vPjEXOrNQmRiXxzb2AHdJS9EjsbicX5YaPQJeIVNwrf5AYPXMWrujB951SJiwrCZPCE6YACMqSscoMxu5e1LfjqHe5auK7ajAvpcob0QoMtRiwA3tQ9K+uzJC4ROOHuCKk3EFe4nj3p5PkTb0iQF+l4Cn0kSlL4Lj2Ab4TGiXAW3Zyckm8FRWcXpWvp/mhBWFgO5ixZkbiBJQ4KmCkCLMlkIV+LMUZ1PZD61TDFrYHYjMoTkoR8B7dmiHSbwlnbHhX4z7ch/T5Th3vKPchmBapOHQSnKBAZGEpd3ds7siVR2YEJrSPTNUL6MUTB0tyZDnXujozmyqpjCmyKwZE+B0vGmFgET/4xf4VFnt0BgUGjyMxCi74Nngs/LoNo7QVf1wb68zFfUanQ9HMF7gvWtbq1bX/68rhx8nHQPL53wonpdjbhx88+2u12TektJWWAX70N25rxS/2T8kShVHm1bNlCJKFgPZOeprPsr07jfrTojh1REcKmKUx9KlpdRfsrEvVITNGMNoTf4UIdVuy+8n9L1tBlG0aSw9cAhkUyqMfHcAeSGahZwN7k6N1zm2slrjwDFdHWkdgGhzMK99zkXmAcudGOCrQjcjQC6ekOL10TTPz1QOjqier5vW3ZSfnSoIQtPHhP8lm2wouYdQiJXfOQKvtNV9LooyPduloWLtHv/v7biikPSyvXSWEUzTq3DAOs3bkajSvvKGmT2TQwJMdjFNQluSnjC+Y/pj7xsmO0SdgZ1OXFgl5M9iY3XLAVb4oeCoAPL7JQSBdwB58r8i+i0VGZHiwELhn1GiW+MTNKfTU5rCtBqtEl3yN13AdKVH4hgkCYXWFaIoLCmiJRKCeCLEyLXo8+oHxm2RY9TydJg3qrDBkJ2MZW3h2trAvSdHQe2hqmT+UnSpZtaSj/9bF3F5knk9OJeEUz7P6l6KpygYx2kz1Zm3ODBrA40VlyqyqxCwxk+DWT6o7G+ta97npbwBsheDWJMs5998SZUdP6/IqhuVF4GG8ins4GhYM2XaskEL6XLSo9HBDv1KZNLJfpov/v/p5FD4yqlqB5kVNYGxKLBULUimhkoplpPt7jMna5NaKhkBT/msCUg2UqMcG4t9OogtXbR8VH9AD6/J7U0UzE9mgkpIWTiqAdnzQXajHkZlwJZyakS7Rkw2SCsW37H9/qDzsMGRYIyWIoRRO2QvSmI2Xtpx5qpG7gG0STAnAdQx7xWBUyZ7X6SbobtQMc7C7P0putoBC49DMR+qf4ZC33Hd/Ug5qEKPH8DKjKB6lRkqlWGYhFcRwvW0jdoR7uf0mQS5SvCg6oh3gfujEAzaKcpS25M5iw60WcpIfCIN7Kt7OkgmoSHWBt6t3HFdPVtbH4WXPzo80UGC4ld/H+AxD4h9aabSfZDkOArOfLSGb8YH31of0NZ6rOWZPiavRL0AqqeXZo4xwfYWXwTWwmSWcdyswpqMKSdarJ6xZ04/nxJF10EqOXfGH+OPxorgANpStVKMhoGW6BLIkJlGvdudgZ7fjtJBJSTbXX7XrMnAOrf0pewplYuVr44kAotIe6dtg2+vf09GzCKcLFQTGeAEdBXpNtLMX44N26PgZDhEu+IBY+Cg0DH+9/qbEwdkoH4lLY7wXpMReScC3AK/oM0AkU8+Y18BKkhSr/uS5jNKX5b/2ChrRsQ07pvk4v9qUDuN2/GnQlR/6pYdEkpXjnaAT51+OBPIAX1bQVqiFM4FACiyx+OVwcoc9RE66KDcq+KlNM81Eu/HBe+Jc20M3QVo37Zf2OTfUbBcqBUwPGMdbxdr6RYUQIw81/d88b3EPGJ6z1DbTnK5X2hSSwUElcnq4jhXMKBQWb8s5UKURmgf8bawIku+wEQiN82tl2yulXIkpVxhF01blia27r8+2pi9UL8xpLNbhudgKAWE6d5t7tAxXQi7byym3Wk6Xc1rEvo2B6lmkPZD8C5R/CQlBalULLtLh4REPRgGGUIvwTu+E4+wzVPBJLyEDho5KpCTqoBeip2XIBoJFXRYq8Te/6m9Bt1zGuR2++lbhAVXAa738HyTPZmPmYZ1lV8BeWBjNyQKbBoJPn9wWGw5Hd4vmiz15LiemwGDb0UQVA9OFKS2XXl86bQ+QwrLrIzN8HNWb1ehjNFPEvflCPXT/PgVTCDVvUIFJoYEN7mia1j2X66XEBy05cr4VVEdWCFRYHxNHfGFJcg4CbOBWXnrn3TNf5kUVrYpwnMVI9bM2IynaEMofWag3RjC0d/hKvU4aaWv2lnOpYXPk4Pfc0Jbcm/hYwY2qsp+lFEve2BB4ar8T+alS3kDq9gvt5QK3lpozRV9X1keOEyE8VaPBeGsPUSJ7l2WwrQqltwMVo+ZStcT0VvC/goWOpfh/s1U/GTpUIqn/NXcOnFCzndJ43d6g2uXn+2OORKJFXqkmNRL3eEsVDHSMn+UCqkUbA4FJkoNrqw5AnwdCQAa41U67zAPJXgbeIctKEU6m1lB0LmnKyvX/SbgFg7WnTIDXBE8V8nfDSx9bbm3500VcEVRbO3nReLdOe6TXh+2Fs1GyV2LHgGQmOHj6VKXtQQ1daIaJTIz3kjtuLWLR+JEW2RB7giOr473yjQtTkRd3PzsxVuzDCAu2kDcsmKgy/qW4Dac/tFeiYdSzcHDnLLaZ5ESJ/ETY3gFD+da/nufD7gml4M8Mt50eblGCS6J2lboHfciCepy/KXqHolDMJj6yx+RZVoJh/jVxHcoBEKSdHwJVNL8UDzWTs62JQ7UsIIOrHF3Imni/eiqxHtN1SFacVAV+0GmpEZlDE9iWNlAOxH/Qt9Bh6WFiGrDOU6UGNB/chC8qJBksYUvfbKn1p054a0OLyYCPck+zW/BSzrUVEiMOaqNyxtSnAjPjJ75k58HfQXlJ27qPogP1EG3XEu8eHzciZr6o1S/v0brfwHJkqlLEwcc6EcQe5njzIHKaGHOeSWHqiRG1zvhRX3s6ehrS43bqgv88yL2tMh7Ym/iu1qooOaU7+LtqADtrvwc2aweiyS7+rnl5F6gmSFBhcbqyI6thNp1NJCRn+Yq8QFrUhpzX6Ypo+PjmDsfKMMbroNjZrRDJd1ZsPdla0MJHNSuNbITOgHkjmx05KWZXtcAgGwP2IcyXB2pTjy9dvGdkq2Qhf8DqXsWA9ceduXAalGf7ScqXYACYEXAWw61Yvwsq+/HhBoSeAx5VYj9pFuAGFItjGgZq0Vy0dckYk/Q3FVhIJlhSjU47LIA2xkAYg7D2+CB4eJ7MJeIKHNx1C2o7Ycl1JKECamCAApJoKYXjl3gXOASitMuiHP5FdTwUsvuK0UdLpqMloRI/qCI6VtcytW7oQ3L4sV4J/0EufZP0xaPF4i6sNQ7pSWvjk0xtqkehxzsL1ArIbYY+8uzrn8j0JKutgk89mesFWqDh2dhlg0WIBdhF43FtyCcAsi3kOi2nqbzmdRd1MEc4SqLYUpMvpaEuZgNTrTji7lNXsJcgyjc3H6A/sYnQluNl5t81Ky3y9KrhDor8y14LjkS4c+8enFq8UiaXn0LagkC4Fj9D2KbmAu0c//e2rECcfboAyElvEghXKct9EY/FAtYz43USxELtC7i6/NwjQFodDF8pcbyKP6GjctmMHd2TltfJZBHOnXSvHUfJXOGzWX0h6vHzfHQfQbJWDlEE46xhOjo5RF3mfIMdvNj+h7/ofKa8LBEQ+eB6SLes8KvR+wj7N/Xj+GfDDU+OzHqzWSvLrtlBQ5qAOTvNwqQZRsRP+S5s4BRl+YNYomM9v85J0nba+8TRoe2Z4uFL1SVJy2zju6TbULM7SB6Y+d57V6jUfeph7X5K5MFlnQX0VsZrvKGz6+hCOjax8LFbwPgXL8FDAAT+KIUxTcKUzYNNxt0uk5au/3NqiDekEkoFY4KJ5maTTjdaef175YUPcVUbQrt6okfWVAGDy89U46bmJ8gEiuyYrqhLR+/RYQu/P0gMBeCpvYIpWmiTMgHSRUfb7D+YvqxE8VpZkkD6K5ljN/1TYxymeHlk0yrH1NpPbF3dprnHSZjK3Ug9p2VlANnaLpfE0fFi1MPfiZXLhwt2ilqr3/fsY8qWqyf/V1qJKGnLMgBd7mTRSqhDLGJd2EXynpUOtGmeHfZ1b+YjUx5o5OGQeDsHj/KAZN+XRF0rgnmnCZmFrMxES20lEtZvK9Pk2VuQMKRAY76b3TxF7caK14VV7fQyU73AQtHEVpiw+LuKLxrctcV0L80J4QptI8ViQoyVyh9oxfMWj5ryPcqNcV6Ns7iNnScMLYHbaZMPKn/HaqaQVHPK1Lf/URsrPbU4TuLaTdFPhpuD2b481zS2jFx8KdMykeXGqCfuenbnb1j7qBOE+n9CPjEfJH7sJegTH699ijVvxLFP8wnRBONeJ/MWEwszcaQq5ViLoVFMQQQafZdE+6cjBfiL4+pPdM3R+sAM+uXrtkRpSA8FaO6M06KwiYPAR32ML0V17FruqqC6wwMoluXPPxwwLvhNJ+GOScffiQy5rliAIK+x5m7Ada80mlP2BEqPPiaHq3wTOag7Q4/24k64g2lsGXR2BV/FHAiVUXzdiT5h0/zwhReLflGL8S6uP2ajlaN3dfYwKzMTUogHpThyuxnXR4+croY5om+vHf9/iLD+evf6SwcPi6zSe9Wde2VghR1dLuml5mob/nMLUaS9FYDuXATMfrtr4pUievl1JVPb3GRRpS/Ea5dgQNv21N6qS9xX9hqdCYTV2OfxuuWSI5hUIubln2vsT2ThPmceU5otMxTFIABscgvx4YpkL2hIDRcw6iYz2BWEUhI49Q5ltits0lQjDDAAuU9tG4pz6DBm7AO+tOQuUkC+YOJ5q55IE6P8OwpBqPFZ8351Vk6rGeC1BKSUITTF6d0H9VOBp6n0ZfR/Okq6RG94nJuCCvxcK7uTAoVKdhYMLmpcfaPhDUBaYJuVDuGMOIcSj788GktnM0B3epfSgEelyXY7y4xTMitxmKmp8D/uNRvJNkrs2+Q2njUUN93bvONvOTVkPeggSAgV0Fy0hb+r9GYS6cMh9yMQskCp2WKtrcl8A8K2RykLG3+/QAL3RC8HZCyASoIuOIGUAgyNQoy65DicF1eLl4Yqqp93k7dOrdoY19E0a2PSqJQED8AjpZCtNFLsIzb4GGwyJVeBWZFlQixd0oASBNBU5mYsZ5irtBnxJ2rqzW/fq2WYiEdrBfSlpKRK4eoskLJNY3G/jctbcACH4bGscPcobrLyZi5CaxQpT6i2+uBpQOQ2jlzBgncpa1VUovZUBWSiUDajrWtRXpe4HknJZ8Fd/m27NgRbg5VwQ2Mf+hDnAUoCZ0uOUNWL5uuXNoTOxXCtR3umVWe7ZBtILPdiokWT3Yb7SwO8S6m7hfL8MlMqvcOsA+/iPsXYrvlkfQKmyfdvz/T5RfckLjz4pi1qbrsZ0AyXyp8L2RfYjWsph85oLdtilbr/uurdstOu888LEROxkKCSgtajCdIJE4aUcJLNptBeeHwzUnhNtQ0iuwcIb/XIjipL6/Leg6CJex4UqIAskLtNURvxDstZpaOuY7R8QLAGomH1vUiE7NiY/0N3cBRAJrY6/aURhuJQVkBC7Sb4bDBNAhtSOjjJ36I0w2QexYU8l7IwwQyIO23tFoY8qKC2xdzJzB+jaG/NMSGTl6XWfJNInOQNL/rdXkL6LeyjKsaqs+A7jNZjx26AjI7S7RNXsBO01gRqMHCnVM1+dUPgZJqryGUnplgc1Wof040ym8JhAPCkM8OuPaXmYteXuGjrlAcsBFLQIgEZXUDDgF8QOw3wI8Y5+qbTBOKtM9dxK11chEX7YBTMPQwBjVHC3srX+YJkdxqy6ftK5xAEiBED9KXy28XrsXP7ZRDSlDpmxijWBfOkh6reuVQBtcTDPQOXFe2CBcm3RvCmc8O5aYD+S9qNM0xpRiWvP9PWbT+68iDqE5JxU2HI5Mrshixztwz4An0TMuIdMAnnlbfj6bWox4F+L8ZopKaHnWhVZKfqrRgRAR18HeydfyO0Zy+7+HE3Tsl8XMCA4XPxX3KrJlE1xeVH4iDX+4vOAEvGiRQtuCPYODJigQwaHpWVByuRos5m5xK380TZax3gbA5+fkbXqMXoBcQOw8irVmvvm3b9IkG0rFEKQVaazotjd1Jh0PV2CgNP5Dohh3YesVkU/3gf8qyZhblwVOP3AHWzAB3+KMpIvsEHW8B/4rldiQPdtVB7TVftgq1AD1xfNf5V2LVBPpbX++MSqSV7OPpY5LMWUnmPekEZmb3s0UVvQxYrlK+A4oU6qSSW9KR11+xuUPb5W7m09TUC8R1oEo2cmjJ08xgp/FSTqM7VLz3ug8Ka5ra3rfOLbNCrGjj23YczyoNyr+z3Nm4Z3oUGeUz7cqtoevtl0vQ00DGTabJ+dME2n9zHzB1XzuMfykRYkRkHNjuOxOSFzmh4ePzz7p36kruPVtGtkG163iM/HFMMXKAonCnWYUKbdp6pLe1/EtWBRz+IUzaGRRsht8TeFoZYIZylm6oLoNOt8nVuDI/M5V27wrTsIDvrQsexoj+v14b4wRAnoPf1HsqWH+5BUgLAWf6brkaZmR0uDboEOQvq61aE7QytDsLVo+x961dQg9VTUzatG58ipgQ+s35oiInnMBg3xolfZ+rDKRQThjTqQZXEzuO5JsGaUb3U26qMqRm6qeGo7m46n4+0a+pKBlyP6nYhp0W0zauPKDOtv5hXPEOMj9tOtRtugk0wdCn9chyF6XlHkJ3rqwV0L5lqdwcaQv6inuecy11K+HFtjvhuoOIX/CKbo6slApE6mCcp+F0VrYoWZZD+OHz7gnTVQ//cLUdVeeHHg67Pb9Trjn1yfZq4Rw+/lVPBvZZcesdTgBHJ0ORA+cleQqXS0w5ifjVHf8MXbGIhq29OxyUlX5w602lIxj8R353zcCigeTh2WkNdqe5KFRs2n5G5hinbp/cFlM7sSv44PlxGk4k+WcwVEWqradEj0jEJghput/VTOd24fYmyPDkCdTUDO0Efj/WmCg6S0vj8yTH5A6WxdwwqkaOnlUBgOwRW6+eP6npYouZyk7oMGCTEY6s1B5aUjq3BONHkV4WxewOS15t8keb6lV4oy/GtT02tbGkuEcxOWpqKW6yRsmC2wNku6mARb0nMCjeH68U6z82UuK+Jz5gGb0NfsGr+6edBL51JlMV8sTELPbz9RaS8lCGI4nre9YIDsK8wonOETpBP6TDf5Z2ltennXyPDYHJp7TsiZYRKwlEm44BmAfK44fGESmcLA5hz0r2qCwlbGWK6Eio0GxoKYjvNB02LEv4V2ULdLA0gDa4Hbg3+igzHdnc9rt0ZtEJB+07OeroJQT2kOEiYN26B33IyMagmRO2MLe0BdcmyShg7I6dvGq/R0DinRyhtux81rL6bHnk5+Ojd2BiMJZcFdD+agRI7oD+emtjhCWK9KFGPfcmUYOCi2dCUNE/rkA3UEU1x0CCY81V0PutEneLWGdf9btgjBYzxM432wq35XQYzkrWLtaRKJkEsz6uUFcbmCPiRklkHEouDzX1KSvAB+43s9DPVE6qjD6k1G3pCsTg1JNXSr5iqiRTGrg6Qv2RhaOVQK3+LRa5OnP9f+9G5rIskUk/COItx2Mg6UcN8r1nb7JRxqXBBLTJ9iskpTkoVKyUbM977paatCeqSk6Vfw/CLwSN91uZ8Z9hFCf12oqYR9YByrFImpzmaVDqG9LrJtjBe+nbULGAXYlyjRt/r6hqoc+v/UT+XVOq6bHFz1kd3vh3LBEqXEwDWxmOhLVKQk/UrNTiytCCFu032WxqDMn8CsZ62bjsnEz8O6yHDcI39YsyKYeeCh8lAdNJrp8BBRG4KxcZdiwai101OucqH2VfynG66reW/4Ji5YUyOr//qo/YoGzSQSuGAk0cziTrGSdBYh37XBQI3Z8F/woIh2Ak2LLd/TbOzg8IvL92dy0XHxC9n40Ykv/tKd/aTpptKsdyzperWgLTal3NrZKw+ih20LiWTg+XQuXRaXxmC4Ji23M4Dql+kcujCfn5UPBeLq1hDotZlfMrb6PTQ1UqY5cuSRHwsqxQTJeOmifkT569yF0xfMkLg1cGmnX1c6tBOdbuI882Sx9hrid2gzfkOwB/aH5CfNLwdnwF99kJrmRW/H/laxqWwc2xAQWfohCOs5cGV2vu2smCFTPFZ4KnuEI8vbm5Jfk8Jx8yKPUSj8FO9IT5nxqcyy/bSfEwwKcnCW9tfD5XUWdt9upIau70p5PFmvqQoNHdi6HuifD2I7M/njsXCtdMFdS3TxseuBDDW9CdsPlfVkdH58Mw6tSEGW2a0rPhqtUtLrPFaAwPpjgaE0EnZxSvAyWD7ufXEOKFFGbcz4ovTsCL7UPFSagKDrqQ4Af/RVTt/cy2OiGsp6W+dk5rUBAruIWVbo99hQPNmW7IAzpmi2LkCitw4x+J9HkrRecsh0cyXQdbeO9yjAb1fLjm22jTz5O5dwl8Xkhq9BUjBnuYavahoZ/529NlGTPaZ6OtaDxrNnrJEGwYeMx+ko5D5zdFosTAZQjcRvSm7aDxw3hugqj2u/qfQr+oGHhYVQXwK/99UnQ0aARt/kFbXQQIy11mo1djC+8cAhfXjfSQbu/qRWzEW0xI7VneFDnwXdhcaBrbKTyBUrPLLjEPm2iMJ8/cHAGbO5+7RS3P5FDBDx1jwHBxKlql6uZn8yPfjEEhrPiWw4HhIWZYaQQN//i16R1k4i1HmNsrmc8mepDNttTx+CAalsstrQhZa+CgKmDudqq2/NT37DuYkG2MjpglAZl86ttQAToIhsEcx1tntje2o5SYLuWt+TLdVqWCedHwiHgy+f/oiuZZvhg2NKDBdBx3CAo8kCgXSq1vmHMaaRyszI+E5M6dBKt9QclX7fB+EQxApP8sdclIuf18dqhMzbSIC7AMIjoolfOnpwTb34/eOX8ZjpLjaf5+mdp4G/mYM8qoYODqYEsXv9Loz9LL55PN3xJ+DYwBFiu5Sk82W/le1DPw6ELLHEZlnV7l2+Gat85XXiWnNZ1Pn+RJ0E0oBQNcXtak/mDpytQgkxqXvPyKXJvHWSt/VDlYfv4PJbkx2z8P1SvyTUBnoc/JauwESsOnHKYEMEJVsWnk7bZWd7LOwut5EF/5gKlhOyHBHnUe6wrhkeJNtbVYtDQfcYxNDR7a/4KiIH83spEirYfZyWXqTApt2xPpVDE/AMWn6+VluxrYN0cqO1fLiFJsAAcb9b0+h6pllp69VPZCIo/f6tjt4+FgigInaTwP0VvOLGwhW+4aOi33FM0/ic41R/EYBbqY6+p6tBGfLvuIGeVziqreTFvK7fLdWdt207hVIbsz7oSeJCxPFnDSNuHNLAjFdlBUientUQOnUTx6MmU8N7gRFVu2tGJaoxDViP1CUa6dlHriqVJjLQnStnSjTR/nCtGrjkkIa58XYkxcq2xgQtsyO9XQTUkO3RRxu5j4o96AqU2ThsUrWae7FhvpMeUUUG3xxMBxWE2PHE6CtHXnzE1Bwc0EsogIRoRyeaRD1lNOvp2CBOEIbLIMUnEMavHAbosCcF55+jKGf0iB3ty53GBexb/C/zqkaFqILeP5Z5PzHSwBhWivmO89CLMI2+8TF6jb+h0qncfI/bx1awl4C1WRfPmZCNrkVg2WPvY3o2ZR975EcccE5XA8ONUsv+O2yF3rDLSkBKdy9gCZiNW96rsAy9QSnzmuiDva6nCr9TsZzxbNmjgDnVGLKNP3jYm/qGLIfzjxSQ0Pbi7Mx1ZSWUMyx8tORJyMCHEQ+/o4c0ozeh4bh/V2w/gdmW7HnwFVDTJNC2nhBsNxolG+sTZnIUSmZ1NsvlE3vT8yKwfyki1knk+Rc8YWF8BiIyilno5KfBeacdy4lrsYii6MMWBn8FXnCAaMaCn6f2Yvln+7fQfVBxdBV7UO7NUNtIaxXkNlyoE6vT1+MBhHDQBbYIwfzFQPfpAw1IhO/sl3Pf3XJptz5BUEIFsLHJhy3YZwe+T7DDilXTIN7qZme9oLVeY8qHahGDT0bGEZgdoa+0IpQ7HC3iP6JjdtDpS/shda7IfWO/MeHovJVnOhqlHTOxBcRQU6ORDveAKVGrVRPnhok51Rnv8j4H+WrZt8NXp4UGcGmQ5VqRYs2azw8A78m9D+BsTY5P8JjU6Pr3Xg+yld2ucm7G0zupN2FFV0AgrYeoN1xAAJsH6pAX5Ts4SxhU7HOTQaKT30hzUGPLYboZ+MPJWPdV5KyjyQuArLPk9+JGUZa3PDDYxz+FxLUC/XrNS5CFg+uEJUrAJD9Cvs96FHQJOK6f/Wc5bXgV6K2oWUO7MFUX8Tu8emAKIPSTy89CzZlCAw4L+kQgneKRAcaBb7njKTinQNdtjSPq3STkrncRUZKtqeH0f4eDpaZ2yvU+NklUHOPp0Vu3iwD+u9eeP4fVd/ERps0pAbvNXBv0Yp1WO9woPNLZdpVPVkWUg3fh+g4dWJ11xhV4AeASrV6zuaSlj8ywBzNJW9U5FLMo4eeZxV1kO189mxJdA3msJc6eiUcXV6OPVKykENFnIENY481vSuk2svGwiLf5dMyVyXFzT2dcFzpePpY5AgbMFGtYVkjnPoIS+XWu4Hv2BRWdUUqfYgeMHrPqOFn5CjzZVmfRceFT2NHbaPc6oL/Zo44Jq2OOG5rSqofpATUK2x3xnn3kQY//AxPurRuqUTjA9m9TtlnNgEYK0VGtjr+y0D46Bmt6M36jfqN1iJjK1PDOtatO5XZJw7J1iNKaXS4/Kwlg2Jhm/ZBiUobWfil94qD/4petbk8O7/enxpJJD5FOF79h+4wrpQpAS38FLp6/yS/ikqohN+99atYz8VvNln3rU+OHyxrePp3VFQ0M4XMLuKcwLue8VxQhgl0h8gd/CpCK/FNGQX5+B2GH9/DnNx0GUsXVE401c6UfryigufbykspW9GLLn1IOprqYT77Tpqa3Ea5SFDhLU3n1Rt4AZTtLT1rpyOb/aeoRxSl/m7CtgJvqljGcbD54VCNFpeA5QhQJEoUR/dK70CKnm1QuLrS6+0mwDynk11fWTk4/WdkH9CTk1EqE1JnFIGFe9hQapjFf20BgiaUyS6Lh/MX+BNPhXHJ95i0EQL/CyPvNCUKf9sybh/vLWhv8Adv3BU1AGJLn2QTyhebUMwOCHU+RsRVBIzHrRlehrbSgqD2q/4BwYmWRRFYwFmuzapDu0AFFrjDJN4hDF1OzlIGHCL/yD/f6T0xMDnFtIR3v0E2a6vpmXY3UfpRCV0j3QflsHiP63mM2ZbxtyH0gXGGyrpcB9L/UFPzq1luCAm45Urd25EM+h0lqnGHGjWxmp9jW89UOsFmV8dvw05b+KXjOUGR2YPsHbdEyAPCGvASAVQbeV81CAEiGg4YJ/FkirBhWCoXZv/Q5uIjqajwZNFCUxiEfMNL+MJqnz08iBapydW5usN7RnCW9w4GFwSYAQhIwCKqMkLER2BgsP3NvUgc7DmrHhgDVdsmlN4zifx7VNlVdJKI2Sl3/8G1R78KdUmr0StE29uPwS5/P3/kkOwrqMLhlk59IPTzio5MhC41Wi7dqHgNXzk8nyyJoQn3+w8PUhilWahh1Zk6TaT7ELGbzr1G+U+ifWhlowKmfImTTAB6st+Zl6MBsOcH7rT0XjIS/APmsh9w/F3NYZ7gGUhunb6aLDPkUhdvAYwnxp2ltEedc2wDaWJSAjZZHppbYmGrVeZlxDX8wCeWhaiXhLsI4Opi+jSBT+/04orYZOHV3wPtkaBiIYHxWuJdk4BOgn6gZCsS25LKCgHVgP2CUWx/RyC0jOzq2zpiCgUjiNFOvnuUR0lvbKFkmuleeAdGTSunAn4a8Kg/JMJEEKNb/sg+dteHQ7Qa+UtxcXDz/Ha/4nzxO6QrlVxNWNxNutFZAhF37GQ3z+Asm0u1waBQ6/QGXEfbpCGzwoityRyQUBqwKc+36wAB8gw5DeKU4z59xCCU2PAYm5uyyKwP8vkerttCZK1OKKjsqoLiHH7kDwrmHbQw3Pq3eUhz66TbPDz5taU3dHc6BItpa+LvaiFcHew8M+IAQD0r0olKDACj4Drs0S76EIAqEUgct4Mkbd/lC5xN+kChTvm1QJjoUFVBEyyV8RWCE2Lti9kwjGEHoOMAr2IpXx3JLWbts0EYtWsGByAAWLcZq7bdb1jUpJ1h/QwQIiMKfFYxMCGBVcr5PAhlaRJ7M7qvrP8kbodf9puvi2OVNud0TtV60XCvufp42hDJWy8gOdd3fu+NUfpatOJ+/foNTJP6OihIxa5e+23kqVF0q9TeZ3YKvzjTIH+rNBN8I9Uwsm2dyr45ezswrw7vsqroJWLgOZmHEPsSDGyvh8cB9T3pscpXzlY4lc85DtPd/MK8v2AIe2vTVuD/oL91XGPDc9PKz6aHqv/VMtEWTa67iEX+MdzD82a/dIIWsZHNX94csKkBSamjeECglyjNK4RsLxGAUABqhVL1fcNMwYy+dVfqP3iDcMlNRwduR7MJRa2pRH6+gbzwNvSAHt2BDfaTGMEubew9zNtjmrWBOVlxbARO/HN6yGPFetqD/L75VX+C/NEx2jPqn0FLQn+9rzXjijxmduPdeQZO3701SwuDYr/KBFG1sFWCPHSvkcZRJJaK+PNifQqbIXsZr/uR2Z/HDDKuTSY+/+n5K3lqhNmtuej63VloMCQ7wlalzvgahOfa1DMXBoslYYPfCNYMakEAzxDfIxQb6emrlYQiiYqTBUF1qKPxSLotLbwLq82ZDnYlHEKGc1AdRNDgAa1H8AfGdMqiVLnf0gvom6NrAkECPUgy3VaAY58tvP5kiD1zfC1bMTGo6NYtwGbqbmb+HxsdvY18+h4LxRTThLM/KQdWznbm5hg9cErGit729tvvQMv+cmqrnyTpjLbW/8aqqOqZOA2BEok8r7+KBrLH+86y8eiosvJnlWYuYWb18JlyVuzTPHYAl3O9OMXmoqykw0ZVOk2vKDPk+XQa+cGpsJUrRpBPM1C+PDsir+rOHx7z0qlWdvMhWdP6zQzrTEEcI4mDmWLYGmhhu4RpKSU1ECuDMwZ2fPDbFuGyfldgodX1RQ5VFiw2hsLRXnikPKplTOEfHYyA7qC5oK6k7/082bRIfajrojY/3/SV+WuC6I1UtDSUflu8RUcn/VQLN5B98A6Y2FF7PRF295KTewE1Frtx1F6pv/64LiL3lpzbOEyKjVBCvHFkhpM040GuTWTTGl2AeQNisVELTUK2Vyuc4TtCe44TmzQyOjX0Qfej3LZIQLRioO8sIykrL6WOfn1NwkQJPg7Wd2QhOYNJ1kg3RpsBB/VhM2thACndGmqGdI+2yCMDdTOG2104v88Ll7J+qXLc9Q9aD105ODJjCw9ipB1Ds/pxRkkOfpraD1b1O3ozHikZu6NKs0ISPNdU7fxb/R9UDP0dHy4vi7dEFakzAgJtshdsQ2Gjn7tEuwpmBWOk5V3fE+o3iz4Sj6q79GyC17u2Us/DXqM5hG8m8G7pCm8fC8kbF35ZgnAfeVSV31N6L6RpYM2HlDtFKg54/kUU8DiuxEuqXUXElQu3YI+TzbXKpVCoovPFOcYF0JLo7HwmllYNfDLxEQ9IVEhereTJMVpDnRMFRJApNRn8MnVti84W8nyb4KrPVjroTNVQA9MkrlV+Z5ZXz1C6mSuWyJowRDmmQSA2EUiU73595DxcVOa6gUn7kkxMymS4pNMrJgDrUkXgrRLfBnIol1P3CFoMItQVzMUEM/dxQco+7VDVquKKqdIi8LTA3X1VVxT9zBlJD9lWyJcGbPLoE0HfVzCCpmpCxPT8XVf5LCybc04VPvOadGOTIA4uox6og4bKw5+ef0H3Cegab+GsC92Muah8PVHqajj8U34lzUiqm2JozwnSc23WaYIaxUh1c/9WQm/sRljIcypazDLP9yNUE/NLHFjGiSf80upTkmUWDMIYJeGRDuKaxdWy37vQUyckQmJUEZxA6TYddk+MLV9SP0/s+HT4tFZLiMWfLhktl9p8uHVDUXGHqDoMKDtWz3Dtp3CIUUtO0iqX7tHCJLZbbhMUrFR6QC/mTY71JqmVHPwNUOCKTVh2Xb/0a2QSbvHX1Tiymd+KgZxkZEZ5zmVnEHkMcFGF0+kOnwhc4DTw6cKqjKxPI2d5MfcU143UxuQDkVZrhXNr8K0sIPUNenHRAY7YdqBGlFUGGeWRexExTltrHjTQbC6WynJLiMjgDRyoCuzKJl4O0IjcED1bHRVGJfkc5BgWu9/klu596PZtVrAnLM4XyT5qASyNbuSig+5N63KnwqHUEg/mv/0vON7XC4Z5/7bIk7Ben0hKTGIYaOuwxKkI6Qd//BQcN4aBK7CaL1naPiSO96o08FKHVEA76qvtSj3RsUov5w7I7ca38Wbt3G+415uAb5UzSMP13ah25+YH7f67bjyUnKxGLf5Qi1f1HqhfItXFFLdPviXqgXAle/5sIDMWe6lV7rKbU2ZJwgkdjtKfSXRa/hxX4uWA7oBFyd3F1ndfUZ5/EWI93gVOLJqlACJDHsAdb3YlntnT2aP24rgUBJXzESyAQ/ZfMgfCi+vM48ER9keOmVnXOEZIE7sm3gLA1oNFhZSiwm40osqhNWYp92SFu1ZpFoBMq8VPtcXjei7UcgCGNTs4+mFF5CTMLBJ8S5SaG07+VEabldZtXVmEzDSt1vIaZ0oLRYZrspIMPHI/nsE2p2vmefNbmeqp1hDs6kcoiFfrLy/lZs43E8T7ZSRID76D+LDbtKqk1sKeaWB06Mht51fkRiNk+c1WwE5SwLtli/NSD3df9qRp7UGDRz6yW95GAKsDelkhddR9CxzjXOVIpeegSWy2nkZUZsSMKYRGltlfddYYaa9rv9lSoUfrWk3a5Mxuogj9p5WDZp9mKn6Swyyf5iCHvt0u6YVEI2ayM4i60RYUcmRzeaCuDaEXtDWIzmL/x/UM7KIicNup0zXEiVEHEcNuHftLcTMEEydAegnazQGyRl9mUDWZIIWT2XnpsPqN9sSrSUnl7QixEEGSvv1WU7MiOSSsBjE1B49hAkKv5pkl5FzDZuC6e97Ui/Zwi319JYw01oBJokPHp7SV4/r2psj0OTYhxCYg4bFOi10OI0JCYBWtpKhCp5L8dyQMx8R/c9fmqZcTOnPedq0WHb3HAHJW7ygB2FsZozPK2wFIdkgzadOC8KjllPjelvhb7X57X67/upmyoMrqTmV68vtbRL0yrZg67hAVbOPTXDJ806ICNamXlSfNqedzeIVjU4h2qJ6ZajuhJSKBti8pWx4Yq7qiwAWQbIgIS/99txVYwJJ5vQ4FzLZ2ZXV1Yi0JLrk7VxYsaWQhkkIhN31OYjxdgwsxboGoaNSSwhEhlflf6jU1mPzjhII5rtgtEawm5Su2h4no6xz1I0GnEOqZMcfTv3KqcXOEX+0S+XRf+McAHfnp/J1nD0XEEB9kxrfHd4Pizl8Ot/btrz11+sx9lvcUX4EIYbW6s/TC/hY6jKxU/07wnlrE4pXXopbVwO0r1nlGItkrOFIu4LBH5cpy/4Ozp6vnNuOD9ekspQmt31lz5X4SPlpqUl9kQAon9hJT9FYXpX1IYdqOXF5TwVjX/qpTCBUuRu4i8IFKCJGjZWomAOqgnQyXiKCGkFtB5MkHincDoijbFTB9mCPxDtgLuTiub++OtuGPtRfmanKKFOcatD5afN5VfvbL7YwcRSx0RETe7hgSD3v27ZRGa51EzZZ/SRhRQem1OAEy0QbM/zK/6oGU6wdLEhnWtRJlekesgrt+3raKIEWh5mXVNhgNDPmNVMJOkwnNk3j/eBOB03/E6cqYoTpvfTPAe+pryGG5/YhyLiwACUubiyIBUxknjsEfLP1GoLUAHhSdDQwrzWvByy7vyXbvVmS9uFAhq7yq35Llm06xl4JAmsdNATLXcUDWvejrILpCoNSTonv1XjS7ZnopCeNblJulcsxswnZg9zN4bozMv+mIDfXHA4IKvJO+KHxQFZNgfKZNTROgsLKW/H0ZKwlKRuch9ymM2x1F07Per/QZUSIK9KAGH25BU/3q5r9Wl8NpNUBWO5nzH+CK+yqNjCV9BtoUWFprlSZdf1IndquO5tPkglu6zP0LzWzrxAnbZZt9FICrmy572APki+OodI2O2QjRMZ146fs/Y3ovEOrThsbHdFQHpAlkPQ76CVRcTuPGwEy46WhtNkqTRjcPzty+yyyIa8ErGmvOIAlsLkn1/wO3Lny60XygAkD8KhRiSPZTFYvGKzcNpDkfl4FCr4nyx0N0B+X181kKLfwsKM3Br/QXECq6NHqthq/2Hza7zdRckVOfX/kOG8qVKxqfYv2a511UWx4jOaGhxGia5qK6Y6yKqrWWBGS3XRT2A0AuEVHgf7wU2hw9qhc9pbmrNCIfer7lLI5biJg3yk8a2+/eJ2PRB/tK7vNQUSZ4Ftd9HZyvNBqOgQA6EbkQKp/guSt0S/Q/MdkdwPLP3rS6oFsqXjfF4Bqg0iiTckxDmyzTl6CUtgbFiC1uPKQ8WB1i62cIFqGScf81XD3mN+DEbUq3yn/Z9muMxo0/0kl5R84K4CeheE932yYH7rZSxNvy/vHUG1yBwJupYAAsgzFAnk7xAfsWsT16clcoYB0b44oad+sBs/XGv5N/T1gYfu+xuxFmo/wFg8CXvyEmerIOBd+5YAryvK82KgO+mLPPLEnrWShpzjIe/4xIAvf6hJP6a69JutGPEy5HExdenGVCuNxYqrzhtEWe9aZP3Y5BsDYx4toqE1GlAMOfnY5sOc54JUf1WCirx5bkWv9rY2aQtzLcQ6eTXmAAfOEFkEqYDYCjMh2BDrZpBCSIroshRMpLq69ElnPEnEaE9/JExc8Rpvf9lPcpEJ2bSdjvg9AL464cGApXaXT6DGtimmjT51aIKzCxpWj6eD5tPQVZB+NVUZerfGPGIZ+VhyNpUg7Brb1miUiGn1LelY7opv8YbjyvmeDSIHrVPi7lCHvPafT5H7SpVkWoYau8unFUx9XSjCGwaHZAYNwvfAA6Mq5/PHz+QYsXNIfCKFUtkC42j2u1fang2elVHY6JlM/hwHwjVscZjs3/YAqvKePkuotLOmsPle2H7FqFGBJWPLbdjTQip7hKoaQpYCOL6TVGzNlPOnOfSGuKLoFezam6YvY2nLUNzRAOKDEH48yNIdPS1dyZslWFzVUJMlBQSxk9HMgqgjpSoWtWhiDID7VkzLFYd7Y9fz4yL6MejEmknHX4giNcjNLV+5IHGhzAoseDTqBqAUpg80xIBOPd69XTdbxjuADevvOEphbCG2n8Arw5I5qmNp8Dknxb5XkG0LQyp3Nzx/8fYatZ0v/WyjvC0+ijoszF1kynz21/thDFe+75stPn43qUVKsqVnzilteQtLggxyNm2lh11AttvBNvCgV8p7rDAUJhLpeU022WmBS1YRvzJZDKpaBZXNOvDACjnBkg0FNZCGJLmNjD9h9xis4L4lwmUWXN81U/zH0kfvpLr7pCMVkTIcZZjcxQU/sv6Hyy15fEWGGXt+lrdrYxONXJGHkUMlkiDZG/ANymEgGyR994tmvqql8vqHSyLiHmGMlhXXtrfmI260+JBLtHHHGGN1OmrFAZFqMviO2XBtx31k9OaAmaP9fKqLggcaamLgWlAh9g1ZIHFrY1DebYwQYrUn3tWNom4Wt858o5RKhlLC/wP/8tkBM46JUUj7oD6O5GALMBmXpJaN2a8dhKYTsEVG5lHTDm1Et8rILy+eUOgGZTK9xQF/FRZZ7qoHTR7jxeqivB9IUb1m3ksTkaRZMr/fUEHSKr3EcEoozkeIJ0FOR3MHyPNeTDU5/1qgAzA6yyDklkISQwJ9pc7pugOwU4H6xo03fjkzYIGkux0Ta2/hEwwUqzCGCUu550IdyhNoFOfbPGP92dXucshAI9xCwR3AM6ofQWweYIS8ijmuGbpr+bXU55XDjJfuC77GHRp6baRskkab+NFnNgVpiDHEbBP4O0znTDBVKksjOgp+j+9+R7AGhNbwGNTQPblKMFsqxKP0uF6qnNXwiV4JGw0IHqT6jYyPAtvBVzr+XVlu+KO7956YiG81/pf7pIEsp8aPuIU0vZtTduyOdeI6WnaL6G8/w54zrsZBaaGzuGGlpty07fEYwXMmIPUwwIp2CsfTVc2eWan2UhpoIZz2ehKB5VeciCXnOuxQWVtL0GFjRRRSLeYvDkojMMqPlPtZfB1BjKW0navyrHD+9j3DGCgREebReMfVtlaIySUfP+Z/5I7j8aOaTuPfW40dRrC5psb3agcuj3Fgfq6ItA+4T+SoDT1lRMan9kw5Q2CZzYAGm9jGhw9H3+q459lphdqVCkNF/GX0inqwUFmBkADRacp+5SlNapP0cd7tzLBYZbEqfRYpH2dpVcVhe0ilSIEiPCc4ajxI2OHv759uA7CVFvmNc+uCmrgHWyyfVHF8aAECVq4efmTbYP4ZqcRZ0MibD32kym9+Xqxh24Aaaxw/lrn+WstUcaNAd0eIM5i1BIAxaZGUetx3DRle2Ebx+5trBO51rSnwO4717Mo3b/2Xe+aqhYrg8esr4xMefOrVOVtCmnh1PubZJHJU4myBTvj7mA2qpvWooowHANtbmRzPZYhsgXMV9VLq2zKthsc1p0Jn2W0QnnHtldUxjt62MY2/vpK4ufk92sIrUjK0AaLK9jCCRmN8dS/9MMYbdq8hFqK9VQt1Vk8yJl6AmFFmlnc92TkBHGMSZXWmVWo/rqi6QYhTW5VFcmHIpEv7j623QQOWCb/sycKa7jNqoDldMswJDEjmPAjHlAa85UvgB4cLibCYNbatJ7KHA4v4DZQG7i6t35pGDfpCIO08+tPv2Ph+j28W+lvWjIC55mMG0NTh+1eHYdR84SefxYw8mUo+nfJF11j7Eq2YJBs45CQalIGnDlH3Bf661dQcpr51emo6UBfCZ1VY14b5kE08DmejyHJXmPWXgvQZtYjijQpaxr5B1FIniyEhd9yaYevt4daB8wwZT1GifTvE4hnDfFDtPgdP1wM1aUupPLBAul49oU9eFBawf60OL70xzoFMIVEjKNOJLmUCwRqw21N9cfnH6Y62ILI0m9pdtjDHXaUJBVXOjYBMxD6JmFzhPouTbk/iQ8iXjj+IpjWi38I29JwchrtHFhHPzwpL7yogcPrwJXLKk5DmdfudBKaIvSfR0Tt/HFqiFee8Gc2P1jZDLqk7FrhMyDlB197m7YawVPmoLfrZewOrf67q++8yMkqpLaKtaf6Hu4IPsWfg5Vis7YOka/vXoxr/LCfPcVXKy0dhBLoxkrDWIRjbAH0blW3FKXARSijuLQnzsriV08m37UHQ1Ni98Y8ZUxapYMviAFxIYtQLCfOHBiVaHFUayC/QVJjYuP4UcNkOwblns1nu0vHiSXrRTqBcAYD1YkUAd5o0cPNO0n6dG286j5RNWxcbspLAfjsN5a8qOQa13IEwTXickvsJVopkuDKpBMibKiQBLZ4s6qAdbRl4PQQgCEaBrf+GUpUQgaYjQX2qioNIsdCVx1GRXIzGF13gtpuSDviwTrPqdlyEAHisiWZRyVDXuCUjkSck4G8Lxjz7Je86Rh3Op6BetS1NqFi7nOmfPrlpp+ZjdW9yFnjpiIASObi6vSpf5EsfEnCEQjqFOQRIh9F8KJqTeiLzrA3k0+NZDMy6ffTLEngb0YNcMBm7tnV7AQ/fBheaF8kBaW0rwaS7d4uXnC60hoVwLWCU+Hdl+DWXiicZkhY/p4sQ2wDVDnOCjxg49wZPv9pkPyR33OdjCJBJROTxZ+0h5pq8JLe4Djle2KWQeRvZKnWD08pJHwqg2ZaFy6dSfujHgq5gTjsJAXSUXqmQhAGgvyj/4bh3uZFWvS8VinPa0Dj4vHsZxHjA0XPJFFXdQi+voxwrFs+OWWuv9sZ+lnWqc1y+ue/OTXEOV8QyIRsu9+TJR8GQ5KI55jDHf/1xagUt8LpUS4QR6UY4eoBr4M6yMBCZweaJynjRbsZlecFQcQqLvPiO2ppNVD4J51LiSmi3S+m+3JCVVUAKro+ptxfjw3Z+Kxl48utQOD2q9ojidhd84sQ7WV1xroHiPOn83DJBqCFlz5f4Vf7iXtX+ufqarxDWBXsrG9PsqWxLDv9qUAodAWNeS4YDW9HK2c4XOTZbm5NCCYRqecFIzWfhTOXfn7SriRXMVWNrZMt9daneN6rygLHVM9imJYq69F8YXuSYrXdB7J7aNNY40lH4uSPy6DkcVhovgGanbAPVIDAuOhr1uXGqfPjNpa7AKXXjDfj3f+o0Rh7TjoT6CjJ3/+XklH/GWsXKcR0Xo7P6PiV4+8nH4GZKzqZ4nbXD+Dgs5WGGWuGGe1f/UCzSXwxXPMUiLOtWY438vu8c4lLh5IEslwRNCRWw8kqK7kW/nMK+IMJKW+DmDxqYzpuMaaJFWHFtmknlsQ8NkjQx77THSQk7GJqRpjuK0ZRxXRfX3E0mcMCzPafTLzYmFN97Jylim35yvql+h0lR1Ax3RN4ZGX2/6/nx1s23cp45YBRHPxXWPhUObiZlExpqsANkdP0nm4xievoEzUov3YtDUPpi+7JdGQRaUn3XUbWu9NqSFmEayB+bKmsnjopVRMdiYp8UPNfrjJoUCA1aQga4EZEYxfZNv4kzTEWcJfVP6x6gqPxu7bkIJcC+77OxvYmy9vflYbgCpoLHQXio6VLrsP4lzh18y5DTP8uWpsIY6c2RP6IH0PqvI5S/uC5uWmzQjcLqIVHZiJFs2rppXA1tdj3WawlhcrM887N63F0BaAfRD7/Q7xgWEKkQSjjapu4SRzMQfQ33JBdMteXY4f4B0et/O7iHxee8sasQqPs0/21phF0wQlVWdWX1nsXTSY6MARQk4gXKIlWa9aif8cj1JNpoEWMnEmEw0vMBtxlu9MCqtE8evLdXqUa8iLYZQkNHsTUsyYfM/HOCil4CiVgihjTHjMvoc3/w1laisYichsSkk0AZS39r+tEsDybEG9ppu2saNlvB/zizyLexZIAu4UiFZuX3p/xcPT8MO0i4mPL/1FMyM/T0YBllW1NVVO9Ctd6KwuRb6mEEwfWkzeVeaBPXjRNBlXZlU00xl/UupVApGtqMGP+nE/pVDNhiUitKuH1u4RSDj/zeY0noQXlHwMzBUNlI93Vfk05giL1Qx1DjPpiBMiAL9wZKBAFiiWWukpo8z02QqzOLaT/nxAO3dSZ+cKghu1Gf1zC7atm793MhSQyRCAAJxWwJCP8ENwsYmbRTZqNpA09b2F/bqOcbDfHtWojzaXTFgCKVfZyUtJ34od93mlG9vpRmWqy3Kq7NS+fMZssV8RHVqD+Vv0mX2AVlv3RAKWLjhl+BK8xc21EIblJtOSR2/cCKdKTaTkwgABArC96nzP+p1Kt89wflipxramwukfrNU0AYDxaKSbLpjYrMeHHM+s2ZjUdOzuXjpn20qApDHsEquJE81d//FjxaiVTdDMJsMgWxj5PX05L/2Ry7nFu17Nf6iSdO9mT4S+p5F4CT7Az9pP3MS2DhW+6Wp8jhBOXalr7S7ByUHZzIJgp4XW6XjsaM4puhLexJbn4qpD+zI/MmD/45/4EhOR28cMvBbLFYjM55JooChWUqRRdFEhhF9g6QAF9HevLoFHaKAyPxbAMCm5f2yWVwfNwl8hO8tNEdzbiyhVlyS4tp4zMSWi5QKC6KMzDipYyy1KX6YwbR+Jibo57mrMCmjm4blY8juxQHsvgWAQYObSSlJx2YCm0eQryD2DQbSdaBCFKva4QIT8EVfq5SNltlGAfSEgG/HvgoQU/c7fD8FNlfnwbU45s2bbpe+xlswvN4I0we0rUVprelxD19BaHACS2Uo3nfxmbShmb5rerS0moaQ/8NmfGUpcinLihbEsBLTvsqDAvKuRyS2VUESnvjHUqSRFUVeIcQf+mwhmQr00He1YGld8JlvP+MPptn1K5NLpuJMyfqqpn+3Hevnl/MNDJ9+VMdf9DpK91G/2+pIzaj62kUfH40ASWzsHDVtguuePX6R1vm7CoPwZov3VzXqpCo2tBDTqQPU2san0cr8EwbQX3PdjQINSYZiBPzbGazYmrDnd3Xj0E4bwjON39jOJVUss32CWHg4amYgywCG39Rz3ZKtA1HOlfAJwYTELWSZRE7GGB4nEVYTeRtPwhAVUrTlohCQ22YpBUkS0jbxEfuRjcZOuMTZ0Wd3+dfp2y3FU0x9um1ue2Hh7vTB0/piAsO4+Fd70NqiiVzd6sKFFEZQRek+431NKUJeKawAiv+20FY4T7JZJyavOt4jrzfGOWj5Cmw53eLCBBSrafuj4nxVzzFMZ5gdECBX8xhh+E3cwXJwHDnhuQxT9HfZSYRbjCMdD5dSIy9rG0xloDq/nB3tp6j4nClGEKVScVKlT59tx7jTxFGcarPAUqx9cHyvJcIkx3a+kPNHwwhuicdM2D5VvBAnu2ccjZ9FajpbfNOyeVLB2ISmCPxiHAXDTRaTrCAuq3S1QCb68ripJjNcGOv5A+5wFuRFx2pU3jwN7vRjBO4wMNt2hTjgp+K/mnlVm+TRA3M6xzkTW5Ovu+wGH5LTHsChTyweUVm5PUOP2bgcTpDgUM7yXeVPFYX9ol5QGwzLUdb4v/zfae3uYxUILWhDDckLhbFiBeg2YUglYSeDze5UJr5lUQEqEGFisauSxUQKUV+KyfTR156vstQddOSMEUFw8NjuZnzkvXpCaqfvYandZSUiRy/Gb6Yoa3TkYKE4XYPIxaZh7b2kG9hMu13ui4g4dUkE8HopcA3snu+XDbmNRoU3F2E82b/M4nrOF1RQafx0RZoIcoZdXoWettNs8lXPsOLss+mMBDm9J1zXsnx8hY7JjhMr4CXXLQ9Xtu6rIE7KT/YTDEJXoCybSXoAOzL8o+naFSNNpQi8cqvzaz4eb5Umg7A8b4h4MNSHRpnY2HJmOT8SW7FQTHqBFdUanVp1IRXOen+AgRDe/JEea7jbmCuocjkIjEAruA4aMtxcZKNMWi2jQsrwaqfoILObezbAKZP846xjZKm4tjEmVp0M0w1JgHGg/clkcNNoy0QMM7ooUDDFgh4LBlJahtSICFRcWF70UJ9E6GKVPeRXhwRTFmUwfjN+upVHHxy7kKmSp2IjQC6VSAAfaUTgpEPQS/qu2//l2Q16IgruEpp1sBw5Dz+i875xyyCq2OTsTRNZqFPGr5dQ1AmTHDTqw+NrWgsptGxwt6k+32SiC0oMV6Mng0HQkRPYYUiFmHb7C2OsOje3TYjiZTtMo+fINJU/if/tML6KJpY545XqsuZwj+gL8z/nxlTXNE0Z7Fobvx6BHDtsrEBpZS3RJbrq1ttU1Vq9FHZru8jZkmzo7m9kGwnXAZOPSEZByF8IKXig8+DsoTIhqMgL9BGJN4UfDo0gDsFnbGjAGmeEnD5359EJv1whhmByv8avmzY1qAQO3jkNYZzUhBc0Pw50xpDZCs82fMN3t/0EoOd0msrHpsU0ZJP3U+OO2VqxNNSv7iu3OEYVHg57QF2HoqbQmiasWh+rg8dC/gacLGpVtyqmj30ol2vNRzd7NTVqL5ffUWBwz5vqk7CvNtIL/0gUQPQfBx5+pulngGUTH0WMF+Pmze2DK5OxBC2J1Ljca89x+xRUGbmfZuD3Fykf2/SNee7rjo6g/0vZaQvi9hij4WQw1/XkAmldyqr8RboLYCEdnL6YFzy5do6/i160vvK4Hr03Ms/XLzElKqniy4A7eJ2UeF4wyC+ByEnu171iueTdNraRrOxDFiJZE9lUHzojwAaNvKYup2se9sPSV3bCwXPhopffQYcJS83Ijk/Vbpnjk0v3s7ZrP1m/f7KS9sYyELTlp7gZu2hwmtleQ773Cl14qztrZFJ8v91tPE1o7Tr2jaXe2xIFUHiHkyiUxO3r6KaRef6Oz7OJk8ugVJ+GyukhXd3BkHyS6dusYxBmBlHK4eW+Jtw4TyaGiBOpYpNdzn0ZiDkaVtl8YOnZrBNuWGZ8J7LuYDzFpcMbQr3vhr8DEuJPwwb60hXpEMEQjjpgGz1GaGWo3hcT7HIhrdjon/rKw/p9edHJnI3bM8xR1nLZNrWTKvyg5cdyvIla/2M9AnLohI0DDalPG8BvbDUd5pBxE7YWL6IkhWo/nDwqgHduO1zL2Qx9cw0kJAysINN2Gqk50Tt6aqF9ovYpEaDNmnZcFphNBrIdIZQuQGby2mMdwF9VWdF8T8bHbqX3KlHcBhqbPQwCKD2ql2fSuSV2JI77sMwdEYiSb1/rVU/lmqby1BxQbGr+GWWkewyGxnx/NgHQ7SkxVgTb87O1CCn1iiKVVR3hOZuwyFQWLembYS+lo2S8Klh8t/2Hc+Pb3AeLepYrhZYjjNSlPC4AuawURNvQz2R+Zm9SkoGHk9N74FNL3HFpCBhZerhc5Qmlwd4UoKUO1cfrHo4HWP6ZmB8oZnDugNGXIk4uZ5/3PboBxiuWALLnkKzMF7U+QjBvV31cZ+/8pz0enROUx/aBrpYX6vk1y2khmFiVovIDMf8yqwCanjwQ/7KCP/8ajx57LoJ5JxLCVnUioPt2MXnGuVqp8u82WSwOff3RAIpk4bxkYoZvRXzNPUrjOheoEnX7lIDUqij21uwqVbgBqPppuiUjFzfoecPRxat75XZ36+L0ItuFH7M0hrz1zMbbJ9hjHRmuwNAXkSc06oRw4s+ZAQLen5O4yATjpm+XepPp/JQWCb+V4aHGWqDl9rpBYTQM6gbhmOoy87jz3UY9WsCAFdoKkn9WMpV/8Yq8rZyWKONb8wKd9P2sa5Xrs/HjRJN9bRf0R77OgauHSzu6kZHTdH8uuhD7GqXQQ5dZSXe05P2SxzKhOVALDokaxWoCc04xLvFLflCkacRyVuMyS7BV8IqSsZjZSUPiI7efYy3jj/R4amuvCGyqwlSIwbwWyEnjYw/dgXU0HGVsELluaXhkjcB6UOQam+dye4Q0ff/GtXfMN3nNTbtiCH8yLKs1Z3nfFdIMsWdn+pKb8AcHTb6kThQbV7ofu2X4+e07lRs2jcacMnYEe/1fh5XRWU4oFH2eE4NAuytK5Tc6nODi6zFrVLSZ6R078mcl3pMuev9PKH+wYX04V8My2x8Q5LJSh0OXmePSWYav0Dqg6Dic2aw4bYeIh0G4UWnAkW/P/YR5sD1OZPQpUMOixs00OKzIryNlE5KOBFi2EJ3Rs19Wj3ZGC8cItcUEXrLHdkyalI3prcMe2FL88giPqe2s7pPHnO2QkLPBZfDFecK5t6vzBRbno8f9yEYUawPRq8BdsnpB+AolYK3gvKgAsNHJlHU7dztxGvd6sltBPD8+YSjq6uR4B45HHbuFAIUUiWOBJd7Drz3+WkXRNI/Yaf3ViD6o4A6n/dU7Abo6mhtNLbIthPNnr3/9my46JGpj09I0z1M9VKBt/Z8iYrW9fiYMgcjGsY/RfCuYd7cFsRkMOBiVB+TeeumuPTdSQIBYBPTQFt/Y+Z62gVHmMAG0mxBaYzmbEu2Vs4Z2wl3sWIG4aHbCVsgQB/nthDQ1Pzs+TqehA1FI2b7ot57PXLPusm9C2L3OLT5536yeLhtrm9hsfXYG3g3wMcQK+Nj/aG0eryyLxgr5v2lC+Expd536lmo9P1H5vAoCEBhA6nl5fjlJQZuw5VRoohD3U3+MH+oT11hySGqCa9NJ4S7AtcDpWS7inR0FLJBq9UZQ5RDVuqF7y54lzcZLvtDHVvN1W+2ThUVmz+AIe3zSfpCIW40qsIZohgCSFtOpbTxnh0iQaBYrxpRM6KGmiIvOw/E7MYXNJGaqMs6eQFUddDLvsLbiVrmI5af/ZMgjxrPcFnlRNm+YxsGGSA+ECk5LDdJfk+ONuYaLMH8tsGV1UAxvpXlGoqe9AJJRxRwMOnRJ8YFUyYNiKMFbLSzDtrq70JsSEYn4xSqUqWH2IQVlzHxg1czEsWbReXRlRa5w5j77HREPL3pI7XHEwNqjRajy2LcXqe3AZKkt/rlSYEK7GRcvRWDztCmF7VFpNvaO3ouiUu5g8fT9JeFtVKfvcunHVA/9MrvDk9VoVirxljs0ToUphLTa0fFoPl1LtvkQR2zrdTIh5UsUC/A9WfdRvJbLDIxploKaoF4WRlrcyuVjLMfuv2LJq51FqgcVnR8YbiO2Ch8VpMYPV2STEvZhF+UwksD4LUoutD8FUySYRW1GrryQAJQF1W4p2ip4AGn9MqWYhPUzq6R05aAOXqYG+PZ3+tg0LGh56XJ1eGpEBLzxc6GWEu6l+BCDlk+kDoDuqwPblK+WiVAKG9k68dxoKCqSg186Z+nyejoAIMSFnSs0clf2gBO1sgtYsHTaG+FbqgJRoJYyoIUWSal5xYmQjc5j4o9IHHlx/YPz00rF4yr24QYPbd2JhTgFbRFtf3ebqc9Y33eorjnO+IQG9u1yyW7v+Il4iSa+GPQUNJI7mvqCfr2Apjyk2PjscxINy+YJ81NqqXryaxBH6ISGSymOtyP6UoruXU50NbExHKDw3epee4d2OFwZR60swSHTYRqWjXSA6VAqtfhdJg38oXOz26Jxd+No5K+GtkUZdV4Z1zfiPdlzaMggeOnqnCLDpopMdtE0oxuGOfD2gjZm2j+xNaKpLNkaTEiNRjU5KrSKtSN8gNlShS4svVt72CtIEnHXIh1z5BSG8KA+dVAm1xMGfbaTkOng4kfhCyO+0ku3dCPZIMKyLI5KyBHhVU1K+1kpFgadTc1aF7kU47H0Np5fOcgafELMX33DnCxLsJ86S/2BbbC7Jlp82nrTT5mpzeLUmQQDx+iOytJdMF/CwLVAqW8+/CEEdD3jTtMIQbmhaNqS784GKowYiMaxyTxCzO0qGQ3MytY9IeS72qg96jw07yVGjhds1F9l0J5IFTYJBQkLF3G5N3nr80X1GSd47UrZjJ3RCFnbukB27omjDE993rucHIO6nwdO15/F+hnYmGvYMp3XDa0IyXuUCLwbTqAxPRceo8TyyLRxDS13YnqvkF/8rNVDrsS0wzvhdnRHy9q+Uzw5IvwzOAexiVMuvG8VuHeSP0vzrNOsAlmaLSMdVTJ/5Az754LVNBustrC9bLfve+0fhPoDlVjXgO5ZscmbA/q1aKGWsO9Xin/5r8h+PddU1tA5HOYW0PvyYp60S6TIpB/Hi0R3nIDBknp/IvzrVmxQNLzhY5C0fefx3tlPjj/bHoGw9Ne3L3W7mz+Kn2GmdSsSwBj+fPCKkZL0BrvjJU87yahKeBLu1eUgG4Nx13lYKqY4RQqwcqu+pl16LXrYj+NL/jP2L/qG2N8jlpGfUjvQeGjH61/vCacBD9f7q/SQxEpEvshUyU8IaAicL8xT5PAbMJErzdjKUq0fraJWZFleNx7h1dmB6rcfQpkto0dLUhrxn5va3H8ttSk6ul0OgaqaQotkOkbFqds+NRCc1vT4Z5ihSqluA2CfNiktVakVgzc1OGxVDQj3/mFQG4GwILYuF0fQ4kTW5U3NyF+1R9hfH47Yvnr5ZxNwY+ywfiO35eoeZsY0KY6mlAfdsCvegrdttoiLNnEuR4Y/IcxCfBkkcCP9RuCQx6KEo3TcGseSnyXCqsAJNWzdLcFG3N9w/J1RW+VSFqXdpDGvFfkVcdSOVVbuiB+GCvNmcoWRWzF7v1GMW6g2LpEz/D2iNte0e9SbwRPWxnBm+ypamy8QvoZnpgdNmLX/Z3a0uycWSamAe+j/tiArTrXoyLRLAWor6gVobHabMCw7KPsb5MwgWbK3QmDsGiwa41d+S+D5So3nTp64yrrcH72xjqybucyRGTatgP6+vnAmUIAGETXHuwjaCGBKmweUoZ9ZTD/a24xM5LQXT7+FftWoa63bfOwz2iNYDshviD23ChMS2uSbEDzPNc1ASH0mvXbdWqG7SFuqiXy1OkbF9xRsrqFY0R7yy7pNhN53Q4Zw1f3gpikVvP2Hhtkp5YWhvzzBATw2XADMrFZYVSe7MZKnhTzi9NwkQ7/LSQbLKVnSvI2Q7o5B1PwlMmf94DBs/XOd5pFYj5I9+F74QEiXASlTVZ2S0yybX3Ev/yODIVOP+WmoOE17e/FTtzkMZ5TNIYhxTm9r5EtxtNpgSC7z49vO7M19bakgW5WXYDTrs1Lj1/Vu2j9ZSEIl+47Pkw90nPjg5jbM7UT6GIvJZRDUC9pXMnForgRUM3euHzw5YISwUzrjqiP46S6FSxwRAQ5PWbv4A6OJP/McKj2+zDVeDLWbvMNMrd5Eyelc/YitH7+2zz+1ex+dUOeYrQI8afa952LV+NNLTM+XwtSHM/g0UcLdQ3g/YUP2AEmnoW+9z7WT9HNJpI7llBVkxNswDg22TCD1jU3iyDzF4HbIehEvxzfnLBwYutv/cMJOFwaj8cM0qwrIW3CrBCjE/ie45ATIu9xBGdGqq5NBskBomMEEgAFpNIYkUrS8rjT+wsg7CqKceUffb3Q5+abMSpLBtPxQx6QleyVwv+xR+FvVT1A9FXZ3EUNIxHwJDa4rOPp9g/W1bh4Ctd2nmzd55S2OG0BsUHbpi29+ImvJ/NOsKXkvP7BwfkS2hugMaq7PDRH+GjlRo+VBu2Dv6P778r46mTlluUmkHQcBt8Q4bL/jjKRevIgAxPGpCL3GTROwvyzXZLor+dcXzV2GI8VZUIK/I5TNBgfOd1PHloX3kRnleXMO3NITUlKLDWw9DdQThNT24bxs24n698yTZ2/R6DzdOyBw2GTTQgqHdk2ggSbZxcM1VsLnZWLjVerNFxHpgcbCg7Xi840IH6CJMVkoe8hqzkTeU8S4xptJRpojGe5TJkpfa9CxGfLAh6BcJAZ2IYTJHDeBOnK8u3X6AFi0eRCRiMHleIuym77aUp39BzOFSRq+6kFkuonMY/TEzf5LT2DNDz9J+MQlr9NNqlWECsDqXVnFua8oHUcuRYeVFzBWLUZE8uwRSTWMrCeaAPz/E3IDkm5NFSmi2LI7jFZiqzZSP1wvhzTq0zIkW28KuBp9+rDxG/3A+Xgl0LLgZdvn4ZktzDX1AVgenGL9n+55Rw+Q2krHC0Ero0A/W/8buB0S6F+U4vAO96dBN/06oL6eK4oFchyY7sl/yjj7Ce5d9dpRWwOgA4RaUd7Col8mcS0o1UaWOqYiLSVjNDLIcfuAhoCPJG99LAO9h4QRaV1TcH03lvo3fCV1zrns7b1wnUItjoyaJUdN/aBBxp0EOiYgzu/ow64hYYZo0VZrz6IT+PGFguYLm/J3IrlWqqaQcX2q6+bCDRZ7ZbXtgQdfwitKZaBqlSHqjSk10AaJqJsX5ZzrHExcYbwfusWFemwBgI4XbEbxbtpy9lB8Ds4cQn+uIA2gVQqZOkNbvvZpoWDfA4hUylTE8fg2Qr+WNXItB+4NqcymF2+6DuRFoHrK6cnGMjsYSeam44z/2jtycyudjcFhttQGvmTGbaVJuvzcpo5dL+bBlqIWRxx6VG9Q05c8SngPYQ3+n/SQ0Iui+SnpJqY25QAYEKOf9+GsmrojLNzDA4yRYh/dVQ6exCxfabg88Lmun+19bKF+YyxDa8Uz+JBhIRiALuDCaVniYM5Pit7ASSK9ZNfZQyMwLq4xOGMQWemeJdtTIPfs+lkguMfGtYVpFgfsSqqKhGihkbFhZwjzWINFrf7VaehoSRi+fZA1251MXcfibuwKii5zPSk4/ZI7B7MpeusZMwkcA0uiK8nll/JiX8CRtsormX0jdxiNq+fxlPlyM7TZetgNlUHi7TlOVpx4i4UKjKm273y4WvCWzr9F7qPqMhYjOsEB2W/ajbNsZOI47VyZOFbp8zwewWmwvd83lmFVX7XUKna9bTQTi/uPPVan3F1l5+8PKgT9eRN3RuPA5H1njIIbLMAkr2avQE9kP9zPhnheIlyX6cnd1uOZLZZRLkGVxadbFmgVySicIBj8pGEDA1pGaGrZVUC6wXCP1GE/r+iqgtfUY60fyhKOGantE296qEJ922taaLDlPFmLuoNdz2aS2Qe9XEnfhAb6niukockHy3A14muBpawoKDtB/GcpnD52u/3DZHTe/WXifuhY8ncMIqMN6xrGiMIdS1GwA1jvMtjX3rBFnICCwjImWvRuQ1Z6KgLnK0Hku4V2k2cENKMJ2ZgEF+44AOPyA19pLRSZ9BUTyhLEhaFrCMNFHXoiyk1kRmFKQBtLKk8BBHCNZjxt4wy/4GAgi5mvLwFDBFSNEaKEKwoEVp+1f2klNxx68OX7uaMiaHtPpvA9FJQuutGj0T9a8VL1Oe3784TvvItxgI9/Ns0j/9QD6LnCpVD4qdDXohGFY6uO9EiMCwzICc8PLuajeY/"/>
  <p:tag name="MEKKOXML10" val="6sSTbOg41o3tRjm9x0LL61yilrA/iM+a2oM+Xpr5BGZRj+AW96Kx4rYF3QzdWhaIY58/nCWBWMuZZtJjnobJDfipzk1L0uRweOzGurx3IgofQOsWzg1C/U+fuCFhEyaeVOHKzUMiZ+sqqXLd6A/m+RICKmgrTmDNBrbElY9tyFxJXtJmptCx/5WI0bUWQpg+6ZYNyHSsMu3S9H/96V8GceI9tCn/LilFXtSJ8R9phFkaDuBof1sl6I4LqygV3qYKHPud0TER7mnOHkj5Qcafj1si8pV5xSxbX3gFljsTIyrXMs+sYF7eVjjRYsb1bM2JzeqEgaj43fvlwtJ1SqberRF1vsFrnhohVxS6NKJsmXxPb7Qm7jvp1ijdrIiGfg4os1MpJe6jBsQU5U3eurow9SJOv0iFQYkhFS2CirJE4GHXVL452JhH9t7M3Jr6d0oi4nYp7FIk3zuT0uN9FUbJzyF5KDWnb4oOT2AZiKIABzJB84UkZNcsaBSojutbhwXF/cJEe4ILDZqKZ2GVN5NOvdMs9cp0ttWJ3w3/w/jxfl39cv2UQ9BdavCMfG52L8ybNMpV568jASNaBm9IgwzLveZ+E2LZhxBKwb3hMk9togS26oKMR8g0E449AQPyiJE86gT3zquFuv0lpTFpG86hoCiX4D1XacfgTStkvpDL+9wv/Ml/js9aCtLVN35HcOX+UusXkjikMcIRv5vkbQUoBltih+AUO3aBY8MX0fJZrAdmTZ77bDYZuWk5ucPJtuZ+WBn7SvAzQaXYQrsFgzUwFljIPFwFIzZEJ+pZKmCc1YrGMQ/Z53oPTkUp4xj2L/IpEEKIBgXZtSdTwFL7TwDTmcBDZYanRwbjDiHGpoZHxwJWIKdUp7Ry0WuPuWAv0vkuC/QcNHCD6Ug6T7mauHGkG2imYJBy8Soeum74JklXuHxG1ADoqugPB8RmWoEJF/tjd3KXHbLDLgZa5XMZ3TGScT5N1TpgzTWO2gMwJ/FHqLKTGLjVFHv4yvNJ0xbJUg5tdbolRh7tInuKRmX0ojlaaeeWbKWxeO18jnYrwm04/5Z/DCLKqV7yEu/vJkZ2cfYoKdZmyY8OuwHhD5u4sepdbzTE2cMy3ehBdA3D4VozJHTEP9X6FrncFdhGGHdydAOwYJ3ppqgLjyT7/NTmOabEvaIXShrGfSZt2IZgTBXhlGk29AsAnvgY+QjDLWMYpQ4yN+Hgo7eGRzhreaQ9uGCZd0+iD1ZHpVYxM1Oxe0/SvnaXExIIHI/O/GwSaRyoACCwMvKM4PpfvK1IF0iljrOgWZVh5F052x4fbU6JJJmP9kLJ8aKMKdEhX0dcvLMqs1ZBsKuvKxeICEJeO3xshjI/52I04e5RI5TiLtnhfHKe3G8y+ti4UoLKqQQ48TO1GfpEglBfJQSCQ+gnbDzwKXeiwznfEsTRh9Bj2RqqUgnx3Dh0ch3MJYdJYenf5Qn9LHIbTEaG3VQ2PHj6uEieDafA1SbSgf6LLuogCgk+QNr/e2VgRIwCUzALyHgithUdjp/FCku9ZkubWUTgjaJVSk/hld9Lsi+mPJKnlrKgwkio9ssS+H00F5Q4s+FreQZ+qxK1dcN2bbxdUAd8YLvonXzDvSBlI4SC1ORysK7orCV4tgi5PJRhTdWwA/7BWvfK7xT8O4FWed8WcRRguR7ZIf5t+QdikkUd+NfNam9fLD60cF8h6nqtN31c9VJHmyKSjUZM6Ab6uk0MVblWHsXxRH5eVyKpfzaznR+fELTuwY/jem+D5JXM9CbhyTXqp59CrqbBaJgRiczpOPACGUjvu07z7tAJ6fuw9hKd9xWjLkwiYAXbsQtAEwCv7AUVegZkNYT2Z/K3NlBaYqut6/nUE2PwMIw9gppZUpxU7MaRqYaKv20ZPjOAJNUN2uzaz+OiCG+7w7UPFTXbi+EyGS2uLkeNNiFBVzROG0pkEGsuiPKtZFP2um3ro/ypDhCxtWS6WIJg0fpuFRUYWufmr/XrxkYmhXSkcZIQKh/UMARY1hrFoGbMwh4uDHzoUtNTkeyn/siww+O8vm05/HBg/sIGsh6XTZIaqKK6kKbevDKO39tkEhCWX84fXkm/Ro3xCsiQ1x9bRzZkGQFoS3HRdBFlRrvMxKMNI7cZ6SgvIkyYXkYplKBaThECUQCSD968Z6q694NlQD0rR30ZAA0+sRMOh0OAkSRHlqLBmOaAN4wVQ7tVp/V231376HGx85fLjEcCnG5w+eVdZFbFH8CBnI4C8lUrb8NoMn68azZzF0EnnPnq0ezlDmoN3pYgOsPKK4jDc4vATHQzkF/C1roetfJI7uUEZ7HRG7ZBZAwqV4u/mpHka4M3WRd65qJda5Q3Wilh7GJl80omOu1Vez91WHHDuknzVujTwdzaYC6kCcy9GZO4xMoo1oahsveaHt9b5p82OQ2qT+WtSxuHz44Yn35rD/Zkvqnjp5FA59A7IfQsd0WIOlwkAQhzEv6Goac3mjDJLW/Vr60SparaoZ4JXiH4LWxenUrKktGbRC9RtAROAwW6NcnnFBD+rVh7A3VeJPevLzef1WizI8RPSfhtomRTDCsa9PWHY/kf4jjP96ZdAmVGbo2wntNJgXXcjxuW0BB4MaVJTuqy14YEwrtaaxy5N40dMtu1p9rxUAVJJiganjtRY/qAckmmkusAja5AieD58QQOpttghBlJ0HT1CNnnhPqAm8vOvovDzGJ5q6fwJ340YajIqb6ZAF8TwT2+xUIHN2JpZD/nEstY7hLK/mJunHjeKbFHMDRANy9wdUfL5sZVjNRQJmKeixhQSbfWtV+kwFaLKTnLw/cBxxptoojHYDMXDp+VNZU2GvYzhc2O+1OX8dfYutuY/jZuvWzGeVb+5zzVuiDXMO0bzwMMA2Zl2/11lsYKc89IIn+VAIKIvLTvmG0ATh5d2MyqAHtrlesRhGhpGD8mK0gziguHbujoiDwAphnqLj22mJVxXTi6nIJFpT3PrBHU7VMgkmAoPAtVJ8hbPW+jSu9lEi5ckCzEZLWISGmmcaaltfGQiAeKjQOaQDnTW6tyowMqT8Ko9+ojjReygOP8a4Cm87RXKDR+M6oD851ujfAVeu84vGitPTtEgXvNvLPMaUUwSbmG575Z5AFFR8prZ/SssvAreHiyIpMuoF8CqzzDCZWRihd1pOGcr+DX07xEZ7IH1Wcw+N+GhHGgmVo+4cpsPW6Ugo7ua0C5p8xVF34D2M4ZfzOAI2g9cSQpIRpLsHmq6dHa6U+p9kwVlG0ZPCg6OX/Mn4LA8H2848MPnSpPiwFf30nshjpa+WQqBNUFGQCEjjr0geROVRXTYM10rfVDJRQG7qEq3gc5YfqgIiTSfsMTJKUPFnHmMJqUbB89zwtxy2VBfy6kR7paY/E2zRqmC3Y2MRMQT0Ws5QIux+lLnlBtw7Swe0YlU9R+OVSsUiXHoRr/E59yEVtPw2sYy43bMb7jWdhIf1Seiuco8K8QM8CXtcrAGgpOFHuQPTNpfG6UBvcHk40huzXtjxpTzLoIpl5pMsXJtZ35TAokYGaFTgwikZy6ec1QNMLhPkaiBipYi9QQGSkFyz5S8hWihT2QjKAT25+gVUQMwvPvsHtWrkryCQcUSAvlKre00UQBFe4IlVgcuDL8QUqj6c0T5UkmxPvfeR6LOXQCamhuZnCnoKaEql56zvAL8sebQlMUL4g4pEqQeJx0nmi3S5WW6+8v/GfTRLhu3B3vhFoSrdl0ScYqJwJDOgV7FiNzrhBpLwz74knVLXDXa3CrMCeVf7svC8jWrdVzeXiCtBHXyESJ0wE96LsVbjhWZ7E7Hjrwz1TR4Yp1CFBh1VJi8wa8mdQhtZQdf0m1BiUrPYNf03ojTBLkdcBtXlReAL8HGWrpfIc5A4dXKfWLhjcqJIPF2sZCjXsiGCr8BQIWdjWblD8ZLkDipfclvFzU/9uWCVXdzz3HvGGFqt9qZZFseaxHsrhoEDCbZu7NFfq//3OKN4uy922HvGR3wNUw8IL/kBY7V+lprBcqpuh6knosXEyp9wh2Gudo2X9qNXwa/Ae6+92MkN6YMD0qD5aP6x/QHoOSd5eSyADNljlFMPRoHInoTk2b80QXDtE3dvXDXSckc2nIK1LxL4TJ/GKCXOJf9H/lDqOjCMB3d7cxDD6Xj4dWD4OIbPhmrHBrxYpGavN/XMaiEmGNZ5IcvbEsuuOZc2J+oOMqklCE7J/3kcGiv1+xCuMOodfYP0ad9lrdBKKitJl25cQD4muWKvuE5vUGRGo4cSDwVVL6MMUp6OR3BXzOEHGw027z7jLHDAnJYio0yDBuXp3doe2xaPz4IVwEQVIWjE/76LHbwtLLobJjK/5bz6HWBfwd7rWjQyJhHajELIiOsvt221wG4y30o0KoPsS7I9sG6j3m/puxxEyCwURkSOQZmUAxYvWhrm2F3x/PBLZr8ACNzr1+SvpiNP4wJqmJUTIX5+mzsUVixP8siFviNGwb56ZKFN61W1hJ8VTddwFydan4yJF+TU0XxdgGluLW5S2iFrONMjGAN7KwvtLcVqh8nzprE36DeDLZRCM+Ssba1fBemf+X37hlZFVfXDp1+JuGMIDlE3wndcWMAdOIi0xL1LEL9WROU3Dd7dTCrxfjNFguvtLKCURCRpGBPEH3oHAqdrGCbDJzmlCI05BJD1R3+0t9DqYQJY1WGPKMZXo8pZAKM0VazJlMEK3swCb8C5kEeHXq8xe4zEkqiW4mfVb1oHT4AS4oiqeWkQPaGrYOpNAyVc4hgiUrmRMy0BvXaFk0oDjJyU3du5z6lEXNgWxeGrptolehTLjGjpOm6sd3mXOzPioogcYbC5fILjB4pvBEO8Oa48hYv5zz1KPCQ29Np2so/Z/LYHrDMV7Ac0E0FDYmRfhgd1MfUHaXl2/HGgDFbAh9JXqwlREIYzQfMbENqfG+oum7jNeHhvDoZ7IT51kgh7IVXgqMYpSrwEGjmQtkkELEx+TiD+VWTB0SVob4bPChkHB8JuLV0Tw9JrvLKgEoV3GW+Tz+fZZIfg4OEje1hc0I5+p7j+1Iw3krDGj8OSte/f21cTUXBDd1NkNJlzkLpmI6e3/OOQOkftd75+FhOO5AtNF42jyLWO60uSwGZ9hxI5rDB9WJ/NsgO7lJmXRYjYTejAW6MfYcbdIwLH+Z7ektAKDD/p+OJ31JWmKOZ7vsau2MNb2nITbSFPGuxwE82rfwrbfmfBPnI7bCTyTb9I8QowIXvFk+mg8wI4aPxa996pqI2lkib2ntsNRD8f+QGFOlLVOAofFX4NmTXl9VpaYDymWDVvLyuH5OpozmH3yQxFrYh+WOh2WE4GhVMVnro2xPHDKPlSyTTd7UPpNF5OLT5k0Nvpi8SKaGj3qCCxMS1cG2Wl6CmVvTkXKcn9vis1K7PHDR6tQzReSjZVk417mIL+YO5CKIuCru1m0wiekK4LyeCqxC3wGf2z/msUZhGSJQTD4hFWLvxrfrN9b1VH6SFFOMLybh17unL6TbDAGppan87+QKeDvKyEYj8ubwPvC89kmn5rWVICsPPtQEwexBpjJcXVVSfbkEPZC0JD67gMrPLQxBfs7EGcuUtdsv/xqLmNcaugYajosbbqGRd8xBysB3ajTK4nn+kKJlDF2/XBSuUeN1JIn7rymG1BKh1BIl6O4TKUXlRb/gRAcQEo1E22SQURHPnoashpasvQpzEDgbr8+lcBZrfqUvVcuvXtQHvRYxQRKGGkAcoMq6YSONQQVpQwzMi3xRMK062Hy+6LjCgoAD3CiV7ctPkXP69IFvLXHgsKRA2MZZRNW3KiFFY3zN73IO3V2KyiagaA3R9n+/xZEn4xbuysDT/XpaI5sd3J/YbSd9J/py+E6xFBAKrW7p/SjoZN7C/Aq0P/QoP78IJmEYHsBK+xiJIPapVXp06DsWpWVSHlicMsaunOFs1iwrCciGh2Q5Y9zPxEfU4ONAAKyb+c2aLkcSQnF2WkpzK/OqrC+IM56d/nFWaoQHiI1n7pKFD0v8ujwqni8l/KXdhdJ14RqTAKbnaU45xgt56bmBMSznx5i8y+Whe643aFg3QySiK5V4PmdQ+WgOr9/WDXpVvzczb+uO/O4mvcLygOJDfEk5DLkSezgXnZiKWUg+xi5eoY26bBsFf4yOEa5YT0oMnKWo9OGOWlN7kaMPU1Av57svSkIbybIn6ozFErQ/68W/y9HFfERNsUARByNpCdJEGpbWVmxdOE594dCDz88yFZHHjz5FszU9HO1xftYm3MTz6rsv4uKFHWLREGxHYYze+0bLR6x/OG4rlAt6uo8vG9yfsLo5yZiWbitpAAg3StETfZA63IeY8vBHzUw4j3q/jVMKhV5b3P4eTZrWZw2/bLEykOzJD9aMqWc2lifBLvVbYQzWwVNzD5YqWhJVjTGiUkvb7kXLyCo5+pv68xBqsH/uXaxx1rG2r21UIOeL00qOIzVIaWlLLEXOKzWrV3WGEYb05jXRd5cFNxzCXaok/KG9n8LDT5tdg2mt2hFrW0PJiyowcf4z+Vm/COsyBhQyMoQiTRgKFpDfJIVxFrdXR6H4zKyTyJDeH+xDjh9exraFJLnHx7JsFSbcXhLVGnfX5WmyFPwhDW4elnzeNRFyJA0HMBwvbqVfW4Y4/puSgN9GBpcZR9zpSJd+Y2+McV/0QXi6UVBe2LUvYVLY7HZniYE7j0O20BL3LqSDPG5inP7NrVzNjPyz19i6SfyKEng06la42KSwarKEj+z6y6n6dkFCq6cpyxkvDYI74OZjYI82a+V+wgsveSmdgh2iOdIWEAWVVjq6ZQCNFtEX1ipcw5p7XBvBWxCVYEEAkdEAJU8dBZcAb1nuNnEQQTHJwsNusMSvYFB46us1VchtgM35dntZUqWfWUWzEDTlFFiCxjfbtl/+1+gLigGm1Dbh7ZhBScvHfAgZykKeoejzNnJQDnuMH3gr3VjdjubMB5oq79aTGnQFo4ZIN1SXroRFJUJNA/IvSGmj6lBJ4wqmaqm1ZHNu3zgPcHCVomxzCJZj/V44GZUtVJxsQhncVBsrxFZEjXg/aP7s9JxFZRSLLFMXUb61MPrMNYnqxFq35Iy4ZDe0eUVnRPTdNo6pYRkKQ/HieCTtprCUCk5tEIWyg5h1g9ZqmHT1ryAajAcGAgA8gADjsyIkOt8MB4HOUSsEC+kRHzPaYjqiqMwW5M32JVkXP/QVuokdR0s8zHvx3d7/aBEk6t8TIZa3xLbQ8sSWyOk7dMiwFp8r63bscgzUpkbm9WLJeI+IMVswX/5nDWbNECeMaPc9C9o1JT+hGQUeqHYK8oRj6xNWXfyzBIT4femkXiUUSOvQHcQDlzzBi0W8oarSUKhY5TWifCC69GTwCuJKhSKKs4Y1g55LSgKHFeSZcmZmD7+5v61P+difkZXY6/NrN2et4qmiLzIAqVinvqfMc0yZTi5ITu+Bhzvp3NuhizOKe1KHwld44GJtafSxar4fk5xTnakIj9L758BB32BrRIsziQzMV95VUG/9KtSkuFbnN5O/QnNiQ5BnwyEtbiLqSYgvpCRARfF3GXNhYeNn0luPUmjV+fSdE0UVwXLzX4Srz+bjJQmqRjaCZDWloj1lB9Enaowc05oeO/IQGREprymOLzvt8096BaH0SQA81mC8RwmN+UdVkT4w76qyvAqa0tZ2tujBKfx6qWxUKDXKY3QYu72G0KVQaa9LUhebM3OFaUTUwcoC59fEZNE1kFbguWuIMhzY1EALsfyQTF7QB8zsFjauAjKtRquHTKTpehEokVjbd8LXtTeJodlUY7rLB5A+dFzSF6cyJK5NERIv79vhxcfanKeGDd5S3Hkcih9VgZaEXMVxPX7kSAzxrAtkciKFdz/7WeppfH5QgupH2yc/cs4CxUHzr7LY1cIYzaiLL5D5ySKzW/GDABTbSX3rQIeKMGDmmfKII45/V7McqTjkWuv1fVT4Wf+SOErefkDjRaoRoJd3370nQXNzGQ+QX6vWXH6hhyZNu1JyZN6QdAD3Br1xg4R/6q+h2C+7rZYPFhz7a8Hbvdm8PzCbnZwj4ipcQJ64EwFumXQXRXbDBRn55AXFBA8re5aIeiSeSRGH5nXCxRy0vmDteW+7pI5bgMfg5VM+o8ZcB2gr1yzGFQzoK3NCxdGH9d6uFpwQqPbD0z5kzpRfDPF2iw+814fj098w2zkv1yKmVy9GPk8+eS6oUuCR2my/TkNIa8zkr5pTvyyziUmMBC3wey+LukzRXxU/+A/Qslts7q2sd6zo2t9PT2krNHSHTOOpCrpFTpe7vrloIfQOWQ9XhFC04GUyhjy7OzUYBlMUOXmlsqpNsMPav0UrK35ZJRZRAGEYarULfg+KApQcQ1tIzwZHO2uEauyw09bjihA5u/vLrGiyySWQ3E7810QPqfw2RH1H1Fk20DrF4dGbQZlyAxyISkpo+r9z3826zLYIvObtv5I+IjjZr3NKgRTfEqPQD4peGr3RRY4Fd27tRxWo3rduSpQiA2FTr3DrdUiq8lP9Dyf4j0OnZZLaOZDSqQ8rZ5V/dy+wbsywFsip/VhVjs5piHNKxLCwtIBpmq5X6AN/Mz+hbMux2FZzvB6FBwHSNI9VRM+P2RHIG6A3NNIdEyVXL1wPB2xU4227FChMSM5h5Wdw2dThDP4HrumBlUh4XgMMrJm6Bo3jKPTf6PqJZhVZ73sCwtCJAn4QOBZvNgHLdJ4nHUjQp/mzZeR4yrrpL2XvbnCM9xGmTrLSJEmOffTKr73vrJtxmjOlmQcRIZwEZ+7/DEQJ4kq0S1VjEE5e9la+6Ryl6Fc/6RZocpbDClW6n2DahvMPaXuTO+1fGLQVYvxtiLhC9haMmhKEyDLk+qaW9PcJdxL666uTZ3QYTQGYNmKcCOLDwGup7LEOMoJODBYk2+DfCW0CpHpBPraXYQg0gH8L0985UOl4xwxXki/R0t63hfcTspUkTfW60GRwwjekXEfynFXmTzMS/MmE45rc2TUiV6L/Vbt2tSfr+UbcoHhPu98ZHFKmze5xPmtCuSfzbWp27BagM7dpgZC8XIgNmr+ZheyYBYRMfF+KeUABFKxtL06rQxrcAd9O8dou/ClZ9OVfI/mKEMJnRnWqruWTY5J5HUV8IJWO6Rq0WgvlVAJtN7RU/0WCW6y8CoUuw8XMRIwzZIDfI2RFK9dsBgnZcAtD7vQYdMgkZhe1WnTTv6LbenBJO3KHY53sfp/jn7V9aR9XIaB/EQxiQZZsqD0w8KluQXYsL4qeXS4DSlYTHi0GQJrtzxZdxhHcnzKDtCdxr6CerDZ7gRofBTgnLkcYRJDTv6wgnI8BqsMCaS7k/mzy+i0d5lNJZ8eEvy1Zdaw/QNldkWhUrGMrHfYD5OCog+o8kQHyQ/OF/ev/gF2e1kg1f9gtyAdbFU/QhdSwGJyVJWNorB/977CW1wViKRqePN/+SVGYa2fucHc3NlpseFXSasKprN4K8x2TQHKnwEQEbSHhqPsk32RKon0Ab6JsbpL74MaaOjWJjo3/1RrPchUmXgBflqBgi/HGRkx7mm8a0bE3DQtpRriJcMV5Pd1/4sjh9gJKtPqrch5qdLuGs9wK/iKTWqy+nhZxn9dd1l99RmnPsws/xs1B1aly3+xDXuTwNq5FyNMHf5L1lD57VNg/GZTeRekrxBToriIY22CzUpAxVPD0KYa01pisSj4vLAzKXPNRZvusNagmiGOe2MD/R6YT74e5xwtHFwY5Wir/h4ufYEyCFrCY4xlmCBZSO1rF+OfsWgjX4GxWKma+aTXWIJH1P7U1CFs5GhkcXlFDPKZXBM2dEO0kHCfb+ftuStj02I0kQuovmD0H+YdHXC86KL74RwF6xplwoQ6Rc9HowrQwqiaffAHMaLzdY0FHXiXDjN5wDFjA9G0kxTHFUQFmBa2jjKa2sSVhLOl9h45uT8gGxHUfcsZ8i7nJf4oNpKDB2wMjKMqeP4eXwJSCbED8fVBZpMSM0xiGIzLVUuw/qhra0ofpt08LJ+byXNtCMYCoQZBda5E2mRFhimnTgQq7gQT2s8gxpCe2hK0zLFNR71JxUiBn4/XkpRW0FE0+IkvtNsRCQYQfKOfJwmKoWjORdtFSVQm3rXPmfgFgWQg+Z6vOkYp3PSo07mzYcKwqeTKbteKHgXlm93YyomHnPua2FJ/4Qb+4MiBBl30Qq+K/sqNrguAnrcwLWNyf56ATVTd2iZAK9YoVRzogdQ0K9MyS322xoEPESO6+2bWzUTCc6va1AapkfD/F1z5SBFzCAzi0lz1grVhCfdPL/3ixzY7E5WG1AL96G3Ndq/Ut8QXq9g3+7iHNSHBf2CkogYE6E3r+sA6mxpnmEMoa02Y+xtS/PAo/btZ4ZsrHDclCg0nMaHYM9MxdHqoRCLJ6nVaytL7sP3nFYZ6r3+hpjcVDTJGQn5jG93fvemxShHaHw1zGQjHx3LeRaC76OOtIKW+00G+EwHOsE/fGBv2gEUqU4NNtJ6yL+fUMSwyBC7tbPe++h0FPWsYOroZq0dlXTxRgoN4D6atA8jvhvNIGB3Qfl42ph6or+3fwBV01VUv8FEeTQ3kDJmJ6pw0sySLjv6k38DuqPOG6oCxNcd4M8xggcJ8LrPUpGeQZlyD9sMQP+OUpNad5slTcxdDrkZrQuZ6nSbIDyx3sfxZSbIaET6L+bxyzEWkXaCX/Iij9OCzwzESMgcBx2AprJyVaxBeVjsox9bb/SVYyjP6ILZteVGddLpdzGH/yP+WyYQ185Uvy5oewSLBEtjwYBJT/V82ukdOr9q4pt2NDxWngiuifmnGvSJ7wafkGGs0apllwKcjmq3tmgftX6iKQ+OxV8xmqVLScNozFD8Epz/Dk8pbHoXvaBJO8srXl7vgEeKnydfpX2pJo1G9Hlej42k+H7Y1tVUdSg24jbdM+VMFzaTDj/jWOZUHQFZ/lgSxGCMGQr934x7owjoUKD/EHQQ4yE3ifSqZ9P+71xETdeI5CpLUmcrduUeX96enuCJnu5zG1vW/s3039uAlKpcIcoLLocKDam09shIoXZTuXa8TbYQtvnzImk2KVQhIfnOBT94zgVcjZXH2VJsIhPYJu5zP2tRosQ44dq0Q2rrjwNeUrZ8vY5FtO1kMC/PymPzgzUkAnRNpepE8duaT2zfZr87gM7G1XNlYLmHyLdBdJm3Mbj5u6lELCvsZGYut2DDxLGqtu+axfkKGIABp+q5+/++5peASJZGMAdUcN9cwmn5puurLPQLRLWDpmMBnYFJD6kRJoCqy8UMJkD1HWZ562YESzhOUc5vp5JIhyLA0zQ5Rbm2yPSxMM17D4pkAH42kn5KSO4TxhG2fuoCfiSKGSxUVFBKTlgWGi7s6tyGN6OF9uxH/DnjUqC91UUwabeXSq6Q7utbcqG8VaqYOrJNWyUQCp0CYgtkGacqY13hYW6pZ4d9Pb3tkpJXRUJ7rAwpzNdljtkyEI9e/ErjagjsNBmG86iI6l3Hah6uMKMWwvicEqeid5RrqWNlGdcoSphP7/2q4eaNDvbpZhoCatSiFP+Q10rs9xfDlBCp9Nf85h6z9yfkgaW7saibzL8sqGF4WR63bWacGuWEDdKFFX7doCKL6ZdzqtUzNRz3fxOHHxohH7oblWJVUHVmaeLkihoQqP4LOwVAjlRrL/mcArwS+dEenXcjyAlZ2BQdQwD6iimE+5OHHiUbzq+nNOJn8XiBBnlWLtUINpLwZn9lqNFBkKH7tft9SrFi97O/bouzWBmMz/hpPX1qLy33CQMAYdRQTFlPoU1EvI7j/llRJVJY7LSEgSJt0Rk7QvZXIUOXWTNiYQw7QeZHLS9jyMWe+S8pPbDm2FZrDeJtHJ26JaEvPXDZPj6UKShLVdz6tdr98FucFFtj1MgK4eO2Grqqruq0ZbXJkXWlMs3Yn1K9AcGZuZK+90yhZKGQQJJL0OIgaNgaWyFpugHpzLOMMIh2z8n+iRqM3a05MziEjoAPPf59qLwqfkqgJfxdN6wIf2NNEnDxaF2lZO5hvWPVXY91Mxd1kP670WJNcAtGxaehJBj90tkdWk9RsJw//bEWaTINeHLhoFsn15avNUG4ejKLRPKaEbxYbn3NgiDBMTda+v008+sgH4LqkN5cSFE8aKr8psp7dCpfJP1zvh1q8zG+TqnTUO3DZrM+VBbAmeV13vSYltZMnpkS8Fpf0iRGoznK/ylhnLx05CJl0NFthF+aDAmQk5NSzEcRboBtYUBT+ykqYOSdMtKseBX4DDTpOAmvtPZYqebCSLsCcRPfGIHyuOcQ+gNOVVRJXbxWOdWcwNhYcGO3hJkctLIZU71OOqv6FKM5KTVdUxlOFli0TxO3O6mtE4TgCa5+2gGtZ0+A0UTNjMpUlIO4sz+RLVX3GqgbsBBTKzga0OnbsXyRrJit0N2rxE6OPliLu8f7ZpuNSu3cLKt0RVBSLv4Ga3TTxX3IJTJftfyCzXZUKUeAsQVz+chfXcRyUNTpAczgOjwB3I0MRPhJG35yzFiCYjKYAxOmRIUhFQCZlzuQK7bJiZqbI8SGo/C95bWnbW3QjXVP9NwI4CCkD/Jkq5rfCJUtGqXhMJGYi4usMGjkktDRz2ls7UEh5sabKcsjAptKGh2uVCrJ9H8TF95jcSbkD1XppuByVYcMeGobC2AoNA/IUXS2CdTxAWItWn0Rcw9W/Xfo0apVxv4UzljOfbKwkv1ouIX6LJXwKSYTc+V78HGYVmjIfNHLgMlnZ+hyH2fo3wPCi+K/32x1+nSUwHjzq1FOjpy1B98QhA327lMjB7sKLMEeq3LMVyMd0e3b3xms+GXDr8cBnWHA0RDRgcDY4UIFP/7FbWXRHbcthyFElQEGi7r4qFE3Ns5/JAvPkFL9B9Ny+VusDvcXJ3Qo67Ik6ZZ69dkRcOJboYDknt1SQpl2qgDNX/hrpMEIz2iYbZzRB8Hecwh1xXof/CvNUMziEVfF0QD1/yG+92x17LKufVw4pmx420xMecxGXmflzFkAGSDNUGNYQkDka1z91EG9V4J8fPTyMmWpPzfY5YKOHUDo5asWgR+sB3R1r3r8JCvGUdDSFW/8S2mYklsbVgyTcvJyFcuxEtb9J7JVyrPMUlE1wUj8NK2h62IujmQ6Rsb9b8VVsXb4mX1q4XNN9+/Bx1rq4QjOmj9jefM5661JSDigT8XDAJm9Ld0HHHOnq5qo1Mj9W1DP0crsJYXaav4k7cG0cd0rLrqqpHYNEDrJx16NIB48y90acEIT/KfLJIohvY0yfuGCQ29fiunrXj2Jw7yqKlodGlXS5MoqEqp6M7Ytm6FYGt8EYQrp1xlyLLdN5MjKVmDzWw1Cu2luR3mcc2OX8djYUOQmd12W7La/5QSiFevxHd5vAUE/RuM3B8Xv29mYJ8tB/sBcfvZJ7o8yOqtN0LkzIHxIozeQQNMVs5DmXS+/Z/gZyqvl4k1t6FsRAVXDUK0rtTyWHTY7O+J6in4irmNXcj+5jmxFOlhHbAbO1IbBCImiwHeOsiwcNDcdaPo/Byut1bq1JvNSK7Uf+Te9269nEjUl0dLAqBZJlnWJP6VrtX2GAB7ELOv1s/t29QPM/Wmq3tsQKXJNwskeL4oC0djA70SVGeEFDssnexDHh8vzozJpn7ximYePXggyijvFsZu+ZSL1qPVWIvJ+L/12v94h1b76LAnzfpzm+N091b6jYGtI08zmfueV2weZVGi2eWWZYci23Dkof05Eo1fv3bpYGj2T15+G2k0/DdoyWyRDyjSpx+hCeZ9vgfU8M41YXAGCESP4JBuon/wO+0lS3QEVsYI0daVTlK/UrQIU4l9Vj0ucA2zTyhbPPwpLnDhQEwLCkqNOwsuwtcye5AUZ/O+Sgw4WZVX7Sw5rd71Kcm5VFMMi5pLQFTEB4JBV9/uCBsVtSTvY4Ld22JiAYtcBNjcV8kwWM/sAiPbDY5noL6zmToUT5/7uhYRVwKafS1FzvHyEec5JLX7l9xA5xPgtLAH3VEc9W81eR+IIOxPpIT6OpEDIu2NqitHneSj2JiIO72dexzq46JIp1I6+sxoLUb70eIommdxfEKzqqFoxqgZ3XSZ/hUNabCkMDXbFfwvl5AlcH/UOR/y+pInz/1siuXxePO+tHl8FxDdYIugiEDWBGiSDtZEOihTq5S3YBihWXZ/5woTdUc8Z6gQn6d3fHfNpNLixkMPNboSy+CFl1fiz75tGWam1JF1IjjSCaKO21y37cQdUWUxblAWaQ22MJWml+BqZ3z4Bi5lhUbNyOJyqedQm/0gCve8a5NSDOFhKqSkuV/ww3X0lhx3PnTpT+xyu0SDwKAPpL1NWFKRxR/4kNuA7lW+8HzyHorgmNCuq3NElPNbGHpKJMXAfyD3tewQz4zkHocRVDrZRL6+MJkZ8RLd8p0wFUcPjvYDtya0CGk17IbVu9pkxjHMwE24Be39j7iqJtOy4JktXkxRETYmWywsXEzWScEF4HnYXiiBACqLbaLRl61MMFO/Eil9FzEK9sFI4Igi4+RZdHvVHFR9939PqFgzIrU3Zh64fBmnygaCLp6tiQtaeia9AsZwpGObVeppjHOzm9ct3OQsv4DLqWyFlV/ifaQ9HPFy40NjfsevjffMaSFQ3Ch9artt+HdLsHeTAiFfi8VuogA2Pr8d9JdbdsbnZ09huCyzDe2F6Iav70/92QzCS+s6W5iEQwyIHUcX+hONXQhLKrJT0CZ6e1URKC5jeGP7yF5v2UM8dmpkfxWqlOa5kv3lUTizOZzeDPGO1zWtX8fW5ShNAltEEgtzYZ2iUqkuXE/yWfNHlMpnnM37JyPaN/LV+BJ8sbAUNVjP5YubVSSrlpdUkD2jLQLRqNWD0vOlOfsi7d2VOL69BeW/ZDZcpbQmtydcTk12hOl5itgJYWNx/210kNqLG0cGWf56QR8b3LIfT3TJ0jpAiFY47LMol1+g3rrnjyIWd6SSTo5WLawCQoUio/hQf2v0OMkgKxvYBgsqMrkN6jgnzsqB5guXM60/XtFPIYHSpOIZR8rZJkUXT53sAMnz+/EWNO/q+0vu645l1LuvzbkVigcFrnVB9D6VJB2Cn7/an/VROqZT/HjLGDglj+XLey8zYI4A6WPLpAI4/+RXecTLheJapeeezXFxiG7IEcVwfpKAyapmr0hXE0H+Iy4OIXDIDxsKGHlGMoQzgapzOH5u2sfNgPIpc0l0EsHZda7Uaju2PYWysIjei0Uch1oLfmwytCmzUQwcO113gQUggDC/18fyS4C767jb/UpuF1BizyqwCLWS5UAkGpNBHnxqoeS77MV7B0GdzxDU70i7Xece42O4fQ4C/d+nb9A1ZYqc35X3yhzTDGqPd6ERDZo/HHQgxH/b3WtSO8bqU3Vd4KVUcBq08vo6Ke6cksSmhKpvzA8zjmogw/cHIPzCtGsp3sCuXpx7fwvUiZ9Ca9AQLmloeqRDnz9vH4IqJapcyzW2O/MO+0s0ynTvhhlEBNLNHRdlsTKh3u4bwBLsLaqOM9vzQo37NIvNLkhIeSqBFL4lg5gNgPQLxu6KysIu0vnqRSp/AbUgcgmbXx1OxNBnW0+xqdzSKu+hk4oE/jt1aamTVre0vRmtavTLXL7l7ujca5JLwEkbzxtTFC/m08uRS92Bh90Jr+Gfc9kiig6oNwvDwSLXyU3DfIGXLf13DoUW2pwFgu/qBX/HsMLwXqtdf6wO7P8VsQ8+qcP1zJV2TrnSNvG8cXfeWvhEEY45HImpmTCcVFF4KdBZSGEoTNNatDf5vRhEFznt0GQtK1b4qp8+HjgTDfw7gZeKK2K2BQzh+m4SLS40/Ae3GtUQOofZgERn5eEJl7uoEQooClwnUNsv+lqSO8PbUStciUDcwYnDM0McPKnCoVSf+ZYsODVXXmOJrPt23dyczL0UumyFBp43B5HMOzvvEYGEFOAO0tqApApQhv9ucAp3trBCxbijrNItDUd5OFNpfND4LAP8Q/7JaOlK6bT/7l272FZkhFYaj6SKrWH0m8O6m572jijz9qhwTu6W5VLGO/jgmzTnNgVEtZ75olaBMuVlBXNvdJp5AfHZyyvj/PgAdoE0TYFQhTbdx7gqa3itpp+g6EFfdY4uAHwAVcG+D2TxVOHdqhJ9gresu7hcTYMZkdBlgRFOsLyZxpzC91Yv4ZWE0pBlxsvGu76cihl+yAqJxDD6W4k5zAP4CuKzDrVSM55WgaMYLOT7uyqYRohtpPT4gaFTsr8YJpFu+VDBA5fhJv80dzMu1f5pgg2lmcFKU7UETjgEF6dHz6cAR43sHOMjeTL2hodX/zg5zLT6mucVGwRjMkTxJYnHSl0bB5rlYSqDHEii0JoYg99AC7ypdUL7NhLcxz637ce5Dum1DBbMs4u0oYRaM6wm+pRIGfQs2xB8N0b5SHYHFzMRRFl7YYDrWDTqMj00prleoQSQVG3odfx/HD7nZeIyFp6sWKtAjc0BliVOGVqb8Hj1hj7wGs+zZeDCiyvbyF+2s+gd1vd3tqMqD+elEvE5uRJuCEL25jE54yWTdDYbmmzpmNMcRMJ+RH3ZFitYqqeEAHpYg5JSkTbph+7CxmyEHv6QNTOhhrkZFkMucSJAJKeF0rV2vfSnTwBEzbhXL0GFOBSY0pY5Ak9N6pHyXa5fpELA3ng/wxhZ0vmcBP5rpRlS1vFpaepfUqWFDcUuKQFgg7XxMUHSeLsuOyNmn6L7nkq/k/yDxihYLnl9fbG5SuYUN0JoSrW1ImrxN01H5LaIXLHK3j35SalPvdxWGNioLhSH5BBga/Aw3+ykdup8nbRfadJVItNBgueQrsnaH9sP7OAue04G+q3al3vH90y4VVDkRMJ1sFYqHfDcEFnvuytSD4AtT4ns8fIGOKb/r0WHX9KaU/N4U0ovHm7cBCAOad1PXF3AQ8TB4+O1Q6kvULO/DxdcIeEh4xtvIgBg254278/WNBrGyOOys/KpWIriOx+mJFC/LDAwOOwUXS0tyhnOk0FLOL+sT3oV8vBDaZLXSJwecKaT7I/WY0usVmczln6xXhbMB+qrs9AqduRvFzoLmg/xOzyintRRDbut3PwLnpkQvcSFqc/hWEGZ2bcNH37Dpldmh4r0cCAKMFgzj5PzEkIXkijJevyOAhANuN7zVVplUz9HpDwzwj/ssk6zdOh5bl/g82LswRHA2yrra+eI4bBhmNV/U1deWso0lDRY378iWNT/lvhpbxrMo2gd9/+j9JVEHK395k1hHF6nY2jL4eS22qnLwTZCqh0/B3V/eD5OV60HT2XVXyP5/0eyUYzAn/HKh+0nAval9x34vnvx1QJgKVN4BVQ7gBdrGeA899shv90HWpKDUkKywsixErSwTCSKKPPMgkureWvHB/X8n8R4aHFzLLasWtQvXsqsNsPDeDGwTE9bhT6Nwgoh6XWQ0D+IL6tLIoEEiTScxxFq+HxylN6afyRrj0WRt062dl6EQG3bOA7OpdaQ+UZzlNmUQiv6hRKTvn3jByhQxgZCT9dCeS432OREDWPrsafZDrWlx44C8KyDHBabxUxBB25Whp2GEAjeFoaCSr/W5PU5HSArcbS/6xaBm1GdCawaEs+7LIKeKLRZT61F4G+mLbDeFR6vgLrZA28T6WgpDSOEEDqE/lWPzxN3azaW6rl1I/vxDrSt2v8xJ0qNdK9okt5MK5O4feKZKbxtZp7KV9v8is08bN78MKKdXv+CxOO8dlDXzH3KoEVoET2XyRL+9XVx2Tvni89X/mwZ3lISJFC9NrcPPkqB2BAHuX5og19GegBscD2SXx7vnCWkXRZ3WN7+JJlyJX9lX1FLfBrdy65tiI31AdfztZddHrcb3GsW4RB/aAp/oFApSQYyfCk+WcKE6RYBKNjpwhBMelgAfVu6akInjJQLg4USLqRQpT9aQ+5FsoSQAboAtz1FaK30zkmJN7pEkkRF5DVUjtfbQC8Gs/zTKQ4p1MJ3QegvTrPoq1NYk6M68O1E0qKYQ0LCekxoS7JUD2elHOln/pnoNQyiEm8yVFceEDdq3XHAQl4BRYJ7YFlWYQh97fgFfPfyJ8HQ8IV5cEGCgl+aiMPUBT8ny+ZvO6kI4l9POzr2p3sruaFAsXTsY2YEOuuDyH3XqvKQ3FJiiuyZnPIZ9ex6VkFlRwFO8rHoAH8LNosV7scwEnq1LO2/sDim8qA9K45htB09RkymHW4i5TQFCkZ/LoBsuFezHjGRCSVRY2G2Ec+4W+bdh4OOFNgGOrav6lATOASgJPCbDaOW294xZzRTcMub9l11AAYS1mBR5OgKw7mN634d8AKK8j7ApWT+1Sg/7GsiWexb+x/c1TNMWTh5AOGN7jVrnUC5ptOPrjc6A5U9Zw2PPmUuYgo9LnU2CdlEplFPa8jKevQuoSC8O6l3KyO5y5o/MfEDAVRdjcC8pWAJsNJsoLeuzlKtRJEokAW+ErA0LIqMKD2lCTBw1bgVJvlHnDksOLUz1F864mqm19JH7kISLUzoq3Kdnr2109AlRkg5SnL8ZLehWeqWU+REVuiZsWgQ7ZJIC59xqVL0DNYS8TaiaMbnDg/CPCNwIC9eV+HWReavy3EBsYoM9LOlgYiZ0FbAdoLpzI52YnibcuODS+HVDJbkBrzCaVQ+jzSpbhKVqIQ2dGOQ9qaVZ+HTqhyyS2N90B3Iz9P785b2oAnp+8u8GrokGycgEmttU2SpDmJf3r/F/WItyCMItHBjL2oAhonRjMS76v6souW7VZBTueC0yhFjVPH1s5aYcgq72Yq1zOUeId1WjIIiajEPuAkJOadu7oSZtmfYnT0WwqARJHlCPblyhEg0Fin/IpMnZv+OtBx/SbEogBWggdcgqsLWRRWL1OOb9Q+gKAdlSYRdgyyc5/tpoNSPyItbCvAsmgHKDok2HcIh8nOh7A/Hd5K9CDggNoW6gjFn30g7GIopCKe13Vr3coRKjuB5VP4qnyQE2hMKVx1N0XMMo7kPrSkVL85HVbqYgpt4NTnNSHluCqTpxAJvz3g676w+kOREJQnl4973ELp89vpygScLHVaciRhqntWkfgKkcw/GtzD/jkvFqy+FgHF+nhpn9ccrKpKRAUmPjvsmLlpL6G4urlfiximtOFsML6cNuKrF9HoEF6bxzEEHGEa0M6X11RhcJ02mlan7CPj19QXtU7P5yicqzysf/td+ktSPMDUN7s8Tsx67zmAYEkYz04lBNxjECVMDIlWPe2epUVkNRme1wZz83elVmGV2MnAlmTQYrwfBJAyoWgstrFFzLMDNdy8JJq8MRVJN8LECGg0X75hhOs4qud+kUANfvclV7W7D04v3D2HN9I+4GzMxSOrAatohjvptMkYwbl4BHz4/vU7x8eqlJ+eYbTyNYZ6Qa07sbUT/RWkZuHe9OOMaEgS+0IUWZ3cWolzpW8oLIfeVKTFZPpP2TlWa07LOXRIDjaJ1zWy3W+0YGDsawYHlnTAsGLkQfrkAwojlgZnFq6rntgFQdAI7aADlbqHMbXLeVjGBbVZv8OCwTOH1bo5xCNGQK2PMazIVPITEkXpDzqwQlEcEmjMtvZNUoPa7/CE3a0iTur+ZVb9w9jSQxhSiclYc49Tmo1bFECATNqS/jlMxie8DQlNzluOFiegUuNriR1aZOhq4ZqwRu8ff2BeLwtvZu2AZLPNVfe6kvYd+VWDl+1+pSzScUbmv17OPG2Z1qOFlNoY1kgLaiPFG6Ix1xCQyprZ/ldMgBymQsuFVwRjZ9xtclVwMhfwvB8k2E4Tq2tMMIrf4mrkLwH3jpxwpZ9gG5aU7VN8tUsBB8deXLazNLAIYPFBYfcDQTRDaSwXOqUopG11CM6w/XQgHpYLpqxr0RHYL82niBM25kMKRwcuTGyhUkM6zflLW0+QXmNUF620ju9hnoyhJytD8ZWJSd+2kz7k+fc/+h0YSTcavI6xJrMA4qP2ILZaAsydnYBY/BgHxJEmlHLbFBO3gI7oasOcFseSArPaup9kQJ62OgWTfh7yPK26scU9fTNYVIMJzhJemvcys3Afl+nZ6q04BBwoMa9fbqgAXfyJXp0vUq/jpgFFnF+yZvara43nGm1YsITJ9HWcz9PEh6ne+65HHk67w+kN8k+iunW4yLJ33qFQfydhplzMqbyUFZpErPV3dg5ba3uLl2JvAaER1i1S0V0OsZXqMYgFzP5xu1NeKGWXHZRUK5Evu3RRfDnDvHsDopMqbOuosViGSfrPOPMdidycKBpJp6YVUnk0OC6KkBz+iQedIoAJGqWJKh7OR/ecIvxPU4kr8jBvO8gzA2/HbW06oe2ra+zF1Tw5T85FXQAv+noGgHxuTbnpBnojj2+b7Uf8cs7zrLoANAdpV+cJdeh7wgoCe15Xg9eoBLdYZ/pGdTQSSD8hskWej9agH9/yy+LT4Rj/69QEjkkAP7W96GIZ51d13760p/DALi+GDXEb/A/QYzCRycjpKYGytaghU1ZXSoDw2xssN3Uydka3yPNjnbIXZv88eSZzlHyeT7cJ+d38R77cNKzxmMs3Kw3lYjgSkwRw9iEmgTxzoKphAfGfYbhgIBxjRMx0YdjLHCxGc03g3eacF4a7fjNFp2IST/zkq9KmLmxtcHmQ5TnhHSUb83mnXWwJKsQpCjEZDD9dm3yU7EyIfcnWurBQPvEHqgMGI08Ke0midzxx9igECBd0cfUmQDxdC87eWNYkzqHOr+vI9yzodYeAmh6u4IuTiZQdlIHG5kNlmtgYEr094tFmp6CqscxGMiELzJLVh1aFqEbOjS1/XJndBqDE5LXF/VwHWxtnUal03nzrdnapRPZ/2vIiKjPZHqzWZmuxYIu5J7MKNfS7lDE2f7mbNOeZyObagTGrqn/a2cKh/KSLs0N9peky2VCo0RyYPe29l4Pc5ooI0ToOa4WjwltiNDc6QndqQUXk2Mw4GQXP7QmaMZ6UUEJz0xefkg8evF8O9wcTe7mlAGAm9Ue5Fh8KzhQelTfUEApSangaGFE8kth3T3wnB5W/DXKQ7nZdKVmGmGzqN5HIazLTNYgmn9ZbkzfNS/XPLLr3ryoqbTyZWNe946BObSI3mrcn5vX7PleTadCNa6zU+G8fEdctLT5/XegUPZEyKmJTdizDYrA+U74cHp3VeuRaJ0Oqj6KvP4OlBf7KUrSyv3Coo1wMRYPeka9RQcH1RZyUP2uX8eFkIDL7XjgSt8KTkIx7LpX3Xx9OAjmLB8tCURLnjargQs1tpeXFjmnLG0h+t/QjRt0FJgeY+VhKoN78K6hNERxzE6tMH4o69n13yuS9qyWA8TsmlIIUZ1Gho78/OGbMyt4KqeogDqLeBnFtyWLL+zN/xabbcrw0ycezOnq9hS2HfF18QVXEgZlyumJi+AKhro+6tbZEsvrVTcJiofn6m8H8GdWCCqvmbytzUYVmj2ayUcFwgQTezwjkOUoQGkZ/cPbcUs6wRw5TX/KJZLZhEdCLMsEVPMglOyoSci+ZzHUOWQ6OaVBBULSgYC8gFIk7HdF7hLai2OnBQh5ewch1sXt8Z9SjulbFcT44gQJ2zlcjsiWMAX/92o3eG7MGrzKa95BESoDFhDmzYyLZKuUxJqje4TPdGgzLvPTHYc/n9ZcJHm9UMLj4iIx5IZmlpp89PQ+f2f+yr8HsA1dKI7BiHAidjSW4hBIhgJRCI4M0BkgkjuSY7YegPQbxISxCWdR4Sxw4euDITfU6QU5Ztrrl40BVaddrXLgOkE+0TOI9UrSNlWNzgiCsYXOd5xxcZOK6JeFhIT/m5DdZLFYMvtbH4SY1ZYJBmuzMTzwoEYax/tEUCior50FDSeoQoPMQKEAFHoz3IV5kiQW9iETrukEDluqQ60wBus6znH5KTYUXvCPAOSKb/xkbyJxj6NjZJQFTiiiIV3xfaB38FLrb9cFWCMqmxDuC5TNP0PrxMrYZsggtXKYJ4Mp7sfWIDqeaoCJ6xk6KxdN97r17liXJEJta8HwXWliL7ZjF3M7yBRtc/7CSc4m2211BATFlQaxtJCcXHAprDpgzg4WSGcQ78vox3UeP8Xpce45t+Owjvv9vGYf9bLmOlO0VIXdeVaqOFel0IVjP3gvbsWXXPorsTHCg57+JAWe10YOVgK9i7Gm8yQkLkYriSIOdU+yxnZuNL4FBdFMmWI6xL5YOd/GBwse3haHjg35jCU5PnhxavwV10YmpAi8HyFBAHxQszofP9dno2lwDf19j74fcI7iN1DRwAjF0aYhLE45ruwyIttI/KOXW+vZpj6XUn6CzexbFWjUccFaLGGP5hxOc0n1sGdFH16XnOstmjPTJ0mtcvBofQZkAjgl0IhfUIy96xd0KCjMkB9pgkqPZkGam6HF9uQXf8OQ2JRk/MN8vCSQyFB97rNjFIXM91I8HH6suS6WilJgzBeUM+0KUpQqBP133rYrfezdiA9vmHk1mVqcxoA+rlBhmcaa0VrGSZ7jcckbDFZIFIuagoRzlKLDs/05Bay10xbeHM4VW3vU55bN3kFopUymiFWrrwCNIAMQXnHvneNW3VFzK/MNqAGBbPKW3YBqocJqOHjYLaWJtweDuZutBGc6Uo33hR/GGDozaG+foPFOWDH9fKsbwiDGNtbn9C+e/4nmlgl7YX7YP+puuX/QZA4Omn7g+EMOpFEhtJ1leXQmTMsDvsylt73E+VYizNLfzJbnyvjyxtKdixuKTOZqIct1g0x1Zhf++cadhiH2RzSfxm+KzNLOgAf7bxOYE7UJcLj7IZxus3GWKkf3qaXILzDF+LD2R7rTx0aJ8sG0zPobcRyOSrLcpN3EhiiRMBMECrf4+8SX1q+BVEug4WuJ/rL20/3co+z2hxmCH54syHg2/fjmhgNwAxXep2pCLv4VVoq8IP44gTp3YK5vXTbuCItX1IrhCuqwt/isS+cFizF/0W0wHfwDj/cI1UNX+uB20Dk1yO/KEg9PFHcN5cGrxyLjLs3arnEhEMI7AGSLhE+zNTuoauQsOt0S5FaydBiKr8IXeiwEv8TLEbRbGgAcx/MEL2lU+FZEJGN9NSvMxuJo5slxvGWuqh+PwjGpPT2ITHrgOZlOx0U42tIobaVOuI0vvkIUmkzv0wIJxJjzy6Nrs2KYpA7HpWt6ULR02o3As4LGRzzbnV6+KRCR1K8T1xI4zKi1++pIuc/20LMvoHeHz6zon56TRiahYLJFY9iUTdD2uybItWWJniQjbCqBXyEa+kCpoodh5L2tvkbCTUjuDCdoZgc7O8kEetOaMODKKcDgTNOjfvI8vPxvqP6ghvZnXT3T5dk5WcUycbTMm5ySt/S8IlFyX24EPigWcCJQL4Osrg5kl8QhIj/KqR9goTZeQkEryQcMYUZqNzZB2SRmhUVCUvcXHtRcK+wgQiL3nK+EaERWX16fHSJXoJngAA6S/lnJHgwMUMOHEqUgyLd1m9LSk+f6BfIsLiF7uw/rFEN7CbFSGA50MXUNjjdwTQWcZtCZ2thjxEpCuBNhhQfbQUGQu/Ct+OxVO+Z1HWU5N1h80nb44v7cjM4Iv/Ou9s5mMhrFniyiCnS/GepdsbSFxZ0m/njZK2q1iuCuiz95D4wyPbVTcNgPfV2DOACcvr/WuB26vR8aqjy/3YKX+oCXpurvB3RaiCrQQMVumCJxY3ljvWTDQJfYuXgR/a0MLiey/Fk5FSlGPl2U4rxykjvwHPTL6qbCBwqdoD4r0LJFX7AY587w6UJaSznJEvWg7eCSZEtTpOO25yXWnO5tXBxwgQsUlMazrRJNNu1QumJvlzBvdZe02/dvu7/MKC5aCpp6SS0Ipgpt0dVP49QeFtTvbdqw3yaBMacgJIi5Ubnh6DtP/J6CcPhp+sBONaeGSberjCb8PNb8Kro5YmnlBVOMvM1PWaTvT4n5ZsfkyJN3lk+1FB+3QDsVbIOvNAhE6hFqklrGYgwrUYuoHZaLrbEeXhE4UfEU7dGOcY+WHATqYUT9De1XeRoqaU06aPmClzyDrr/wTAQ7cMHgCK5wLAtwTu9OB21UOsPGPNouvo7qfBC5rq14WsSULZbi49T4CD9kWu/20de0Ecv/JbVn3eE3JbU0k3DW1I8yc0/tBlYXfb7zGykR1PQnITtWfvOb3x7JQkzMg25Vs2yHQq3VPZ6jEy3AwqmPyYjYAqGwb4cUnLK3raAO0+s+zHIQ8twuyjWtmCPmXby6sR7m/ZmVimQT51l8VobqXL9FG1AMNny/om70PAd9wwom8M1kQQOj/vCsH2MoZ7rrPVULm9MEjnC55oNPVIU0y4TV8nGdUeRfYGYiNUXwLqoLUDCUxS7bhdUAS1k7W0d89cXFtdfkCdQk+2uPzqtBFwhnLAG24a3UN8N7ZLuvJyMsc3uB4uwNwtoz1ez/H+wm0oG6sO54/mqhshAZOeqns9YHD5eod2AQs72pVnG3Fp2Fryzm9I+/ZC6UBFTuy1cwFtciMklrdy1Rv+4UC61R1h1bB8wIs6/LPps/Vh46fky7j7JnOpxWEeU094ZFfiMAMbeFFqmM4UXVEGx8odprqXciyOl2LlMeqRwJf6QVmKL/lodUVgh60X7FMn5/Q3HQ6IZA3kdj8twCHCOvep6qIx+zS6+g74LLOpV7owrLaSN5rDzcNGLgrt6jaXi17LqyI4X1m/zdHqvsyIRjTR0tmtMxQ8jqgwjkCDnUXCIPPZcU4CtdTB7EPUyKXqlTh66Sq4jvEpVxPgzF7dj/RD00dxF3/xT4bqJSJluQipseGiijWAvQ72MfmPdpIJ7dBaSN6PDfNNFOWRlapMSMEhAVsAHDgzMNUzmVh/pzb48+sj1a04+ge20GUoo8A3fkSWL5a7Fir3OUFGkuBK3hkAg59I0TmYLnDS35UffjLYJYyjpjVgtKyXkBmkj+hXjKwp+DH5dQ9negfkUWeqWUqlkxgqUOK93CIF9MeIOTiD5X76Cgxvz0T2SuBNFCiVE2jghSXX31HuoXG27zTlk6RsStrKHZNwW4YKknQkWbMJRRfK6VK/nDoBXMDwzPkX+vxXHteIcK+uFTniRIhZHjo3sdoE284ukrjuI5b5/KkkQZxmP1RDZ667b2dgpVS4QPvPlJYelHPF8GOjymrR2+s+2P0d70aOG3gvAl4LkO2JKoHYLMMOJOHoKvbZ765mz5P9PH1RherjFdFROgXKJSLeWb/ujbvmOuOEDU330Ofnf5dRE7ZeBZ04rD9zHzhol1EqXf6hru/4CmntdN7RNpebHgU8GHaIbLGHW1ACMd/KcZuQWJu12OHKyXE9DBmv2Jef0rvpOen0Q3wb3CNxEilZudY5uEc9TNTGTXjU4WhCEUzk5JatG8nxPMFE/6zKX722iXExQ9uCK2DyN5B+7/J9/cb3+XZM+7sO5jDMLHpeYkVS2Z/1Kz1sZkQ4pK1yZ5tjg1ZwyhR8bWpWck2YRtRcLzHO5YcvJ2ysRMS2CvLSe2INDkr/IofQFLxXKG2w+VHcKz+DpIuJ2IOqGBz5AxdjxMAI5EMoZrvmh5+JSiwDPvMHgEopLNMR4XzVxJ0rkY0ym1pqHXHVPGoN0ZW5q+JldEdzmCfj+a1DeiAhiNbzjNI50IWxCBpyHofVe947q7yijRJYVoCYSBNcuNvBuYqaFPPAGToYM6kKEICwBYdeUf8nx4XPapOzUkAWJwtyEWfIUetMyh4z7jfct3SI9m+xWkQljJhiRQIFEwCY90BFw9q4xX5ELi3pgfAsVqqDkrlLdtts4K5PHcRoJpesEPqPaPnqp4qFWsOSMwhnita9/2nn73fvpPvMA6flxe0s2nXG+KQ2V9OAhHkjFzq9v2zZaWt6/AkYKB47g/2wpYmtSzcCSHLbrxpfH7MXtb8HkWTaMvryotXead71ZZsVDV7sIgfjTWKRHvW4cbmYd/adjhm31rlQTEpBOJxaBohIfKlDXeSSs9qcgXk2vYWNyhqYlMMq7YY+F8QuK0GkYNJhiDHgrIphW7IzLncUG5rMpyJtscXxNYgmwrymTWS0Y1hO5ZjbHDjPsd8Em2kifECo6F+HnsXCtvqYxsL3R0hMyOAqpkJDgqFYd2AVJRciesL6xtwx4hVlbqNCgcJ4Si5pXNat0s7TzSsxHjvmiztdek4q0U/k/BgrAiX1hVAlhu2BglUObR1S2ceu+Ct2R+80lWg5vzRjRTdU6e9jQiCYtzWyyI/MuF7GeVmCXJHt7Sv5SuQ0RLwXpM0102CI7ctKLBiRw3VVdkONHRiYQepELSIgoM7/5RiX1d+I2QyTwtMzHBuzbvO9I2sEp0cgrgFpkc7h47DpuNkusUNMb+WxMsJB+nuzQWFTGaakXg9HvSjmRyIHWt+PLEjcgS7IGYzgdf3r9aD4IPosc9ZP4bFFAZHtkhwFZZn2keru9zky5iLYfaHB2JyQz5wQjum3pj5DxwwcoQb+TiVlISpgNDJKbFGPR1gnQpIxV2lS046+ZRqlqRqRRkazfzlFepZRFF8dtw7r+PUGZcMKof4Y0dpRJLqEagPRxa8gQ//Xh/7loe3w+PiSbhpAU83794PKTj9kyzlnKwfswGKPJHepBJRAhA2/pQb/Tkux6MUKAFLosQGCqKsNBHDFyNjZ0vaqaPCBdbN4zPxUDgrLCe0mzgfRXnoWUasuMQOqrN+7JdepeQXKMo03EymKp8o6OoBWJhzekt2lxzvluJ6IiBelCP07SPdtiVqSK5k1SmXPYaPZ+lAAyP7XhlJ/Oo/wVJnz4FwLsW7E4eDO3NBP6f60ZCgrX1Ie6QqbGXy6ihFZlUqsUtJ6Po/E8tZtxrb1Bq0lnrQ+qNW23ohp+TkhdNx/XOVh+hDhGUhCxmvF0E79BD4sybAUKBKfYHNrtudKFluObjCdPedzo6hAZgbNrPQoToGeikAyAQYMLXZTX2KQ7WBjUkae98yY/Hs8toX44mmXOZJTieoEcM7xYw2pqAzvFmAeKqOKBZ2tM5M+BGDeLmue77RiElMiBIjuPWKQK09zh/Z60Se8sNnzLsyjSMDjfjWB1Zj6iHit9bwlSHIdH+tEOD+EKGCEpo21ePCk6c6OrtghrEZxMS+DFQbENmFwtBQCdRyC/1512NvRrkHlRzsUH+nuIdLeI00RdSvpF2dR5QhhSxmeludJprQLFpquMhMMQCOZsvmqj7aqdYuD/aFgG6Jy5S14ERLOmQxr6ZSNkqSLvoEKSxtNuCaSkyUpKMFpELHOTjbdUZveLp0LNugUXeFujtmcvAp3DcGbbIaBRumTHZHF4CnEH1FIaKoiAOdd13mmFZL0t7wchbYBWzk79aDzMKT9o6mljwhJLe7hwiX1LsZZZai0cjT7FK2S0uKM6w3dnAlPeu7LIjNl2h8PZO9BW8DfwItYT5ZhfpQAyvFRopS2owx/06gYxwW8GzUVLfEAiKR1MizNprEnez0nuJwc1iZoBKcilcyUPHJU1WScat23v1uY1QSKUOf9HGgJvkh+TAEyu0udiGEEVPYSjbY8trDZrsS1Duiep1TehPdpf5oaS4ytix9xohf+43xas66itvG63i1W0eogDsOoGZOWt0rFV8+EYrbng+MKsCJ5sqsD8S8YvE+4k7neCU+7yNaUa2hDgNEtnTtdXqfd7qIvLbCOttKIwGIMNhgslPkmF1O5/6aeUS+4spvSjR01GGbnRakwKA+rpyTNp7zKQdY0FdKOUuC4xk+KZYO+lpDnCYXMJsPnbz66WydI7aJAYk4g/yURUVyA8iDOClmCzTe8ku9yOAerG7aovD9Z+wso5dWyTF3H/Rzwk+aPFM3TQ5mRiTF6xu+4toZx2f6pCfAGMZOUpjFahfcjAIFxwBVRJAdiMURY/mWhKwQ4FQ3FTevSKxK1HiyRskSOaUdxqHf6e/xKDvpPv+OSNeyQX8QbWifbdTacpIo0iowu2VCNQiwsukuUpnkjFvtRrDHxhyMb2JoFntauzlz7M7zF8L9Nx9Uths5i04Vbqahn1r06C5q04zlpuOgYYIzSGGmEReMOry6LM2eDCyHsHPXF9dfk/LiXkKWl4twK7u9axhZi8Hr1zJnOqmD/XoIRkz4lrNYz0e6J002m33k5MFqOFL2ZP5gQDuCOKG86WRJFE0yW7iShsFNeP3gBsO6Eryb1k3KB9NKINROe36Ko1g3QclBtBAat9nePsmccvxhaF+26ZjztNzanwlaJdp9Ha8hOkSU0vmz14fPBIAvrWMwysS7s9dW8dci1nKALAPDYBFODSvG7YAJLg1/GeuPkBzfuTcR34u8BD3nr3FhTHl8uodtjCNiwSuL8+2zJyyYDGuKKtiIUKkkGFvbLhtyDGCWVv0xLZRPvUOi8kiSz4wZfOp3gyyg99vroO1dArc2yb3JUAoF0yI8cMYAmROhwL/vfyiF/L1XXDYu7eRjAy+u4ubHbehjuRsZ4LtOZ7txpGTKsiiIW85IS94jHGOHXIfUmFus73USEQZAS7gcaxo/V+Eab2hqExOshmf8ROsLvJKgbfPW+R+cVJU9WGNP2s+RIgeHY1Qil8oCkRJn509DE22hBUyWeRCOektNEKhxJ8c2P1vqfGNSyAkatT4TI7yPAagztIshcU5p3OoXtqsHOG02b0nVtI91yd6rshT7LugSWTcqv3WT/OGjuEu78AhM0yJ0pnHNNNawLrYMLiJhe464qJFga+lxuSx7mTPKoEAjUaR6zyq+lPiOXvm6Qd9f0evWb50wib0FdNSGxYYa2mXxQNguL584Q3eY4zJJvDbpFUy3/kc34SDDVNuC+3WoE8VL3DjMZeMXcGbLyL9oA0VEnSao3lrWwxFTedmJmtC5vM4qFQUEb8RExvdkzapczOdbd6hAz/nuSCQ+QNXKyWBaX7gFSMce4p7gOruGH2TdKgasYtxjftPf6jcDOxzia+QwDVl22spm0EAeY/XFGiB3nrhBdERnF5MsmBsy6bRrREYv4FOqfrgAq1V1kh9nwkRzqJQx+ByeyDyCqyNemVd2MOjZZ/U77JIlQiAIOAz4VcIBRWyBKEvkCQMlEGjo/96ACS7NMqmqSl42xm+uLxJpJVxMzUBfPaN8TUAni51PBQeZSQWV2syo1gI8vg6kurx4eB72Bfu0KMHRgUb1H0n8/PqvEk28sAuwJI5Pe8SDn/DHTlvKos50fA7Jc0UdSdoxkjhGMlVg/bN5t8SkRJ1AvHFwyL7wLU75XfmmCXLIbkno/5P2WWuYIYB8IPrM4j2nOB8AQCeMwpneoDcHnxE8CjGPjnFjDYS4836cUwnET1M4GewBmm7oY6vxe8lq747wkjiGXuV6Gs0YPeBJVzyVO2HYYpSBlnYlUaTbdzisPlAYzmpGwFSfnYNyyjqSo2kSvHzB3nRZbxPl4nRjKq1F2+eSvpABWwgRdNg383K7I7rpe1t6dzWi1hHFpvzsNnM7JvNW7MiVDWzBjQ0R+EYdOSn43asz9ywQn+PgoWKUtON0+dYeT/o8ilXX+5H7bYeCMraDCHEFiKqNfmMtOdkAcaiVU68JKdpLU1lz1hhfJxCZRIPPTnjPqPJS4ym1uULl0wbCL8W/j1ApHZCky/UvFKdgFls3xupsAz04sRU53ACkUjPobAE8MDW4IN18U0irUaztqfh/osZoRO0DerF8bZ+lCUT1cpma1ZnDldS3zky0QnmQZL/TnG13eFVq/C9LFnFmCOiqZyZe0N7S5DAZx6QRMlSAbhMP9ip3t84JZn+qHZIiw9aAnOTVQ/d471zQq2vueG3/5D69qQfeqF7Jaq4ciOFVZidOmglslBkGLNLxKGbiC9OMzCJLrx63OvE4aHT73I1BbrXBzL+C9mMshiwHWu84c31r+1sfkPK7XjqQE07wJDVcVRbtsyzwx/tJSAYgnFvL12MHwjQ4GpHFhv6OEjq1pRx3kEnbLXuB+Qfw0BEL+ilpE7FNOJ2j5DelBcoe0pt0xztZmJimM1NQNQ7uOHLAVYc9mSJ2Zy7BOpMY4ToQtqEa8JM2X3kdBcqrFj/CeolKIWylE+U/FjE7Z15zTD5IKdl30WlCUJzbs3af/fCooA/njJzFmmlhBu3iv1Z/xt/UY8Fvn4gIT8h2IfhyefPgpvxTls81I/GwWRWyVxnuWIp4Yv0H0csZzRsR5gMFmNzDHHYB/ApnwNku9qam9BDkWT2wZHujHamuhgSXmXOHdJ5TIVEgIG//BkTDt8b9rU53+4qN5QQ1fwlZzYC0lkGCAwNIZN17UvpOrGtrwnx7EdW0m4dNXVOvT/uXNVNOo/tLKt7EVkGSmhMytSdrDnEirTU4H25sxsy4nowJZbepf/ZRoHUeY5fme30q7qxdpWKRH9oK/V2IIgZEtzQlcHwPlqkv4AXrluPL/mAO0Lq9SrRik9ASQhWDXlASI42WwVdGWV9ajXgjQIPHpzoWdfhUOHgYIzZwBrv7fsywabhQyb8ekmO8FGnBdfb8O8iBmeYrbfNSt7g+OeoPuuZ/XPqM0w/cmfxiQV3RVD/PGw7t8w6ELRI4GdzJ7YEGZVPM7i3Lo2EGSE6b18ZNZQXGw6mllM19UGRTfiaNSIEKwjZzd4MDY49OqODLwzU3Sg3V2GdPoQ/npc6Hn5F4Kmf/sQjsjPIQlJ1nRneJsDdtJva1GM6Mee7egyoa3TZiqJVRfj4lyyDhuiOquKBpspyxzXIjCjU0RK074aIdV79E3lUDLOnZFDXZXv/2jLAO94Y2jnqwCGtkxNdOVNoBj9c0bN+8sP3rdZUm/ma7hJYgLURL7pSdN73TEDbWLCVn9O+NnC1vEZy1iayMRnDM0X+ZVGfmQS0OPR0ehunuRcYMTi1A5ztg3mLFmwZ1mvtt5OHTUZUmkJp2Q4xwYLbXPmrkL7uyR0Dof+TuSltTfLRysxfc09hBmzIdk99UqGpy5Gfk/ziOq8VbQFw0XO3HLBHM2CvNT4fbg9altp29H35J9/X84cRNSsz8AOMtiESdBG6rGbCRQFB1Qn18N49aFW0j1oqICKMbVeWt92WTfJIJ68c8oguCrTfmBJszNMbHtCWlCORm/o5AQXdW4h/+skXTr0gx6WkWBjMlXOOrNYsowYDuNEXmIef0tLnRlfPp5O6Fz2j88LxG080Rf8jXMaAJQN5NUGZFRUAZhBsXpiSq5oSU0UiFA743ku5QOpxReOb8Z6xKjwA5ia8CYEWN75VKkoW4Q3wiIXvzOilb5g80UETCXMUa7gDKbNRZV8xoYJoxtb7KDEtn75UHjb/rB+kxQwgJkTdedEdY8BKZDsYbE03u2RrJ3bu5JaogXM4zTUUE2QWNr7OZZo0ucWzLqpwzX767qW+nS2cPZdFF3ySZrvp+wJssEwFR5Ld5uoJw7o+AO7nAGjeid4MHq6ShyUCUMX01UE5GTcRSdTbHoiznFtvYMI+mygjlyf5nUHCq7lcRXqlutNPLsCSccoeP78qlS43IHuNXhu4/mfmpWkI95GvhjdMUD7TnOKZqJ2RsLwQLcrhF0esO124SjcJrz9IfXBcOqtXr/zuo10ag52d2fSCuojoIeMs7x55j7iewH95yT4XXf8wR+0cilibNETx0qnBuWdXKa9T8/d9VXgRJaLE6lD7uHkFRdA6TO+T+ZrOYq4Aw9/BVX22mOjpoG2HluQ0AToYbJwChUqUr3k1N09rLPvyfaBgpm+nBWCkJFTtfdGLmIL0shiw8TVLvXAtNQAUagOOjKzzGYPXPMzcQN0siOawGgKkSxgKYHtxeUhRrkYZOkLNIzplVxtSG3X7Yv9a3g9jww2gsYoSS4SWFUAyHIjp8G3+Sz4cu728z8y+XR7W7fvWosw5x8FIzZNQZH68uF15eoOLpSUgk0S+NPpgu4AvnSyEvDEqzzW8NvuEkpPVER3381/t6A0T2zoMuJvj/5pVe+Kg3qQjUcRKFD4atZDFxaiKjoQX5rw2lnHGZDlktZ5SpGG6rbuSaJji7+HrL4/JXfkhEBdpwF/e9GwS2ii+Achx1Bzzw3JLsiuvAcru10hkc6S6pP5xLCVXake/L1vuD9s131YnDhnxPsJTy/8tGA9/Hocbd6MBjdMRAlUG3OCT+QhxIOW3LvK7Mvh9jYZZHsBV7jG1CML698SFZfNvsKf/g6LrZv1hCkfo23KX/M+rv+JLHETrRPyiE5RurHXOzZO5xE88To1kLZFFeuDOxUI1WeNZF5ikYnYe3EwtAhoA95RdhDQELr7QIKeEaDH1cCRmerRDBtkZQCjjiUWFxvFUswpfsKYu2tpVC0XG+oJ1CguEG/UsixVzSgdJdS056aEsEBrF+qxhtISad+UQgzv4wHbgI4/WQOODt/wEANqTS6yvoEl5FW2XIE2Agz1s0eqrBsRR9m1joG1Ap5+4QoOQEiH7JGGIpbK+W2Q7kSFaYF5cr0QPNOcTe6qI6kAOzg6Q7J8zfh8P2CriNXucbXYoeIQAiy8nd4AlwK0ud2ogVI6nlIw46gVVYj8yvdSs4UtCU8R1C9P5uw01LKx/gtn7KVyeZWpAOMjaIV+X2qJtk1xLwJOduLyKhXdftc3XewODymnsUIb1GttxzP5W+Qedookw8uAmS+GbUDSD96T9rO7UU42lhz4mMKOpIUvphRWOHfziOgm5SnqBjOOIsyr0XKuVfx2MB5DWITPXrL0RFUjiqeWO2DDPG9TeB0e6BMmGIAgXoNOEhEggFQF1iRe+2oul3R6y26I3vVzy0E9J5PwVpqGFkB/Kc8Ro+N8FG3te+5S0Cg0VsPgvn9Ku+HAet+Gg3BQkhW//2w8S6ZZ4rbnZodRuH0upwfdAbNhawcaqFR5E3ZpKbzGNFyp4WMB3F2GJLEv3SYDkX332UxceULsW3O0S4HJXp93kPVRnKu0BFLW49PHVTXTX5M9O2E2FPht5yQagBCmYeZdUVPWtgnOQGXMFJlEfkU3TmIIM6ZBxTsGXNGa+SkgDeUetOL7b49grX8TocuVcHrA6i1qPlrIcKZ58XNkKbMNKhl1XU5cH3wDXdCTXv2/Ene9liyD2NCE5kwsYWZkqWE0kjJZoFCQQRXwmULXZ8RywMNrF+eVRFDJoA8mmwxGsYpXR+d/pm896yRjberbk/yq6HZyqm6s3qoC77EVuBeUOodvko7sN3Lr2KAmZyablsbCI9xFun86P/8XMmoJQI6wzIMsVy725OssxkznvhgtvFck5GYC0zbpSbVNOiQtWSJqgFDvN3C74iOqGmgjILSN30r/4LF7De1pRn6u5BG6/Ni+R0WSyvQ2X9mQ9CMaNomDMI15cZC/+if/0gTFm1whKdgGG06iwa+IhVOe6M4h/JTV6NISZEqhiUiKSWffNfojM+pc/edVM+wEjgrIfeufPxh/7pANqSTPJS1hezDu5U6IbqweNWxAuN7bc0ObIRdHBPXj+Sh5V/TizKyk4+CbPM6SBBDFdutPb2COF4gJZTVnWHE0iH5FE/Jeh2WqlybS8d76LlbW4v0N3WotBOelaW9yG8u3qXBjIn6fJ8149WPcJjxLaQg2/LxuzbTpPdxMARkm3TPeqsYVa8DefxCOhebihz7oQIHks3h1MvMvYxzjeWUuusGgCW3uBtmaD0AyP0U3zRyCPyW0bGfvF8si35xRapMMB+ITEiWc2TYtFXDOhsYzF92PjK1jgFrqo4LWDnT26qHc3sVCxRzAiaMkUzkL4A8baNMegYc+4xMBoHch8GEkFjoppJt4urca3nS6anwMVGjexNHpwiFa0tCRwOsRqSfPQqzBwI+7gkO//gwP9sdACQclu9LkqMArkvtsgPv+YA42gfnTlxwxYw788D1uz5hZ+AxX8lrviiR9pfjBDaAmvAXoXfkKgWH6xo/uoi6qmM6O7TK5KRx0t1QUQdY+BgoHAeOLEGTKXGcDX4J96YADEHJZL8AnczyzGADR8Cz6gQpt5pn2z7g3n0rBh/aUhd5dGeX7GcCXHh7TJoiMuhZk/8PbcgpBZ35Izeh3baTe6ZT5lk94vPfPfQrXYeDSGjT38MbRH3G9H3hIJBN8cKhZMOm1/Gi+Mg689UVE9YOf1f9Oi3NA9SjJlyiozB+ZzMh7XikVskaoR3LqoRcASZpjZyTo5/uNvnyKli3lJOTGCzQ9amAGe8Rc9tTpAOefOFZU6PaaeltXMRXLZcneqeWtptvB9WjE2I0Mr2KI473+Uv5lx+tJrfX8pSi7wwIMNqKOewtxJXXrMCpiRD8YjTkuYtj18F5iUCx976YIELdvsBQSSqhOu9QScH40DNel/HuiO/C+xOwEWiNRdPJYyy9RTb90nyPSn+0O/A+NOmRGbtQxqdJ9+zpBa2An4UBDl8mj8agJXA8kVy3Emgbi7k08kumjAvWqqOrc8Xz58toxu008Q31I/TY5hr+LpKDr7IEomYhMX2MrxVK5ufXS74rrj/jaE23JV6o/0jhhOpU1RygKe+oCsZa7L7499ULaeFSpQiB0pKZryJQGUNIyfg9cMDJySl+0IgCxuJsAwHDuk6vwuhucni3RjbRLaOngse3REcK7uDCYBOjrAp6Opc/ozBAj4c6ayJe6JkSOcd6PVTE/GHFzGnBAzXqAepmrPJz6JFLxodEyKq/G6bJAAWc88odKCsQNMiTBU1KqcdiPw24SYbgmoTRRHxDU7BhoB8fbhNtNWASpXAm4fCcl0OePLTPJJ/eQyZY12H8Xzrx9/oIK5H8e1scGvivicrKCeJE77EolcfhciksEo74ZVNJm3JpMYFeE/I2dibYPTSACx86cX1J2XL5+XYH6zGcNvG1E8CM37zU1QySu/4MGq5RFwIvhGx2/QAYAXTySzNWuiD4W6++c0fdtEI3f9hjBLUtczQfyWI3cvc31NZ8yc/SUA+YBp+8I6UPV0pN3Lz688JbcmKZeqtueyFK0ZiVriI2WuLWGrkPcxRtkADZbwQvg+0ECT7WyuMuIXR0L3T724R0KmwvEpni4HOUlSUfVthfPhF4Dqnwk1HxcQhnQWF4nKImXd9eFyAWJyAEVOUxACnXko4EglEZm6LwcPqb5OykHq8eYMs8MHqI3klN/E4tJLGntlRcnZqsKXHdqSwfu1Nnocw5n4kJuOyeYWGlrfWhRfRwf56Ds1vvF86Ns3R86dd1JfvVp08FAZAOgb+cooIFQ1QD2cDielaKWpGYeb4UbjTcH8Qr1/rfykvz5qXb5Cp2LxZzlZTPatXnrtgcQ2FDXYGLvFOyEvWcurRvtiulK5SEO6A0xKhAfkQGO9iA6YbZwnRpRAg3y2fLJbxRsUIJ13q08JSx2fhfChPmPTRfufiXKE0mtRzq//dPu031FWZH+KxUpHU8eXZBSgZZkOCF9cSb29ZIawayBF3HPwobM6k0o/Glb0qaBOvi7LniWCTwKMOVBmW6EWnT/rJsTKksqOGGX5A7In5q51qJFCBR8gpXe2hTdkjeMcSdzym10MUD3d4XaFcREIyV79sjtPHyj/Jz+Vf2kKTOD2WPJ7+DrWCJwbM/V/ZySFwV96dPiLc+OaiWo8s+060/jSOLwYwkJ/2h/iDVIvr5Y9PDtxZhCCPwCADALNUnEi2h62LrQYJLFMiI3MqvpuN9hyuG6Rft/eZo59Q38uyBAhKf3J485VwbPceV25kD1Z0LdLgYnVEE4unPW7Bp3noItuqwvg2QhJdlw/bk1yG2arVPtgHaC4ZeR1u1/E7ntloQndH1kOCVnlVtcKiqU0+tvFq28I3ELz2DkxrNUa3H84VbhwpsmLZ0sPbnApMsCNm3z5UaGWG5OMZHclZPdryAztcvDIiyhFfEQr2vHEZiyU0F8yCBpMwuBoVi4bVps9gmDK2MwmsE/2yqiIXfQs+wn9JRExsCCQaZhAVlFpP9jaA9ml8GgOeVswGI4tiiKwrdGCPf3IEbi2sOl5QbpXJxiB56DXBgxhFLqwnRlUXgGgvc+Un4CTcl2PhaWzJIF4Ffbt9smGPyBVpjomBnkoOFkaynu73Rh1Hoeq3POtHKzpp4cYafU7OM/RqTsTU04DvKQs9SxOh1DF3tOj/txfGVGQOzmIzH9kA/MScpwaiFLj8oWHK3JBS/t3Sn/f46O8vhU8846dXmkP2X4qJaPe8cjLPtEnnW7IyCeG+Tuos47yLKXc2IS2I+CJfl7lJC6AmLyjf+YL8K+4zB/RkYVi1duyAI6KU2qS34F5AqxZ6aCMNXG1So3/527n5Sh4BxZgE7A6+76v8/Z3UopK+mpMZQf1/dra2moCYOa7U1g5PBbgPDfpCg2QrSRLqNxpd7O8dZYI+oZCnWAEqEtxpSTbsCCJGf//q7VlIfZQSb4ohR8SfPvQZBEvzos+dgMhDdhtW1CS5VuNBwOfmNrgfEUszeXOTQdNtwnzLQYAUSGBDw1N/Gc4Kcy1/O3iUBcb1afY6M6vVJL3pfkhFI7q/uGgn+xXL0WjNDlg07DM0sHAXabYy41Pl65f7nrWVyBoBuPvStzrFiXy6PxVAcL0y/FmOG8h5V9bVDOdFkzzDssHEYv0C1D+ee4Sqc9HZW5Y/j9Eh3IdDMdzjyJLkTl61C2pRvrbMHV7npPEc5P0PIouPK74IyMNChG8wIsHitnmEmWwQ1ei321yfG1+mC1gJC8S3mVjYH83rgtnM8DIL5A0DRbxjVIjLnFLgNdA7W8k3Ipisla+89T/jCL9i+29HnShtquLUF0jwzix0Cnor3shMweQwapfI2gDFJh0cseOuHmcqi68tIZH8JCMAa4/3rM2RiPnukbDSy2tBkqZ9HXtt7Lt0uN6etWM9fCigYR7oxSHxFm90uqRF44LLziYewwCkRnJZIJ3+R1EsHTGgNlcxt82RHtieU8GE7jOUksJle1PCL+DALGX4p3O0LJgQsI763at+p+8Zz9C6brLkTFVfsU6x6Si32frMEjVlgoEAuo8RshKNR733bbsgD22YcCE1YqA8hCq02V4Nhal+cNJMbfH+CdrH0MrN4aoxXwcFF7+QVxs8fkizh55887v3dCv0fVHc8ZAlqxQ32RgFs7bjsNjZurrBx118F//fpBrcw1yUHBbK5Jn5e63H6zpPz0e7kMqPjzbW6EbGdCbwH/kGg/5B/O1nOKL0RqzCzyCSSUC049C039Tr5FjyjkB0biJoLuhyKN79L6yUYfU5ldrTEXUPAA7AylYWQbwUxxSOXh1auc3inaDqhI++TK/VA/E+bsinrrk3oK2IPWGkF4hbn4SWierWcf6zVOED5Jfg2JFnSDHX0JJF7K2SJC0wC6geGQxFiNlbIHFFoEntE1L3E/4A+R92hU8gCtjfOWWKBzS6SBL8qsAnCwTy6lBJj1PCuXQIiBDnicT6z3S0Z9DBiCYawQyT6W5TS/qk7/R7q+xUYo4jWI+E+bHnkrW3CAvmH1gb2RBwWq2YCvcQVFYGoxtH0LKXF640/RlHrvCQnn14kh9/fl2M1l8aJv8ul1IuqeJPBBLr1AV3LuwmA5JVj8nx0sbBercbA/ubOfQf66UoizqCPCZEFbDz7saGobIoGhmpW/YSAfW+mvFGuel/jm8ds+GJYXOVQadcvsphGVrfSlVxDea/bzV6j3P/O+51jegnIC8cyBWXwIxs+sjCfwEwiubN/i3e/Dp0UCUmg5J7XMccCUBL2AwtIxK9Vyqu1YOYSXPnRiCbTw3ZE5hK6JLhHV6ZD390U1sxbEm3LyeK/xicXKFyMWXmFyBcMwE+MDtUeHquifAMEe7G6wmqUdXqB80WBbCVfyCqtwEYhG1r6n1U9ZKwMuKjFLSF9WT9acbhKS+JeTMHuN6hp5wzOl5QHqyZsXT8J6YaVgDhBXCcM5HYdYhpqX/8nzhoE6i5hlVJk6DccVMttsP2ot6ECz2zRscPZTDm81Q9GiJW+wbYDth50VkZDez1bUN5jQy/w29Y71Co0NMZEdUvVYXy7pD4uMLcriH5d5Rz9fcZKzgg2PjkrF7OHFRHsXHSB71DPhtkD4DxzWKQQDBCsnq224VrptjSO5GuhwDmKLzHHoKthy6BgSXZXePPXAFmxCErJ/bHTU4O7PGjYHpJeDLxSoMQvQraiPDLAEmQpT24Rz1XavUtt0OM5jf61LDpiMucXnwywfCxvvgKdVPb5s/i7wq+68xrnWYGlzBwze3Z2kMmjLSpGcntXYRgoI0JPUyP/rwpA7nakbKqLjMqWdNZT4g+xKNhuvUbE3OVWoBkCJXy6TJxMTZIOIkTzBHYnc0AFpz5bSvjJqzAIzOCbHi3ZH7LQ2k5K0BWHybr+LM9qAJqWhhCRNppLbGHdHk+rKyF2gnlZLX7KjG8x0YhKv7Q8hMIr3uqUVblCDtC3D2DASkEntFQ9RTWRy+UZSnScGBZymF5lOy/+BEr5+Bcm+ej7BJMzGtT167/VC0U+bFCJlqRcR8DtqFDoi6ahmLWwG8Rdn9fMnPGcyCHgVUn7u+Qd8oqkJXlNYwQBhiRAEfbaW7DYy1SZpbTbc4qBVHO/GrVE2J2fHyWFvBTZEh/RgjAhWl5DiqFRzFItQAI/MYV++h3alWvGsDaGW6Dx+Z+TrPhp8Hn6UxP+O4Dmhf+1jyS6fTDcMJJ9ZYR5Oh5IpDGpFDbECEB8NlXeNjaxxFAF8p5pbDD8SLyqzBjLqATKDLxamyBpz+6hyxG6jST9K4NORT9ym3w/WRmoDiJL9LoRMT4rJx88bK3Ze8NpRzt0+QmPVTbbaAer2YjC10zRLPIPwpZm6iqOHmwMlmaPo0RzwHcVYCXo7Wu4zuOY0LotvIzqwNOOS/ZltLDwuLk6KlKZnaXJvWvWJrwOx91KWF1Tq4ZtNwzJGJBWIQW2bRRbQY5xU5vSwAnGq6iFexLJu9lf3QnVq50nupLoGyoxGPK0z55zkH23lscRvE7P3S1CKLQfeBTBdHpVCJy06XOTzYOrF2fp0LHIn9ZbuxBkKBGq7VcwJyqsdgprhQhig+iDh9r1asT/SH4MXvXBgeVAI3nNVOZ8cCauagC9G+zzROFXs2xQQACsfgArkcOBoXhS30JSRFhgn3R3s2YM1RXoC4KBBu7tGosuQkS1GM14JUklm2VWjOJSBSVC6/u7JFtCSL3Mxrm5k9oxd5RgkNwYrVdIp3XGnP40Pc20reUZo+rVaH0DA9IDpkpteGuCUAfKg0Ug5mFTTcNpKfMxvTQDcFJjOQpLRP/eMqGGRA7ZMEOTghgK3Wc/DqR5MsIXbrhYRbo+l9NBZ9iaVG3yPZITCAGp52QnE+ou21BanYAiEcSptf21sqzpPYqj0SPsN7OO3CjEGn7M44KaUZeg8zJn/6QX13C2Rde7ZDiPoAGmqrxRYhXL+xAQ0srMcfniXDWvrzwURV2AHh9RxI62oa2TkmQCnYKUbv0IVqa9+byYYhE+nxU5GPZXlkzg4ejAjXHLltf2cCEQuYZKj90v7e4O7QWHMlLc2aOaeaXSMgqFnmO3HJJdc4Ir5R9U0qeEuDFuIbTQfzTSWUBzOdX6hbLd3tHrroXn75NuoUiznocaKPaxFgI+bGTCXYidw49gQBDsQ4ZBnGSFobGpA1p6or2/6y8GqboxxnHeen7r7dXKSGnduWExgpNi/trmvp1sTX74ZYk9KEt/tLN3gf+Gi9ulhBbzzIvKyXfzBJEfsUlt5DxLihC9O0ORK5UmGpkyw1K1Ht2HqpHU/jHRNxWpM5s0gxRrVYdF6abkoauLgZBwr1s+85/IRcvs8cjOH5PlUlrCu4KSAxe3vqQ/Nd6FXdSexvriQSjeI76yCztzS7SfeAxc0U33xJj0CsWZUtIBdfwW2NRfsjcvRPFeDUqKqLLBxpYzST1ug3qCyicLFZsPPnUI5KvIuTGzfQjOyks2DExJjMN5aAYETXeJomCVY0ShYqNcOwphiydOejTuJyzQ9Cop63LxY6quSaKnQUZOvAr8PNYxuJUf3+7yth71jW9iZfeRQQmTiKN3LkuCknmF+oLkxeuCq6L8sHA/+iX06eoDDcDETbJvmHSshdvhQfZWzwjhIpWDml2PZL3F/Zh9pAMPbckq21eIg587GfJ2fQ9R9+XUz1gTlM4sr4jga+ak7yntG0A/wmZYvXM732GF+7xg5TmgHxBaG5dD8ye0CW8dvRazLDmqsLpmTwxkJcBN+BAzts/HSHAnrs6rSDSgyytkDtA4dMqG6fEVdMQDzhH0pX1TBNmTUf8HcsPZAa4Ts2TkJk6PVwji5ZOAtldMnh9suuchjLMBqtgdKKxEjr+tva2XeQWcWQciF6nV6awbRXCKFO29R3j6OQVDpQSITsb72WHoN4WM2tszXAQBZYgxINKSAvuWMJFkNGsVn/FPeYTQj7J2zemxyLV2UouYDGs43q4saSvw+tdDWxjRT7Jd9MmG/GHOOhZS4Frk3K+yksKz8EI2TzQj8apP99edeA15ulOaiPFcqrHuJdVDQ2l9kLxGF+voA7Ug7JVLuzN4Zn+X3/0Z4o2DBcVf/XJwYijQdM+UzdjA6ed+eHZMNYs0Qy3LC1kEjOdZzkaKtt0MZng9z/etaTxvaHRG9IwXFRBLNjmu40ILQRNnOmee0x/m1DJAEM/Ac+Yf9FaXp9muCdtMB/xUXFG2orXhR78slkhdITbHlv0Dt18fvu6OsuZstEbrXUhnQ4wBRmuiZKI+4iJDFfqTSMPUCRjZMPSjdhAlsKQjxYaaVJVRGliYfH5TktShPfLH2G5WPgNdDZrGT+wlw5gcRrZHoW520fjV+m/drpm6oM4nGQUh0D7hIdB2OiPyO6700RYyPJ/UxikMWByy4RSPutHS6BtrI0+qIU2yApC7bmD2b8pzAyXdMc+KtmwzJQWEutooOcs7Yh4yLYw1L0MEQUStdQUoGLasvpuGyoiAhBVGIpEVWPpXb6agZb+JWJZ7V7XG6o148yWZ5ERm7qM4dvbxnaTn3cBC9dTMjBrH2JpCocGevdDPU1EwvnLErLdNtQopEQZjRNrkPF9QOb4Mh62KG1rv03gLDwnaPe3LDxRL1whpppi8pc1oBJhw+MGx3k4xLiC6XzyIF1QxfPCpkRRS/3WdaQOF2GGA1q9RBzqXO6ItJFv2ssyI9bDUd8iub1V0hw4KAxZTQ1ItjfEJGvneZXlvilbUqqN6dFJMXI1/og9FIJ+Nqr5B7TObhpHvnc8lrsSvuc3FI+UbjJ94JhyzcyW6Y/8mmhw9hjI1tO7fJxoy5LhPs7EXQ7QjlC3F0LNbOtbBaDx9UY/2guwNkktNMKUjvaGey+TKvEOd0sZIfhimEXcfJBrcsMO/v8epXE9j5t+bmmsQlDxEO4QkAOL2AH3PW/lHSNPllAKzlxdUJN5E1VKa9PWk1pZ4D8AbDLfw76DYGyDjRi9KGi86wBFQHz+AGtTMPwJczfNmlfySVfMPeUkkw9nknKHUbQvWZ9DVQc5L6b8y3YTz6Xv8uE3mlXz1LjoGRoWiyd2I7XRZpD8WjyWzqpiWUxYfdzyBY2n2IV3dGqkJlS4V9r9El6M4C/i+vqk7+QZ7jUBGnobtq0B5atQiTSCgDnHcjcxWfqpnGKn/aeKqDW7/s/v1lHuaVjJpNVWaBl11SF3BxVYgNE7BSsgMiUFZoUovXtmZ0ph0iuKB+47v7aAalcdtaTzGUPrH6yapncLaQB07EpF5wAuXhyQkkOkRD9fHNpcAasyafvrnQw74qjYr40OVkSgROid+bwN0etVuOZ/K8ooIJGuo6zmuyRCp1d/yYWpNl+9yjm/n+Z/p3AOrwRs0CqvUjVRAKPVR/teFWNIf3EsuhqeAqj3IWT8oKyeWLnubLJFpJTeQX1uqNheNedm+8Gnwr7AUC69RwJWYFfhMxEfmHqSEcU4yy6Cbr0kmwcTBs5Uhd+lKbhuQYbyMInGrJUjCb6imRAEMkR03PYD+J3itVzbWfzz3NtQ7VJ2sdj1db9zqz6Y0fSX61n+hqD46ThGEG0GBI94kewrmx5tt8gGRTXBqDg1eUjegGh1polQ14TidL8zafBPTc5pH4PgpAVal/ykGxe8ot2bHZzTNT6jb6kjssw58RTtCWeHq1mFsHWKSByDnwXyeo4K2TDyCSVH1smJag3HB3SLZAMf1jV0NKRs02KhNxNVmA0NiSy7T2TQrEgz8c1iYjuc2RIy29zS0vlCkS3xVFbjeFgtCUvIPTYl6EGcZxt4jaS2cpTOKts64z98PXubujgbf796fefjJbjUuPEZ9YclhO2QNYOvRYiOFPnhyeJXXIp3MDkrVIo92h7JedvykHNpZHgKPfZxxsJ9SVMt3EM7/HhGZUx6EQL4pNoFoNfh8OW3SV6b4ffdw2ktRRrNgCee/ZFOuQJ7y0HAqHzlmCCul8wHOkcHzlMHOoqJpa2P73DD2RQQPT3/w6TEhodjxVI1PwoZ5rCCXhHUsnXZgHQTfpRB4gvhX4e6Cm5Pcb8kpgXNirrYDEqOTZyTYk+UnYIB60TDwr92C629aK0N94c+qvacWoPooAe+Y2bFgRldgjkm/V1uSuLKcmPpY8WDg+JaN6TsD1AMBJN1t/6ehejeoG7qPaca9sEhVTK11byqQCqAj/F4tTZiRgkMIFw+0th0dXnzWFtfDYjD2vBV1jsarzR4royc2p7Q/okqrqSC/UDxAq0TBULkvHvmQO1bXTZNpvwq2hAyH8hFO4DiXa+w+byyYY8BRxq5eJH1jTnG/aj68ztltQ9BtXQrV7/oeQeJtEGpHnRph8RXmIPJmftfJYETNSPJaXXFQoUXwQ1QCWPxbxIFWcIsFG4OQIYq0mrb/2Jn1QPx6Tw0WGID2fda54j3DTdlvJE4qoSG4kcLHwoPjPjQ/mjlni0GaLeENLQqCInPlQsMNwldQu670hSLaVQAWXVpdGXyHCqyvZ+blcNKQuYBSPgKqUEEc0xjOvrzf8sml7xVzVJ+gaVCseG0Gjx5y7Kq6x5G/nvClf6eGKl4zQClpCQa+p9Tb/VBgqaUrFyTowO8GjCuh9lmnuPltVxILNeSH01MRDnb3+uUReqfr9pP16P5ENN+4FxKOrSeVFq/Xv1Hn1xSMMZdtqJ7VkhE6W5gAmtsw7pFBT0sY94cKjVkMu6JcNYOD2FOYYjrtH2V0JNHSiDUt/o4QSPwuovSZashIZ/e1XhS2tDVjVq6JsC//iehS9/fk5lmYK3Ah6unmzbEZ6bmQ0AE5KmBA2gY4lTIKfsHRpdyBF3/TFm2hEumSsTTMP86uKF8SCVKu2MIWmmaG4LYKa9K5LcRLXNI+3CCZQsBc6+V2N0RnwNTAumgJVB2DqxIl8jxmhPgaJ5BHGPjvtcoEfilSO9xiCeaeAHzI0EIYOeBQkRIbf8q1giA1f46sFI5wIxfzaAwTI+PG8hJpfDysJdFDuu7MsI71J+qedh9E/bHJKUzLf2UEvF61za4Dw3VzSBICNjo0F9CrJOkcyc0E+ildi9VDY0+bWTlyZbxWcvz0litJPd2uJkID3K91B10DRw3d4vBVxbMkCe35S8f4IotHn97mblUoAysZ+ahMBhmkJTnnPZllKL8FfG8dXERPsWYuZTLxQLwAnm9FtqcHQmIORVoy4JpPJl6QSLdSJlAWf/I0hRM46Bx7/Q6ey7/ZdQG599Q8xBrsYt6CqDgPBf3H2F8moXoulUT2fDHA6sGJREiRBOimeecUkVulYaw4tM3J6amYwD5EBd1/Fd5N4pd8mZzSMBeAeC9BG5EsCB7FDC6zLYWB8S8QM0JxBEadpOpjJUuGyZbokMxCmXL4PCsR8KWJ2ASTxY0ZV2alQJ8TXMZuY3p3Sirfn28duUzqZ9UuOKX0c0dJexfM4Rwx3rH3DTvUHU3IDgf9r8vtB708hgFwmFV5H77Vth2GOI5yXFK4zwcsLGr3mln4tEAl3WcX2DOltO2EA0BE4Ci48GVERla+GKMjijVqcGmYNYlIVjt92L2wJyv4diRccHxSY6LQhLxF+dzVBeMdw6InPBFD3Q2Za4lPaVwZNQMRIgJ2dqYd2wNZHzuOmDBnRuwmX7Hb4RrNegUWqTCQHoMOGllFsvEJdg5vEBhdyq6dCZUQrkEfvWMC4FdzbF5hj2/knxNMabFH9KAwLJjC1rIDYbPWjupVdTvslEGujqXuC3oXUVGZ4eogskaLLLJ9xIvjaWqk3aEa7N+utlioSJjhItd9lUUtwWGBMIhW1hAuSDgftAiYBuaklbv4r35gdulGTcn1yBi2LKQeXYwzk2hSA8ptf1ppgH1VqNpOPKooL2Yqs2tPhBEnPfcF48Xq9y3op+GZTCZ0vzDZzsKOU8V3lv4xBtos443Pn0ICEhH1RHauGaLSuCfgOzMpvosMxH/kODoH6zNnkHDFWZOvqA30JCURukyp4X8Ga+uOpiwiHoT9cCx+R40X16S6kFc//0OIB6DwbO55mwGupSM1GXxsc4Kn2Q18MqWkTFoEq9JqPXFVLOpKGNpR8NTH90/oNnu71WPFHzcP0ooNFuDF/OJXbIbOPIWavv1GZ24qUWkri6yO4CLaGmVaFELIu4C9JREwgXOjPzKXNFvlj0YyvfbA2jJmVRAxY4uTL2dM1FqOjgYM/wCiCxL9bLAePKJCc81YWeOE9hYQ2yP5Dc3GQ5dmkCTmFlOu+QOFrRAHILeB6bOPAEGdpUeO63ve9xuuBVMbMRo2q6h/Yv/ujXedrx4q0EcU0AOOYcw921azcq0DgGjp8O3J5yWqG9BhomHqB6atCO5ZCNZbRxrejTtgv93PTT0O1vvS/X3fAqW8NM363EURxFVQuhhmMHzi2dfFlJxzGKLqWPmu/HwwO96R9+B6BEcB0ZP5AV+hP6BT9kfORxFVfPkgzfRqjjWt9VIIpPQUMMzP5ydmwjFvB2HlsBmXh9I0hrB9VbfUc4Cnh52Q8tW494zoa42np+0CBdCxlYgc0GSJDWuiZ1tlZcVNCyIs+6frVakUHY19MgfDk96GoSrNFhMpWBdmCGwKqKHNr1tZNZfK83jTzziB6vEeqm1GnKADxC12rSO/gTQ4qSr/9Bmb+FaSXQGSHFV7xZHzDZvdQtfumVad+gnXyZ/NljM4jkfl7bb6Hy0kVrOR2CmdgLZ5ggGOXfu+vwmReoTZLjgS88V+1sS9V3h/r8QLItnZ3vdxy5T+rlrb0Y0X6IYDVMBI97YlngWhzG/H/5sDRDQwmZZJo557+kGeQhMRRuWaqQ140dhmIv2NB5VRVAoSYSPrVDYUGXy1U5tgUsEtefVCal3C5suGgPdRJUM/kRGDl5H0OHdOGnvWRAj1oparSZWpUjjgUGD2wkaC+J1/R7vQi6r8G7sW0HlYjEe0eq7SLmESJ12x/xt8nerl4TTgLv0PN5SkU1JMYjdYcFwQ8UDZ/eVJS8jVJ5Wy0/pf+UJpp6yvfg6MqyebMLJuJ65ZxlCrZVPlXJed4/uSl7FoOAOpXKPcx8GIUEepMBE7FjcIcUlHskvl33IABdo4VTuFpRhVLOflru6U1set4rI/C1+nmwxp/NG+o+ZNMfQIaOV5MkU8KvnYb99+JJmg9zEExXb5Gnl4Xd1GJRgdFLHKSUSmIugNi9UqfvLYfWEL9bJ/eY2fN+NpzBHcuE+moYWqWOXiHq0EG9BPsfedi10/T4vJ+FDTqe8H22Sgq/WPiRIjUx8wIR7L4enw5td52hq6u09C7TwT5VyV/jabxJ9GfjBv7w1uLMAK2qv8fY6sg2phJMejoIsXwRoA98eRoJuk4G+NzVVQh2bpR7weOTXlMlIdEtcDIXx5ViKAnE7HqNXVEQZO7HDeI7d2uwiO0n0JxHu6OgsbRVhlZ1akGVHmUgRBqt5klHIkWCu0AnjTNFUqlEADAgOcG3ETEwc0UBHfIsqsmhGUezqyHYePd33tRCJJwg4cz5RA+4MoUDTfi6sFB1T0f6JDQWSzJRfdPet1u0+z2Q7QWMI285Jewb4M/NU7lNuVdIezJzcAfcfh08zHyOfm/wGjhmTRCaOh/dbgpfLG/zRFq3ZFckRY3z0WLdEaI9vBQUALKHt76lrYFJ+ubXkPis986JwFNrN1D2+hPH54+tSBPAOXUGc/c0goIhqMGr5IgwmJmUq7FE4gb5YhoucPyq3QlY+bLMtphQpCYAlQJtRgIcfXdye61hSHfqu2fCMyWDzx84XKSIYFlVaaPqkB30KPtV9c+PqdnptPjDF1juFwhWkGhm0fi7Utou0n2uqHqyMJVZf3bJCCRQWNLFEMQkQTj0vmGZHENKuzZIdyHw4jRSuneo7eu7m0xxryRDIq8fvHJmqRkbHmNmhd+ea9RkiS/ryQgCd7s3eFOmfyVFWpx7FIPMfMAcGMrqD8+Bc3VbYKr4kiyYaQjWhajNCHAB0ZpyQSVMPfvPXE+GWMPZEW8O5bdC1KfyT9FBnQshFAEZJwpqf7xcFqSWgq7DdpGjsxDka6rcWrklb2uOUW/0X3B4JQfDcxRzIMkokRl9WbBpvQVzj5ln5Vf1fnXMTXpnalvlLAUQFe7miNnPoVJfI7ig0jt5Q37W+R1ji6R4CdH6lqW1aYighrQHPQcYO+hp8KjdyQga3kBBii4OY7s9nS+xviN4M9/U0U88X9W9CDh/RWScNQ/VQJeC6lWfE1i8uqYBPubs0YsQn2VDqBBaaWr+T2d9R3a/1n9HVQU1h2/I32E8byMQPjhhK9AEbhgTJlBnqHSv/eKOYi7biwewfFypo2KcwADeL6UQKeV5GOvAjeOS8r3YlaNRI8qs4gCZAiqij+JUt7BipKtqmlDxyXCKkMbPSi6b86AUXmT7ePEqdJzl0qM7glA4qeBqtiw9JjURN9Ama37F6H8KtOLtBRM5jqGDC+5PhXDKGnFBxYLc5XXKDhnYwnS03ZVEhvcRfmke2JrwIwZ79otFKu4FbPjmcQYr0xT0aeNC+0fowVMkh09pY72G2EdX1WNRwQIUTqkI8VjOZYNEURekCEFr4cYN66iTQn1bM9PH4cMw/j7HlptTGrQmwrzyTWdyrd7R95F2SMwuwa7w341uFVsSIux5MYD52fkal4T16dxepA71vsuoE87QkrYQ23Nv5Rd+y7PQslONVMYtI0cS1WL4gmZ4CUyLxXjCvonBc1RGRQq468c2zy3ljBZhFNPYz0bWPpfNrGveNv6UGdjltMLwi9iLv6DKO1xDD08iSa/IizmcSCKPzIMVYgSxCreq5J5jTb6pgHnwRoP6auCb3HcijPEfeRWdniISj3zW8fUNWvGOGz2vlZVDenEwLtLkO9k3tuHtQnXNdzgv2WuWyGCZkm4uMlE9+HRB7aejOGuwL8ePnXl5V3NG8N2YcUut6/fwcqPgxo9l2VWB1t2MWAECLdYLbNDophpkzcn3o+irb8isVYFR8dVzbD4kyDTY7trLemvn4gb3oQ/ZsiPXCCioeIaCFSJmUTChWY6UAKJ2BLEqcRhMR4JL4CkzbmSKXU06bF35pL6MNf3rOfZa1f5XegtAtBgHlrEFzd4YSCiDPfgaMlZbDtXj9Hb/RKMM4UqGJOVD6P6KvLGGpAcKhl2DgJQ2t7LFN5OC0/ZB5T3KvhaGbtd+XaaSZhUIC0iExKnlKy9tlEAYzq/7SfNYl2xmvLV0x6WYIlw/UtPJJeqEytLVSNZ/ExLyyNkSC826IemIza1oMNYWwQjdD9jWFabxTgIoWqzte18/Y5HllMks7z8QsRlZ0pV4N1pzLLhJM6Ph0rDHCmZOBoDjpUQM9uv10lFGZkT4OnkJk387x/Hum2tMBZvsxpSFrTIcEY1YXtBUKypsl9EZThF8OfziiTWpG/4U0AoZBuRzMkdE/ot5sSW+6+s3+pvx/OeR7ml7+x0Xpnl9kHql/9zKFEcEJRpNepeKDVNE2sBr8mjx9V3isieOH8PL+leWOz/lY4WiWqU1JK99jlMSJ/yNld8+7ecPI9A1ydc5L+3kAtlvM/ZxInShXRUgEIQszI1i3WL4P8AYlHSdX9zmRrosqO4JxBV/dk2jArxyt3lZoLFBc/BD3D45mkZ/6gm0cCybA7BT/T9+ajUUZSL2GihwwIyeG2t4xezZL29LYvBROYiwZKQizzxvEpzaxy0juzJba7hh47FpN7IRja9w9VWyxRleBaH8F3+P5XB+7CXHRTr8xfn6HqENV+vV4G6ZOv1QNRdmbEBU/g4uXAkSFHyC2chNTaciG4hu6P6fJeFbkgoPrl7kd10MVxNdxYqQqqOwtgdcAvy5YoNMd0EAeKKPs+aaa9wKGIFtCzjLXKlLX/7M63EblVl5jUjIGG5+WxYj6e/0z26Rcec0KXGGY5F5L8RP8BoiOefA6JWgLVx7F4TYEl8qc8vCrx5Y29XYxha8yKQFyL6Z62TFBrth0ENjLu7pvAjwOMm3ca9lsTWsslJGhe2WbxYVqRhlMwN8TEnAYdkx8uxbeTjGhvFlbMNqN59NZrJQjMq1WYBnu6BacsOYTL0ptOXMq1yueoOugTlxgg3qzfBiRUNOSCJYmDS4drHXlzcPPJpinxy3cIkpMjEAHxEz2Mg4KMdDCVKKmIKHSFnwxp5hr0hScuGOWnxB8sRayw7x7RBic4zUb7TcZHrLn1VcNPDTyHjfARALX8PliUvHt6yz13HpHwql9GU7u1c6TRVAIoJ+LYixJXA6zsSfnLdOEVPOAXvwPYLFpL0mWvXjKszwTk4V6YsuXeD4+pwajnKSY7ZZk/ESlqsLpC3he6pV6xXRkjLwusv1N+9ApoY4kJ1Mm//6HjFXlIErxmjkONMt6g3NlHivp7FXPe9o0t2Wsk/ZPBcSbs1aVn0gQIXmpYQX4HcU6/G0NYeKLnau0t3PV40X5Mkvx8BWLD4Rhej7kPvNIAQY7is/ZGcuC7nZUTTRs+ZlmJnXkOhJi1EBKe7hxJAjhUIOuK4KVPp6stB7JStxwE8LDdB4YgxKhzTmlLBSWRq/0OQP1Fzesh41MFJ7CYIKbl/1epfuG4aKzOnucbkpuciqvwC3auHG44AKEAg9YOPaY2WFZPLFDRlYLiRbeKDdAxrJcYeN/r9YkPSP18lY8OVBP5qWbfbro6SjVhb3j2KESj+klWITI4COUX4GadbeCuBxLoiSUB2B2tN0lNjrWpKx3BR7tyAPC+o45dBrXQTeU/eIzDcXHZ813+84C54LcseMKPOsl69erIEE0SEFGUaU+YED/IOU+YuSjoU98xqQ5qEijxsNZ+7mwFkBc5PWUJehnrnogI2mQ7nVmJzcrtRx+yGluCkyiTz/TiH3szB/mDfh8LxivzjCrHvYirO7IDZYBUdC5lJ1s22GV8cQ0xe8Dwc/4A0+f/MpkuvEoPMPM9+Rrj2iTJ7NtyYw4EGrUn54a/6zSaCa7bZadxIOrPYia+yUmVax4si2t5/PwyvmMPT1ftR8iwuElx6UxO1B7cL9uLAy1gwIjv+AIofPPm0V+Q8nShu6qd62+PpASYBZqyzwDATwQXuQ0zpRIf8gEe2l5KFKMufWfR/1X7GcxkyKqA+0+y9lSMFl9+6aSP+ZPPWE02rOsAY2Wa17pvUVIFLCKhy5bKRgWB2OxjQeaN2f/HxAEdN8SHu+71PUpySlfY86hKFDuEYzLjaIQeH1uBwIpHS7VfgLH0jvuDRxzWisQbUsnzjm9ICwjd032vwyybQPLZKMDwzfb8/tY9POsOoJH/LCWnHgSuov+DswAZplVVOS3QuSuTVrjhcOplSgczWRnV4nPfqzJ2SZaxq7xoG1arMOoXNSrGVanmNM0kUt5NuVYtLdxT3JGCgoGWb5lrkH/SsWVCt2c/8oS3MAEQWdVkF7B0fF8VyFTbCcm8jC8Xd7wLrh+amcLKLYmZaeWa7ATlstdwtT8BQglydEhIVG6XhIq5+8RNigG4BWI7l+pufnOHYgKGLC3LazBsRZ7xEqsVSXnJWKTVdpA0wVMvXFzMhv9+7RTUvrjUSBZpd1VTUrb3ypw9uDBprmKY/96DSmPmeAt3NCopIbvv2dtFXfH1aiv4PMIKqrSjBjNArm22+ItfiAWReAbNgpbw8pGeaDiKzrAAW5aUfjaknKw7xJQ/dr6R/PQxHwX5uU2uG8ay6UfVOswnSyLd8T622Woxr+2CMocK5fOXPhctUCNPAqyP0tY2AGjXtPyvaVb+XZP2PYDAgQ96cizwLSAQQbuSkYfyKv5gUyhMEx0lQp/J9JIEqu8Q+N+rDbOKVmFudd2zNZSne9j6YnPPELnYMfSRWwgcOiQEsnsRlPgvZ7s5KTr4kmbwRmT7InCAHMwFytFbZSEXQgC/m2BgWdiTAmlHbw5MHn7YPHE3iuoRmCsvPvAyOCpLvIGqjha75YAzVtMo4kl6EGZAfmDZglvtS9pZg74wm5YUm9vyH/OMnVio4QgTVRSMmA55sQQMA0F0y+5k2MTSnsJU3d+g61SISp4GRMBrM4IMmGMoAujKtmJp7WXIXrFfwVkY6Gyki2DWNqpmAE8dTFXWYBLROJ8172Oa8NHMy+++JOi8KJKbcdX3GJ7U8iQIHs6PfsfwaP7SP386jLgPi/+UuMHXc5KO6COI1jjmYZC4rsYBwzyTcFbXBEq6mHnz9MPJBYG6yFqfkVun5XY5E+sTPriSIi1jV52XrztsU5NtLhWBxAwCMrzEiqzJTZajXKSDdiO+A7XcbgZkRK1IPTSzW9dpFCEqfutuX3KBKDZ5v8S8Lpj2XiPJpRApCoQ5foQqJmkfOFtBVbLPO74f3P7x5uwtIYef7QgGBDKyx1CDYafCa9SkcFKcepL5GeuYhTqT/rZqA5mHwydAPdc/OoCFRa0P0/fsJf3+sTQSPxlOwjEfc94G0WTfPrULh0WIouykvTsFdsok0KqLbjJrSrKZJZ38vyPZexm5ES09qdH8clqDxm6v0f0Ow/dx10L0VDIlL8a+HtGz8G6VWVzUYpIPWykhKsC2o5LUtCL454iJ8WYB4ks0kHsJTs3up242YZtudi9Lcajx4UJSxSeqGrvVJ7FLWp/TnbubTTN98YkGxctqocF9SwgX/uOwPurhL0a0vsod+UBU33VwnUxyEzOLj3mriIkuOURX5bkeRGaLjk1LwGaokNTVmEItmsyOIrooyw1zsjuMVf29Mb+Mv7Rol9MU0xlBs7EZVS0bW+Dyx2JS6Mrz7Q/Mt83iSP/nvv3lYjNnMVqpkPCf421+MQigolwtuB2MQzyREZiEX1YmwM5LqOnYkz6m8tBWBB4fAxUkyYM40gJXTGiG4VnVZwSQw8HeYcaHej+X5XYPdaVUjIKaE7fMaWYNqrs/GqG2o/9JG22Q20qcztpA40Iq8p4o8oiBbDHnBOEnasxZKGXZNvy0SsbnTqOa26XQqeP03hl5IvvFtPxYO4mym9YWKW9IyTCskHkKe17xkPlpD91hBrAKp+IyHn5uPcG4hG2qRCXTTtE4jjN5ppDBbm/nNOouYd9484hUN9Il5EBRTIlYLDYgg6J2VPVx0+6Dn5YLWZAy4Nh59eGQiiHlVjcay0yiK0vtCb7Il14L8A5aBusZPG/uGlLh/r21epUZVsIDNmNkZ1RvILHOja9F1/85VZwhkKxVP+zr/3HDes32ndaa9GouqyqE0TLOlrgVdCRX5JUUffV5Z8DXv4xLRCumrXb6QIcQeZas/rFSfiLi8wDRO/9/eRBENe3xaNIXtNOMMGBaahoj9zpBOygAGcDRZjbPqj4PXcPRY2EgzWuRLln7DR5n1BfK28D9nKQTkS06lQHrSjyERI+MiGHMii/EkRS5SBwX0/lmhmKrhEcLRHU5+CV1LxsuvtIQQDYN0iTgVTccObtJaUA84BbNHdqJ6Z+4+SX2fGH13bI7Wc5Ozs6J30ZANLYcrCgToaIFjezf1TgmAA3B1/B/GOGfnbJRjdgv4W3wJPhT96M30mR9j78PvNvzwZHoPxkk9lOlX4bIB6YplwZyNHCpQ2RWap2Wm/VGTXnWDgNjwzv5T5+deXJIc1C0Fr/VKZ2msNsnCP2JdLsXONIthRusKhYmjO36Ag2K6gHtMmnGRayeYHAgKLBUpX4U804KNP6yECvd1105Jau5lMZmEBk+HF9YUPMTdOoFwUjdCsw4i9W1p3P8QJztwj4C+Z3CADW3oZ19RWXstfZo7bYhg+Fl/UTmEDRAkgCeKryxCxrSdznwiWj9B/MBvS2IUsutO7n5SSvZiC3ADu3m/rpGvhMrUDxPibYHcCOp4co6vEVcA+2slYfke2c1oY3okFeku8eqVtjTu7uDro0GNRXlCQJLWho8eoqB7fCrN+/VouA6NpoQ9R2NFYsmSC4DFUAgBPLUyJ/McphvPfxEWXx+tkQXucJ04YYePFeMByxAw6/32h4vP39xVzlDfNOK/0tSsjLBpyLkxqvkKhCjnwoq7xjMJPNU8mS+/a0J4lhxvNXNORdy8OeWSjPz4Iek1y5U4xfCZIFAmZPUoGl/xMODXARnUV/iOxiDKoMftPnz8w4bbOYX8DEy4Nc5aaJJYRb46MGHFsfi7Gh75O48+ydwKOfSDr49UOraCLeTvH3m3HCLSmwkkk6jFYWwMHdYmsThdZ0FZVQ57w7Myze6vMRxyI7t+ftOquEXGSySY7bXbeMG4bpGs1OalyEq1vMyhGFykiuzIT6DcujYNzRbsya8FjkMV+sysNjR/mOb2koLaQdqTec+Uj1/SpR6IxBu9VzFeGohE0knNn3TCG2+4hDDD+Ie83htQ4ifQRvlfnMWIXNRLkA9PuipXTeTOP98IP2YBrYp1ImeoKPaafE+CN+tMdqw2g4WbQgaTepESozQVcZn01EZw0KpYWEdhCgtLsT6/cJjaWQDiD8RufOOuqLhzAdpcygoNO773+MOGeVaBCiJoW8Tg4A8bn8N3EEfwl7L6/NDFfpI5kD+FDQyesf6YwiNCQSjpn4jisnFnVz1s0ErI78LgP52hpa3GthiHDrQtyUqvLOyjbiRk5RkG0O9kdyTy7Asr8dOPwO/OVSsPf058iHek1B/vtzFn+aQD1aIIv2WAq/dm7vN4c1YNDIec/AIcXyo7R/Crupl/EtJb9RvY+qX2wD7sKwtzg9bBLTr5D3c/eWaoILxc6qMtdhy45kxNwsdwTMDcEQw6boZGLV5fE3HMgzQGU7vbITIcaE9EHiwvzm6N54sKejHppIH+dWtrxJYE1Uj9grT6xaguddpdUp+8i7sMhHSkAc/IuiGL7y0ry7FaZiwbklGTeRuEz4Awzx1HHnTxCwH+4eP4JvSXqp6taXvthOQJB5TKsABuTtR9hhRi+psuw2c+RWgPkzCE7AObj1G6Ugj3gTHJJiC64a3auKiwUmGy7RRlhbiaCeowGF9FvAicJlBM8p/vrtvRe/Gp05tuFtCVGW/eZ8Wwm6pE6Egmc6NKT4QzXQbr19sECKlLWKoGVsPJiJODYTAMBpkZImumDMThgWiFTbZEJf1xbhD23wO1HlUIphnP37ZjyxNGd3/UVzU8vkjpR6ZiVhgkLPP07lo8KUSLFPJQQxVUmujd57y51vgzlpeygnZk0kCVpypUVIVFFOJ1urVjsXPUO4VTofGBPROI9fABlrFmnh59rlL7JZqrgnzas8IDXlqZHTcPzDZcnidt6r7i0QvtHL4M4mZGE4DLw53l4nf7fP/eNdOq71wIzMGNFMQvqRYxQzcQW3/uk4KzDLVLDJkfy1t7ARW2KRZmo27KwBeHBvCV3FTFkPys770SfGhcVB/aNAQAw35KAQejg/uTlkfXdFYcrN0td9Vd4toIP/R5mGCRDieDpTAb0hpvPLux7ZyA3bk9vTeEl/ZTb3rrLUBfuckkLSr3ZI8uxZshb83oM5mU5dNnk5QXYV9Wdc21WzyoAsIKErUqKogoO0GHFgHyRs3VYrJWF97uPPalWgnO40rvM88w3sZ1/OLXJO8z6uffxOx9NUZKnsNnuHUfALpQl4Gr7ck/g9tiZhzvskaTwjffLSUjlcJbastYLda9umITeMDVnVDRcP5PWE8Z3cS9qnw1IsEDFUz44oylw9s/3IVGVDAB8DcRQlrVYIFukQd/KGVa8+olv31nnfjNqQJNmke8C6se3z9QfLy5tlCD3R9UvQI5s1Qi4GI3Ruz1yoRKxgYqqK3ghJmMzClM+E9bMXYMUA84JUJdQE3FkAR75x/VnCTJqtZ/bDpBJ/Xt985DmQvVjHJh4CL5efjw3RosGKZTCkmzYSbLdUrx7WOdooMrFG6RqdKjwunMlB4FpxhfyYbLsXvmk1/y+veFB0053bvU9DBrrbcCD69F8LsM22734g7GHaHapG08SuC/D/eZIcNx1F/1LMWk1qZnMjpLtyOnCIn0Ii+F2DUiTBRz31/zefAFksGX24WWdpzV6Y5ycX5jFrf2j5mQHhpx7H/KPtVst6wcflkh1NCawxo2nZeNk5W6ESmf1EqRDH0kIkNejPPJ/oIS3beYjrzFsIeqOa3At3gkc8z7qei9OdqUbqXrSXKamazo5wGcNhA6zM0EWeL+HRqHegHwYAMdTsfoVtD0jL189tSUC0T+Ny9QDmnxcUu+41cZ60RziGhYBK/eYm0HUVAT/O5xRPmD1yi4EvbMZeCgu48EtlG/UzIkGfwoSn+3lNTB50aqPZo83Unf0AuIhgYR9UfN7lwmBHBnxPxOuy/rB7P4t2Yq3xgi6Ltp3U+skGEiVN0NCDHiXDgUAcBw1wU0RYAkyVZus+cxE4VWAjbZM9bwuyH377+XmIalanswHbhdfwu9HFBNmx0hNE3Jk20Ej9BvpmdiVRdJXMvzsLkt/zT0K+5MSErdpL3qpkvdJd1bKz523RwwZK1NacNItWuASu3KlSORw1M5aw2C8lxcLe0sGUYRGihtP1Sb3NOZ4aaOeHPnJ3o77UpkAw5KvWYZ6XTScXMdiSqBYD3pApnmSnPSUJQveNOuidxW0I7fsUngkLEM1EnNtDjduLyS+lN52njGI/ClMrh4OyPMO8cJAxS/reR3S6VE18Rz6cpF1G9ej+qYUhL6vd1AKnwkrPeDQainZRKz1K1mOa0m5/+oQx0C6crDqjTs6qxIHglQH2w16sSMEHe6U+UYiYPR4/9MON5n2SOV/GTTomn/d2CmTPojxvWJh/wJShmLncz33jQ+2LA71Y2H37DYYbVVkd3UZRXRFIkgR8U9kKaMZeeEz64ve24YuzPObUu7rYnHbVf0gbon3SgOcL9W7Ez8+Q+gfTro9ouq/lqE94ZEk144MFyj9VQV5VHwpgjTOqajhAwPBqJHt5T//uT+NWdqa5eDFf2DigmuG7M6nBFF+c2xi5aA+Te16XAL0FmlhtTsY1iR0jp6o4r99sHpruw6v/F/nOORUMSjGfC+VltyTMdZbuPUAu1zGsEvHLCEisNIwmJ4dSBKrNRqhKjRXUf59icfZqNCr0GZ7Gittjrx6x6uQ+db/gmzH2TdyZ9/ykGjEhzDfvMWsgFo1ZUMOdjB3iF9axo7/EX91PXjusj+6tGPEdv+x6hvDTzmb48lyOXTbQ1n2mUxVWfBvXoC/pn9todj9jWhrS3Xbil8MLqqtji/X1dBP6GhwnuM/q/Pgudpi2d+V2xz8E9tG5iCagaut0i5nkqklxorDbbJHjrFT5RopII6w+Gh8WHfA7KjoGZQ8aHdtbMmK0QZsHqem0qTyoXSeF4hdwtOdf9R/BrcgYI5GpEBibKV5DZ8WbKjBngUCKndlpFBidX1Qo1AHgGj4BiX9l107ecXTk4h+cHuVihRTe+7qTfJ6jhYyJCCAhHqLFB+rt9GQMrdCooceqbniMWslJMq7JBIcLaPdyyEW+8JefcPPp+Hnb6TvF7oscNIgbXwXRr4btXW6TmRIgZQPRGQGFYRNF4BvE3hDexk99JllhY7JBTnc8PD90DDydwUTamMC3zSVunTT/FSmWLrq23oJac0IXi+Lu332WnVwYVO6DvO1CawSnj9LSXN4tde7gmj2niCvDLYHLZS5+KQtB5U47bkD5DHFp2xi4kv1p/MGsK7aXJ0B3Kg+nZyOyUZiekmj+N3RdjWhB0HcHuA9jPo4BJ1GEDrVwtxgskM3615CN7IV0CHgyEB6Xi1T2FnRtoe3438EKH2mQOQ7wBQo3s8oPZAHxR/GJjFIXEZFGP6D91I1qgEz7lp0Vt47iEn1bwRyAa2lT2U59U3lRJl98qFwpebS8oJw2pUxOvAUV8nOhLBSRbBsGUfVBSSVAjAh+SUWkVmNEDrPtR0kjeE/RRBtJ0ezyKyl5LVyAfg/Rc+70bbH3ZU2QU8WW/5AKNUOd9+InDF1mXHEkbdeQ6/aLY1mM7hzkse9SMkuBEI9aF1ADyTjcEyc/eoppetC0Sqp3fVuUrjyf0v0QuB+C5XhRgS+Wl4rKgxF5bwzY4AcrEGg79mWconGnmiTVMW5Clp5yLS/2YmVXnqVCifjwVsa0tWrIXGlXLDQkPp93FXGbnHxXrCosBD4teL11ikWO4gExjcGUvCED3ceflLLiI0Bzp7UDMEbnhqDKlAXpVobG8w2p/zm/mvQi+6d3r++KbrJ7YuBliaXapGBdPfR51xIU1j/gOWOn2ZXdzJEqSmjVhRF1UCWKT42fDbHhYTI75vSuAisspgihQOEPH9eI0cX/RRQpZ57WFVBzT4HyXQioVHHcftEdffjqrUl7O9rvKi6zIZFe92Fw8RDmRoxDUEp/QxWnVfmSXPY4ihK1//0mCgcKQ/bCjDPCpkOlJ5ETJzAiOBO2T78OE26mYy03NWmNfrc0iCU+hi7K7/s+dUNQlvF6QvIbHC1RTb1LiBtYv9C4+2rZ+JYw8wuQk6k6xxzCALk+xdTT5nsTgKJGkWvTYlWVVkCPU7DcUxvhm0rT2Qu5/qNZccRORi2rFhDEy6nwSiwCE5phD5UipQssQ9p5JYqpBbQzaKyvp/60CxnDH47uIu1Dl4IQm8aCFh5QCY7Sen2QYQ67RZ8TJM9aclF1CJeeCZNza0fGknyf6nxYaiMMGCNfOMr4HWiaFYmB2p4AsSCCY6Nj54oL9LosS6AAzcAn4j4MjK355JihNCilLWCHQqgp7j8DRdLIwezLOMtyqXPJKT1QNrvQDetvUJScrpyNzr0d2TfNh8rNGm6tEL1FPGGTI5AXzZMERDFOIKv2BP2o68NlB2Ce1Dlu1IyzbJpbYPqJjm4lbNevI0/rL5vuj6WA0OHAyySg3LLjnsvQ/lBGsbAc9vg5YKvsJ8NSCqZVTQd6pDItlObe0TAfyO8heo9ykM07uIkMBMTbTwUpLxfTxIBoDR24zdLTinugeZor70pMAKkQR7oEfc+k9qh3PMarHzKPtOdWnDucXFpn8zRZBOh6lBhcxaMDksO45POv9mVKk98ibQglGurKuQpLw5arOwQqheDH1ZaUHnGAPMr2cgtQ4NKApwXUbBM7ob4LvdAjRCxWYAqwMCnygqDkz0BmdA4F3Px8aueb/Mb1G1XfampaRkHaH4IybJ+UlxSb/v8okTsXbqk6ABI+CZfD0HBdCvQstD/cmTxuJNHOCIMDTjnkl7d+p9qJp3VeM3B5StIX8ebNmKm9C6HF/Yskjs5pUzs7Nzq4u+EmmPhxV8XV4zjSr93n99yBfl56z3gxLmIoaY/i8cM8GfGoOAePrEQ+AexHYuMwGBGHuLYHBnDFIsdyR0JNeSHs40F6GH6VVBrxgkua3MwPEwE9LuhGmDG7edm7Dvl3XJL+kSt2JNdc4uCJlq2B/D5J+H6/YQGfXDbfpgoWsp8LPGx66I74K8Zk4xttw9uxfq1ZBaX0od6D9orAfe8KQdkpOdpoMEZf6s85TX7rcYiR+8kZLShtxXmVo7cwWNN7SZNfdykJFDP+4HybThapDLuCz76Wk2l9zVd4x+suLBOzyopS+K8lqeV1X40xHR7KjnvvqF9XmvVC0I0s/ngGQTW3tXaclnpFkhWafMofkgO0301CSxCJGpe4RKaCoXGWHxdu1dX/qE/72OhuwzJj5DRKcnPVZ4BZ+FmBi3RfHZWN+AuoA3vjSdZyu6xynME6GEZSBNKmqL2gviYgI8LQat/sFmQIXEp03YnqWFyRl+XUcTMej0OO/yuA/j0djjMMlTMr2C2g6VzQLCTivsIe+z958UCOpZKmZyw5Iwl/2SeidDQVW7uVFhYN41uEta4YV5evfkgOLTJ8H7BMPTJaAKL3OhtxgQSlu00lcewKhdcT4APf/+EO8CplqTV4fi1uQf3PM3+xsy9YTR9ViNckTnzFnMFq9Wd2C2+DClgH9L4AjtBQJ5uVzoPkVAU0eA7B+zFsqeCgHEx8j/2eeWl8KzQn7Kae85CWIqdK21D5nFJ+l+ReZX6JBp/RKJvMEVKKkU07n4fNrIyioe9/jEjE/b9gpSGJRQw+ezs+E+BeeAeRbv8vaJokJzqJjZas6GqlqfZPTk9nHTwAT52boGX8ynGZvIOezNopA3o/x3/BNytwLqN9bUzWOXsDkOfzUDfE+j/vf0AGuGD0fTD5nZ0NIByI1XfRHtEO1YD2VKXpBX5WwtDcYkz7VOkggmxlA7X0j1Lif/5YGNix1aGPYyseWBmtlhT4U7xhaR4FT7E6qVToQVvmiI8cAWsnIU/cmhL/Rr7JqT6wPrlhyKNQ/4TTwSCqPhgVUiTG9/5nHcIZzCCD77LE/4a11FRVxD1Esdef3alMDZY1C0e7TKLTGRw45eoiXe6osGZnyJ1RuCvuw2RRUc0mzKMP/T8FxGFXRfBv6oNLeEgillK/DhoN0VfOyXCpLC45bhClXbYR0K6qSlCiJmfMjKWs1Qb2kTuzO5f2ifxjmYlQAYfjz0TAHiICt0ihaSpMJCXD+zfo4qhYrwthzh/oYPLivg7R3mRlBbNXQBu71MllpQz86cKYJ+1rE6dipt2W7NnsG8PQfQdZQJ77XuKvGmN2C7IVk038kj5cR0LB6VJwhgNZE4kwzglxRxtbm7f9xovZqoZevN7mNMOsWfQbWcGq2ur8J1WAFf5YqZ49QSFj8CwmoWVnrTYYdZupA7I3WIUlUdg1uekeSza7cnZAbZzT4OOguNmYgXaKBK8pp4LWJQ1bW19yHMekLnCfIAOY1Wi2VO1CEaysWoQ4vU118nB+RzN6u2ow4aNzPMCbAEj9Cbrk8mEzNlfljPKvt6/EjBM7nnOUsHBWtcOa+H0iljgW0Fie2gitQH1cy6RnwGgds3wDDJvViTWyH3FJ2zZKdz47Hu4mud7+QxhRPi64lgp+38BwbZakGT00lIf9egMvLeF8mYG0ZsYCHTMP8jj6CGb14fcerH16v5Ggsu1fnLo0R6vlgkIOuAeB8USOxIlZY9qIQ2OkW+ZAjL3jikYaCnc6CH/7JbOSSYQ9RJjOMuZKcRjvhJCzD/gYle3JlAgkgm/oHph/OjyZeca6b/6T7oC0OXwCu4eHAGgnYKl8g6YoJ47TcAlLr11445ZmZjvmg9sF1Qb7bPwuQ6tfAtvD7n77bONcxEc9iGBFR7fDbuDRqFK7RVhOfUoUgQ/jzGE4eilCQ5ERQRtDLKSdfsG90GXBLL4aeRdZYXvLtU2e+ifVpCbOnGwWrvmtYz42PZbTHqlRHY0Y2VLN4eK8BZHmHT9woiEapc0l0rsRPXsQRcWEeuU2rThRVEzj1/0XN1ExlE54SFaSjbk7/e4ooqfwvs02JgvDA4dfSK3bJtKQGsau7wnUhlQ6oDOogme/OKOv4IBA5EAOM3l7o/xzNxrRc05dnq/QSJLUPRWhgRZsyj32JPAZb+A1FVvFdxbp0ERypkBuNNFfkMHj1rae0Na956eX3Xxm2hELvvdEekkKxkj7blm5C0VzOIJ+HDCU+pxubaOQ1SIF+eGUPfUQO9qITIDro/g2I0YT27KB5u7cAPCeMMvvbwzUl7mhj/A+HtRM/u4hWGf55AEgzmEDDTxMYOrfWvtllaHuu5cuI1oa7fJUCxA3yUqIXmvVicEl2hiLHGGZj9IDRT6M2rm3XWNHpFQYY+54zSgmrzlBDhedW+clY7zXoHhh0oY5g7uz4Puh13mWnPxydTteq8Uofq5Zxx4AaU60A43nWCGnjLThxcguR1FQnGCXba5SN1LPAyoL2iy9Pc5oF35E32LKi39fDVPLih058KQ4cT5EOSvBPxFywmqFIAxbn4hjErEcjPI/cRKaIa6bKMHgxoOlNY7PhY5t4hDQxL4O0aiIYgjxX28dJtbfXrzxhY3Vz9XHlSv8hxYlYYUop4PhS1LVfrWq7ot/WsGXlR5DZKjRXVKRIC9l+b9hJqTSBYOxYU6zd9u3cgC0ku3J8AwrxSJD35HQBQY53el7V6PnWLQoewf8yDPEz0N284PdmxZa+Rb+Cw80+lBcKJDUNKlIxDqJeAUO0K+brVxgZMdH3grOET/X/57E4jkkjNqo85xlwtkcpVEdTCvlKuI/TCKbIuqqsgS/xuZV43yE8MwiHM4wfVnZt2AziasndTEQ16KzAQhOi3ZCuVE3hqyJLvo8nzuZI0reOXn4bKpMx1mkx209Hn6ByPlvAgbaQYFkXDiAhyMXqMPTUHYNCcLeIyABDPcgyNzzCGmS2HhuXp+MGiZr7NLsAE97LI7ls0/if667Ac9yIh0YmxgfN+4ei8zDwpVriGZtGiReJEGSluG3X9dXJ2N0mLKdE7VMlluV/tTTSIJbDAQpGgUs0hP1fP+/GfpmQr7fznVGqcAawh4nqCP71aRCiwqWlNqwRcrum9+pDqq0uPAZQ7NqqJUrSOGGdEV8c+PSWAzPB8eO2l3PoHXNvEseYn7G3OomRdCopqAaG0Up4JvoEzxtwEZI4vG8q1UP9AQ+p2N/hbwMPxbirIWnByE6+eR0I85c1sRXVRWyOI2X+pdQunhqXw4b7Y0mSrV9VKqAukVq0BQ4bvGmJe1TAOs78SMi0oOSoCLq5lHynQJ4IMaJHAbcJuC7s/fgKlZGvJCytRUYkXzUJUhmQNm2tHMXnenlmE97A3EuHVzbFMDEnq65wn+9BCrBaYsupTyGrSnOq1Hr8+FLEYI6l8reXoptjkjPkBzWPJha398UcggZIhZ18gLfyaCuaVZ1LxOii3XoqD3ZAV2uGwBuqjRSV4mMPTpFa/OHIxlMyQnlL0RCdDEs41dSfxsynQAWmNHCMz2JHuW/zrgXUvxy9DsrE/GkD9gWHo5ZQ3y59OjqrUAe2wlpw8BEmRigm5M6D1bUzGbIJLPw5JqNiK0CgLf/rEvkV+RbcXkvXpXOwYNYOhR9ytM/nRIzlFglM3xx4gJVSJWK1ImIKA9svLF6QC/fCXSJP+rAPpTCBQR7LZW6VlPIUa74eXUeiKXud7Os64jPzCcmjnMl5ZxCslwTje5xSTe85H7j6kwGiuhyn3H6PbJNRl3F43kVE+giXi5UOoF6250UqlHn2/XtvrkqSQeZp/lssGdhsjLM3Acu1mVqGbHpiRsGRoXNMTNiuVafNXeefa6sN1gWgZOMbIl7QZkzivZuzSNFeL9O6vIhbm8anqlS/fqTzA607H0naI26dWGZlC2cHkd87Z+yoC36q46/KTJb+3h6cWi+HXLjHkL6oicp39rBqxG9rdsXlNmCIFz1NYHPNDWhMzxXq2m2UjGDXle+xxIwsbopFo2uL/TyOxAGDIC7wYxyk2anzd7DcYQTqEV6WIC9i4TOYRkI2oT9MY8Y+ObBZKsDba3F7rutsZBIvwkxHWV+cAbr0QZx0q4w4IwJF+GkpwNa5Ok5vRTDl6yMXCXbLhu0RHfNkxYPRZjZ1yI/AdXmTRySqcummfHEoj33IOdEu03rKCF3ejXM1fWwZCp2UDLWOdklij2qwc4le4PJ2jhvvlqvA66TCkGlWzdb8QGEK6F3eaDvwOrcOFTyY+2oP9mmM5e22IrsKoeehCax+C8PdYxRc5ldfHCDzAQos4IsI4bpFT5x05ohQere+uy88HYkUyTl75WnURbAZjUYU1QB/sYltMCU+YX8AfCvCthGSqI66G8KIkV9jd+vSLfO2VvCLHFi7MytvMfIKWSgo3kqGa+Ew+rgjyKYm8NBjBmlI+FCbYdar84xEnqmGN/B90yQvG492qmeVww0ym/EwJrNlqO34WaF2gmQCiCEpUfozdANSz6MGF3MTpe09Lr7JxeNwX7lfvlaxAdWWNtEoIAYTuFr7ZNy0EHi8iD8lrUWDTFCE9JRA04gAaD6w0aPFTH4ZvBjaSlWJ1ryf1cxpARLyOdEpxtqGhC4fGc2kZ7675jaSI+n5mclAvU1mp/iUOFkcPdA2NfPMpqoOo/D68gG2h9cgS/NMllTzjfOIJMFIazgVCc0iB9aWChMHu62eVN5BkqzSBDeFgk482TM3ropTsSIKthrgiCYZorvGGiETO9Jg78QjFWMkEwTGJCLr5MtS6EFrC974fc0+vP6w0GNxYCA95tdodS+tjte31sGDW2PG/BcKS5JQDfvISyakC3eaX5l00yzJ339w+IF/HH3+5YPoCqNWgOMxwHmoaNt82EWjKIAMCaRpewlK1ZbUlGBx5qEFI5s7iWVfHqP/lY4bqnWStcCzxECeU8vZPn/d+/daKG5RHFzy1jrfD7M/MY5cz9+t/r2fqORDHeq6+1bA8Jp56ouL6RrrrWvxNL6gTST1A41UWsIe5cIht/tRFC8c9NcuyZK4AcWq+OilcMVthHTJiBggOWMfY2MNebsKodrVDel81cqt/hOZ5SFT3pkuEa+vckyGjpNuZhaMaYe+eIbBFZ4gHTYw+qxLeESSy/3Xo37g4ifTBoYG1SthA1411dl91nU1MCwb3VfMnfud2mQKgK9z5/WDOxrRHjqGChYw9c8mzxAEcHN+vJbVTMeBF9sgGU89P1CSGw6VR2b7H4c5xIG5hidSbrb7HVLoYasoKbWsnDZ3oSH2PVRS+EDLyg8dlqHcvwJ/XIFbVHzROs6u3SG5v6LKL5ezTmebCSTgHl2fSL4VvsexOC3+iXb2HFqcIBxU7zEUj3AnJLB2QU0wXWKjnHtRCK5Zhu9kkpjvdQCJ18jlpovmOgQMxaLEqAI1/v2hjpDDN1smnebjr7AD6FUuJ4yNq+PGUbmX9iTmIOWFkHNLn7k7UCEQVQArPg0bHLbAe8avCa5oVdqrPJ5esfdyQhxwaLgPSuHv/Fcazxfs8tZ5PSaJjFI87ExhsVkJmqGBO/+b+no7F0pbFrH2yYwsXjf3YFBHyeILg6NmVwYaL2CN1lhKaoqYJO9js6Zkxg424uEHfn6kNq7au3DcRTQQOhutR0e8MgW2p6na6VPmGmkMtHk1OzPqMrt9zutMPAvi3s20AHQac8QERfwvrBscYkj7RH2fmfbNGyNlNnJpxfyqMEJzqXnt1LsgvYzKMQbNYkr01v6AUAOQlLRVa1lR1T/2+qzEzN8/xZyINPtqiviWFfm6SVm+jviz6QoLTXirnW+oJs6XRLS3ZL87+2pb9E60rzjcIiVFk7GWFXzlnSXZ8I1KOfe2HhvOhZYD4U0XxxmKHsaGZ9WkzWmy8r2VIoUYRtd7kMXJPwOvKE7/SG3tJi3RmyOLyfGW0quYxouNH2RVtZkhiQ1eNCPZEoiI//gaEw2M8NVVp+LeAlq5bFVnl8nY8Gg4+DvI/7A8v4DIazteiYhOomVHQNR9AcxynvQJIy0PbpWJ5LOkrbG+bP3myf0rJ4s2xLSvc/nUfUWb+E5ITZZlltK38jDXRenp5LQZKQapqZI03W5gUS42xm+o7X+t1Zd+vq8qjiyk9uX1lGdtAVxEahMIGUc5oTtRGuvkxIBz7+d3tqo6XxmerPFKokddHTbHxPDD3N5MdBWhzNSEKivWSSIWOAhlR3HFzQj/e5Urryr5C04CIAFNNeJxe0H3ZFLuKEVbr57JghzAjimsAnO9CXxx1UJulSs+S7zCrWd1fbKDjLT6GFs7JJTkfEa82+kXmltiQbye8z0NfXx/f/d9OlG6XD9JfYDAvlzPGSZ9fKJTlMFsaD9B8RFYCY/FBEqadax41toU2yXq7D1x1RUwxT3EU1M0FmYdrym1tmmpYJpNr03ecGrkyvbzj1Wogh3COCH8dVprRBUu4hMihrvtPUgCkOE/U6hvM/pWispxahh6AA0F5ZD74oOjdFuLtvxwSQbJwQM0AP4vUCxsqQYzjwuRSDIMLnyHPb4SMWN4+6VOxcsSUcpGTyYZat+bOX5a11NI/LJBZJyW3PpFB+jy+4ZC4Pn7eoFtnTEwl4hkWMuAryVFOF/oO8jCGrRAuiGan+4tA2rgqT5hS5NIGspagkbkda8EzWxWfprjpZQSpmxtTcZbXdgprttl6mpr6VYKt1THqfeyElUQzZC0USw8uvW+CQeb6ZmHfxK0a5FEtYSWCSzHzQtfSXp6wcgC5r5EbDHY+9hxLv5d9sJGq9EafPoxmlvueYBdSPmeERRGXNUi/lCPID5hyuq8DGEIfmyDRcwIbTpQxMm12J7u5/rOLBtMmbhHXr7mU7YIEgWtv6DjCcdE5v7hrin0GjKvOKymExHRxobGUTGOdo+V1pARANPazZ7z9J0c40/gJeqRWpIDw+ur8qNiUKumzZ+7+OP2wQpswulyzojUiyI5t4zcSnS1dYwjALfBtWu8yg9LOnvvp/H3N38oMKktbUlWCcLzpdhITs/qxJzw8k91q0Tf0wHKxXPzCAKLaUlXz00fxRzaVAeeFG7xSj7NGDlBwH57vYEkWHHn7M/lMxFoGOW1vvPxNbbW4z5VSMtBylzum3YuuureCO4RH93Io+quZ9NAXdOyxKLJo2zEZVhrQNBe9d9c56ovIDAiFee+gr2WrQ0NyO+55VL/sLt6bdbZcG3qcYnEYAoXQP4/62qMtNPWs3m35Z64hTzMjTTwf2bqlseePPQ2oedBh8ThjVn7dlfgwVg44lVjGwUDHeTUrkZ60REPgwEXrJfZFLyTjbP+yZILJaySKxFXwoCDtYbsPr9YE0x0SFwnPFDzIxndc693nRp9JUfAZ9CmwOAzJGhuSp/dSz9LZMUQ3qtLnN7D7jVkKThwQTMEEbWW2vV/unCqXn0mUI2bdPJdCKFC4SGKNJjfKoftrbirFrhDZWnUlFviznwig58zl5ggAvqysTbdmD1iMyKKM2QV19FCOyjqK5SQYg22+RFAMEmv5do42tkFVh4RpqrKgoe/2jDy9KnSZbXHS0J249oYueZFO3n3ioA3rFQq++EyudkKn8W6df6c5Xo/R2Ta1g4mXjQYU3GZdWl8Jx2q0BGhyktTEl7yP4EZQIvwaLjzmQ0WDJaRiBlLKNPi5ufVeUhDqI7fIp6AN8Jil82qA2u+TTvbvGvNHVJVjjVqFrST8eX7JIncmQUW4T+RJ8jVRJ2wKSyArEOsHelGubJxX9IQOEVCsESBC9HF7zeXgntkhKiBwIoLebBI0G5BulzFxkkSuU6x+NMQa1vReQ5I5XKWnunvWTo2QUYAx2maQlmArloyS+9ouvH2OBbNo5QrWtqnK0nRJvsKvPeCdVU7rWJnnxK+rW4BVGaGa2CHc8d3UZVR8oBVmPrLahho054tBWCnOSyRyJFQxDzvd3EVQXZPbqhFY59z84abx98VzkVA7cOiXqN0nOJtZA+t+dxkFpjd09ott5cG+0GNI33D3TfgR7WlOBxKSBIbai9hjJmxRojr/+YZFnuU1e8OidtyVqZCWNf+I8SLlzmFUt4QnQPeigtQb3Zr7IHJD+oTK8DqT/ZlVw1bAxSsve1/6vdSZb3sdgcN96u2MlAMsGqaxYaF8lQ5bXGDjKz/eMpppqwiiOm8ucA2kT3yKyE8Df8zjYrRPzaW3vz4e9odCQ5fBU4Q4Xij93f6IXbBKrQwWV7HV7z0c3Wr6O9Ud2JACnDY7BdrWv6wQuBKMHXanf5TKoUogBsZ2WHXflE7M8+SDHlhp9L+KRYAgTd5tzaFZSxInXXT5RtjQFLxo0Tbz64Ucd9E2Yip1942TskLY/rw2vPgRN22o678nKVWjxggIFXpBKI+q7jIz1nAwpQjrkWzxRPqy29jipIyGqsgZ7FvA4llLLjD2HTOCWT2tEgsqtHJnB+PbJlEwDsxm0378c3v0WotLD0rN+G8tVvbBKchmCIA4pj0Ieutib2Nv4XFF0yZ7BJn88xenCD8SiSWChCGqAIuL+o4jvU79p2bqpN2zEyvyVDpNqtENYSTai45mED0dHJzcUz2wpgxwIZjwmtSAEuiLQtD80FRdnY8zf2c9LUoErx33mmBD7rST0jwWJaLGd40zkfluJH4nPx4L9PCd2WBIN6dO4RAjqUV/h1qSUji3RDD2k64nsZ9CKejgu2Ef7dyoh/6n9ZG+2w4DagMHWAVOACDJ6Ik5ZxtChkhYJorMSXTrCf31iZ4Mm6VYc2AT/5cpR3bNI70pRgUC1ugRpokEzxg316bntVHoAvVySh2FAec2j3A7mDkWbYANcY+zuaA1+GIdvIjMK/ORc2l3qRojQZweKVFwjnTSfgcyzfKw5P9iuguNseE4N6+mEAURJo27jU1Osi6VLO/4NC5VbM0X2Mlme/Mks8RzngAFRaaHRLyO0MNRt6iaw/IYRl4qigASmWt+EsEn9A+vDAnG+fRK9Kwo3lYMIX+bKH9eyrA3Yv1vS82Fhx3rZVMeFVcHZ0anCweEjY9MSkqcw5cdOY+b/FBg19RxVCLZner5hDCMnlctxDauJwhNUNImJrqAWRUn9XBxiHV1wVLqJtQTgbuXk6VcXKQPzqCStkruDx0EBDxl5dF78I8dq/zcap69cw75sMykfCIEK1b+naLpfO2gf12wFzPng+I2qxbpRZfTvCgkDGrasTYORjkgEwG8EArEoJfZzfAesyB3F2Eh88XMfs7b8P/vq8/vGoiMHuhJI0ZhW6Pf0nXmCmcV7NQdM78rVT53uOmxh2yQbGr1Jfb3CB5bBxpAxU3F6a9PZj0DC3f869kK1suUggvdCiG5dyCamL/vCPo5aezYTwXYeTmWnoQdZCDBwA0rOEc2rmgYdwL1NxSsuVvOcG83zOxlKyLpwS/WOAlYtgHMhebfJzBGkE9QLQC1ZfA46uX+ks+9sR8e9deg90jkinIS4ZCTxriRBbfyBHUmd2pB9OYr5kJiAXucNpVmwYZH2RSZQNK5mKQ4AEcXroEQQW9dmMyyglpn8/smr+R2upqh2vY0VaXffAHRBSeFCucHHpojh05mSC6ICs4q3Co79iZ8sgkZMpgB26V0oNtCb8iez72MniFez3WX/CPuwtIForuxjstcLwbzCNS0ne+5Ea0VQbMheBH4KliCej1lOFzNBObMt/5IlD4FquRFIraKjaSFFD562s8HYSA4nUYl8JHluFxAbpf5EXjVCAcKsWRQro6X5pliEbcWTPkiGsAv/ibqZhMYXYOQEmatXfA1KHxViba9yIEhS25u1unBBWE6K8kE1od2rBK7hMEPDkDqGT7M9xS9N76t9oU0gqaksLQ/H59ZTuUFEEYPiOHOuZL04gtkyS8o6W3l3oDyeZDbJ532yNpF1LAicX50BwkfnH5LRCntmwKPp1BcM+2JMf2VcTkmzXUZQBwWWwRjULQL4s3VeIfkgIpd4kcuMwFX0WoEpSzrCf4QgwpXrZMZkJC4fQI4GCTyaflYxaGJdzQYdC5SI/pEYW9lVFoG8PoWO0teX9WKRPCOQtRD41tWP3MC9MgOiqk+EhY+0FgHGIjlEkmPBpo9kRuh+tJTqfs8ab5WJEod6P+mUBGaaHXl47c21pXg0moYoFMJX/ZeJjmJxA3TuLqydJwODTpLIwcpPhtkqRKZ3sOc7QVOsj7fqZ5SpHcDnYe/Oa6rIx+EHQiIK8rIh/0PpwjGsUaqBEXjpVNn2+jeSWc23TrWAyKv52zl9/4jTJY6WHgUCx38/yDLoNqtG70ezADTAb89CdH7GwWaIcMm44xlBR/x5cfhjfM/BRD33lBB1yqurR6h9dekzEqLYRdla89hKOWKAVCnMJOMQbXZHOC4FoX1XHqsSARrHYChPExb9gIBEfVKEnf8nUGzCC/3D4Ueg+3eFYkTSOR/gFeSFyrqO4PSsPsK2MlhfQ6/7XZuYahGQOjlXwrCqj43gcA95a00WeQQoJtn3xc3gfUx6VxijlGYwBc/JIQ/XH+zZ9wIwhwN2YIMRuP8vqpLr+KRohRVw1AuhPIB63hrUXtWhAq0F4FLxgncSAysQsrBfFmFJSHqm2Uk86pAkdCxwvv/IUav4RLzbKTHZkYgqUVzfOmpEIIgnCcXL7HqZQMVDYzzYzAIt/eNXvJ6VQCN9cX0S56E0hKiE9HBh6x1G5dY2Swz2LzSQrXnC6xkeXLjUbOTjBthhENDez/Q5LV9eDb9DyGUfaTN5/3q3QRo1BDsNo4Kdd6IxjMG4he8V3oL3UNLJeM6l2y6fRPn6hAUuu7LtRyEDCfnAgfSQJSTm8JLwYY+/B9UTWPvg2HBDeSxcphYZtkwI9vZSEfbLyUJdPN676iZzfWTb9TKR0z3/bIapcT3KOkfFhFphoOQiyi35XAYfLtAp5jPmJMTHgRMHjwtfs1ffpquGphO4xOyw6HI7WWf7p5x5ymc7qdZb6EGjGk3L11vCrAhbTYZJtQwSXHxID34Bfr3Mmskep5+P1IuXI0ubO27rVyHafBMNX2lgNkOw8JHkTMfLmtIvkU8RCZC7NORlnKIb3CxHVn3O4mIooYbcJMrGlTH0LgiUzPiJsH7LWKW/yplqEYZomSa41adCaAnndmOwBKm3Og5lb1xOpEUt8uRwCmybklSvopfmpVBJtcwwlMFQunBA9MKJItvPZ3f/F7nDE+zLea2yuCvAqwtdDCdjPF0nphaV3HQJs12aBeMxVWXcu4r7dMhDZuLqrxnYzUb8fwJ9dUNhifV9e/5xToEhEhlwIdV0X/eDJ8LD10gYP9mo7yjuV2rLk0+1GFqM1CjO+Ip4FPH10qJJqy3z/gv4pXjGClasFC5Q0FUrebXg736plXZkNs6pzwr1KTraSHPJ5LoNbqWERZIU8UPrR6+qfjvErjDtDY0fq7lot9vN7egvpxWnCK0Oca+6kHqa+qjGcaU+0Ca2axlAaKE5EdHIqCIO/IjTu2LhCCI9ZNELUanA5Gz3R2cKveNISdStm0CUhs/huY2fimafJenpCfxORkGxebds/m8hSMR+cjiNqCDSWxOIsUr6D2+koxuQfIIUS7KTFuUb63AmfoM2chUh3wBIlTm9ItHruorb8AUldICtEQH9SF6AH0gbS6HpP0BT72RlLGpu9I3gA3urvtJ4J3LsP4D2K+ifoRQSUrNeVf0fKHFi7u8BLP6+n8zqmHU1J9BQvQyhEEjOTn1WQD4G3j0j78FgE22r/Ef1WEfLS4mSSqfGcKMqAIczFezm5NH9nOKYso4xtnsIGt90BATUhLPGlvd7OlyiG4h95JR27QcMPkM7+9bV+8oqXpjpq0yZEUObioVMu23MnjwSwQLxatDnmg6/qF7BO+QzPAc8IHOBdN5PnQKlCubUmWGD/pxKIyooN2K3Rw1sh9f/bceYL+MlFkz62sDg70PU22CaMTCD7OzC6+H/NLWhO5cAsekCo5TFQ4W8QxJLwcInXaPb295APJeKJK6yfecctICZIydPOfq0WQAA7/+3Y6s7zL1cRTUmtQFsy3UcrWhkQbsuMfsM1poXS0E7WQIaf9s0imPghwtBIz7xqQw5ly2T9l5fPUca6YSHO6JKMVWtwd9MQBtp53NrbjjFrZ4fCG/yO3z+3navF6dzpyCI1sqjEAX82QlO1tMma85KJpXWRj74AAdxmtW9b6W40rlC6G0Qwr/X19bXobcLI0lKcQvQA6aU8fnXk9u+fMmfidqBNAskI+tC1Jns+nwERWBl8r9ESRyaio5MYneZaJPKxP4x6v6t+2f6GweyHH2JVJNva7WAQAEI3ILZn3nyXd/PjRPbWrd783NuZujf4qkuVJmhZqEsK5lNpoDJMymVFT3cfeDLZnpgmTdkGWwkM6mcIKQqs+p0CSL/u0/nx/wIV0IqLtOTjpr9DBF2RlM7zddbX4t1Y5m+052zlEt/QuRD18XOnoudo/vSrwQy66srSVf+b29oU5nN8fPkWk0dEhruNHa0T10h48joXKRI9HTn7Y0gFcUdj/xYFLMezrzjWSDBfDkMRLd21/ZDF8QfuvdIxKqpdDNnJOGgN+hAZAxk9Maf5ZePg+/5iCUSxlYpKDHUrHZ4gMJC789tpnzNdM6LWL+yRfl2HVQ0i6kcdNwa6l8rUCcEi8dKmJen9442C1cTM9+6ik8Zv4cDnzMagd9Qkars1ZC9oN91ijjUUpr4HEsRXt3pq1lOKsljZMro4tffeAFqzwAQkZrvfony13hz7Tpv/v6nDe0UV32Kx+i69j1ZAT0mIT0P96cVpXQ5bbdQCC7InsHvBFqqXsnvvKg5JOGB8kk8ynbAeuZYvUiLHx/jKPoNDadQAK4iRqfgaNxvH4nGT3SEGWEyjdp5u8uVRRwPNfissh00t2wEtAsdMThqkdc66WdEOkHLJhFJx1uW3dmGQ6wQn0EhhedJ82We2uEcS5FPnGmE0McyS0yRFSAM3iogwd6FhLK1kQFC+b0IpZzGUF1oNTXRSnQMKnQtJ3b72tvuQJnKPQ48FjbRnAfWBlNowwGFUGcu1wnvd2+y+QrT60hhfSJ+L1cKUNBCS7p9bzhbOw/+PWmLr5/oeNW0ytqDA/0m7I/GwaBBbZIOckEAvFkbQlnnvj+TeEFDoLAoWrxLLWaIlEtvgKIuxtbqaX/dJ+8p3W/99XMZf9/2FO354QmFGP1I4/Wa1gYQ+3df7vmgYGpS5FXmorHTbEb6XgiItnsaib8CwrqVjuDhNMAC0tBhy3/rG1zkTIQMxBv7QIUSeOdMpn0bw3yhSimUx3Sl+Vu/LUYm239ct+bEVRahnGajILiusdDuQjAXg/zeb1GXChOhX0+XhomQnp6mpMRI1jssONcFxosuzySqdCOx5ULHSAdZK/kidLogGca+0m2OLXOnfnITuATfHR506qZvGN0uFRqlytZNAE1PV/k+HLSvrz+PqBne52ab2aGxpASLs/HaHXfuGj8yXJMYWh9UVNinQjlj/CySMkuwKj8BvB4NmOXsj2GbHHeoMCGkx8nRpCBj2liIVY/Uotma6AM8gypsQbK5Wty7920RJysTrdwvphVfgCw1a2OODwWNQx80ZVLvfqxfPHIXCXh125jKLSX5gpdv7OXKmgo1+8YIQxnVIB9T3nE8bu5JH69WshvMcJ8gEXO6k3JJJj214rJByPAlp6mDN7h2ME7nJIm8NG8ynEJko5rat69eQE0Rljaa2/Yo7dFTLkapOvPypulVxm+7JPkasIKJMNUzHAdI5Zs/+hHM8n0Py8io9/LKnLs9lNa1m7UAnYE4b73EeEXrDVpwtC/RpO7FowWc4VYcha4IpvNkdRzCeQ/EwVw3u7u8wGf5lLPI5x9lykmlMdErxD2cpeWfTnB1lxd88ZMwDtMwVACqLCbo34cwTu/bMIbLQko4FnCaD1GN6YGfhMfoh2UxWCTbeaN0OV00AuJ1so6S/PPtiwCg12k4tF0TE5kO8k3ee03B3XFq6lf78hFM/KpYGHwJk6BVzMwpsXDG4QVQaIz3M1bIi6vimIbLqzjFi8OVPDFnQ/y+ep/OVRHJ15CRYltck8mFvnSCDyfxxTnjH1Y990olzQTqua7iPn79wuoZLO4QLv8GqypqKT+RchrEDrHidDXujsk088qjuUBa2FofbV5ZcWD9ypLrIHElzuSGLYwKNKyrg11qZGSz7IB7qlUw9ebdg/paqCnc9OO5li/l8AUo7Y2obVaZvwgu/hUKzFO6MF5iPBdH8sdzEbtVUxLtxsftnFtJtrW30xyOjwISY7FSyxaRpxx8K9McZRF++V0O8tRILsQ0m+IPwiNLj31dsq6ymR7KIXupfG2+L98quRrjw5M/GeR8zOUxQvgvunYqRHKiXX1XZO5EUEhfqYijt/NYX2Y/lt8raPwtXLkeFZeKxziMwLmadQvlQO50U8FUdnYzxP1skZhcr9KZ4jCQs9jXprRs4/dLMip5ItEtcqFCSAY/Xvfm9yhIjuoMyv4q7kwzfprvO7i9uWS17T3JdaT1LNysj30WOLokqYmokTpZX/cTJwm6Nx7Zvxx2KTGp+P/jkiROanQ/UUQPyJbsMughqkHoH7W+1zl1bfaqj1wgRNQSb5fsOc4Uu75IEbtiTpyJm5G8/AcGfxTtoA5eay4O5VXmE3+zDWE7jFMdxL0NmTpenS3bFLeLNHWyciJG3BTcu/4qPiiVrYLs8MfnSA6dLJ4qLT9ZbUo0EYAybSIE75YVb70WpgLPECsQQGRpeuJSvwpJJhGb1k5OtGenWcIcrp+TnwKwszffzur9FP7rDaN5wI9a38ouWz32q9Nvbr/WgDp+jQzBpKO4oSZUJIEkDy1tgHRBYBM7E0ExxeQKq8okMCslHgGNwljoRWplP53bK3vdfYNGB7TBgWzbNT3aSieZul7pNOxUPRZkf2drNxhEczAXY43EHXde9FeavONCie0Azcc0uTuUF0/ygN0+L/dOYBFkvAq0Mzy9YrWRuhrMRu86btkGaJnfu9p4+N1twx+1PqmbWCVlRyqU++A0ndB6+zsBhCIxMg+K8HLj8EImZJboPXq4waSvGW+NeAgvVJpk5/Hh0qWgK0UjcBtpKdZsw1poof1+851O1NfTqmo5EIv+n0u5mjmH/3njYpUS9MBBWORCmgF30UvL1iC+k+UM29qsAqk3qx1/RcI4SAx0TGA+SDkeHXOcC6FC58voylXio8p3u0M9YCZMiSVRKayZGcXRx7vLdP5iCy9z65ltc7E6epc+0U2OaAxddaAWS4ORFonu17ZsQP7UnkD+uBMagg0s3wXyheWuQYyRdc8oY9FxmiczC/Cez5KIz8PuITGFfGdxmeJ7XOt3jyI9ECDwZg/R3v7+gMWVS1T/NXLAgQGIdzGmgg0M3xccSYbghYa2QmG+3Druwr/HNrtgS89SV3vT/tJLxbo3/5dSiudnYKXJU/H2BUlo36rmrftrcFORwf/cl6CfOoK2vyRhE1N2qh19x5YeaZKRgSLWAxV+e+hm19nXGuT6GCQ23AbmyFN5UOy0wdgrRXxQbIdFQIfMW/ZjCgOlyhVUUrzt3i9lZsz667jwZU551hRRebzjUtDxD8pdOickiqhU/nD1Ym5gcSnHqB2aWNc7u2MKhBQbl6RAug9hvInKbxiaRnGuLW/+MsyuPIhzuTyh2Ul6KXN3TVAAobm0zZHZGfpi5rBa7j36xFevqyOLVbCMf8arodbi0yoynD9X8n/702+TAhOXFma2fUdWukRbzWJ6d5PIHDKuO3m3dIxE9yMmRUGDNg7pYN+Re6am0sOV/GIDd6EpcQ5XvcpmVJFMSwHhR7DdNkH+5TcF2Qdq+qv2vV57MuVV/DRRQrZf2WGDCeM5aqbJNFfCfGqfBEcH/yjXFLdyOTHTf5sd9TjVdBSJhO2NdE3/o5ry0WFraWG9FGgEd8aB5PmJz8PSe47sJmt9Hb8ETLWZBltNvAGGs8MiHdx4PUJIY28mfbIACxnZPZuTKuAWwhOKDU6xgKeAMAAky6MFz3rm5zmPwte8BBVJAKIO/rzuXon5HVbsYIWSEmOiDfkGHHscul1LE44qtdmGXWXO2pINFZeWtlpgkPGDQQHmSANNtAdXhHIGxQlLldUPBNOJZizUnw4MwkocEhdwWNbJuTcBTqLJR174h68v1xRZqjHtQK0eHksO2LD2yPNYbHDb5UNzWLvDOASi2ItLdpQ9db9ceOGB6+NlB+dgJA1rW1IfeqGckAPm74BKkVo66IydEefrTny58LO0nvlPtTGzgwuGl6Irlnx0R26AiQVfEe1Kjzqnl0x1MHIT36RIQVubj0+cRMyQntpZm1X+zJ9C0aOA0Mk/bJqTzVU8dUbtD/QBRyn6gB/hvV7bXZL8jfmTMFefmfpwQlqvaArqcKlRpCb6VDGSaYtQQucV88mxH62LOcX+lw6sMKwmQBe7aDeDefEj28oqz4LWig83O+x67HHI+iKAa3iaQK4rQGlrGbzConQew/oQFzFqwnqpupBh95OnkXZ6XnR613EXLH1I304CrJhQXfqt+XpoWP3iIXCm2//CKZ/PqrycDhvLSBTG4lGQfM3ijAVlqV04tbysDRCogN5W65c9rQA1f0lUiEPYfCYhPMZNCdPz4rAZew7+KLBWmb5VN6Cm2Y+gpAbXv5f56hFUmRaTS4tGJ9NdxIRhB5sTqvT7smP9ClP1uEo9GnPNsd41CmxpHUL3YVo00Qp0hfNfK6VRRU9amN6Go+d9+QGSWd8rlGUSJHh9PMVr7TrPLsRHqhg7vYIfT97KJT6VVy4+e4aEX+fSDZ0BrKV2dQ273Mi7foDSb13vTf5bimOBScvV1W1bauA/P/nQE/0cWoBaWMXDrax5gN6kpzzesYozNg59+3swqT3AHdpzCdNNT7EUCvcYTsnO/Qrm8nJPeMnQPGnnSh6MVUnc4D4evVFSKmwtgA0nBEdP5iXsl0XicS1Iwu4vCbH9NQw8O8XP2fOCTEqGGeeouFrlgvTPr1aizc5OGhQSsSKgkbWyp3gdFuB15RZgH+qGdA+LSOxiQt2gMjnuEBHfg6ou3P+w8aHGgpP4vIaXAejginoCcq6H/asfDG4jUSti2H8Iw1RoJE0TPZKU8BHL2J2qb8bS45nb03bgVAbQwSPEDfrqEk2oGKNVmbcZFxbm1HfC10YJDGCVN75Y4Lx+XtkwkQzKvCMCHvB3OmaFJIxWtNCuPLm8S2AXIf+PnKQV2B+C1klWdb3zpao8jC4gOgFrqNfQ9OxAtVYMgrcFw1VBKCx8w6D9TWz6a1VX6Pu9RNj7bk/2+3h4zfLJVR6AfX8i/wP3Vo3wb/EfoWYXtQ6QUYe9FJZ7qdb6xCuHtaUK/5BdFTyd6NWpzk4Ju8+NQ9clDwg/ia11FU5xpRxqCI3EsmxtVJEXY9WsIF4gznFqRrHsBghS9cBniQ554T9djt0uUETHlQjFD44nh6rg/k4OzLpCIvZ5aH2arJ2nSpAZE6ioFv5YUad19E2Wp1d5IuB3CHT290OzTHShAvQj374d4fXOhU8eWRhaVv4bfSq0mV/A8cXL3S3JYw1V8TH4KSdgqUDr44RGdK1KW7689wYbo8AhWF3qRblaZVqd9wLeTLvqa71CWkVtTRueFKp7kyZcdUt2xqQCDxZxVxWL1qZaoCNgrDUEggp0AND0oweubVY6YnVaHFtsGs7uzUVlP71GHlGB0qsQu2kgyAhFzD20tRQKcLyP7bxXgfdNPHJvgIbCkO4rubPjGehMhNy0U3MzuRs7OiV5OCCQsQAfZKHEYvlzbwOa9UhUpNvLqqgk1uC1GaV54Gj1sE2s5bAdp7KCbgTFMMdaf7KEZR1JF+pie4JhPVGaswqu3cWYWR3OLw4S51D3EL5+7AiIGQwKqcyZVmQ3ZgnGM49DawYrp+5ugjgrjrpPS3Luj4fo/nHYIfZQrdt3Dy2CG/aXlkRYnMO2zXXNnd8rognGHw0rjCCCgxCwq3o95JKr4DX4cJOWy3x3MAmsbJVbGxg3VW0UmPBzcVzI7+fETbrDL1Oh5uYbTGj0WNTIEyc6cVCERbh/NOX+BHQ4VI0EnicrB9c6RjYdqPJdleB3MG8o7cUBWsQMKIUjgZq1940CVuGcvd047E+2JdhTxGSB7LzJsNQ1GZoxi1vQSYyWE9TqecMRrHhGqhxrI/X6AHSJ7zs/+KnpYnfv10zGQ4/dD2EvVuCCWcLnUX4dMhxXV9AbDuS8MqIx2fp848MmtYNDbPCKS7cBkuwNE6Ocxn220V8eVhPSKJZmZDwMqnB8kZ76JJQ+KO3Q4x+4HMIbuagskQEhJupUsSDJisJoMT+L0HQdC4/Ozh022mB/ijA+t3P4CFnDUOiiSazeHMd3yJggh8m4F6pP6rpEJ08bUX+Qn+Mw6gvGQDk/GDo7X9CjtdqbSMtPLJKZhk7RfZYKclzwasJ/jOMb2QIWvQuFOeVV1pWsea6WzhQD25smuTT+J8+xJ8jkaSj+CwmSKJDYyi4uChu3HZct7mxIAWxTcIPYWezSEOw7+3ykddFQGuuqOjJEVUXMz+ajG2EUvYEbS0ReAlDkHSi1p+Gh3jIkKfKLS6f4epy/Z6mcGmb/BTrpwpR9FoBOvcLmi/HikTDyb5Ja8I36DG7mqnF2CPKrFgBbWSBDzBZjl/7zsIB6b3C155Sw36a0ZBsZ8eKn+jy4jyjcttZwJRffeRSF0/zDNiaVHvVoADyl2PVq9IwKa3OY5O5xEn3im8UnhbAPp4bEoHQQ8j19e8ojems7YYYiFZnrHdFdGgHpDXvRmZGx2ea9nt63Uq97P9Gz1Ha0TgkkFJmzoXAttEObLvAX4mh/MgoiYDqPRS3Q0l8Orc1W9Ds2OxWjly0s66daR8jc7KJtzOJzz5ee9IE5/hWd0HaNu9Z73XHgYH/YTcpiklXp4mE/cCcGKscp4bTGHpwo51mFD3j1nDn3Fz57MAIeS1T++VrdkiXH5HiZTb0WRa4J3mwFSbLa4Xzi0PBXyM8gxJ2C0JqewTA57MpSchrTJkhWm4VGSomH0vLb5OX61BF9bYSQfDk1/YcQMlvlS4BCgXz4KBe7dWKAFBJNJnXKYFtdTTK68GeYJ9G7lMj/OChkVfgHFaxjVAqKB2All6jdAizLS1UcPy6AfpeR7OzNjN9Jm7fONkHyKrT+ermZEg5KmM1a5jnQHTo6yUrpLdEGujMuyHgA8/jt9Az9ZddeM/zyHyJhmjiJqlKIW6hrBosY056dW/fWwUxxv2rk8XsLheSt3ByI6TkJRjOp3diKohrEdsHZynaykDFg99nuvZJsAEZ0AfsDd/X2+DGcPOoaRa4Ejj/XVVRihamVyATGEoH/rVZRRvm0J6JxONpw56eIhHUas7ugOaM9jbJ5xbXoZMObvn9Go3EePC4+63A34axakUEoDvJPeR0Uj7cbMSpwUpyDk1oSZu21j6nj2Bu70Du/yqIyVWzOS9AfDiyihDYP8TeHn/tRSs8WStkQ6kbcoI7XcAxQRyBF42UOH5oSkNoIXt0V1dIr4Sh1k0NX/mtJJ/94cD+h6oomcGHkzpDqVTvMZF0KGuizyDkixjZeeYz7TmfNulH75GdO9B5T4Cb8UaNpYpHGOA3Q8ilSDxEFAWKKWw5W2OTB+5nYe1OdwXbVpYvzlhYE5dGgSnXAcGbXMxZMjpjiG7WPjj9k4yduRNuQfMgge7UR6jKDoTSmkxgkDkdraifSUCmm1U8S0M0ZIkZvFx/W4fFuOdUIpTVIcA1dzvAZ+cHAGBe/P2LeNSvpl9VBrfwAfRceV46vWs8ZMOv7axXJ38zhqPEN15SF8cpGeJ59rxEH5EmKIfpl9AXSqDtzJKgRTRNmTf2u1ss/y2O80SjcZGN/Aaz/GvORDCVwgYkOWxjhnX3yPW2A52KMnNg6Sf+tnvrK3M6NkK0zGE+/ZgswjAEaiSq6enck5947d0Dx6oxn4Mm2wxyeP4WxOw6sJF+sZN8eXEEiOcfYrMVQEaELemb8lJNKQobHD8zOQkBbe4YNEySbpJQx6tH34zygkkDHQ9q5kTNbGQeQQ8pJqCpfrZd6oi7Z77cKBEtt6qPmoT/8yPTgauQAHyQpAqXFCs797oi8aQ3lV4D3vw5LBXgB8Y40t5SfdyLmBgWgRT0W429UgANpQi8M++zvmaBeZant2kUFaUyQEVRjTGyftiN1TVsoEiwmh6GwffocOdaGr5h06NxARyoJk2Y04A0kyJCzNByA6TjbHN9tuC6I97mD7b//lk062RL3rG2RfLB0r2dT07fcX8qkFrVpl5HXMU71W0TosY7+H2JU7d3GDt5PSdRM/EKLrHyfaURzfB4bjVkjg/enVKfmMtSmwiKf9GWd7Vk8hayxwuynp8urAajTGycS9mFBattalbtAZOoX+klE/1FDsE5MaMgkc10W3sq76q2ibf0WS9UT7kXCQjAnwiiKRMWU3qJSJm/3QL/lMMStSxGcN0V+XmSMUFFvwSMg9GeqIeYgsL0a4AfMSaMvbwgs91aSkCwzQWjoPiYL2/5MXBcTieQP6Z4dsA/emPgtokesJwaA77qGqwx/8ILQjoAY6Qaps4rs625u/z61HcXpoN51R6i5szJzZwFNb8L6CTkLMw94PRYzp8ujeAGHm5JO39Ts0MvewyjrEGUGmF+hV+BWuQKGvAhPKFzENpWijPjvdxDtx1alt+epgZcdEwHGial/J1Prao+KD3RZy8nItC/CZtygP30lURdJWUMhRPEmN+W6m8cHGUe8UKY3P/4TU58UN5UbSfjyCviPDDhCBdN8pO3gx/nhoGYhu3ngy+BjVwK6txseMV63hPXSa/HMo3bry92CLGwhyGBEFnhsLu3VWvgnEiCH2fwTpDmK408StC8PjcwBCTF2V9HBvypqCsMzeNEk5rVy4enrmt2b4xS8fkypKoLuQNg3n/EgUhMXZYxEmO7+9nUa95cQX1qXDCJ0h912fm6MOaFte1elHAcf4DZvyfIVTVJqwF736iCTl3OW9p+FTgVHqi8ROapxiTMlsIGuzWrKLWhBEOlpIElrhOIq77QQkLrTkHwPOmqTT+WwkVViEzIPK3oo92Jvl+4BWoZ39msjA4x/RAdWN9inG64O6Z8OxfYTbAm9ssD37UeDPuQ3QD9apYPbjG8ADdo8+6f8y+hrLHj9/NP9H7vxLjXwikl9PxeJXvZPPDtkSKOd2SjmpVr8Ym2AEqx3/ZslcWdZr9LfpX3JQZJ5dVghPPGWtzxb+5v8MaPKQP4jd6zoDhiVpI6bB6DnvPrlEjNPbfDj5OZIJVuK0eBxXIWTQxWFTh4AdQasfuOSnKK6nMS3R4exn4laeD4elX+SlFOcZ87/t8zk0eSm68EP2aPw8IEi8q8+FP3hvoKlVL3EEhoa5BaFKoAhpuKhHEoBD+Hv5YrDMJMnJaPv4lCcF+ynM4sWMszQTx/xJLyO4toa6GFRENMFYbjbK0JQYzsynZf0h8Nq94bwo2iZ/DMjeV32p3r0C/WaMtQFOXeGmUIrWKBrwVlaAnJITu51gCwA7aR8D6MBy2y4HbC3kPFZi5byFMX1OwkoSTvncJ4iDH2LB0UggsNDVT99BkEn5/98s+xBwNchiL73y80Y7Aj5K/vjagGFlm4GznpD4um+3/4pQntzQvhMO5zOWgsBMypA8SN4nClRfrx52GDoslmtfOLww8CwlDn0cazSZHLwN9k3NddXrmyxejGIFKzu7587jHbXFXaWcYtzOAGhEnbxrm9f9U0CqXZiD4uuxPmfbKkJwuKon8z2zz/pZFAH1h1CtHugK6DYhO17hYJUqgoW2Ff8t2FEYKYtE5C5KYRn9pg/nbZgtLSbKMPeAuy0AyFcejB55v3tsPwdM1p3aVo8sR6+rQAegRYR72CEQD48NCM9q2zsGp/KW4x4WFbzZuvU5v1fN9baHDkXWVLYjP3KnMMFA+yFexn3pPFNEUIWGjPzzAzHxjdxgAWpujN8kKXSmPPEJZSUy46XV2Ztsg6/ZJJC/VY8xI+iYM7zqTP0pRy1Lj4VlsHXfHn8QIwY2DrQ5xD5r/ytpX3HC5meqE1yexUNEot2vgO5E+sgFWd/8+xgn2pvwX98XmgNLrssvioCQW+1iuNlH+iojJJ1RYMbAb4ok8FGFMgxdqr4y/cpFjVUDAp+Pc2MR2S7bxBq77jtp1Fo30tgJqa/jnL/KHEmSlbXoFtGkChX2Qtq6yp/WHH1Ryv8u5cBupE3nYZ+fDafbBu7+GFQkOzimTW0CsReQopqqIgAQlX7RRkpHtSc3lbtKyoX9rPXznhp+6G85QozXtY3Ge7rKb0yTMQUHomSOASYGKfeQeS0PITfk523DrdSDblCka1GfEbIgqZiOnkQfaap0yTHN++dzbcXCDfpjO+ciaeNKorJH/8ro2ScrRcJW2eDCiQAaJpI9yLnBXia2WOXNp8Piw0lVAme3sRuU1tbXpZiXrIrBmYhhz1alWc5dftLBkL3ffnC4cWo2IILl385pCPpMNNfriQwKDT+Ud30GlDO0KmhrUt+LJas91RlXLU7zNaAzMMMfQv9Zb96vavAYF/5EGTr8FxAdgkeyFD/06rlLXyzWDyeAATb0DdvyWR0R58gcj91vOvpOPHb1fk9QpHAOG9z33FjUReZoyBqw/0RrkAG5gX4hswgZnX5/ucj0G4aYw0g+DWfy5c/mGOlIsd7e0I3CbZ9AKPseqDdaQ3A2xiu7g9VsQXywpu/CV4xJPeB/M/BJkjXru0ues5ZwC+ilEIle1xpq+FGdBCsKWw7SILWgwApbWaHAFvZVgYIZWyNLl6kILh64mFVuiX1Q5wqYxLSPMrMILuVL5UWVbMEtloGGL0sdNeb0qsP8fuMjFh3jHZwB3WuvhTsoOHyfLT2bKhu/1e/Y4FfQnubEvA2C1CEXr1TyhSUhlGaQ/WqBdz/peQmMe5bl/8eyDwiFlKOSwBeulD4Hlb41OwyybYjue/xAkgoSUYrUfx5ff1HoZmSrsjgjOOA31AGDGPQfcq7YliYuDB8Abh+qaq/LjOPXfOv7Na42lh3M7ynM8d3M8skRLJO5RVEtbXaORfo+KNgQj6pw5Np5n5VAElH0gbqmT3H6ZDaPeVymIQZiZ9eEZ7uESlWXUXv2PmW9rVNc0HoqEuo077knAzWtfN6Emn5z7KVfR1cVYZAYlRSgds04uKuL98MwH2b/elSeJL9kzJD8mXhvJT0wgbD3JL7LV6bPoTPwXg7l3mdP2gbFiqaS7nYa2xRdQSTs2zWiWgPLBoACfy3/YAFbbqokrIzb9RogzhbTSeXD8wI64SUn9aOX3Zu5sQlY+aEnKb4ouqS6UE0YIZq8Lw2ot+CtQ8gqOJrZuFoQyOcN5p5g11/ZKrBg8TvotY+9B+4aV9YUeH0z8Gxn/djOBDGaXU8uDyCS4Wvzs3r1QlF9W/UvvydeWCbaekxPhQs7/BQIrYcAWhYCgNFpt/KdUANNpybeB842sC1BBwG0tjpz0n5xhWpeZdQhDoIifeomRfflahVdy29n45oCUNMdFe5VGr4kH4RDRUg/gDsgQ5qT4Tj68uGWNyh4gIuwo0fnnv7b+9wUzPBp0nUKU+csutoYcPNJj8WFJVwQYAo7uQpLOpCqILMcWtQQh7XF1vYO3N8MRZiAzuSPmv3ReRZetWYZUoAoqmZRyaTT16bqypHIimJF7aU/Z1Zv0GWuE473WRN8y6SAZDuslG1t2F1s2PJQOTcTZncOhiO1Socul8xnTd7J7CNTQzCiZXfVRi1TA8p04BMjRbogvwXWzZu5nlEhFpU6Of0mzJRUUq5hybRpuAd8ObHUwuzTLpT1SBJcohSPNBOhJbFxsBKe5qs+jmtQcSA3KeUGXzK+F7XI3rIo45TTquoIa1HHkpllQ4pLkPAg48L3iUtnrentDRFS7Qh7ypGZQqTQ+Yhb5SjLvj5pB+Vyh0ksdlJJ5CucD03heONbPCPS0ANsIIr79vMF7S52OBllB7FOfzUPzg+AJhUm/vbtqgMpsxMpFiF6mjiOoCibQV/XEmagSlqApLJk+OxZzAIcaVTTfA7x5kJrOrzUmnXOiCPi7/wd8qwSM4VGKaAXa0F+CNsPdHb0yvyILgM3MeqiPowU6aTr9Hm+Cf626dlhPBh0+ih8anOtWq8cqz2oY3hUZcnkuXWOIxbietcPrveebBBRjLTjJj3allGXL5VJKSgk+zP1STKoLY1PQ0/Pf/rJRzvjOlvnbxmmjkNrXVWQGplqEgxZ4lyJ7YMyj/5l1HZqhXXyoX9/YDlresGpyCXA+HGVEWFCuYXlET8qFOoRfMwFfV81wxwnGAwnlyTPLC4TUfU3bPCdYhn50tU9nggzdrFDNzfr3RmDwdPRy7h3VNAuznH+7JLNzJLm4DRzPHezWTIgCjQKLopeB0ScQ8JLeALdIhYXPFWS4n2TU8zs7ePn6rOojejMdEsgMddflQ0QhX+Jj447JMC6DnFmelVlXFyTxA0ssjWNMDcyfw/6s+X4ryHuF0BcK8x/JDy57tPFJo4i2TZv4qjbO9efH86OpHKxu7uEtSGFAAb40NV44HZuS0NzkNupZRway+5Zsu7bcz70dbniDWMkQ8tW6CiqcjXkAJfgjiVGyiDz626V0U7Pys//CyMgQ6Ap5HQWi4+nP2a2G6Z3VJrrW509W6AYaoEAHTcnIiMh94WSiMFO+RHeilTiBQFdg530AGggHDUnRfQsB8HNUlxMREMAuQlVw9WMin+mykrH2liugE8uTuu4QawRgmeIbdxy2rk85zI4A0Czz6qPLCu+mhThLdXYDV0W+5aBoCKtR65q9Vx5pjYT8uh/GnjsJxwNJpCTCyWEeekCJHd4m5dooEj6FACj1spw5L+xfBLttzLeVRAGToUFojMEBtxYUAlvoHq+Ex+eqULfr/PNLs1uwUqTR/1jwpiCiwoMFq5SC3V6HTp8UkJ54sHZGHN61dNFIGr55pley7B29dd91kOfLWMcQwFzIlB7la+i+FVpwy5eveY/YllRHIXk6QneTtgZQbNfMhU6+f1ZuiHaMYPRBXbDGs4fMpzrJ3rIGGew37YLAcqUcn1wo09j+CgpMn42rSpIeDjhQRqb8yXkt/dSvWsyJgnW7ESRG6f+kBrs2//NC0lY6NBlUhe7hEQVED0ITslm2/3mAgLyw5AXz9jPN0VrkQ8ydTZvwxnkzI0k3qvJ4EvVa6d6SCf9eKlXZ3AP4HGLlod7ZmLul9fEk8UeQOzzhUPMQJ4MaHj4iKU+xbQiBysTMA7rcEpFPCo057s/kJ+TSgNH5ISeOR//cSoYfW57+e/fbsgHhY0k5dSLbmFOJ2yMnH9seZCfKHh64mKlZPF0IZKUr5X3zrxsVtbKRQsQOQB9QnNsmcK7YzC3Xns39ifgbiNJ8XtGjbJ29IKu1ABSQqpuxiO+99zgL7SXZGRSHfvvNI1OpZkdbFOczhmiIXnX7bEXbqlyd4BeKbVTg+4UZ1CcjEQDuQqjkURpW6Xhb8b7/1SIj7/rfnBcTI+PQTJeJvuZ6dFhq7Cenqcrm5J19Zm19WFMG1q2InTxqbkvm/hnAy8N6HmNBowLFIFYLXW25lrHdzbHXypm8mxyg+JUZXV0yUrhRuHrR7U6Kiyq6tCm7BDxHn6n/FqQtf7sOCGrox84AlmyZovwmCzcjQj2ywqsj9rcV1LFjnKob8i7pv7ifQlM7ep45ZHodHBQSqgojfBr+UTmPXX6JBGY0P+7Qjgf7cXjw5qX3MsLxRk/g9iYN+5H9c14lDcJ+8iSr4iaYkJPy1RUW2Q3WdxfduCT7r+hngnRep0YerQnliM0wTMCK/RBnHUyObzQ9I8afTNF76zC6UsYPf3Jsrr8x019rQ9DASfREU4hqXcSO+NcGweS3Ca24WoLdsNIloFWVbjAJfCIFtbHJl6arJArwZhpBN4hgEkCXXWOt3kuCBhfwsMbyPodauA1B/Pq7jn0xaCGhCc2imVdByiIRdZgS8ZRFogZynq3GEsoe5sPP2oTR2d0iHgZgLsZWyZm1hFC5wSNWy6b4NGSThz0KgnsqUMz+0Gpu8s6fC6U2PflVrOPfiIC4h/rzqtAUhUf+DsRMzZWEJCUnQhDpPkzzYB6YNjqhLgvWmy6Vo7hoZmbjh6phMQ0Q1w50npIOdg3Dc9bsBW95eWZA2QowViw+3pNBuc5fXYg/l2Ir2EWYY5lWBZ/6an5gBvrysyjuiDRXjdDFHyyAbm7pMrg4HmZeLQDGGuTSTc/3c13DBy6jEoZT3hgOMykaHa6QPFwle6xWEGhr4d7LsNBeXwFWwKB+7Q36HD+yRjHbdTDjscpQsFXCA3kexKWgAWR9LdLM4jqINJJwwf+Z0f8TTwObRl585CVV7QDjtAc5T8CUsZf03CoB4+Fzn+V6WYK3/OL20TY+MogpnqHANZxxITJIki/02FFbFtkS1VkZS+wZUojmPtccYoa8BtrZp2L+slWDvCoATz2rmT8foeoFDN3jSfY1O4+xP5J7DCumu7j8V+Y4TvYIBXV68Rd3ixOxFocviYcoLMcsOz5NZi0iza1JRXvyovv02RKJMQWpO6di8YLnaeZ6T5lMHtuouUQgbe8JUmQKBQLlHt/Nu2XTfLxoJtHWBoxzGJWaTJi2wHVZAePYxIlytfjcPnc+50Yf2QCnnDyIfUySZMGf2M2tdYTp7LtHEpEYDbZlZQ4WHfs+Bz+LSeLcJ/A27uJ3dnZ8kaViSXac+13bJlfCGnGwYb2zAoikSRkKeQp9/ABA+zYeV6JGObaqtciAl/L5WOG0jrJmycboChAxE3MNPN0qNEvyh1z2TvMbgFN+t5OF0db4O8Y13bbUOKIWdiZTaE0EBvSouPAV3Vs2mEGxdsaYmBqL30krP8+8Rnumr1ms5VZLc1YzVswB2bpmzqwuO4qiBj8Ko2qDdqLV/GQnqv3QU32ryz97BWitCspz0S37d+9Ti9kuCEoQpbMfROyLxXUS1zf7a3PmUfG7Lr6KgBsWvAYak/qJ/vKnUWWlH9fReIHYVLDOZUx6cvPVoXBRVq1A9vr386j/zEvaRIi+Qds/BADh0vRGDclfo9dS9+z442ns6L/IB9jgafgAQk8bge0P4B1BSI4s4ocan5/TVRbykqd8/Sxqx0FbYck9drXkLa/w0/2j1eg6w4lpOvdfsr6x2DKcMW/IRFwd+7O763xNgEzH5e21RuAv37nh51ehX4CwDqK6RBicfjUyY7wpu3qKjfXsWXOWdV2OJW0X7VyGdbcdoi98Xx8JZD/Tzkx4lbyZeSB80+sw7Wg0MY0zXBZDDpUzQr7WNrTGvOXDEFdp1a0Nmz1czquSyfrSai8yridSp6WA1Sc2dsttW0r69ou4Eo4r+Oiv+1Q3tGR9W6itg6xu5I1XB2a8zgJYROp7JX8NtrF1kIgGq1nSudtvLq+INeNSsb7wuFFWsLUHtb0RywSVLGBbEbBkS0Wk3NNvHiHNli8sRiEEkvmQfGcIMrUULZW8iqbD45AbXk7D+p25H2N/+76XYjCqC2sblJL3LeI6rEHJDnKvtIyRZW6fJVVI8/FbazPHKodPOOUwa4cf2OeO7RqNixonxcAmr2pFNXhXu2GcHn4DmiZogOaRNcqKj9RnfM+iARdJPdt7Yiw2Nx9RWZ4/uC8Y3TfpK6/CPD68f4ZqLAtMwq1djfY/0Ue5s2LoPIhM4ZxtO8nDS0izNUNghtWtovKrhy66f6ogAGTC9e1el9ST0yYBjU5zsm8/+cgDERkHNsewe+99I/OvH94KvqSRycCtPA1fg2ZhyfW/M3Fpkc6Rydl5OiibLJesVAl7h/YFsEahx3nhfzXb1Q7zYchR7gQcnuNlc03kEBlOR3id3vA2FtP+bsyXI8Y6v0bccWeuMlOfVbZNiDNsWP29ML1dQFUDx7j91GkmYgaJbkn8Y1zE3R+Ge9q+Sq1+5LZM6gC8K7/Mv+7ubgaVLyOVUBYJPQYj25vVw+juo5NkKQcKVRykoC6NYbQDxsyobuwyoO5V6Q+fL2241VLNyO3xraBLIa8ZYGLP6MLQMw6HqodQrVAfvc9B0FhtnFDXDyQBEMmKlzP+R8jW+/NVHkXZFNdlmR+roDhIxlxkZT3kWHFegr0VXuLcSSOXZdBALRJiOQMWxP6+UQ6+rFZ7raMxbpHwNQVIw9S7xifghIXjIb0cYwLFfXld1fOkEOeBP/nJ+7mFX+v0psuX+/kTNXGkUoTNa5JolTgdIGktiDcmodH2iaL3929EhSEyVig6HEajrXjnc1KJAGhPdzM13CprR4vZzR0cHRuMJXkEboWxOl8GxLNnG6t8gBN/AT0m+RTapnh8YSDjWkh//vle/EZf5v/5XlVZVFBYYsCNAXCVG8LQtmQMsgAUP8e+1PB4xzPbys6VhNd6DAMlW0EJ4yPd9VZFu0O1xIkLzPZPyGq/qbIlQI0l/ac7ivaGpP6x5tlCCn+koMyjU1WjlAN8y47TqWFT4z+jlNLARj9NnPCtco7MmzLMDZxLaoFTkf+x2UGXzsOqltdP0WJEnMZCdDXC183faQ3jDs+Eo+wO0hS5quEOBwd35J1goJFGKQLgWA71+UkK5vmPE5IsD1jOPLwEgv5PUbAwvBgNZVN9W7AQY1+MG1NNwfQHhl8hnMzomXa9q465x0evQ9XLHZeXTQ0TDDP9OMi+ePC1DC4MYDhXvvkVOsih08Qk4UMjema9KYvY9YJF6nLMhLN1NrWN08mQc1ICZw7hSfRTi9jalZG+2VLjWhdsomHNwHtDIB92yeHBJQYo+dy/4Dgmkf+v/bulTOwddsTKjmAV+K9palJLTKiw8CtjsX6q/8yaESuzLRfN9yQH7zyUIgwqHQYeMcwzBOc+xm09IwYFr8KHpUTG09zvBeGXYqKA/zPzPA7LIRsVwdGPMlihnZeMHowo69WW8vCudhVxqljtXzaqGGBgtQw4BvJ/k9Q53z0oLJHZU0Se6AEe/7RKRqYFq0ca2J1Rs7UMmjrzOZZXKs+DR99JZr84RCdjKjcgv1k7oA9txpB6m53tPntTvGe4NByTu/QgS3RnPSs10sFDdFxJpyblSmKOpBmypjtuBk8pphaf6HhaWtsIfdSi5vkEkBTs0Q56taj7CgJIIrLQ4ilZo8um4g/nNZFCBwscFgzU9uWVb9kW1qnurw1i4/EhM5lOpPnNmQ7HNNC0owimehkpHrFhebayljtm4hq/KH6eHhc++Q+ZQvhr7iNRtIeO1QeFEfCIJ6iSqjouWl998n5S2EOj191niUen7FHfG9ow1keSpChDzv5KZrh1liiIwEd/+sD7bgWQx3trc3w6xxE0ti/IQ61zOW24ABmHm0+mcFjW4DDVFZNpwB5rePy3P9EIqHVBRWkr3PNzpsUUqiolB/t6biBw38/5dzCzw4QkuSKsxP24FbdTRBit7b0lU9g7QPIkU78rOf/wsGrEHqps5sivf2fDF6Caz2eAlcqWNTJafG9lPtwFgv4UxhJmsqFXiOfeAfBCJ76FGUurQmKllBKZiFpqFYwMYErWctP2FM9GeVyWI12CiBbHh5/yPnhGZWfk28kqKzaJUSy/XxqdQt/Fb3RRIf1BjEOoebL8VT+JkAFN6tW4LIU4pfGhqMT0uELPircXKPSj76G6UM/tkYf+32skg7v8RVh8q/t+/+VQ6lQrsiNznJ+8b0Lb62JqtXCoh0h3kxgHnqkrIhpNXK+uo0OCV6x/cdg+xVxrNzzl+A3LufRm2J2bEQumnRG621CdhX2JHbANiM6cSFzoapGAqiIWe1Aeh6H24qDs0y8GrSEWoXIsTPY5QW0vNjDdl86kd4Mb/pggQ5IwvsStpr+GPD+eA6ip5VUlWwGmdenzDAa+KTIiwwX3AXUhyPr7F8JXt/dCsauTLqGyPI/z+eDY/zr62aUOj8VRCZ4obNSGYzNNCaR4MQfsWKtiwjBq3tLlOYmns1eeCFVtHDhuOemVTB/yhlDPD6M1g1zhVxHX6kY8iAmU3Ycf6FJhSx1GnUCR3XR+49kZdeAcSzKYpvW8hf2BSOmvz9R8dRhA/J5b1a0JC4k7Dt+2k52LcSGamOsn9aleCVIjXS6Xqw4XLWXxd8yMaibRCzWqihKdD+RP2mr9Wz7J0I9zk8OHnATEGVxrg95avcZGgAF1oQ+xrxsh7afo/06koXN7qbKdL41YWUan1FQ6i8aO5E7EnnDLE7BvIcVn+z+K+06/EfA/oJ3rSekFTyhc5RYorajorUumLotCrFxAsBen0EuabhpkyD5tmPfUZNl2Je+ZplH0W21qDu+zLGiUX8YIxCYnGVhVFHLoj0agyWSH6fxbQ9u9T3UPQxyiZxM8nmfYL1HRCSQd0+dEcGMvWlRkzPcwqsPz/lJrJWqinGkaT1yas34PKqkfgyRuGqCjSbJcFfl/9Zu//WzyiMEVjAGxdl2zxbx7l63OQK/82/AtU0k8oXg4LoExwsEZizLR+aI9bE+rIWcllcvdykFHh98epLmkolDTpKgOnS9JFJ1Y52QZRhNxhjTTkHMzYGLWfMYIj/2TAeqtAblw4tcI2U4v/ulsGxIqfI0tdLGp2UoDczqpAlv9NL2xMP1qXLNnlBr6LaL5y5iyhfG3Hnzh5IpB7irLDZueYET20XpmX/zcgxPeqLCRnO7dzBoid9O3vkTyKLDSIZOwRpZGFVi/ABi3pd2plE+V1nmnQ2npxbtNUGDEvDNv5gutqixfCIfUcYtfEA0GhnNbpnfbv+epqZvAdfGZVPwW9xA8dgXMCUbP/nGeev79k+yk4VDnCuHUYxf6EBuo4yjs8Tqz2UA/s//TzALO196uCyge4kT8vPXdLAUX+kjpur+XN+PmWdwXekJQpw5Bu6uk7NO7e6dGphIIvxx/Ex+pncfdfwVkf7FPltRQWMuQpTpz7sWxHhsaN9qagUe3YbFttkhk6+5Mvp53jUD5vlMwAs4Kg6VwvBQzyiQL+tzcAALHOt5jtSU7AQ5N6UqdFp/VGzsGhIfOHeYyt1lApG+U9sAb5Pkfz1lO5Z/Fz5QeGMNFtAUhPaVb9Kw0ET+IspCoxOIHgL6ze5NXO7piPJ4v8aNmrm0Bhw/LjSAazScdCVhKAfdtqxAUdSEWBwXV3PWtMtsIAbiJPH2tm2p4FEwzGMqlhT7VZ9ZOPE0fdPoMhrh5zzH5IvhEBHjqivPmuqTggLse0B2F3ch28kklPzG3npLTfvNMgP5Fij3X7h/cJBwsQ0O0An+sT9z0/okXvW+z69Ps0puovreqlqDTo57V3OjmQRrcxyzLWJPWo4hUzJkdnhe9EgWnwJSLrX73dRgd+L3kCoNkaZfe6Y4jCYVsnPe0GRHhvDGQLZea6vfFYM53nvqTSJ4ExplSq+AOmZtap2N+6Tl8GkV6icYyNkILRIAjw5YWG9chQpAFH9xPlhIHjlF/Ibu4P15WDdgl39hTYAj1C2yy/aWsyclwyvM7FU7nfvuB/ob1adElIT0pBBnjLzj/Tobm3PYh22goifqHCUEwKNP4ZeIf74axDRD6e8eR8jtA8ogisOgsBtPF5ewYQO/yb/SS9Zgskci1eqP7tiDWsNnio1L4VSrTGE9XWmhJa5r0VmH/PsKG/yK8NvfIXCi5Va1ENShotynSCeqcdTut4wQ/l981ZAnfEkii1pEaJXHVt8bnjOYpuVuloqEuP5c5CAwO835vh2qAtMby3aOqHLqdE220Vw3ZMi0RPFFvPYvTtzlUx7orMd0EwVuGFU/eQaMRWBl3x+KOTAA2l0qsaqnucjjU8Y7ZOjfD8yukbJrjUoHdjuhT3AU2vFBSSLmwze3ZVGLRCFl684QRBrHcjU0gKqHphWBR+HCCkwW4+eMn4RAOQ9X8vrbfRRK2CjrxIFUGR4V+t2MeEvJtqwKoAu86pR7096ZDLu6jIsuApNfux10woB7KJtGmR/zcM5q4ORj0zUbb1uadKkeXY+IR6LY8McyGIH8iz/jkqhmLD9Njhykz7/z0F/e82F73NOvJKg/X8ArLV2kQG25NO4LhSLnjxTlwL0NWNPgFkmb3njSZ6bmSKDaZ9tl5EDrkWNeQYhSR4qu13dQjRpCrqmd6Kt+C5COCsgwo7+b8/IE0Yby2mloBfdIODAIp1AHRCBjXVnC8k4E3j+jCR5djqGtTOHwFQ+EyFk0Oh3C6Nf+nVUPd9IC6dTcpw3mSW3mCarcaYVhOLWYHRe5PIpyWyWJ4TAjtxLe+ozQSRhHBtZYkQCn3F3TbXoqgSYlnNRCDhpJerqfXUsYEZUIXdyHh2+QNHsDnpHsetYBcci836FX9jtPZpahDfETwFbCnqeCY5NK3K6RKtBoAabdS4dQdKvOnUzYYNWDMubtz3MeQYReQVnNBw9Z5YHwKWVU+Ajq3sf6J5eNZUTtKGiE7CQTxLWa++cWnMmsz/VdPFougxK6wV3XVaTAl/kzwidGQKe/DlmCA76oo+8+bjFxxU9aGSYTMBS25GllQK9h6Xg9asW7ecKFraFymkpTTaAYg5cOdxDy4LWq5d0hd3TjyCInUepUdfyLsPDAn2QL6a68iEZ8HmbEVW4wylbNmIM3WYrBZl8vqGObHfbP39dIkF+yRiIdMPvlFlH8TAFrota+WbYQa9FDwo1owOfUnGH484hhuXX68zsXMdBuFMbiof4VUQK9PnWeA5KPKh8B+ARre+G6Rv5ykjFjqrID3j4UELgz6vQ85FLm6Owr5Ottlfn/4/oRRq4PetLdqx/k8ObxKBiKy1KsbPEWJKCMOLYEp/9QdMkZsMimuMOjE2Eois8ZhpMjneVmYwTMtYvMDuKe8ih2SAfP2q+KHnvfzN+O33Rk3NjQCxzvN0pznSHrrQ+R1nCEL6mZwnxVdhQBht5ZJKKobNOcAY7l4z/o2FJs67+z/3kSjryAv03IuOpJzx9Do5cqHIYzpQ6bhlDSUh4dumkhMcS/L7ui8zWjq5/cjuUixnV82z/m2d3VIOjhxADNKcRDFHjsWvf76iFIFy0fGKrtEPPJ5mDo+LPuuE4ULxXwau3HvxoS3bN/mUBK+HyYnl38FyFlqWfF4PkJNNk59dH1VAkwBXDiS+sjsfJPuqbPqMgnpT+hR+IiKrCCJZRD6xw7hffZ3slUkcLi463l87otJw0qWDNz3gqiNcFkkqdkAPyZmjemCG9Eos+64+qr6oVf4CMH/P25iyY/HV7eye8pn6zSHH3dih5dFr+6t2KbS8UsGg/fUOPkE9+KDgqQ8Zbe850rxNqRd5qYeeGe6mB+l2LKEUBgod03FAd7Nm5bBweoEx3oIKXahd+k4uqwKynMZb2iy5jEOp58Rn7v+orlKgYJR30TUxAMdNKTiYshF+nMxjGwRLLwmdiP8YODlXziAxS8WjUI55rappb+s8jbb9CtrnWFnoCmZCHs8+4yZJLNktYbI0X29bmYvHuOPABzaG7QesYJRRzYAVcu2kYhp/vEGnbFd4dwnifk52WpjldWKAp1v6Pt8xXHV+74CTvboyUNlqWRmYHdEcyYiuDz5Er5VrnO/W4b7FVAF+hRGEimZ6Z+fWpLmn1jgpm09HfRyt3fS+rY75XSWt/PO4qQKAErzH0aNATNfZjfE8UP3+8lOa1Itt5VbBpL+iaDk2WakOvZAbu40qlFdytzd28LqhfWia7Y/hQTh29OS/GtgVG7aLBkfmUmrWD3RtJgYc3tLnG+ASBBV9O9mVUhO7GQSjsi70Grxd8P7CMC5x+eW2yh88/Le4tw4pSrfJtvWZmeaZd4weQbQo1qLdU+QBqWqlLj8pNXzFurDxbTqSmn8Fu246I5U/5ws2fUNT1LoLgr9Fu7xLVy7wYp1Dy0lUZa5en9TQ/pTvlkdJUXbC3NCuzzD9Fik/8dW3Cw1UvHIq+yEb0ROsPfOFE91F1AVLmm2PO41RnVqcWTXgZMrjyp4e9qJEnkHHKZ7sJFcNbkRfgqlS/9f6seJdQPbMu4QU1A+Abw5oKi8fbsnzVvw2ME2BUJbNnrMQUSPOuIkLEY69gOMd7yH9N0E0FsZDtAHNxt6CTLrqKeAcZ/jFk5kroNvpcgcGv6MTXn9Gv5EeKh5yChBEaW/MSGMGm4TyLem1ZwRXayWOjZitINU2hCdYRISJdSkw0owmQJeZFWO1vLqcRBTiY7fqdUOGK02Cp+/bV4EoLcD43CbEAPqH65V1QsMuh85N4b2lOByl8FVdfTJUWyZ7sdWHaZRm+i6wAH51jmq+qaiVcBT53kHt/xdDevx559Q61S/9TUwCTrT0nhEcdcf/6SF/niYsVGAyLMGVICtnoP7ubCyXASQB7PhQ2lSP0e3Ltn/4uSCjb2arhVeRNH1mTtGwLiNS+thZDTAUfE7A4HFR8gr4NupnKOnnK2OaXZqV8QRKpJ+f+cZJY6vB3fVPoF8F3i2keqsdcrOuOS8+7nINFuqETdMUnNvCcRcxbUrDJHPlCNwPzoI4dbF4l6egB293OgyZoAzPJE7/YY184BcAJeu3zvM5QEUKX91SGYzAu4kGyN5vOSyT8NJ1paruopn4MDqDWKiTSFpppdv/EpZxAei2grR46fiN0YI/x/B821hwqQ7howThWdZRu86xhV2l/C3hpeuZYqiNq4aHLhdfZfDL1bEqfBMkFMDB+zPUtk8rZHp/SA2agdOCrx3uRvWmjNt/yBB9CZjL3wxR6qVGN8OugyaUEYX+g3XJsE5KgbmvFQ/y8atQcM/w+nWjyyYsd4Pt4vlLmEuqFudgzu3QDDSNpz/TIghwhmftaiM9dw+2o8WmfWh0PFU/Y36nAQBpghhFcMmLROJ6CRTGd13etdKXaB+pK46vKawhNNkVeFgfKTVrct8rqeQklE9tPUbfLKaSSmjVgglfTx6JRlMS02O0h4Ttm/FFXhx9n0uP/gzozAnQjcnxW75PiXpgOAkDbaQy/Zhp+Q83gH0VE7ibUaJ2t2X1zvdB2UArYNQz+FE1+6Ewu5WnT+lSWb2jco8JqvAtWPQT5jEiCF7d7cax0MbiV7YA22D6Jo6QFeYfBDInBWIO0yzMXx34Na1kT761eVH5NKt/ebLAN4XeJSXqjqYm+Svz+8txwm+u04BegXktPzTMlM3+swuHca/Dz0SmuN+m5lGG7/PPxFQEL+K3R83RZ0SF2Ro7/G4y3ZaaL0lMWobBmJrBX+un+2sodKN/F5ZXUQaQweYzKegnpdCnQmbn9GtS3xBIxXnZTxgiM9kJg5+0Zw8I7Ilsbpf4yiOiC4RbT2G3Iv87/gazFKT/CRz0YKgZYBhriJfhbl3rMTFbXPiWeq/TPmtBUjl/dJkdlXKR6xxXk2QKElvB1wgp7EeGTMH6B3pcjpiBhiVbEXGwIo9Rpj5mah8fnkGpDVEEQ1VQrn+ECUcgx8JrFiljwghSstH5VcsmL3dlz/9Beica3AOxQiWlFVhYcG4ak1/nbb8NSl9vCRIWJdGZmIH6U6oEk6AYfst1HLrmfN9kGqcMIYG3skXKQdjoxf6qwuSfi5ZQIfRMPHRigr4//M3hX9Ti8g/+XOlX4BydfcsXgkrK+Azh8Rmqrs7bXbGhBrLSRD5Fmb14dU7K2Ps2xQWSFL9eHERfOzPTeofvRQXmYEbPpM6DrGbjuF2FwxtOJ3XxMPjvEB1dttO3lRRmhaDEOEDK7kKO8zjd3Vr6ang38f+Jr4Mw8RpWLtHVnvfUe9xXZdHNqDmi5McSnGW8yu4jsD7d1qaWVJ77xb6X2JElDBaDabYeeft4Veo9MIsYomSEhDwlJ3KiPK3CEUPmJ4rrFOegrzVnP2/KHSsBHAWPkA6iw81uUiP2hXxc6SN9FQ8WLYfHHq14rXFohnbGF5OmiaoYoudtKZlxMD9H5jvB9b8YidxJJfOMjaAdv8aBN1wr+Q4gORru87sh6zjPk3i2nU1IPz3Mx7tZ6UPjVEoxOyGpElmqZlWCSLNcl8buz4m2SCPJqTik7Kgbej3EYkIAtL9kqY1g4sdH8xU/hHNXAtSbAgVFPuDjjostBjsm6iqwC15t2CXt/apBUKdbQU2is+5eJz+hDdNbKy+7pQjPa7Er2Bkn9huN3UMjXWNQk2imX7AHfPKcPrPD2k2dX5b/sfp1MWDDfqDj3/y1kUJ0yviUfWeIqUsENQ7pbpI1GhonVnU0vfUh+rWxB6q5UuNgKm+4I9uiaqlq9X7mjQDz9DIz/CCFXoi3sEFMYM+MD99wdmGQkEysms3oG8W7x6M2SbbXzhRIbTsJVNcnKmeLjsTlzOIzs2OIAB4TH4HPPNgj7mvWhgAV19FQzBlVZaCEDtbguVXPbhOpyze/xPZVYWW3A2G+eE6t0XbJioUC1v+Im5Q/NtMotldOgJYqx4t8nIO6fQKIIxKHE/rG0K8N+gqo5lrlbbOxVxt7DCF7IM6pNkA8QwiC80sCLpb1mM5008el85cQJKiKfQQbPl2QJirbdsuT6aGVTV0OUEUrgVqrm/bZlkqx2MQj3rrKz5kJ/lGB7Du6gFVbtzFqv3Q3oYeFe6hZ32DzDkMx7O6+yM0raK2MaRBX/YTIW0iNTZbS4hEjy/63SM2nhr6nksWA5W+tlwyzgiuj6pOZ5XWhJX6qKjgOzj89CxLNikovdTotcL3j0S4u6GX9sV4GJcXd+qpNE7Jp9ZaDveCSCr5l0wMbItgY9tdTWZYp44ob/Coz3fB0bZFirPFXXfKqhotlsBa6fbMPmgOU03xgu6DQvmPpOVC6jLvwIsbtKCu9v6lAykUwmmqKXd25zi9IYN6vEau21dFu07cWJFSnHg0DKTvdlkHvjtv0K7d4p1dfTDMVmjngI8X1727tqeO0Ih9xbGEohkaJkB+QKqKABfhGWCsrkaBu2mq7a0JyTe2YayOWDbEvggeMX6EmHuG0JCS8T9v0Qu6nz/CJEyPy9ygO+tuzeh7/mlQRR+UvJRK9AP7Kq+Y2OLGhxJEV8dj2QwXiVi0XO8HPDgmWebdxGEohy0mxgv92hG3TCxUHdsj1ao60m8KpoBg25+O3axDVZlQ8j6bnchh7mkP+mTOUINHD7RTOR1hwJ9g93VTN/SYbqH1zVRVzNdxYQ4jytyt6dqKXim9TaEQKiOWBclfZ9vDx0y3JeZN/9tYL4EPafyIsPEaWjUwCiVWU8iO/os5grKQvjILQKN86hUQ++Mh50O5mQ+tWk0loY8jPn1HSFGnbMDK2z8Yx8+qO17yum7ZZ/6RUCP/c1CY7k2BhTfxdlSFWLYmS+iOmONTtz3+DhhhDDitb+O7JDfiF+gmIoSZVqCBBh7esDyhXaA3uKsVgoRJkoYgc5jCbiju1QQCGxRy5eIJhsoTLsIPYBSs+KNqagp+yEOVdDxOaVO6wLuFqVfZL9U/c7IdLzlqeS1CUkZLms19MdUXbJ8E5HSE92yDXNbW7PgXZU4TWZWg7b0jelI4zp+iynhdhQntL7cq1GsyDld2hM/t7+XuwQDVcJ9ibAOpYjhEHY7RBWovygyH5GArxOKS45Xp9R6BY6s1eGB+CNv3S2QukINKTrej/Aopb75pZvUbMttZ16JOH7dDW8kg6y+yPncKZUj0fj0oNIUQRuQpDGv1T+Ns3F9EKueuzt8Z8YwFHhyacGDaMDFmsSB+Yk5CxO2hkVu0U6WVxYKdrOxEfiWuuBxk53VFGEcfPuwHCgbVoqHQphtIyGITa9lnr3bmMdswyMYIHCfU2uTWv/Y8fm7msLHBM7LksJOnVwdILoIwhs/WhtnhWo6w6hAZhbsGLFarFUZoV2jlWe+84YTi2p1htCWGOu9y288h15xUrWkgaN0C+Rz4qMhzF71QCjJpJ//XpiJPTxChFB93AmXZ+n9Qz5b+ZVR90m+WpA3XhYeGNSeIQh8qXEMchlEApSVKLEd2lHxzeZfnyzqPIzw+hocas1TWYmZTRtiA9WfIUaYSx6j62EqG1syNn8UeDwSiP5tBTWkvABTa19yZY5LtLwijQ6Q8MQd8PZr6wG521W3p1wMqY/4XLoDlrAfdG9FXjltFwg1wM2P43saLTEZvxRZ4qpk6QXU8HtmNvxiYll0hVaFNwKQYQDuT9oXr1/QbiV+IUY5EP/noy3J3mD/afnmZv++2sdGZLwvxv5xvvAUa3av3A3e2CZF4r2FT8YGkPtLgv/7r4ZhK2ID5C6wvZU0Om60ZHmd1oqTmxNNtRq5L5UHTkn8eKBCb6H1Fu/GyFUfBZ/OUgR3qFSNvBqzYy3nGbeZQTPNYAz4rm6CrFW9l5rv5pj8bAGW6q9lLMyUCI7KyI8s7MA1EtLkKAqFm/JLoMNASkUy3QGc2S2Wgw3D7KoKODeW4ZMjUnaLgWO63/4vk/TC2QqeOy9ZlSWekZqZyvBMjlljLKUtdmOho0O1iadZ0iA6UF1igbMmOgZTn1ojZYv55zTXCqy2/QSMoO0WgiTnRA2pVgDR8ulq+BDdf3z9Mw5l3pAKh3uLqdbMPQgeO6p3xAiwqcM/WTV2AgV50BzbfSLh1t4BRSW3mDtdDuBQMNzI3YoLGmwA33WFf/0ICNP/fcFwjcnOa/F1ew4MgPu9rcuTgivRut9/zMNCYQl/nNzvk08yEl1pXnS5TZ+BpHCFN4kW056AcIq3PLbIsEFes09K5xHpiCGs3BiV487L3P9htQQpxU9+Iw4U354mTVKnu0Mrx1QoR+j7RF05stwOctDpX1DT51CCIj7YfO0WQMDDNa69ILgyECvnCNu4YGjhQO9ZVQ89C28c9HmSaxFhizz4Q85kvF7/b1axbZokBj6YS6AlihDbRmhlVL53k8HKwQsgpnqPdJwFCQleMFmFiWgtjT5pxxKRqySbUsDUHukq1FQYrokdUi5zCD7RyXGh62oWu/dU10vr8UXzcVuTCTJ0PQUZsAqfHmJJllPz6048LxYfCIZoxRSJK8lNzAYGyKhlaSgC8IK4BFa9aE8lDXwauia7HDJGtlY6CNaE8S5BV7Cgvoz9RT92ClZkO57rkCjMh/TTvHteRVlrHBSZyAbirjdwVgxokw+iCPWkw302f7zGdrg9SYk7vkXTG4eM4F80gpytGITqhsVAnQAyFjvR0hz1KTWRa65Mp42CQIH3TxWftRMz12jxKpg4NrATBiy0Ynn14thfN/E2OUEtA1cxlyMjGgfMobYxqoNmHFIByE360E9t9PJ5rgWOIBxAtknNm7WRXf6vY+frM1xWqW2u0FvpHN1a9DItoh3or1yYC+nGdHGp1jCOb0BaS30MLZgWK0YY9AcVQdb581Xz2lV59G69Pr6COIP0h/1lIhZGv/3gMSUzIeKopQPFPSUl16TfozQtryhXWEruezB/fnRaBaTQefadS0xCx53wy+gnwYt6bjBbyk+Fx37m5wTS/4EO+ZW4FfgRr8KTF6ZYIN2wFnwr0Lt0NLiVWPASrEObTPJY6JaOOKowsDTkwI8uVUzFZd49+4uS72UhUmT37CfX5z5/Xzgap68AcvkoKxpp+GVQiCMWgwgIkpSKoVZFnqxBogW4Mz+bx9UbF/yCf1CcM6PFmFf4egowqAaIYRIiGXcbsNeJyXVcVcIZCOovfZheg3pYegbx7zgfmZ+aq7Ynu8DWPqOPEoLXisXfu/MbF9eRJgcDB5uUgXSZyaf0A18W08e8rQSKBBTrUFw+ZvQf967pNW3919G6hP5j3lvehQyneWoCwGa3rThp8w81nHNzC92rc752LZ19skx4viDWr+wsJmszmuvy493uesZr+FWO+H8KW+uSCLf9BJn7/clPxEOqWDPwvrdVwjsoI5wembJ1PISY7s7/DkJkeQtQRC2aevESeat+7kz9OF62OUpChqafMrVHLj0a4wENN+jk/frOJp6fnXBP3XKFtnRxcAsCS8Io+bO7adnjgU0H952Y/+/QAvoAohFQ5wWDsUJhEzU23f6HNeVr3dbLu5A4oV+KuuXa8b1JMK/VUfOFvcAk8HSEpoCFWw5JkvVKrUNE7L2hAmby8ZfA0dXLTJKvdQ2026DEUr9NGqClCltAal9s5SlRxqZJkyImvLW4i0RYoUhlUlKvQ/dHn3vHXifmccvRscWLDYnYTieWTeCgw+Ov2hVXDsJ/BDgcPYV2ud1PCgskLcRoLRKxh3YqGmohykFr4lUZeTp8DoEHzok2RY5FIgbwzkDVaqcm0uidk7Ux6fhtDYztjnCXD9Y5y4zvN11K3aBedDcUCkPZcCF8tKxgi9hksuOjXcdpEX7nilhQzX0MBPC87M9DG4rbkEdGK03wbl066QV6o/9ghtMd8faDOK4OpnRmxV3xBs+vJPlQIarWgJYwqipZdAP7mfFywAM7gToypIm4Ool97sfHX1sQJibbMxbnAk5eKUN+PlSHdmBw/l1Z0csW70V7fC81fl2sna9C5PaG8oV7WwSIujlpFjENCQyOffQMEUpMj75HzDm7BlUm5dExy0hs4ogOFeDK6mLu/KqgibrPKBmDJ+T8oS3vQD+NQbnf4TYeQLvqmsDDvqQnwlAQHbt4iwBT5OHp5OuWt0yBiCLOD+wF2X8SHy3tdLcAuGQXivoPWytAONM37hewS8Cd9/PGIMQ1gby08nrppgNqLI1TnlsUY+h9v83ZZVeWjnJ+3gWaYj+bxz1EH1O8LipPRifzfXGSmCvv1tgz9sISpRLmMCBwRgTR302XOurD7H8OfZyBp6qNpFRgphdsq/tz78N2UjeobY7ZgEEduL0QzQMIVRNEC08MPYCRUlhWaNJBHK+1f5ymz/hx2uq8q6YuV0aloxhJVMnTReK6Kw4TmHmMASr37ICr0WZCmPhgXu6jtc1RHgt83dmAfl1okF+6AcJE9mG4wG1M8ulmUV69n/mf82intPiYIEZGQeB46yuamXOgGfSSjR04sClPv2clF3GpWvFG6mCLhHpq/gWkmKhLI3IBe46u021enHIVqMhyTE6apiTOZ2Mjp7Ycpa8eJdk3WXbc5fMPvZbejI+ax3ClCJCeEZCnRNHc9PABfhZ/D+cPD9xZkw+F4rw4C13PA+U0q+DolZQ3VNckJD+v8J51Yk/uXZ+0A8GEQKZqaCL9U6F06bycZnAYnvnXGVXC6TXGPzQFBrhZxlT/HU1UIl+ELQfVQxX9JlV/7LE2Ywug+K/V3BlEPj56wdsArG+pEvk9FciVPvJV2+EnBgZz/CTr/C0ECZjZxcSBfz5vtAQJ1cn/0jcCkso9VZY8Q1il+z0W9I8ACFrhEdHP5mNdltaNFQwEsjeOqYjzflJyBQwLWAi//zlw9qS+b9euc53pGdmnOHn5xSkb/xIv0gQuJ6RG5p0jIGP+reAdTkLsgkEd8odsSj2afB1Kz5+hji5dH1tHFw50egT2sLLRc1IggyOeGxxZfQLCcHHJcAgyDBz3lHmOeaHoLs40Ut52tRYbgzwG65XLU6o/klnoCZodvlQHUxFn+7i81Psa74tzIT0MfU0m4RwrqzbhYDCcRJ/x+2m3IQdAYmP9kd6KrrtTYI0jfxuTkXMj0o8ajSahVT5UAB/pZocHsaH6iPrJLD/QNL5iRo0oSr9gwqQwBj0GdbRPFXK33vWh4xNYs96vpFp4tvF5JCq7gmAt6D6V3KFVq6tsbgmRxbZBo61mYmKDUrUKg5DesK32lI248Bjcx4W67IuOlnzOKIRahnq8ikcINBfAIyIBvIVZWgoOg6ubidc0ngIog7tOX/kWhxE31HBY843M1MJ9UnLAwDs51dFev5L3Jpo9sqHBqfdiF6CaX29qeo44J6ylVtTdcuS7Yi5i2z/Wuad0nvkfbfnobRSAQa6WR3bZkv0ayBehExoy0Co+viP2ZzNOkL98eklZTNKQ7oKx4MHGB9KenPCNInChbXmIL9C7Eotq+YdW+ivnyJBi/vXey7mRYBByZHWNx443lnTeW3it2p8OOogies7PTTakjBBx6ZhHaBWKwqvPhPyfbaYkewwegtSEbv/EQCIcu6UixNDUvOYjYliohAOhuPyEfxOpLEXe4NnR+OZ8iWSvJXVASdwi15dsAqCj681etJ8/qgISKPxElfnC10K1QXduQEZX51SN6G1NMFhN1xYIFOPtx5SHb7cS+BBia58rIzyt+uuC2xCbRqFvdzb3MVxAwIx7Q1LOqrvjrPP621XRpChACTy1JSLHVGQD/36oLtPukwDMbPxz7rVb9+NFbX4XR6TCUocwZPiCnpw5qDiC8fFxumm/kcXOi5v93zhs9CFBj4bjCT7Isq0Y/SczmqAdhbH+VYI3TX6Mf13Ix+Erl4Wjx8bbgiRZbu7TUTumRdLGW5xe3xpMg3sTfFJ3cQ8knIc5e6rMNaMnX++arUsLn7Psqd/Y0gvakQZbWK3KqGEGI0o3+O/DeAMdpLgtCDmyYOufbfZZ1LOwK1TuUJ38K9Uufk2MYBxJUFJ8y5L2AJP0zOlFToCyPiOmYAj6w0xUzoPiQ+fP8QQhyuUtFPJ1zJ66C/qN3yE4qRpbWU0zYiT8/1iJDIzwNh9+BAAtXtsfRmg4F+2WVd52RxPN1wf/EIhcKv9gY3IiMF5BwWcgDpQe/h07vnsy5mJT2aZXmDcMvAI6t4qE57HynO2y8c3tron1tmzW/wVX6q/hPCW9vvc6jfFuN2O5n2lJNeu1kOQ3rpYU4BhQER1vsNW7tEi2XAFJ11lPzauXQXkJQYpF+NEY/iowgMg/LRUfHjs4/1tyQLUatwxiapLywwVP3Mvksnh4J0iKpCpaLh1/hDTS4maJR3Q0/hKpzIpSye95cghC9GBtfPz7gmj67lilIiCkF+LGVLBW9hwQQ3YnvDRRqp4ZvDCHYIsEhmOJd8ls4vkdW/dLlhyeuMvusajep4YXM6fhrS0DZkwsUOCvdxPRxMS1C7nApWxHHc3FCOtk3u5NiGsH9hhL4sDY566Vva7avKQ8XuzvoyMt/vO30wo93QteRU1/o8zJhgpiiGtcL0EkIo6ZV4/mUzVGPu03eDdAiBjBfshw8OtU25w5KCJgmIYuV5AaN3SQvQyxA1RUqt8Zo4l3dgKB23p4SBTmQrj6twN6A6YQGvasScXhb/g5HB8IHVVkXLbp8qEiGJiVnyiZBhbARjfxPyzPIccQRQeucNKOWFvq4xsReab8ZjiphHPyn5yB38EEfriY/J2AmfPUQ3BER3oli/aIyWgMWI8PvSn2LuNJVxwlht53uYH85lIzEC9srsX8R9AwUM/A3nke9oo5P/wgVTzAmJYYiFrB+NKbtDoad9LRQopO8eqkAItWVFTuGY1GiM12wjHXnjRbVkh/GZdp8eN8P+Y9YBlwRc2R1eZ9wInOH+w635Y/CYi8W3gQ62twz1cs3IJI2rSywyZeH/u+jcxjbfk4AzuYo7e1QW0achO3Z5XFKeZf/s+wjp8qeo0UDyXgAgUaRFUQA5h8qzFPqb8kmQdTG1hV5rGyzklq+HSyJQ/xRQrviMZ11zhN9SJEm24T/Y/Ewgvg1oUqrtw/e/dG5OWoesuKF09wl5BL4ErCrEHls1ktQ8MxBWkH0X2mdEnMvHXwineZ2Adnj884czPG7poLuqhjMzytg+w37uM5ZCmW3BtzbGQsIqSk3FPLtt1LXJ2gevBB2LgYKMsvP3QmQZJ92zyQGyukHErSOGuvR+Od1M4qc5Cl3ctJaulfpIgpzakslY4aPuflFF5w5SbyoC0iDUWP0cmvNqDYr2698Jphz+GhufOYzn+5h2nqFqmFKYaHA++VPMBiUDezhAnzh02UacJ37uL2UJ/rOEyt4WNLED6FShPKNoVl9tQ5v60dX7ByIwMpLRhlk9yazjNjChcOiAYP/mL98h5yY8QqV0FgvDjf8NUI3g6YSPKcVJa4V6QXyJz1fwXls92jxN8O44TJM0CkM2rE65gUjgfc8xsp4PdWRqhREiCPB0hpSn+w+uF5GmGK+h58XUUTU+8zudmDSplaE/qVvazPb1bTsEZ/d0wkLYIoqOP5NS42nmzJOUedqKKwMd51fkYOXS+3I0u8D6eSzTk4k2qWAWxZZhR11OuZH4C+uJUrq2sOo/ihFJvFapKJKZYPuvqaWQZgNypC5sGU2uXlL2Ct34jc2GOtP+sIGvTXhgipKGTDgAOeaM17/UALya1NRAIIr6o7MxJF2wgjCg0slgjvJ2qyO+QWeHAjq099jdRymqGPjoY3x29h+BHXt3ycUL47FO3v/y3IFA4pliVhOd5Bb66bJAnkykda1Suj8hGX8585hoXWiFAnzJmjOdawonMPBVNJo3Ccie5pyCtbkZADUtWvlckeozDLFSbuy5JgBGABqTHt7l9O9t4E3p4PSFJHhwE9dMJQIegx2F8IsJhsiu8s3Fc+XLkZiUkpZMaUUmEOTdf2F+3R/5MsKV4mqOqqTl0OVus7dfxon1mNbW81siL3DWUqfrtRWNgLLsTRPxkIZ8auWj7gzHuK2FFE6rO5CLXo4yYawpkqHisWoy3Zq005dfXDv0AfUkxTTsut/cDvMdlOHQTF837DYgyvCQ6K0GT0kaYzAIwsXf6Itr4gDUlTb8Oj+t5siGtFcla9UIyJoLUPGUPGNF0+IJxFF5Q8upnxSgx87OcxWX1635ZwTzeD6HUeUStwrDpsWNOJLB9aRoP8VkjKbJkn62oS5QRD2+8sfoYpXjedT+dAJkl4T8TTI4kLjxpvdTDVElB6JRJIMT5UPwcHXPaBPzB2YaR191NPCNEj6LfWgxcDwVNEMKgvyK0h975wdtPqqdlx2a8PxA9oOTWjfb3sMZThc9OdlpnOXiqMQYQBDDMKA4ijzMZ/VS0tFpZvR+6kr6HcK9rP4Dw54iQHv/kQsCoARGyX7sg7oEhdCnxQvCEorFCa6fDufCleTLyfKDlriLwwO9K5Ie00oHwhUgXQFjgFIysWban3GfQnzk2fySchakHEFx2cvynGv5PUuWlevJKNkstOuK1eSanPbzPOM9EznmXOQhhi3b28M+Mvx89RycfBeFw3tLQydDMAneg/whceHNy/HG5y0FQAGikVkTq+Ef7iQebhU5UxZlq2UJZvF8raVRv3AKrGCCigLsimvD9q7ysjUrtkuWGf/P8Nr9ct5Ut1J7kAYVuwQe75OWrfoRjikmeUm9tp+rCaYoRVl6pWtH8sDdtwxxmUru1oWwt6NbUGDTVgihkRCo3AMqaGV6r9S3HhrySGWJRztlkAgM0nfSEAgaYrEI3q640Af/npZBQ26ZBucdqghdmciZ7jWWworCsARSxPCKF6U7FCECE1zaYhQX+kb8f2i/S68DckNE66JDwQqAh0C8EfsYqyw4gwIj/XD5CWsbkm0U9DMvK2kMpRwA4PFG69VObcfYFiLMyxYdJ6+Iyg7LvoNgr+457X5WHo/yQGJszbNZ3O5S6WU/cV6ia05vTGvpTHADuYr/bOGIQk3zieUIXkvpE38oXBMZLc53NhifWdfb5sQOYiSdjFjp951XvGbwIXDN5VAJBbKo2+y4OGlImYax1s+SDmSGNlh0gfAOOcoL8PbNO88btBeB70rbwY62u2sW/FrR5IvBUAWN4fESIdwkUeIZz4jspwu+7kWZxgQJPH0b0yvJ35grNpeWdUv9y58oJ3UxWAMrMtWtDqBTb8qla/T5EweNUoZGgggLI61dCYtMvSi3lBErVvmhl4PRqTQLvk7qRtFd9CRi79dVyR0zCFzjY18wD9WNST403BeoZBl7JLMPrH3CfIwlFEfbnywt0QQbLyS+oDS4MehhWWcKbiS1Jfer6gsrAOMZNvVzcnSJa3H6pWXREbT4+apmBjIic1l7wj6RxBEnkCHQFgEP+NZQDWrrmNUYtC8MX62AS5wjl4NsEnRccn6L6qVLe3klfCK2QL0CF/6zLceCo/fNhhgSEjPAExZKR1WjID73Wc+D39umIA19mbCCpZ0GkDYYelnzO0my83m63w2dWrjluKTRZbyQ2w939b06hxPsfTfWIhVvz8Ty0pTOROJTIjDP3WToUI+qTE9yWLXUn5UKs0XTZxWMf1B2ewQruYzNhRNLtbG9JRvvIbsBpStdenAWoo83ZJyoLNhx86rlx6Dvg2KfB/qsA/CIeHOIbDM7Gd6j1j+TNHAtM/Lt541kEoMsjTiLAtz9vnWi9NCk1DxBqK8kRfNwF+ReFFNTMb8QoA1UQ5Il0jNk+OyaJWahkVBIuq25jPp9mTp9bkKr3dROaUV4KdAiX8cnvDzqVBx4OwIwOln6co8zFjC6cPuG6/Nb5uo76cpLSOCMR9hwq3M/I1k+7zbPhHfGCOpHvf3jXEB8UJzztQf9QeTU57O/d+2W3CYHak6eZ3NQpcPQ0rl1ZSOl9iKvAwcLSJGw04aknjDpSZ6u4+uxOOVWVbwl/18UxfgpyrXaPv/KRDCHdP9sRaQUHH1ZsCTAeuS3rlfw1WTTD174GJwmahEKNvo8A8+kvNHlfOnj9ILoxxuikdrz/S0fecsAsKenXylpGW7neqX7Qty5kBeYgSTws26t2eOoLl4+IElhMCImIJ00z84YKJDkWKM8GSvjSp5q3gc6cyBCHVp3om6qbmRgm/UHqOhwe0coKkk1qXVV35kqRCg7NWLZp5AUxG4MAV6RhANVlt1KEkPk98unw8duXCJl/rYBi4c5n0Dmu+H1pQausxKQNwC0BeV8Nl84WKc9ltguDxXdf8uLp1KaAoGRRkc/jkQZeAVNa89769JqErMx6MOgU32GkNTF6V/QPRuiXHjbJaHJnLP1agB4CENhZtCZ+6ZDG0heuO2MXIwYYQTKZ1XIbLPNUrs3gQWOEnYR7ElISZA6AQv4q8uUEonyUGPElGZkAnb4LzXU82A3EAG8FfG9iqfW2pd2KXEA5XaPHEFZAt8maFjiG2f4cRPE3qsjJ+WwLBDcPiGp03g6Aw2WttEY3CRC0Uua3JCV0oAX/NN54+czehOSwXqBEM0+P8BeHrUXnZa+t9sj7NMcQzm0iRG421/0/HECivDN7Fob4/HP89OqaApn7nlhfIjNdJz3yYtg38YmNnTVoOvlgJaj5NpOzL+6iAn2jRfc41renY3gE9vLdtpYYkRbmFgTnKZJe7/8fXnG4z9sxY07CHVaIjxSj08yrcRmYPxp3X8HracM0NbSfiitSHaaV11hKU9kGtFPSk5r06H009PeY3K0uWnAaJHfyRj2qi2+krzshOW3SmbuTU3LSkwn8N1gQyZTYxuRJNzrgg6pVIx7x4uLy/LRDepKUwozyUCbqlyU/JzFlLQh5DPtFGVfpcuDPldeXXMMGTqQ0bLQwa+iVcbkPO12pDxfWgTsDRr5FT8QHgDroMaPwZd7PIQvkp3+is/vfA7GpMNJueoIt4vVkZ9ph8gbNbXUBNFgIvETnUpea7NxtBBXEo5hSEi6Ktj0WbdTqWgoQIjplCDY05L/ngGRg+mLrXvuvGxE7T3mO96sCxevRrBwywTVH886mEmI+uS+JgXoZjkF+MkLXxZPbNPPsAP5fIruLrY6P79yqGU6FdpazJkUOKksmsAO5hZS4SSOx9f063SKZb1gU5lLJw4QsH9Dr5dsB8NhKtOU7QfWOzxmlv+WniD8OU0ENiXz4GK5uN3mpIG2dp7SsZpqvYO8UjOp+/GFyLEOi0sntbKps8LeakaQeF+iM6b6KQNC25iCNUF6inEU+onAxLDIOFQjlKBgj7DizvCI1msbRxPvq2RiqVWDvYeZn4oIE5cBU404iW+IXyjXwQEFYl++Ie4jJMys5MpZ/7AaZxR3t41TUzzsjwtTvtd9Sa7xRuVP3FsrwRSVZc8sXkjspWxsBfOC3c5yFf/1j4swWRfQkZJPPC1AjjGTtUKUb85p+2seP9nFC+xX4IlOAMvaBqSEO3OaMA5j9G90LYAPJUH5R9MVZWkQW1k7lR1MQIVb+ZMD3WOZI75lyJx0PNC61aUpiXPEvcrxs848J77DMx8uWjyRET/zLlYMXE+1OLPfx3/+8PSoIDIbHkj0T2UkCjq2d5fbhtuM9x7FtiF086xQeIG1RFeMbQSktvqxujE5sTF1WbkM02Pmq9QZEY9fKiFtJeJgoQeLnZhHGES4FoQfSnuZ27W6KaSLI1zbHUp3Sq9vay81tG53Zh3H0iLiqaDc7yPlXURWg5IMSIvHr3aOJG68cJUKY3xSD0WeaBMtnyVUXNS55CrN2WqmwmCxYcGOyjNsWYfegCG22nHIH5ZQ1WYOFZ9kW1ZMgIxDTZTUozf0zJDwjeedN+cXTOyimfigV51iCjN5njMpfzza8KjTRpTXrA6VY344oFtm0OC9BMThoGatOwRNoNsoRHo48co/3CS4brwmlh+1cbahRF/QOQlC5EG2QR+vFbRN4LZoxW3q5/YnzJz9tbZMEAPcKP0NBcxVGAMx1zEs+2ewP4mJUPIG4yywR3/qFy5W4kidiMPpoAKaRV4bfJQoMlx4sRPuep7D0AGBZk2WdvwKOnt8dvYWhldNB86UTno0jNCYM5llktaQ1Nq9+MD6+A1FtQLE580cVn8xajbf2Ymatsl/LgTQJR0HORnUshRhOEzzaix89wLijuO4yILj9d1yWVNNCYtWlhD1mcf+kiosGxJoitVY54l4/iGUCH5TAAxz8bTeQy1cW8SyV6YdurXMtpCmXlXFE/RA2lCawmlW3o4ocdLkZfphrNUVDAeiVpm/CQo9mTONleT1I2xoaXdt+FJlV45fKP/DY3u+jdq9TANo3ECMFyG58SWnGBeVUcLa5VJQmAPjb6P0cHTIw7tdr6AM5DpFFLx6S0Js31YJ6IjHDtHD5Ix+ajYK6MfBhhqJWXVKYdOsg7dCaWdmSOhh5FYHARi16z43BmaknYq61HgruF760ISAGl0RGK2nd2Og7Se7SnE2Q/bRGbDmsBkWKayZYXq3FmUb2j6SaHBOXyGrThNYsf7bZwrbsyk4JiDsUkdpKhM0x1UTjOow58yd1HPauxvlMr6En/gaTY7j2N21m+JeLCXavXF1zLSmTUftCaMSg3IZ1+pZeGSTVvvvm/uQa1rxO9IgcLO9U6De2Y/MOYXem//ypEOIcFJ4xQd+lAIX2BfT0fx7S+Rq3f8XBUzMqeHv13aH3qxKHpV71Ap5o92oUiHeNeqdaH4wETcvpjELP7qn527Zi+pUIy8c5b7imlm5KTu2zxQ9AvQvFHjm30f92gyFyfaTdDMvmI0H2syJnQKJcF8otjM7BhKmd7YYXgVmX/QXMmyQj553RAIMK0eRNqeKG7FxPe9BOewB2AvlbKjBs1kxxX8wXlKl0fz7V/PPyh9c37qn5EFkGosms1fP8TQP3nIbBSyF+9UGFWev++m0CQeoFA+TWZ44UBd4x+LIRuk1NiL9Y3DunXrT5Tlm9/bup00+ZiocoosaEWH8xnTL1W4xhJQHHanMb8GwL7EnhfKbkypX+dweuVzLYEhe1C4k6/yMjl4d/nEBD765dzxe3XvCVL1L7kkVdO3jKgTHJe420wSbO8VD19Jsc1TFrbW+D2mG6+AT6pxzOarnshs9FzSJ9YSD0xZJ9p217P0opRF1QAiHHlfPrbfTNtSzE5CAtoY9npvPbRNNp9pwioPZ3APgETBt/wYQQqLLHkymFub7JF2kYhnJOcNAGKKVlHc11ELyxOmNoAEMxsQakiBBT1+Ssi9ian5e96G+2jcYsSkkYgpq40zVpzlaR5fU/QmtHRKfD6Tpk0xUgmmI3FPfizYSNoz70VgrKJqmwqBe/NFpqfFKNkU4BFVDZ9Yj7sncJ7CObZuLx6qjUhlNj7A/jJ4svCVSK2YtvPHyagQ1M2EkLhs0Iv6Vmch2+lYMpx3oPzXcSV7RZuGsST9cQPwPnPUBVQa5125h80b66TWj24relPzkDMVIE0Tp6zBxczwH2Zs9zIc07e/vxJHaQr2brFmGoueI0PmCvLuT5/YvsMfpGE/Iavz8EwRXHpBsF+DXOX1xEtgjIBckQMRPgJ4SZ87kMzkMET1IVpdX+7hUl62rh13Y4YEno5WrFb5+3OKR+Bh+nZbXR3g6JhKVxjqScF0nwTJ3xXyXgMWT7yRkEgeA+48/zWZmJDNZRNJfUdWHW0Zj9PsHL+rA4xlySixMY1A5O2h5DWBvfI+ponZv4v4eS91XqhNkouTQQblogq6kfVIjek8q5b7JBssB+WvQ7Mp9KrM1U9CVwNHNLvonX8/ekwOqVUkcwEu2ovwwShC7I+nkV9Zo879fnaEttdHQ1GVOObR4/IHydk1LJH3V1Jx1uU3SeVgiJBOFFeTeZd5AClhikLXJUN0nD7zQGvRcilFhYUrI86RGFx7Z/isQzM72gHnrkwBjBNIWe+5NJUkHVfXzg7QN9+YehRV04vvD8aAptv+nhZddsn1L77wj4ZSPgwlkIzutbL3TQ8uFEPCK9IYicWTg99lyZHtnV0fOTHDLNHi799IKtKwCBhPeROcCxEZ5scUXJDwcKBAxIZdMT2gG3sX3lfutRyX/Vjww7ppt8y5vu+aZ4NsgwzV49B9rWW1kr223Cp9D4z6nxCr0TjhespOvZ6wuKdUXja1eWmsZxlgfrAiFcY6sXciB7RCuFw8fNLsziVmA+jU4gAHbOzlUqbm/dJmQ5YuzL/1KWrIgw4ed1doj8wqr61+0WkdQJ69QVmRMC2MYPFc4M+/eZOB5uD58M2IsU5JI/UEHagG+P9y81zbMAj2NELnql34UQYOCUv8N3tnacDKIlm0A9thnvypl5ol4HbyqhHx2j7TVxNUHGPOy/I8Iqdaon/cDn2zbfUrnnBKL0Ec7uGoGRKObx8HSZ+xzmXFPtiWxZyFsvOOPcuBRHwrLe2dJsbYIyO1L5Q4umJM3QO1bMjZ15Yj1igWXXtuHcMsU2flXY1qPgGt6ukv7GqTlAHnUjARDfqHzqJ/hYkRY+ipMBNUuveCzqJM3H/AGlk5ZGqYlZdwIGG+2Ja94u3mQpguUyYJBigco1b5jQCj3GsYs4SCrWuoLFTKw+pH94xqc4W2ek15WUmtj5IncC9KhejUGJ+YqBQpWpMYdAR65PkHWPOaCp7st+66k3huldiazIoNu+C2SdTA/aBntZ71dl3ftiQ9c44Eel8pyIVKTHqNSGTpdQEmKuCL0aTgJIgDgFeAKpRNZgxf4pl3THbh497tCJphacWGZyt0UHFQolK3szfpUW5uw/ZgVv2kKO7d4AXHC8sKGxDYtREH8pkRzaUEdxr0v2RMMGEU3pBM6XYL1mFMSDXxfDYC6TU41aY/tjwLZrYRGytCl3LJRdpHiMHEFHik3LKVOS20ytRHN/9r7gQkuMudp+vmp5j01taKb0Jz4Cs7XGm7mn6RRe7L/ER1bQ2aRs9RNtTRhSCXpZLqYc1pzW/nwbUTYQ2ngLhYEqvkEMODqBZywGzUK+ORq7/EmGuKFHTpqzfpKtYdoL7+mnnFIq2eIxDSVQmJI6SJ5EstH9hCC4GyAxqdDnZ3S3e9AybGZkiCLJjaLdlRl5w9MTT20DB283RjC5is0kA/GQO5VE8nGgNjdjzMwz2MMnQ2oU130FwEbSaJgUWrjZFFEKiIHM+J258B3dsVyA39OEccfGDJTSYNL8fdpUOQU6ilgmC4lSWjrSfRTcgqEd7Lw4wnOpVG3f2rRCJy70Iznq1a5nU3Ja6uk+gkCwAr32K+ZuCJjIy/d5wLSkjPoObnpg6UWaFVbJ61NGNrWxTjJsV5u1R0KIKolaU0hlQMjL56ym098z+MdX/FjPX7yMToP+qV9o/JafS8O8HahIBtUZ0HdiFaVG9ia/0EeZdWZHET67Hlz2P6RBgwljcA1TdnRIJ1TDXg3I7di48qJ/8ys0L17IiWmiyp51uIF3fyQNTQMhOH4g1DR2B57MGzV/nlTTxc6p+FZ4IHiknyYsoZVnfNlV1cjKONLn7KxmGK3NyfbBZrOGqkKXxHiGOUFsG1kt/fHis48UXFy3uykBGQyIRk+4ko4BY0CcI5y9ZMbAw6w1CEcR28P1b7Zb8UXB6aph3KKbRpZbghR2M3b2r6PnJoSH5IbLENgbbgaUUb+RYAxE9vYvkUy1iqlcoRm26Qo5czCI/x5HXNJKzu/06GzUGjXFMn0t3GCiM/ymnCDT9QiHowswa8XW9Ei+KIXRiL+/hN+ZzFWX3paqsFFuqxZHjaWTQvMN9Mb/LO+GE9N3fvQAgZHj4YaqzBLBontBV3wC+aFf3Ke02eLGpf85VdGq5zRQoo5wXMgZCudMMaMi6lKKroX+sozZhkEioEm9/A+zIcLqfXCslfB2ZltSOLjYwJnSZg4Z8B/iRGvd/c1N0aczvnwmurMVmO642md8j4iPouZKcyOixeZFOHlS5ZMucTBMO6ycSTcjFf87JJKTwUbUkAZVqBFvUb9mGms1IGvSK+r13dFeJpaUzVuIpxWE5olMSSGAm0Xa40BXQEfl5vXlkKtGGMi2p5fvicp0en/y0UGp/RDwV9dtJaZk/2rgpM7JXLgx8cs30YyVSfvdbbOrNeH59Cx0G3K0FqnkBQxC0t4jp2KPo32iwowT1pdSxVQRFEC01r6gggn4wZBjvNz4r3GwFmceobyf5/FkBx5ualzVCMfbKwzWP8GFR4qEjbUzI+bN3dIfplmdpuKZUOpdhPRVsarAvzLE6/AtZ+T08zuHvy2mNZjvZCydYMJkTAm4BN+vHSAeG25oAgVCDoYqhIbD2yaUVZ/T9RBr+/MoZTJUllFgr++21ibKBEzA7CbT4wyc6XVshuHYnqBmQev01CmmlpCC/kA2vbhpOPK+uROpMuQ2GZUM6pb+QnjoK1//XvMCJ8ttTUJk73NbXq52B3UrdXbKmJMPnN+i6F5glTtgirz3iHaPwJ4Uy0rk+8JwanCaBKhCYhvZRI6tk+yOalbNSMRrgKVepKNc3ZvlenQRlKXbZL73Kqe++p8wy/5aXk8nArpYdtWWcGz9/8K7nVbEb8WwWXeuuMlwh0DYY3sXdSXmHxX6QlHSLr43Nixdv+Qp3qqQiLsBijW4NCO6WjXKomsSy2zxxYQP0o6oeKYhamKe4s6l+oxIDYydGSLvtTFgD1UyUZuXuliQcgWdysVXyZ7KqOTKlRzVgIMbtWOA86W3WmAgJIHfS52CYsITLykXiTrX4ZN4kbGC2d8RQ/WiNAGBIXgZx0g0R3cdp4kPwZyKuk6IUeiNjTb4OqPDUnR0JhV+ISHC68wGf8ZHj7V5S5X9aGOitont3XxV/nh8iLFi37p3LLIVSYNTbBtND1CPnMD/YnumXGnWOqvtKtDxxXe6MYJ8vD1Mbs9uC41PtPEtpag4gA4IhY9DkcwMw+g6kZZ4bH4ezbHka9IBMF8ST0WZSgB6Rokf4G7OiuNjJ92KqRqpe+VB0WDKvUSyosPg5ltwEB/2h6H4IiIPhlMIpfjXth+CB0l0RADo7yi7RtFmX42zV6yS2AJliNH+kwv62JQemhvJFUpsfaP5vbJ7SWPDVoby+e24Jc7icnW86NRvsnZnrPgd1ne4mkQ/cEl9HdMb4xf+6RT38Bse/2MUaXUfTUb5mA0SuQ/pJZM4t8X/e0v1oxReTdGL/3YHeYC1UNec53+nWeWhd/NLAL2LaiMCMkBkgEU1ZFbuUbdlWf70rSYCeK/zdkZ0du5B7JWcAs89ptGkMV7i0Q2/ErujzAa+EVwRUnrrRk9UpdGKizAVmIVK6s8yqkMp0kI0lw2FKZNvhSWJKuFCv9UJm/9EojAJHkNloghYKVyaTS8Jt0HHu/qGfuckgya2OnvjScSWXY7cgwPGCLvsHU+YYu3fYE4NhYJSNnTwNj0vCiiBJ7Aq8BuZqfsMLt/jQqo6k9FgMI7AxbVjl0FtL/kYOBpimOKFCZcTCBcSvlJxXwngPMGpalhRHq6Ohb9nFEfYhNT/59SbAWQM+n2gEnxg0c/FZkzqdABMbOQzdvtTXHU709s780+YCQjciEONspn33FEL7pOCD0hyasfI4X5aVs+JCxfqLKUS9gBM556WSOT+XNC47mJhIaILcUyZiOmhU6Mubo7yZiWI3G3f5nLxBvRH8MOiCS+2Im3NYvZMQ38tzXCIFWUEP80mr0R5HjiIZ9SfcPOHZuxySXSp5oZmonERVBFV5vDEXRUPeNrIla/i/ddlFap7ZHq18VldQasD6QycrZSLRPpO9DXfUhVIZT4wZCXRp/QUFWTslOrDWo9kTr1g33IkKjQV8J8gh8bb5MfCl1chNca/blM82y/3YK3RRj/TLbkuZD7Xx/rw2UuwMPIsDANYVtfUJSAzC7TxMOJ1diuSUhldKVSF8ugpGuy3bzGKHFq4FmICZt0syl8ruwADnlbp56Rxh88hxB4pk4OKwQ5W+nwFaUObFtsj+izQph+Paknva/f+l8CTQHZTwQmwMj6WSPafoE2aKitL8i7or8iNqkDp3bnbMsRVEzU8ESndwEvmYMBU8ROM18QWDDNmYRqhU4DN+/V6tKHAHEP1DyuQB+6Bud5qmM/YB9deZhxSYhpWj4e28AJRCQjhUrJsvJH/XR8O5BYg1stVPTZkwo8MADa6N5fzrPdDT8Z7WxZgtmxG+EfBhgfaI5klebmqJgNvMi3m2loRmR5soUQNi6hLpxTgeRvG+3nQGM5nnzPiw3tcYlb9VoWEta/7q+ofKvy6Bf6aq1Kay/OngFQNDkrZ0U4Z5508dtw6mYZHOus/RZzLux6TOtBkEYAChhf5ZAJgePvGhKJhOyq4tSva3UMDe1+HSZkDNvaHLfAvFmdGOOMjEFps3AxywD8eZXvV8ZbjcJjw28ApZhXStqeER6fGWNRoUZK5NE309BAw8CexaC7R2X4ewIWgjIKw8ek2LRf/nYjth7W/CPkMOKk8m7uwaNUBnVAB2sUObgMExeJSFc4nvSNEvtTy4u+cDoar986DCWzWX7Ti7k1xFdAOwZqkpRBzyR7eG+Mf6VzUJ1EawxntUe03iB+U8DeiE5d6rJrqcgAzLFT8u9TxOn072kSD1veHB0jqpg+c0rHptvKG9B+C9ADAppqEXt+Kdofvky4AyyWTQu7QOz/WIsfbx408wzJeCor+1q0YZ8jEkBMSp38qC27gFx+cRlBJ74WFlWvSZgdLbkler0aAxP2KRlHacsN20ie3UkyXKnhv4joSILdNaIruU23YxdtGIfnVaj2/eJGhe7+Xu9m3Bh9aeki/hPE5Fs/FGPUjSAXNiIkWmhl5b6LNX6pz81xuvluT6rZtArY0p2dOtxYe+w8QHTZCxqg2t2TqG+8qFKBx+nlajLc1F6WibAE2VDwOAFwgAXIklyN0lxgVfXi8ukkNhB/BBOJVXQuzQizUQH1mejF0PqOMwWwbiRsnEJ6Y5TPXBLt5PnI9IXBPoQiOuDBduC+zlXH/8D0bUl/z6+M549IF7DWKYzwCtZAepaKuR9UFPCb1bKySX0fUkkdKqIQka8swC7hi7P7h5voyK1Fp0r0o+WQmMX1ZgMTlGUQY/wruuwz5c8g4SVjt6MkP508nuktOHFgQ1qkXycnf/77MaxGIerixP3FrBFmlFaYccsC658sI2L+HMuoXgF/Qn4YKPkV78Upo5jtMphy5cy5Wsjb89y1S4ogbCpDpoQ/iM77rxRSdnYtWZGwD3NU2UabyeFILXobeMIPp0jpAn4ot4twqXfSOGhHzyboR7RTbc8FhyuLXyFWCiCbVW5E8afA/kiMweCPRemrv6rmXJigxkGThrrJRBTnkSwB07eaEcNLexPqMIl6LfKySWu8xM8coK9Q8bBNrs+TpuGNJCoMCidqw8psOY3FPPvb0fEo+18a9LgqjP1h++UhxtzRlcQiaslg6Cu+LhdUHuRbH3Fx/ApxUJmuwD8ykXm47afpXjhOjeiD+nKp9LOLgBqPfJN5gFObWNoXniYApn39aBU/G//Dc3NtCL7JqDYKnbOqtnn5WGE8TME418+eh81eSs0hEmzdogRkKUaE2Hn8+kptBqKsTbY2O0JFqvvSMg4k13hb0H48L1zRQsmMAhyLKpvC80LdIZbQtwXU2fL2KmrTsYt+79paIltBGXSuOqeQGlq+JSFbyGg18uqc0FXJxALsOY9ID7uUIIWNkKXzzCGJmsCoLBdiD7O870PglIUY1k768XNtk1MaYPj8CBDfyh5lAYMVrDFiB15pd6icropqjsixZxHLnOMLWjTvRzsoKqZn+KyBc3dp9So3CcWHkonsLfcyEtelE6unJwBCQiIjhoQMCQL3iTEy8psoWKrepo1VcTB3lpknNzpxjPHWDEsrb0B/EE8w7IjIArSfLrc8YZQh+hMmjjBzd66DCfFTxLfvvH5LuPR2kPrCxyyD4AtemIYzCQBJuJGhzB5NnrbzoEfKgMgQ4xt33WW/TwcbmrK4ZEbyDutNM7pDW8/YstpN6BY97cKwaQWflp1Vl77/Z2hWR7Rc4t+Xn/JfTM8v1KBYj42yvmZsceFzoRZhi2TvY6pGRA6gfph7Xvl7blY3hDtJ8EafEFtZFwpWmb0XUGlTrak94s0HAs7/eMZSozvtohxbjD014FSTOUKTarLHLTkXv9SfMj9yCYwBYAhokdUzuaxZ9TloHf0MItHJO7h/Ocv42Ix7Dyf/KzE2YrZawN8D/lUyn9U/6J+Cshe8S46YXPwHxhrOy64B0o2+E5O+DcM0CExbL5pOCc4ZSO1iCbkq4/UB7We7ayJwqu0iPxBC7BK3nj8icjVhVgTLMqGX1XqTK4DcZY2kdA3HyWPTYNREwHR8cG5CrBkzdBikAJTolWypcrhkiyDtPUvyOsgdPqYUGHM7eNGtCT/313kgJ4FanRq8DDSX2WB/iPHabwmZTMzqmB/e3byCzBtChNyis2VwqiMK7WyVoayg1sHYRwhy/91YhtxY4xaQD6f0zgaCMVJeAQmRKDUBjev/1MGUcxt83rDc7g5CcGZCNWNZx3Z+Ju1Z3jExmBk78TkwfnA1GHgnH0ms1HG0XL9ajYDKyINFfQyQseQ8+ub5u9aKnKRxXUrDcxRh8Ndn+zwEfauao9tlvHRKQwZS+gwiKIIHOJTLtZxgEOEBlEPe/J3YOiA8wyC+ZqwT/iq06/cwkLQ+NMGtGXd/YkPDbJdl4n1RBas+xq8yeRZzDfbxRsdV+3UiXwW/YVzbImWRT069x/+hEmAqxl+Kx9towMvVrBiauP1rp51OXfYd+ypnhSX8G4rf1a5t3lBnElVaVX5cFI7EKsRq8bDP59WxAlQSX52ArANs4hIaIw88uYQLtdtwnP3ryCdOfzr01Wb25zNvYXpnxOKAhulHua7Hi7H7v0plyhxfsSkF9e32sO9w8Z1Q8FtYcRWWfJke6Qd5ywl3BgUBopDce8or09FvtL0X96eKjYBCTuDx0BUZZLsDgtV/pE43Km1ThlEiqT3S+8YWGNqO2OpwdTJKPZsVSSZkQAxE8qVBEdgQGk0KasjZB3gqjCoAY52TtHGH5T7VtcmugU0+gWbAIlmSJyuIq+i/Mli0MoJ9tEDYhCUI8HKwn0Ti4fzKI2vWng0tlzNIti295Mv3uFfB2e7gCwuSIztT6ezLvKotvIzFNa2Q7AaQ+j139MbCg78U7cRDARHyHZaxUaEc5dc074t1tsJ9dBFtyvAM1FZS5I7BAVb1jecF5h7lrKeUU9LKEhAnp6k9+VGHcIlg+Gw8np1MmoigX+DQ6RGm5WeET6etqUV5cHwef/bgnXqc2cahjicbS+YQ8cRZCGQYMxvmgsFbO7j4Xyeu6A1KIDUdGo9FSwTDdDz2VGHtVB4UlOQGWMjF+aJ9NCzlNBY04/zXOfhqkxaNvrxfZgqGkuPJgL/lzUbjBipnT023jlN+6W5J6tcFqVAHSlWrdOr1apJLvMq3FpNP+ejatRtXeiazpAz5BKocuKtYt/3eWT4q25iK0VjQdDMW8YlQeoKlDuyQevCdOUob1RsGtVVQ8cPi49BDayWMNM7nyfzoM2nzjCR3GLO1xs8R/i0E0yY8i7qbSCbhAE/PHhTXhF2imY4OqIkmt5feqLt/SRwN8VaPfxg4vHSIXjByryKWUj1nz/DAWDJn7I/cB8SSjz2mHZFcrvs8kwHj7/u1lBNOKvyM85cGCi/x8KpcikmRFg/2+8t+3MxV7AU9eijPxSwVh0ffkW0kzVrhPd50wgfr1OKSKT0k5mx+IgfXG0Q1n4ZehI5pDhS+H9VbeNq8k6NHTBOBHvcJ/VmwhJrsqT5b8PjlLDKSvhd2K+oneWATIbqUsweWLCje1FUhD77C0oWh2swZMA3cGt4+gu0GsyRmvqsIukf0BY2j9LBTHR+2f1q6HFKUCPUQJfZ2Ell1CXG09s+paMin1k5sqIQgtlfbnXtQlMj/7SVSVFHud0M07uPWDuZ5HBe7Q4YzPD/gESMUWC0ooib33veqsf+qc5xgejGKfZP1/A4YHhsHZ8E5dKDlkQUxKSH57Q298fNQdnpoRasvcJ0zdYhM4EcJvaVVG0TFjLomxSonoapSt+zDpHlau4IpLiP8DtEoVnjR0EjpR+YchVbaXnROohBZHFZW3pz0/KPYm4AUKqsSiHOKcFF7aKb8V+2CWm+wW95wbId9ivyn2h7hHN8H4cvDPBtYJdPcARr6OIh7zet+fBf7nKdQs/vVEVdGFROBq3lK2+We1hDXXjzH292pHK5cFj2d+dLjZMTBVoaNlwFOClmh5MhhrMseQ60bxkD9ezHr062V0Oqw0VzJ+RyfUg4HrW2ueasiWE8Swwy4vdHhrOsDbrzAwioxJnsTeofZbSlndsAQowFYSHxm4/uHN0U6x56BfeIftyIpONu9C1lFcF69HJOIuzbNmagmcnh+UBSPKOjOhX6mQkDIr770/Wv5Q5rBMPv8II5I5S+7rt60YyXl+Xi/m7Fq1Yj3etDvVg4jaDePMlLsSeA9AbeJ7cuVj+OxS7XMVbNQSN3rn3iA0+TCDtirNCv885c+OhP0dO4u7ifjKSLbflakCJBhhHBc7Mqw+Gok2wzFghstN9lY8buGkTgW5UOvcDwEDrPzsWj3IMbKpsDLLu2y2jSel7tU7fjByJimGmeO6qM8CWZptMhT4gbK4ueId58+vcN4tGKGTBq9GpVoYb1aQozubWHABdSLnS0kYx7o17AfJMvcGz0LEXcrYpuIhhv0dxIc71o7BMbjt75koxO6SSiKiT/hWkg/PsNK6lJkgc8VBywZCMoZwe1+HCRDVO1THCkATzVXHwuu8XqkaFr7xSnbd/FJU5z6SKbiu2D1ezT+t9qE5njvw0AdefQudwDAwFCb1e4a1mHgBhyt1cnrDPw2m9zGb0NKsMC8x45F6Bo5WEFlmJFDYt7UDY5x/GsRLG6RVIi3YPi4zcQrqvUH89TxD5Lk0N6G+g83siSgwL2N5JjpGylMKITtjIlPXPzRgpdBBid2KPr2N9VwdbxolPK4FMNGeqNIgnLVYwbJZZTe3xhMKwhCvvzarA3K8Ow/QYXTBkcc8LiafiYsLQkbpiKOvumoCyei1LN0LcptsQDIVVfM2Wyd+QmPbXegHyGIzD+jMyky2fgJjDD0Yk1zkMZHL1hsoZxcZoCzXA4mR1WYFmYCiQ4TarPUkIojeVphcHOU2OY5wzGiVyxae943AymG9OLmpGe1j8OH+x+oUpzigaMyA/1JdgMSb4Xv8Pl6eze+ioYlygu6Lon8ZMWu28ByZ451ydYUB7RKQnYBWz9ixO9rFfOl4JARSf7RMLfN/JDR50E/IcGTtrIz0poMFEUulDfoRcaLf+ECcDhZKi7GJdHTFqwcMxciTWLBu+J1yLCeF9/PpKxzOM/BXM5sEVwruFTQQtoOZCvsTkmwsEvmQRnERSB9BAWg78Scbkpn4zb1jY9NCF3fACACOYTn54j6NpPD4bl+VzHUL+jAUknjF51FrAATVDkjlp4dU2o6Bf98SpLr5tiBnyGZMsGgQP2MMEYgg1PZkk8Mvtwk0SgIvZuinzdKeQq74y/HqDtooh4p2CY8+Rz5Us1j4hdGwUDVq0jnQooW8qw/lYuYzwgo1MfY8P7ibzhayIfFwouqdfknWUlEeEuX/z7RJqCp7LcVFiJzDBpVyV1MyJPVXSY5CSULGg7p4nvrIWW6lOp1DuQwSPioRCzE88d6gsxFuqyQY6vRigPHzZzKAf9fW115w1AdijNatB1RfzbZhXGGfFNpAP7OugQlYprjOHWUB+HLlZDGtz1PRbNwrlqeGLZk10gnA1fPdWkV9sC5Ro4DDDzMe5Py87mmX99KESbrkqYV1oApKyJbUQYU0yM+u7bY2KJFqvGkQ3PRvbNHzK5fnyWzGO26Qpr3BZRHFt8Jc0jfwJtiHuxW94hJZctmlP/jlkIyjiHjvrgh4uiGcxnxKM9VoQ5Ca56bPT7VM62+3YsUV8sgd6ZC2AaGjHka7h2behu0TveDkjNQdY867LlfPciHC2lWIYnI3cvlDuGwEmOe0eHQht8HcYOjSRZkJW5iVNZJq17WorbK0JAGeWLs4DZQFM+gWSflhpjWEq8YqHrCNU43VYGQhY2cMRBdSJz5A3j0w7KbYkCVrmryeoW6O4RUGvXHjxHfNlrRWc9rGPF3nWutehcihH1qg071uDLUCFSt/IThCHbgL64kY9iNxuFkK47Qq5fROI6PMs+AHNAF6Ts2BcE+VJETF4ZLunpBiW31YdLLV6+PnjICBYsnlLygBeHhbeqwQjbad1g29oqgVL4WL87L2phocTqnffuNqQV8fr8gUtYePYPiM5vE1uvNoYfjqO5DnJBtDE3z0ioOlrN2hrVvNUuv1n0lENrckDId2IwZoMMb+LE80sA1bDTgkqnvkztGTaS2QwLM+zw7T96HcPVrFJxEZhAGjh05jZtfNGNl1pzl6oTjMhNjznwQ2RIwI4NbW9UIgyq9xkyYh/dQusrLWNqJSH3kGGSHjI1BSlgNyihReimlLA95UfS3cDZuV9OBCY2Uu2jRTVynsvuahb8sYDr3QgSG5pyBhazVop3GyV6UJXHnoRs64B73ck/4GAd/BAl6BCu7CaB3RCVztai4S3FnGwCFSNJVxV3jSlFlKG+WK30dHdcFXu66HbColg4zHyIQGV19SaSMyIEq7WyXpGATYU5jh/NTuNZg09dDs8T6KgLuUgZhCZ3I7VZ1k1D646FnjM6g1wuDxC3Erv28ck7YXyaWBTGHls1/7Fw35ZiqkEgkRMjnnQ+LL59srHZAbWiG1KfH565Akyh5xVGEoQrqsMPqOqNJg6kaPs+WdOYv7hSyQfTYAfZbCLdsl7QtY+aYa13pmf1XUOhNJhN39aA/l8qV1gtRQuY0ERiV92tg2+uWuS5v/m19oobEj5UvvkRTNXnIjai7JFhrjo2CmAWwi0C1GLuBbf3gFBNELcSA29ew5Ux4yt7f2yAUkB2pQc0a/vP4iPDVIJeE8/BjqBRfbHJ0DrdJbbRTJj/NN3YWfVRNOqrk1PkrIhtgc5jlBOCQLcFiyeEngNRrAgBd2xaEG2xDsj1qx0OqR8lL0+7cZTMDFpaoh2k/+mJH8K96gbIXmW4/8t4Wrx72uTYb1/lrm4I2hMdEHTfuTnMvlKuIbqVXzMT6xPemI+p2atMRxHeUkq3xGI4h6OhQcpFws8j6ymGDF7zqARrEKxObSXVpZeYeWkNgrHiodYpIU+gs6bOcaD92dFv2+BDxua+4h0caUtcAHTOtX85Fyvo5z1UdBLGAgUp0xvrQkyoYF1jIQXxwONzluyXp3EaEsHmlf+jVNMqZR1z0P+r42nil7Ez7yioj7fYweue3kn0zbRQj5MFrdSnIJ4YZFbLdmqFs1NNUJyVuuWhfPMwezX5jd98zkic/TfxF0ASqKdH6q/5au6hqwsI23JLwv8iQUPDBKjAnTTpcDyavq5H6bk4U9rukbE1hGODsAG6JtBR6vkHH+jI9bc6narsXFEoMs1Yc9EK7P5WLu6YxzILC7k05esbIDIEcf1DCO8iEeeblK8PFVDj6jUbomaFPJoGLQ/o29MhffSOEEH2k0XAIb6Siyzq5nFJ1WR1ZV51Zeufh+oQilBsGxWaXtXo+19LBVSiGm2Uyxs/5UvEsdgdnHHdeh2nYGoTLR+BlTmNNYTrtK8eHVaE7WtbOCxyt+4EK4YV/YLrrh79Q2KoxTTXPaLjC+DVmggNcEc/gvI9EY4DjAaK+WpOy3vQXdQCgFJ86+/NvpPZLvUhbFbjzk2GshkU0/2mpC5MAo1NFjNjbhpB1QRKEEKDVsH4+MbR2sqD9MmWuswm2RZBnLiGYyLQbLmkFHe48ssfqzIUdA3RC9XoewACFt8vwQxkI0Xd5/+N29BGfDNFhFWb5crVYj1XELxgridddq/e4xXHhTv26QXQkOtFlhFW+/UFDJtPiEt2msJYMTWxyB6nQhSjHWfipEeWKZg/maiDQE18aet5d/U/QFeK0fvFIa1JvqsszhmKGvnEvn+KGf9DuwZdrPuoUk89ymQ77Wb6NGzVUkC5PzrbKiQjptdI8LvmQNYb7P+GRzaKe1z5DYS0WZTYYIH0S6kwg9uqjqnI1+0F+ZDuuGGSVZL2IFCh9L1mu2MMXvwiDZQCYsHrXYldc3paXKnPxPuAsdmkqGeXXs+qNUHFh5vcPoF+OeXDG7XPpL/fSSiiKHTmyNJCB/yLtwIeWZ5w1uXyIkLjXCdONFzEqq32mC/YjtoVcpzMH1/t8xHFOOiGzVEHer1uMaf/DOpFXLZR0DfP69RsUo3Z9nFXx7lZlcUZkDgJ36UmBTECfrxaXH2xEFv08kgCENH6liHxxmh05n5s3x5FjISqjj9M1OSgRDJo3buLg9RVn1k100kw1l2Y7OqV7HiWtVlQzadvOvkHjYXzy1Z/oGmR5lEYNUzs/gxvjEgCZDldPfcj8+2Xb1aczkhysq/A/uou/DAJeAdXNG/Jh14yzR4mtK1fkpum98khKro2YhTz1QEsEKOzTxS9cChGHePfqbpWMMHvC1ShzR4QlHYZFvB2dNf4zWHQlVIMcZ2HcHCRDIxl4K9vKLfwrbinhiASqmvaGMnboNOrE522lTSiYzE4bQ8sS+9FIhiAElb/r2g/jGT8VU4md1xlV8Hak1FDFkxuAt3wZkS6VIqGKBhfK7mfD/2ieW9P1Lp4M4dKxT/Q3it4TkaEdNUgyLrQPQYhNOZC8HghoJvyRnAP/Co4Ik9lG3RY9Jl5QF9hFqygzxBZahQC8zIZuLD8pbr/bS4Ax0m7tiC+aRN/IbM1uzSWuU1Dcq3LBN8aHpLMqpOpKWobbEdq/K1xVMOrMDVF/Oq1+agcU+StU3ulWntkLFqydHQhcot3eAx21Tixt3jVCremm0Yl8/scTkwjtZ0VWUCeTNWf8Bgjb/m1gwQXR76EKL5kvFyb/Z2+njxLNS3omqY6fIkdyIUxQYn+XAXzkd8znSCRj6ZbPgbp3hdozHjQf/e/P4Y2CnpJplhgjCijA33BjUwXG/XeewDnaPL7HjG09faUnMHPqgF+ffYh++ybCE3ua4PQiHUUIoPgisAukcw8/eKzQNWnRykrt1SavSHrxbKKrMoLsSPALrbo2W9jTXcMppvLsI4PndK+mc5ly058s2wLxhWxJTehfzq3eOqQy/zScVqH/rrU5kSEIaWTXvYYdZ476CnVKGgucT4XViKeWGCCbMSO/j0SkcjoCRZthBmK4HDSQrnMD+K09JxWrtvmt8eghKLrlSqE36GYgzcjci+r3yKIdEEpuv1V23cP4mN4nLuyYdTi3h2ouQJMfWG+G3JzG6M+t6vTn6u4j6F4teuukjBHi3pI+cpfME1Q1tMcrG1bf/XP5aAQVVJygLVUApE/mUAMYcd21Q8QHPrMbr+nfsDu8vYo8DxW81PmIcrOXqvnUYY450dVn5/T/cIRpljXbOVNbI2JiA6KZp/MM9E/bzYMem3ScOhikdNhPyqwNxatvF48Gcdvc2JKq40oXlF6+8IkW95sCzw+p9plvRC0jt3MNRvlphx0EK1zfWGRZySF0gvxeYld9AKZvO68bQQQ9t1ySOOZR9wSmxcWbYIzijW93Jx2TRjhoHNaL04JDMM8k41EEm3+arBBKLhrjOENESkbn7bLUE+f4hq6EdxQ1SZgezMJ+yRLNQ3xThd6NWw9E8JxtpRGAvIY0jef4ost1SS0CKVkjJa3DXSmaTGPZxF2LsDEeque90JibJ63vIuBTvtes7EyE1gFEBNLZY/E9f8x3DrG8Tk5rmy4IwP0oGoPhryw2vUmhURlp3mxCK1jy+dxmRVlwcURVzR8J/2Pr/9HmOLKbNE/Tbn2lVELJSNGUiTzbfSHxlw4VaPJDWHxex8v43hdcH7zIHT1jgPZ3g51WyBLOt0/hNgOYNQarxZJAzGFo8AJDNaN3+rDB2P+K6eYN6LafvyFn+LF+P7GwOWmjM91giLzRd2EYXPRbQM5bk99hf+1DpWNZUaefLIRHXatNy9/d5L7Js5jSeuwrL0OghR6lMdLTdB6QVhQMortnd7yNB8oiFUfznw2vcGfSakYYuRuCxpd3BPbRpFI/Hh4ddGvMfzFVfGdQnVV7m3QIDIk1oJToMvYvsddkFNeJe4ECCcK0bhWapxD5xHF3ECWfFUsKBw+hlKAIwkwO9JPLX/lGtLdxswbAbs3D/mdm+n0kArLh0bzWgVPTr7eoIVYGCSl9x+/wojlAq3HkQghUgd9xqV+cXACd4f2GlXaOfH6t5GwmIy45eipF6md8wOXoClBKYucL87SXoPdoQXfk6BP7Sw6Tx402SjbGRVxPfDzxlJVVovb0OAzTDjgsggc1KHi6fznsnCV5/k7x3KqA9Ll72y7g8zTdDBCnUnRunbrn7ccG58tzXyKuM3HN9WhVBHU7nkqbKCr60kIR/UOwsFFAlblaEON1K5OZeq+2dG3JSnL5GH10ODBa+mP1i63gCylNvHL4PrXoWSutjh3hvsHsyksZxI6ih0A/RNQ99DrAYUeQLMT0V8i+y7V0jHXHUEC+eyIME+KwdC6cy9EdZsUHLPe0tUStpLE79e13/PcnAezssRuYi3bWHezMhiZzyQUFTx70cFBnHJbk/ja/mhzO/2criPkd3yRK6r1KKkFa5Lj4wkQcR8ByR06x9rnATmSDr+PqnY5L01pff2U8ZO+mSTusR1WYJAwrHJHLI1E4up+BD6gXIYWhpv4AWa5QyeselN/DDezHeBpu3WZCU6kMt/18ZjHtCnW/p0ZVXj0139Owcbq8tAsT5yyzvphNIsyN3wHocx7AEXi16910TAUqyajrc4YkdYQS8TQoocmMroFaIzPHOd6II84lEeozKdaUfGK/M2vVtC++8xpQHGaKMejESPMG99fImsM7BNzy+QYiiPwOr1QAIYEJAvrEahrp99NDTBkn3WMzDVwXKvvLE/K5nLWFbMqROFPUUlgWZFTC1A4q+vPIUmre9ZwkTMpUT6Z4lCCnLOhlCbQn7eHnkrcpuz1Gj8dtFDAUy+2czr/JgH30KgLziIPDznAOy7phnywAaX/j4GNx/7u35P9SlUJke9b0KSKUS5en8Zvf+EToRsKMFTIL60xiHuRfFquSojOpzJsxyNK9/tpKWbG4Vacd0wAjoL1jwDqasfjSv4SEwIVbW4xIiM5RhRVozyyIzRlX9ZFfK9xC1EoC4d6MeJNeFSAiDUtsezJN347UrwZS26sFq30DgL/MoEc4sve5KqCiyZbOoOX04wlX++b+2iv/nFeYzPLR41EEKOE3Kk5i7GwerCFr/vGs1nR3QLVijI9aV9gCIeRVjA0y1EJiQ57fSSCo5fO1xRm1ktWASVivm8op/2DpPfm34GvifRdBkFM0Dlr5/If93FjVuZ1/1yIWzmR8xbDEZ22mNl7UZWzVko2SOq3XbhhUoDhhwj1nLbJOPD+dKtzecosaytI9nmJ+b3ZcWZjJuRPvwnB0anszjkYxqx76MGkkXnBs0e/uXU66S/Rv8yVSpRqooGpECK8/Q4DFdu0dQ1j2H4foTSodqopZetEQCuSYKBtHpQY1xt+kHQOlS0HlXtWVgaV4qSsiIsxPzUPX0yb5NFyLhB8nCVBpbr/pmUxk3A+FJUqHthahFotMffW35+CcVTwwoPxwTmBFoBf95JsBg/ZckyQDb+vEFi58y4J7vZHw1LGdUl9A2i+FsqHNssPttr0B+cmYGl8D186odCASZ61JuVTpV/sBqkKlyCx8IJjy5ww8DibvprGcNd6gLsuUjqnzlYZs2Wj0alqiCa9XvNfFWHX/6LG9zmI6oFk9I6JRvj5pA6/EJSX4qI/Gq+SmYettbgVbp9yxUWLqaG9IqTba6tYnPUUP0sDXMHBKgTyovjKj9tCxTqKTXYljUcf3m6vmVTDvni6sAsGaKKMf+Yly0YtwPiNYTP/6X6Fg8PQcmuA+88W+L9xrw23W1zm37nqTrxow+12iYAmp0AEnvjnGWrKuXXXPqdG9Gldhw1LTIgD57W6srvrFQlol3bYGRcOCULNDuqM49H0N7AAjozZVp93U/ElKvMqzX9UN3xO5OeTijOhhix2fjjIOet0cLh5yG912rr5NMk6eLrQUd0NSU9NjMgV/oz+VQbW7NcGhfXidKX/7xoQtmq9pWHHp1Fmy73ukldGDO8vI/2+UXBfo+rIutp6OwYAsxN7MsQIuCvqJMJAF+ok4baT6Pl1s+H/UnKabh8M6RGcciXVgTlc+NqDG+Rn3sGJxRCURsbZst9PmQY6JjNSbE8IPik9jG5kEIseppMknLs8S5IZMdm/5r1PR7P0iJePGFZrDqwrT7nAl9zx6d818G5XzVsJ26PfHrNtBdsB0nrNjskCem8yT4C7Ovra9wuGnzH+S8ZgNPEG7TXUXFwzMqt0263vTOFfr7CdJAnVuls+YXt0xNE5zEucBJr4kmhuB9uvvmyky0I8BvvQAI60X2FxMqwoSJwqa6IbZeS1alO0fNgrGYbosMgkiSapmAYSLQnO457jXwSKnUjEXysL/QrAkVpuAONPUkQR35VMn+gW04Qlxotw9+HVJ/eCBtbL+xLTBGSbyPB0lxHnJyL+xCOYe9yMiGp92nuXCzuueZzrkpfGjTYaZPeZ29LkuPAgXRwpmblfREa8E/tDORKW0kbBy6vR4VB/fU7MawlhtkeC7METQAHNcUemcYA38IZdcuZ7dcNcgQLMZoQAv6cSl0vAZHOoGOkOqWAEagaWoXTYg5P40X+p1EF5yh9uo256tGCmG2RizBY0wDz+cHhN+E7GDpb54B/J2Bt3/Q6/tDB0nliO4QybzISBA2UvqiYfAHlKq1qkXHSDode+AKbB07h7f55GBHPix4p21jJ80IVrxkOl7f9TTKkxCuPJIcf5fRTbqRQs8J4yhE9e236edRBZvMUuLwHTiOOABrng3nKDwTrC+TvDj8+XAjZiOc2Rla5SFVszmD54uAU9YCpXF1yv4C6BZV8LOLOUz/1ebwaXyIBt6MY8191MpJRuSWVaUjDwmzFp0DH7bZnbuJXzxFzcWveQ8Rtknc+wg5ryP1OVRWCPmHGI34jxGAFGa8x/syc9+xRwTeLGuVVvw9j14MP8N0tYgK348qNWfINIpISkRWZIIRmdz/wE0IM3QkEg/40LBrhxJcgJtrImN5iiJZ8lReEcFty7DSGYJaOlJ1+YM2nl8WcaC22h8sDdlECk5oUzl5M/T9SNXlIHGyQyLRJDJ73c/f3tXUEwp3AubqjJdH5/oSEMJ3fnocjKK4Y8Q3BGUbtPIkqqKP74PJnYbJBd/mQacJtoh85/nSCIZJPkEUKy67UpXvEgWi8Vw6XGxH/b/pVmXkxL6suTnHuEskkPuIlymd7VCF1j01voT3Uz5NfiuEd9ctNHE6el9C3mLILPu6yGlEyAMxdaoovCIO9havqUnW9wYNPXq+qzfxmfFRj5L/i6qwmyz9+2/VLWIinSPGE3f1J5P4PAqTsUeVbqjHcSBm8hcHohQXaPuL4Z7GM95jE9smOBSgLsyBk1GLVgFMNLf7BKi6K7qUCGkBvEQXWYSCbsEHH/YKppzWGF955wOhra67rgJxezY62tQpYKXWbCU78pIqLb8d/0arHuqugKjMhsVezc7G0xkiCWhnoFSV6Lj+KHlH6Ggpeq5z0c7D+6ejDvSJAz8NWdUMC3rWYiGlc/vhYVwlxFqffgAhk17ZOXg3TW9Rf0VmU43ggramdxECyvyUPzt/t77wZ7kQBmz/26Dp8UgiF4Jb6nk4IXRgrAH0g4LK3KoVJjLianaBde4Q82t8E2xadiGIIVrN8Q+oFfF37LluL1P7LZSOI9Jaq4JIAHwzlIgHeCbKJ5Jq6UBC8mNdRyHqK8k8ViPqHKi1dC7FZeTpi1OCvdiRhKUvMqDMPOp6iTeHEeBTRZKp4Ib05HW8JtMkZCY7AK3fMe9UpH70CfDWiFvUgEfbvn0G1DOhvR6eOBdrN8gDYMPDAz50sxawzWomLZX9A7g0HhhvcAe/ton1B/QIudrSFw2uvhQ5eQNzkqveYXijW2paYdiPbVxM9XARtKsK/rhYSHzdfGOcmXZx2UE9s4EANjKRS84lKK0rB3N0CE1s5rfzSv4GHO3fhVenEGAeAY5c/0ZZtWHvurOTYAaT/sMWqOnRJMD26aNrxMdTNZqrhxvxNh4KZAxIGO3XabIZ7TFFIW80ixUU0gU99UMmLYMi1RgfsU7UqNaBK5yRFGzEz7WrspPP16MFYvrrV8uK+Rf0Y7lo5+lCzg+1e5cQusolDyuzlUYUDDIL7bAKojlOZVKrZTo8BSrqXP0H+zXtSzusMYv9PYk+8WpcaBiMelS65ATx7xIn+k2ZALRqvNGOXzj1wUGn+DvETKJo54wBt4WohIY/Rw+9rm9MkO9lcMbI1oNviMF6Lujt7FAACp2+aaA+f91QwGSPGdBiMERMxshD2Mo3991tsCGZzJ3jWLp/REdnynsxTj8Ut+LX7bQITCSqFNdthOuiouzz2wFEENxVezaOLM4kVpJ/NA7cXVXaDLzc9f8lYKL6XTrnreRio/rdWDMlHbrOn3wmD0BRWaEujpY4mYOE7/Df18n5NUrvZGBsohpM+n72Zcfr0h4WHZaC5jpUfAxA6JIAVQ9AskgPVtJxSC6fGqIyIX5DYt+HLJPRq3BoPI36LhuTqybgN1cI0QGKxMeGatPy5BHazv7E6YrpHVbtDTeej3kxf83eeSgg0AnKeQ6W30ndRT3nVyw0dqOo9k1v2nBnVsvHyLRXeMb0Js+fDcqS8+BzYUvQnX4dHIfxYiK3xdOM/qz0pSla/4BUO1pJEClj9iVoF66ACsCU2YD5j2h354ZH2DH9aq7sL+fujuJVnzWCjRysNNXNjc+/MO5rUpMrlfwWpd0Aty+kvHHdhMwwowDCmpfTjxlmSwXat9qeN/C7S6YodG0x6aoosR7+Vb75uP381IKfGmwsDZOHBioMIzo3uGW1wAW31tdBpThVt0r8dsZ6DICORX+267lwYQm+cbgVDujicW8hoGU9w8hC79dIE2MNzu2SFY/fx/Pylf1Z90YtINSYtwzV42KE18SNxzxV+MIqV2JMzdfpNwVKXtlOa4Jas3Y8la7ITldzXW4z/533kBTjU/tnE5GSQvqt8/8nhhQGMCvY73FB9hFOFTKZAe50p+mVB7dw+DVWt9z/1CiHi8sHJd4gcDTURx9QUCXhKR89dxcuylhmd4Ppz3W6p9jCNz2OVsJDK6fuz5zPy53iNj9Icqzgr8PvFdcvBaT2tJ7wX3P0B0FPr6/XX4iRGZ30KknCZfEZh4vMOW/Blg+Q33p6Ftv34FS3wvWaI8MBWRy/YplsuN+BKVQqpAH+w7C49V09JtCemgEnl+B0K4czJonDPUKW2vCKDbgk1LQA5DfBEmN8xWs+o2zbou+4y1vLItKfdeGNkr80JppQcd8NZFm9PpwQszupDZUh3ZfRFXxjljLaVMsHlVSHphY09/rarU7xs2hwA7PHaeR2JiSiQGZgJJFA+RCfm1THZ26Rn4dSZ8++YQbUIAeov37mtztstEx2PT4VOFtSYlCtF8AwcdCy2MVtVB+D262cjBeeCJsBrUtsr41Lq5FnkYd8NgO72V2Wi5IlQ1WlmuWWapdqj+xcc3jORpHp//M4syv7GmBaBy5JWChAdv7HxaF9CN/nzLOvUFPxJ7j+v25qJpoPMAXxV8gBB+RzSkfGE/pn4eZh2CmvqKjuwCyyVXXmuy25c4Gl5g0EB0PknopRO51Otg7JI7sBOyuEFsanIbqtL+JrPVi89Q0oQZOBQeUvNeP66Q5njvmc2pEYj72syx07bopSya66ZhMEDhDUqV0oBmWe8eugy1ZfKiXutkIenEAyax8hVQwGmmb8hdgGj8tcIJGxnHITJ4a01v8vSu3JT8zWBAeiZ2CyS+hseuk0zqpGDjbawhlKnG/I8Eqhs4s+ONIO9wxsl2ecmZV6lYbII6Qu6Z8lI3xPJ9hwS8fMl9o+eHYSUR3b3Nz/grQeLYFKUb5q0+Ek+4L6iBPsvlKrUxXeCLbn/0b+HjWISXOGsBJ9jq7jbxk2FFRI12P4IWFhYh7DH4v3/xCX3qeMLExkB4q60V3n+kuyVI6sY8B33GmTfrtolbj0/0ePDXzxwhQPjjR9MTCYX5VfRcyRkUhOEvfUw9JxYP1DBQyJWU4btGG5PRgv5a0nHphPjelBTaSRbhmM1FSTAwqBypYCWoczzLYC75v6Xx6LPWMFw5KmomVlXqcevE2Edv+37dXvz+Sl0EwE1D7eT0MrNdhuSN/02L34PQRIJCUHwDqBdEr7xF+v7JLnrFPoo81ut8q5mr2nXq4yuHLrd3KW3X6lr01SA8MLisfW+ZlqHTrEHYo/UvhoCXqbLbvAbvcbOF4K9YkVbeoiqTiBsyNETX9QmfD85QhRVmPWertKykK27hY7XtMDG3m1peRR6WkeOpDtD06oT6Njc6EAjdImfJ+V/nSR8px066GMNyDvJM4imlrP8nhhbQfBDbLBiYbcsYjGtXwpS93INL8Ho/0cKVPhJzUnIGGliqgubf4exPRa1AnFBov1cG5aIy+OqmCu8QLgCSD1KVEMo7ZF0o2CHiGwA920VPYiCaAfG8SpexQHaIYEPHuBT94ZZxXg9CabN2mTU4QC7XRa8yewjQy4Hk/kjOwWesH7mnBhLqDEbSkV3Xdp26OIS0DPaphvWeArzc6OD9iH3GtS6KwVGrGgn7Bw+Er+x8+bEYoE6nbCprATCS2tPS9sGocjvhEcIQqdjgP+WCqsNKHI2OSNJIPZpWFidt1w9GES5gHB5zd2p2T3UvVOtO2SRscBKEJ85LFe+CywY0wKB4EULRnfvzhO1tmBeeknlO21pfgySe+OVY2m8HbyQbnE8SduUyi/AE8AE7M9O2DAJH9b3SnB/a93c2pkVJxwQBylHtQ0qmajR+g9zGwMasFDeJpH0zNw7Nk6B1YqfG8/0wS2Cza5LppoIbKv2gD47LxhnbHK6PFXXtX5fVU0KvJoEI8kHxMCKfU1IQkJ72Tq30yVuKmFyPxxB+6Q0rtDQRovIxiK6FfKytkBPkZTobfI8pZArFW1F3f2iO36ZTWJ0FYZTvb3rH9BkSLNyGDGueDwacMZflb3Sl7Xw4aC6Z798P0bxzdXa9Y5bd1poiyirAcSimFEMBfx+MuZXR5RtLDDlM0JG3MGKkpoQTD8kBVolp9FJzfrIgGNL7C+sqtMngyWhlfnfcCl34FDZwTnHGqRZlFlb1R2gdGSp6jVAc1GnbMqE4toP6oP/E+BJ26CPKn98tUTU63L1/opYskfN7z2vFkknAZ18gr6YFQod52M5734drsBWxTbPUNh8LP0mLjIhOKfgmQBdDpKJ2BwXUWjp8YT9I0+yB+GBx3nINp0DONLnbjwktHtK1Pm/6hNLJjf4CD/C9w/b1QfWVzZcnEXM7ED5gygIxYdbq85vAMPr9AW9yYBD/XtJTUK/DdDBhyqcoFwAn7UK3S+e7NYoerKoKA8EsQR9xxUovKZa2OTTD+ly1O7GbxWCgqvVBMlbAUqGdMQ/X8GSI7yHW2VzyIdW667r9okcIiOHwgkz94MZr1tWy5FdTo/g+3coRV7YAad9rsi93vEet8iCNHfUvf55K5D9PgPaBF88Kdib6JF6WSQuSdo4JSWXf/4znlXteAtpG/mNMS35Zea5VB7Cdai8XdplBMiFC0RTD16UrUwAQFPUeeBp0xMEtxGmoANzkXUg2EaMVZ1DRYTal0t9ItQworx+9/DUoEH3x5JnTPzECvEEYNMv2q8dx87KK7+6WFwxN8DXUcX7JoZEzOYORlxni09FBmxV8vhxXYIjLTtwDvbXDHSxSlZlhY2xD8zdxQTwY78bJlGRrS2tfLFPApJgUPNU+3ehiMeonJD1tejBgbN02rMQPJrhj1ZpTMntuxfkw215piSuCosF5k6o3SU3rrO4z8Ny+fXBvWJfFFj2uH9+ExpzSk1lvagl8o7aagsxgb2DviccBTYulBISpOQDxfY1rJaFRSSxPGpbcuEoYYr4wIB1Gkj2pldHHTln5RUfCB/zO230++Fj9Sn/ONyurLHGTUN2OH3LjiVgK+ST976vjcCOMwOj79DchR1vSKK4Xu63gIPpck9mxY2Wo1u02DjNiJzg0mZqbamWvl0r6afljuY/3k2nmomob75tXwVojWZ716fe0JelZMKoto7mTwWiFyVzgTUMaLNIfIlU8ZDiTV9lDtAZmzhw6Lh0DrgTl3Lz2+wajLexMTRr2JaX7ozVmAdZQUTf8IAPAY/ixKA/8yvASwnH0F6w1Xa0QLecrfgOY0PAxeLr7bpzsvEmuD1EIY+5ltXHCKxngruSHTg/c4BcCS4ysoLiDCx2vVm0GRx6nQGUcAiy/BA3H6utU93mM1Qt1ZooLjdBVC9NvuME+sN+HbULnWeg22Ss9QXRiOZ0BLZ5UevYMYywSHlWxXTie/QCmAJ23ezTqhDcCZvjwK+Rw4U7uFQcchPFEo7/3tsjbHs+Kwr6ptKzM+lp1QT8DnHob3lYWFeqcr49YYR6yVuQnfN89MddvieRcZCkwoOjej/hO4gPcSz74QKnMH5yDvnI/12wpzfKILHv71kdbWQnfHf4qKO0SMGk/v8P1rtTVoOSZxUCH3yqddwsx/YwQXom4kiWNov/iMBqH1gMLFsyPPDEMUpz6AZrDuJwqZCn+iF/6QWccBQ6oyPv7cEj79dVQVRCbyEZSVZVcpCSLD357b2zLL6xvhGU9FiuxHLe1KIcqRtRhIfofgjzFanOYrUbx9OMhgRysaIhN0F4Xk14okjwb7R0IpAJzum9pNWh03GW6JqnkWT295J0TVuauTmhn8/7wqaqhjCPAfosqpHgnpmb5V9z7KPUhtG9+f+MhcZ6J7dmm3AbwOckJfu5Oue/ofkDVH6lXBA9rMYrcrm02IawWsMcV4eK+SQ+CwzwiNv9ZIIrGMNEXKkJVDEg1u+ejgfrdK7SFzjuTXy8b8DZ5GJwva6mwH1vCfgy6yvsBhJcHYqUtPODOqn5YdJhAdb0LwqFII2khtSKxmf2hps7+e0HCyXr/caILwAi8xzvUQHCtc0yZCm4nBaLJOlmId9Y6G49Dzc7MDlkl4acJjXGwsAKKU9XlLGETyjPC+JkolSAVhs1MVzrxwOmtgFCqN8CkacDIkQqSebGK8xS0z5lJMC/BMonmTqGSWF/IBP6YyGhsUauhsd2eg6LzaJxzB/F/s9TCRqvAovtZOdTziBEP7KQwQ1mAGUFWt0FokehMoAdJTPYWE9KBJ86cB1MmiH6fbWoYqCNMZbVUzysq3Z5rpQxzWuOPVMtnFXEQPWQYb0biWHttrpJCJssKyk781CMZ56wDoRFCi+Cl4Lyu+BQCvi+jrbYWOanm9Ojxrd/NyNbSsM76QqmEO2eyhrB1CGurHi9ALRQeTTTUsCzk4lPm4/oxcX+i+cxW2RyRfeXHoSW35K6SD4DSdRSt2oKazUhsgVG1T0fdNQ/xei1rFqfgO2cJ39IjEcpFFlx4G/tTJNEJKPgEZ4++mNBR2ZVY1m4psBeBWYXrzOinvCswG/CyCw+lI1x9bL2P+BZF8P2nQ1h+fYKqdpRfHjdYsNRBK0nnt7g7DRroXcEI0bLBGw76yAC1QCG6g6JIlNKxtuv6OjehNkNMqrkiqLmaOidnyWN1kfhl/V3WYqeEOCELFRb6eHo6gdCdQKsFOEUMMg8vl4P2ktkttQ5TR642UdEox/E+NliRMs/O6n8kiiaonVXXKlQZccaOAOaJIlQnmc4Sth/87ED6iE8WnPr1Kv3Jdu3h7gBIBXQNJ7WbFfQykBRp+kByMqYa9iXogJZBPerdSIMQH2QXYQTGd316oikRdHe5IwM8XAQfFP9u9KKN1ss3ay+arBxAUMida5SJmnx4cKi/yJPVwjlJentv8HCsmCan6i7An9sBznWD60aknH3M3C2pRorLnyhndVaprB+uMyhKwaL1bUOWy8lrFJHx8NMxuiBaoNZhCjlctOztDJyq4rUSCFuc8W4bFWwbe1ZCxbZ2rQW0RT37E0ZWDKcSDTTkHuInF1N2AHGfnlPbqpeMcA+rDkvF+FdjfstE5UCM0ixprXLiiAOxhpvUhLFRtuHwSFyCD+dgfg2tUU44g+GAZMBTLGi7tHC7yp26NiDHpWOTp0gXYgsT7zHU/8zGzRe2ifRz2FuhdUt0FhReudcyYPRC6NvBXITbQviUaFv4f3Ag0IhtsYyHrMKP53KW43PNskcM+s67lW6H5xdTJi/c2PN9CcOZAUaPIMx0tAw8aFbI/PB2YRvTBFOIcjq/gEmJKz+GnOOuvVMH4W2yxu15lqmvCQt+O5m9GXnpl5WSK9M13aujCgAEOG0za3jftHdzAwAgogcphPUmPtUdGjdXYHk3OM8kywqQzP9v/q5dTkZA/uS2ZXNhWXTnKlrzd+f3v7RW/EApJY+lKVy7oVWaCYAoR2P7gjH/zS8Ld2MjBZkC8zC1tfZomeeRNJGpngu+2Q3vnuZylA1wNFs63vI9LQaYCMe+HBWaHKrJ+A9QCMu5ttdxbyfy/cK8QIG/pvtcqthjK/cL6jwJ4wNLrhhYhkd7b58Byn1PtOF9CZd6tUx1PaN3jriuq99lRLEUCAZuPPHpnmqDZS0BdqxeUtpALTJwBYpTQ7zlEz/s6ZsVvUC+9u3Yvth6ZTQEhNTMT+uR3FOByRzNj/NSbWonxi3nM1PKLWw+uDgnZ8APIRqEWCAOCTUZcDbprpckdHln/1udlmMHPZaDPnlqJsI1ZGuLvT8N/X4ldLcL2A+ekpSXIoEi5/M3P8AMXkjS8r0UY9JKO/TdKDPEezRwRCpDhbjMC8CgP123QOmHBjO3LrAJxbc+CBYcVMIBuAE1Sls1Lkz2GNZSmwnqwAjwShE5hA11yrcnqWC6FWxVSC8ItTIE7yojqW3okimQpmcuO8m+v6KHZpnis6Gva8ClvDgIvG1w+g9g07JW4oaXb3zEX1sVMJEgs4r+fG9jbuR/H/mVjoSwBXo89DEAazbl/WfMzfQUe7n+8WiRZjkSLEhUxveGZhqPS9He2n2WfKG4F7xdgcQF2RAoie38ta3quJTU3XLIcL64+1dAVkyzkIWx0vjSt1ueculFG3atZAtgsTHGhPii+Yg9yA6OOqiB7mCobf6Kb7buQzhYhGUPWJcj6GDYqRqqpPKlPYMbSUKFqngiUzWGwa+vP5KL5GsM+W2Mip7Qh6iEhcf/LPJQhRxykK/33KzlhRIvZDs6f48gu2F9juheaHXR6wipnZBpdpVU7KAW7ShQ4HPkEFJMNlh4TlUDyPv3nIuYFVwjQjNptDODV/C97GKC89jKp/lro/nVflWP8X/2KJFdK/VYKtVEEZ3Bhpt48Afj+o9VQQEqwDIL9+0mxr8gY4IzgG1IzuMt0l6tpleVcukmnH3Aav9OFQyYmGvxsWCK8ioJ+UQWTPPls2alKGPvmg/u07vF5uDNPa0yaqzhLVy8t9XjUp9tNUyqwGDFqd3W140rlfJz7VdLIIVolmlM44vnBkKfJBaO9yQ5YeDdHzplFzsNlTC2elJRTubUQfj9z5dyl160vlYV8uKPtXpkQegZgAjHCXyJPnGPnMEPJJDIAAFbWYOXFYKv/oS3DHN9ePm9Um/ZG6xRb6DQ0SWsQyqH5jRA6XXaksoigN5pNzzMza9FMq7qPI0EMmsrOE+u9FDeHvPQDPVQ0jYWMAuSvjh/V83/gkRXnZS7iOPwlHxNnUAAyJLOlrYwYg/zKNRLRqaw530KVMXlQoo7gcyyCdLu7MpxDRDMc9jInSROZdOKKAwuBli92yBP4OLDN1+zxtXoXQyILzaZzAQ1EeRITIKqGwxLDKQwJw+lRFmVNoORNZ9DoBj7vbGQQCtj5huBOvQtuybQ4QEmsqdC5Ee5j9QriQuN25b+m5er/4+2N3x4WXpm2yGYx2syigThmDahjy2XY7iKYwr/wx53b6k1wKfrHK8Opz0TOM43PisgvsB/bap2dmFy8B4YAo7Je91XHEbmXw8sP7UdBXmhxqFM4/mLqqWXJf70XkpWtNiddSpEC0WAgCKx7hbXA7MxB/iFXsWaZx8ozgV2A9fiueuuyAVYBLeLY9G2cfzHKrO02H/djn0xxUtrF0XBW6FhpNcMpHY0uK+UuwHOOEmco1GIY9DS5SVYey0INuN17W0wFqNgPN+6luJyJ2UtgmfcZiGu2wGO87c7wWkYoUs7hgjJtXPiT4m2rubgknlyrkr5AIScUc+Thktkr/OUw16hgUPU3r2+u7UeJltqOnOMn62BBli6/K5Fr1XhdcQybrsEYWUzLGRs8pU4L36WwrhTfQr1YX3K8Q12+Jg8VhdV3qKGHuny8kT0qVP2ySxyz6cEJFIEWGdNrHo71kgo4jtN1cJVkX1Gqu34E5PVJ/Wgks5SVw5N9nLJEoUIGSbVdcKVBfV86C8BY3b9poUn82Lv6THckktxVmTD2w1wbi9x+e2wnIMIOJ4KYKTWUPXV7nh1wajUQE2cqqGooi6JheaUex3gKXfAXYCdh7AwDCfJaWjRXr/of00cADJgVmbRFIYMsrw6KfTb83NFPrB0jdklbaiKIi16QyeNLtXBtbjdbpXwkaNVOLRpizf+yOaXKcuovW7LEbyhmLSvjRRl6JsKd7TaY9SXpvz1BZQymPVM22Cnd8hJY6MYLpWnrPCYQCBjMAqHCRISYkTolXcFi5Z1Xci7oZOBMaZJxHvXctQFSBdnO3TaNElNSoO6tW/N/JV286e5xNtKD4cwiSE+AilxLv3F+ZnQ3DWlZmLf4X677JNP1XsCFZVG9hlZQVFzFoFuUeLxUVnKP1aLGboN4VHPvgFmZEZ8uA6QGMRJil3MaSi8ui3wnd+rAnO/g8qzrVEvT/i3VG8KstOVbD8rUqS4e8XM27IRoNZfd23gmGE7bGi/4IJQ0bn8J7azd+fqaAK1Jr0vaRWYrw0MvT2oMPnePPGphLuD7P1LdObG3vV8RtHbG1MkLGzR9guhOGvbTpy9d0ePOWD+lH3cRMjmdE6YCC7Qy1HW9O9Zs3L0ywKovawYrhVUD7vOTG+8Ab8GXOA1Zr3zXZJ/TzWaOJ1D5AFA6CUMo0tk3V1EC/s5bYBDb30QOTmtvEAdT8pRn8IvhaHQ82vb1xmrzu9Py7XbUYj8QUzfxy2BYbNNO86QXqat33D76aJJvuiDlE1G9QQNfwAybBz+UgaoGgnXF3QVqiT9/8Pdlg7h192wka1ywD6pC5UA6nx3/TJWShrPlV5LWNgBAUcn0h2qWSAAo1Ix6nxa5OkVzN5sU5QAhICTP9H8ivH6zmsz9951bycV8HDatpvAxbYeVT8oxaQiikQLl8AS6UxnvBmS0BGjL3FvjBycFuD6z2HTThtnqEmlbxu8shaiKk5EBX7JBZ76Awj8hkYQiFRFEe24k2gjKrcBo6utbclUrGXoNi59KMBKxTQTbh8lz0HxK/Y7vKb/8IoCZYjGfiGcwIenX9ortt9gJAti6Hee7Q496tk0Or0D6IRcjk4l4gtJ/v7YHlDires61xXhIMdF0lKPPiiNcz2TPaZb805ivRhVen3bPmLujXBEo/43t7S7yyu5IIgdzfMRi5RC29xlBhCFMh+AeO0C7TvneG2hucy29pPIHMg60WBTm9WooAFURmfqIdyMk7Ya8zPrIdIaCJi92x45NanigZFgSpVY23iFkZWWITo32+ZuDQHYDG5GqEXZWOp8MFNuAVJqGQCCIEghBVY8v6YmlQYCrv+LV0HWMrB7N/08XM4ybT7M7I5JTIeho/RWML/3+PYl4PDL0kRSIdpzuV9nglIqGg3170ZTtmqlg1w8Yh+Q0U0OdxVLBH7S8jz6OZ0t7HXi8R5WD+C8eRqJt40gs3JXasstCJRncMg6uGcpotoaL9DxVGHJ4IB8bBJwLe7SQnX9aZi3PpijhQa+3DahoURFBiDnJYV8dEGITzJJ1qE06po45GENMJHei4ln8aGM257puZ/7rEHu/t+4yFsRzlfMIkOc/gQGBQ8v79ctbFYPHGV7kCFilg3JKWtPk/B/uZ6DZE7lcjLPVzeuhRpubWflPVxxONU2oSoYNI4/4E5Fs+FtMxG9M7tmLOjOvF/sREMTcZF7YxRQnLyOZDYjZBti7gB4MU1igroUL19OETJc7+9CImsa98AqWqhRCnm+bgFqvarCSddtTHiDcUYXUz4zfQrIMTo8xHHzEpyu52NLdh/zA7a+YktDWbLtliHrCrZ5Iy8g1cExPMP7004t1SKKJ9mmvtpqS7A422pdiiuOwxgIoceNGhiKhy6lea8ulVJHaqdtYodCRpqgeh9CjkZSGM+nWfxbaubxPtNmpYbooU/nfS7ykIFk4zIVvDDCU/4BpZ5IJw+ElFED6nZKC4YJztVX3I4tqK0kwP5ZOhmcFKeyOlmtnFdoPBPiJuHUNjmSZ7BA/usNP0pzssF9DvVQK/CxbDSNn3F20guUKM1GoJX3PGSmemjTB4BRt2bsjghq1ZLGkkybJPl2/oX7FmwuyOFysiZHBjdZhdxUmW0WES3WMje2AEEuTLQxz7n0KM7j1hmzGNAuxq5f4ilvCEFTAGxdnvFRJregb4to1Rdut6H8h7f/ylkZFZ86qt5LJGrLjAjDULRIAnm7EruiCgGQR5jkXGdotODTx6HC4ze1PKEqVhbxeeqy0tM7gC4kWHsIjZw4xnrgS+MLVGegcvlZhXIP00feX/ImlyIjCVH6Pnme6StUN5yZ5DjIp3F5ey6wK6SCu1/LJxpfwX7ToA0tWeFmdkG7MA1cZI6Rt2F+CrzGvISctfFR6PkPY6uQpBAT/4R2BNDRl5d9vNTBQcALMy/GzooEFYVRKR/ikVqkWeN6NcV25imZbrpNu2Qe0s4cbSeXonAUYd1JDfaQSw55MK+zKhucEhi0XvOkmg5w3hX24ZbD9Jq/mmA1GHWbSUafS4d1vifexRjdaI+NHveuaEps4JK+kM9zAhxVbTnDghxeVruX/bz81NVzAL0O44AYj7IJjtjrjG6VceUcQC6JnKwzFmx6iNEtwwXHRs0PpZkNuf2hLwTtLXX8lqLyg9lBu+PLWP4Zg8cq8SsHabhD/Rj99PqYni7PFduphW1b5w+fM1fBw5D+/AIFIdo87KRgGJuUcIwrOAQuw5++XsHXQFq62i6Sv4nCn9cC9Tu0uUAqr83bsAEEVZKUMY0VkH0OK3fsHbbRcuon/5qW7mO5srPO/9zjixXV0aNZeSaNANbESQ0aEhNX1wauS/k/z6IZIboUdsxPMZt/xmVlEMHDs3j3cRF+vONFwcj2qfaNd+/555YQJSqabnQi8IiBCxLpV/dKdyH0UzW4QhhG0j1cbG5Ef7/R65DNcfTJU1vRMmrcxl8Ov/WKZE0jDaAA+eDSFrH2llawiw0gZVIYohl+4a7WY3c33kWj6AQyNIkMa2Dj1putQH6RG7zdoj2VEopnyxwFqYhWcyCH2t6fzQc51r3mPunL38IVzp0zFxxYyd/1TuCz5z289MWCU9TMO0zucsXdDuNO0AYwq8mZ9V8tA7DSacwq83VmyCydLGVlhToZxyWPLk+OjPaiEx+klTIouUxpMgQA0KGFBgpAAR0HmTr/mM1fLoFQlhLLNFu1XR41I6YIb3iPLL2pewXquy3LBLRUuNb6cEa+9G5zuaBzCVR8JAEypAJNFwjOG3WSM/t07Om5RFBuYcNFCBJ3LhIzG7eHHHtGiZ9dD01SPzgczgI+FZqRxsMldrh5uCTze5q0di3tyYa7NWPAJqkcb9ayt6oL1XsW8EzffKFGEdSo9iNK6WkY5IiqcYQnAipRdDFpJ2dE067/szDAiYg0IrhzYz44gcd1jWDF8NSGNQ+OJvzvLlN0ffKO6MJ5svxUGCq+CXfKqVrii/187VMydb5zGn7XdvrqvZ1HFLKjsInXXXz0Xu0Xqjx/8mIxa4SNJ0JD1iuD42inBb65Q8jx4bOiSaUf6oHJ/HqKvnqYBZ+o9CdtZb3s+pf1SiISgDfHf/jKTZBuVgBfg2f7GMCNsqTvCmq2zoc09ZfGbhMa1on1F6lR4og/uCa86yNVZOW/5SyfcC+Em5h3iH8axr1qFAlavhb9u+vr5zcH169GMX/z8I2/QoIP6smr4/b0WNpU46iO3AiTBjOAfvGtUKI1ddhfbMuXuuu6MqlpWeQWoo8ANnWDgWzUHNSowAIo24QZuNMhcm4lRWm08gK7TZ3nDKARQjtLzi9BgXsuiX71RCFkwYFa7hYovTVQnVvGF/9qOEzXe5HwBNUbVp73n7AjBz0xLtN+K7iE5v0ZXFhkatS/kUCAyleH1WmtzjkgtKc5K4RXHqPqkBP6rJ+q95d7gDPm733GW4o1HkZYTr06nDTfPdu+z0Ofj0OfsUmKPKGd6jnPbEuJprWlBxLFuPPXVEq+BDKr7V+Lwjm2Ba7T8EV/x6gtv1oUunlNYQrH8cedYqgV+o16mm1N0Qor/5tWuVy4uouwPOiITw1hj3rXmFI1WsKJSsBSV3uo26tJywOn0tCKukZF40m9VcfanNvPMFg7gTt4e0o04fhOq1m+nZKS0vz3UemmXzxdf8NCD4Q11PH1BSdKb1fpXv8xwncD/uYZQcLjpg71YWghwQojxvfqzdlSFGWVPtF7pACQYC5GQXyefy1xKOA234SSJFB4NITjZx6+grps59FxfRitfd0jEnDAetAFannBOVE3o/42mzRpwLfLTC7JF5owDB67T7rMbDMdZjwTPfuStg7WclfDua5Zz1yIrRngSL5o9NLUECJTmLpsUXtPXmxVr2oTwLPXhwELty4xqm0mnEPRnhM5DtIygUKJnmGSbUAsIBlO9Tk+4eqU8/h3KpWt3qjP5GQHFllBzlr3VlW9+y6Ja6N/nMZ87tIzx81wkpdvYgfxOYZbThdNVHHZj8Gc/tu6AuFREyWYX3lYCg87gPwR9+IvatPyAntTdYUQawes0oqeYoKLb2Zjs6FuD025etx3wBOleCS1DZVNRSeWLVQcSGMzsNV97HJARVusaVkg1nPvTUFH2KV0/0jtSw5M51SGwWq9BvsBjuk+vHrGt69qsskpuzFDRHLNpnJRfoHqoJyAWDBFCa+PtGGTh1cO3CgCv+awFa7GzAAHvR8G9ZS3u7pMQuaTrssqTZXoSfb8MpV5Dh+DDVSj4vBp5YmEWrXA2q9QnhrDhFOegcV42iN6u1g8hFY0LmkKv97iCVUTSe90Gfm9QPCc8uVJ3XhqD2tgwEP0rUNhoAuvraQ81/zYYiIVkwJ7JAkZfHgAi+I5BZ6E+a4c0110RkiPqEcFQpZvMKMc/vzJkCAycTG/J8bIg65pGTj4C4BhvizuuxJFplMgw1sggWScANOMPooExcBkAAzKt/9rAHHZh3Fe8Bac224Weee22c98aGwt98S71En7uLrDM0Bt/foPNob3LcErJZ5tVk7edhOVjhDDF+tZt0h0FGMBzV8XHKbeSapq4vFSBFdj/rZMr1MODFq24/7ismanDN+3Qt1pti7a7PrjJaj3JlM1TklWqaI4yEzZ+zb8wgLpUvw0/d1ebtWld3UR5FdN1YZL26mMjMVNx5QF21zv50O6sj94BqGuRRAiNhG54L/CcG2Jm3OMkgm77cXPF5nzcXZRikeAlrKNtH1jO4D3U3byZOo1bJHCHuUQKcdly1QJBHs7SCX7el4vUoeSq6K8OuJOHOElDEsSw5HJIDwin/hzJqof+A6vJmjEKwaEayDkY6j/LocQO7alZm1z9cpCOC1PN024JhPERdFexPUQfYlHqc+poQ2alwGCwmoH9OPzHF7UzrbLgLhpqqeHTJRglDWAZHb4kLoPPhqOLnE+X7MVl5UbZ4dMiwoN/+LXwkxEjuRH8eIIopVcQ/F5hfztR602mmHJIkgDSX7Zu13zkaqf/MXO7t9e2tZP2BxGJyQycSuopQrGDBcbhfJ0AdDSg2fQncRNRxc+RIN7LDBoQ7d/n1E40XadYJzj5ek+/+EaxTB+Ksh7bNX0P1jZMZWHTzK9TpBK4j1jUOozL5CQgbm5hdUCRVQhcLy+2p8xcg2BevH6lWScUcxA4wuN5MsNM56Nv4Bs5yHNWaAC4aTTqDB7z9eeoRpW099vNN6qYjdGomNnor+YstIMMiGv8UPMlVYLyyOp8b0G8GTY6Q73r3bgWpLUBubIVvlQTFisuX5YYlpYrZo02RC9mFn8/Awdoq2GtqKenKRb2ZOs/3gZWWhE96xgQ/sAcQ5BMJYyzpapQaQhWyXd5g+Mky8zksnXnpDBd1PyY0Tp5IXSCnkSHdaJKmfIO2YQJ45I11AXSZEgQeeO+RDIzIiTrzFSKagSgM9u9rnafFVemRppaNeVNtm5Q1wsSyurr2DA5m/QMEgqWLYJcBT1dRNjgIPioMEPaPOgMP46T4Bwwwo97TX4UQezNOqsRkNln0n20ak7MOteffUEjV6jXX5uqYnWv4xE/4yFHnROtxzAv2WF4hHdFoMSruZ5k2Eb2RbF8V1JyLRmYxPXnv2vJ/MeJDX783Gqj0QfXIBh+UwfmsCgteZhLV1NJ3QKp1HV2aP4DWpv3CaYV96RhA+6H8tZ+vXCTwLh65kChgW7sINv3NJNmzPi8ul5uO7BgpeVK+UBko+bktX8iuP+HQuDYKyGT3u6B8lHA0c4HDiQw0ShhQpcw3UcTgyQNBuYjNdjrVXgIFyG6LG/uexmJcqlHnOgQL3f5dtShumnczU+WCcgeda81PljWvVNcAQz3Zdzm3LxhvgdkJHIEeeEQbv0Bt+CKdXtyQ5aMC20lHv3+XvstTCwBCtPWW3uEbBAJpalFJCgIbodQXm7PAUL6jFutd8/vGZjOjAqRIQM+eQxaywOIySA348fKJ9fraipmzH4pFR2qxOtZnMiZx2Hw92I8W/O18v1uVRoPOSyYS0qBV2vSuoZ1YpH2QczujlbvdssjiOF/o3ISV3cg6tbYh6Y/dD67zqTVFlLcA7MERcPencUb0bqTQbuuMZIjhWWaay8txA2ItEFWD3jeDjg8KrR8G29vanMOOHS5YQh8Ps+SJOpQLWTWThfXb0dCxTGEXTVTaW94u5qanIN6VIDNTJQmRU9R9fE4tuwTGm9FyaPTLxSaJLEKGRHUBaPpf9ROkIDorn0aIe8izSHJKCitv/a9Ow0JBNVhVmc1H20uXOfbGhWrLQI9CTfWLyLZKNj5pkXMLkQLtMEpmZHt+7sxepwj22xer8FIi21oCs7eW9G59rGw1uSelICsn+u14Q6ZxjRxpj/XcdxL+Rshd/vDS5buseBB3xQav5X5eoz7lRi0TWyT05vJz/T4+d/AY3K/FZusJSgFUJ2/BtDc/Y7kvLa7s9c4UckbxkTLfI8G/ThRJ229v1cBuQlkeTlyh2qlubzu22aJ2DVYPsq4FeYCEnM7u+pTpUijBnD98u+uBlhHXBh5AOFcekS3kI6HrOdJDgWV0XCgzJorcuYea2k0amVVYVqL+6PPUQ4gBj3p7f/IUMDd1t9G9xZpidJMtB/kCiwiUeIfWreJgTyqF/MqOIlmXCHV+CfdQ0vRmY/Yo8QMlhtehfFiDkshG+l0x3Udu6+qktP2S0nFlEGtDr/kJ83nlbhVh1ft21C13PRloJScQ+pgmmD/70O5UUk6oVe7LixRwz0p9ZmySl8Mcds8yiDjX3+wFF1j0WjwoPXohhYt7jeiGe9JEuZOHYIL28QN2kZhqvxw5kzlr/IsXQMHfL2TwyUOZ6/cbE6MhUBWg7LIuyl/3KWckBewybUJqEayZdlGtX5ZKP6NB28xe6WJVvkPB1STB/T9iRGAJhFIZ3vAMzOmewb4q4sqxBkkzlRz+k8e53lk76ohBHYH9CjZOigSe69zYo6X8yjC/R5cz+LizFfXRTmCB0uAHyhbaYE67EVMYNgUkq4eIVuSP39WHYV+q6GMY7fTwdWg2GRXLfgcaNIPLI9B4cP/rsbDEUSjwj+AMamwUS7GvduxKfNdPYaKy3aHSvWlgJojVJilFKBrk0Y+fFZ7Bz5pkoy6SldQvNS9rxg7peUdmYzK/63i6Zli0hMJzYO0Ejw4wutI0J1T48T8k2C4kfC4CpvbNjqNA0K8AjGZH9LtW5/9/Pk5yKn0esFN2yGjl05/YQ692sYJ8z28v4EAjH1Uy7iwwj7MaNY7yaK83QV5P2hHjfIyG7qJMdccB4TznGj6x8YDKvDK988f8aHDf/y8ocu8yW7T7BWmM/zx/QzM+FcznGX6X/HkYim4L0LeFdQM/VMPcaIe92Z5W5GUsB2QG6XebVGv98RWouJi2oGTzEgUBtudvaz/EjTlqjm2IiMZ0fcoSoBehT/NV3SsT3VlCnBtH7M/5L+wbmuxQOKd5hpy7s/TYMwMxuKkpIYd6kYSEMJvd1iZIl4k/f3/T2PqOrld5sYGykuzaXq941uXRFbfQGv0hCTIaiSFAt8uw+f5Ti8bt7dDo2xeuuSV+tqbAL7i0p3KBJyGBN+1toTz9n9fH9pe+pq1Cre2FRV+NQn7qkoy7SRekI8thJFaY36Be9sD5MEZ/+hyHotpL2HFxLuzUm3EkSaOLOV11wa/78+wbMl2snugnKYrlfwh9ly/IqxzVa9rsSWHiqXBGAdJLqVMwvfecCUJXOU6ueVldvU7n+7M6VWRjAQSB0EyUawDauv/ANbxFJv6hWi6POrBxsEB9SIIc4q9MsNlE0d2Wwe6+tPKcfV4ly9JcwSX70xkTgtef5iGQgoXZ1iYVpUSJNe3ptXo2h0896jqvROY274MbnsoonRlzL2o3WcYcB2KNT2MOBzdtWl6a2If7oQ0BOVe8bgfMlmzpFTFPQKOkCNOSiuzr8DD75U5wO0Rjvqpd08u5KZTHhdHW6dWGIA2b+riVqy4qWpuS5/RryqNVhsqlmMg81+wvNO0rQKFE6r2hmpDHBcb4wHetFvEgJpWo6Bp2VsA92qZ10TRgzLkxJa1pxh7hhqj0+SNoXicNxh6HES9yLtleo7FJmzampWSeWQ560ZiouyOWJo1t5dCCYWc2mrEc8vSc9C5UJ5HbYLfiJx8cEh8IHS9DAXPtkS4bPBpkY9p4UMTxB305cvweJY8Pf06vir/BF8hzb0gUZ8zWDQ77i7wxis/dJezOim3aZ/tJtFCBQuj8zFTalnKdpYMiVeW6iTxq87U9okA5+2cTB1iVToraZd6BEE09MOV7jtu2laCqu9pcUdrk0RYsnWCLi6M0mT/1DZRprY09JsDizz7l/Bgp5MV6H0emka4iDI04u2obsVj2ghQiFSm3ByqOR8SAW1HzG9q80NurCEp+UStXJCy7z0FGZhqjyDE3cX6jxtCKWVg9ChkRg7pHCGZjsOjmS9aJjH6n0ECUlQSGtiCKAIAPV3a352Utrn0NxamKQvHmqq64bUvDs74L0ijOQFP6HPSJMDB1oPazO15IYHjxVnt/qFmGnl8MYflkxGIe2C+8xOhCslmV6i0Pfbl7JoxRT5bOf/sXBfx3wq3uQ8p8GLAIF1e78To6Q22+lpYMoWHoWVQXlnHMZck2I+Alx+h6tD+c+/CQS6b0EthYb1ZcdG6WAA3+EIwgKnWNpJRQpuZclZtxDsA4eYPcFmi7Oz7PRLoLp6u+4YtZ7khab8gAWuKqL/mY69GWOb+rWjsbH6cuKdFmjkH5VT9RobZDQhPaiwK+OSeZFIQo3ezzNF0UV+et2DuNjyF9KyTilHXxzaMe1+VyRhYGoIZA71TgVdgjSEL562sBReAybF/ltWW2frAzlOrNw2MWrrn6CXiJ4/4qzyyfy+vBJ/a0qOZCNnJtXpY81fttnE2jPAHblaXWn4kXQprnoQHiHciggAKHN869XB3QSut0sk3IlLOOH1ezCR0a29osrFQvzz7o9TYcTmrngMCrURgQbaAR/fSbGFGLZibE3G+Q3lDeo6YBGS97d9dwSfg0XyOwFuLkvZGUGL4k3/jRyaGJOXf7+xWVlXoi5VgXhkDXjmgqnOAXvMuGGLAXvqrlOuDUIHP6xpkJroqHFBYlFIZExG/h3WneEv3aZaYqRJlY5qZ+xC0J1NwxogZ7yewhbGE9JexOCP3cdw6Mym5lhGlKXsq8jpyrwRqFp+lSqg5pKtLtzYiYLEikbOoxDCKHPoAJ6og/ADIqx9dBgknx53rg81zOnKt57Lf3DkWQztnGIQ0V6m18fEdfHIfB2Jf6Nxyh1wCaPB6W6AENTB1Hs8jCSZU1iRG8ByKpbp2JWNxklRdwejzaH8LudwSdkjYOJxtaBXzDiBgzEgQlPsaQuEhD+Hx0e5h0XvFi3dJa7OijoDLKQeeY+FSGlVCrG6n+GokDlNsg8IZA7rhdEiIjsYrAipaQSwfPtW+JZePOlAlbjLEqotNw6oOFSauPCb4MZl2eP62C+YA/5lomeOsTnynb64q9NMMykp4X35pkfsVew4aUtefjoQPz2WyFCiSetbTZp0CHP9KLdDYDdIgK+XNirxM15JIrbbIbVLfcuf51PTJEZirmkuOkyjbqgLZAhYxftO9kwGXkfzmRi1Y4gQWDPXdm3i9SMej3cFb2oPBeSqTb/JRED4GzYG9efhJpsatx4NZIgNwF5rM2z0PtTJN+Dkx/QEOM1wTpKKw67TbQAa0WONfUKaujrYFrCtHFkx/z7A3uJSEv+JYsO8ErqTMVROTkRHVnk7OhGasGZkS0v9ZEl6HPwKrs9ZiKEw+ccS1K07BUAmHJ4ZDQVBxVcoN2lcNZdv/Ob5h3ThfDJjyLGSuifbGEfv9rTKDKWde81aFVRNi9EjSjg6sDTsVQu9wKB8U1JtEREtRsI+nq5t5g1WAom/7nNTn1FEpIbAcbyHOoPCCfZsccpWPYM0yGJD1bxJBXdvggd+SA0UD+sFgr5hujEA7kYyCydzaEvJtlo7rgRutCWqsM1IHHs63Nt05fZ5mRC1Dk0UUxO0piyI+DYKGxsMi6i3/CghnUuo/32vGTaXb2bBzO8Lkhy6mCd9UZGmjN03z4goQ1YKOpyDiUwD8TShbGzipN3cfQQoI0vN0RB22M/ib3pwYiWd/yQA9YTrtohUUZmGNmhtg8OQaNscMoemMNq7cpTGxxUPVVqX10+nKk1v5VyPg8SfuK8iYYEdNon/b1a1vINMsYH0JA/0E9U5mb/LBT77iWBFIaysypj8XeO9XTB2nqPKernetYpNrevc0H1ORNQucHf62kXkjKKE4Pv/9sykFDupAFREKl8nd/ehU/IKmeOCEkNHsGLF70A7DU55xABTX/jrseSALt951rTcBMJGoz1T9d2pCH4PFKY8a917/2ZjBdNnqdvq9tp3FgOlWDa6I0YBKH7UFL/XsPKEYeM7kHiTEcJy9J4Bb8efN3UKL/lkGLQ7ARfjmJA/1C6LfsaelVcVIwdzELzaC15c1ODOOOJkXu0kOtWLAgnUx0g836lNlwDxA4WgX7hQe8Mt4FhKbEMlc737paHURhVsQCCTwYPVCwUhEcGQyPcTSy2zwLsSHgDJkheFusuuEBMxvQDwdFWdqoVbxuH3lkZWGxoBWjyWh88UXy91cCDJVibH2gfcRAcCEMxFMYT3N9pq7FtIgiHFNWSPF6Sp6uyJ+jzI0mSZKREI+HnTRnn2S5uIhDpUZdHgKIrLA4IqT72DypEZq3X//CDGp8Os1Fa6dEAMpwNmYq7eTxMy83MPtcXwtNY4bqsXdtauiUTMb9Pt2W0Dy1xDjYwN0dfrR01LkFXnTlxwpRSILEumY/6xMTPPLIs40tII4rRsGvLlnVa5uEVi9RB73nwQF4DJY6Ii1adoiVufRj/ljgARMTRJagwFcz3kTeRWu80wwY5MSFj3InLjMTGSVMSY5MsqAj8d7CVXwA4/33NieXsXAs8eWgWTeJkzWfA9jm18mSz18udzAcX7xxZHpVhO17Z7UfEsdKXtQgwPR9JH70prfJSJIF83RleuOYh72h8E4LauYnmi5EMrnvM2WxV4cZ8ss9LMKwIYFw2z2uUVmjucXaUYBZmrJ+E1CC8HqqBa0wGhwj4usKr+R9YQu4fKV2vO13mRd2pn5cF8vWhb5Cut6l7khS9g7C27omc56GqGyornMU06ccn24db//O0pZKBO/jYhqBXRvZkokYB19T0Yb40E4kQ9Xc01w6VSMmll8uRTiD7x4XHl0h6juPuMO+iKBAtiG3L80hTYyqJxIp4E3v4BxHi8yRdK3b9IV+rf7FyWb95bJFYtqcp4hNFrLFvQx1BzVShMAq83fv3Q3a/LO8DZJHpt7yaHmNkt2IvfenymmiSBAHWokjgdMGwJJSMvPkZ/M5SQXdT+9mlIK6CEFM+6/QhmzafmVA4kdJ1lG2++XXgGk+PBJov7lB8+P8M8k0dr6lrtdHc/mT45Fdw3rch0hplCVgkYho2+p2MfjEDTl3NHCfwk+6qHQt25bUqsyCGvBcK5+VW3JfevnqQGEYZ4ULIiXoYZFgieJlA6pCWeTpfRjBeaAzr7vuM2kWOftjuqQqoubPNTvCQaIUj8qZnaJea6zuBzOWhF4H7a1H84irbafmVeLgW7d5zBinHAcNxZzslT7onJTXY8cO8X0ovJyUaElqvfYmPz4zmD7dbW95iOHUePZuZkj7tnOxrFOWqMJ6htVT2855l/fTNcBeHjUzihUg6l46YItxzq8PLj+hvmwVd9drHdOMUTo2V9detGY97tBFIf4tyP+GR4ylLcGUAYTO4UrfD05pNucQYI6VjMh+t5oLMT8TZr6sDUGnCNbyPAIV9UjTvq5hX87RH/RbSP6fMO5L5nuuwmivjAZQzHTwuz2g/Rk+TZYbDuWX05EWZmIttg1MhR65iSyvXQ9aImv7NcVCN4X2aCAm2VU6cLpM/yRykur3PPK/Ddlb7nM8AE7BYRVKr5pz6J7mT/VlGE0GXg4KU3OIOEElThWaZ2koDetOhl5CLDrdLfy00Bks6pZbJIfrMtMF1uVYzE6AbF2vKFGnU11Jgcsn9XXG/4hdNVL+pAnFteVEJZFD8NcGxU1c+46h4KZtCu+dxJYEtQqmSGGx0X0MUuSJEbJKbt7gjve87n2xdgtSQA2ZSHsasNzximtloMBi0FTUnhci2c8n/Osvh1RMHPPBaOJANuS+JoL6cXZg0ODy0TxtRN4NlTSFQiLqQ9DOUKqgDu7Ui6DY+IzIXad1xKh/ayhXaCv/zfrz9pTiQuKzX1o8VwRcv5FYCagK2oXm9sazUNLGObmPEzhP4+/66qZLPwH/48Mr2Vx5SKhxoGiFpg76hk0E3kVcRzqrpquGAM2jSCh9acY0rZu71cKWd0AV31Y35hQUiKfFjWr5wByalJbhAh5+A9EBUTW5vZjRdlwR3q7rHpi0+PxeKNHuoQINElzUxrPMXqRQtL6BrVwAzALEim2OpP3KQIZqEvk3YCqD+wUI5V0kP00nqsxPs3dfEZ5MGUity0vBuNkdD64Qn6A3gUiwqjPpigvTwPIAowv6S6noEE4v3w6Dn1yBHwbYduoW+cL48AmmWrOzXx+lk9yGPy43OArC7i78ypEecjUvCg+Wk4BXHhQh6Kw6HKJVB9RsOp0GSo7itXku1DdZ/PbfmBfX5Y+63LglJaa25BuL8xBbhyf3QpkX8+5Xxe+t6WCL8U7iz07MNijuqXO2XSnOxlWF+2MMWYen9fTUyrdxNlW3UmvP6SRz1sqEfQS+Ty9Y9Smu0Gd6dtNclb5Mre1vrcEUC9nkvrn6sbD0ih0X/7mEJWiJoCrA+Z+RlM3dX2sb9rJZuOr191YL1zp6M9QwoImPIfJ8w/vtKfiagaY1dZKuon/GITKHLSst9LsgDj25yUM5MyJj+JGoKSlIliRqrdCkgUxoBQ+vGL+BKYcEoZmnKYE3rhSWktpAU3Rzn1stKI9rSfTjFj7AFPCQPjYdA1oaDWiBLByHh/kqbf1+bWhBkCvUs/atkqCDeWRKownCo0NCCReNzHMgiNt6VA9YcwfcREZ8kie0Y0BG13smTmZL4sqJehWB9exzv4b2JYgff1cKpBGxxw2Uw8WPlKe+ulGjuInY5aJM9y5Jj5Yj0AVXl+bQ/+70WQXpGrf/IhhuPUQgIKN1H02mrrPhJeujpM64BWN5Zq9WFaLhoJfqi51q+gBZYhztD5qimmlyYvaVtKdbQVgxnZr66UgiUhVGL+XH3wr2PvJUKGENH9N22jeyDSHthmoBFHBGvLj08LzDYCpReWTtI9yLjv4hI0JtH1gA5DEuWmwJNuKkunkanwPgqTPVLYLzVh2kWQDwxJcj4lzRxiWGWDwCtrkXZBgZZ3A1YabeBSZ5zNvfu05PJ7avlMsIqPryDGF5ggdbEnas/hmTJXD+Tn7USdOzIFtM7tg6ro+XBRMe0As8QiGcW9yBzbYudeFhUzyeT7LVmDBWw46yPuzPM8+faLhqxSNSO4dN3AEE1mpKOApMDtbT1cSp3seheNLvD1Is6jrexlTnq/BuwWpoHF8s9/uxVRYPVf0SWZCHEHlpDwYYAmfbT5OMRngn0yOPEjCHyIIALxyGfzvSjsLuIo6/4FedZLZh8uVEn6DqUeFYCEPKn5++oTxQyJMMoeRENRjF/Y6MGU5TpKMXOsbWyr9i6oXD4GNNSXFpSIQ7pqcPQgNpioAElD2hf8ubwyw7SfA4fMosw6BkL08jp5miw3JVtVYdw8nMNYfRC8ivI8QaDdb9BfU3HI0rAlsu1hGNBzbLLooghfEf15O2kqtmlqf3neVTQLHaeo3/nVJbs69YgDinweKyh/Daf/wB4v+B3EAemtkvSYNRTNvlVWI2ksH1x58/52VsAKsgAKklF39f9SINbsfwPkXY9pGplclSiez+W7AM1Em/FVWUFds3sQVw+C8C49arzQCv6pd4OuDK4h0A+0MolfFuJ2WgCGt6eVoU4qCkh7lb+tm8ntGXVqONeB+nx2L4fJ+DBn5RvMCOxuSgPRsN9oZarmqSfBVErRYO1lQWeIBezBO4YKxGTE0NyxysyjwPlSZPSEQ73C2CtwHpWBkFfwGCg0fg+CO6leTSARczV5Q2fRmo5pQsNAiHUriN96p9MPQGZTH0wuWjvIuhUTvGtazH1NmTxkPhPyUPJ5sucr/LtXdwtZSOug7Y6VQvmlyifp40jzreCxauunnpcfp5+SWQTlXVva+z9joTfa1n73tmhefus/DKGtTsJsKdpAdl368w7OH2vQGF5hjsbTBC3VFDETTBoZbwMvAZXREPdZxekf8t0ww0C1a+ObjpSbe3MTH5u25H/G13Msieuiq9jryCkKSObKRjWE/7F5ZAMK1B60bcFu/s8W/jSPbmn8jsJPl07vz82tT7a93bsvPieYeuPEyIveLdSZpS1wSutv6E5lw+CGFktABcKBR9t+Wp5742kS/4o5/bbIEcKQlzODxc6btZf1d9az/TdBRfjV7cBF2k86Of8IgCUc/qe5+LSEYYgZHMQjCONGqRl3ORidqhcJOF/PHwZ0JBeETkYjsnWWGoI+rYe8FXOAsq8SPCbHWu7L77g3nT8O0AqWVhfuvJVb+rbYOu0E/eWOx9Zn9nJd17uUhClTg82qTp5fhEGNIk7ypY5uVs8dyfrkE1HRUZt1GKGpOm4hwcKqzCpWMdLfZ5yqHgMEMyCyMETc7baKvfL76tLHwNyrMuzxvkc0Ps0s35bOxp3rpxFKlI3Esy5zFSqxG8LEjaaqKNyokOJaF+3YqljK0x2y5WCMlcAcZzMwBuMqohzkgiCMS9tjBHYzkP1n034LeVNbedQ5X5JtrFP3XAw5HeELfCwhxssk/eY3GafOP8x2X5ryFSR7/OuIjzfdAx2MMFTd8OHoZgzlioKfPpP6w9buQWvZN80eHKN5aInrUyWYaIzqbh9WQ0LGJWmD5KxLop1FVFGH9CMFjf7flIOQ4X9df/mw7hT3dsrnOvT8UJFn0c+1Ae/nNlm2M2RGkyHkDfwe861jPuwoaL1IP8g2hFZl+YHZiIcjhYadujc1SV3EETc1njkUaUXo/5+TWlOI8RvJZ69DrYhOfrv6LBggYKrfsWxkGkVMy7RDjc039qrmceb9T8eT7QrjEWulYoSFn7r8t7zLLOXHsc/vap8CqhCtS2vzYy4Bm7WoxyrjZYqw/+6Na9XbX1FObKRElpjDDCCUe32sVvsEcYj4Ozhpsczv3xcCynQZok44eyoarqYa1ablt4brZdkTvnqZNgCl2c2oZQBHmqXwa0SxfrcNyWqSEhO18fBQmLqmF190NnskSLTAvG6jWjH6owJzK6OLh6WjfYL9lSvkHZVCqusE+R/bKi6oGwAJJ8aQUdOidzzaoyeReiBLt+4M0a40uCfYN6lThyLcLYKr1dUk6SSj+KfSLLV02JkEAXUeP78LgbHqpxXYs9tyoQWG7U371YZszg0mdJtkiATYOv+jeTXRSkX5FuzeineqhvE+PxkF9JU6pvq/l0I/yH+RQspf5HnC6uFCU/dAJNfYtviz+2G5guzisuOCd6zjiNG5WawWrhq8ccUA99vLaMDthGUmU/N/8mDq1aKGPVMAwAP5iw7+zhZsy2cuD3AvYnEXy/ogqU5dCFb87SRbhd286Q4DQJl37Lm0D5I4PlxikgvwBXkgD660nUALVuZo6T8yU8lnsh5Kv9eq1N8tnbhR9jJgY8gS9TzlCg4LVtN1V4QPcmmjaah08E4EBOLoSv95mSG77qoJ3MkKVU/+UsQ1Idz7s980M4oUS5VUb+r0HY7s2BT5JT9/X0GtQly1tNlZCobzxxDD5voe/KvrwZgEWGJWWw8+/ASFKJ3vsjMLA66Rg9nJlsGbk+c4pnV7AOkR+XL1pkdeSA6gqPC4jZFt8moDDe7Mke8AoDa8FcxPWRLCdDDlVaygllfIEnwxIV7d1eK45FP0BNfXLXFlDDy1lK06YlLhlYHx2iWxP7KspJbamAJAwFSvdK3PCGXyFDQj78nsDqrimyApEHyyJdTRNKldZ+BFw5Bandx/VI6tV5EL11Zm5bNE+TTLDpOwABx3ryYMqp6NMtTLVDbsZjdkGtRVuCsva8EI4gQGRy1Mks1jDBN4IZbH4b/++SydwL/kySSUUdnEzXFEQ8MqqU1ZRoO7iS6f7eK8KEYIJzPVqq1a3h9ef362r0e51VTLod6v7Vdh4RN0lcan++a69dKtXLrdDH5NoQrgxJLWV+ObJOH4ZxmUgV3ucrWHC8FUSNqxnZu+Dg7r0yrHy5hU0/+Z2wS0o7W4Kmzd55hyTvF/4IfNFECVyMC8sSPyTdEToU+lyUEWp0JTXGVhpSAkyZZray81FlRILRjT1rmhMag+8Q2wJU4qs+fXSvTR7EYvfM0kDY12eadZKewA/QYZbIb3JRAcbbQ+vzzF6YDoMwbV4z16dMCTGMOLr26ZjCsN/kRB6AtU6AZ0X0iYi1r6B2cvdKZC8y4wQZ+SBYCWlbn5BN+ONx8R2TPwxhJSJWyeDwIV2b7+bdBib0syWn377JrJeDLN6SwCbPNYxXgL2dst2/cF6K48lSqNVv42S8v9OiNMdB/nMju0Scti0wFDri2MtNtqVajcOaGsc+8JN22KF9QKc69sq2zT5+sbOWH1yZUYRRuUvzScRNG5rJ9XO9iyf0CNk2lxbR4FP8cKkXE8TYUoKmoxVAnkS+HkHGbLQFqQShlEMUCgqUsU1fT4nSZ62wLE41LxrjIGZwIR1EyIwbgySqOOrDLTdC9T412TFmC4Qwm7daXHSLdu9OTzGxwUDrVHb78lev2oH1RQV0zbMBcauIhc43Ake4sMN6GshoId51ufj75t6neiddf8e7ZIRQX0adJooShwPMefeuNiAbnRvpdsiQkwn38nxIjUd8Lxirf0mJGW84SbwWLOB+3T/R0esIG/RFP9gl8UOdijx0kg7rWY4hRc2KUzi1FDIY5VJNmLHaaa2bPZK97xZ/gQKRjfKKadk7UwtCabIMwO32g/C+BAa6wTT9m98KI2d9Ykt4K7j4FT5L5eFunGxtqAHqWpnXgXVYVy+LMwsdPFpN/sdkO3oh4gKlzLgtNioBUBTmSxKrI5uopBKZKMRWiz8mTcmmQhG6eif4DIv1ZU+oQLcQAYQ2GOxja4klWvw1lw4Yo4PMdvgjNAm2tnVdzU/9I04lc1SOaemgwkVdEK8KU+HmajCARGf3OOhlEnrRi1iqODMkEbGaY9BdRfOOBCdGH1DnK9Cg8phAjY8cw8CAJRIx2ZCdy0FQKzpzL3oJy6KVXYE7v+LixnmjkUoQWf482UfGeozWAAHW90AcXCCplPz1ID1w5ecBCSPXEWYn8mFoIiHR3ROYtKNnra6PS+OWKOEA+2O5v4YQXYI+2B7c5JAnDCfmURvXBFGedhX/tvafnpNThQyrPyhLQGXY1F300unmxZSEViMvP0Oy5FD/HgRAR/QubvnEniWUBzTXn7EEnf+aiMbNafA2MXAQbdgiz1cWhgxDZq2MFk4OmSgpMnDDOFCnciqHTgYbeu4gl9an7Y/v6NHuo7GgH5mGhP1TWFLLznsFTisUxPW/yZSwIXoxLaMxRGSYbcglPP4wWjj8re/182zj7oxV+nJmOu24XiGvEZMTyhnAgZJxkStuD+7OcRPo49Lr0ccf5gUxvHSj/+znGFY60hG+RafPciCpz1tWkDYNXjBeeKZap+C8JcLYhzAIlnBUJ/OEL1oZzK7nYVJTCHgtVE+hR/ywoIr3j6tgSYZ7pBQFF0gHRu4sQRj37WMPEvtSjZNzZGDGGra5vWwxgwLLvg03DlsKbO4RNAQN/kyLNy6daCh5Ci7ltUga30Y349PpEWvXTsxUdcAclInLguj8jso/X6QgkejAdUDV8Ua/Qx/0wWTn31FQyKYo5kTkuIphqJmduzxICI4+LPr6N+uG6TVrF9FjnhbTlloKJMF8S1wCEpL8AQDSSXwa1oZqV4Mi1+6bWSQupBSU0oKp7pvb19wHe+lltnWst3Nlu/g1UtGklemyZS1JAc4XIOT0LXQamhpmeXxtIDv71qZROed/4oYKPWwr3nSsPSFCF2vQacaJTq29jtgrHvAukNQ06Yp5KC4xxg9eM5wbqp/CyprycBuMBO1E0JSvLtwxREgvZbxCdI/bsWHGyOkuLBYuf+01VmRe9rFqTvDIUSVKAstDb5Zhy38hLPqpchSNL3LreRJhNtsPsfS3RZ1Y5UnD14g0IYz7canqESw3Xi/KvkYOscDn5HJIR7W9TC/7szyp3E+lNomKsJW7KWzv847yiZHrhfC4rgdBmLV1fBgXBv1dRzAmtLpCs56WMIdaOeS8GGYYqsKGjf+SyeEl8QcE6IqJdjxqwBcWFmtOgURPK+v/G5g/qTagwU/l1Dn8PlLXBSqh3RGyGwhLTOkW0+gkLAMPlIDg/vT/TjluzoknigbKzJ9knCHLphERwkQbNfv56PLXjGkquh+gM8cyTjG7w+UY+gCCXhrv1LTk5/s+mUI5SdNmm410W1x0EIJNmcksQGWL4nbjpqXKi0bdnZ8wFBAA6NENgrShK1nBUr4UyLQZf1oZ2tyZrNPmb/FV0sUU50cg8aTqEFwFR4KAZ6lDrArQwJ7pwxsHP/M2dDd+9TUg3flv3P0fCQzPpFO4Ys3dAUguzbxh7SqGKz6x63CFB+hszjJhsMia5BfDZ7Y21hgMwhr4Da9wDJJYqlvKZXPzUDns3xYJw2N84oCv/7Px+AYldBJaqpFLusYAfZgAKGQNq24nee7f9PcYUb2AVcROo311IGs8k6jiK3PKI1VWollvw5uobXM1h9MMFt9svTGEX7cl3St8Wh6DNfvuA1KEOebtZUCyp5F0w4LwkbWzGw9z7NLX2hAez9DIqmOBqp/cPXb0T2xPAQPaEnMH7QCYvRtFpBwqd8lW7x8n1jGsrsjol8VLJbjr2czFop5wMpwvpjqW7+y0xzsTTdryIGYIEG0doXRiTIld+WN8YVgMkvinwITyx+X4RnLPsy1suxhZwWHbj3Nx5zUZimy3Bhz8x+bwSVuQYUM3bxJq4MCDUJcjKJ+8Sg0fYv5JNo/WHg8gPUX7JenHSFeblwopEEF4RA3FQqSBykxdrUlV+OxXJC7oTnZcLTbHWE1ZhtxawlA4GcK/+Ux2W4DojFdumxYqBdOlrPTHadwG61iqnKhzd2EcTjKB01nZWxDuoI3cX86jN6u53Qj1ndwhMqWPnIFSuRHHsfkdhSP/aclxMaJRc3dnvGdx4ZgvSjEjaSY26FaGDyWamPDUaIkcyPdLJXkO64gi4/f1htvfoLjlyrbQX0FVNCS4rqz+1BcXBQxg0D1Hqs5y2xtfelUzIM9Rh6MX9Sam8GpmBQ3BHNMSCnvAjwy3Ep0w9k3qicKnxmvSlXpcav647l2QPTnou4ZjUj2nQ8GZjSXzi+/ZTZLzUA5LNWVlfwLWUzOYgBxa5zym7Yj7SSWXbUmnphQ7tMeO1+AHY7lQeoQIkrs1NVzsvPuSf5Ut9jRRKeKJUoQF7cUiybD6O7EWJP26O/gVglUy1lvL1FQrDS5aP0kQbQTLXSTkc7o08ZqGYZao4zPwbmikxAcqofa7YF6t8Yq/xhbn/zVCN/oog/WXzcHIfeNackLFANHj3sXmpr8iqdSPONuXwKCWQjrxy5XFDIy6TFBVxUOmZFV5XfHHUS1zIebik1s5a6/9UHn/opUuw97+PW3NRotg9SxIX+4E68btBWNdW7BqUH7CJOanHrEoFOOuj8+qtkiMPR2lFp5XLjNrmEcH+ZypgTdt0IEmKKEtL+58XYNU9YEK2JMwRO02s3puvxdJoUNY3IpysmD3Wn8g49AZ/19255+KUnsN5NhfsKW+L7BYNF/wi0mC0SPyUSOYjLP1nsheWQ2J6kN2STi+FQHXcPIZGcNQWb8VRtBgfZxa9hCtQoLH4QW+k+YRafDGo6U0vB8qv4XTLH9T9uY9VWyDiDx0txiCp+shRwGnDq9HH1iAIhHJTaQQDVeNQiCeMTA86kCWlOXHRgC1+4+yKMQQnWxlcWc45WzirFV8IGYj/MPcbAKPDczhvdOB9bggmU80gYOvPTjfJ9jb4T1veNj6C29Wv33o0DFEP1VLsVrFfW2e9rWqwjQxSWROr69/mrnZwZfFs0+Qvhcip4nSkCis3d3GNS370wHVnfC33mDU9lA9c7ffhTRQ9qXtctsh2lUo+8dtSnjFEGLqacenW1WCCQGiuZFDCV4MTQ3H7pBnwciMh1yQnHV7BtRY6romAzvvqHT5RQIPgPr8IGP5/NQ47/wLHWi+uf7Pmx6SOUWhm73sO+409ibUwHx0B2sMWH6tH0dMQnBNNEMxZLCKuBSk14sKzpea2mbmkqxfkK/1LMxJzrXQI6FjlJGt83YuR+A6ywwxEfrav59PO6j6p3CIVnHINEGzDnTU7AKMD7tL0eV+1zRPcUavGNcumm45Gx7aenxQbFatYd7IjGcVvOh7FGolY5xICCu/Q480eB0CogHMwHgWIfpc4BXwpfINEDrDGAlH6CzHUzXRf6xIS3YGG6D39sd1JknEGslhH+g/glCbSIdvYo+P4oogjSB6qJ4CRDTNLmin72yv4cT8JNoBdTwo0xpe+2fvHcTZvReA+5DB6KC8ZADCm4IN0LCTBHKcup1PGleQLGe3g6aaSM0AzwlCYiDSV9S/Jwp3tk17BwQexwXJFfeJKshXRg+zQiL9Le2Bpzsd6D1D5FfUlzpoVGY+Q8Et2D/IbomvV/DQ46pvxckt1jpkowbyJTb/wfaziupHi3455B3PN4eXxEmgqFZqmV5QoPR1SWbwwZU/FWm/V2FB2UB9yFuhxmWMquYODV1GhI2ZV8jIKTZVLRufoXwtj176gi0JIWN20xtHntSIsksI6hAFUfLedAYdQzyPaXPB6mNw19RyXuWZvTFOem8SON0lSdIJvmJFFEH2YuIS4cdCflk3JhBrANYb6BtPvNs/gB0qHB2AFyywUwUf3Nq907zcQm0x4V2W5jZJjau5f0Q5zYQH0eYNC8mS/H67VgcFSfOs62h3nrK2D04iOD50/ggWQR+VxA5gvLOVpK8LVcaW3KD+e280OaBnWpngm9Yz9bvcRcGJieu9X0YxfvmF3WqkUIfEbJoPXYQF8+luZZ04TGEGtAsU0uBz0UzOjhIW5wgBCKfYxSvvNQL7bSpoXkbyU2pp4GJZEPLeh9vUqSJrvRfcMjGugycsC9UlFDERElOngahC3YlJFcqGiUMZr+MQgccUEJJOw4rhcg3NnG8xr07ioteCh7LXrAl2WyUmpc6DaaFXar4VEudEBcS++SwEx8u92GkmHxlzh2SIYaRjsE/bPt3R4QrFX/tg0tWivUpuey93rUY3KxZACy+rpWrRpyAPjHpNOZMvm+fj6htxm8nz2Mp93aZ7ZLUCwp7Gy+K8T+W66ZYtISPGwUZEQ2kaixB1jJVeHEJXIyhpd+Rz41lQYJUL0QdTS8DnzoSHAsoZqhljx2XjdOehANmXrWuf28gdotrhLmGHMiEDbNzi8iUEnP64rcIBwns9xnMSmtXVnQneSEbcmCgc2hgZcHuUrMsxUeoDHm/lnbawIHzOmMGUxVv6indVIhJiWXIbOc794ohSqezTzUH5Lkx6OMUUHDJUE9oTJc+GpS5isB9qIqzTu8dzGQIhPxVeI+HcE1fjEEbST1rvzJyjL6bM29iaDi4ZLSZYf5Lh5+PPS5WhiRsFmufCLoey/O7iNmdjPPGLon+9mLSBHkYCITJc03JcizjXmM3dsGFVaQZCzGOV2T9LT4gcY1obPAmlY54ljPlxxK+ybjwsENzM0XTAQW59y9jLorMdHP/vIp+VhszH8N0oa1lHj6scEkqVD8LyCWZiXI11dA3l0l9a9ViGjFUn24zOvcbWvHhtsjHLbLPAVzl4uIO365VZ3xtJBD+FxnzeWZiSvKzaqPa3ZrMCXRFih1BR7n/D5GnCtyFeawkh09N+tiPo722Oz8JrpO4pYmJ3BkqLBjvZy0cSwcB1Ch/oUSwrt3RhhbcR9THIM0Va/yCagCZq7sTRnqtQEzpTV6i7xCuooVeAegValfwsx5mZH1qT62JrJSNDhLNuhrDEb6V6Mk68XpvjZNxHENOvoxXBX06ckCuPs5Z3mWODF1GxGSSqrVBKjLI9eXP3n2k3XU1s4JbjIhEIt39hvr6SXSAj6di2LEt0p4yu74XsB4fki8HmPMN+hCGdv8nGt9m7WtAU50dFYwj0/Nfc28h6w5Uchg4ia118YTUqLspyW9BzmA20czgItjRiIgeblz19WK22TuYqJPEUKa9Wsh/0tdBXVH/EG4qg2I4HSGs3/K5Jaz602rEoi2TVymM7ohbzokEUUuyQRaJi7ZKUiWswfjF11qzog8SXKi99f8p4c0HVU/VKKE3wMjM2qJUneRuiOAqZNYvStjrb6y/+sS/89mUsn6jNdJZ8GFYJk1zHLfBsmMYc6wPZVDtDE1NSQ9eYZJj2GTQFKjKbA78BR009zDo++LJ1qojmsGepg+Jj95RDzbhI+efBg3SNO3U2hVZQgRR805YnljeQqMipKqmpVHlxDZ2e6zr9w3eHwtMCf32lGzSu0PljWs+HNjIiHnO4rKZMB9oFeLNaHDqE+0RqX1E18GUUqMUOPlv/j5QNx7dpJaDUeF2k1Hs5eGKh5aXWB2RLrPrwCBdJ0RrkvjvTNacrpdVfG6NIJ/jkiU/S7b6aMFPl6ulsyW31dSDLeEiW4cocAaPsnX27yPHXLNqWfgVVHuxq/SmjK4BAXry3JFbIwGf5KvWz/27jgzWK7a/0Jd6igbWQDXGl6Ippl6d37W56zB/QwJ1+auiqCUGqzyBP1yUp1V2+bpwlcEcAbKoIyrslNj4HwAG2NN8I0Mo9J2Z3hNRelRJGSEGFekzKdFHWV0qGW0XxFH783uTW86IGebwRwUDmLew6ErGyLne/6pJ0jD5Z96yRRRgJ78GugEVlHLbsNGAWLSzijtnQdFuPKfVaSpgDdGsr4IeYrzjNeWhx3z3TXN6mTUWNeWVnELzTTfUGTkfP7u7L8CRvyWtIf4X43xfnWrmEk6C5VTaPCkZ1gCrcUuEOZdg7EfA0T7qg7rVqjKl0jMpjkPDfRprJmWOCvGYdqPqBaNZZCWJqGH77u1fr48WThhluxuia8I/7Xbk0yl79sxlGm5YOKIcXD1akWo+t91DTH74EXs2XQxIVKOXtUGr9zVnq+HX9l2MotbM6F/cTMP10i7WuBEf0lpf+JJp7jD9YNtKG6vANJr5VnRESHi6haixppb1ECeb1kJSFasw7ojnzRly66eNvWk2Y1CzcNvxgjJF/zDJb9LWWKE6HPOjIyv4bhS+5wytCrtP/9H7EWQO4i4VV5qrA8SPFAl6hUeVIpPIT5gFR1vjRyBQRa/nBFFtHS4ybrCycDH/11RTWuRNCGuXdqalH7u25/vpszCdqZSGOT21tw9lgt4wheScTdEldYXZ+KpmctPPsJ2bnUQukXjJt9QmBfN+JpG9H74A5VM3v4XSJF2qcTqGU4vqSKhqT4O7TDcUiyyoLIpdCQ1MeQXIFgIWM24zHnRSH/8TyfO5uAJhoB5EgO31xO1ecphHNrN6kX+4CIM9om0MUmZ784t7q39iakKyHFYIag5yoL5JAEttTHQpdctd0cI0XgZwfYTqSFjGL/gnLdRxoFbJ9u4wTEPoUC4pMckitOlJy8XbVreElBRXifukAFGpMR/XjM8AgauMXNQiyBbq5EKQEfPxlmJdT6uI9HMVWJOp/k21XmDU5k7mbxdyGremty605Wr1pzI6rDuko9rzDnf3bsvspKuSC3CR84iY3APNwU6dJ71UH+g4Y7dzaIEDNPYw3u6knypOFLQRBzIhU4IWVyDijy5i2VKsygtHjAT8Od/OtxUixPDiKGlFh8dRXQSO31xvE/aWEwnZ9j/Hz/VqguovJcRKL3ZguiqpGYZddL+Xs/D9AOiABaSvQXiM/YKq+ugMyV1Qb+didMsPhxMIAN2+hVTHHu09qQnc0d4WmcYUqbtBLNdcm1+g8OkOi5MJRKC0ekf5pvl/KGRkINulG2N+/GuTuWLLV2QOZ5lb6u4W5pkplaTifwAk5Pz7EuCzxqrEUPvpq4K6uRwLTF8XUtQP5+XvDZ8q7l0EW580b4O3e/VGzeMLmCOcBGE2q6LGcDoRuavpvIp/rKc/kKkQzBnHUFtySYVwtZbJXnc/UkIuCRJaNCi/Vn2PNnTQuvwA69ixpU04ZSFLPSYlvr43OoWo51pGZlE6zP5JbhEBusY7jz3XZ5dLz7QcSOocZ2ToAXFaLCgdmwYsDvS3ihqYeDqXESrA6XaGR3GvvSiW+59BeOLAxG5cJEGT6L+Ie0Tjdau6sel435ZAPcn6aVQJEFT3vbQmnkaXI6nSj5wIoJmHCxi9An3boqF3+F0JVB2QNboxcL/mk+vPjUO6mqXCy4dBIiuhu+BT4vBoX+wP0t7fSHDNXPKs53+iFM45wjGZmH153a57qbfyIHDg+1EXi4ia3EYk20+sRxAp03lebtXEGJd6hnQEST9J6ta50ALjrm59TWbwpLEcgGRX8r1tU7rQePZji8N2IG2FcpvoJvk2iZ3oz2a64byd3zRgGGSRvLs+e0z0QnA1P02P4NTdSzu8Q+E9O7wnwZxCFITdasD8He0E1hXyuePt8/F3mCWtZ4SMuVGkRF/wfyRA0+2Dtg90/iNohZrQHdZcjTmB1shQb+mgrQijaHA09zpgxrpy2vCwKVTe//sKlDvCtqV7JycA2JjJJs0baygXrdqpOomVMBk7p6Q+jm4wCtMme1t8MgRUJZNiGJi8E/QuAppxOLU2uqKZTwh/1NutexJYlVRbIDW56gF2lNavEjMly9qy1cqZmxEhs1K8ZrB6mPcDUySq8liCjjDwcUaTe3EvGdZNakgZSAc4/A6i61sLkN+sB7/lV6c7nigtgSQX3xD4Q0SNBRgXpovzT+lnwcHSsEKL+Cu6zpftvijCmBvOePNuHstu4qrBIyVT+U9b1ng4bAzMezx0Olc+Qf1Ei4q6eLLS2+TMJ86qsW2Jd6Obioc2+ISg/s5NZUj5gWUeLwG84UUwXE2uEWARdKG8g7W6CIy4GANJwhp/wknonHJIqTYzvPoGwNtKw+rSEHzBfyadDw/UT6rRmrnymMbBANjq+jGNMWDAdCOVDmSotfuBAwefB3HkdYR7O/NcWz/ATQNv5NlxJ4zYxFLCnAU2xbFplsmaNMqr6KEZoYLm0FDN9DV95UVuPGVy2lx+wLsuM2YfVOuvA56fart4ZrjOXac44ZMeguxApy/suakS/Xu6ja1g5QVCHAEH1iu9fEmZgmiIAtoZix4Nsdx9tnoa2AUlM4EhlxIcE9iFqeE7YP30J6z73s4TIKplbhJ10TQmQTjIMInXc0D9/PMIA/7RcjPJVijD5dZCVmjn8gFw4Jkl7M/blJsHo/Jtwku55nVzcM+9nVmDLNXPCVHqvdw9ABtqRRT/6Qk5107hWux9oSZICZLUcqblMVdAcQV7CWvmMFAScf3tznkOPwESvcUIiVsTNaJCIqmkAky7WQlNuWEX51WRDPvAcM7peAsYYvPv+2pKtOaruYBLsc/md/41Cwu/nAb6JQ+7OA/IEawKOv7+zgpcyqtRD1uAQavgBvyObNwT97x0pPzqkmtDaE7tbQaZPGjAJofyY4SDb3Xl5um3rRGFT8iYce1Qx0ZzYv8cAYWamRi3aQOc36X7w02oij0fqX4h4z2X33Ewp8GXPr9iqKDy8PEWY7OHhkjYpotHYKsWY7YUKpK3sRf95Va+AuDpxNms7E4/FJvjkpBk7T89VPZd9NavqAJJ1veF2FZRKfl5KdpEaTtW40oQYzN+INi3lWOncuVvsYbDwPWxpZyjR60FGiQOWxNb3mqKsZOcG9slfH9QT3Ylqi5kpPWIQmL5jbhYX+S53p1kvYlt+BMcYhTAMLRM23EhKyJTm71gpklJ5St3GtXJL8ewuvGjj3X6y/e6Q9CZAI17mh1EJ2eoEDy5QypTzskrQG/wgIDzPNKvaHBq+PU/LW8xedtaLV0KEGTeTkQsg1A6B1EHAPZrrbszoIavkbXWYoc7F0EHiV+VxPx6G/AS0xPuwPbMiyvomoqRLKUYXLAsrEK0kNkT27+VM2BeaJ/jXm9k8f3WSYwC5AE8Tv6eXKYQvAD9WjYkucFAOgQFsINohYbUfhFzOwKvtygvWhcmCAdCCzulMVPCuo2IKOYGE+Rr5IIKOtllEeZ56E04bv9uklYcbmfgpA6Ss+1oR3ngDe7K3w9NBCWOd35vbyqnzopgaSIoY6MEeaoedUqQxNR1cx5UJmWcKoFGhFrNKFhFFysJ4XuqVW6kfveMJ0CleSgb7zUfrhrF4T2SJWN9bCRI0WHHiduVFtFXkOwXUld2T4GqXpqV59WngN+Nt3udHDSP7+aj91z9rZUYK5wrxC6pc5R9tjtVpMSjxLKXQiO7SfhhOHyw6MedbTjyat8bUPn7gO0EVbszSs9KrJ7bWxOfrY1BWStwN/ZyCwQI7mDiTqbvziOonINFHHUmlwsa9lSiBy8OHipqOP3+XhxRcHLYjZgcwjT0UMEl39ZvTrRPd43ZSudAjj+AxzzuCyeVTJ8BF01EifT3i8Y9knEmn54WPRAXCrUzOEdTpsDMzJRLwej69nfUNcCDCBT6cMwvo0Nd1EXuz+G5eWfzP27Fp4h8UTCZTX4Z5h9mU2n7593ptyYPa7e+hzR/sdCThrJvmDC5s+1TnAWsV5ArnpcD/oPufr/VfmLjLkUD1fMalZwKPFxb90mVdhOi5SBBRZW4ki3bi2+aWxSnFb1QruL0uCyfuXfrD/mNbEZ5hLCLfp+tibpF10SJ4AV061ke9puiq11uUYVmjUUl6l29jCzZrHZGANNSJ6ADDdSRO0n73SETPn/IO+jiEYQPnY4/ys1YputhFU4mUpAtZ2mfDj6a+qo3yTLARSXk/5LO0UoacMeuqq/MXqb4DnEdlV7YB1klWRsrTsPxrSh8HCT0fM7MC/8uOEhV1hLZRb7OMB9CTFYLqSO25O9dz7SVBbBAYVEApFvw0sFu90ZuHhGVvTmyKPiys5eonAiyhr5faXr10cvVlwfift9NRU1MNkeX0duMZc6Y5RZgIpGmgroYrvBU7hkuCl5aaLZhnunJUITDieDKTIP977zhjth6ooz7ABfST/Nb+GCHeAOcuHWBFhVYQDC/OEfaMPgS3Lo1VcsJCOCf7XxVSoim9bcsrsTVOw3UC6KJfs2fGZY/EaFl1yOe/e6lwTwPWXGp27nZz4a0llct5tNmImYAT+8zRe47L25hy222kyUVUNALtG2D6wC+VbPJE5NGCEZjscszgJl3GON1I0tlRlrwrO4S/V0liCazmaWte4Y/1U/VpFuiBjHxhtVa4B/7gqYLj5/ZxspcJAko6Y+iUxKjrjdy+5ftNJ0Z2pg9nArpKd63iGrgk6fWWT5Ne4lRLoyJJGCjDIGUmLAL+ykUyhwYAHFnT22jfGgmDTjmipPrcxqgoniJpts9u1oZ9xg2n4zAHyvj95Ky7O+ghZNpfN9A4x6IqkxjxSDzYTON3wkfCx3uIK/tmuUZOM1OGiF4iU0pc2OxKyW+upkysBc0G6NSry25+59zkTw+wkeHFoFvTJ1I9Jjc8UuX2u194xENbZsOV90wT9bdzUbx+2jxaFq5YhEawGI/riC7irzV9j5oC8Gg3PQ9slkNJK1ACierkYTTYKaaVouWHpUpfA3PHyn3fkbzBm3QhMPDxfaFFjIg3nqg+7dJHNeOCgr8mFW9/eJkpmMMoSgiK5KEFR5hy/3sbkuIH0un2id2jvsKkJSm+BOWLS1KiUa75D7TnbMbNMKaZFzXT2A6+V/a8Zd9ifDiJJYF3Brr1P8r3Yyl5YzcUbdtor7WFcIuLPI37de9udQyHggKbdnBZQufAVTKZ+ZTzmRbNQsVjspahhfSJMypaOhBERKbivYIqoMql62ofQ425F0E96/HPq+zy98Bms971a7mvbK6Y1C9jQL7myivmWSD/QMaVFCto1k9ZNLFhttUhJHSU9fwKgrG/h+/wXzxRLM6TxFSh+3Ivsz7AJ1zCM9vRDxdWFOqiTc6wTTpZBg+ahlCLzTy9RW6Uv6suLfC6fWHaKsQLbytGHyBVG1bLFwcs20r8rvJPU4wE8fdm8GTRig6Ss2cFd8dTOHvCwgEEwI3dCSU/wZhhDht58MqBA22b6iS5H9Le/qidcgaoSJehuxu5QP3Hj2ByTNAQib3izJHSDVNzDF2gtMBedp1Mp6eR1XMYYqCv0BIsa6QyjOedaAxOg3JmZ16mvMdvMkJiznG/+MixxyMrQzSBGkDnRAUMjqSpxIms+My2TMOwbDrbeePaddo/JkVS5r725tVZK/68q7lQD5Yf6SUpAnJd1xyiISxJllvGM3GlApOEwBJQsZUterPsxf6AfDTYuv8EvgqDquTG5B7/wn+IAop7XkMcSHmY3oNK+W1+aCb8eVsQL7dXWsyCa10ABCJKR1yzKQrGeCeoMxtOYlAytX5krougHCd7wEPpYmT7y9WrkUdkrDK8R7qk+v5MdFPFZGNSWAlQdXEzOVpZM2lOuiiPfSuotAIHDJYAP9sYVWIqBCbW3v+v4A19ed7sEGf9Yu0TuWQO3kU9VtOtejNOYVdhBDiOlANeXiPXi3a1pblxwjbogPCQWiWNW/NnJSoyRY0pUCiHYPHqQXY2uVhi3U9rSMMsbSONhMH8pTpSTB+Jj/Ii4L6g4xopXmgagZGadY+sg5qK1yeSgNgmYzrLrM60s9DdUGrp5aQc2CsOc88XLwD+tBZ+BouRYtNA+xJvCKxjTuOInnAQX3gSw+NzhnY+6DQtmd25Eh1lA//6FJaqmG6m8PqbdD0qqTU3tyXIpIoi16PE44tzrmSn+u4qIA2N6GNQzj+4PjieoF5xN6mp2LJW4Ov0ySXSdUAoNCHXK3vEjh3Fmbvh8LkRjNtFIl5QGw/0+rmDNsqTGB/UDIQInoBrKB9/rKqAxX92uqitYocXdVB00saAm//ZIiA+w6FIO/emUtPSfN6DCWWK8BybMRXusfjSyzHmMr6rEDyxecI9qPT9cfd4PxtnTtcsVH7v3xMD+xFhhxPHGgstqcddReqGMGfrD/Ep8UNj3LT01Q+SVQkDJaD9pzgPE7dOD43NDwoDdwnLz90V1EhBYBChw/joG0/K3/sjNy6DMoyrD/Yek6+x39YvakMeDdRHjcg5cWaQeUcPbjFbMliJoIFVjlrorD4twCSLF5OYxsRd0k5nyRw+ilFERa3l5eI1IncxDftMkLT1quevNR7ckFZDPFKLeJt8P6/1D9vXF4TmnzKjBxVvtP+O60ZxdzP4D538SywLMJ2QzBxe5Fxh0QlUKrr3x0eq6wEQG6liGI+zNKHBUu8jxFulYoG/EWyiUH3xrK91neuAQUM1kmLBP42tPej0nQT21BPcqE2VegJO6/518JjSlUJP4N4RJ7jG1hjvPWia1emqRj2M+wqKSSE6sQTMTC9XPXqhzHT2yk6ZwcTen2qkU3jfOCC42TeLCiZmdGjsTjarzRMl+p0/8a4FygCaqMLpDVNjSYd3tk3aAKTbWtIpY/HQ0ex3GuBwFTH3VoLPF8AQFrtnRqCYoniGFXa/RASDJJr/qFhMrnhhdqG5Y+Obe4qQkdV/3dmq8z1WK5uNCDe7YaOHjRyRGtdrnEt592AcWSCJ/8uIAFC4kOoCtq5FFeDbkgBS+2VmDD6GlHEOLAU4D+MyQnJmvj+LVoiT1PyxUbys8SkhSBcuWHgbnzpfTCHi2IS3Fy8Ik3J9rCJK4FnKFq1IxRu8bzLTPW/Qi6SPCBhoaT3VnTrFfod35J7jEn876teQs/3jUpssEXQYEQfgLFxxDx7MUpsEIFZU9rNNI9WehgHA8kZ4d3/YmIPLtNKBviqFI4xdvPHHsuAIYXM2/BUULSVP014D3+u3E6nc8YfCzXXN3sVOlh28xDeFYa4dWrJI3cWUbne3nFE8bHWk9oR0uS2uLLYPzle6T0YgRTB45sN0v1Qa6rLf+sP41hMNUILAp6rVS7rtK/wGafv5PIhEWobp7F/w9MVVFOUpc9+NYKIUmy1a02h6HtovJwWSm+L2Vwv1mDlsqLGLTM+SuZr7Z6S+1Dfa6XDHoMxgfQUz1LJMRCgs/OVWl/Im3m+DZgbLurdl1TkRB1TSv/Zglp1XCHpOyu7cymdOdK4WFC4wxUzURKdn5oYl0AfKPBZnjY9HNr5wQzxitk7T+sCZkeZSvDFD+qvj8bxO21MaWUi5NxR7zlLqswJiPjK8AMLxE4wFSAYgsnN3XeMMYtdZlEVSU79yBxPnXIFNyS02dy4Y9+6oUluXXkRa7RYDTNu2c2Ak+WdP6Xtajs4JMzEVgCQuQ/i/tEMnTKXGlWOIQ5+L++hkORpfEaZMe1xTFEXLTLWSe04Kb0o5+4mzR69oge/p7kptvBvqCgKfXRJNyQybwgmJwCrUJX8qUXHw2DyIRjsfgjez9uyZvZyph7374WL7pkC2O05ijQrziGD34CJupyXaMqmhUVe5bWJaxnxppwrpB8ndeT5jkCzTSggC3xqlDDe4grofyO2p9OVNoXCKKnnGqy93fNnW2Q9yn91iHaUCvLEkqfeHOgcuIJ6rqd22ov9MS/dnvQhNnJDZsc1EBR6CC90916Da+55esCFoPysXqF6ggXFOxFuIJp/RRyxvpv+/eDIvNgHCBxjA7IWWj+v0Ghtu4hto2T1BnGEKtXlT7N1ynOsT2DCBFhrIlEDJeWftnZu/SQJ75PTv3nf87H3qpA6K3WuI8ct/87Ugxz3QPxRiNSy/yo/esjO4kns5n6hX1b9t615QUEfRBiezYfy1Q4I7ShLGvB9L2bBJdH6g1fv9Tlo2/QorGiwE9H27nc9z6FbcFZDeAyPzJ+q9eNzYPRWTNB4R4orgtDBohi3QouOKJKfmSVrQHgrNJ/nzg8Lw1Cis7x+Sn8r6YESRVTZVBbHfo4OZ0ui+x8CI3IdU5dO2GjI1dbLhbe3+E6g8XaY/z0QuEFm7nYVm86VTL/iW//Rf1tl3NsUPyut6mNrWL+8nYYAUppfMnfnTiHjVzfecWphUO4vlevs4rROw7EuFmO4RMxcjuwFAIjpjl9dw5xL2CWrtxtLBFkBGbWpIdeK1ZQ0ekInpV9rslrZLrGH1N49dPWY0aeR2jDI0cX65Ovd9acIRDd93R6i9m78yu3vPxHhcKWFP++XgaVadodFHlSP8Eb3Lo1fid4fdrNkaxGv6sDostt2nBxYBE4COxviO6pNtkN2/WTCmNPMJGw0WLkwnyQcG9Dihh64v/BnWg3GilUDaakx3X5fChqmcqA9H3t5hgeYTkNXFGU7qNdmLFK2z4S5U/yt3UTX2eLwVpqn/gQW0+Nyp/tfSGUU9D07FvbS5wggwoiHDFwVPHR6Y/njeKVz6nrE5cmwd8hFy/8IIpN57Rytl7CnA/yRMpGo+JQ8xVCTyHedlM5SL9WKs49jj3ZoGQtZa55E73kr6hRw2bR0lREcO/R1/fQFGfTn/PWIEPVI8j1kFB9UXSAdmHlY51479Zd8rAhhXS+bl+TBqeDbM+YerYBPx2Ea1gTY/lR4Ai/6UU9BKBHQ5JxeNU7eqkqhPipahU1QeSkf9A1hMwOsieRkpwfQF4GbMyNfHOpJVC4QgCGJA9ToLe1QN8Fttu1Ul+XPisqkVJvgBF6ox0t2TctQfEL1js8vjpO3MBbaWrdhMiRIPRrNZSeDH9NeZFH2aRSXJbWNW9Ke7KvOlZHOTFU2aDzy8A4TqV5VVtOpatg/Lg9+rk5Talr289gpXXwIbyx2ZvOBvrHRqxA/dEeVOjbOpSFqcdj9wLE7XgoSPQDX7MlSkAk45u42+kFbdBuKtAJYe5wN/unQcPiBDn+tdDEK8ACh0B+yWk28E1agOtjD4o7YdiK0f0Z2t/w1T/V2M2lZvCSZ61YuhNSzSnbJWVO/axZk/f2MwWUjQvpjMRf3xKahk2ZYmbq1fQBam0R6N/l/YuqCb4sAEEGMPiw5IKeyyLJ6GK5t94zxZ7P9Ogeyk2CAGQQ8aGQLpEItg3O7/oan0VQb+K3SI82wcEr3sSFxROWJjmTNdH7ZqSs0HSRM/3JbnSGXHh5qtUgzrrry5hKuytCzTR9n76hi/DLR0Nwb/4PhZIkKyF32aK2gRubBPvCTSYICVmFRTMgz7LPfB85mS56t6PmzQ2ZNmSL5d+vuSZRYgqDJ+DbTmjA+FNLG1xl2LsjX5NJ98HjFvgXnROVRNzdylCJExV5dtMgm2Q8Ju6IwiCo9KMvCZvL7+8x1hwHNjOsks+5819KOL1yA17RiWklFhTs91yBQh53qu9RzCQU4/X52SUb7oAONs5fHeSuzS8JKL8GCn74FSuWsZ+1DhIyxsVSUy713hnWW/nzhhG7RAFlmgGlgN1dXSIBMojF4xGRNmRd6AlkR7RUDawdaKtHKjoiwPSO7EtN5ChPMHF+dSrks89UbUxxvd8PCld2GoZU8CcSGAgXZh8NHkD3RmTR8/6ecjHBvV7h2OlnUnPMbgO/V6dgMld9RaotG6zXtCixZ3gAuNPEqXZx2K3oYiQG/wtPAdlAH6yZvO434ewqEksc/JAwPe7MRBIv8haD6djHCuVHevVUhRhxs2Qsvvh5jKDIhI3LJ6gvPGXDbpdXzGkCunevt2giMIkLttX9uOrw7rQDL51MvkyuwozMziNPW3T9xawbQMB6bdZJYu7V1eBqWhna/vhq40t6WQ0tYCRPfPRauruFtT+EMYmnFb2lop1THmt6d9FSyjUzTpl2zsGfKJ04+yNOZGqNruy4ho4bd4W4d4UuWl3TyywoHHruRFqFLHskbpqGymQ4y8z3tgM95RgqufFvFHrlnMItJ+wkmhf1+Q0MSDV16CJetvnr/v/MId0dmm51BsuJAs+lJNxoy/Ae554cg9kQxN0W87J44AwAZyN/WLTKieRsZY8sWK7YdoaV+cZtPs5/S8WU+HewjjO/BlnGM2r5l6QALp+EtTOmgLZ/JZu8f9KPKCGSHowZPRXOZDoMnUEusbqwzr7rO1EmqMxAM2Zf5SM9qSk6fVDaAythMQ+2ZOUDcvcfOx5TQkKbZPYbPuffwH2F73Mhx0akLvsHHGwy1hpiy32KVcoW4LPzjwULYoU40/Focso2wUBIZym7zmipLxRO+sT2IuAqf6rzkG7Y0OzGtayPfyhcF5GgxZ2NmjbkWC1gelsxLtlI/4J87DFGcEw2vyfHqlk9ZCRhuJJz9nL7fHe9Rtp6Jqn6UUBIF9LVA2pJlLQ1MbBp7W3YgWhHF46kkAGRY0GUMk3RlRCJeAkaqRW/a7cazZdbR81HkDYUimf6miAhJxj7x9t44bAjY1QS8Cee8aUcVKkV2PSElhqkerF3hjkodwmjsrb5Q1FeRWCT7QDQsbDZApM46dfxd7l0gxc2Zn46KCIezhLAmEgJ7skPa1CnXPw8OWQx3OwUji3nDxhgG2bBgrv37LcGCEGLzN1NpKIAW0l8P/7t5jD6g22tiKKlYO9HkWjvkFj5RlNcQbNrerkBdezgHlJaJ7GP/tBMnjCuwabEv3tx1BvZr+rVGY8XeAbs3NnnYqW0zHzgt3nZ/E0z4q8ywtNhfj7kz8mJ18OUfwANFHg4zjdoFxAAEyHQB/dHhP+ypLDRI4Xhf6+4X1hM+iXJGuw4xnA+JedwrvaQCxetYaiIS0WvMZZVZ4D5ISFTdFwcm6S0pVpXY+zoZgTIsKSsB9PHo/i1KOE2B6eGfCyMwHn01Jp2+665KJi6oRcfmIjgYrW7W/3JxwzVdq1O5wQKxIqGdNO7hZCSSQtaJjWRB0ZWVUhKGKxbKEoK7RHd7GEp+Ck5iPrTI11IZAieaCyKj2ElcVli2xxneCG4CaCDbGByp1xZ3493Sq3UJtaJiIuiUo729U1Eiy86LcClz9leowM5rKdyynOl9ZUyNxZyCswwrcqELOHhhucHDJg2miL+3er7XxRl47G7OL1ArnuQqGVHfwNHd/aH8DhtsCxfqElGcnLvlHzSq8flBURZfnfcL1NtVaVu7yjtdpE9SDeYf5D1ByKdQMsXC9alAf4j4Nw+tHuDSMWl40es273FkN3QCfBMEVy1qVNbOMhFFVLD0uxeXNHtEVtUNuuEW//yAVwD2ooLx9bj4UBKw4K0daSWhyORcUb6bVvqSxzGXrK3/5k9tIfVZiN56R9d67UDGpyEnggsumBg6dT5tZC4Yi6G69oaezzZSAcQMjL9d8CpIk2juvNQXsflFLY1QDsRn4PFmIojLrseJjrWT4IEGnmKLKE9zhAicyXQ7I01X+ZjWOW0FhImCDDs6tDaBqLDbOdVuOul4NM3FOENSiLmusluDH6dFp+davRcwD6xpScaOVQ5ro4jALFyaqac6PNyALv0wq/lbOeKSr6hCNO6qkcsMTcmwubz20vdMLDU5tqJu2sRV3E3JkFxGjNHh2Ei4sZTNdvCzOTdAsjcpTBreTt3woDKgjc1vvolCO7qW/DS1ZQwkg1aiyaSx275ty3JxEgXNA5o6HcRViW2BARuorzMUZclBJCDIgLwEcwL89SkF1dzQ2jgZddM8JiYHp34pVUFLVdkIDilyvxEmdgeFpOrlAP6zb7Vssuv8t8QzPWTNqIr+dvQ0B+bRR+XZTG3e9PHxIhCkOQPAzggCthz4ynKBKBewUJQxdgzUYbKZ/clBpFjcusWzZOSb7pxtSo9f5ofGiBuTZyjK1rGBt3KYxcZlPeoBg3X0E5y7d8rUtwoiSzYRiy6TEX1d7n40Tc2VvktxgG+2a3BkMHAydSzt/yQa8OX14EL4fEZMgjfcrQK39fqM2fzgmghbwIEuQ6OICunS5gFVKSZqY8vtyFB4mPIrNJ7V5w7spto09yJ6ypoaky5uN+PJiZBccayXDygd+ugJ+D+kYm92RqLaSxOsYkNBHPYLZRFzhwaWq3SOBGr1MWRpPTXPhmpaCOLKvgs38+ewAwYZldeIEawTDI0Spwo3tmpZ7+zKwRjdHZwOoT0Wii5ysdQBvpEZ+isht9BLV1RkIAnb+iVIYtt7EBEee8AzObDNV2fnIfQxuWvtbUVEa6GPClo3c4UOKvRL7yNBBqC+x2b26//fgo2SmVnElI6KYVE8/h7iuvKdsRrHuIFct+OfvRLu6P8DpSs+CBz4/t0lDcM1TLSrbcne576PrewU/rc3IwOXUVH/nJ/Mbv2uo9iHJz4Z+2ouArI7nDCEZtP/pglEA89Xeic30LOdtBgKFET3tftpQPf7++zg6sJs+Se6V8whInfozk4whdqlXqWwAA/aeA12xRHROKERRSeMsmi3xmXRy7wHqOvd5tZw1vLQOduJOZicahoPJx7uVVm2Mwe0ta30bCSPjZPYwQeM/itAy2nkQlOxQLNqjcBPUoaOfwsJsZ3MRlaA0daCuQZcJfXQFcywzvRf/18GjySmYTAyooaLcBcO5F6OINTFtQ9Y8gxXy8KyJEC/JYUFpCENf/ddepLyRSvMb5wC+Lc5RZkoNefq+kqdu4Io/3btCk9AswKJFV0NFlbsz1lrsTp/I5mVUubfE7LtZ27wEUmVekfxoW2sXX/NtrUD7bKBd7s0PhK7vhR5hHKUciXl718jWxnZ6/AAo4J8T4Ax9Et3JawLhTYVw+tR/0rLBjGWGrBMhlcgogGCULlqG2oVYNyOuAHOR4rEzQ3DC53mMbkSvJlwBR+vRDxcjhmscl+Ah162vshGsfWmddd//MwwQeLrq+alqUpSPAUGD8klsazo94gcXSwNK1wb7T5OTG1fYVYOiE5E9Z1wUeLJX5X1PoDRttchZ/1pXjKWbgPZpQufnmP41aVvZPxaWoNmxWEqlnDW6/qmAEMrP5/XaSGXNRmMwgm2XF4ioYhPXF2DPzherlIutoLbEiI7ZInEf4uPj5XQl/95Fbq90Vk65/2m8sSK44bCHiRR8SwATWJzPW87juW1y5wPi2iAVbBr/VKdB0NRKXXQjXFTnftobNX0WPnrzL8/lrJcm4lB2VzMqKOPrcAts3PBrviecqJPjRxfes1nsa7lOTVQMYf72HmorCVduDLVXTrfvsRTPg5t5ISB9wbvm+2G+RI07L+OBdPBh0tFUgdus1ooOjYmybW/SRf6Db9WzmyhqbJ50rkKqxDxQuNKEVGtuiLbV39RH9Zqo78zKrV4EHsVKo2zU9YXz1xVjIjJg8mH6g93k0MDcVomU2QMM1S6PYmbLlsZA9bux37O+xR77lpvSW5N4nU6E3Msa5ktvz7/dUIHC6nv1+bnrzVPaUzNqFUZ0iPeE5HewgbJAWk+GpxpQP61m/6N/FSK40gPCCkndhRpaCRnsU22M7SgwbIXIwm7ZElYU/BlfgTJ/oRtrxlqktYYDYzQS+Z3MFZ4/UHf0w9BICmyCmc6P5fASaw0zwViIpDts5aWY6Zm/4PhD8/QQDu1pNgNW5NO65/mIROyOHtF9QSAK/ZfVjwnylX4T8FJpUsGrG3v3RkBOFZmg9IUYapuSkJcfLnOib20cN7jLfF7dNlnZgibSAgl7Y3QiEBSgZBzTBV8FdiRrFdbPb0j0CAel28t3d6bHLL098kiVKfbKdpY6L3+qOu+cXrApIgNNrR6UL+/ZCwkIdnqn9rw74+rccoV0riobaOy6okAaqo1JwlbOBqVkjXaZMay8sx6+jH101btZhMI657983A6tptKqNvv+LCX/eQvBNsSwiHiFjTotF8JYDhUQMrGm9jRJlFhrDQ7Cvdhh07AW82CsVWcvc5MgQewlDSr7VPKcQ0ouRizmbDe6mjy4IFTYT00U+KzULuyxIVBYE++/xlCQZJH7QSJXdFFrV1L7V5lYp6nTzY6+LnrwnskwTQ2unIjh2dcDx0uBFDPGvF1Ba8YNcwFneYipckR+u+I8Xu3R9Kp+cfYR8vxYKGRSMsDLW9dYoAH8eFhmiMx68uU6NKO8ZwnyVDIR1tJJF7iQgIgVrPvzEToK3zEHMg3ALcT/zGlO30F/sqPaKqxpNRFj1G0XDwy5jvqevfTZWd1OD8prEco9IxxSP8FJS+M1wAL0MDOZuUtqTfEUxy+tjoZLeQGmQefZGb9TdP4jnuHcQiJwXT+MpUiSrXOe37XqZKUiDFwcDiVk9xusdJ9D4JvLdGgb6llc9ZlQOAuukOJNUXqod26S5cdYxx4192Jq8HJOnPHNjD/Gsn/1bwnhyi4pWwaCXMi8H4CMTKnzUZIQjoOBH9nINaofM7XTq0mgO0kz+O+xzCoKhXGbvmHYTKpCw0GttdTSH1sOb4mhEkbq5+732ty5PJwO0AgKYaWuDb4W5TiEzC4CjPw31PIoCPvm4d6g6Q54a8ivMKd8wQJczZAT07131dZwrhNvTXxpgaNbXFsA5XNw3nNu72nDJlivy3l7A/t3wEsG4+uqYIFgBvANBRG/RWF9tNoI6gh0GkFNmtJU0tnwsBU6cTIlRn6E3S7UdiwxxV2WZq8ArQlKpwAFRQ/G4WsuWstT3bTl/4q5owXVVF1Ez1Hh/ij2U5H++RcKMMDKR/fv0/BgtrOzw0/Pewe0g8WTOUWFgd8Mf27ho4DvHVJDEKcPL/s6w/11/XGe+H8cdOPfA52QbiYlRI7YNY9//N/Y9fmTsJStnNo3F8KFEfV2XoN/gZNPAVCZHsRRyQ4GCVMh4ENk9dv8mvVNkblC/1VB5NXqw2kYoSg5eTQEQ0wf3TQ7WTT18WqqxArBQBoxnnv77X1oB4yaM9lsnSbemOjKeVnlMGK/2v2q53cNz8Y4syeQ/jjiI1PH0bK+0Gpn23YtzqrPfIPeyV7KsGq5hZkyNra5zOqLa8DdHfN3tS87yLcTaIfy79LmSm2xYatgL0XcF8xcst6xtY9ujLCqruOSMeIrGMJHdLI7OEXmkBL85ixTSnCsGDUhOHKPpKRhguW45uVWhumi7D6ei91hAhjyu1b597xAzwpGwea6qgOuIcHVsg8BtCLwhn44k0emJQK37o9sB/6hJQzCjw47EeB8NchY+3aB5td6EtnsUHF2Ya11KpAPiOk2vhxyiP5crwkJa2zbI3izFTKbMaY3tDQCFMTLkTwx78uxDGkOa4JuZwvg0fvEpG11SNdEbgNWjqT6mucUaVTEZZ+t0V614dN//yBjffzyAzxT4OCazFn4c1UL5h+9V4Gy3zgWFmgoEZlq6Sv5Zfw96XnG97tCj2xHgrqq9oeNswe9MnFrdxL1GvFSlMbepfqAI2kG7Yul0+ADXotgWVPZdhjzRXhYsyBwiJ5d8k6KD9Eu/DJGWz8g9MR6b1LNXzYhS2cX3fcPltjKRVhlEcPfL3l4PSGquX7tzfWD94KuF0IuTUng4Qka0L4J2di1gK3bdNWZ0ZaYXhI6t6d/66mAIBeCSfO5TiKZGFhnc/gJgjSks6/X9oC/UiOyFP56YVESkwNOaFrDGkgqldoiqByKJANdremO8LP3OWFduD6MLblkpTh7TMo5vENx08dcNR1ZMD/YopO9GXI904Mpfb1o9h6YJOq7zPAJnosaZpRt4kghqVf+caFuDqibhRx7bHCgyjcNjEXTabO14tfEikAPBmlfxpPpIIuyIH6FViFie+aTOtcjUnJ4mFlxPM9QRgY9ZQ43o1hq66SkmjFwbeqNqFAPIWhh8vUm4XZgqjBjvqVEO8LhvnBTPwTKPUHHBtJjSTgD+heHIg6STk03tLVA2Gcbd8tGI37je7JLtDjVb0YpS2WNKcK+uZzJYJNceKiZGfkukKRtJgGjU38vQIbLi/x0iTCKl5SgKKiB1JrWWBrXjgRSggBvCBkgHx+FTR6W+kE1Y+vKSwbjpixQe2frbEirEGAqVdPfUKYXWldLjSXY/sHEBNbB46yl/4VI3CWlgeqcUcc7erE3loBdESHKZqED6JIEO4EDqT64cvWIY3BpHsn2W4/+ttKBeyUb76CQFtWi1skZTlmCofP5S4231ZfI8EFVCQoOVBsurtG6U7v4UET1xymND4Y+BwpPK13s1kOuQq9XTFrjX0Ziq3ke08BewBiFCUHhlYJ/VBknSzvhHFUomhTQ+eFbLIt6d3/sQikU0BRmQ2BXkoOyFdz5+8ll1XegTDUSWtlejYnsr1S/OASWFmygiZMpywVTLXOAEKKrecEXLytBgJJ48I5q/SuTL27rh8z06rT/csNGL0+Rqdp+JhGH7x/6GdNi1E5ePH7G9c2b8jTX9kANtgYtsgUEbbWHzcrs2YT56j+U7PzRkDwe/1iBY4lgBZsng9p2eiTIqdplMDc/afbx5XlMBJYlsIMTx6lRInA8RjKj/Q+RS0uPs2YJv6dzjYJsy0v9mrF3MlFG8XQS8OZNMTSgM5Qr39iRLZsym37QAka0ct1r34qUouugEqMW84IntQUoDonz8AHYs7NmV6B7xAMpLMaBzfKCKiApRJT1ozPmBSvRQ5OO3esH3DIgqzaWdh3W9Ds6hHMx4wE2/mibuwJkqKCa9Cj1aboOQGrUb/QsKu7AypzPkR/Er885G3J9J9TCbnWxWkLLgBBnyARY+fUNnWJxhBkp0naCfDr5+3wqevMvWedD7W+bIesG28vvZOKRHR5es8x23tq8lFjFTU/AhHATJHRtRgzEjpmEeTRCrRduPx7MgMMqzCMVFMN5zlcw5q27kPgJlo0iKRba2cpgcp2MmaFPFo1Ou12gY5waQti3qnHyBQsT0a+m3XxjM0Gv46gjikz8AxJa6RP6GnN1PhRYP6Xws/RwJloo+z+8q2DpaHNw5kMdt0vdBznH+rUkPuSoqHfDVasDQz+1+EDdZLcgR9QUmcTkqjoFeuW/s2OxN7qTY70PPcrb7Q6veuVdaZzDq2gpDknFsI6jWF3h4GrQEOpN1SD9A6A3zW5OJu4e6ijh19V/XouaJbwEHy6Gl2A44Acc8iFzPcqJJJ+t4rp9PTdMkcRlRLZ8hLgvEQnIqDaqOIfs7oOl0bsrznXFDrISxbgzdSaDCVj8rTwtj4JzEE5qVFTqebvAot8I+cBkePywux8jFr3b+CRzcvNOtFf8+/ywrYT0DYCmC6kWUk9UqqvP+IbR6zwqN7ymj3QIy87+v+nD3av4/kync/oqaN899i6YzwyRnc70HM5pQUDN2p0Gxxt6JpGfM1A9dSzpcV8Q/ra9yeDuffbJirG9orKsqy5m35ff40WfHEdyaDNFUdYco/GhUuQwm0bw7Nb9ZaQOuoC+eqraS06SsHGdTDTGwyGOLOWFfZxEVRu7iJi6cZKzO9wknlCiN8Fw5LFgoXHR7LypYeYC0Xm/yYilOMpiqlaiIhgpcluGz+EyvOfaBENfMZmD+MqkKYp3lIh4b9hvfqtWvPb/TMeOJK/3zuDlBCVjKZHgu5oq49E5cYWm4j+5JAFUrwnFzww2LU9K4H4uQqneUzbSuihBWmVj3uj7ZmwYyudiqjrW24hGyle8EhSYBJ04Xy/1ffqtepzylEvyfuyL04u4gneEbtfrBiea++3sruz88HbaePqbVv+A2i/5H7rUUmXN2xnk/vSqraxfQcI9fbWVmwAz/wqcUrLm8hczdyWxXxOZplqv6jg/RfQ5I6tP4gYfQ2I8bLnngHVW4pzOVF4X486q3W/QibX09ww7U4NgkDUqpOguCZm6439KtEjzMDoh6YhS+VlGf5uHW3x5Oz+5TcJdttbEOk/TkcxpJanWAtLI9NFvYKr+Ge1Sqx/+7u19dMdkuUboKjr4DxOg/rmaSnUIdMqaH9KepDwuArnJswL/mWbK4yhFvUF/LdVYVggANwUXnZZFsnpBUK1rzJVIl9xEfhYxSfxaM6f8iTIDAz4h/gn/Vcn0InqMsqAYZ6LBW+QYRyCR56wESYtTlJC+NP8rkclk4qgRmYhygkcga7wU2oNBm/K/3hvqkkxucb6H8gidGdZdHs/W++NSyIwBFtyWFVB4Chl6gWVfUMhrd1JYa+EfxVbN/y0B1yFNdeOL4QeTGQ/C/VNVcaQsqAu3XGaAt4bBDN+XKguQb0puNymGzlLi5GrFh/zipEolg/ExMJhOB8hyf82XxLFmeLa8qwoBhtujVi9uZ3ba6usu5m9ftIToarohUCocQaY/a/b8Z2k6E7Fq9xVVH/WciGOUtT4dlILPHaUrXsUbQrIVeqUc9t2+7qSYr1aJmWpTImeMc3KtEXQORCeH66L4UJTNinZKpS9Q0wJWSkLFtAMFMRU8QCSPSpU8QNsVTtkSF5o5X1SFpOwq5DsCFR0yGzXxPHfuwtw2m+/cX7MRIaJ2IendC5/ZwXSDu9VdpcVoQ1/yUPT0MwwQkAFGm7ZBCFUWcykfsPn4Eema+vLJs6ag0pyiJmH49/sRgWn2AN5HtTI+ls8HyAcNtKDCR6zcdGuS9CRunROIgBKp9nUpcMr5jnSLmMKGmXRoiURWGUembo3c98PI1qYvh0kjrKnYU5mi3o0DdbNSm/73N9SZMCYdw9xq7oKmFFnwUC4T9p0dDEl45NFLV0+SbEmLSMus40QHiSuGV6QgXLzPF4MHefItdTDhIGN+pz2luSf1CdnvLK40xr2KkbMxxszvrCG/XI5gYalFnuLAqGxGT66DfVyWI8RpiYVUX2GRCcYgRPulz+l8R/SC8NxiqT/LWYXS9N+BADA912VeKgK7mvDY73OWJwumHjYgDZwKzDMTMjPfCuCtOGQ4AcUpC0KRvJrqvD9LgA4Jo3cGWPCyg8WgcxUOfp5+RrdABPjDqiokT8/XhKUElZe3IgzK8BHkNYuhIN9XYjyN54ZvTPrT7EOn6eaPOHZehQ2OhrJDhGejeFqnlyuKiBA2aU4Jewkxysv4o+h4eBIB/3b+IpnIUgP+vFp0YxaI5S3IslurxH2MmTf5yHJW43CgfrbSEkM9mnIA9BrWL2dzj4qgstzRshKbqDTmdVLBr8c5PpbMsh7w1JR+PyNLb8/g3EunccFrYV6rMWPcvsCNsWvT3c4oZv7M8b3ZDgPz15RnqC8J6kF2EASjL2BYDmukfheWh5ULh7Bxhi5uQfgQC4BWpl2dFMMZYMSgLquOfAqRFkqHYGwSeP/IQB5Por9U+7GyJydBlChDUGX0iY5c93UlBHFS6fBTkknL8UgtoMlLjtLW6/L6d3XUfKgdJ6cas3DEhio0M9BdvM69bmPsXEeub00IunBCM+gcB854Dbx7pIc1meeT+gSvgLlmzLuZ1Ip1CZifEeePpRixJK6yrh0a0hC5DlNI7BzpYY1lh5yhzGg5f9CVxbyd7Z3sDDtaQC7SAU+oYsDUAndXmcMo/ce5R662wVHwTpGWQzpx3f9wSU36Ai/cVu9Ho4fGWQBqscrfsflTy2GO9K93Wg4aEOCBrUOITBCLy/Vsj6AexZJSi458Spcw73gsNd84J3fq/zz2VpWu9nwhD4KrzdmSdlp3GAEg4zKa374H6s+eNSEyiIKJ7fa7NCq1ZJwqd+qVDst7IvsOVNI5WTH/6LwhnQDeJquekeSFbfuObgxfcoKP0sxXeeuUKUylfZCubbofnCNMc1taL3IRA+aWeJB1wtHp7eHMNlU0QuVEsbXXSd3MUB6yXZSXYf74WXbz/1UIhaO2FXLOWOZJwvswyMpPyWQZXoyr3sIm52yqHwuToVUT8Rc/9FYc7KT7hTMX6h8TfdHdNlJE1rM1m3qx2eK8480/VXIF6xzwLRG3Bm6bix38bD/k0vthbhlml148A3s/NDW8Kga4rQ0hQVuTsSCWqACbSGByHifQs+eEJsPCQDlxGdBffcd7LH9Yp39a0VC7rSYuIzLOo/gDXTCGvNR7fGS7nwKrUp0E33V8RknvP5olmlCgIOPXJ6G+mX+A800OVhzBRAoly12+LLR/Fm3N4R8QjGCh8J0zKhL3Upk5L/rNI0Xu9JvFZsivHW0e18QQfwiL0uO6maTVuzsJeFp4T9Hdo9BjMf5EsjAmfi53zQ6OAXPXE105H2juU0OONEsPdekO+YlG4UDt0JqJIVbFzjXdadAmQKld+Qj3Lzyxw0j6mQVXH0s3rCuH0BTgM1fzvQYkYX+sOf3Ilv98nf7KVH0S2/G8dtisJNjgLPda67OK5pHtLsDabjbVFNgTAbEctciV9oEFI+3GEjpghpnWCyvTPtS+gl/EUEB5M9aL19qsR9hTfX7vlp/Fck7eGELCLF832EmAlC2M7U7bpjBX7ZwUZfsxAC2MAL6geHzeh+Fh87UyvRLNGQxG9iwC/E9MK+8RmCb6ZdMsCluhmqT7YLd+6kSDraWGkyxQxJkY/wRB3Gx98Fsbi9x2FGHnokrTUx2ggh5QrrziJH/0YHLS2NBZEZ8nCJtV5/+LN+18/tidvXGXZ/0uql4OtTXLA+kvEKSw+an9nhtiYyybZK7C0eEWzjEruJJZC4MW6tw6szV3UlbjwignZ7OsJ2FZ8Ez/g9So0/F0YjPhp4NhPHsfzt7sk1h7LFThh3j2UxvQx2OcES/A/RM9cJSTLCTKazGeNTdcvSRFg3Ga8lDBnfc8suLWiI1Hg5k5AmpkC2Sq5hmv/D2h0gDN3dqaoQfX99rjnIEDtN4GLmN1QhP5Lugn+tT3/XbC5T+0kURe65dfItthXEBhqfcMSf6damgW/nLAYy2fmATQ60vjd2tg7Quiqr7mNIOJnq3B2oJyedkAYHs71vKEN20B9NMSCrpkft9wo9VDhtMU6U1Q3n8Z688GzNGnwsCkP00qB8adX6HSdm0phFYMJWjdGCHsNu4NxKNE4j62uzFr1ru/PBLPbfixJxBdfYdK+yG4M0IT3C6f6py65cKv3b4LpUCyLg6aXY6UZTNyCzDxp6E8w2ft5okpsFjj+VUW5tH+L6A9PClhaTGm4tWOgv7o1IHe4gXf5dxAgqsaBgmsGq7umMi691kRvfxwLh1kPijOX+GjQbIKRlBG0OEAapFiCYTN0SDXlEr9aKlNowTgKg46Yp+eeIBzVCIaIXNFXuQnWHisdv8FxnLJydVz7JRiX40erENMuvZX/CZF31DgR7J58RuJz6Vabwc3xWla9H0WHlz91OJlKZvlhuTemB5wpXcvhslFv7OJiIGgoX6wVp9MkOG86e/26ZUSm0tcOi0zYjd0aZtd3LiOr2Zx8qEq25bA3L5B3f9APR32/zNYioIjGzKyPkETH2Qt0rWv6ibznPIhCAi9h2/rM79svms9mTtv6/jIhCXgunZnAMhj+Y93HyvIXx8W6tkuF/u4v/utCg40dbAwPnNyykZmGZXDthjC3AbRsGVGTJmyV/L+nzTvIH5pfGeEuJZ2kJfw0WNMYKzJ8t4URFEUCu698Q6UHiG8semN8P/wS2BYPwtE8HWNQsozBbwgJwZjxjPqSoC7IKLLEffNwPt2o8QD/r9MWqYknTwiTqQVfroImYJTfHN5JnihIEU06+JvkUkq1MVUuqDj5mLqWwjm9e/n6AuroUXXMSqRwjtacjJt06m3I7GkVdbtOhe2zjY5G6ITdfXSw9JFL4sogAjruxp9h5m98xVcdypEWz7pLTGZ5wKHBQstAT+sLY1NmwzDYhl6aZvHZ+B1xKZndr8892KcCT1soGM+HPhzp/UQAq6hY41GVhA3QIL3G+L0Eb5funhMp0ZyFtDyfuo3Uprsr7k9lyuM2ye1nXRvy5Xhuy4ykBGHuBOmDV81BbuWlomUB7arcXkyepZa0xxftRE8c16GlgP1tubrDja67MHKpZlBZYhcYxD5F0gGvgEZwIVSU5PMM/M9Eens307sRPubsPoKmk7z+zkvJZdYXQSy6nRMlLQzzxu9l68HacAEplUT1W/uKfJk9QTVKCG21r+zVecXJyE21D86+PIQk3QAxj+MRBzrhVYwElfSsb5EOI7ZJa932WN7HBCRmhLhKaeIkBdqroAW9BABziFThrgsPF4gf+Llpyekc///pe0s/kV5RQxHzGDU3puFN08Tu00T6Zn+MGvduZkOX1AFPzEEnr64foB8w3/34FGc7xZDpdSYFzLeY7V1EPY3t7hZXQNRpF5GoIR/MNRHgfs2e2y1wTbyHTq4Ptev3ms+OlkxG79imqM4nT/y0QFB6vrd8lJxj4muokJPBD7tZUpfbkjrWe3MCl55++AvK44eASyZGDcG2b8yayWpza3G1dvKivfrFQ1UuRBCPs4GaBULB42eKYysIwgYBL/dC9GFmvotvicjSK4qSENwEGAlVAi+TMqml8Emj943jL7xa5tbD3M6MslW5c8lqy/+YGyWiHjyPSYSJEQ3GJ5FgCQeUhPT2fH5+f5DLW2Ge39LjUt6lIecfPApB9iRDQDZJf3fxa9/MVKcFxWmgGtX5m1LufAPCDqAeKCpmhigaD43GhF1Vufck19FZlh7wxM1sNGx5qeEmtXaGx5/poPSBj/HBVIaEopjK1o/mFPMsvMUSbpAPgT0N4bTdpBRgpr0HJWSJoWD4RrVs7dTW/YLU9S3PtCv4PC2/hGBSDLRTyTJoyirLnGL2u03srCsJfD6vsB4o4fk9pQaGEqIi94mcbajfDVFwhCsYK6IsTFs8Hn/MdyWztbGX2FReAgMPBShSJmwHM/l9JbUgAE28+aSXWP9/kZ8pB5i+UUO9bB2ArkG0R6xTOjAYmwANFGnzeb5dPIjzT4nG6J5/eDgTywdHtIWUvLWU7TRUrkZ0NJwXgzDIk8vd3aSDNBp4S7OIyMvj/DDTpZ0AxgiVtPJRyQF67urTrQd47ZOfRfnZop2eA6d+7cuNhx5KESEOylcZSy8YJ9s1jhx2OITZe5Zy/ySsH+85DdjJcwG9y+/0NZUm6ti+0KMsT354A5ejEo2yFg9vrfXVtgR1tPd8EsjQdfDTZmyhkRJdfhUIzF/p9UIG+CKvNvAR06wCFW+z4MMRnis1Ipq/0+Xyp7ZMiSIlR8pu/D5txHLtiHb1SAlu5XSkZ4gnQE15fv+K7OXN3Ro8k9HoSBmXlOI69TZutAUosM93Zyq+hPNz2FCzKlz0vEfYiUFTPxSM5FzxUlU45Npb7zU3ERU7tT/f/WXGBTZROlGGGv1q2xg2qOXWjrQhLHctjHasfVo27+YzYuvvb6D5XUP4srx7fBxpD8v1/cA+LP7mhn/kN/f/M9UOpGvY08rF6lSypUQr1DYpf6b6jqEhgfgCd8h7XxzonhUy6RI2l5Pnop0Zkk0MNZxRGvy7nXdjwT+pegX3ARmO6bPbCJ6wzdfjhdBnA7ot8rPO56gx92awl2fLt3iSWHOirMFbf5lXcRCH4GiFkay3902upv2McgGaihrYOF9fr4xGxUVrigjmMaYMX01KPC/Yl+NgE9M5Z1TdlcVPqWqxFikfwvBfeScg5ES9gyfncfVyrXh/GHZJjC/yHV6Id4qiXQcR3JlOoESK9CRDpVclgH2W3wF1AxIgwBIrAKXWIa//Xj0gJjIc3BgsKx5mhq8JTClQHjDhWEoxQPmQmCda3voKzfk/tAPdzHuqdHhYeYJKgMI8smzB6VOovF6yWiHJ7R85Vx66U87NCjOjETlzM6i9xCCYKQywx9bDQLE86ADMFrCtKH0OZrwxGpyzAy/WlUZK7N4/1M+c86Vv38YPBW618x27CwkfDSabOPlprij4sJn/8/NNDDDPkdy7SAf20YUV7X/YoFqaCS9iSvqV4EKvBnukMuU+Xa8yEf1qXQ+7zNEe7HtKx+xUWxwxahjB/SfzDMe7D0lgB5ysg5Gy75ZfIH60SJ1GlLS9C8gJ6CEDnLGPzeI5CuZszBuNx6ci03+fxBrQWTeB4BFQhh8pGYZYpxPoGIhwD0uJcK0ZJJudvJKy8W7IXpeuSIvaPjBF69FaQl8UCbUy7VhCSnVN+GaoERqwtcY2lml6ya6NN1E8TeBuagq6YOY2Ljm7fUhjwTBaNfAhPvO/RbfiMjdn8dNZQ09r6qJznw3usVBsFfMtbWwBdKztJ8cAFW2FvEGoPxm5BDW6GkFChY4jCDgLay7Q06ufn1C1Dh365EBJyrbCpMia/dgfefI7iq2wUx9CkRWWJXs2fYcJByQN6Y/hoFKrIjsN+vNRMSFefTolKJ+XAVXlauF2Kcpx1H6TCmY8avlcfNyaQTxMoHxLP2i47TGNjH8wSE4Cawc4M1hSNxbqH6b+9Zzj2MBmJK2CwOWvHxFQjIQna2vp3DpLNLBfyW+pxkxIujJChgQV+/dLT4xEqx8MbRi/8vRe1F0CzTAsbk2vLTaHUN6TtTd2PRG/BN4rLOHKF6JJshxDD6c+BNH+cO9d/41tCGr19Xs64xieuMzZ6rVpWkouUJCGrLbwLL90uh4T49jbqDvJIrMIdOXRYbRj+A4fqM2YYt0zYt5jWJSMwl52QVl9C94jI1xC6Na34yDFko02y5/lODnFO23BJfmJcZcdpLjFC9GCxE01V3PZ1OV+NHyu0qgogXtHAzFYaUXsoY3hnGW22UAdkLJrAvpNcpdJtXO9Uu4VrKPOxrNxcmuYieW/l1qmkUTAdzLFyx+vXg5hsAFHN7OmfFq4VyMOqVwYiLjbjN1wvaQ4lf/+moR0oaUApaEkwOGu9C7vgLRre+DqhK5j9+QFQPhO08db4FPl0OtijOV0k7wDS7n6dSCN3MU0FaGcdW2Jv8/I41FBcKDVJtmfz4LaGr1kd8UT8tp080jKA/1Xxqu1KbRibF4FddnoQF6uyVGsfVx8q6dQCzD/2nK+xJfM+xzIZHUqn6/SkFWR0tQUTKnSOh80zxe3wyQPENElzCNesfR+JFJioss/mKD+lgVcbEIDrI9hOswLiTCTCFH3LC0XpzBW4QHYXObLFd2e0RCzdzArANM25wB8Q2fAk/ExbMQQ9Nly+Uaw6a/7euMyxn0U20ZTMS4NtbruMaSyHPPJoBKAslLYKe67Yin0ARN/sMNh+OfOPvcU3Q3TUhbtS2HecJrvCYmbhdq48wE1iBk5yNswBXGKP5nXkLUOegqyE1ZIQGLL2w5Yn9vheKKXutI7uGR2wBxb4+zAY5Kb+PcSwM559ZFLXezsT8A2L11OLvU8PCrN1ZLuqR85AtwCOVHgK0Y2dfNx4CbdD4dw1juqi2XeU5Azuh8WJdpfRIfehGRxnjY1+WYwZICQK8A2b4ooKx8fv7NFEHvY9WINvVrKD5MwJfVSwb/3v9bVT3aAR0X2mpzxXIUUVi7uufQp0PDVS28lm68Gjt4X/fM6fYUaUWQYbej2PlE61zaRHPEC+Ynmdr/aKz5P4GjzWGLi69MN++uSGQpsOQexI4stwJq32EsIBHvgg4YfO3Farwck8je/jyI2erk3qPusMtLW2FKVzMcQNcKQG8faUjc9wT2G5rtC0qR5jfbJQC+OjRWW3ex7ravDgwwmtpNHtTWZ+U7NzkspCzJuez/n9n4ckcBZeS2qCFYFf7ALtGhtO3kFpDiZFgimvydmrrJM47EzB6PszutNfE/iv01TOY6jjG9DflP5PLUhnC/kzncp3oB7r4Ghfq5madUZcBL9pykdiLRrYMqhiCwhxtJ+rr/zvuJdBTvQMFtPM3xlxOJ1bJB8L6Yx0Uaci8yV36/D6yoidkYZSJXuRqXRhkprXL5zIkVz96Gx5ExOUC1Qp0lWHYdwcOGgnz9mSiyiDDaN8QTZ//11QGkb5pQYb90YY2La+btr7DIqYeDUJu9m1+rHxPx1Xz3J2qtSq63BGgbLhXLL0lokE4lIKVLV2mYU1KL16QKdzcBzvlkURAbhEvPmhkXQbg1w83gfEkFcbTpuUCe2Q3X8JOpiB2RzP1utB0blJ3X9ZqHyBwwrNAqWtQ72J4NKNjkFbsTCss8KPk2s+GykjypHd7VrOfQk/jPsgm7hKCC9vhBdr2aSJLxoAPBbop7eNGtsEUKmFYaPu4Rt36lUaPtZff7oVbkoZh1xK7W1XPYu9yavseCqJJ/AULfGcBwlyxfH7tTN1YV7d9Dvv6AtbH7isHoblcnYMl5551I39kPuSyB75WcLu9i2c6V48lYG6PD9supCKfOVuehQPDB1ANAZZcVKdiZFC79Gs9AP5IEo1QY4G/GC8ijCxRM1MQpAJsst7u2HGEge3OH2GM5GqwexKeK74zxdR2rJsIgzK1kLZogd4DPbS6zDE0mEma0ptItxGUAj+LJpgUeASTXIJMyow/tat16K+JPrGXswWozL81BjoTU56rcMjxcl8lpbmlKbxq8CQS2v3n8wO/ol9lK3714jmAffYvfxyudVAQ1ndXpjZTE3izHZaJD8Vz9YDH+qUuejF5ZzhWOkooM4fqWpNfKfQKIRimmjF6ekKlXuEt6UI8vzLpbcQH952L4wWyI82aNaww9tqrDfSttgE9Mqb+7f8LquvG8ydwEclFSFwzaDOcMfLR9hqD3u25admS5djihxtlSm0vCVMHuJSHPxAPQ4kr8Ge6wAL/NuOl65Q0a7xrgpEGg74F9eQHJrJlRtcsLzRqnxa83Ayrfa8x9n+urwf6KypbAecHSXd8KFdAcogWwjoI3YVYOqy0ud62/3MwBoq2yUmVWInjrH8rUZlDD+7L/+xlGlMkKqVjryQhga5cmb42zcWR23M6cbZwXIw1+W8II13OAKU4pMAcsNmVeXug1tLuHDAp8gl/wibJHIIPvVLF0qDj7w1AdSwdmx012tloGYBJtwCJA1o0RxQlok0AQlrvq4gJureSAlKHy4LREb2KTazk7fiFnfjoNH/2ehnQOSv6W/1JUGaXQwYKkRM7jHfp4L9SZIDH7P4Zr0LocbcR0MXmHzlvlcGXnOrwgIvdiWlic8CRMUKQ4Bee/vANFN2o6WSQTzTheKx/qafmNvtx9fKFBcirU+L5CY881+UgSZMwjhiBedHUv1vvJBnAJD3Ru0OgZK6qkGpc7U0ys4w/wTZe27kzhykrR0uk8Nu+WAcfXCqdqZ01MlGgASupHBsWeWZkP5HbAUxIrrMwt3zIpTZTLVOYo2Tbc7WEQmOY8xD0LIFCCcrQ30rv/0d47Jx1+B1vpK8xQXwNuJLAE/JqqdUYWNzWNOXLVQbRJn94my471nxigdua16yLM+GnnLIPzOp43Tqx04YE/N5yE7pHh9aw/NLBlAQPgjNyc3jrwh6v4zghZIERniL6Us7QBZwTsU0WIlRBk0hs1RWXczip4NcBEreE9iPZukfVpH0wQo+rt0st5LAHqpekUNvyyK5Gc143vmHK8OvhXbwByBKj0RNTXKwVEgJqqqkW4sCrXYxHrAkyUCNmQxKllpEx8GdJFWFkmYbB1nRwwgnJnwKXZy+d/xiG1c1VRowOnUAVPgGOOGn3QR2jzy+OsJlQswm0nRhTSnof9A0hkQD5Vw8NHIo6UI0Axsj5NrS8qOytnJ4f6tlHNjmsKOIPZvWlxkLTuQWwgUrdfN/xjZQeNA5yDmlz7sXM1OABdK+OtAytaBPbWVcOHh2IicPHRB6J9ckvhXjnrJt15+Zui/7LTry3zSqG6ubmIG3vQf4cAvpLpMrAL2CrVq0TeXcbKdSFtw0EAJfuaUBSLNBhrgMXRhA7aLjCjuKJl1PZ+FAEj6yyIMfjK1la0VqQ8xOmpykN29KMkqtuOVvEpXpMZZRgsbzkng04a/HprNggYxCgtnUZmNJ4XoLyOFTGndIBfEQQbIUDIC+kVxw/PM/az84b93hxywBMFiSR7WL7vdtu00dDd5fExUi21a/IciroV1z/PkrVDR/+IrvV34qlnt374aI21BSGE0eJKp94urKPIbhsiWPL3N74sL47KGHjw23CaZadu/43uODCKqWGVhEYsrQ7zMt1ZvTHhaAZ4Dz9rt2Akh8RS+UihWh5RnczyCazIh8yasVMkX8bBSyzEgBtZG1yHjsBQl7MeI4BBjEiOCeOnhPAjS3G8qqMJvHTdQI0n5ZHgY3f+/xDILOydB76evCLgQm/MSOI9XXGxNZE0ahjLYX/gt2aJzY+8hl08k/3YtYVO7bhzdTXlT0mZnGiwdLZ6d+f+h14pGZhZUMGx7MY3g67DUg6SA3DHG6wj6P0LWFkvLiLK4KxNrQy901hJTREY04ESL+gOplkrDadeRraDZPZEX7II6O9Rj0UT2JTuwVIe3K+pHjaxO6piAygVq24GbU3ukcajwK0shIHEN2AbtT3j/uzqb24/6GHTo6Bjkr1MJT08Q3H0ztNneXS9jJNBz+J3mIxc6BiAEUgsGz+VlLh9WAZlQ/LspSeIqKwaPhRCxrDhGSAPRwMDDg2hTI4+cTpymtSg456s+5i03pZPZp53S11JvZYkSo7RtGYP3MdhwjEVY82FC2JJETJgQW7QjxIAzKdOP8U8mT09cK7xFQrGQjHaw+s3SWRKg+OhBnbP+SQi4Fe9BlEurbBx/tQgzr4wY9wH4aTVnomuIzkcSPkG0xYBUn95A5kTn40aE9pKmqa2oQ+h1SfNS/lE3REl738jU7fbTLxXfVwyBGbN4hzzHq6iD4ipl1kZhyGTJj9K798KEge6AUiM6HUhzc6DnSa0vyrvksPcSddKEPZWYt+fsQsRvXQcIDEfUYIzCCqU2tXeivd/j4oCxbaNq5sU4+SG6XYCRQsufhcSIQFt4xy0/TAW2if5xgRdDuNzTK1A2F9TLM8nBsWf9QPwg0PZcbSN0GEb8sXYEzWi2LKbxh+oFTMvaqWnf42vJypE19/nVoe92UyKyG6Jbx3yCC/GV6sal0E9Vt39hIFacvdieCLeHGrW3+vv1/p6f+CbS3dqZOAdWwcaOSErskZlq3sgp+Qq2cCG2xFO0TiFd9lL0Gvp2OkrXKx9hy4Qu3vFN19iFYCK8tkHTTJm+/eL99t9L2uxo4mp0Mfnc9rr/+miUVERsGcc4EPgtcY9zlV315L7ENIXb1W3Xrarj7bpWQHcmHOdmdppyG+LcPb6OExxfbWl6/T5LtzD3k6WOt/UZ3lEfNztrQHW/0H4Zv+w13iM//X7cqG6f4tmnU6uvMnfyFrC6Z1aLODsshZdOBptLCHXxPaEbaAQkFjOoJd+0rgwz9YxTaH/3+QNFVxKm2hWveoamhKoi0UYKUh4AFaPKXiGnSZtrrMhEZXpYxbkpcFVz1RT2Q0Vk7oyEVW0hxML30UgVQH4Cr324QoT4sHo48lxm4mL9bW9EOzLH+hMwsFHQuR8fP/NrK1MJZKc+eD8N13pKcLa9Uhv52GM4Pu5PtEExDPHDsHu3azQnA9CiKVqq1ENVRzWVwvNtNH6XwuBfYTCpl2cg6V+SeO2e+FZfN615i5La79ZIvNZsayKjQvIBs73mb2dfxb6Y4zZy9jxgrelMuZieHux3d5jkXZdBQlW1svlP03JFl4IFr73SK6hW03uzClBMr1Kd3YbC6Pjs3ZcDPo/PLvvWR/6xh2mS9oMfRtYVWSXm6uh+TaqdJbob+Sj4rLkyE+dP+7I/Y3E5VFsg2g1SCI7I5w5YvsM1xhjnZxTSHxwsdDbrNtRo498S7Xjl2uSaSvcClxLQCE2HvVh4lUTjs9PVoMct73ST0/I3hg6wcKq7kDrUv6dGFvi6y973UT9lih/aw5Qc1dsuU3kKyto7JoeeuaYGCRWt/lxdowAx+WlMo+d6pAo44FrZ44z1Np5HKIYTO98nYQDr4Xu82/Q87TIVZUCTp6MgtvtON9pG65gJ2IAfTgTJ56hM5zaqvGPShYSYHijRs+fl4UAWEWwcweZdh8Y7FgCmQsZiD20eLYoAbZDeLtNQrQ5yCliluqNgCuN7We5D0VuxktHFB/tHPnvOquzbi3eKJEB3RjJpedi3qx1UEx0JfcwRvrHMSoYepLPnfPrBW37/Uns8yt9fHqZCUIi8v7CqCP8iDlkBHXIsE27Q3ZJRTV1yRPGsLTubmpbdrapKgguraFBjBlV1hkliShPgXddhYWPgjnGJvAMn5Ngup954EzzXeJXGcBv0rxaMVe56yICcI3AS2+r7WsM0vnVsvvo90xAh6UJ5gFhQ4xGKZmreVJH65i8wRmTDz7l/SOLz+NDaA5hQYjX57T+C6eQOnPeJEBay+tJZbNEEoZEaZurZVuTf2XY8EvTm83slJek0cOg1Bqyo5nrjuwLwzE3g3qwN98GG9yZmXR1mW1xfEdizf2C08DeRYmR0eML4GY+Z0ZSG3jiOoNTqnFKWecCKj8HKXQJ9UMxfvDYfv4tPnGlDBhyejPGx0bLkQStsB9Eg13wW9zxJnX5r2Nxdjc4Vhztn5Tbj1x9XyIvp1h6BulII1HWk9fWAZJ3ed4KV+Z/LvRUxBfkqG/CsKtLd2QUD3/LEhXXc1xl3wjBhy3jAlENKTZhjoZDvgOat5P364nFowKC9N31MuqIGso5HHqsSPgV6ID2JHP2K2ZdWO+jLo8UsYJLrTuUCVHkxDfF17tTpsDRCIgPmv+NlJHR46NlxtMW+RxQradk4Z6aa9TzYW7PR36VueEl13STQYdef+adlYUipUeER2zp8j8BW3Rw7XsVRqUg+dyuI59iMRBlL86aZAKaR63ohYbbBCvSTlupal0LKtNdYgAYZPRbybUKyryMp1ITAIoS5hyPjJ4xch69TzPGLQLM+VqM0d7PQx5xdYuycx77k+2QoNwJefMCMYUAk7svIMIEVUkZBT9m4d07cJkRPS8AdVnQ2ZJaYAMaPDGGGizRekgXf3t4WjkntvQbMQ+vKzXoYGHor0H5rC0pWloIJJGrJzPqKUKQ+v6ocF1hGcnkGSyKbA73jIZ0KcoGxPlKuKdH4y3/i3+md6/tP7jnxMkxk/8jb/c+bWNywNhcNEra3Y0JqhUBWG7V/GDIQhzIZkRKOQaJ/7GJaA4iFtpbOScsvyuNjNXR85N96tvd0EBSD38bJx/7FNoCK3SC50/tSP69uonkVrq3RUbsCuYHX4g1pPKCaP5NQPNyc+Ij4XPxpBn/l8Lv1nlHSywk6fflkca3nWV+YVUNsDOYybvBUfWqLm2vYGZhHWNEfNJw0TVYLkBxEFfC3V4tkZkxGT2GOcbfXTDHcHbjpss0/N/NzG45dsJz8s1cw9RloZcfeFAdyzGJXWYZ3dqWSFsWK72LDoKaxUz/YAGQA7sA4W5vR/KvrHU9lHmPPLVrFCR/oyj0raQlUaaFEFezP+K6z6Ljjmr3c/jVnL/fRD2wLOdILSrS/mvUrEjIbbEsyEbuY7lC0oLXmzZHqScLH3G7EHr9h+Bt+yWxEUDEc01EILVma/yA/oI+jkK/jWjPC9BqotZQ7vXfdFuhp0fQ5W2ll5qcCq2umhwa4KwA5pREPzrwaRDFB06jSdUpOwC8zqsTOw+6UizItJ/AQhi4Dfmx2S9mL2fhJ04v99nyMoFk8CwLVDhn3pZhEvIXXMyXvSDUhaqZF19n5pWGEusqDbRo+qSM4rxtc5Jg2+UaDAQzlty1WYF3YQPQgTf9Z+rJv3wvfdRhilraznBxO4fs3MKSCOFMqBTEPIXnAbjd0ux7IaTFmq6s+qqMZzVmGcn1S2LBcqzy0QoLi+DbPA/qDbmUZF1QlpTr5/eui43uZ0rCLaozWdp+cmAAh5FmhO5VwG9LTXtxvptD5qvNZNgbYobVodAMQ7NA5n34qgsC9ceHVywFfmtRWGG1288EWG2pyLA+rlkdfG8XsBeW5KQzGMcbPkdA2jgA+izFK4aapg4JbpQGJ7/HoQMKphjC7FpMKxxbJzCI3RtTlSEH8eW+sUIFTmE13228S/qRy/cZFrdiIDdwjBimsVbviJej1uCEbDeM7jxmey9whTt8pOaxrqxxGcdEZoIjzdXjQRdNViFAUwR4wFBuC2qeQ6z5CXOcqioQFFSe2YDSSpEWc+ANYirwT2FOydk11xIeDlzdyeJ5kMARn7VnFdlRSz2GR7jaYAGfq5nYbmyvnLPcmvbBWQv5oaE11VH6llRLqQJK8cZriy4Kx2fqnipMdb5ukw8iKnPvfxWwwF2ZaEhuLhRKtDutyZK/i9K6ic7irc0OyvnSgUvYJsrwaX1QmQH9Bv/fNSjuReFMb+LU4udyWNd5RihXse0u9z/bipNXm9r5Z6sZCORIS8PFDe75lVI5U1XbOWhRfvK1RXwXb21RlQaz11NRuhgnzqNbLOAZlBsM4qrVIzNquSOPPHHs8Lhn9p6R7YtS5mEgSQrB9moWFzNbFw1dC6iQsCuiNhdr1wvbTVeXfWKq4Kopet9gQnl3/qmiDS8/gOgVe3t7uiqeVONO7esK0FJ3lwxjUY216pdI0DAooLQzLs3z9dIcZuPVXvyb4EBh0OPETwv93I4ce72744W5RgPHm4KLlEpRusXmFK5tj6d/YIFJEhl5JvFBJV2ZsjDgpwOGl85T/aX/KtT+YZyv+oV+GmKAQok9qen9eU/JvZEZvoHGCfoqonIdyXBfiu1TwL6vUva6qSfMvMKUyo1HpEF03hjl2W65A5UdB7WMv/TzhDzlG3A7FAn97+uToKjai6tJnz6arYhr4XeZXBZLsxKR0KI+5tyVnbZeg/EEWPPZ/814PkBSAT9/e61pP+b3ybRvgyH69DZwcaZ4HV7KcXdQ7oSZ6+iXDjQSFFz6W+lc5WBFS5xMk0duGC+xX3X4GYTH2w/WMT2WoNWfuRAX7mMcGiTBcocN1oSMVeMy49y5lPH/l1sfwaea/5BQAvH/PE+lo0h3hXa9om7Jj/1kyo4nnH5aAlh2DX0/ir9Ce4ae/GExz99DahSofdBJ8Pmdj8z7N57w++deiZNUnDWupKWhcI5xtYOldecmeLnMBR2UkYn5uYts8fQban9ey0+Mxu/w83KFmOOexzXVa7y5nB0srhsUjtwPVJnaLwPWk0F7nw5CV3620a5DEv1rigXox9P5NfRBw1MVw7pr6a0Y5tOzQk1Q94x7bSPNO8kuQmJpmL1ZbjSrq2Y0Hd6qy79qEKEjX9b+2eEGkhdhF8M66kntZWwUUeR+jcOiPmgdqvhxZ51dMjlCTYhOzLeuR60BlpaAW/ELds4zEiRfqj29GA47J2xGYVuPTNzaUNPsjrw85trrn7FIeKJDO0JOC2tHEqZqPt1YeTCUO5reMaF7uTtzR2Ze0VnlBpDF6VMS/6MGJMS7phOo6Wi1Os5ojFLFEERJmP+33nzdYTXh8ipotWcXWIjU8gbv3eOhS4WYERI/mR9LMGmCCS1r6Os/GUi4D+bD5aKkrHvdrBIsjdN5NQWyE1+jXuMCibpSziTn4dRGIAvVPEkh1c+Es1nhvw7phAsB4xt8jKRIwznEfj1bP4Hmht4fpj58dIJKHPHbXzc7DTNOOToDzbF/+sQ//3lDtAjgwbed1JSbqWQb4+Bmpg3OY2k33wv52LBiPfHCW+CFKWnq5bni68auUkz8p3aAT6TXCL76yp+XozeN5XVGas30gSmu4iH3Tr2S6Ok0QI8MTN48ODpIqG0x3XY9/4P/q9UX1bDOcFBeEvxVbcjWrI5Ynq8IDBbyWt9eMEl8tij07Fg0PjmhpEs15E0SSHlqEDn9KR/+NUu1Mxfz5y5y2ZP74yfrDDswHYgh7LV9d374iWrBFe03Wm2iMVOHcyRvY62HrrkrdQCDyg2PYL3RtFfVDt26cXAYqyGxfQZB5oH2Ja6xdpn9I3wV1mxcaik7dc1xdWJGjM99cEMBAGyjYuGjTLZhZNZn1rRZ/9MULow2sLfkWt/+UNn1gu7NskqXrDP6ZEllZJ4jsZT4lkWj9UrgjquVpZu3zD556bynOdF3LNn26aiGhjQM1ZlVH6gapONgKnF5ND4EfEVGVqJZkPCudOSNqTtWU/XW8D8zBVZLEo09I8Otusj/JaZ5P+GiV7ul30s2RbO/I2tprHOJGnWDkGjoGRpXaGjJeLtAnv1hg4cbWXW0pKvcywyHrGOoq8uS7tVxbB+5W/7it+T4VfIuKSay99a2oy3m2To/vsmiIhA8j/aWQph2HRLp78TCn7Lt3QqLETWDbx8G+ade2m6EQ98CoxOlc74p6MjQALApNJXJMXzb17fJaaObNCd0kdRsn36XW1hw1BZKKE3SXGgKlCEJCTQW+QWVSNwyoZe23UkCcjNveTEs7cgTu6tboGXj4+0G21F7MFrjzcZP4PkiUTheLm+2x0x+UCK66osNB+rAntweq6+U9UBraWZyNR8mMWYGT4Mnyz/2AAMrmu6bD4JnBLxfXK00KrkpX+gC8Ls4vHZZ8jm/LZwtXfw+MeeB5P+NwdWoDqNCvxyHT/S5l3Z054CTpJL5lORRZAwMx4GAlEeOlTEf4TWPTZYXmafhLR+sd1uVAckpNJM6MWrXdF7G3JsJ8acwnz8bEHpROf2pAErb1v4+E3E4c1rcKNMwai0pMaDi/8ZTT9+/u7sGL9PftH5V8M+OIQEN1A+UcfYfNzF2fn3t1mjJI6MCdm43wjwEes0/HxbYFmyml3UezvwhfFNJ7LorFjbYcm61O9E5W1IHvCgaEEZZntAXlin6hZuOC1BUTNh2THaKbKmhpfba92OWjwfshs0Rm3qtaly+nbg/He3EvW4rmfMQ47wpulXAY7HZqR2cRdisWgDkOiP8TYwOG7nVJrKZlNuj/2QsG+6+CvOTimCHDqmKibxstG4Ed0ojML9+y8NC3Hk+bszLPXZClotWm0k6HDRb8MAHtgYBC414yxVdzNZsHO9PHgLyCfKqoU5kMVrMezK9iqjRKQL9dzZlvrv2JyoXQgt2Xfc7xOG3NUHxeA6hyrScqU0cz63Pn2fZHDi9+tO1nXu1aWiRGF5yncY8NAtGjPgCvZd4ytZZ8/YinxzkNBx6cq3MXKQFTBQsxMAHrOayds1FiKRWyB1cnaOdEB3yauwrp0arlTcNGUiCacA2pZgDAuiIHoIxgqFY4Lw5qhNg4aHVzfBlWDNme6IqNOQYcRS6pcjH7Ol1rSeo6w9k2GdUP7er79AA8cXheHxaMsjcUCJ521x1MXoAkNTnHr86GjtyXukZy4eMLpf6ZdF9NVeZ3/+eOrpTHiyIoobge8lmmNYgABCRcdbL8a4TBlusmHlJMUZ3GQQ7DRVQA3iqtGHEu6YqyfmpcxtuliduGaKKIu+TU43WZHXsm/sx0SgR3zimUniq2WesoBfXAfTcTK+HATxaWLAbrNNs5JiA5+8ogHc9rgAFVmIICGdNly0+S0P9csAM2h5Oo+x68xR+bqEpL05zQVH9esiiNzI4sq2ABzRLCRm/Zwn4mWuoX8o33f6RhcX6WM6uFozyiYuuQ/V/7PgBu/kiUnxRqUHGq+212ZtfLAMmAU+DrfBEEmHEzJg9h7Pm3fOZu/YVJrfxOiC2aKAtPpOV8C4nT333R+thre+ta4Uxg0/wrubgy1XOuRAmvyNrhBmjDSMw2cNtGKuccQPS+OSDaOWr/UtrGOfRLXs29crs1XJ/IKGrSu8hKtIpCyxVdY9vaIvE39sqeg1RgPrUxzjRzzMgyGzfG+WXvWYyGBRXeadDWNaLfXUx3RffqWHaHx07LI9sKWlaRmKnLeRP/uR8DRU2n6UlJYO3e7zs6e9czREzvW2mNIFXAVn5AiZaIEfC/tJACUerp9D33Xznn3BY6NOMBO9kV/IT+Eiab1B6mqldddCBFRJadkzA2l41IG1CqykC7gAgq7AejzhIXs9/KU5YJvZ+3crp4hqovvzJZJNCtsCJ3QY0s9Y9nf2KffvysVmtIpdGYU0PXi+VlUInwRg9BhlWlQCuTuDrNa85DTH1s8mQudnFJU6WR5xBc6MI99mDhBdyle7g8qLeEcsVepB/diNuF/J32lmu0M68wurr8M6VlrfcxWJ8t1uyHTwFBhEFGciM/iyagl3PEj1TlrBtYvhOJmqPaLFXfPWV/AsZCsmDnyNwModt55ajbpsZqJnqwGkRdg7cbB+BCBzamm9H0/TW+Koa4GSxSoU2nPDjGTaU0P4Xnat/VUH0DnAsgxUtekRMbtQfFWnsFEMBOSpSzDIkU2uK1J8TAnBOsjlr7ixldpoVP6LlCMY9U9DWMabxpANNcTmgx3RAwrrL3lTMRQJo8znw5rC8ON0ueqp1zruWW3eeMVNa3YPKHOK+u84AWXGwKSbGlvPlPi1x8+VYlyD9b9vfZQL4XJXaD3+So4PqwjM3r8xbCh32SVwYmoEVVR/Zsfvd/+y454mSVmTtDNfMvwf+R9Q4+UbLRxkCIhjXpIy0grYKci64mmOVp6sU6bCqxvvkn43Puehlx0djnVA2uBOnZbNFzYIg2Yn4isHpjpUtfmcjvpvPFTEVI4oduQQBKN+JMLJ8TINW8bYn/Zk/bfbY9gfgXFF1k3gmMSrenBC8hQhsPPWH30jNGGnhad0QdxaqdBpqcP52KjqrJ0Pj/9EWSY2KwuhNUZoznEy7F16u+wOTxsDqLM6fxtbWkTLLSfrhBPsS+4q6h5f3YsPDtYfCCUy2FnOqjtV4MAxeQWz1ZfHjdChQufywDYl+Gl/9YFnxY0f8NTchV2qT4lm7zuqp4kR4DqypnJtyRN8k72S2zMhiwqgIk/jt+2q36CvUm9zxb0foAt7snE0/K+9zJjJwiRrM4vhHk2PPvepkrpogTqw0zHOI/n48FwKTkjmaYk5ErPeVF7LF1GvLBHFCIdcaqpkWvS/xCCaRX2piPx0t0RmaO4EQIcn51oGevOlso1kDaoPzunJ9ntQKT+3emX+izhRksy1oNHfZhmXjU0ZTjeZMPjrGGkvNgm+J4QuhMxStqqAS6BsGeZaa8qvZMQEvPex5rG7iSEyz2qVeT3/AoDHcxg/qGy3zZa6PGH0hcc6BhjVDLlL4ZMZyhWIUM880AoQZVliU1DgSYqInLhGJsgBr3iZu7cbSRJpw1BlWLKXQmws2RG+5d+7LUIHVI6Mo3L7IiTkEqeNX7PiZrhvqCiJReuvlzfdDO5SMwkqlljA2mNvu1Eyy910bbzkw2B5xW4OQyh1ddB/sFBCDl9QcdZ4ymZlTM/qHelmOoyMktEqUt6VxC/n7aNZwLZFV35+wv1Qn3R/ZhisWFV9ksIhR64ENg86N5fp5IWgkfWLUt+WxFFF4hEpycqbr61vANEG18yc2x9m7+B+Bqtb4gR05qpQvkhCoGjKwxLZSJGWRW/zTfh4/gAujbJ3ZozqAewU6MClmiqcqcqlNVEex7HvEtcUC8/j4ErvhqsZL0PPwuqNz3JfzBKwge0Djtav5xmlESzDjybnzi8OcFgxc+T3sTzhEZzB4Kbw3se7WfROm+idFgeAOiiNunTcTZemc2LU6ubkNCRYoGXRXshUnEPYobZjzDe6h9u28dJ8KoQ9quptlPuOe5LqK/aaGGmlSaM16n/agh1sA/23pC9r+c0X1ZR+1i7G+wGzSB2HH3uMn81E4HGiRsyU2aVjk5ATty5JlUXxH60ni/1545jW0OU3vUo2XttkC+i8yQni8CJwJigmk162jdW87PkfiaKKTVP/q66xZqGETEm+vknEtfrRjWItxJ9Z1KHFSTkTGYctxBMyoIAtF8eU7NTR0XrOTk0SOE7n9atvLAL4csnZ8IGdr1fnMiQ0qS219rxysVWy8xcXmgl+j4/lHZxJyBr3PiHcOMY3nFE0urEmx4cUXnbA3pV6XKrv4xQKc+HH1KVIbqtzI+jR6oKgHAWQrv70YFUUPDxoVqIVWVK6zNn1howA14VkwnaVudIAeb2mJv99pRZwHBg4wWHFpv14Azzz1dCS1dvFu4N6aj0KeAQtfdvqSJapEPNoedT+DExpDuVPW/2U5eIAvDTBJdND8BNTaH80RlsDLMLdkceavenHxp5autp+/D11POI45qWwaKKGHMfBu13lVyt2SmrYF5ZsL2dNNt4TFg+pkmC6OqaL0EOapsJUICRz8/sBNPWJdzJ5CmycQSvS+teBCE+ZSuZBNCZ5zTBx0xQE7e2Cb3QFlYKVBWa9xdVsMfhnRxcNEYd5E3sKT1m5KbM8j9jD6H4+kGyA/TBjelxRWyNIas6jATOoEEvSAscJVPV3S/to7ZRv/YLiYOkae68MKB/x19csXfRlYIz4pDbOJmESrvdVUY7sNRZdliLzziLbYB5+apVVAg+FAFsTEHvdMhkLc0UaPPqPdp1xN+FTVBmVoWm863oc7tGbDIDdBr9VnBMI1xtuZ8FARwiT82Ba+gZpv2k6gGASelDPCvMkb1qUj6Okev2GP3KMDul/XupXlbyaiZk4xBKpGd+O0PpJpggVhXkScxLjJnibqpCtHJDdn7p/SNNeqjrpm2+sRBOb75NaJPJRbIp3HFajyLk5w1OoRBm1LBH7q6yQmAFHs7xFqmNCr5IbaTVyF8WZ5r3jByXGOJBeMDVkx1eltpsfBs6wIkYy82/R+kyAqt8veBYD3r/cGbdb1lAwJPtbpy0Qdp3SoKlcBEL/DWqID2lPjp69qWJ4unsJ0eswY3eJSkp0e0Rsdzu4UoUnOd9RxYg3rITn/fFmqmlD04ZQre1Y9SnM8fmNotSAsBzCdV6qa57uT7u/Ac2RDsCacD3uJcLCQkBlHoVauMTkYZFiXOHjK/kBY863GUf4b4uhsFNzaBDH9rcoAqHv8QyjhU/JFT0FOjDQiMNqlPxJ6du++AYDzI3xLW+fqzZYYEQHxTp5kwJxBBEM5j8p30nXTiJqBTBCmbfoKfYJ2g9D83tI+km5sguF2w/v0p6kWYOTt3d0RHM8m6+xJsLKUYNUEKIw5vFv78CpJiyo68cSH9CUEa+4zGe/m6DAxFofzEZ/gfDOKQ13JhUWuYvxqXhLL+SVjJKIsZAlVDwvZEd1fDMRyn0pA6gGiWEQXbqoMGn3GjoIwsGmb2/EvYmwfCGjnTM9Gq8TWO6mVtnC97xi9A/FJQTb+TM/xOeSFP60gnJejQPWUARBVuV/oANcOPlETqScklMZOSri3z7CZhcfDiA+JJYzY0JbYLoKuLK52hNmT10Klic+oLc7F1ho+P2OjqGkpkI9wGUO88fXq0CGpky0cEOwQFnOUNnsfGQdoH4jCql+1kQtC7UoTmZfuuswAVyCmb/P/ih71YuKTl6hOPd9MPVGX+Mdx4Vz3zk9w8CqrM7SAfr/+j0EUc2kbNBfOXdJsLJf8aB8h+QARtNgeSF+tU7em0S4i7dD73iyLXA32vhk0/OwbAgqFSEehxMlhDHXgzjw9wfp0ACWfKIzTmVeCVqp2DkEmD5nlbkdmXncSG7G9YVS8+KDsCGZTQOZfjLGatVBMmtniyaQA3uXzjSTm8GD2Pwl9WEoxwgRoob7XOIQt12oXPW4+FziPEDdcu66oId6Pf2wOpwXe9ilBs2ADJfjIE5gZ/5jFv8PBZdLu5BCMbMSmMTDbX6Y83ivdxSaKj6WSZmkI0Fa4JEQRiTm7dFLeXbbR/UD/XHZJzc+4WSsN4cBq7vlH/feyBUB5m1fAPd75mAah59KTAQyBDAeRcW9rJBNGmJ7G3gOAIOY+J9fP4YJBcwi4pMe6ijtf3VmVv3mm4F7W5OQIJ2z1KkV2BbPkfBoOk4+Jy/Gab+eYxRZSotV5CW8IuKJsqHjb/wNcAdFZNA7uAW+0j3RkqJdGZ04ZyGULdQQm/8Y82NlUdSi3qaOCtGA3yrziaiLqczUPMfLic9OSyzP4dvtD2J38ykr1EJX+vyPM2Y9233tqiAifejg+nvQ3RAG6ii+yWbKDw+9xOC9W1Sv1ydx13Lh5JotlCE3BofieRF8umqNuc9/rmZSaqaBKfLkxx8hCaunjw8q8VIKlA7SIT2qTMrb+4mA0RAbIevyR0IJtSVq9zVBFBbB9ADtwPIgIKj/9JRFZuFKnqgLiQxVr0SPO/Pdj+kUTAQKwUf2J1iSVkvRZ+ghr1OL1BwrT9ZczhBcrO8XhLME0uVp60K9ZbBw6UkC9DYT7YYPXAjJGv89Cmr9ttsG2eTNRgAQzjnRmHrVxarWgZqlrVYE9u6xJ8rRH7jKFOOPu3RJpervvI1evtWowV00BxnQjyLO71O9EKGm2czWiKc0RFKmvyTmASdMZEt1hh6ZaCWf8LWUqsOiVlUEhH2ojVGN5nN2k0rFgm3/dbvhcuzoKvK2cwTGbdLUoyoD5nyqRnKPFBSh7GRasCp3N1uxW5A4ixnj34Dc8lYSdCbVug9A5lWisMn7e6WK7XKlg11jiRFC/nSaob6rGb0OrUGmjAVD6v23pIOfC2fu13d67jhkEP5IVf6r1XJMKCx5vOtzBa23vKJO5qZGw2sJXuYWBiFWGO1Utn6nTHLUVmnUkrNr9uJcom5eL9F+41uCPOqmdFR6qIZeWCuZk7btOZfzO7MS6OR2BTlUb4pw7MJXqZ+o5SDYHKGK8D3V5XfuKU7OCK8nyZRpqYOBAw4z7VSQSsrqOvdJaqadiNLiqz1Bbys3cbLoVRyb5gquERR9HKv4Rmd0fNppTuNNIiSACRMnEnQzSNLgLpP1oosKNkQQ+QBKXPtavA8MknmgEVcVyVBO9vNfJELT1SWtqX7byWfc8FKXnsLB9cS1bk4I8D1Rt4F8rYXORFl2iNNI1hCyRpi11E0yLkdv3mhn/CKEiWeCgj1nz98gtj59YAOLeVzerqW9e6vbFPijfwDuWA1NmL10YFKKitntUpjEybzxTAo4bO5cxaLT2F50rdXqwDDsZAcr0INDUBdtCP8H/h94Gw2WWGqUovPaVn2nWBqm4K4n7Qaiik5vK+8gjorm/29w7sMGmmTlPsH4+uLMdZhVPytsTxhIyAiJqZeZaehbKgNTx5RkbkIoEqL7SK1SiFl+tLvQr4KK6dK4y+UA+eonxRKefks2aw7/faGLkVNgXPYIAWZClKY4OBlbu7ZV8Pe77hG8ZVq01rJuRsFYfZVohqEg3mT0RQNTSCGTu+D2yqviiKGUb/TlcAa2E2E3AWgPV39518mMnXt08i+MxDiP08z+gJ/CHp90mglwwOGy/c5XTATnz2K6exqcDzl0BALm3FPWzfohhT6P5QhDyf/sd3pGX5khTCbw8JB5MeLdzen4hn/XT0SIh29Eo0OMEYitfTNYW5ZPGyXFmke21GkEDuuPh6jbz9Cq6tvT5fg0e6E/v7HjCqdcJcBXCqayKGh27BqmUnwILTYMj8LoNkvlc/rtcx8eiM8jzD7FIKznJGb//ur3GojHWasZ7N2I2/nLzKC6mp7zKy0aatH1h4NjuYpJ6ZIrJmAnaaOSlftNfq1RmCPCvuYk6ifoYE9UyfUbYD4t4lrlbCzfUMz8jK822xMV933fofYa6gTdH/UTJQN3/So/0Rb9viYI1jzE/41/BPE/91Ka5xxsx4nElplyLUaWJ072cGFOvGpkCzvjBgSQ/XGXyzLGHSPdb8WERXtsi6RSgRWShogdv0CgiNBIow91hqHkPBZXhOPj/YGuSwDh81mgy/xXPa+7XSklJm1K2SaQliKmDU2lCxamk9gdUybv+jGxYeoRwajhCu4nwSNosmQ0w2/59R63J53lRzYa7Qb2JWLrqYYTfIucJsfNClfwrOlaMAf1HdbQpoPZ8NEgDzWvdgUy0bzCWQEcuxT1St5FE8BubBLxvpdoXn8FBJudTPQ98EIhy+NHwhPU9UPV4VAwg6TKnmeq+SzDdhiX/KWHytpLdgxPZWnWuUGzZG3a5x8CPPunTp8uC9z39eIQ5iYgYPlmZovEr7yeEHBcm0Tt5PGNlmJ52T4cpjJGSsCUswzpBFK7tH0O8exOlVl3+zUNSxII+JdgV5AnqwCevTZu8PW98/XpYWVWvXPHZwqOaoqXNoiupRbBd2tDnGTr10TyDoCIPVzXZuf4Z/pCSFLpHSv74vQnefKt7dZk5X8bNrk4I6xJLxtEfBW7+dnnvIS0rg+a5HVicL4x5F8wKIKn3ZO9kEbnyvafIW+NkVD1Pf2hMVBkUo3q5tUsskX6xh+Qvma7oJOza3tnqgDClOcwcoAePMGtY9hRXELaOLxmEpkBurnvBYIQsGIYFaCGMxn5fXy24BT6deyhN7R0JO1fk12TK7mhXWLjApPNyKXF6+gP/DBQn9NM1uE+ggYo1N5/0ffefMewDWwCH0HOwcuVBUswANUZuPwtZNUNfsJmVF0dwt347gS810q7+lZded6KizAL6CD7gY086zyhVICLma/j7c/OjkFQktKH0fVfgG6az+DqmIwf5K/h7Oild+S3iaEUGdVfeXyyebnMSskV4GtesRbWZ1X40Js03hpMsNMqli+KoFtsooFUuO7dHLaYa+BHjSuqCzy12LOQNYziHja/8OZQK+Qb+N/3prsIG3HglM1R3TaA08PzHv1xw4txG13/sK8TVj+4t/zY7d7rLv8GaW573fCVKhFtYZo8Cz/SzupEsJ00o3fCE2IxaEk16dIQ1dpuikFipTm8ljcvhKBBd8FAA2RJbvxNUmCNcz1WQwU1vU2CRK6tsJPa+svd+NcnTSrhG3ZJ/kTA185Sz1iBSd0pDdQHx+bi2/dtdsxbY+UpoCOALrzCQhsDaGqsB4pA4adJG5qkFYCf0K91vuXtaaSDyGLqJMlc4h+Uz4ARQFQ293voTXWi2dDKsQjgcCMNkDL1604g6oQ1P+POHdgs3RZvGA2Sbf+FA1ckl8p+rRbDzdYCahEpZKA8IJSES4/ts4WfMbThSHXoLmZvjQEzHPwPA7LgPBv0jeLlt+nnN2movo5A+licy8Vx5B+BXkbnX/DCuOKxqkJgEec4j8TlvP5dqpP3Xk0q3udrxqlELTH2QOlp0BIde2KDyrk+QmvTdOnMYS6+EJ8bamtSPLGpXk0A2rhcMj9oJZR6rOkwxAt+szZTIqMhtg5Ls7rypRm3xpYsxTA3A1Ebq6L1NGNIEQH0oJTaFaQssul/0VhIrpd87Qqdw6RDbf/FDyTPjCMN5U0z75IcI5/LnWuMC5PzzNGkYsgKK7/2cbmoW8dsSk+nVb17GsjpvDoYPDvfusYuI83GP6V6W4YV2Xw85XRrtXlXs9C7h1xyhjW7SHZ3RQBVpiczkPXIbmSloRpOZNEmlAKoacfsCr3FHUFaTZKSeTSizo0EnZGspSkpTGswa9dPClNdD3Wq3CIYXk+AkUuDEUW6Wsq0abtTGU0hhe2X6lOeseax9hFzv3PrdqP3DvIx7udOBT7xRdgGwqYiLCb2BqygYob7WiMGvGIrysIqAELJ2M+a14tU36v0/1qQYNRiTxTM0bhifgBAkU83PeX22A1EAecf+C+G9jX0p4D3UVmXUi0nHNZ6HBSFwUrYMNd/ZHeHoqon8lMZRhDZlBQKRIo8qNjdTwIeezIZOKFN5gt5lHxtO4fYgvwX4yFrpzkyDn9PDDXnqvXM5sPq/e9TWTS8rcQWF+oegx19lh79VFL8CX/52yO22mHPknxryF/tYGa8skVfKUUmXWFFEBsGnU/ZDQqqQqqdehE/rySZK67oe7nfFzv1IqLgflqXh3io445IO2JugFXQR/4sk3cy7fG3f/bXXRn8w4v/Oc21e+4wYmMUCtUlRrMT/Pe0f4PjCJvyihhJU249/AZNqiL+IbOinwx1Iw/EMC1IXL9jPrkYBjF3rbkn5Du7QG/lLSWXh/RDHBO8IItymBxSe4915YNQc/b1aIsvgUFwTbpK0LUUU72E2w8Ul2n1Ju9so1bdejRvI8dMsdb1rHae5x2+U1ZDVbI9y4hJFkKtwPmL6xWpaRBqEEAZBiJ1ZMTKOqoQtat/jgDi0KC4dmy7/DTnva+cL3b6GTqec522xXGH9zMK6II6g4GJqm1enxHvFVr2IUKcsKRYMW+h9r3Splwx+Wl1JxsNeDH0HAAD7asjOqi0+9Edq9TPQb617r2xS5xJJuk8onyqhIPULlcwU95EPG6L/6wIIR2PBChq+QQyO4H81sGbjZRYlwEGOnu6IXI5Wj2qUaVsgq8nvZvwkdRirn9zzMHSsia8GOdpu5n0EJUW7hmiqYVLTUKYAUQdkhbQpNgcPvjJPfroAeI2jkOQAKZHinYAsx+RQb/BwDXUeEh16aF+E6a70OkIt3JZMnh3V6Z9Kn+b3zFgtbNd2+ZNIWG5NQcVqEhVumycUNWfZ6Zh+3X/zN54pySch6lIXl/+MXAU/c1ksY4AWGjN3BD2xe0mzc86chMhlU9z8HwKSp5wGkrxHz5VcxLruM7uN2fMaeHY69FLf6AQUbMRAkZhIKO9Bsh9X/pfApDlyttckTeSIPDetYNdvFIRe0XIDwBInzhvxOQSu5rUzlx6mgvSl/kZH74Lx1yAN/TbVbOvjMKvCPuJlY0gr2WRLIpTS2aZDVGrl4vzqq808BedA7El7Pb2sQSGMZVIZG6qo+Nbxn8NfqFuEPzVuh3m56cm7qDLEonA+KgxLnr2BXLQZkHDt6oWIYDhwI88krsBs0XlUCitGFek+9BpVkMWD5jz2oxIa2EQ9FFJY0DVXfFPEe44rJT/46+0L8+aQg1dPefh6q76FJgGKlpX3PAL83SsgbnkJymnTqepNivk4V9MzvflZvw4K6Iad9Q6siEH3J0zfmgtaPACX8mddNFv9HrZCOj+vmlU59k7BvidTqfwye/KCyBxUDt9wmeFT14YYNwbiiRM3iRf3mKuQDIomYnyL1qM39mBQDjiUglEJy//1c2CSi4nrdP46gsZNDshSTk5OGS3P3AHnYmWDeibHaIU7hGR9yp7sw0tb1MrPQa5SplccbNKpqZARN64M9n4QEit1HguNK7gxAy9FreO1dsHimUAJ315AQiTG7huE2KJ16sWaiGUjuDhBgmEKgB/dfPLL5aROZEKXiPW/mDm04hFgM+sw0io6ShZXpDu9tn/GCH6mLuo5NFlywpZTih9Kh3ckkJFF4LzFa2kSvHX12JhxZX0qKbhsTKkH3QfMao/waXttyD5UHvZlpOrNKoj6TD+x2m2SXelBWm5D2b/vu8D4RIx1K1VVx6rVVYhnyFem+qVQGto+7MezN2GjRWbqt5hM1A9GaxfdIX32pkVeLzIhT59sCKhDhAHWbJGzyS9lcUxo+tMgvwhWCQ0fvR5hpczfn8Dyj/KKjACBkRdUrEKP4Wnx4dITsc56R7AGMZHJmIWM8nGCTtfMJZ2DoRvINuyDreqGNTEBD+6nrhF1L8uGR8I+L/a5f22tfhWUJ72d6jxHqZKTu5XF67EwDkZswghsPgXGGbik+fN3Ue5SexmnZe6HderWHsgvvmfOI9mIPawBdzKoERHARhhXHUeQ8xevumjk40HxAuWDbqFgowz/lBVzk7nptBi7riabz39jox05nx3nmgMQUZquwlmUp0Y8JtJ91i4LQ95fXyxz4vuiispNPnIuB2lt8QM7NoF9jqOVwLIGM0UaEJ9iPPCPQwqbm4mAYip2pHSD1vd4epKiGeHKyeZ1MiKBEW8tk4EY2wWjbFue2w1odp+D/ZewAq7W/tFqWZ9Yhd2MaAuOA45+bFgSnQI4d3O5G9YHM4VUFejgDujzydmXCbBH1U5D2lxAEVf4/+/FKzFCare+nlalg4Udz9yFD2dVufR8efTIIKXH7LqN3cefrEwTmzkIEUMf+2ru128z36O3zGso06cGMXA7fvvm4PTtanGozn/sT1P+smxH4lvFfYHAwH5GBOYdL+xR3iKP72C8t3OoJxPQUMT/r//+j5SXhCbdziKa9S+zGGBDWqtT+CXEL6C23jEb6wE6F+1kbhnODkdMcF/vdhb87fcApe8r0i4UXznY6ZazhkJdVcc7KMLcJXWnM9srv6zsZmlLsGkuqajcdrhIp3kXxuChJXhkjjKZB0wnavohlaX2gOlP/aLIW0b9cpzEmj/m1oY5bYj2QmEBo3QYMhet8OQH4ukytxpuKBIB/CFIVoXyvsW6H6gxEut28geRwt1mN5miCeej/gM+dxxEtK0aQkIMnufgRx702ORWN7C6z7cwmqUGF+PYU+6AMdowcIblKkGw6f7m47u+BdOQcRHFLf/LkUO3gAOF8I+vj0FJOAUFv7zuKfrTfq+OeZqckXRNtNMI4VEZGqYSkJokSsw7WnvnyQaNJg7SsjjSg86mdUrcplT9qrETa/2J8a7M1anE77kk4wHsDVL6qorABOVte9upUBD4qw+kUbxBppBE29PfxrIjBXY3Feh5lm8HzS/BeTh0Ck3/UTZIcoJuRMVsPioKmLDIvYfFzT9ZXdCqhIRmX7qGEdC/WhbAW7x2zBsEmojP4m7d9n7SYZdolFe9KVXXLlC/2LFUyrCwyEXmZStrD6y9WFQIm5G/rXOt3C8JOPW4h2JbdK1r2XvgWowdWjKhJXLf3IvwVdnoQZ84ZhKq4O4n//r5vm96G1pN0j58AAf7+45Dd+EH+gePxhx1rJuwR5SnGS5rMGNUSehPUL+b3kScABoJb89Ce+I9dpJ5ob2GjgUmRY5sSrxxmO/48c0KG3Qm1Ah2Mv/Im+OKzhuoZZXhRhhZ+Uzx/gLPhiXDHtk2qJiqTdbAKUYkYYtLjMAeLOFsWFFdKbGnJA+zz8kk5MW19GqKZqhtsuFPuphwSDzd7xnDsu/igvKTxAzQYzsLqhCM5CmM6U9c/gfy+MXXlNsFtsrkEtm2LNK1ADguzkKi1xxnEVPcA2W5cfsXGbw3N6VhF47pnTDfixfuzuzf+1suFvznZ7KKJLSBvHHvm3lb2aiHHefIZFSAtARZ3EhATffBTxwZANatCWwqTrwtcsmiOba7hF9z8HlixW3o3/XDY7E3A0KU+DsNbnaLs/0fL2YFxq2N177sHFcEXbqQfWGHp99Rg+H2MUSOMlegMjBG/k38a3XD3MItg63wzMasyyL+ZIiekIabYG8T97Mkcste2TC0xVBtkUtZX0yXoOuBPTAEo8RdYX6f4Lqc1v2rzCJJvU7zByY2C6HHfgPvea8BERkY5DHlmxQGBqOP1nd2JeCeO9iSr82/IgIS97O3NJj4+ZG3H4gKV0GFFNPfyq4tODyhfssvs72Gr0IU1ihILBdhZO71hwdfCWqXtqk368HpSrYDeblNdkTJ6iea8l8atlGDNZkTtGP8GqhnTmKgdhU0+yhxuczuJWhCDbb7BWdBe3NAsbk9ZeoPfKR/3xgtlvmgvGChFpZ1HxcVzvebd/L25bVvplOTL2nWmjJ8kTRV1asp/Luuod+c0W1XmJVEixZT2YhO3n4jYnYwhKlIPMQc3AEEGKOOt0MFmX6XEoP4L0LEhVm2PSGtZj+QhyJauS3PQvdkZDaU4r2SmDEv2Lw/zGdqGIRfAMyyGCiz0gDnaS9EdbNda9cXPok4glPeowgcmhh0ppjuTwRXHc/tpiEyqHlBpU+SPioBSM1/81I2gjYnqURQ/r6IDaH50ANhoF4n6n9yd71+eBSVdvNGTtonlfKqIdwB6GROk3L7JetO8sNdq4FjjLxRDK8tg2b7xJvkndKjmH9YGlnhCB6FAfPDbxZKf5SgDM2k9ekntPVpc06ItAjwvyTAH3VB4ONDi5H1lA8zU/QUWK4lUmZiGE6+PWMf9zb2vojNO4m6NOa7LCsSAnCalEjSlIHICs5qDAJZcWwYt6BLJdEEIegsK5YKqk40AGcEVRgg2N9G7ifRNfwr1SCxTtaJos6OlvmH+vXsOaa+uxZmHLeuXF9ZdR0Q4DFFuQWH9GTvoqj8306fdWkX2hBjygK7oyGMQ+MNygx6uLOFZ0hMlAXwmmuvTWohG9exi4dlwX3ACqVUnYz2kHRhLY22DZVHaI31hb8yXxzKwWu87lMenBIqziLK2G3POiEMvALRYsqOXSe4xysq3mNwirJnCWztcVUuOxOihWdNBtI5bFeuauQ4uIdplIYzrJIMoyulTmyZKiO139OqbGJio+xEOZQnfVYVA2FLKxrdtofxYSvnFiXfG4Dxn0h/ctNfMRoK2+nxV0s83pQHzcmiI86+aCuQb1ELk7d7Q6sU2I/7O5si/yOupZ+onoiFyFbaf2z7UuuQdMaktR6qVDsNKIbnMuCMFqIRAxIUrdh0ZzegYqzwRXjelCR+yfknKrTmzZW63l20SZu+ByRqFEvxAo46GKYDIuW0AVC9soQmjyhM4efyTLh/6bjItAewqKeYh2/xRyFS8jDK/4isLPLWpGe8JecdcWnCGaJnkyxIPY3KJ7Zeiwu7Tys1gPRjxi2clqSksgyTvtbQbOwWU76/ATvSYsgPbMaNdyjNRB7aZZiW09rwPZ5siPwllzXB9A9yfrMmKvNAWgXf+PNSynKns96fOweXDnEO4MqqxJjJviOqF48msF3jTXBZRz/HoH1/nuDsPko13Glf6CsZEZpMZWpONBG1h6gD37e5jdW/lkyWbyMOqj6nbOXlFBRxFFOIVixgrLVmGMQVvNTiKsXfDDd0aLWQpBQjp3ewfNc0a0K9fiQ6AD9hV+2mKnzAQUn+GEy9LOY6WouKBqbxsTKwQ7xx9IRwus+8RHpC5Y9XZx2V4F0Fg+L78gPTV0CwcKJbHSC9iq4Lrk5MPmUPUYBRO5YZ5EBG0xxImJGlkr2GID9LLzoD5oT7mFGTKx6ilSywYlKLixF37gTJ5gZIAI6KnaVHhFg//XutDP+Y2G88swyxBgcEJSP08d0QxGl+nBUge5F22RG1THa84/gKw/4Oz5Q03RrthpBOtoX+SlHFBl0oypEudykVY+tl1cyVeBzgKIP05YdD6LmSbb/z+b4qWa9Z6b7IH+gPq8ilbdWuZm4pQK+A44vd70qC+R0nBx2V16X7PWZK9+DoZxaGswKfRXQACdX1pcltfP3rpmW6A3yhmjwESmfcPpjIbtOsifg8oYcl5aK78s8aDgLnvsX4jit/Ek6SGG51Rx+UNd3YcX/ysbgvtyyuRDbKs3aQvnsa0ZZhSmrnyLbE6xabrOOo37ZgRDaoTWOgR+6mrG2tInZcNpwD2aEDR2ueFe1Ax1BDGvTlaVTj4lJMvYmt8VrXpAXDs0J0Pg99/uNG+32N/Rk+p00OX01DleZWr+qYCpH2F7+7T4EO38PC9rZbZFNrZ2DXVmljMr8p6LcMgep6g9a22g6WzhO8ADNm570lK5b2vztHr61vecdYy1GWlVIh0W7DWY2LeIuY2+mLplXFcHD/4shRY6D+b97c48BrlXjq259obCpYn9jvtaXU46XazM4ipvuyFyTAvbQBC810oL2E7vF6vdZYhd1aGFAFpIOYTqZdLAKo5w0reC2V/npbXPiCV+BVFENOFa8ln8MX+70kRP5Px09DxIJ3rql76Ik5/tfvZTl5rATm85OvQcoqX+gTTSM5G2KW+7bRwf5FJDBnYd6yRzoig9Q5IivwZHekZELjEM98JnDzTjuqoaFx/00A9imngqLlAD5cxTobEUICi+P1Yf/DAFofz/W515O5zddY5Z0i20K6SRiunUVLts0lepyO9LqkMtQt3mIoTKw0XmQ5IwV1/lV0rd0XeEw74hm/P6joKxLIzJk20FoDbI1XRwfRKNeJq29MdSmML3e6dWnFJhO7Y34OIwM9UHn03Hp+f5uV0sMSbdCUNxHlPSc9BEHFEDhr9XRo3L2iVvJgKFuyKxJSGr8K+gG6uSVdxwarvU6HmJHioiXNLcCG1iWKtrUxagglb8V8G3fr80Fo4kCRErb+fIqqoe2rsfXlz8Rmm/Y9gMcYJLivTdGQHe10cOpj5y5y9fgjnibHhIB1ytJ/CraX81L5ohvxDGl5cmlDT+4PGci0iYdpo5HfbRGxDlU/qOORycTSJTfyHS2smgs9qTe7UuBY+bdPowfHrUmx1PfqcpgXXBb9iPr04cc5tMuJYzUGsMfQlq1DqH92p3uaMK1cBD/TCxpGRZjRYBSaJFcfDnKAAuh9augG8z8IwdxBqbRV1nLXUowQsvlNFZeoMesQD/ZeI5A9x0f2MwH7wcUe5toua9ydFGRQumlFf/g+hSeNfFZt4qDCkRFHKgoPhliAKOWTx8O36IoDJRbpUyJHVBWa64JMExXbZ5rg3+09DBTThGk2ObFnB0yl1km9LF0P2d8rBAiyM41d6pqBJMRj5LL8qATCXRaUxkYGJAlLRDis6EGi9Zd81M5cRfhU97tBwUCMtwXsdM9zDWteOdzfBj3poutMsMIhYU12pnGQrANWvQnC9GqSjsN7ltya2n+oq/k3LYHi5CJr+AM5u/TkA4dODqqIIdBvIWpHrrbQ4aHewZf0bBVh8vgErvsjMds/woiL6+oIi3tgv0jPrS6EwoHPRnkZ8Cx2jfrnmEnUhrJDNXgyH0tREfpPZKQpbN+oI6Gxy8puLde4rqXEkYzDLXx5oZSyYOdX66HM5ovUY2H/C79rv3eWPoYEfj1F4gdpxdQAABbY92OEI/UTSHr73XnTFHmDOj5RlZDyUcUhrKeDqJrpP7U9tUTAGW0JfwlvnEs6TsZRxlnwJXlStfdwaqO3Oey0CybZX3dB9n2gBmhteMAHQODqUXRHDtFTOswJITrnRC3/jWsJPvfU0+W8CvJHmC+Q5y1+flVLou99C9wL4MUY/Saiz5K2EeLZaEB/KCZI4C726P5QZefUPq7W8GTLjQk4kuoUoaBdwXrINgzhwJNKV+tD6t0vHs+6111DH3JTb8mMxfPQzpzHp+RzteJ6STcHw2yiB/U0uLN/P0OCctHl2SdUYMBz063cnGahB/klwbM4mCZIZX3m/BAY3LplmH5V+fMfEK4WGWw6f7mtKT0DszQKRaOKcZjVhxsKK4iMzBT4H2zUWmiVhgyEogMR1bpgB+ni/Dhkhzvd/HRdGZthAMZSdk+bztaTf5UW3c5WVbgkFbj7zkaYVP5WJaufy1AD60sh9s/Dy4VRHS0ztgVmxxxd0d0Ta7GCYCpCzqJuCVNnw4hUhhDP8wklZH9yDUsm3BycQ9cahEAaNhzPLa5CYybf9N4vLZ1dVfxs43KeTeWS8BIBsXtCsSjgkpbHZN30m7Oxm4jHkVahoknKDtN8UHG72/8nIVIAWd+OzhiYkQ1nqezLFU53ZwOvsuuyvhPSrSZf4Em9lxGrGOWXKayrc6HKAp5+59SWodzyKJX1PGm7t99azQ/ZnXxkzo3EPe4UHAb9SEFMYp/F7j68WdTzTfwkw5ekH1VrzrNEirjf0ov91TRPl9YDArSohAkn2KPhP2MNqjStoLEExnKTQD6GfoWHjSt+lC+LRJeQgpzpUwFnb/aMpr2ow8Jap6ltIXYqRkscteQIuu7B7acOi/uaSi/VvBNE0ZAVPJAxAC6DaJbXJtWZBuyJK17AKzw0JMxUfg39d2lpAYqodJmAcE3o/na/c7yiW1ZTioI7WGoQQ9MLzrN0gwUOlDc/Z8BfwqcA+HOY+oukqE6BzJnQyHDcdwn4DtlregE5sqjX56jrZbEh76WrVSUnSKwrFynzvI1c4a+IAQ7fXNiLy4wPeAD6PW8F2Gnqh+24RE47fyDqhUij6L9gVIWqTdPrDV3cB1xkkFmoLKrvJd3zKavd33rIV/nPiCzsPDv4vGFNIoRlddGy4EpuXLZZDa+bMQBMiWhZxo/erAU5I1DrBVgnLbA2lOtwuIk+Uz4zE3TGKkWylHAE6aFrj3FetqqIOU3SwAXB/fnsBU4R2JwG9husvubzP1Cch6WvE8YpSIppHwxGXXfisrD2mcAZCoYKN37SUR2ESpGSSiSO9/EdlnPE2VwYdQSwypgvp3rSP7d5CsdAvZqlj0ebJdZPwa4Vt+elVuNJ57gnomCN/FfN6I3uaP1/okE25M7TzW6tXhtG8comgFPgAXFemeNVBv8TgG2RSqILu64Qo1t976jQrutDFj+YDjrmCp4DKn2quGn5XZONrtO4gwdDsup97ufkb0JCVOrddkfOYbvaOGzG0YbUtbT3y4cCNU6Jfuel0nch4ejgUvvKPSe2X4Goj80x+Djsl6pvnt+4rXI89wbEp4VIURiCcB0fkLXhO091lwm3PC5isMVSs3leTGh4iFP9nQ8IL5eLadRHyrU9He0EvrCjND1HvTSY/iiW4J+q31UkmamjL758lOGPDPCM9WLMWN3KLBVTe/JcuG1fMbzXXVtVR66gogCcmWwA1xoZaToNhVLscI2Eg7Q3ILrQ8Ric+lnmqYvK5v+dIMlKxN13YhlqFSMaRqpFgyuGaKkqPxtBi5LO8L/3DO9Gup5b906/ycPABLA5e54nEA3/e4n9tLUJB56JOlNVPiMufbbJPbtTX52h8FCk5cwn5sfrpfSqBjw46Jo262ApncSN8nUT/9yaayLAVIORUUFLLGx7HojA6rbcVvnOFodY6vQWXjNfKBh+iDLkgiKEPjR7T2azRsvSHsw1FLbzoP6ZRyChOw7pq8jSk0M0SAZ3KNca8qTZCCGOPJqAlbz+MMWitIc1UKTUi2nMI5Wz3hbYOXb+Iv4H4eln6JKRkJ7osW4MVpR48a+7obB6OLpbG/q67Vp4pqrHPL67v9ouVZPqnorYfCTkoQgKmOb4MmTJFvaOLzNBj+FIDXM0QQsFehRUFsdX+xVCtaQJnYCYPDNQQB+AvakrhYAzMIwy3FsRZxUE5JnqvKQxHPXfCWvFq94vl57IMkQy8ubvsbPC2A/VmCpnvt0Rmm39MfWRUq+M5sMFFieD4ngmS/m7Ihc103eRWxAKaB5klgXnbUkVYTQEjEdUrwC7GVm/xeYOUuy3olJifkCQTGlGAbLo3YHNCeKmv52jcsR0vTtmHGa+8jKGHue7f5R8ijyqE/JAP47mo32U7/7LvIuoGhIcEz/MNF5NifyT8jJ3IUgwQNCp71QMAX2cOJqpk+LkCZIEJDrLHU2x+i+gKEPyJ8S3rrD9hljuTZtyhQs0Dru1KPXsHEhJ3WPdW0FCoB7Z4zutpWS/TFGo9KICe3Iv6t8sGTTnh/FVbMDgmsujhzJrEuxHWzz0WNybczOEWGJSWnaZ1Ds/L2UJvy+CbUplvHU7gPikkak9onEUzFpVilXnxFNxQGXrtphKu097frIh3WU/q8/JWkw2Vhd9Gczsi3iHwl9lGoE511rTvnh0e6Q3cLA2HCtZnXt10JwnjGQj08AEQeZ+F5NiI6QROKM7nRF2zXWpJ0WJvvj/7nkzSXHueUcXNWIRLaR2xdcKnp3lztnY5Upj3sXM7V/WT+2w/hQ97cYMS+2SsYME+T0YHrFbBBd7QLvuQ8VSMOQOWuWzlpAWxzkYHGpVq71ksEiA2HifxNTLZUhxWOt7o3Us973VuNgv5W1Z+FnoHi/5aDBf/GmkWIThjkp43HdyOe65QZc5h5qfy6q18yAJ9BTD/AIKVIjpHUUmccdIbOTUkQ5sDlVIfO2jGPXIWbenxFyyzLlJwKloLry+PlQqvga3MUAaJe57XnkUrWXu8jPHRkwY2VTmP/+8eYwm/zIN2PFJqFJmOTfWLSwh66yI1cII9i5+tLDLP/HiOsYZLCSojnPB7uazLfSHvS4LXZMmhDFgctJfadIEvtiWaBr3fpPgh8JP2Ah/OYzJxSvzBnBvgY9cjXnVA+TQJlONXBXv+01kJMtLwf9oocjUn1Kwf4il1UH1CCpZh2H8dMT1pwYr/X2qovFFxTMz2LhgHXRnwhYEr6b4TL1rZlQNeEONp9yrZjgDRWFNLfpd/eYsYtBwW3bc0ubzesJrywhUTtk5c9aHrZ8RFLlUahSkcAYbEJEByWwqrbZL4Y0FN4OGu/Fq51k2McQSx3RvP28IY8/G4t2goUBjAUs8LkmNCo22j6wONLxysqSmSL7YzhZIWhMK8uzc5pijyUANgI7UpCR4L+5pP+ZFn0EkHZSnejwKbEVCMT66+4s3dUYyInYAuuLLjYh/OZ9sUIKd8k3z8S0EwZS+d/mVx9TA+l5mR7gsmTUJBjHFK9MjIOvfc8LyJDR200Jvdc7hDGuF0UgCuo1zvw/tOE68EmINgSEGliWTv2qIof71EkfXE4g0uESKZo9SyqylZYhGOvZH4nOkIEhH7ZPzrL0UoHqfkYWq9t1TC5X7+G0/h5CK37tSX0Z7vnzMid6aqLoAsACofSAr04q8aAg2SVJZ6X6cvuhRmpZReHgYivxRHrAeB89X5xCYB37UC1T9G6SmfBsOCNruEJ/DEW5NfBykYSvW4ddS3AxVTeu4LtqV7v9FV1Qdwfc9WXpMkjdISZaUwouAarMnOB9giUR5SsqosZNqymr8zsqdOEBQf/CgFS9oZlPle+Q8eWL2wq/YJO+PfyiRVopdCcbg3sDeKblYKqUTV1zl6TthTOmkojGTZG1goOJU1b8DrdMPgvHnaX8uvYGGrXO6UVjpMmlvXaBVjdEZJwkMBqvUnqyho3YvCCEGit5laL5qeywVWCAv0K3Q9zNELaa6T4N5B01tOqt8UFmzVd2ET2wUQkWRVgqGFlMJ4mguwAvtu570KNdnnUWxvL7gsrxp42r7UH7pPH4qQXSWei8xwoiuU20y1dWqYP67ndDHToYiTf9qhwQ7bFi4VwcmqOlN9UyjzeOsjXAdvtfyMnpZk8QcUBrVZOTKwINmDW8dsCBmlflfJbDZKZ//GIAJ67O/TlSXO/bwfAeQDGsDJ5k5IjX7antBVhn8WhHJgWAAR/+COWeYLWTWOgT3KoveqsjSL3mo7AcipJniV7nVYwj/5RNkDTUE66eLiJv4p+JhX1oc1DLbIWCDMEuvaUzwRz5EJrLTipaEr46OHFL1sPsuzxl0ud72Q+EQp65KWjtG1JUbpXK8SjGzO+v/UEjFXYzRSn65iagmyTo9EZEBJR7dZBB3Ht+0an+UK69Z0YG0tA2aJ7r4UOvIaf+mxNtVyLx4m3vXAelyfVtpvxbHJjLoelU3SRop3oAZFOjEAilcyzTSy3/bTTu5ezBR4yy4j2LME5RT9JQpisHlym6KQRx4dVnZIAg3CCC4qTPI+McSX59pj4ubkjoYp7zFaA6Jpm+jRnqHw5iuzmMt0B1V/eRpFE7I30lfYvhzI7dcpj7AYKP9GKGLrRJkl3CD9QKsxPylG5X3ee0bWfIynp6xl4HQ/tkxYzU2y8djmkUJ/MdLbyv8uk37Hz2dySWu/Lbe5AHTqyRLa1Bwl2CXMwgz4YhEM7mqz8Kod0pZZ4NGHrxlVcjGcqAWBp1wko1tgOF1CYjfJKJ05cHMpbbdp16af+jkvhCVz/QN8CCbZWIw0WtIJKAG1bEUJfcOPicNAGeSalYyl4wWkVehhaw9tU1hWFqvlPIsd1qhjXLAAb/VQwz/XxUzDMGoLrWMpJHNcdTenMtcY8qlt1nL1kCNLpVMZleB0UMIuNXk+IHjxuGoLjg2L2Zy2pRJZyEmxDRLsh0IqxDJnli70Y0DHosWDhmlHWWXIMRFKzV4audKOKQO6kpYKS/c7D9j6PV5E2s/pKEHH6OLA0vAFXZlsYXZISScGHbakdz50pAVTa2sqWLLw5T0rLNTl1v8cMlULbZaIq5BFL1Nwqv0t8UmpixfSarsmqcRWVKnD8QNZt0eysmuJtIqhj8I7xOn0AfdEGjPAGO+dA84BvBR9cmPLgkWX11k/iwD1QZ7ubxANDueKG2a1ynN3r8y4J7an+TtRmtRnjT1YZSQnPdQ/Z82x2bGUEu7zDQB2fmd0R5W8SabnA8E/yi2rN5xyxpL6E3mE6VtgoCP6jNwKDaeNL5utb9BN/rBKj0fyr9Q8th/O1wAw9a84S+bkOBZ2kdbt8oT8pj5o+ehKZ/42BWUySxOHXXjx+dSP3ucLKePPZbqLbff+29COgmOBClk4eK+Pjr525JGixWnYwtv7sqM3lmNZ2SCwuHOrtRNE4jNCdyXaEWY3K0nyDlSv/SpaGd0mNdeE/ZnA9J7lp+sRXM/2VfIQHDjFNgneP0w+QP6ECTOS41BFtWolBpqzcPcpJnbwkEbxEkhqp+5CErEw9bY/aEPdqoE0+lyYq1FjmWW905kkj93TAcZTcIRbsjYW/tVkDYy6SZlJ0ERNL0GHduK3+7HNN7Mj9uLUkRZ416of9fkFl3Flc9kuGmvfzHPsBNMCJHCq8MCsVD6uGmK0+9jk3ltF66/23EjKBaGNzTh+doVPFxWd+RKxu7+AJDUJo4i4gNg6xmNsNJXPLindTZfioTbi1bkNkhXg6t8OoEmDKy5RTt5kjlT+Jp5uUuva4A/2mWDIs14o7picFQ9+Ov5G0CQeZBXpFkre9k/eTYiemM3qTBEw6iP0kqJE28UT4ApW/NYn6qhfuFnDTiBI9IioMqxB3/+nFN/q22Y2T+YZpaeSzmJwNg6z38pold7zms0d4onc5E0A3Sl6oPUNROtSiJCfrIMjDS9cYAdGlek9nmbbBYFAd9Q1t11emSosIIwXJAMugePtvph+zgdzmNz28riUpFNJBGIZ6cif5YZTA8zbDwoPVA8eA3WZr7iet/hIfzpaU5Q14on/mzUc4vOLXf6YkIMCjycPFwuNPmIvna5siVUorjbRZxi/hqb9NDZJ95RboWrWjqLYIhG2XGuZGC+XxvSbIbHgXKPNd72POg6wRO9r5n2C6tZK30r+GVksUGCk8VpqWNuHVc3CJS8DPi5UIgPZMVp2AWvm0DpeHsntSwR/qx21QSDgJ0C/TRE36eddOF56NQTrvdegokMkbiSL0xtF2HutoMEqfXwc7UNW6W5AewNEg3GYj7N5k3iQ9saS5zVgLyixJ6lQp5SXSnUyvpg9xi3I9K2BmTyE0cGLqLUgirA4J5NSmOas3epqm+2Kro8h1UtkIVKqzOA0iAHhlAwKkMglBicWDTVhafBxzJj3/HR7ecLXfrUpu3Rk0uln36wYepFmeQFj3oYYk276H8+pEvKbJSrXZFZBHfWyLGZR8NPBeIg88pMjveWniCWJ4pJzpGxeGEAZJrZuqnXK1Up6nFOdBHrpRCZIhMVrY/LgQlyJorYnYmmTT9cBTA89qDSswtEr5sG57b5gSaMqRzmlW7pVfwycVy5xPLn26XrMTtqEZ6BMU4AQLJBescYr4r1dchQTqGT6Ju3qjKLHxlR6VAGzJCln1zXGeH+xrOG0wxi+KsxKQPyWPWSmiXh4ZAHMEDdb1/9sW3U6hzpDtxUZ2ipffYv5WQxA68c9RI57KJnrlV3hKHdaEG0rN22p2MWP8PBEDbnNMbwSBi47UL/cRygwgKHRpZrDN5oshYD9FvGqg3Q6Wwp7TYwcrpBuAN0vNQDUlMM2j2OzpZNiv7alzIASU0if5aIjcihEHw7mVZMxhHVe1VfC06EK4o2z+or10tKA4SLm+ZA4YwJBGGBMApyrRSyojENzKmAuyBrxBbRewSZbTJwD/m41pT1oh14YHGfVleWvyG5+f0/qzGj42U7OyYgjMXWtnxM2d3P7Va58SoDIrYSO+VNaag3llXjVdDHncDhBWvtN4cgqj+WNExd3YKDfTUIpRlbxruciPsXRUIZpDrStmDqR3NFhgSdwb21/9gpygISof7B21gvG78xc4v3X2N+d+hp5NIZdJEukuIk8Jzh9W5BvqGe/JuMNGifgF/2Ql2fQC+Pc1gB/7jL2a2nnCRxz4cRh2qPBPNqEOxyXMuWu4b3RYxgHoBd2QqZLLgqxdK/8AR6T7ZyWYu0EXNpfUZh1e6iU62MpPF2Fvrd56kidpiCMJD7VVxfHsSVOJWsBWbyIYzgsGuUQ7PmVoaZfAa14tuB3md6KInXOL3atj+Q5DSE1tG2GxPGPiooqkZSbrFnvVFzfuXr5vlq2W9kQDtsKsrI3eXpxoXwtfDr/7AxrI4Glv4keaBeas7jmAn2jjHgSwxapA1CwDE+XJcTg9YapTyCFxcifq1XB6wI/MKYWxxW/FkVb/0IhTkddHMOhNLdyZRZYDFGHIolFts0V7WmuCVcpxnrzpTA1395NTIgVd16yzx+T4ZmzlFDlqBLaHZRtDUcIk4/N8eBmLW+s9ntAynFzmkBiJWavm3tlBQlOAhAAK9RF7xOI5sQVCtC82ofEXf5fisSMon7zjpdTNQ2l1xoS3VsHa18nU0pZxqFpvkKK/hQ2Uv4RGYVRo6Y7qahBRzVyRmPanKM6FZ9VBzDgvYeJgo3KjNsqYJ8VHi3rFlhFhyFthQV7i8hshjT61HzSpt4TyZQdZMZww34wKV+ubc2M32D3se7c9KSWvyKN9s3NqJpIlvFCvzx3fH1kcNJs0jKiyQ1XW59Q0URgsBrryC9/kGtYGxtvmJtvrIo9H0X/6EIzoHKnNRw3iXhdlijDB2pM4TOju6ewbIaXx0msfg2+SBJw8EJWrO/OQZH8ref4XTGLXlxq5kTXRlrbBM+V7tuF/WOaf/lxUnbzmOjwGn9/cppLbcKBLgRl7OfByDl+b7O0i/ENkQsyBKGW7gm2aTDRz7+cMmb9gIy/uafYWUMdD8KlRSHf5HFiPc8cKMai65sYS8ULiY4osRrEIU+O0gCyx4QltMH9U+eCfh2gPP8R95VVbejcRfdQl0NcIYSYuuXzNoKCorfmH9gH1wEbcit9yrwAwfgVPCb4VEvI3+T+B5XlxTuLkdoQ+07wo4yfqwhvVcP6ikIPkq6IEnsDPo3wbIJ2qHBbo6FPyAs/ZtNXR5lJMY50vMPA6SU86FWWwpOnUpuC4NS1/VtsHS8uQAgPf3bqlVK+kEQq6DPG4OoFkM47nniOgRla2NaG+kl6nLVXlZ36BF7MR3es/hl/nLK3dupdkPaz5/IMWFIPsvbFTsy9IsNnjgmTEbHwc9SiP4QD4TQfavTHvAn4GfeAvfdfb0CPTwF48qU5/fEBYLoQQKLRH/0uH+EGW7chi+9oUBYikmojKYLQusAFwXC7deHkkqRRBCtHBfoVMTjDP7kyhztlhQiQPK8K9E5MzOCQswdla3EuoZRWLU3VSjq8NZLuCqtkHZb1KyMAMg94+O8EzmdFwJ88UKbKO3CZRDZj2yX8QZwMRSsYus1drdxjnXF+bm7ncqp6/4QtPZnMyM5XdwjYqNZj0zJ4e4TI7vBfL3jGMDd8d+c2nzLsfu7VCMd+f9YrQBg8xHm6bk0QWNn3o1zKJ59K+LZ5ceY6qmP7K5mbwdu+2rlCi5n9kHjw6xBU6dbdjqvzcfwxhyTANZB4bmwUx8DsmzovXv/ftse56XOWNgxDgc8QeWPn/ACZg0OFyHaCFtYmBE/LNRDHiT4vg0cGcY3xYUxwzjjm+tlTJJUe51+6xVjx6SEXRcD5UI81/t6euXtjZfi0qS7o8Py61pQwAzmelARqL5MErSXIGgCdLVYoeZI6qWHbAd9GcE9hAzFg9wHvjUXeCRQvYhbfIE8qxtN6o0T42ucOzu5r8rwq7rtg7Xvw4Fv6z37taNhNHWU66vsv0VtSgrw6Ng0+el1YNGztkb54u9mxuUiQaWtW9w/1RPt16kEliC6DUAU4B7nY0x/rbeiS2muZNLGPxZdCpUe5No58csCWy8XABmI9KMO3udhZRcuMnS8b6FaZoGHeGdWr5emKL761BKnMMxMoTMzYGgWkppNWKItKIWm64+qqaSWZXxstyecKAiPqdjdaRC+mbSB7jrOkoo/N8fLCwRooIVl/c7sdf7zn+CuEIKWPaJj5fpf4Sc/6lR3Tr8mRsgnC8OKh2Nr3DH/Pq464Pozr7tDHRh6z4NXOyrjSQ/ClBqgZRE5SS3tv0xaW1gdiCEs67Pg3c9iJxpULqbHiidRkndG+FBBLWPX813cM4duTDX4Ic/n9ZUbWcXjDJ/EOMm61SHTmGy49sLlSRlNEw+X4uunYhQtJe753Vx4hLiTW7CHHTd3Er6frxTQu2WiUM6MUL24ciaZ+BuKu7M3BSNw1gfKv6RZCTn4vElcGAv+NzLbwWDQtB5EDiy77rPZc0r/BUur3a5GI5UntCruLnXhS7czViThkM6BPh6WGzuKWK9R5MqdW9o/6JuSOVW21avbw180q2a1EumrQT4DqB+9qlvWwbqVqvNMMUNCqZeWELOqcyhKJRNw3WM0pFSJqSiwZ6NvXFHInKAiFhg71ruMgzNK3P1+Fra+fxTnbmDgKdWEpLq2/Db9CKbcpB0d0kIyRUq+ZfID9QbEuQe8q2+XvuRxGXLDhl0NUOQt+VFM8r7n45devRaJuAcntTzXEhTrq4vagiNN3ubY9A2D2wiJRaoSBVfJImX77pgwv0vZF3gULyZ08Ie9C5mbeLn/d3JnMc8zxOag44cPNympBLYcSYfmf67MF3k4X4/mll0hb4T981g3cdLiHKHsu6RpMkj1DtHPu7Du6EwXjKEsDvfX+3sWiDWE0OLTR0FohCR7VHrKrE/ZzSAWIzVE00WCxvJIzVsTi1xZLxRQ0kbdD58ulhDKOeyhYTKfSaums7+L2v+4Yoae6vMXOIw4XOuG+JuqLlPS4UligW03nQB+BVcV63eK/3wUVQzRN+mg8cfx5ZdkN173M7adk1zbd4jPabOD5c+FKqVZzkFOiyt5z/AURxSf4tgDccSH82Uhm+tamt0fSOtHwtQpJJ2csGEfN4J7/lDzbhaOkb7Fu4XBWdIq7lMwAQws+bhuAdG5zUgDHHq2eQ1QWRag1vNKqQfnZJLd7U6F3Nbh2gOBagFX7WZCmC9hNy6DqFuA/eKxjAL/uZPiRfDxpm9366Tu4v3cfJyqbua/kOXLRN3kBKSc7w9T7U8EvJEod54QZLovs4FgWtP/z4ahE5T/Rv0LYqM5viUUqz/BpbGoRfIEPiKzWKijaWChmPrQO3Fm9Rc1PZxIpb6nUyCLWOv8by4blZamsSmtZz7KJOyHCoXDi3dahptYalrbYidNj6zShHkyMpqGpUu1bufRzzw+lhcN+KETn13nUdrMhnKpqM9FaqMgYZpiUvvR4iXZ7WU4xg6J5K4QlQ6TJk0Tz4iqBZeEEK+OS4ZO0V0yVHvZdnbXAzWiv/fWDincRMF691xClPja6nREuOw8pFluCr5c9qO3XCicn3este0rL+o2C+gJTfIpQyzMO1t2OUXf3FTjpc3dR0KIcGt0SjAZbPl9kQHYFyTKYN3nGJmxk0tARV5C9jShm8wW+W9NlDpir+xqlI/Tub1CKl+kLKKzh8Tz7HFSc2Mv1yVSJFu0b/v1xoxTmRROqJrDl9JlLSYUZxi1bhlU9obgtfKZoqwkW2lzVMsu07+cPVYgyBxQMSNhaKsCo/YG8uY2SFM5wQm2qWzVrssfHbzzqHKbZRsDua2kp58u0wKDN43zJ/q9dbzj8tQMwAC7cc1sjNw+b8kNz6+os5oSZTluu4M7vqDaufgxsMTiN2HX8XD0JW7qNe/WsBavze3GN+xRgvQ9XWeYiUBiGgFKXKkc0bHhCphCvWuFtkY2wfr1YJCZoYD9MkMpGJ+WFtk55tEqngXFW54zRtJAqxDDvv2YLuzc/WMt8+zI3fefPKPzUci7HihnIo3RwJCz//8FF4PngPxCT1TxU+Vh7vJ5/v2blKJ7Du59+WWGGaCqhA6C4HduF+N9qqg68YvVLJVj3OVaLHD2tEFyPyfz0NFrTNjjel6bBFQcCWltIQ+AAuUDUWEay50gq14jrFKV9Z5Fh9iMFrs/akkkhsFZ23MgeFKU31ipT1Oy/JXemO/mZZQBkiFcaJEgEzKNaBB/qb/+QEij02OyAgQ/jdaFEFP/8mptxdjXkZ6NXnrZPBcYpLznsLh6HxUvFyxP15mg4VRzCC6B64IJiR4ZkBYgNEi2bHAkL1nQnZuoYjsuTaIZ476/2233FwdBD/39lZ2JpEsyFyp+fv2IBjoc8B8ES4CNWWY+dMzPjmtLzrq3vZfANan/JKu/x7HHnqWdhmwDbliYCiwnL7V63DFd5uXlk4uWKsoIagXnrAXHKma8cc8rytx0UXR+spsdJpC9QHUx9xnttnPXH8sg+xWcpDeohvw2PQzOHMqTh4r5qJvZAI+GYFuWWLFBT3/2KSgUyN35YmKxdATvhgI5Ts2rZx56IFtaPJwAIAjxjW4WL4oncLLSffhuy54WRUdVcfw95SqabwUnk5EnbtWytCQd1t2IS/PjIeI1EC7bfm+Eg8iMZc29fxLFXBw2FDybwiOd6K6N2NaXB94Hn3bj+4w/3raaENl3+zaHhx2PwA8r03J551G8HMh+NmbPWg8j9Pj6jgQ4i4DHJM7lZHd1AaZrRzBRUj4sCl+N1+uGClA2+PqlodmoLs4VdyPR9Qe6gtfopL/rJ87vn8PQIl2dn1OKS3WyhoBjGQ3RuFQS8uh8I0fWenvK+tUkNpTQ5xAL/4KpiQsd2TuBvw1G3rVS4HhZ8z2Dk5sfpvNAEDzmp969sLzqUIvJb4SppBmAG1CmtexJ774ZmYrrvAj09gwgLVUZaS+yxZPSfofNR/yrZvhprfOI64jTiPjBZLEOPjUSBU6hPqzwv+IyLIUl5aOnqBV4+PM4dVeaiG52iC77TMZvRFmhb9Wc2ronaU3JrFCympY9z9OKrWeYYzTFiIEubAStPlyIWNrisVu1viUvKGAPIirzXCLXAcJPPIkAEOrc5800+ybVK55vl5IpRTcAulYbbN7LbnDUMNnbleN2YM/K2WrxwwSHcVxdXl/yQ2lg5PYX8Jr52eGLNPJtciv3ZkInWPJJ6+TlYFzasc7mro2Sfkyit6W+nzrLz68jhJmHs+cOMed2hQJyQYOu+xnhMDUJ6i0iHXdB9vGAfk86BC6v994mr9mAwWxKab8UKdrL2ryQCrgKu+boaC9kDz5sc9IF8optlTe7n71nwsG4KkrBL5jjbKbuC86Rf6Whj7cM+TOtvGR1u3E1b+x+bTxQ/ca2ojvorvwun+YbjkhC4NNlnEdtOitWDcMZHAWzNNb9C4mthlzmUgHS4R6caFOe4s/akGGW0Y+H2/j5++qgLPOIhkxaxpc8r8x1F340Pp1IdHwMXM+7X8qq0ZAXkVp/jr3tW+6iNzo2aXNX7YCTCP5N4i1auwNAibgTnyV9tPfJyZZZ2N28+S6pzGcepZSTzTWyiliWai9eZan7yTszaT03LLqayHNfEyoTKgS2DsIYESKCJJye7G7zCg4udAL0p+MzJ/uarbfs94PMJOTcZfb01D1bY4lOsF50qv5ExIp+TP9AYld5auXnew9qut1X7ENsbg3LwMEfNWTmqQzRjMGqueTf7/GyWAEnpYe2SJkDmryCcirwAZQZJ4uWgGQQ6jOBnFA0UUXzBV4bc9SARMXXaU7bV6njkzQZu0BSDERkKC5bDqX3DwoOCqyYw8wmEjjmNsbijwePw+gyKaGUXGUkA49VvZiMxoWZzzgWYKQW6Jr15zztIAdz57L8yv2KMwLnpssMeTLF6JfDi/tFpzlkSEGnxdLHzYkOA8D4JTdUIvu460ZUYM/TyAfpjQics7+15e72Gck8XpKDPHbxgMPxw8YBIHGB1HJp0ZHpQHGTHSioApvW6JFj4rc9KiSUyenYQ8I4arWzpZKlTztKpJ/gjuwD1J48abg229GkLxc40+MXq308F/bUwnbLT49HCf1ysz2B5kr2UFsowx5Sd9eb/AEdbtRxXitT0YBUH7uu7Ot47co245DZDGR9jZcsMxdpWNZC4TZFsKUI+iB8X708XBfyVRP/TemS+OKbQILOyTRvGM+IbJZe4VYP7PuBkzXfTxvgtdFFlcJLTcaNRGJHJNPz7bamf4aILEHKmWY8ed2faIMRRK0/FynzjwntN1BrJRqMbBkoj86aVmVH74Un65JTyU67CoDM/oPEmBEXSzer8qoYpZn3ktjuyaToUDip6ylK2oFdicmzzku35Yi1Js9LyzxTRXBnZ6sWe1+R2M6t+mCbh1u5ZM+yDwVza+tJAbh7qycA2ZOmlpvMWGGZyXxHGOvmIcj9/p2UpIk7RVv7lB3wxWQg1hejZHEMn5d6BZuhDPTH9L8GJRK500N1jDzp2kBvZiDUw8rrWlsNapg2F7xlIyNFBJGVByh/EJWmF3D/6CkVq6O2lTmkyaGTObheopgRVwDBe/Q5cmDmqsZnuX7QKuGeixKoLj65Hln37a6XJafP4H0xL7dlJZwPgopW/48uuJPXYuZvFNWzdAWasDZ6I6tov9Tb4bchpENirAbh0a7YyytSmAua1N/DUqztbW8DorZdo32AhmsuadFPit+GXxSTxmGtwvsW9os1u17XNn/A2UrMRJszLmDCV5dx1mL7iHmPz2O90VyuhvI4bM2v1i23u1LNjhyXf77VPyCw8B0A/NTMtbeDRzQnl36W0/ojkfAeFHTY2GI0UiH91ZTg0gIBv5Ey9SepjtU2/Z4Plho6KwsLFzp1gJEP1Ih18qN+aSn5+ZlAZh4p/c5sA4LeTHrGcK27Q8mnvRAK20CfM/DeYDkS8dJBpKIlhhq1WX4o4MCpOZ1l8IPve6ZkqYn3dREE6s4pHHQNOO5opowirKZsboZSLg+JbWHFEMCPPAZYTsEwVU0C84/McBF43glWBo04lSihY9N261WaIZ+X2Q0g6uA4KL4fxBy4syjlHqP/eiH8Ql+uzoBi/fSINB8DnWs2y36AjbJYdVbFLaGNk6krGfaWrN13Mq+znJFBA58PT3rL5f7xDdRqcbNK7xa70kTiqsoU6pfbKjsJ38ZWlJR33KT4tlT+2hWVS5dNJru78+O9tVGzG8eT34hkojarPOag4PRI8AmCQg55ZtKgBChtCMsy+CGwwoaIYdvJ4sbjbalPI8VAJj15SF4NzyGDV02z7ZMarGr3qzaBvX7crXQJzsZDz358gD+N+6wa7YCusKFOYL8swsfnyZDzPYhCgmQebong3LU3/TsQ4QBQLY/1PNFEWI5JyTPJjswGSC72JsANBa1YYLOcmYT9vCmtcdSxqnwEYawFbjcC03mGu2HNeNPsnJ3gDKnmNYUP7WSxOHJsJIM68g03VG4hcnv0xvHtmIvtVWv/ZVUn3vpceYoocf+e6P1+dOLtL6Tsmyh6UqsjgOfUSRhjASv1zINst2sgSJkAa0ngp0H1inwm7kxUprl3ICzFUNnWjHJMjKbzhwp2PQOEUTevw67deA4+sBMQmlZqqqGeorzyrtBUHvu/6BWQDmaXMVpAeNxmdu8q4BQJLSRLodW0hzWl1ygLpXJ/eIYO/cY/YdksTQ3dGgMvxaW0PlG2Mfdb3pVurEAejkCr/6PHFKTfn5tK9SftD4u6AAlwtCfTjaJCEv17DbjCQCz0JCl0apgQ+6Yg53L7AByqtbxh9A8psS5+DGP7xKJY5m066i7MVUvcToC5Tk4AEDBNiCNrzeIho2k8vrrR8/89O688KsfhnZwvl5yr5LQRIX8W8U6vCB4MoCUruiyPRnltbdTR4RQnTjZB0egpdpGV5n6lo2O1vnSj+Wam0u+Cis2/OPpFyJgRZ7SQwQYFcpaYh+zm01jt2oL7yXAAK2AhpeuxRKOqldWC+swwR5a8AgVb2poywQUiwsg9xQ3lh4AzE03AcbC0CCm/Ae3c0bG4QNuq+fJRr27Qc/qtYBgD5PX+cluXQtT3CvI//j5iOBU0eAwl0JXW1Cs/NzcUonVXDZK5FEssCtkb8QCsA/MxWP61WVYEoMlhNhCxuKG7usfG21d2CEbUtkcd3uGQdbIZUxifqeQMP4NcXkWui8g11T1SwiZ0/q+M1yYJxt7EpODDwUtLIANe3TGHwyZOurH/d24EF0Kv6C8F7x69R6YZiSBajxV4zyK1tkjnSuG7pZ3DuKrMXCeK1dEmkurny/pR9J687u24sOOP+LLoJNY7GL0TXHIR53271lZdbD6xmnT7wnwYObkLHB+betkfGTvSVgHCHV/35wh+24bYzFxprNPq4NGF8VvXT/Viv3cnrn1x7poGeh7MDN3CEO8Onld/1yV+ndUDOAClmpt2O6XruWY6c+CJ4JhhLO9jPA03OhABA3A+K87X2v6o0W9TdvznWOLB80jD4h3UY14ierTxCs5Sd5ucBv1Ec1WvaasSP1e8/hvYSlaqN+dHpic700maxtFI8iHzZ8Tc+4V1ciBAtWirpROH2vyagYIZ1830VjPxW4tre2dVSOojrqPBGNkEhfUrk/5bhUNzXZ8CaUvLIrlppoWtMVth44ad6DR2vMVRLfM6oGcRp3EOkC+TI7nTDwYugpXWaaNu2To9Rn9XmQux2KVBLETL73Li3fGPkwF1RwA7qyFfnvJJ2rVl+dsTtaOp5QjQ11Yww6C3rSRDDP6sJlppw1Cv9xUa0Pxs1Q5DarPq4jNKPF0iRb706VJiKtHUh09dW6Jxg3QHR14oKkj2ZqgFrHb2L1ZhuSFvtV3Nmb+RGTSgNc8IXtxsiuR07fjQzNWc30ghMEKSzSYFt6MukLHSWReDrfb36qJ0d6BdWHO4jd3CjIZmj3aenUqIzUAofJbWurXWidrKHF25ch5aYIiNAfnj36S3Fb2axWlYbvTn1tBMhH5oaew9GnE4Cy+Xe7dE94aYw1Re3FU9sDAJJz8Ej4a/wmkepDrYYxE6eOFmipQR6nIyN3anmbHsciu5hkSm8R6LZLahElM/ebYS8H/rxu4rxV/Cujs8ueaSrBnzMaE5eOsME48u98QPlKRTl85eWnVLhl2tiEhZ++pohv3u8sFhrzQ2uVZZoi3lM8IBDGVFQADuxekXfBKwlOAEXOpOEW766lDftOn8LhqCPnDlqJs7fFRwgFBw7Q4ycXMJKbS8JVUOmOkt/CS+vonXJjtuPRobDHFuNGF1uSWCWhCpkNkXyD8DZp2hgWqX1wrXmWEYWYrXzwyCNIK0X32M8D+3ypJZtoFJiDExynHzqYxWXzhNtINfqIi9qeZfGsPZVymmCPHPdvpnnK5GNkuVdIuM1G9qwpCc6OYRg3bEM2v3Te/wxw231W64iKiDWoWVcX8L5tzYcxEc58fZkpAZsKtvEMpki1nYZy1EUkc6dhizBSb78uzCsYEXB8cfT7nZasuBHKIa8E8Y6snjz95FJGig9wtri2Vk1a2ye67TOHVSaSTTjBQfrPsqc8RMyK7flVrEqsmrr098Kwgwob3ZmvcwFL4LyBsIInz1pXDAAnSC1hqwvDaVbW1oVN6FnHAeePPB2ZYMEwqL3c5HByQiHgLyvj8PdccnjLTLOjLDtdHC4F/eI4r6uG533KCfbNXUHdP8NG4N10mH+mldX5IUEIgqgW1DPmuwJBALLkYWU2Q9iJ22haIFfDrWGo177XRRR/h9wj4GF6x2SZmOjCzcCGioqmIWxdPnms1EBwjwMJFXgzCijFVl87oTUA2K2H4k/UDw9AIZ4bYVj169RUMqSjUNdqASqN+EJ65r9rn/t+osFmwXzg0DTCvPrCSESwpVvqSd0xBlONQjXu6Duu03Jrk68tJ10jO98VOa0sd1ht6G0HAMXdXbkAJSQXI+C0W212jLoFYRlzdTjljDI7wL8G3pYTcwMR01SJKdWTbg2pkKF5Ir7OAMDYKUswlnLh9gastRlJvSqo9U0RI50r/9ULjknHOAnIwJAX8rN62ytWDRy+aJ23iR9qmRmwwCzeb7BiPgwimYvRdJfRIXFB7hHGlKQ9Bv5SeD7lhCS9xwOWFsb5VG6rH5h5gbpZrJLmHSq2BxL7Se30I3VUAjVNEYprpn07kjPy3Pru0hr2z107PluIPoiEd12xWXq2xvB9//HxulH2uyNmlbnNVa/vfKj60PGxrey1uKm33boSGTRrJ6EkmUkpCTIwDGxlsIS/h3BFMPUPYcDN8mQG734amfsqqV9Cp+fMlyBv2fbsjga5byJ1nkIAZh8Z/oWpyLpA0vj2LcANUH8TCAclAF7kJhLTTFqi93UqtrHGADMtsn9qorMAjgasVl//0+co7NuBIC7xNivYHMztP9pE350EKoy2epbEyi5rXXuJl2wGhs+CCkbNGXV0a3tue171vcVoewaAh7vtAnyp8SxNsjLudIjfRjdKYa/F/khKYjK8PPzTaG2c+ezgjHQWAVr4bSMl3JFETFT6kl16pzFgi8VNhfQtpL6zC7uu8D1avw2TnWZK3DPm/Nc0N/o2HZbb+0yPFWaAkG0UiY7HaTaTpTgGeHLDozEerN2RD1M24yn6HKxEF0V4tqacKEZ7ka+tUCdZol1cA1AxktnecTfcTWHW0RTD3xLRFMNjdu6CBcqDRB0rMnsXyj5zixtYuGzu6HBmTbciIwuEIsYZ6S2FDtSaHrW5QuwJmoA/679N0R4bteT+DCJJa2AsEcSjxLSYZzpY2pTSADHCROsY/YqDaUjCnbsR1ESAWfT+2Yj8LlzpTq1fOEpsyS9akspGHFEsJBdLlN9qHULJcQU2DbbVVWpkk3DqPo9Mi+HllmHbqkNqjpdcMH67vvdU4z6//IjmMguX2NauIOSX06iFtZb1focwN9JeaSKwtAtH56K4G+fuB69qXc3ibbftFhZCtNc4fCVjUIMwiNNjkAc1296ARUIhY0vjLuiSqxA2dqlLn6yoX7S5zN8P5YsVmkTXsaUcft6z/tyM21AuSXDaKzKuGFgQ+6RISxKVQeg87GiReHSBWNrey1stxMslS6Zh0/5V579K/izJsHNLqO9JbetP2ASpf0yrhjaxRnhejU/xnNGTExvBicRjseDw5Bv1HZjL+w3nP0WuL2yMBTlw/IJGa242XOKz9WoJPLcbG3r+XZSaoSvsupbt21fAnIFQOIXUTOTKvB4nH9cL2dK3EXr/Y55X2PO6OmqFH9qT9Odn/k+q4lgfCFtywJvEYVQYJ4CQaflLRIuUdoWAgUlW+IOUq8y2sV+WC0EuJ/qSQHeI+r6TXRdQsK8e8t5K9r/b45UgwuRfY1F7Ua4Qa4bHVjF8LslWg5GxTBtVRSKJwLaZdZvOSPOvUZifXcOHxNU5CfHut0H5J7F6+Z1tEYGiujTkC+XnYB7stXn71U1v7ydOHsAtQDFPkwx8V/OmFYB9YTEbHQ+EJulsJV8F4WIufTVFNyyLGVlgrdTc5KdAyhw0nEJMmKMcDigkm5RaEqAShqBjVk4/c0OIzm4Jhfo1S5O+QiMSArb4Uft4RGAybbFxsl5IR18NgbSun1aZpPdC8rlcaa5jXinDDPAOGMCR07vIzEqy9mGQ2XTv99xSnvMTDRlfUMYmyhliXEkRXtodhVuVD9NfxUoVlil6b8ayPxIU09AG1po8utWFuq2HfG4pEeH5DRHS5HvIVhuYRMdFqccnJyBgncLXu2PvshH1JWbJfywJQ6y2hBDhhqCeMcMHt/PhgUYBCkZ3Ph+d/eH7VAxBYwd0Tkr0H/GxWL1WlGGwMuTVWcabApab/HwZZX/Ba0moyOdW1i3/S6yH0nz7v5kbiz/2J02aW/Mxo56J5eBE4b8ChqehrdZCa4+0pLLTZpnmzE1NhcS+m4ifoIPo2E0UqvId6cCRyt1xqAHT7xFA5gy3nrYj710VXXje+dsaE9V0miKTx7GGsPY0n1bToBFdUHk6RcjgDXi4tpEpaCEzMlj+dbIT1dJh/mSz14nQJC7k8qIPDiJQ283fJJH9tv9jR8Mb4dLqrIUE4T/ARLmEOUNleuIuhCDnepea+iwBuqvpDxmdhF/HqD29+RRyKa0o+MqGIOimYTa2xcWlyAv6uPZEvNVX20nFDCWPLRKmbC/ZC3CxuAIsM0Z3meG5RhoO1ex5nQi1ZPJ5/A8cKbnhkWlq9DEfRzRTkdxvrJLX8VsrySbWVj4NLVoO+Qke3sBbsR/vquhdf+/ywH0jWEgeBBqPY+V6mxM2ER+Whh3avlHRARHrGXE6fiNTQkO2qClww4xJeZvTuPE78aUw69WaWLSaVaB71ruhA3QB7GRQXb+5ncPo6if4FrwddMiNncbYEqdrkjnY+RNhoY9kZ0r6bbrGCuJ0jEB/depoBKP2bWdT0Ulu9Oiif8r+Cbd6xDi2bw0tszlcBm0XoIOjPrLSQN1Me2RlnDtU/TTqiCFkKtCTnDuFzqvjeR5YtUk3BFE58OUN3sGMg1oJMyzRXW9PQT0Q30KtFpRDdz5HIkLeLsh1XttIxbtB35bedQErugs1qdZDsskJMKXQ3pGcs5PM038vaT0HVCbeecpJu4kqBBrr2WAAo1PLjxmXgBimq/leIoDM4xp37bxKZckLgM0wQ+8XBRPdL6+kYy/Lc9stfLyQSiwqLQDEpXBIFXK3FiilX1ylWvyH3PrZJ6ZizyzyafROmIkr8J9oPwC4fheG1XYhyxvT5THqdgWMWLnTXMLngWTSQmn/9hJruK4is4dhBOHdWZ1frGEHTJKoBP+Wru5JcRb9bAJeQgSDYKf2wEe1X8NdR6Fp99jPZ81S4T0DCnkFKAJiEBpiz5Xw7yec52Nj97zCvccVWAE2NnjSoTNdigWVg2SNF/1O/r0y4C/FuTG8bJ5GCNQutTeFhbBYeZe6vUONJxcZYdOC57ECPMlAd64WMVWTpLaBYUQbP6Zn9vdd24VEjaaKHaLJod2zDRvTrGamdbJlA02dz3gkdX1hO/ONxYAEqREgMM2ocHOb5ifcflkNwmihvFoKWOxpJVMKDmxSK973eb2zTaXYbF4jXEtiU9RSWCG+cs5aHMTfFhrANMEXJfIVaiv159TZIopZBbthO8Xwro52LSN7/BM62YDRtTK7qzHF7X6Ju/AWI24dKZTMJUYgy/rBKmW6ADOGQDjygGQ0HpEmu9cVsJ+d+PZHNOJ8RyRVf3sQdZ4vaEE+TfdGVGMhsSRqP6acrw8XkC6MZSRGn8n2D01OH7F9pWo69x3o6m74MTZp0va9W9XY9S66lcdc5GaxSTvrZ6qE8sr1F2mUz93lKp2Q9vro4c05OTr/qczEcZ9Djcye9gnW944T5YvPBX77kovilRjT32p3JFmcN8nMyh1X8JKexxUUTpUkTTaCzKxvnS9AYcrB6MYzz0Okbi3L6a2ZQCYwAXq3W1o9LOqPaAaOPyZp8kHlXGGKr8eXuN40CDO/DYkyNXqQyxmFuF7iSOqjQZlA9NEEBMGtQbTxZdUPdDjOHG+m7sA0LfmvUUF52hgGzAkSIpmFyUsEkBpPoaKyVrhkOnTGrxwX09gQDQCMvlrBG5L04nQFfaPRzQw8DnRM116UyYJfSokQZegi/Y8CViM9At6LuaeLoXTGlNfj3LfRMl8lnlQsZ/ttgkIJUCRXWugOKYsyexC4IA3AdOWCXj2fe6SecQ9lppljaB8Llr8gppxDfwGpJXZNjnqrD3i8/eTUQhsdqOOrv7k8uin7w/ddxMUU7GQ6OuLMMyql+QzffXRxcXPRPXd6ZOZYUFKJQYxoymylGopkovqCojNUU2R/khoL8btz2d0G9w+zeQGil+wIScUobVDB9+/81InuX9lHGI5EPMCTKGb+0k0laaReto0Rpddjm5KUkdcxLmRJyr3QPmD31Rae7F1d+jp5NAPO/fHJO9A8ftLHR2iSVDOnwcL26K6pKPY3hElCU8WBIMusAaz83WA8J7PpBGooPWTII7MTrxwNC6ZEdehO/IzcREBe5YkoPwJrthu4V0QzSU0xf0HNrTez8g+YCKpfDyxI+zHlSQc88j6zdSUvADPqgmbEQqcn0DpM735e7tvPfhoUFUeXNs/UiTThVYC5IBXcfQ6SPILzB2cxpFWzJDMMj5eOCGJ4qZFl8hHB+rFXHE03D8k79YbiTPh0hlJvdH1CkXZ3giRHnq0It/lzV0zv+U3Pd66csaelCFhbgxamdW2BWWNjMprq4iAGJn26zbZ1gIDdPiovb17SnN1IQk4SMfvxSlP6d52JEr2uqGtlOCvZoDOBq/sS7Vf3SjrrBfKFjT+OvkpAELCujSv4DUq0AW1AzFpGGQwuxuc3Gy7r3OlbgE59oGcU2HC1i3QbSCohf1UY2oeRFjltqkiUIM/9djIMgHamn/hhxZMpQNDkOrw1Stgis/hO1hJh9LA27v+ivv9F3wDnMFQP5jemIQD620WR9UX0MgjRFRJWFmcwPLjvIdfzll47h0Yfv8UQXPg450aq10FWcq2Vs3hKc35XyfTlwQdKdZdXcTBW9BRW13GlLLrQ/7bMiQ8Dep0wimkn+4InpPEM1B97BAiEIByKA+r7WyquMsM1CjS4hq/wDC3RbqAiEF6ndH/wAFUvZvqPW/sDb2bnFz87l/lAolSl/7i+nGAbIWYr2A0NSeiXqbk+TYzihqYUzFT5i4C///Gq142eOpPe1o/XGzAc5nkIckCZCwitVj+5rOqvHwoiPxGn4Fitr0n3c0Ifedhln2qVtk1wJtd6vqX9L7PszmzlULttGJpyPd8IzQ/luLxd6Ou8Tg1vm6LwUV9kQiR0+Erz0Il34Sh1xqeZMi/cJYFCIj5yExflLB0b20ieriizP1c9mLTGo7kIz8nDlfRp1XSbDrvHGuC+hDNodGitTcor8Bnngln6PjStEcTJwZD+oK+uDg2Ug7jouPD8Ex8lUWcUR8jPcX0E9SWe4U4QuM61IWUpuOdAeiGwWhlT+El1+3PAAC0/HvAtYMTFvDBwnonXEi5NzfK8jX4IxuCFQKj70a/aJsn3YE2rcqDrMO3cnsbydbrsSMc2AXWK5RsaZ4n/k7MrDJ856zzVEOMHp7lfBLv+QbePpxL+VkLPYCN9WYT+Tqy0lKxyP8GZhePCRzquhIIPNwdMdlimEQXtsSsInW3r5gwwHi8rkYzZMM9YMk80C0Be5LWfzU+NeNyrKzpQnWnub0e7lnOTc8depE8tNRKZMwKhpCECT8joysYzMIErmtXSkH/uu4tYeOj5Q/ItoZrs7trIGSlhpxOli6w/3O3BY2x6eS19SKAoP5xD5nQ/iBqFWNxDVjtlDkDa7LEihFct6XFbQIXaSsdyG6yBc7UUzGBydGh9sgbSYPCX8tk2DriuUoblmH+qhGthG2k76LNHyDzYTnnhqyQzYcyI5I6avKyFpQ6zwgF5CoZN7iQRW9n8plQ3hUBEbWb+XC10QtU2Qfj2LLQ3eL1iuOePkCrXjppbukGH82Hgr2G4b6rkO9v3XDNfrl4SI2AsBe3aE5WonscA7oFBzHSCnahr0kJPmtHogd7baieyLixL2khXoPJ8+5xys9VaunIEyBipi4XphmbdiKVW+5ARmeJ8xqpo/maNPDR+BflxhCSfXvRy23r9eaPwhK7EBFTT+tINZtkSWfqqnARAR/UyJiDAuorVLu3lhdGqX+rhjUGaplLL8+WdbmqDULPavf9QfaMdNqr3gm90894Xhrlffk1Ewr9KuQ5Sx+dtgFO1PFe81Jx6T/90S05OC9bSGi3EZtXIYXl9AGR/V2CVCIiZ9fOYPUoqwORPUHLntDlBmFl5YMjfAtxUmaWUlCXAH1yJ25JctIfYDARPdntEnYXJg7wiY7ojL6uBNgTSqmW3++OFYK07zJ/HXVGow25AW/ybyPanVVz0s9YMBZWcUdadctm5g1CqxDhA7V6QjU8PHadMyNYv/YvSAxtq24pKoBBrG+ZOnXHmr+3RALXgNFnkD3EfBkLuNqjkq50pp3Od9SQR8MEa6DdeIX2lnShYBIc5G62MEbv3+S86pJBhG4odhNIiX+fkT+ED5dL2gjnssUtGGgKmdM5ecSo3HULsxaenNBknOvx5Y78/cRloZul8bDAdGVFT+TAO3E0ZMVCbw5g1ZQzgOitduKESeISQlPYwfp3ihI/G7OEI7zKZ0ob5enAevZBfB4yPOAJ0jZQyawNRWAZW+6BoPqW7gqBfNWRgxAh4UwVd+yM4MUvrlxyQT7Dy+58Ab0fmj3RIjyTiiZovu3OXZBmdvTOnTWfOKD3GjCnsPKvU4dzIP8G6seeEtgDRUQj5cU9BnfPuXVNCjac3kMnMCpdUBtT36HFTZDgnN3GsutFmDQyjUp/ktLd26agwdzPwN43wOpdp+/sbBsfaYDXIDmhgrSpO77wi/oTiU1eapX1mUdqxAfY7VqDBT2KJejYsgd9Dl5Yv90Jppq3k4bKRybilTa3fXHt5DQtU03jFt9V4WlMMWQFNHIlRe4twmGxgv4sqdTgAPdWMX5DleZz1YLrBIso8eNe3yuK8cy+THEWOP77XRdnkMG37/rmief299f4xef7HnwGdDLxjlI+2pkI2rhXS7v4FpPS2WgILvmY8TRwt4z7V/Fod0FW8wLHS1tbOe2B4j5uKRnyVwMQrXfPtRYoWr3rwvqCm0hv1CC0o8da4Wbyq7qi9MpQTh1tb93x5/SchMq+HzgMjI6/WKmHCPj4xpRCjfh/qS6/kNDWhmg1LR2HyKLq4TysosOeL4+LdtzeaXRrOj9iJtZe/ZMy/RY1or6jUobyXV1io1q42+3cgCiDsmHYDhpd6G0461T7vAHEJZfLTg+Gi5Wuyjc/TNTpXctSi+rM2BqT9ZzaXV1uPFxZ6gCB0O/1G0NkUbNoFJmMpAuA2NJLJNZKLUrqE3nyhEdYP7OghlKrKKqKO/fAzLddDGnukeMG7TNtIdvHB5QU6CFihdUSpg0w0KXzf/S08OAsFZQNCPyPdQlM6eS9pyrtOwMH2MiaraqtNFzkb9uxAS/x8ZVw5cO+XZKofjCHY/lO79LZ+ZVhTu6rsaA6ObwNanVVBO+eWTiySGuoRCil8MhBTgiBrg0pxmGvFJiubTlLTDRn0md6vWO4Fhxb3tl0oE64BDXzegj6tULFUPkxGFU5+YOP7vlb216Rnr+AueH9d4f9V68jTTAOoc1beDiT8nrB/Jk49VRgKMDIDqChWsGVIPV8xste3vb9Ss5czAZDmJl0UCdnCWr/Yulhqty0JJCr/RYwe+vI+Z9Iv7VtE+QcdjUltFXWcFTnUcaEqAtmydCNZJdKBBU8vsOR6zTiHCR8unNS259TTdRb4k31IltZx+Kq4ePHJLKwSE695z2u3/lH6YkiT9+6LmBdZiXdTwWwoowK8uQ8KbbUThM8lkVNNwIRtoVPXNds/bBCOOQbZJfYgtJZN8+fz7n0l6VHtqYqmpE7mxtfIUgEt0Q8oQmXKNoR5+rwXJStB1PJQZ1vjX5oiQ8xAGudwXjQAB6vD4dOLYZg8yCpyUQneOplMvKlr/dGuyHksLB6PMAZuZBM4MsnwY94DWp7LjZUpiBM82mycO+UejOQ1n+oXS4fSMvoGc2jelAbQjGM3wJ+3qY2Rwmy1B+E5vQwbpJhtBLM1xFsFJLEhJALn+l0mV9QEO8YFDQEjbXHOtezIjQCuX3vXAN3PanlcC+Lxjt3rajt4f5+J/kJLFhktQ4SL9C0exk5s7Hiqhx9Iibgjm0dl9bC1/Gdx4Mlgr47j1JE/e5wWARHNecgR8oDmVDwoqYUUITQIIjY3LjBDlHS9KGNyVfYTOWtHv8we+mucq7LXyPsOWV+IDgdFC86zSgywLuiHjVXbSXaYuFFlCGvdRGJkvPvTWYx105myADNCgBkBYSChN/BRYssswBipzk+JokOXfIcf5RXNqZbAwFTBdddn1popJVACOVLTt2neo/GKIXEKeL3yiDN6X4oLR85pLsUU21CIJfNMTuRxSr3JS38f/p/E8YiToOvBkovj9nKxk8uEeRR9I1ZP8rzk5rK5jXWxC2jJQafylbtMlI1giHprJlHau3U1OErqsUlNGIxNNfyby6YyZonyuz5/f6wpBhv/WEcW3tlt6V7ltvYzJeVznCwEucYwN+80W7oDroUpdbJJNmbiQ1yySivEJAV8aJtS4dLqNgRFKK8/2NhY/cu1FBq1v0+YJvQW4Vd7nvfxYSPRqhT1IAEEoI/m9nr298B+dFQJBLLGTkVYUaQhL3s7nmjQ+Dwv6AOP/x8GWPXte6voHv1TkkCz2yMrGH+KHBria0TgLlB+0oxt/TvSTqaW7pndVjgHkdYFpavz027XhThSoaUzTdCrEpqhJnetcfVKEHkwTePbL9BlBpXHEjTq84adQPJvS0wg0AfOIKkY3i4ZFlTzOrHBcqWbYl52Vg6xLGX59OaSjcq9gCAgabsVV5kM8NP2HUQpgta6LvcNOwlUwTeYPicIIcc4o0K9SOSH9iVKczTtY5HuhIcHlCB1iGP1Vb3OelsKxqo7iVOef8Wo5ZYXbdoEKoEHt/NoDVA/5oGUgrBvqd7P+QTiRH1BI87Wz9Bncp1aZOYEXHsyENZ8esTT9IVcBQmqvxYQEy7FtmksNjF+XF7UOJQ6YYj9LBzqIuw8B+2x6vpm6MF/sYT9a0Rx4uzW+vDq0f7qoxWy6PQ2CR1p2L//1pwfTHOBQSkkc2rlN6LMNbDwcNF4h/CUvrbtf+J5Xdnw85XA3U5kA0m9H5lPCYQgiGzE5TLvARxhTn/Yju+X4hlGUbhfTTwn8Fp5TltNd4O6YZYFs/hpWSUm381r+EWHZA/2l0Z9+wnaHQB8NAEHQZBFNJ4XYZBIrMrYBITLvHimyEsQZKACPgp+iRcmIEfjmFWO0DCuxtUwWuv0PbKisUG4YYapTPfKFTOcO9X0v4uBgWPKqBomUTqKERFvTAor8g7iv3fVRZE8TGZIoZ66qmKZINO3CM0//mIGz+rwdQKO6CKBKyBLNU0hVduqAQ01JQUDeFWHPCaU6u3wdzymKmiaN/s+88PdtVq77oBE9HSUfmfbx+5AXDyw99r5g0aZpt70x2XTvYhejiDE/4dogGVolT/5R39B0BxUNEfLG7BftoPYoRbPhwl2FAp37AV+8eYz9GbVX1IuXoP+EhGP5sgYSv7ApNDTVggFM6EHdiJxOrUL+f55qmti6kUPsWDv0Y+LnUcC940l/ci+7cF5ykDk1fSkyBLWWZH/mmmaDz+lGdoDQbcmQvyuQZNL7qndNlOmh06Pd9BoM2w+eNcjNt41cEuwxChXpxzrQocLRdShdLYBxpoQcIV6R2+9he16+My6D8urje9AU3Ya/ssIpjpz+sLF87rusdb1OGcxehohdjDp57PX5TlxHE27JU4QkgspFEe/6ZH9r7kVNjEfMBaRmVhoyaJEdhhFc+y1VSkxdz3HOo2I4exOI8GkWSLppm2ZbJosm94iOPe20cD55ggY3J8Ac628GCZVlr/RgklfvLKpKMnuHm+RliApKpXCwquWY5gs2gmbJpDJWwUcqrS2N78GqDNsQx4La/huXB2778fZj54EdQ/gddhSbQnIiQS5Ffa0hYSNavwrv+64THJeP9pTgg2P3RRuDP5ssVWXM+jRfRxgCkYxnj0lN+9OBoss2OaPjuMk9jpIH9jXg0EvCEiVQcO60m0nbTby6q17vz1SPHYsMxnpHYSswJazr0oTX7jExm0nV1sGqH3aN9ynZJ9ANbQtIvwvQ8MuVq0MZJCKCULb5AUM8wt4Me65IsxPPovoPvUBj1H17eFUWvUqOq3U4zzW5ZGPMlFWG0wQquybuMFtI5bqja9wmRD3IfhGp1e6tmMQ1EjVTHH77R0YeiNhoSyhfKG84Zmmzw+m9wcikCfSlhQ+oo+hMkkvSKJYEyS7nGVw61ZeQSWIH1TV8WNN5cKuRvdUPyWnJh8+0emk4AOlA33M2/P0tEWKIpjGIIhjOV9W2W6ukL8bGFyMIUUI1Cwr9ST0Gxr4HSqqTP6hYVzT8jr+slyKdVvsLOZBVbxj19Gg+iT4FsO7mr2Vj3fMkPbbJFHK6aea0JSGQNp3HS93Q4t3DFlHQTH8rR7HeBnx27cZlv7wV9fxqttbYVoPdM1FRlasaCei3kDdQ/FcO8wnAQEkbbHneozwvVmhL02JMzmAQzjKpqdjsmhWim0mHRM5lfNQXY4rRD+Yh/5OglgTZsRPbbiHHbUBg0e4ax0qiTZOs0IoVEJNUfzcrPlnb8/jvqC8A0I6EugOjzoWfw7+XDVdWbjfNCxPKBcP2qzTRdQ966PbJUG0ibJUjiHGquIu+ZOcnRUirm0aBVhrrM62KJNkPx44rFmxM4mprfOIAJWLol+7Jjv+LhcnXJshe9sAuohak1AFd3qgxtIQPL4Jt6kndRM/B4Th6dn9y8VX5F3DZ3hbG/rp3dOwzYEfSwXm+7xtFNNxxwFUirUO1A6bkYdRcwdPMRSL1eCQKb6rpkubVWEKuynUPSPoXeMZpzvUtpuTrz2macVGQTn1WYu7f17yemv/2zAEzm8Rdf+kOk4FGbOhrJzOgWKspgf5H1Ti/7AfyGLsCgUAQu+S4NDGTkEdc6RSCeN+mJCMRD6OaXqxHc41QQ1pnUQZR+mdbUpOC7ZpqJ1W+S9eR9TqoKkOaEjouH14GGClBEZij/tdXO/dlUSgvBftKTgfUDg0XRJrWViR1Q3Rtc8UCbbCzIgr+kvVkxOaXFRxaWOHDf2wvy2LUWPc2P68cEAZuVmK3Cy65c/35xgcexSF7OLrVTmG6FcCyL4ZJbcV4IGyfeuHIBAy5VWSZr1JR3j7rjRWp1IJ68UNPJQC6MeUpqnUryZbpBsrIz/L6cg4VHTftXBi+BU4NdalrCu2ODGudYNgRUk0Thlm0lo+56AAs6V1+IaeRNhpUw0PqhZtbyVtuHf5NOM1Lp766g3lQdWZRQq+uKWnmhRaSxfUJW2KWnfz0rMdVGYlZtbtw0h4gsaDnbscQFG/elvXWkQZ3ZazzDxVJ8L1OVLHFaZaumCmqOZCBmb6H3MKLCOURRCNSlEigGAP/rLXY8MqiOrEfZHbQEAQ81K7pz2FSAplyrMlRieGC1emlWNe7N8qT03I1/PjZMJsZXzDXlqhVj+ePF4gKoFSf1saCZn4VH8pdvA+n3qvI0wSoEksuFgN8nk4GDANbLC7tRzBPWMWLB5+k+HMCeRb8CaxVuotXBadoDB9Q7hscg0cFMOWybdBRBGxTd0cmMjXqe9kw2sLdPi15lwyJd4AXXEjWvwNcbN+9Y0a3e5AQk0Q3JiC2n3kD8nOsU12ZszPw6iqhsUxFbOAC/fpbPngdr80SQmiSku7YmhSczQUzqvbs1cCgmcFXNIB0JNxZSOUxTFwq5HR+OOVv/cc9JmUNJl5FAA93UjwvLG8awT+a2rwG5oSiiZlbk307H/A2zqUOT6FyZotE95Due7FsiP97mZNTikieKvo0SfASturX/1Jf6aHTfQwXYEM/zNPcFJ5gc9Dq/dwryZfMVPQJzwb0bLU/3KqneS3Tr+3MK8Wiy4SrdhFJmBUCClVfKm+S2EyewyfMhLs9/A+6PX5Vx4eJwW0Dcup1OwDZpODUJpLbNc18I8fpeBQlcGkrGL2n1LmT+5SIF4HHnvV3dMHdQDpEE9imnQaav9KoRiK+m41cod3eh+jxf7V8pGgSc2x1y9wPNa8O8aGkqha6+P0v2jfON2qdPoPKf8/kAFNFWFXVsMKqnAGU2KX12ODDT+eAL6VRPvKiiGONMnWJE3eytKJKhsVoe9Fl7c1i5ObF0p6Ot5x6QLV8hiyY9V5rE0ipxzoMV9bkLQYUJGrlWViHJGwcEhz4ebqjZsLapmHlIwpaWlALhP1ppc3Az4tspWpqDIqbvOx2CxFsGePiQlb4kbkY/7vmj+AFAR18UD5Gflr6vd/MX1qYBJ1ZWThZh2hCdSqCyq48BoGxxxFzUJihFqJPXkTMtaaQuJE8t5v+19E19y7FICbnW+pI5299WeNItGcZWE7H1YWdCZ2RFiGQ43+PEIkR/MnAkzSdPoffTOp6blwLfIT//DkrR/Ft8gComoxbSxAPRD3ITCQGsQ4II4crqxKO2xB2/Lc4kh3hVXhBQ/+n733iJOy45nVqEG3v/Zmei/RxHMOedQFgPT/+uG1szWNwukIAtBdASdQpOSyfzVJ4lYVutfvh3wVcCMh5y4OE50iwjZc5tPlD6zDi3ZkqmigHIjMsxKERA87TZV5/3VDpcrd+N4KRkdykS6mJRUULAevJP5x9xbMfi8WUQYYgzXzMneB2pdRxpAwrZwcShNfgmQhFA7uQsbOMsNcoiA7SmFAZZRZ2PoXBNUEd6lFioJiBGY3qrBL61twoEd6kXJOevA2M8tW9sJyLoFi5oM+CXrM33Yc9kIDiyToGtwECZDV53b6heXuj6RuwoPV8ObLzvoXEJsacZIlpO40vmPOEgqY4qRByM2rBnUB0X5sjMxF5VF1yaJxaZNJZQAF/BRnQOH4ysBYPg4a/DG+a8OreJ1+b9F3Hh5GHg8zZ3R5PI+bkR0GuDX7IcJggTVTmwT5LWGPMcUhQSe1KUXmQL/+NE1SL2X7lmvizUrhdsp/p6plPDlmanj0Cf/ZIudE2JbYnRVy6MlqZZBZb8ZIrEziZ/WpYvXR76PUDZMlKdr3SISbU7W8+tAYCsANtzNGOamxsJgZV9PQdQNAoLC1WFbgdMQ4nCW8pQYFozReJ8cpkZVU6qoZAaGBiOCasSG8nbe5elUBKBpV1JJ/NbkRXZzEqPdblFprATtZzema63DgZ6fzVVXU6UkOcDLzgJqxWkpc3n9AQ5VI2GHIakXmNekg9I0vy3HWDXR/KHPomZpPLSKaETcsOlTauXBYKY85Lq/CNamLLeGLjuX3UVrv1ewsagzP1Ei1EuddAsY8zQ1gVxsRNtiy5yHVAwmuSwGxvftLfeNY8Dyy9wR+UAuSraTpqDiYmUBW/4v1bK24Zugeyvj8hGEB+T2eOtXwTh5YcV0XnCJEeisFdmg1WEt5TwwWcEIEvHFyeFwpqmldwN+RpE7HXPbjASedYvfQe+WVwU/C26egWpJHUopKNWRtUErg/A/tEEesOJqzuV1s22yJMSycgagZYGVqDj74D9Y/Hxsqi35BbCLcaTGnUyKMtXYD5qkBxZAPLiaYokMJB2w4fWGT8Xa7Z9Aexy2MKrpPxROvrmoCPLbHcP9yALj6c3k57cEnHiJqQ5stes+mzIdAnBA9u9ZNxEY6aPyGDF/+YkI+psvcaTsj4Ho5KHHVj1u5LhlL3gXpB93ErNQBoZvfRiobxuNSVmLj8OBaSTEGMmqfoxpYX9RglJOubk/ORTXNpLqz/Bu/nw96sFqJz9jV+ulUSnBmCz6V+PjgB/pcnhgTq6gtqy/ypgXrhuKxOc4Q8SiIhuK3+4aUjexFXJA1mdltBbv2YbYHjEalkY+nKCc6d84/R+Dq4BJ69bNUBRIpSwNDISkWJ2tdZpMAUv+iF15HWUicrYSfCU/1Kzep3dhwtb0li1Td0Va2bd+00t8+fKaYCyWGFLjPUCdKo1uaBtWwLYKtaGfE9aJ8Qz+2cSLiOBU3HqQ4n9213qkra5i9+umZ8KFA1FyGWlVsSc0QqTa9qLgdAkw4TgeczyjsUdyJBGafVug9pRRiLmAZ0QPbTJxhRlpcdcBzN/NlBDE1jVc+IlnFqDGQZRAeEkeGm/eHbjb5CWEL9ttmBqhaT/iCNeyfg50eZwBlXLFsFlp3MjKuBrtg8EB+Net2VRsVE+drVe0BFgjN434pHM0h1tFD/pxPwRtLuFLfdwkPveqpQfu20zxPzjvDkSS0vOTbEoCxsMhKq89hknoWsERkaAx/3p1C2brZGm5ksT6kbU0J4aPwBIO0a/w2NFoCOxMxECWeXSdWd9msPw3I09zjBpkfF9RyVQcv3LgbNPRxRnwjmOEDIC6KxNZwmE/PoGg5uZENjfXNSzv6SwmOGs3k2dXsIRznQfWzpSiskZ5tesi9RJ8Y4W62Fy7iQIcYOs535UpHF4Mj1j/HTgkxO1GOapwkbVbPPmOkQV6KgGynwAI3N0ueL3la7COrWW9gM1ytr5Wx+fPpNuqPRoPy1s1/QvGIeyJkVirXsgZ8MOqpR46hbULX1cXQyyJy941QIkjdeS3rpj5wgMF759qGychLsl6SBLOavEwyDRKV7u7e158ttm3pM+d77vz5dGe3VARKlm9AE4Brt2iktx52kc6dCZ2bDoshg2yQULSNLuSGK2lMUy5Uzej3RQ5TONUTCaZ+ax13lTdZcYpSOK+U3MGVrqh2Zw9HbNoVK0H9/Yh+Ze7Wc3MoMW4aem6hN28KX7O9873o6QXqVIuYN9qdV1e70ACY/UF9+RLR/j8ENSQgHC3rjbWiYGznI92ybhWf0ijU3I33f5FjG6WMs5nQx0TuihbChL4HsgfdGCX4cSI6+fpunZz/TYFSswVMhOgkFgvIOR9+wDx4Z+g+1QB9ge8evy3+85IstGCQw4MHXfnNRPyZPmizjnKtncswXxQ+gGWoqo/1pMl1oDV96BMEmYGS26+ldvMeh67UK/iAU41C1nc79R0DJV8lzq64XLco4RwKbi9zx0UjM+kpt++GLNV6qKMvfRdUR8omafOzAEpx0+EDUWKWzZMXxRi7fKrIjTyvL8qzUIqaKWikDDfeRef3UVNz9fLTunY9zKWesGEmh0wnc/CCdaBkvS8kmzc/ieg683rrMB+F4uzXVVKxLJ8Z8p+n//L00oLSvSP7edybdmFIbDd2EdrF633Rrswy1VZCZqgZxtzVqjrojEyiC78srRlKR7BKLYA/fV3x6+nDWYYWKkHOCORlEvi/nr4wjT1eq/aYJegPK4UAvg4PQJdqiarWUQnQwFny2+3rL4O6a10ugGeBZt7rwObJTTspIx3hZ8Lje9hMD0h43PdwkJKWTu22dmtgDum0kABK27NmldFm+jT9/uorw3qCDo0Y2QMcdnmVDMqhMNfWIqAq8hd6/jumVmxn6TvgRVvF/oHLnRrDiDWe5AWsGVpplDSvGCFXncTGdwbXvci38XA76Mfl95yM1hb7VZSYPIKS6tihyLk7Drh6ArurPcp2SgkxL0QxzdzAOgKV9X7Yp2iPbBWGQxpTWGgtuLh7SfGDrT3jPoVlA3WWHnPQoOcCjgf+wLq6ZfttYnGl/OAHt0lLaeJWup0IInMZrogVCPsl+GHhfpX7+7pHR63RBdQvJZMe/RlN424/h2lRn8tL9s9xCJVqS43XeSY6L+23K8Q4WfoBX69m9qQLLnq/Tzj5ayEipkmli/fcsvNAfia7nIF84oTCyPPyz3N9hdNsu2dUq8y+kNRk1v2L02JNcOI8xK9wFUv7NTJ9U2yc53Hxc9YUYnJden66DQvMau/Jf4xLfYoNkQW3oOVM1ijFh7W8WRLm5vnGkwtITrXAOBw2ZQlwHPL/E3gDwb2Zvn93zxBJDba0nG+AUzPXIWjKAJxVb0HVtHDmbFPqRRFF2rLBcRcYlTnC2CVJllWLlNoqccNUHnOQW/W/RVRThsprAkm8VqDOI7X5InlnIwis0hYNED0ubOQmfuzqfjZJZeCwzKEdGLqqaL0qm1oufPGY8uUoILIzAxw7LGaZ8eUIa5P2dfcj3mJ35mP716VMMINqSewMulYAC1aqNjpbqtyP/qXn/WkelWNoGFvMVpLW7VOkLl+c3Zn1C6rMdZ2GVcrf3ln//pK0xCe6ZGKnf9+h5ajyUG6L6E/4CwbVccy8wSA7klwuWE2Iv7OoLFd3I3P1Rqr3AkkDMreIZkhpaf8jJys1wnz22wMei/u9JiujFUfd70ZsEyXqfveBPzdD+wwgu8EYSHc2s3wM5863q3I4LOU3nx467IvQ9stB3ZfoJVepvOBlAgv6nZ2fUjhy3gigj5z/4RSE/jIqAo5xQRqRGLmgGqxXAljGf1Zj3DxytE+CzPuS8+nrPve982ZocpQuO0rqnI/6tfh5m3Zcb/xGkLKHY9XHcPK0Vw9raZOvezhu7C6GesIt+JtQTAOYoxlZ9jirjxGQEymktafkej8si0luqUP8xZaPq8iLlQVI/l1CsHW6bFBJAavO/DWQjtlTxWqpYRrvgU9LjRmeuYH2McuILWS2FL+qxLiPR7UrwZXUg43deQeLhut+tRmV/30KCy2QCi9YXLOee8onLpAkQJgoczYfP1SbQ/6KZX7YP296VlTe9xQN/rSMIX3CJqHTOJPPw1U7wQ7jK5wvLhADE4N1jBfjsgOVed68lq14VSQimoPe+k1bgA6bFxJUWjiwuPE0A+7iAeuqtztxuB8ApvprkkOMO+DzF7jgfNWx75ib/mVmo22Bzf6Tl4wz3Ql5sDgpES2UcWPpksUll2+p/8urmrm6zUusHe6YZPWlSNuOjQ4hcqXBAcvqhA1D3795fONaxIlxPe1HUShus9bOaK2T2TMBk2QHjdxMsc5uLclnEaq4qzDdaJoXDiy+i6PP36B/oa3YTPr9hQqdIUxY11VpRSe61Tk6gHFP9DpyJWbMiEBQPQKlw4F8Ruasfe/Gr4lzSE+quI5LoZvsGQdH5xcpD49qq47bssZ2WcOLeX1Dwg3FT1t+pjUK/VW2hFGkbYWJUMFVHOBTO7U83wrpsVPDtBov8seldAYWd029lfdUcJwijuPSjJS+G6sXu0hMfHSGs/S4E+hXO8r6BG0MDBjOLHYym9FqBOqX2hcGTCXhu0s0XkfeKOXC9VkmYcGEp4EhDJ2nZ9Zq2GUyCsV2jS0ymg73Sle4+RruSCTTr5cDLmq7vGRCBDiP63IXz2s6OBsKb6sPCCUXOyrzJd40lr9fo4gQSOQi7wWa0r6rAuIlARkWE1SGcoh7lVqCPDQvHCUszuC37UX+Tm2LiiS8XWpA/jCXiRDhDcwC0pODWrhdJYLHOPNLpaMQP86kHDrAj/4AxNCnY80aMgCwqYysfP8QnlzEEgf4v7p1B0z+0UKI7aorcngunBzHiba5jriYC0QCdm+roWMjLAv+jO4pFraomzp5DeI73yHAad9gpYyhX8kEFr0I0cQq5/drid9qWcqioG9a9MnZQnOZW9H5CW5aoTps/Gc/SZmdQdR/Tjpd5YfNai9/UcXNBi+dIyNjQqbPXgGodfvRtG37ckfGho1DdoODvC9izlPNzIalBudK6RQ3OQoz7grSOT1JCxO/e4HtnVEnxe8YtcAxdF+cyl+BPU6ho6zkOWzXXehCobxdUJsnWs78P41oX/wmbdWFhHWIqGyhfpixf9+6ugQeFxU6YU0k7Eh5BXkhxrIe7BmGkmFxzHkodO38jebFRZRYl6ij0Kd/WUPIYGISRaR7aQfiIBbCt8RvG5zxwMqjF5rx3gy/+6sDnyfQA2craYD3OcyBarY+bZEPnk8bUwYtbP1m3hf8K/sHgbkhoJjQZLtYuI5vm2SwypDIK9M0kpDzy5qDlNxYrO4Jkoxf68JSA1HbHMbgbTyrX+JW80/AojUZOEoUwRnnHIefx4R9pBAJ3nkx89pE8H7hQZTtr4mnCzm9d2rYgXW5u1xK35g4zSHm6cKMeucu1YPcOrRDKW+LRSfwQ3wL6+gB/KvojTQ1Hk35kPNRhoXWNfq0YpXS7U5+DSXu1djPc/AfIGIO2Nxd4uN3TkiK/EFaftGpJOE2Csljzk8xaBnURWPcYbLZcqI2KxV00+8C+50XfuLXQFmzID3B0qx6TKJ1rpC1mSLD80begkUYa9RfCb4SFT8yEoiru5Db1kRYLr4KW1uZtXCuxj1nTCG/6HrVVPWLYzV0LZEpUdvMUpKbUXT9HywhF8J5YZoGYoN+ZAE7IwTQzsYpJbK+cvo6d3VSXc2OhvXVD2L8U/wFRClaRP6CyBWRLRd+UQWcFQrswCKDxB3bOR03xl8d7aANX49tC+ugyc9Z1naIBf9Z/Wz9yMY7Ij4tSYaf4t4kdcpzS6DdSGCWkjFHGOiDAi5hdd/qMNEkw1zCUOtO5lCfBsTXzhZSjVz3fBi0lDzFJFMB3oJP8rGnWAJP9fxhbokIpBTS8os5gl+f1oKxHgPUirpDoIsIhucq6+nlTra1tG3XuoxNo33t7JD94dHIid4R2Pw2ij/5c1+OfRCKTMu2FlzdO6oqQV1PC7F6z8h6TyX5KxOIoFQsSr8E/56GNJbcAbL7UjQTN3aN+c2hQy6Zooy6jZyk3clKdyScIhi4VI+FIho8MdCfkTmbBCzpTvAy4LKywDcQo5tV36ychH8RWHt8yBBA2BJZUaeX9n6ijDhcncpqUuucrlKse8otNQgY8e+8gX4C4c51h7QYMCtYRWYVfsUmp+6xQVz9Wps9di8nxMUrOaK8phKrvOXbo8J3hsc2QDd+TfXsqQmIBqqudaNixc8Poz1PSXhGS2Z4FnmQ042oJ3G61mXMQVQLkUT13UbNV43PYlnpECHtbLDNGpIy246ehENSM8PwasUl938PYbqnprL5i5xUH/50D2BggQxGwxpXES5lkIHLec+N9L2pTUhKyM4QjODnlz7CR2gWtBmyWmFmb7UrzkVShU0UVovrLQMUI/KV5DSKOWxDs1HuldywPHOKWB1cDWCtoL5Bq0yBeTMA2xqaMY49JbuCYyiO6X+gdJqKlKqG27bBmREwb7rpZ6J3KEe6SnFR8iMzhAxgjbCr4KRh6/zU4OEjp44P+u1Q/Qc/WXkNZzgjm5MZoIs/t0Q18rn7jZHS1NJD70Y3VEUEvL9mHrUQySlPYmhHMnfApX5z2ZGKl/cQ2I8eIwKUCgb5SdCBPdt//TxCRz7yOzRdreRIcIBLbGLlBP6ARTVi90csilB5ysVHgb+t/SRp94FYNfdyFHrKBzpmsFaX02/y2xeQ8/RSHBg+Awt/ZfVxnRPHulEDxdPIby3SxBoi9FtDQ5BcafPGdnxOsf+g73yXCxYiTZiAlxbAsZG7zjv6bcMf9QJRjdrIxw7rN3Vmibx3Coh9Y21Yb44sUTqH1rP++uogQaQKsnsj4TqmVFbywINaL/TYImWP7JYn53eXjr4e8Idx5QL1ZC/zTJI4aAKgrqZXNMliLu+zKMhgSC+GIpoZZeMbhnQjrQjh7bAPtbhQ0xIB2inmT9l8vCfTt1Sz0MnQr/UpqqI44e0RQd9SGk4k3h2i/6uGG6qOjoiNI8/joc0yIfyRL3ct1aZXp1SOJiClP3hJLESMAiPpa3K64tvue9XUn27s9pMXeH9MaryI4nTVQRBu5FgSqnf04+c25pYG8eaIb0Cpo1ggsHZTl9qee8pEEc2b6k+tM7YvXVo3OVum460+sBLt0r25h7sth+W+X+G6673Q2Fxx26RT+R3JGUS8g1a9I5CfVUtoYHwmtFKOlBDYUUc8ODu3oCEdApZc/g2WLUcts/h/sRMPfs007vJVNu8BW1+2PKoy2Up6a4tXJ20GQYvmtU1mNIQBxE03piScUTD/7wk9PlicnJkdYXQRHw2S7D8bEwoDGIOXHKMUkp0TSnP6q1R9eKtWS+MIGxpuKqGh1PuD1X93ZKRd8gmXRGlDrbEkpQWMahE13mrp2/IOa9df1RdIUPrv1C3tZqM8Ucl+TCHvDsjdYcTXOAEigW8uwX8ejQIHai+zCZG9Wez8Z8Lkbj3Gz+SY4qRYa7YA5+ROH1LvmySpWrnf5cb7EIJ0OBPrKW328KdOXGY5CXw49ytI5C7jqIlT0qexVEMbRCfqNK++m1nRnAwWb/nECAmVCDOsbl59aboo26djAUa4iZE9CSMyQqVk+lG62AiPNLt75ZOJNJkHph+kFpTAsf9EmEXbyUOJ4fiZnXxXNl9KdV/4baDXwBMi/B2mcvaTLdFfrmL1DU+sN+iAl8l0qpuAtnYDmhntLqdNsFHh8Q8Xj1uu/knAR+U1PBr5ygxNhqXPecZ3zPg85cXCkjWT6DRhKkyr/VzZY/bGQhPDjkNjzOFuLS5KWZDkxtQ0tPCO7hJ1jOHiu4RJyCze2SIxhh2Utpnn9oJt5JBpcS7GjzZluKBGXkE9zHP/oVkRzyNvzaF3PnRBnWVQSFohvO3dWAz6tTVyViB66crir7LoXUJvwBc1COSlIBZSiX3J8N7xHdp2AH68PjQNKJ1Aef5AyMhpeRmxtTvXD1ZNpAAbU78HsKnkiiXc/VMtsaJeB/YQotvfJlX/CNKT05L4q44M3HBYop10kQWRjuORjqepXfowXlD/GNoolwnpSXsQcYf9Ma03x9y90H+R3LGdW9Y4A/gtYrBn4nyUYeStnocHfEWKFFhY3uvey0Wrp34NCzx+PZ2Om86o8/LIxbeShdeyWAK5xa8iW78PPx8xBW5xbJARZDvuUXRFV3bPO6fceVDw288uF8QiAJjW3/2yYds+s8QB9SFWqprE36Njw9uC5MYeevw8yt8eVFPA+IAYPxVpUT2Wqzo5TwFS1crnnpRHku1K7GFkmTFwig3T7h3Fp3BFWFuqQn6u6vx/f40vX2Ybf2DDTGya/MKsnqMLieyEpCTdcwz8NckFCdLo1wUrFII+/VelH3Mesl7YlxVY8wJrlSWp8Y+BokjujTrCZrPk2cbo5ri7XN60tMVrG47x78d/9934ysjkBtWyL0ddf1+PBx/Rxp+YzU2PRkkRJ9Hna9/Hlss1DTnXfmWDVfROAr3QbCWJ9LxZAaa8Y7Uvd3UpCzHXDC8cqQZsN0z0MYZWatSAuDxXphIq29W8/8kL1x0P/+3s5GQJmDWvTSx7TTxKZcrplNwzkp+KIA1rNoMpJ9+QQPyzoYAS2XqHgkU/ukaiBMS/W3YdH4XxxHCDSwShn+fcg8HAb+Vj3NOx/nnOm24L+2AqXmtqZQZtb6GiPyLVbWluIZBN+4J0dwIcjHDVnC98mW5s9b/vVU/IIKNXH2qf6Giip54uzrN8915rDmOT9onE8Da0+/weK4/EwNUsVQ3pkgEm8qa0R1QZjR34w28BbQjL92Je+u1gV+6xJZXuC34+SeCkLFa1F5KUeh7y8tA1aKh6j8UAtu/2SXZqLg3Dyz4GPossiWGnKHoUP2w1sKyYwx8mUGa1S2ZquxfRxEyRcKz1Gbsr10ILybYKBSZVOV+gTMKObxiBmFibv5Fot8MyatGXOj8OnX6WtM7lHqbwtTtmT5asj2eit8Klmg2RkJS1H4CQirrnVFXkHEsCS6SHQvSsy+sCASxQpQ2rgoA2Lm7cDZOt3VovqxsWRgx+KHSen/D+jjai5Hpo+ZYd2ExN9T6jOAOkFfS0XOnfS+J2hFwb0lPQqukMeLtTpt3rFZJKFjWR0po0w5s4/hH0Fpbty59IvLBLDVNEhYoKiy7xFKjOmtJHqGWjFtbJ9k5sdESYXzBkFDIrpavCm3h6de0SEWueLsLFVq3LNESSYSge9PzoznYVrLJ0ejdSBlGOP0ygKDIxOQCZSpk61f/mUvCVMLQtan1MSxAs+8nqWW9KBx5hpXaco+aCqWAP56kuwk98YRdTp8+tE5wbR19nB4Ch3cq0v8sTOfb/Ygh/LHKk6A32/0xDIAgNO4E6ceyCjBM6AG6gXX39G7cPabiH2e9UZf8kP4g3udbE65IeBZOkkCGno5sTWMrNgieZDzEXtxfO9aRaUSVduAsLdP6IhNlnSnoL8eU3yy2YrC1IUXyZljTF/cCgzO7xolsH4Q5bKGBq2TeUobeXmvz7VI91Syyn15gfK98M+vvHlDMvbXKnwzRrR1Ly1mld8VeSyn4+u4tsdcNbElOy4jHCdwKhdzn1+PxEFmzjuocmITDgAKaB29/Rjq7uCkUuv6qZpT7lH5qRqEmRl7RPsga04K5/OTnm2XoylIFC2NKaBMiwj0IEDbmqsft/5c+m7qpTRYnGxOG3irMU1Xcdo/vhoFblO+/g5Us34tNqtnKAXlGuujyWAANzi8451z0Gi9sBAYJ+f60cge21WFD5fIajuqO8xPwDbE/kcS9MFf9j1rixQ8+IZmjkHLjjjEnJd8VN2Dhkn9ADzTdw9M4juch+dbR4YPKz713OfWJxhYGm2Odm5nxCBtt8uTGc9BFafug3/w4W8DjCn831ho2/9E1BHwZf5ZHF80x/OA1Gr7MOCG+iYoTUYBlDYlyUhXFR3QckSo3KErx/zob+nPSOr8SE8450wGKCrXuzornn5i9ftGcK7i8Si/jhYfXjsNQUACYCajPk+4o0rub1DbIl0l2QKFdjJ+r+7NMDbs/t4hQu5jkez/sehMS1M2RpSvA0KQiLFEaisS5I8PFRKyj/OZIbWEbDtGsFXm99BcsyY/WpMsB7pZN41zfTnDVqdQtalOmlrr77qhBvhFvBCpVND0PlOEHXdwMIX+pzhqb38Oh1MXoltgj3u3KBSsd1yStKtpA4goAdPd0DkrsAabve5oX9Ipvj8ZRWPtXb8gMAeZtcKWhva+3Y7Fv9aWnvCghn/ToRdwpXy+4F8CFB+swsS+/9Gv7BqBqGTBFHOfvd+DmyrCFaqQSe6TitdQwNvzJgf5rR3+uchvuuwL/LV+8VoiTzkfi/uFp4KVNdvP6MS8MLz06T7GAwYOCGDhd58U5c317OCE1ky5Xfh2L6WwpdTAYifx1HJj3s74UbXYF3xaJ1yGmM+6gKyk79DRqF1YFWAKpDrcxJpxmyXFB6g1/lRJQBR6usftn5VWjctJw1ZPpNBaaPNF/gcRguE0L3mJBhU+S1wR9k6vH58lsqZOzZNuFmD+wBmdZco3Z6AATM1ANek+3Kr5xOvQZvnLCx+eNtTmn8bn7b1Aef+CoLXgLMuxggahA5DGIlDNZSVk5TRMBeKBXg8+aIbw9LSDz6SlIYg8l3ahFGX4dH45lk84GWvpZ1nF18ZoZ8WTpYH77cWzhxzn/oIvrc8rMlRhGQWozPRZsHDgvv+hwQRQbDSmJG9AE7y+Zp46Z23N+8ERXSVjHo+LmfSgiQeXJ58S1oVLXcTE4BueiwS3PAUfykFqCDAtCE1y432Fu0VwKF8GnMHtL3daRTseef14kj47RK+yWU9aq05jbMiaVQaAAce/FlfchIRIPCIP5kzeepDKcEIu0bUkeJ7UUdx4Uhpq702M2Bbjaukcbi4DDMN+eYGMk6s66xu+1Lyzq+KH47Sti8bg7VZbGLwuZDfZGg3DemsD6EnNmiuq0Q8oeroTAT9DLXcLS6qDPi+kC9M4iuJQnC9CV4b8jgKyqaQ6fNPbjE4f1DY4S0cclQADVSAZe0vP0NE/3J6dAJ0BmjxrtqP/bZfWtTziPA1Ea5JrA6U+kPxIeUMSMQKuW5l0C+jKWAX97NFJhqmutqZVimjnbN1sNtH4YHqeQ2xRrq10U+G9DZ7BY8LDv5xeMm05935XImY8EjR7gz2lcqIC9J3RyedzZLJvmwtw8+DAnTFBPQJwtWpW10uSVa3EBHW4ec8aSTZbUyDK3bQmyYYn2XnRBdgWIG9YTdNVp8rNGwMwRC+DViDndKAKHNL31Y1dAUVjvem/uhiJMj6LeAEWkiiHqMMES65w0tJ6VVHSrNIhiY2pYW3Tn1xEHGsHoq5wt3OfeDzfFUjjAF25qBYKiBa+gtIAw7l4hKJCQbGeeDvGfGbTq4mk2VK4NQtl2F76bPuKHChV2ln81Cjqd2odS+Yj9lATLBrN+ELvcZHwxS8meGZBjr/3MsHjm9XIIhSoWKjuwiJqBSavUCzji+oHKbuELWVYI7wk37Gtpz2QiMFApY0SeO6koQdZyHhHQ5SaSGnf/VCIP3oofFKDLQtYobIXaHWyGlhYstYt4nGSSNnHbJ3UqAnLeR90XQvBXWIzKqhBObKIl8mViWZ0Thsq5mLamRUY77sheMahT8LK4jCdHpQAIFvm3mKqUzeEiTEmBaDOFW+mB4sPk4VfPjxUKEvl7Kem2K5POqheBWiYIlBaqAyP77x/k/BIfEnpigptWuFJ8U1enp52At8U1eMfwb+4Bor3WMk/Sqkk0wm9WM37Tl9Eey3uuKjfaJVs9Njz0a8HlMinmJuq2ukERnSGOjdvMYQCUEMoDF7jQRoJgQSWbKZ1RhCP9mm8tZeXZxypAdpa+ngkgiCpFG3tlvUvx7vv55j1ko3BEel40+rLdda1H48zP8m8tsS6WMkZGF6LidL2efIVUaUwrR5j0bzGEQfS2Mk9GwZ8iDT/ALpuBlxnxiaWbniOuJRmXn6YPJtzmDVt+QetnhOwihtQ6FwVXbB7xywx31ouzyAhPWEOIyXLCdJInYd4F6hx2dpoAMP/1rH8ElsR+43YkJYBbqZvSEc8qYanKyQJiG72QoBVyIZt8JINbm1WfVDnHNHgPn5MtXbjuagJYFKarvN+aHALBs0trENUmWTG/GgSDG5QcaJXyaTuj1qY2iyG+NEYPpbbAvSxB5OFaA23o+m22f8yu/mD4ICearIHWEaUFoR7oJQW9cfBjSTqcGLZODt4/PHiQAMwjGIfkvmP6IcyciWiH+vUiIPB+uwOPp01X0OUht+0kAWJ6teFoLtzG/7NFLo+Hr0k2KSOkW4RQQcoivS1Fgc1FEuYyvUsYrK8hLDnqMX8JcWXDfD3w2hsbYlVlMWIo1gdac6hAEiCHmZrI77rXyJpAww8mvx3qt/8sAldJW2VjZfuIAGLT7R0I0JmfvJu+X459ZV5+vJYHp4Hk6vrjgeKN5nWDn7/qKV5usy6rOMAEbRVzNyLCtKl7ePDpFXIoYCcNcKY0Nf0Yk1lJyXkJzPbcbEky4OKm/RkZ4FV9JK+hBo7QyPQVC9KlOpsxxhChSnYZtljPdreyW1jAxzNoW9Htz8Rl2+iNuxo2p3/Ow4he595q6OsahiEc3tkrzzj6yUEl+PHhttizx6d8DcmwHH4AUI5sPguJ0FJv8Kd5LzUZgYJL/U3BZKFDVOKTVZCDYoHWwwjs5LkB8M0xy+0c31al+EeomazkUgeGj1nV1C80IB/3weu1nlpd+s3EA/iR+hlNf0WMYaf/CLHndG4zSKEhIJKsry21T8DaFE7+VRSql2fHu7wiXzZXKKvp4PsjedsCM1wZ598ClQjubNv3S3p12vaSmuZBYdu7mb1+8kUSG1A4YScL5vQ0mpL8hoqIvJHTiKkt/mGJjYAGnNuv0wHvZUY5+/nUX5jXunVP8shOTiwJCDTIzR+D39V55TeFot8lesEorS/2auH1DSRPNWzjjmET6PVMAhe+9lOiTUmY2h0ZRAGVV3IDGQlTD6y2fxj4JaYSstrf8iGo5K3un4FSdcNjHgJ+rtWO9gPIVpq3qnU9GwLGOwDFLqrmR7SGkBQHLZ6c2ghyLZq2+RUpokDF5Cbtmxnrvp8GnBZvvU7lpHAYI65rkLfe4LKPCQ+S2Xs5OxBLJsycWXFNhv+81m7mQve+ROJaBSyJpG8M1KW7Tz7TPqJlJCWm21FsbuVSwrXnF0LiZerbEoc3+1/bhkDh+4OQ0HWdI6/NqYCNz7Tm9lLtwlVepSHJ2t2RwyeQcttWoH2Jd7cbbbVo1LlUgrkB86Wlg0tz5lLEOY/m6A+/1ONqAHBBZqcTXDJ9ePf/4JveFn/86+EBOxaKexp1Nu/X9apnfLmB1Q/UKE31RuE+MYXoCvd52IE4UeaBfzOe6lHLe1OnuJhxB6a3om7nPMv5e41lGsJwyH+MV2w2Wx9etFcDS2XefaYlrmJP3toCLZbH5hqf3A/xtEu1RLIB0i1PHTWsyou0M5Ux6i8CAesd80bCnjV8cTZagnw+Tb9sqevCl6FDtHZExZOmr4Ho77861k5PP9475tEyj4qnUF2/axcG6dcuWTXZT2XMMqs/9AYmR6A2OG6Sd1murOG1J2M7HXEPqTFbnEgKgy+l9KHscJVOXKFY9S4oLL+QdO+/4qNi52X7dkpt4psT7sIELN5/vCO+zk/mNBvamCXao7hUQK+btsem+zNjEbWgGWnfm9efVKBy3XyeN5EjAr1KRaEw62DOv/+lI2xqqkgC/xLxoxODliErBec+BdWe6/qu8YiYly1i2gZFRqVfM5irm+m+DthCjNRbSZdPIwMEc8x3pB1hEX+oOlZzsbm3NWW8uAoA+0rbtD02YMpPa3CLk8dmwsLBuYmR7wuPPDN50gJJA3Tqs4VkgTDFbnnk/kO4SDmxD6/2o3UNtlxJEOAvgKnl0S07gOciDG0dGFwRJiFtOE8cwQQSOJ3nAeBcAOGr4Q7q3FM+izqOtlKqJeULEmlrvo1S/Qp8qjLUQuKKkQ/QjhBRDd2LudUk0xNBImw0Fgq17Pl9LXwaZ0+rZ3hd5HLrqvlsWGXT6EpvvQoK8a/4NZawbxIF5UrCR+H2hGWQGAW5K/95ic3N/teuXzBstQU/XsfmE3kpFdeC0lV4f6fyQwnHp1XFYnPFGXFY+dfe9QaE4gHqgtZRTGMtVIdFv3MN5cYzBg/AlB15h3DUzrzgsZxTombUKGwbNQtZWwX0iGa7KQ3FtqCDLRTzfNHJ3FtkiXbYEj/qpBxSB+V+qQlbMySsdg3cVi2ICpqtoYd7jDJHpfgm4cdSstGd3zlyi6KntM1bljuSZO5PR6T80UfPyKoz6cHYECZeIRjt7LiHXKbRU1puTFK737dtc67s0q9/XeOtXETLOcEc9jbmCTAl8Z4ktkEf2LB5HuTY0CSLP04wzoB4P3pDIOHugSHs1fYjgf35pK3YTvTWLrsKSdYnDt2l7XjbX1Kn9rV3jb2Ddmpw+qMNapC7QaPakcrd/yRvdqtENYMjdSLehOi1Za3f/X57YABSy9uf86OW7LuyezTeeu41Trf0F96gbwtGXANIT6LAiA2kpXyHDXcsfJc0Y34bVxg3N3TNB2dejEjl19RfDO23D5sGEOpf9TucrKrPlmb00ceUqshXD6PH6+FFpHLlrKO0kP++883vgGhuridNm6PkX+OSGEYd/3dK+O/csWh1AytKoHVOcoCKynJxdq5kiwe+KKwB4SYh5n2ZNuRhzgdGouKkXFhqrldxrM19CXUZmo18r6SaPQf+IGre6+ZMkwvpIynRWIphKsQaWhbGyyuU3Ro85IqIWX2vbKJFRvHl3A7JT3xYLnlxJmRs0JTfdRvC05hDcVyQG8SlXGPrZQnLPk/qAD7JkS1nB+PNh7b7eMekeKIUI+0jWtlcX81Nsq30XNysUeG1XJ+E66pUqzs2aSUH1PXZN5waAgPDkBGYIAO6J1Ok6lbCHF3zBj7LvJMilTGbLvkpVC6ZVC3cXZz7TiMN+ZlCILoeDf51ZMoVlipbX/WeEbwW1BpbvRH6zDL7FF9rMxVwWUdKdCn/P/vvTSHgz3sE/L8PWlMdt0cJwhisZ3z1pCShxrP2wIfw0GYyOihcZsjSQnTmBQeMjvDhFtl8psMn7cyodgi2a5wP++xyCK17LciroMiFokFDsK2U2uq64B/livWASFHJdBxVwxsCClTTDpSzy0nlRxODPApm9hyoz6tLZYbeyMjhpf0mkRMm1gH+buVbVRK5r6KvkxZpKd+7Mz8EJdIxMSKF6iFLuph2qcI1HWpLBzxFDAVzD19Cvuy9avrP9r22919hLQxJ7N0C5FoKl0y4VLwwTyXapppujtdVVqWqB2TEo2jM17Drhd7B32gqNcze5Ybiw98aAU9PQeTQ9apAG0Y2Y7RnFY48MLUXFP4mdV9IAfIg1+8/qLu724b8LJerapAMdjMZgA0OnboCVxSqLhjC33IVaOygC16pDCTXvTjXQIMLiDKscR8Ae0UKZHdMThaMRqPs8GBUxDm+hAV7prY7nfigoTVdcgRwqZIOU6FaJ9gAP8+LJG/MoH5Lvo7xBvUa3KpEoJhegCeHZHzivqpvbowM6MBYqNFH1OQiM1zsW1dw0Rhq72o5g7RjfHHP65EBCtbqwcY47jqdkD0uD7DaQF8OvfVPK5N3ypgLzF/XObwMVzABV7X749WF4M4Os9oCVDc5KQeIJyQHaUGs3+H2uXUyvZOSf/vEo30EK4oN9lIMi7fNhYFOKkys49oQRqoxgtP3WnmAATFGqF4bybj4L5JUx5vP1D09fZpAXCrJyIb56hF7VcG0JRIW87gqMo0FkuQB8CtgUArPZKNwiIu1AaAqMORi8vh1GNdqk+aGKIsiqYythumoaaB+Pk3GqI/G3+cv/YDp5ffmrlDTmOW9zjdvjKlnhxiZKHuP3TDKzqHZMM4ct8ogdPwwux+QsaQZDdlJKzHx0iwpiXr1HWp59z63s3PyMxFp3kbJNsau/jNXrNyI+6dp1Jl011GqUlKIm1exnhwviCt/13Y3MaMnS/n/fQpp++Vr+3+XIlsO1sDMNWeqk6mUKFxrjSPDpXn9J0oXBslI2YtFzOIyafhDJYScQ/uWFUFtIDXKCgo2Bps/3Mx0xEMPFHMMtQQqNLR0NQWQ9tYEkCSYQb4hoSF1xzda+AzzQuvjc07DukK6AwAWhcIVHiAi+s1u9Lr/DwIAlChQ6ADFZS/gqUdw9gVp+/zKluylESh24q3fS8sBmRqf+MUmpXk/IBgLXFgZ1cCcKi5ELwXXMicpeaYZA7HjhY2HBXmjLRQhyLfFAsAA6AU2LKV4kWpmOvD9sOqMCKCWVh8kCHwRCFqV7dv/G5vOXniLLC8MD5rYvOTu5RFfFBflcUyqH6m8GUB3MW54rSilgdyoXulT2w51loRACZ4b9C602lCOEKtOPIRF12nIBhEQqblKjuvvbH5EQ4ERzK9v8RPNiaDn+C6xtd4Zi/3957CvAfImmA3ME7fjPq002Z+C0l7IFtRsh0X5p+goQXqpfcVGPLQwdPXX2d2AxfYrAOc9I+azJ4lJ9MOUaxBenJR2p9wC/Uzd9RT37gubo9dtvu6tXINzodlTABg6XS8suG5VSmcUMqg7xgRIPGH+NQjaK8zEekVv6wZ5vv05ctIuWg3Yi+SR1JkuOAHggVprhTN4fJD1WUmEcQZGwUPrk8/wDDGGoKI1R5Dl01N2DJPJZyX2kzMmukJlOHAOU7lh4iL62qz+1o53yikAVranhUGXe5xCgmh71EwVX5Jno+8Z1C2b9EJjx7KTqBEc9+/68h6moTL5JvazeonZl2l7M31R4I+Vxvq7X/qiJNCCN8uBxiITEUG3NTywisrB8EojaHUh+B1fAtili0vz7hzRW1Dr91LIZ8/hTzP52YWJCT0jbmha9IRO4wSVs90HWAt98pGVC7YQdI72KyN70YaNaJ1JqInKuqo/lKEMBTCsPAogT4Q0dm98j+W8To4qOxLgr4TQsjW2jRxqFSlcvgydhR8dJ6PLeCiRwAi3y/b/cdGXvqAvm21UzHxxeEjIPjPCNdMmE6NpLlUOxmBfXLJtl8BtrfUT7KKn+fp36+Y/B1ICPcG3BbF+WKMpxQPvpidVsZmvxwGbYXSY25nfyIPNFRfkLyK7jvYiE30/b0dJGr77ya43RijiBcuVKSA4dxnsF/03o81Bw+7RkwZxfH42MXtynK0liJll9KkDzfiItFJftYBRG0YqxwGfrwi9YmJmunemd0Lc5JE2yCmsTkd1hs/6KgRTfF50jMnTL4rt7JCIbfiHO+kSHjuhh2v8WrWxS0zSnSwYctLiYhUzK4YR68GUHP0X9cW12Zpl3tc1eaOdOXVtSjTNB0jHl+dPL4CE3ce+0qaVmuavHiCDEaf4JXc20gyJsPe0EOIPOe/puxtg/DsxgKRhxByfJxIrcIIlWCdXIR8zWEC45QGroAZ+SFpImj4gZG4apTd52Ex6QFUEIxzLz5+zNOGPlzNzuwaAcCX3RzURC2lIst2FLiImrrEZnDl2iaEE9EfXGHHbtPgl9peinXV3bOVyfK5Of/vHiagua3khCkSAS85dJE+b1ElRv7UQEQmNatUFgsUSkYUNgS+zEvb/N2CGT/JQR1KL2JJj0h/s/APYCUORd7HMYCkuJIV8sQPhAY1MUvuXoYavow/FkwtFwjF83xC9DOHt8YtuMDU+dVfkiF6coXMdKyAFw6GlH5tbGnoLfSEI1bAF8cJWMAaWv66s4KlatbwB5G9S8UTBPj5WeYx2BfhoKd8H7EfC+Y+t8FL4ciwW/A4nUJjAH7iaQXcRlRawhSxa7wsw+PDRmJ1yDj0jC190XRtcIIywzUaOA6terv/xOnGc2hOvsLAJZshx1NBPATLhejq6xNDR7XDdFcybPg2mDw7q6IKDTUv2bZueNzUgpDGF0PHdwDUW9euQcdY8e/RLJDC8mtwkIzxbEr00hxMiPqoi5mUtVuFRqWQhiP8qxzNo7/VonZrEKADu0oK5H9FS6O9sky/5dzJCWlCFjSmBlV1zFYJVG7wo7zfwSjQNdmzntC/lv7f8MOnKHcl9KutH9wDdSw6Ah3UYKIy6V5CKLh5QV10uTo4WCTGsYG2srAxaD9Yf0JM+wIS+cdIezbAQYcXNuNfqoEqe4dWkMUuFUG75LDn682GnyMdv3pzghOcy7YDPyqgmRJn4EK5IpXJ8lg8wjFW4nL5CJ+S6xNzyIUKbFX3kJk34CHpnSBlG+WimGLEZ2L/+mwQ0l5ICQ38ksQv2RY/ql7fr1E84E6cliyuuEZZ6FDwthHqJfT1y5vqFGWpYGpqhrW7DL7h69tWAA78RRikW2CDDGAC/dFT1dzzB6xGKKBDyApIep10jgtdF5+8MLKbELLYGOqxpDBsxpbeV/+V1bzuosNmE00sRdQpX7YML2ENlHH7sdoL2Jq3Q3Z3J6wAtllmqtmgWDPRdRLbU/TE6x8TMgXEPJeVeO0WgHAm83TBJJ99U9Mqo387rNTknP/e80hb1nsDHWWkR7lFmQRZ5Ta52BOw2MtS+WTW6lqw3AXVYIZ9pZ38KEqUKZiabahAodMAKRCUv+f+QdbxYU8sVQPAldKtsltU8mUy7jUfiP+m0OmvqAz8dH2ronZQcVrKEg+3rMKNut01eo8Bu3Z8s1SNElvPC8hU1VWGKaCR8z/GyfTi7psGfRHVhLI22ya7aAXKKhBKdUmIGiggbmSt4342BbGrRECRQmLLFFVQ+f6Srn2ID3tw4Akvwo/5ey+8eekFOAx+QT6py1A5X/oYEX6UeeRu46HsuzbPPwe8KhxCiqYbfCMpKF8E1Sdx6dTiNpc1k/4hpUYDa4CgL2hHdllu9v+khpwst6z5kSxDEF3iCitR5G66uImoumtUazi2CgZYSMEbNVmFBISe0qZPbiZ1Fg9x4cBlPQxNmeUAdlSqgU/RsK9vcBpxsOs/nX6LYWr8UWRhlFc24+3cUVGcx1e4G3Cah8IvsYj43Aziyhooq6g2qUg6HxuyMniUep2jR8crrc99y8tS/IPDYIlZBWh5VpbjVngZT0wBtOe1TaQZHvUPEGmMmcJwg4xtzGA1lt8HRRbYa2yB7/7tKgtp++FlWIglQ43dOp2vsjOaCPYu3nqMKQNLfzTplSPqzPwiGU4Sd5nKqsi40eyFkcp/I/LDT+N0whW9fdCxinKXl7jWwhi0xCBzyzAHq7y57wuy5ijcNOhmXt/RYaLogAMmS20P3aZbUewrKTB49p9HNx7bv+PX4OCXbllwgQ1Sh5XbcmxZukUV0FJLSb1WqK7acO+TIODZeszv1QINQJFOrRx5LG1nd2J+6iljr7UCctu8WsPvGp1axkuWst2oD9M+XmfE9kC/9QFKfki4mcw1Tzs3XTQbDq//ZtXeLzGNMFG9C1K6l1U6LHVnOXkJm3ZFqGQMMug95EE7KYcjwGuvCxnyW3avw+GEe9HhKG0OoYmpYXE1hwfzzLzc+UFBRECAHJLwg/JG3SUYGNuJehlFGMYNkUByOOa+FV+oTMYgzXBVN1D0aCKSyHFI2NniQPSgYyBpS20opKNy0sQXHpgHn9OriyxvvkC8Ix1atsLKunReDiHuAi5QR8h16pbHn7xYx5mQbx0q58B2a/t5exVjRUiIFX08kxGVKsCY1YLocqOjDe+yXfSP2Qo23UU9EZBUCsd+q3B9q4DBX3LX7i9X5TdInRzeMgUMJYl4lZdwKpQX1JtiYpKGw8t8P1SgwTuqZah97R7u2Njlyhr9JooCFT6iQnWutmEeomeyKHwGdp+MULJV2DU3ebt3dgaaLlv2uS2cANm/yVgON+pOeEZ+/DfE6cNVmop8RmMLhPEA3fSIRGIKaWAxzcf4etxvFxi30sFezF36zEIl8sWVN1aIq6MtxhNPSBay6+Le4uCHMfTkSHjR8JFJXAx4sYe0fVMqKRnn9FTPI5P8ZMC+KGUoZ1NXI5U4NOwS7tWodpKj5Yt2VVom01WE9MljMHfKJame6SonOrUjhU5+VJ3nYRtm7liOXSO/XF0ix38BSHHUaEwxHcNb796cAEphazkiK2CBl9OeDIlNxMKOACn2Ncf4JlbXHUy/ikDUZP+CWmqmCoCOYrvDutwZgS/SUQoX5aCAkdqmfyhadwWVP91Rk0GytXsxcAewIB6+QPn2g9OTzxItHzdqHwPiCeuzsu90xqHOrPDbGOgCQhWfjgF3IHD1bn34RvFSXQpTYFncHMsCAK/LidQ+rSPNcNqndVOcv5i4XhNVTyNQyCFwbr6bLZ7PT/2XSlDvE3fxcs6S7tHgp+Ilit9pBfZf9nhluzcuHb7uynoB5txAPGbyJ6WZHGEbJ8oNRnEpV7H5FhMKtaTDDCP4SoP8TADC+egnNO/LW6JjS8A5mXovxDXViI/ZunuxMqNAj0jkPMtOslp3M4NuuEH2JbIpn7q+QSVsnda0j75YUlOVjIieZWa+JS6phEC7FwZBalLZd8hzkm9Pv/KWCpW0PO/p6BhZWhAQ1niQ0/YYWVZCdahR7DhPK6qYIhzBfPVsb+9A+H59UAKzYsPlpyzAcjEm2C685BGgAWCDWlPF13kgwEXBKJzXRbXoLE0QNAxi3GUgP+GagBB79oDcXAIE14go9yvo1FDh52eJUxmaD2LPt1njp6UwwhuF+qkUKUX/OqEb5QzzZluhDILKI7L9mSaMExch3VM9gpnR2hBu0J9BJks/YWBYcU2TlugONip0a5/3Ispo0QyMg7fi/KODqCk2k/B1tJixLdofLItxitctG42Tj8+P3XFEBcAvKdtwoLkJPjYyhhfwwyjgdUawLOB9TFOoJ99xUzwDYAsk8rQrSSR64+G+pCcnV+Dv7hTurEx+Ak1RUfXYMGahc8r/mQQIxo0mCRIAXN1IPfIZ+zIdH4ntfleP9uJErJD/dH21cc3XcWWxXqB645fglr/kLgOXlExl+9YixZ/az3+N4dh7TlFWmaboVfWsZwFhdE0t/0Bz27xpnlfoj6juryDrAP94tmgglVlJ2j2O3HORUKOIRa9eKiLomr+R7jEVB2Wp5kSuDX8WYH1L13kXuSNfaLnC2+nuYd14iPALNibazwj3TvRyVRDafl1VE0wi2cxn1xOEbkUHsOeyimlyjeBjlzMbMZ7ocjOf1vMXyO3zagdg7pz46WmgD7b0p4AEjpPIxmq/sIh2BvDP28LhC/gIkZNzQZMfc0MN9PfqCRsbxqmkxG0SWXtqLHyCM09kolbsKOORKzz+Me8u8P/owtYiDaq1UMEUG4Etta9ZAQK20xA/hy8C0EZyG7TvK5NfZcbtK4PmnMlMgUybGroa2LF5mvKKsHltuuJOW1nHs46UMT0Gh8vYIGavgzjD15x6v6j+ms6ffBgTBCBcjUI6kpf3vXl2FEMVjegUmvKdclZKOn6DeOKbqnwQStxkBk/H78rzGKESuJieTTnHZ7Gj/E9+8O18NhFh7nBtDcimgiqDI0idsW0FYo7zOE0/NxkB27IFCfEyeP70uQFnJ45Uoge0/s/5a0+C8djlAl9dTN8S9RWgTC11d9mvPaXVGvKobN2ccoAeCN7QHBt07kJwu0V9UAhqrVGMBP//7CtVCRTT6I/ItDMIM0XKT3LLLqtRcNnSIfZeCPQAwaJpUHzdN9e90zAYRQkNabrVtXamhhYCyQFjRId7ODhq2IbzCn5r6qgBoPAoPrFQC1N5J8sc0/hwM9PBq/8Kb8okObMo8EyOTwDjDpdD4in7fJvLqSWp06Bvb4/JglImzEjjlaurMO/UIiO1UT4Ju39XXmJzN/zWD3afulxx5+GFejlDCu9ZL/YbGOCzz99Hcf3zruGBpwvx9ugDHEB0KwC1nh+Y1Ry+RRQlWQdfOENT6q73ysNJdB3w0VmjceNhomxVlYkj9lxNigHBYLF6ZlZhuWUTWEN5C3OxyyYzU7jvYFe1EYKW95XJ+NF8Y3D2yEesLpoSGfwSRGr70VkcLNPnaQtQkljHCmPxcyPqQbRSND0v8VWG5EUDjEfJWAk2u8JlY7cu3NOLKlCFgY7BMdGQCH3eE8sbLdXQuJ2wLyHmLyQxRjvq9xX9p/mx7NJTGIPuL+Zacdgb542tHj/09ZBg5wWtWpAH1/tjEs6aDM7N/yTeejWj1d+IsdZY08NPP/Hs9zLo/t0LyRahSCRYhOWgXwI4aUvxMI0TFu6veQM14S+CUdMX+48AkOyayWqxIVxLlHbz+VdFswBk6459ULww/ft4dumgK4rYSoKOhSHJ8BEKw+sfdzWoO8tG23746DVOE8AWThLSFQtmsMBJGC5p9zRAHlJrIE2twNV2h3tm+lr+yMaKcwL8fkHbbPxbBSJk0OkAyUoN8T7eoaoVAcWOPCDcdxqekmTLYVHgYKcFcvETuK5Ro/zKO+WPVnMX9RkdA0E1T+jFmwKEQWO4GHgWjFzrZg6u5MKazF1v6wAN6dtGdrSJNk2LBBdHqwHw9R68hfgPT0Y5/syIKI8CKu6WzS3TZAFWp/JYx0LvE/sDXVfQs9jwykz61mtA3UPQ/l9j9zenq+SPRr3vH8J9dgH9hJ5WreQn5zKc76ba4lHH2XAnhJMgFdvbTyF4DznPSwd7gWJTEVI7fzKQOemxaiNYU9oDClJV22rR2gBbJNdiHfluWmy3cs8Rk6Dd2IzjTBCI1RY7kWPbzodZjHvPDgw70uVVX6UBJtU92rtvd870LuimktjHMQ3Zq4pbvidJtFwhw/V8T1smX1b6E4hNVcI2ovY48yd2+V4DQ958MExyozclnHjbPgxUBbd5HbPRhfrJusTf2snXhyMkoZKKf7tLO1a6ono9xHeselCXiOMaPZ94ZsA7xYX6xJDBLC78FfgCR/fsBp+QqZ5dPzEX7M6RybW9iwmLOiiOY36+eYzM1SPWfUSWcDQvLQzWQ2VdO1Nr+NN+dwrrOQGoh7+b+3PWPa+sViADfFOZBciMulI1SxjRz0xmeFvZG9ndUc1sfR3CrCZxDVWsGX0h+aZtLltW1hE/C6kigvGU45aGG1Mp60hZew87BvDFH/MoweynZLAaMTavlYjqqye+O7D+T5dNZCvEfP/v5A08SbfwRgQgxzF9pUGHxX6im+IYMNoWzXdG+wA1MlTlHw+eT2GTf0/Y8IfDvihrxtuGjz92Ry/V2tfszYLRZcwaHwPFnpQQEKeyPOgmFEs1/uv4AEXH5NuOkuOwIIbFChdXQUKcg5+v49KwS7MKZYyVrVxv3EqvQqKLNFtQwKEYqk0cGGighOdmCmMGB3SwG9VJRo6FkbC1fsq5SFCNJhLDtG7Wq33oSOweHUqnUzMiwFtrGqWR5PNG6N/5gT0PBdVNknMYfGZLYsrB3LOK2JIC56o/y8Kx+3KTgkL0rSLP8DCIswTxTS/8J8ep3s1OfBbmgEMvyWWGxFdtEmxHa9bBDabkCm2Ruot22MNK0n9LZmKE3cz8ZP1DNlxaIXvqbPBXWbA4GETo6Of6QUmPVQTusyLxjztDFJW1tDvZmQELRcVvP2JYApvT3ef7Rb30be5I50Gr0D2z2wMy94QNo8jZtEytgyXdQbJ7s3Xe3LnI+DWR3JAVm8GzZ+S4x/wC+4DozMoCEkTTt5ymcmLJNg0ZKAkCUEmLTMjikSW/ZyMvDzZE2Jk2CsI9cbSy1R47ifp1A0/MRQD1yJ7+RRA7tFdEAd1AZ9gNAMWqWyenFlRT6oApggFjlhcEb30P2paWoOogFQNRcxvtFr3KHXCkmvnvfiyQ6oMDEm7dryovkpGxMfV7xScCg+cSLgYse+AfEqF9RvOpdy8BaQOQ3zqLIdC6gDv/GD0wdYS5XwsQSqQv48U44cE0silewM7mEZgQXeuogqE6VmY+vGaS29P46OwRSiso36vSYHVgJrYC71OO8C+Gw0sUvwjVaxvM9TCjg/5GlXdPscAgQVhP2vEwC2K9+uN6BhKpHOqWL67kpKphiKgjDR1coLK7zMrp12OE+bKa6B2ywhA98B18bpOcRFhktX890KORi6y7EXYV6N3mYx03K7fUHlOvMJN1ued7YxduRr9yFSXyBLEyvzysvUVA1obayImC791MhDwldEuSHOl2Qpi9EmgwdkWhamNKSJWA/oaX2DPp0t0W3SGDZHYXcuzyjw1lAux8cIg9KEV92hIi59JFXMbFIUFQNEePhvWLpzF8RASvMBA8uneVW/YFNaZ0rZJicTbVsPT9c6IMV5RC4Br9SqnqBdxu6tVcxUu8tmPOyznnf0tPDWNFzjd6Wai/2sL0lcqWmArL7voEwOZ6FM6Xs57tJqXtzlM9S9qDuJ3qq9JEKcjNa5kzw7Jdjwe8VN/JuEvjIuR8b3u/kanh69514riAZXuqmKNuUeUY/PvHmxP905hXFDZ57FNJ04mP+21Yqh/unP1wdEptsUd6BV2aRUAWf5k3fsPB2Ugd+ByETERXfjv2msYLjdekE8Qj/KhwASKZUmh44w/zA1tc571hZ8ayHYlhhZ2We5DYK67B4KYN59Ihkrs49xiQkthzJZbZ9qbbZ4b8l6tE9Td9Qv5hv7ZLZmUu453Svd1hTNpVLc1zKpEn7O3eEVOMzH9tc+d6kxlLtA/vMrUZuAqtKr7TYxy1efTlvB+F5MxL41XDbkV8DnQnjjTsIMYHslUS7+gUv3RBKg6UFgLh01PaejdR7Autm11c3pra/BmbxtYdMg2sEnahSBHIK7WSaBZ6HYf/QG+tKgu7sw0lreTjscDn5ufATtn1BXbn8PMRkdrU5a3GAUPzhyQ9JCw3c7G2ALR/ectCxE+Nq5qUiAhFtBGHNqdzXQqIAMsooLdMAxjQC7rLu6HamgC3MEsvi+6x2xfUZ0Cwd3b61K6GgTHajYMgToloy4PtPvo1vyfYgjBtvxya64v7kkZGNThEqy02MqcDBT3ka67m0uHpZk3u7RIYwavYEeVmFR2lzGWO/g/6zO13/Fz+y8G9/ezQg+R79zlFBwViSgONDPT7PWdIVFcYJ0QI7gbUlS/aMQKKsFDJMsrA82ITJngpFl/3Ug1oICVy/Tzl/S6OyAzAERPZwpOUNpCU44Z3ok1YHiWcTsUYQcJH/r/W9hNbcmepRCaCMPxFsU4i7GIXRX3hj/V8JRJiMSv2MBkF0Tg62XnBQz8yUdqHyvYeCmrg3SPEz5DehefxKF6deHlhPA3T9NAICdjCfd3Mtw/FG"/>
  <p:tag name="MEKKOXML11" val="xoYa5J+H5Dw5k84IsnO5iMo1IPOHfH/l+M06ViFBAI4ibzVuyXDLMFEtwrmS2Q6N2pPcWVd9BLPMab1OAyCqcw3uT4j38erkgflLWMOjyCt1F8dqSh2CFUi4oe4gM9D3kcN07dROKa+b76ChM8iUFPRwTqwWLxO3FwP+pGtxTZQeva/WJMPWJx+iyyai5UAXxVYivtYXfSEMs664t0IU+nxBPsSWU4c3wxlmI5jKhC7hEt8yiE85ap8I+JMO94CsHpt6Ho+tuqS1YuIoELcn60t8GLJFZ4xi9y4dMTDpMNScIwnjvPjzs2G4dTjjUEyNuRlCWCfAq7OBNc6+zJA423WRB0RcFWG5dqrGsCg+1BGXsG9DlFLxtNU5e/+lNrq+bLSEFZT4bLFr/uqbqPb9mu69xMvxyq70mIB86rBvhX3jXfk/ig/Ab6xBzd6Nb0JlkKM8WD0055Kv/3b9zLntrYjdMDqAWKF7uySvQs3ZyGen6EVx8iktAQ9hhAnrAiy0jaHhkDKC3GEoGuQX8xCPZtWbubbMf9UZL0t5WvJAQy4XZ97ItYYoV9tlbJxtaris2vRpFlTIbGDOgUXmn2F/BPhjtKMgQqOVG3Hi67hdp0BwUJg3DuQEwOM7Ovi2/4H7pVI1FO73cowQIfysyhu/RV0UZ6NsDawhYXOvEqeSpyRgtxACAobspU6f6HzHydiVlKdYm6GJ6QSZliNbRevpekJyXTbOWHDR7zYOSoxjQuIMWZ8+4T5psCyMU1ahqd2CM4V9wTX5Juh+LtpDtlatp4cJAKF2VDwbe4aRZG2w4mLbUwtMz/qC0J2LbHfL8t9NZNzirInqCOxMcjMD2NA3UvOtTsi50oPSMoEfO/8joRhRNCBc+a9qkuFjbehR4YiId0c7doGGN+rKc9oV9oxsRo27ho/rXQ3lMmMMrAFDpRcl7AUs4C3/p6hvtSxo7uKU9k6ettQqLdUzcTat1UhxVXMzQYceNrAsCro00TnyFJY6Az1LNTzElx4AJy7EfIlG0ZLvlp79eVd+q6INKWdVH1tk6YQ8tbsocYik1CdqD+uNyPn710OLyofaoaFHmyWkjkauSMA4vtwa0zQIIcRJ7l617abmHde1icIER4Uipkelm6EDo0/k5tCRi5t4r/eDoT3q4BJi0/gWmoRxM3Q6rWmIea59chYav78gCQ4uL5pFbhqbBfkGibDVblo8e6JVmRM3AQtqpiiY4z1FJ7a0O9IRI9ppg2UJF1M6N/bx95b8eUJ0rFRFfzo0aMpyH8my4QKQuI+CFYnUXXO58fkWeLvXADAo7/HHLqJ1bDJvM1KIFG2cVMEvRU+TLvBEbMk+tOwkq+xjGGG1wLdZ3gO+tBiQVJ8nyXmihyY9T0hPFxweMMwfaC393EXBTDHM10hAohQOooc+dL2qPB7L5sGq0pmnuLTDVSQvjwD2uvVGEgtCop1Az4NUE8MsPGraFDu0PN8zNyJ31/arrpxRvp9MVvZx6cfQ0kaN5mhNRxQRP5slU5hcBa/iDUgyRM+C9ElyYwXqK8NgxDB2j6XSt1ET+AojRwlECnkuH2O8YEPlFJMw6MtMl43AiWQYcibtyb/nr2z60Dzfk4pN69rJJzQcDFAojJVwf/hpaT1G8NiCHGlK6+NnspamYXfPIvhl6Ge/EEzpymNh0yWgdivNW4aA9BiU7YuiGCyN1lm23Qc9zsbajizMlA6iP406t40UzzjXP35Ed7CbJX0C3mZTXMRJNH0IdukOMw7+huku7LY6O/g0Q/fY4+Jk990AkkdrHrcjEf8ErPbnmLShUrnJ/lm9eMt9TPl9cTTOqn7/ZCL1j16t5ED+OKAdve7y8C7JZBi1XtdF7L+uKUHitGcnfFXINCFrLSCFoLciIjmUtTto2+olfJoa2ZT/YHPwolMeBVdcndRMxerK+qU48qxm7ZgKo2m0fvS9pWenpp57XfnfS5Jzd0UubUB+DGOSM7GYVJoCZOupV32ZkolE8XFwmxkcLQ2GELiJt1jCV3tipl06Tr68y4hURtEJZhdg7LnvDdFpNjBAaakEy+XHIU2qg5uwoEjdd6dN1pVDLWyPAJeb5Y0Hku0C4WkKfNTg7uF7ef/8Wb4121gLU/u561Oi6kYjOGjFBWSCgFhYVmCVKffWgaiBCnCVBr/ezmP1Czib+sspVyjpZTHT4XZCyr2bXQHSRaqCIcFAIE0Lav5rF9Q97LjUnCzkxUMAUQCfpXBe/F0bRnvo9OKI9ENVcgzmcvpWRv5ZkWPwvQfZJhFIl4HRElS2l6o/Hhrm5kRUQ40Tc6bfb9vk9rmHpDB/VykAVqzrEhgJ4X9N0U6h5fvCbYVkCgYxsLvWU8lVUh+2JIdZ8Q1/3grZISFmx4yplMx2qpDQ7BBQVPpCM8ZSNayTyRBxpvDXny7Aw2UvVK8mjkUT+pTPuGgxbNomCm5ElP3coE6tpEv/LT+qh14IMa/i5gyH2EroK9JJDbAo9Odt37bdunDkKbmQXXLIqIgkCwHJ46nYWXbR7M4qi5M6rz+NaNGBnqRbWioBHXGjGRMIIm+D02QpdyKYt2ravqNOmSsOO/7K9G2Ke7cBnOcDMLrcDFLVF2n+cdgG6W8nhysj7CFgsKPWzWB14ca6fKIAX+yGzABfSMjIS8ViJC99HF8lAbjxJtmVvwwLWMnuCE0YLYuqBFCZ0PweDzd3369YaPWTOsa0c/4NNRzGqswklHAx0ClwkoYAC7QWhza5jdSVRYlSovPLs+48v/pPNo/qItky9O8uyoutPkISLUaCgptVG9DdvoZqyM4FeHQ42LFum6vdCljOEitJ24LtCrz490Ivwwcsg5GKBVzyodrhtXPeX4X8Fe9UI9hZHR2aXcNzoPG/CHjfKwMngDGHYtTsbmgvVTAqw2EycEVZJFifKopImaIMdDH0HOWwq4uC0A4lbbQC5gQBAkOcDPTEpYwY2Xy2ZOJ9dXT56u0tRXKaAAL4w7QsOpT6KuzxbT49JpkfK7iHJ0l/TfciRIw8bRK9rkshZyXK0gGShhJHxePbvi6H3WYg1364GNHTyhfg4lelyrM4fOWZX6kmbOOAIcJzN02CofYO5nf8urnoyxN0oK/4nBtRsviSp0yR4gC1iG6ILmbR+icBfXyPCFO6MiTqJsPRZzdNBWi6VSu37DDbApsaURFsA20cqMlgviL3fKonC2Fs2JCRLiB7t+kUIgE9avElyL+o+8cNia7jqrnTvfPaV617GfqlgdK3ZocccfYp6uDWTae1cgOt6xBZIi7WmMqLAQFsEfi/+zm+1iujqx3DjGl7PVCz8v6FdN2OGIIHzYYTAunJGlM1J5tTpc0NZfw9IkDh3zNmTsA7u/0cLWRMLtsavTqYUmjupEb9ykSAMmVA/JHt6aDggG48VwRneobmH0yS9Eb67gulb9O3GRhJTOCZYEUznZ/XRt+iAP8ZkI2+0cRomiPOxb3YON76TVtDXBNzUJGvVq/bCCDiRyXWT2d6VGoDBjsIx6aixWeKaWfrK4TrnhEmyYMIElsJVMNv1/O6i5sG8HSAKvE02kR652FYzMSMTEwCS/fXSOkFhHlAV23X5Vp99qnap8m19ubUPMF9A0vw07sPwC2Nzw3b+QTZ/ozXRGtsaLP3fYsbcn41itmTKXUH5faAFDdg50KSHyBfFDOAIZmNCDvXyPTdvpjdEXjIPknEY2NHKsgWxEKpPuJuvOv/PWYLcBfofPfFfJ8BiebgUOwkGp4b/w9g+/GtWbvdyjfbby92RZE281iOCkUW33EoJu+aoS+bM8Kipb5Rl4Cf43MyFQJO4PWhVGUaR6b13Xxsoao0ZlbxjjGbIltxsjy4OyUwSa+BnQ3mOPjXfnrVhy//m2evfYCSD2/mgVIENd0n8egL6CxWvTS5MS2eFy+ajefqTDm4uPXYlOli5SBZypp4s0LWD/65fAimZL8eAgrcCeA94WGdxYgLZqMMvbasvljZ3tWyDWWUMaCsgNfhzdb5olQOuGXdDiswPu9Esug7SkYqDoiATPLbH/9Lm4SXPX+VOYQNfeOi9vSOvu7FLQZuQ2qoZorpF2On3K9NcjbbndPCd3cHobMGz81uq+hD6YBLzA1YUJDPuxJ7VLAIibaJjP8jolEvZdOhfMyQl6AjauHHcxWrzPXYsHxEsizIlBU3YXFW1AQbEf3vEvO+s1EVfJArUFO5Rrgl0m5tcUV+mruEcoy4Pj7ii4+Y7USuVVhwQOy78KLt6Vnl7tNrEiX+rsY/SoST6ZHp4GEhl+fH1HsfUAmGrA8xxGYTDSVK6Bw7ywPbqVy82f8Rg3VUpRwC9tEUZJ9vgQfh/CD2C4MYaaV2r/Em+lvswi10V4x/8pPSS7kYLpHSrfy1d737bXMG3atO3iYDI4jKJ4VeZyld8eTTsIAKjsBiBDYp1w8i6HuVl6Nak5VERK0YhQJ29zDuzMLbbG0A4u9oupRdBP75ff6Mx59LorYsq/2t6vEFyXYgYF+JOnBNidWS7cHcO+pC1e53fgXbUtgjOdkGJnQg5GX6v1xzOpx8WsOEM1H5nqOF4NQJgCtlmCXDuCKhgIFk+67QHW2bm3TZC0WT3q0ZtQKAe503MUyL89mL30vCdTYF7UdxV3RDUUU/OHmJGzLiI/WZopTTlygDFgbO67dmH4wtxNOf8iCjyVCBgAUrx9d/lMP9LTmkz6Tb+dntwSaUbbc496GclBpEHnJUdOExs4HMvEm2vsKR52jv4bwCdO19DyYoPBTlQhVv45vImZAY+/UAqM+ZYy9R6rmKuhTmcpzrFQcds5YJZetqgQ8HRRC1kCFC8DJkT4MDHvmNtbpupJ/FFYelaq5SIksNqJ90w5x0sI0uYcTCuz0p/zI1gULpXrNQELWkI9NvLWs+EfJBVgw7GtFdDx9oqoqE91TwTkeE2Q1rj0JW1v/AkVXphEmKx7MS5ZypMrS2DIFtsFLkIzJZAwL7dOs1zEGok68GfGLNzVDKGDRNgbjeWywUqFKLVx/JFTOnuSPyKL9Gf2cyJAUmWXyG/Wj2VEOn7GzNOvtx1OtdFv4m+cgzKxXJtKfkei5gwjeAXei9rfOTn2lHOY0IVCL2Xbje+kGgv2nOadxcC3lZi1jy3sH6HOVxi1rHP5lZj9XICtnfnOvXtqvzWucYEeTfOdNdTZZYlUvODaW+jpmqiuBnA5jnikChzhBpoCzWpbv1CwUy/Y1n2rdJ1rDxJl6tHZlNQSbYvBfN6VZGSFjUug6UCa0KPyBlgUv/uwKM2wL0HplSJYPchk+DY22/RbjQ59rcUI8WupFIOSlcpPi5LfEyc0tc7quBVUaXRvnvYIFpeIgNwVilDRyVu9S1cXqAbNRokiuLuTmjgoTMfP9Uh/Oz/JesIZ/RZyS9eHM4xUQb9ybV7qKr3ZLaR1iClmmmggEi0apzCajti57eofVh7HFv3Vjr1DDXGsPSJeWcPC20bDE1fObr4aeJePoITn4jD6tKwSY3o4J9eVFZicb9oYf5dykaIeXEkjd9LzM3JcsAE6VhATi/7K8NsGokdeKGbwkA8DB+pbKeCkojhv/OnX4CQgeI/J9GzK+yKsf2KbSSPM5Som5/F90UvfgdsgYskIVxY5507RZnx4lnSvnv4oHRGMHQ41ozoK9YH+1d0SVOf1oS2jQ/0kHZQQP0dlfYSg0+wiq1Ce2WwhHoVOaOH4Mb3q7C0HWNlLGkfcT6gqJAvZThf6i8kST6tHG6eAFIXdFRywAHkdMboyyrBiCwszSfqh3MSjmiI69EIwTlzKdu2nAtaSPI4JiOr27SuyhTS15vJcTUKMOD58XIF292HaYHaftS8nIBANdTw8DQ1Bual7/g2e80dof2L966AoenB2ayGszp6nQ853kuOikW16SvpzRv8Rk1m2Hs7QmY3FWOZPs0e1MC/FlWj39tfk2LnZ2Nnih/S5NhFnbBabjQBX7U9dQzIXbu23G7MY0aIu85dpsEJGxvUJJbjyM9wyzHEUKDfX6CIJ/ujVYhE/poCYO6/nx0+vGhNXft+EliBQgCg9rKLEzIhXo17p7J8FIBEuMronzmW+BbQSNrO4ABpaDFLkWAt/auMzsPXQoXwIu0jTZXz0ZTUNSsJCiR8nZyJMLpjotHT8l0rI9oag3x05IdljR/vvsXyC+To3WlxKt7mQC6SQ4i+cYLUceeajBqIwMtEFVqaR/ATEYTn/P2+Pw+HUimEM6q8aWcXlXI+Jiqntpx0NZciHTOx3P5zDYq0xLa6RI9PdEpJIrhIvQMdgbHWgDalX216eguoFbGf2wiS5Wx/rKG/jmPeDhSaugOfovFudTiPVzbMD5f9Tf5UsHpVhvb4ONLzVqpIiovymWVBSUr66Vm51kzqh71ZTq7x/a3kfdZCEC2xbx40MJN11mcKeq6dV/9OK6ft4zFZqMp3vEFuXzpa/8PgkxvxqZM5aQIiF7Dv9Seyzb4Gvln4D8PklC0BQ+Ygsmtt/fqveeiihRF9CeXBA/lR2gVrXSnpmHx987XdywEQX5U9+XbLToAOoJt6Fd299p3qHAohmOh+4vG/i0K/6QE7RGBe/ZrYFaa+19zKxJ+XsUWug6O2sHDEj5vZZBc2gRQSaOju6exoIsOQ8rPuz/6HxiwE+hPDgEaC9oZCg9mzxFQOk+n6sUCEcNrEziHBGl3qJIs2ZmJ/KcASDIjozTMRIXAm1p8PF1da54LyYN4KaxbS1YqnABA9x2tXSc55hr4qXC4aTW5mOIma98XIbv5GAkKz7lZjvDXSqgyW6MxeTMxTNuMi2SR6AwCAddJ+Rgu/mPw5bD24lvdgMhUH/vhoz226XDNo7G1zQeg5xaPbjpa3kAm12qtKiwZ2Pcn4SISr4gsfGAOZcC5ux2GaWW/HN5VYb/ei7slCvh+MSRwVHQsQpyETlOeqvgDJ5TKwmWHWLNag6WgNj1+pGqxLdHc+w9L6MdSF0m03PTRapj/6r2rWMuZltjVAbyPG/4jDziuySxW0SRicTtRYcr1d7Cr2v6d8wLw40to+KCRdiGi7A1g3zxQnLMsS95WGWb0CbORyniPR+SIAyydG0YUvjf8+rc+JJb4oackrXgOqJHacMiGO0ZxaRkVfENS33yaLOVv6qEcKxS2wdYLwSc/OYDrW2/zIIDeT4xQjDwNfXRjq14e4AbIBM2CVMbC6FLiGAM0EkLuafciUhdlSHOas0XotiMJe5W1JodnvAy9AqPJwefRMY3iRtgeE8crbdasJNaWHbJhkwY+213UHNxDopwM8E/vKmKnds2ZXLZGq9ObGWXzby/ZcJ0dOuFT++dEq5pqrdg4ag6TbfrVChXGbjhu6d8wDpf14MEEPYS+Z9nR82vWcCzsEO6/xJwJc93OcJMTjmzDf5V+JoCHZLv+vHtgEjazB2ByYzqX7gCxKkVT5Xq4zaW6S8DxCpR/5II3NgKmWQwDIyP2z+rhDdylqxEgFQprgMOELPgu7GuIBC4ql6SZS8QTOiF/TsLNYDso+bBCiT7Hvn4qbt9ers3s6XQxJK73J5lDa89kFypC0xt8g44144yoRFErF8tEegVR3NHGGYe0v0XZCfi3JGLxn4Y5A9/XOX/+M0KNBxzl4R33bFn6u39wDhYV9DgUaEWJiAYQSf0oySnj06CaptJKvSlCLfNxHQjFp7+I5GyGuNVmXXCX5V525xmeoDMdTCAbdm4jcuVjMBiF2EnH/k+u9SgDVpzXbuPyL2PYT09krfHtnURcyiEjYlA/Z4CaoE8jgVJMtyIJOfAHk6C6DnDgo5qig8j6QhCqSXbaNiLoCFyYH5S36l6nR5H24U6S95TQ2mbeKHW9EUTkGM9WpeQjHpXK7gkByBU8vN8wxcqd672IKcdLvfdUz+1AA7SRrXJ3dUdPOncAaACeeOfaf7BlrF22ndw38ncRbC2oL3ZgYkp2jv3G3zNFcMKHKMZK54gDwYzYwvSfuay6wLu06bX+Bqg0a3SxkJeJ2gskdFLUnnmrjWYKfvGIe7Gqv+AF3TRHJxzt4yo3zrwQMco3LjYcy5IX+ZXnnGKSr2wAz0Aqb11LWA2u5TFZICNdz/MBxVNy2TRFDapQi7faScDsfdTdy2/TfGm6WN4Dly5H2jtISik5chD/blikS3WraE9g6RHE27zsnlOHrBMiWc6r/ph1bhuwazmfGqLKrxqZWqIfIJJUixk0MX6kawLW0DtkG6UUrXLj6xgg20EyauS2Zei3IEyk7dlHxVlvd1VS7r7/ico+EuWd3SpLEqWed1uXJth5KCm6PjOFF5j/ZWu/9tyw4GRVLtCREFh97gNDrgc1CDLz8cPSRBSsD+k6/Y7DFKt3Z5ydT7OBNi4aU1mIftjn2+4M28T00b78sgNta6HZQZYrhbBWrG8zTZ5xAJLbm+UNJ7MJJC01H/E/jzVxPqmtJern3a28EKus0bKtM99E9876nT4uk1VeElW2t0gkVhxAo9EJ01zZz+xshHDQfcD/dQ+4RzStJfB4G2ut8mWAJhlyN72ylJ8lJ64WiguhwtxGkDdbGPuTYRR0vwmxoDQ6reCBGXJf/OdMXDcNpLSA0HDqqMo1M50GtwfeholojKhl16Xv/bXkuWSdCstag9Tlb/mH7ayadrrVc9NalE50ynyHhPO0Q4keAgczwNzGP9YvyVDoVZQLh6fWt2K4MlrMT+gvnc6c5yUTbehWhpz8jm5Vh8xsYP+Hxv5774Z5Qk8jnzSRhAfGXmU05dLZJSi16MHWtKzsZgoSYVuUBLvr82Kit7cqiGDMckSOA321R9PjNosuaUQEYV9PlceBy3s38fBq7nVvclB9ozkshKdYLk3dGxFQ2VGgHuF0U6kmemTWLNiCK8Yle58B2fG6tCeJtZV4BlVVCISJiBDhVcLcMA0GwLA/Mugf+ztqB6g/8igXD9Tt9amJ4lxpwAHM96LWLyyN6RsG+ig8w/O6D9RGAjRVO3BjS0ecOnkQ3r2VHaYLFFOnSzl9htxjGcj6inRKRv6nUNGBte538mfaNI/FmftTpzcxO2moLPykpaYIYYmII6Zhaq/qrI43CaGRnIC87vHkaQFD4HVhbpypfWh61WNtPPqiyI15cRDMtpIGhd/rCQz48830uIwcV3maPK6do2IP9ff+UZbm+u8RJ1ZsYSf0GrFHrvQlqbuYRVRvtWQ+i6e5erwkLBZvfESMh6y6otXuM2GfbGYV1Op4cj2fphLXwTghLoWoh/LLP5KyO09j6FMWfbMoP8gWUTj6Z0jZQe0RJNLZqpqCxqCVooOUaus5paCAyqoT9rhHCx2zJqWaQOD8IiT9URfO6zFAsl+13ZSGLXDAspR/3N+4lZbm1gGumFGoeYDWqlgpTzOm6Zv6TkNn0Q+ZDE5NcEtoJmfd/wYGucvPeOSgJG4wjkyyo8wRryY5aqD836q3jfvo+QoyUNabFGVUVfARtNa5pzGrEKrzkuSxxU6joAgAlGG717B4uMML1JmvygtfmeyRG8wEoqXRJEAKM3FSC8OG0w71wid9BVZDXnJoRHZ1LgjTLwIZ9T/Yr5KWmfAmzrsS2qevWeFmLpQhxdcEnu84aSh7gV7a0qHwG88QxtTjFuMvK/UvqYBZauxdrSapTZ2ynAQDwrBpv4SBq9I3byRxcwN6QpOfSHhRqQprAU2tGxJr7/HNbG0pRJIUPFw9Nwnjasx3ANYFRVtf1SVaLfh3/Jw0We3qQZigt9sdcv5bxfBWVDig1+1XtRQtE3fd7l+I9FzKckziO2F7gYEB1RZzdKtO1jLR8SWwAPx8UPqkj8dlOzTQrlGDnxbnsLBuV1pUpR5ZdJLGlnzrgl9Yq6vYDPyECJAkKUEt4IR5g2yTYz8vfZrIT0k3tU+0Io4tEGA89coeO5Ao8mK2OoTzyWX/FeHqZLvISYPAmNsO26e+ZOn89AQqdWHjmjeQ1EDpE1GmPOt1iVi1gy25vaqfmQ6ZIoBqXa/p0ikkaiVqeCiTepG9MDfGtMJ94iDoGX2Nqc0pdQeWuWAzWGTEhaQ3sRFpwxM/1NaLYFqZm+8jS7Y/rYdTroJ/A3W3w1EJ6dNZhBiUbP+1w5BqQYzmzNvoRmEDzfzNnHfNUdpnrf2bsZ6WFLFN4rAH1gnj4DEP2jYMXvmbcVqCmh62306fBgr5R9T0SbkSffAIJdwL/hHjvYEtEMNUrvBoXhIafMAKiq71MFgk9gXoUsY0/BdIdDONw2wqrl627YR4f5y7oyC9EtbAcGmYuKFwhHvpNRnY/ym+yIhy5CZot0zLJDh0Ht3Wgak2z4qrBBkFpGvNe6wZnvC0kIBpqJPZ5f1S8uKdTLoc21v8LAu+MpxIZGttOLHPDvcfQ1PdCd7utzo784avFbaA1egyhK4IyxVGGJbbg2uKn5cBpuQciRG7BMuHuACweNNm/By10H0eDC5jkMT4jZ2wb7ojwoargerqPNB4BF2e2QBP7UsfmkQjg8U2XIskak0O2TN1Fd2LZv7r3MO3UiFRaeKPhkG76IIXm2f4tHssPsxGJ+I+Fjcpu0nqYB3yK7WvSXPNg/637YuLJ8jW4KPjqZBgVriMIO82elpCwgA4OoH7gesMorDSPEWSa4bU4cFzO8b2uy0D43O2adWs2VMKKTPxQOxFFF8DQttkbQ0rlPpd1eJ7DJHKp6/BGP8lgRZcSaZqMHysJj5ULvC7+N5M158zsuX7GTrlAjWcLwqfEyWp6cAQn73rzBAG4HgoTKMXzTk9eR9jZwI6+wDFA9v9ROXiz087rcqZXqxxCISe2xuupB/pNGMB89y/dDZFRCuCcuBcblLr9k3Y4JOktWA309NejIY9Y5r5MNV/9FGp8zbXz/z82t7PbyVU2wOtSq515G7aW5CfnciFSgwLbYuE9wuFTlClFmn48bmTrS/YqcEmseN09GnDqT5xaaConw3ZPDmZmOLoMuUle4S8HMyJckAqYA9P5w1tTmzsgvlvmFRPzuQSgRdP1xIxR0qXmDQ6KvCpKiBbLPrPaNBKUcGgofs/+cW5Kgt+bzBYLe8ar/j9LyhgQcBN7jOboZlWH7XYiocA96DrAHSXLWdzThkZNQ9Dog5Jhp/6unQbdiFoTy9GOX4hGGUVBQGEDNlBb2qtBtbuZfOJwBlYoqzBLLMU3FptUtcAbkh6l/8wBp9CujON8QqqU37cMAsoCqPCNlh+Eq+chK5UntBc5bihagH06uw8NllkP+hcqh6UKsPFgMwABHdNzif5EXks9q6D/T7GHEvRsmdOiMMxo9ciTUPEnsc3mOdrObHr7OoOxU/P5RXK1IFmvI9/cxsHgeBBNYs1OxSQdypqeRFk8taVxKrn337Uqo42Hin4Nk+Wobu8RUt6Lk5ahq9z6HQtCg9o4NRGQ66yu7wfo/6or/FABM7cccjbpgXw0UFANa9t6z250uNKTiuV+EQi7qgAx+Xkdxv6+KxKiChUiSPpyrFEmD50JxH6yTC5+Fw3Zh8nv1VMJlmFPrqATwMkw/7RcSM1/qyLb/jHyWIMVcRP1vQLOH9HltF8/W4gS22dwMhazYMhRZjBzsCDAuIeTZthtyCfVjHmG2C5Bva6y1AhxqIySSssD3z1eak4QugYfjz9c+WRF7FFKNAGlX5bYcWge2MSHWSbBvlGkOmmBOHKCzBOTFI7P1dfbVI6cAyCSkb+3QGH3meNlTClEgfmtfaRalwKSA1WJ4LCbO9DZERxzg5O6BJT/ENqRoPZCosjGeDr4v14mz/G2d1hNab+kkF7XU8bA/BVySBGZSzrf962v3WR2yn2V41fD453I/7XTKQqg+yeGopEHxFFmva21SV/6h+oEgKBYDmUrtzjhRhkZIeZKzvoKHmlJKRsG9sEc8NHCe32M67TiS0G0HkUvTvK4BwWpI3jzMB+yBSR2ZLxeGNSPIk2jgB1tp/hewNJKSIVfCVpzR1uFVkqGVQ8MuJJTT9UXBEsg2s9YDj20ebgP46MgoYSl820/FRTkc1fcYBTbceYExe9eFuUEYyOuAIoi+EtYOX1OsseQksX8ULf41GtCBMuxx5nkgwelrWuV9K4uYKaEiAKcyWYVb0aNTxeccEW5atCl/fw50NiO/vmCBQrTWaysLZjORWp+zc5G+wR8RmDgmRSKXrjYBB6zY8hfo/V0kMfqYvP4BChctZB3lSrGMrccwnqfVL01FKf1NdUtXgIF9270ZvhFlu0RwRbquz87Vsa7q+Z2KZwmH+f8bYLOu81QfEhTI/UHF2cBLWW00nWCEgVhJUcAiU/ENcEnU+5iluU8wLSOq/hFtAP8oWwVSuk0X7+DBHhwQRM2v/4F3AjS75Hc+IQqYCOu/Mnw96nmL8DZy9dFBcCdZNEpE0wTQvv8CTUX9JUnQqbZYrG3oFlYVjPjdymuxpH+DZ2sOFon7oaboJlN/G5EeNkxA8EzNrIOUjlt+Xii5QLDU/byaIeyLkCTqywsQVqpCTohjXK7WjUuG+CqzGTWfDUkGR/amdLnjNXatzhPSexInPlGGYIe2vM33k2f31W6YEfCogMM5FFe4bJaDFyNWK6C2gKIT5F4m+bMyWOH9MEIHzFhQDQCnhgUp0HWP+FbVAZfWgkSwRR7KZFHIN7favfmzvvfl6azdmBCKu56Ijm7jGYJH5SUi4YLFnVPeB6g5+if1SOn8pWNsw+y45SEMN7Ds9AmcXw9/HGFGgN/DdOYmTmVpuQ7bSTYLCAg7sjGjcwvAhDxzsQiaATfOvxn3zPzkZrXwhz8bE53GFX6cVgn+sc3PGhDEWkbJNasGPKePVPs2KwCLi5xNjuPO5Pcy9xqYJKO+pDLXB26RRewdnkcKX0tl6ylT+emc3aXWJrzny5l/i/Ct+HOrjhKueU/nArOPz6oaRopZAnLzOxQaIaXCMXZdsGob7X80qpqtEm/NIGE1bkYcxos70K8MJNYCo2Dq8ZE1kXfz+Sw45OaNHe64KGG21tJyAE57tN3Ls2MWTK3Z0dxXdLjhDcs4osHRT2G30sS5dH+jloO/psWCfb8qznZTUdsUtHIGfDZsM2m98til3/6kdt9TWT1VpC+UrIDncUfeKD2TU34dq2TSk0tw3io3xvLxbor8frCUPvPmnOkZFTzfEJ3fWxPpzPK3DPP0TVqcPkvMHI7i43GI3UNU9DgGU7Rr8Ei2JfB7MUb4NGFeA3MtBHykT248oJnHXzfN/Z+edwtxS8awwEdx2pKajhlb5AyB/mw9rryaLVCTFA+EgWUC8eAmVcL56fixsxyUcCz+ekYDZ4bsewt1mCx2Qq/K3p3RJHsBJN+peQV5WGN+5LJJGDHgiAquATkI9XC94EtC1XuEm725cUVNqXxqSD69f1UO+25D28ZKwfbkc9cT11iAJDvX7L34PPyq0fHIeiEZRm4GhhEdWGz4n+ieVbAx5ntMTDtNq5M1DLjIuX4ZAv8MdX8ovY6wruIPV0td1Docj44p4IGfFEg9VpTpx3goTFhJYeA75VOu3r+YGPfe6xTFuHZgNaDrwiHCASL19vcBpqfQYwFhsiR1gcsBR7hVEfUpTxneDAiUffs6POaMiO9aXcNlj80r4ydFWOBM2JFvS6nPJdRnk7F7X6ofRaeP+phfS2GAyO/M/oOA2OfcN0TJxV1XoqFqL+9y6FBTVStrH5eMwnonTAF2dN8rLQH40Iclg5DklEqM/o0Gy+hXiQKH4ujl4jz+vHoJyiVlEdMuIc7B10xIxNdY6uzUcpuluvbuTsWKupN1R2j0P9XeuSJxruytwq31Ol37qJywP36swqSztTDW1hTO+gSLw05R9q/f5zhN/vzjkw/LygpDAsxg35I+j9kd/Zvbrh4nGyd39F8EEvZDVzbqJM4qMr3AT5J+Nt1eSh/gR/4yc9X3zcqjOwRqhCbQo78lJXd8nxFdS1M830yttCP1+OiLKGIBJWe2eJPrAvYwdjKzGlBeFmXslAf9diKsw+eWVx4kevV2DLPTexeefQyjWGHC5kO4GgutZTiH9F4A1BUuKsXMiqsCg3wHD/nNxg4IpriBtIiZGi6BwnJAQFWmgt6zS9eG97ATuwgcj0kPJzfoSgYOghcgVQL34NVr5R/JYu4CpnsKRmFB1yon9PvetHHuPgnJOfJvbG75MqciHsgXge4jPctbbhYrd7F3FmQK8Ae4nfvUwJpzPNL1WnWPa6MoY8lWgqHZ9YezWyrjJg/N5/sS5ISAmW+0U6iAlFKN4MQwuNWwWeXKybUGF2ybfVhKWDsWdn2HtzeDGSwpfeUE/gTjMc92W+QLuKf6IYBb1SNp7TXEdmKL/hL5aOrC0MbRFLcdUQUVpHg9nwqCjLykJpon+OHVVNBLpM3FAFwGLyFLn7Ubl52lhyUl1PjfJz2D9uXPU+OILtLVObIR3y/xeMW6FVkhhu0Jiwo5eJubNza7gGEdmUmlp45w8a8Jh0JhQk/XX+vd7fvZq7FsE6ppqQA75xEph6rR7/FNIqk1zDEPvXMMNPdvG9v2BF7tX7in+rsFXSehfZBIGkPnV543nZPOXFWqysBOIFCYuEBNcpvJwrKxLYkFh25r+parPvCKnJUQ5xA8MomtakaoBQ0zLzv3JNs6Uy8WvbKJy+O8VbvPMJnKIjgN70duoubK72Ttkuf29v9Zo9QtpGaW2Cdwi/iFVQHs5gGaEsUtVuZaEiKNnaGQt8LcUkpl65tQgo6fRZ1nrsiJRBrjTBb9quRFHNQyJfykicUTFVGl5YUJ34rBPNVzlbD5WhjefsnAcIQWlaf80mtDXBOz+3Sje3ROGlbO/8qqqrySQzXDiT+cl9iLKtdM4F6q+x1FGVYQEE3UKAxwqmhvHl599jf6rvTrr0ssjbolcLh+hJbbO5OCmVBpCnBed/Aa+kbFwhtUjAQI2a2CgPcIZPoKLuc8gv7CyNLE6LlxSi9+YGE7QwrVWOwBRr5yoKkg2E1+VXIq1T98K9g2/ecFeCntqga59PAcpQhk9ooCcSSIXEyrWrK0werKEQ+yIXDLdXDL/rF5zKxZGRfATZAzny0ShY7k7IxSp1xoBZO/Of4vQ42MzIL7VU83pP49nqalmfxsVIZgvyjsbr9fsaziDgMWwN3Ue8EZZJmGnFFQSgV1vdvL4V6lEpQpx+iEhseGDFwmxFlyhHqci2axsqSHJDiHrv8omiBZTnRUwrU9pUNiqvhN+kYNvsgE8E999iuBdr7eS33IivA3hmoMIw/JH/7BfwxqutFHQjZAO16ZzWJs6X5fx7GrkiSwQQ37hu1i3KTAsA8/XbFES5kVWO4JOE/axE8iYBNlK/HJFMEXKiUx6WOqpSdIQf7U+P7SUWHifOaL0nz5MvySNBbHwaXmZwcOzwOazNaS0aDbkv/qiMDf0VNtjBEhwHlzs+PwyIMJgR/1OtR+PCN++oFKX1T+1yOMDInIO4of0jdcYS9/9Em3C3/TdqWCKjpnMExsc8y5meZA/Iz1TxpRT/BnVclCPbxMLnER+6s1H+RdUmF75iRccqn6zhYyXuQ6LknWNVCjYkvglOV1jtP/9wTc0bt1G9wRJXvN3XnXkkckcZWBCqGFezXaIVmxzcTS63foe/Buq2ZCgtZ9vqdbESEs7O+VhmiYNPDPDPp4jpdAOqGfzvDYZMx4Ax1HBTdUDDAF8icKqR8Em5sqfXfh2Cff0yrbavYSgEAGCr51XB8MR7ewJGRpLekc83gyb7jovDcVd6ybIf67/1mEKrgkETLWhv/C6AW4qD0ncqkZBM6kxCB3HBtHpejsa8yc1flZaT0D+1Ww/FlJVh8MkxH/bMHGEmE9PiwXkRWVso5ljUSlz4igN7n6yinS8xnSEzFpKY8PKZqf0fXjyez+QrsPLn3h+lunrh4hNAsVvMX6bGrLYRKJcrp9yC+hcyt67phtoz6fg9vsbds8XegnwqRWSIPRurf5EdHE/gV66qupSkIxlDmOXf6gP1EPmqucAHZJrY2c9odC9I9c9u+MLO/ERsusWfy+JW0ujZ5OIfsku2U5en4WkS4YWiR0Lgd1S+hCjTFLzz3rro5Wf5U9w/3ZoAVaLgGDq5Y2TpptMTl/twn5NT7r7hPSqD+yCF+r4+zAfwJk94x39BBBxsr5hY7/P69aFJP0MSur1DG9Oj95jyFcRdP2UqejSuddIISjpD/oGGwXxLJx8Yq0gvRRCImsieMfNerP4KEFek8M2v6koS7dgiX2pmWcuOhHezp4gljOoc7lXC+FmJuKpp5S/6zGACQHj+svd7vhTrrDuyQHcbop1ZgoiRPcbMP13B5tCvp8o+f+Qdxdtne1y1G8N13ip+B4wpTOmvAh+qGPV/FXJcIN1Y/rm8wZ41/ScaPi3VzcfE96OUdp27O+UPgWH+fI8ttgUZkh9GkUmZ1Pag/u2dwWMKvSHLpUMg7hOKjWxrG2DVbt17fpl52zImzAjsyzE1c9JxsiuNVQR9GbN5Pmk+EbBINsnW7cBByguypdcMhHmjH5bYKdcH4+EkMGqI+1xxYyg+0qKoYez8zsGrEDFqxA/TFW3hIf8dtNe+Yoh1U5kroHIlorbMvHHLoipogHIvZoi8Wp/qeE4JQtHq6J6sFZAI58nXX1XRvJI2YtlYbbXbd3Jjxee5Ej/69XTNYBx/WJWjhnrnUDKiJLHOtYPPPWeiwi0jX4kqRwe7/9KT0hm0YD+JvnvOImBz09K9a0ctjWDpYJFB3QfCKuY6GOh2cTXKc5vijVgVgNtqtYrLEid1W0ZXZhXzRlt1khFROKVP/6dVqq3aLtapskCE0i//H2K7/3Ri+vImFKbHizezaS5FPIDtP0mt+Kh9di0h6aFbtHVK6HyoYbkBi9JLM2jqmaz0RKTZzXUJvEynb0293uJgaZW38G2QFbh5UMppQR8MyNiGj2mzoJKzFBo0hbiBmBDkZiRLAsQ8rwO9Pni6o8R1gDkHtssEYrQFlvQs5Xk0jRoztNFHKHgrOUOtHvgF6BBMIwjzyrxpk+osuMGzzMELaAhWoQFZ3lVtVgTiCbLXKPSDwCPnvAhEfLhA7zQ9RvUV4G8u208A0o/IIcN0PBseypHMA6jxtyPIB9UGcqoFnsn7WhwDj1b5d6r7oCghxkb7Pz+Sf9/iboVGtUGzPx8zhVCoMt+UH5Oz6fMW0IeJKvozGBuPR861hl750rKGq3q3IGpk6Zhrovbi3gZzw0ITd6WDD/CNwHkJhcr8kiHGlRwb+ofoNNWke3W5l9Nno+Ex4w7pLKPj8GRG19yr42ZIwlAgywdq52gP/goG87/9MXGW2/6fSNrC6ePiaMGd+OyfIEg9HtIi118LBjxyJWyNYtx4cujjiD83Ala3HMs4VjQa3MjuYqEMO0YZIpIXVIgKvQAQEiNixyi/8HkspX1QEI0zKqPlSkY8NOhLlOOYM0ozZioZ7ph7MjFfnj3kZSWbg3qY0nLtEmOLF0LT2kTl7vZYA2BgiIXiIIvbzZnrHPlzHujTbWlHnWHXHlVodTM+zH1qf37hOarn2HVPYV/An/67dpWvlhsuPeSTCEJo6DHWuW13ys/ILfCgVgUXal7ZFWi5xeeIkTDU9QlosUFw7sFasXrfNAun6kI+FmdPz24d5t5DGPikYC29yn3J2vNgzyxTSOBSxQ3APaZ+NJyX1G7JCKPCymadaIlOhFnctc9fildLIh5Lgc0ljK13DzbZgvQKD3mxQwhoGbhVrtumwfoK5+sPc6mjGrdnP3cuDBUf58o4ZPEaDii4RI4UTXRUQiAyrq2icEVpGRiUsrUCUProbcJ5Nwgx2Fd4VQkut5eaILZzQp9cmfk1z32W6McFC5A7zKgHeTNh9NnH5QKRTUaEsfR5YSYAJxbCHIB2qVGlUzPLLPjl2HYpZ8DuaOjQpJJ+tAu/n2Kro/O+Xdp3YPvt+9AWt9kQn2h6cF3wi5q1Xolcv4+bZgJjAdEZO5YDkzEMVPBY5T747wkqu5NRyya+ao4rsCCDTq29WDm20T4DMN7fAojS1nFUVlrECSIpvE4vDqHL3zYU1G9jGrZU6t1aVMegFNma+yTR7xwASgPftkv2c4td60bui6Crn0bmBDufsQ8KuOCMCe1dXVhNV9XkAS1q38RcHPCxHsKzbCcDtOgC5rjIspcj0OU879+yBiUO5YNcrIEolydMNkGDNvLRzRlFp0cZwBhJZYanE+DJ8XA2qfv03fAgrdCuw+URkPI9SdYM4Gakh/kiwbzZHmogpbIGPoJyUH3mQ2brSg5T+raTVJgYv1Ru3+l1XZsV5Q6Uw3HB6DmhjmM8C1GNVL0ClX6At7/ueFUQuuDqGlQ7n8gycwhqMV1bBCCvcHAUFrVNVuTY902XGL/BaRJcVA9FdAj+n8s0XZ5cfANukzEZkrZ27B+BmG7bX0YtWG+9lQv5RLcZB6tFwJ+9HBVtaMMUvCqkRGO7eSwxWv+xbMVbfAB5oKGO8AuvXZ8YKxSDLTtoEWowWLv16PbjDvFcCR3mBam1dGKpe/ALUOKzJZXT0o0MnUdS2v2jcxh0y3VJG1LM7UPWe690oQg0IGsDTkFaA+G75ubQHPtVCKbl8A/75l18PlXrUkIyQkvX6TyeQ3Ei+Mn/RK60Mn945xe13VFzE6qp6MjUBhQrsRGUSnxQr3IAufqvZQuQwLouVG0XIr6G6JrYAX0/X6KB0F8LRrLcdyPObSk9qx2vZj0IpXK9MEyIE+xxUuh3qugp4pbBqHI3uKEtJwopoqppbvWXbo1UXLnKjzQaA6/1OstkQ2FVorWZQhYmKC/x9dtYw7NbQMAD+bJM+VURfMyuRRUwQsktsTgLFxNqpewZAuyInEuORrtnCNCeyaw5n/xq6GVI+F+N88Gp2zip5oYzayV39lQ2y+pFyrKlrn1bKs5nRM6JW6f108Ur9khODEtnDwm6dRFIA8zCx0gc9GwRfOgicc24L12ONtATvs1G75qM/Kh1QQseGLOWxKrYsFFgmVjED9qO6VfyogmBeKtLYj3pXz7Nd9J+jXs7gC3at+aSWZgMwHN/PB/Jms5FbyKwn0JXV8ruVOewnqVbs+yPsV7gYPOyTsvOS/vT6SnLecnecDSv83+86GQ2vMD0pK0ic1dgVqMRc1TicV6rdbf0PTr2K1XSWodd9ttgI10oZypKQmUSC0sVoFjFQBaFb9s5aMjb6orp8TgJaXxjl73z3a03oQIlgrpFu2ain3oNvYS+FN5Ovx+xrWQMbFO7uqZtxllQTqOdUKG7KckQj7bIZnZzBoepYOJmAfZ4EEdcoD02YAcakp0FrxUy5mI4HEVx1rvD6QZqsdg9aZz5z7NmPz7aVHHeXaALx4PY46TCRCMZIrHEapvnqGtvewV2S07OB+weoLdabhjztdyu+N8DAbEsS0T/y8NFMQWADqt2MCPlNLTz08qRiscuKMBL2d32ThWbV+I6cVQs5O7K7zBnG6dRsq2SUP7tDEcqGChc+nl5wi5HOkDEQFv88xKWdCyFWR8BsFGOJfNrBAAJsSi6wJhrCnFteiK9pJwtxF2ltSYPaXPaS4BXFXJJkqhOJHZJtBV2x8o1PhJsf07YtFwJnDzgTNja4KkQE9cMzyUZa9L7+fXyahwOhIUoBmqJbxp8f4JAE4ogJpT0o/YOlnMacLPn4bELiHR7HloJco3hRfV1S8SlR0pDlCYdDmIW5tW2oV2UD58KITsceTNnZdk/uAgBVWK0JNV46FgL/OT6OM9juhEv0327aT2H9lDWuGbXx/7GQ0TcDA+Q4m4t2spQ1B63AWUrFh8fkob02pRUhZyRiHY4PX6x8NUQBGCXP2h4uSrQyA2tICDbA4XzzTxdyTlKa+zaOJfkmRGss+9MelpJVln66HBbauV00HBzVrOS8/WufYePduaTpxWtU87B3dEVky5ZFjwzhIl27TfKf+fviGV3M63Nyf+5UDw9JdRxfHSr7nUXZmzwCn9sNkKzuW0x2tKL3UxDG72FdiHRHZdf/aoxj82m3oehZj1fmtWL7BZw82kdTec200XGmKg8z2RPor/4mllvCO/Vyboq3BW5hScKlSz8WC15iL4f/y1nirpgY2vAauly3dLlkSbJq6sVVSzKfFStRPa0lGm1imS08Kxq6srJzz02A4NUQ49B1wt+97wBedad7A4wF83QEE/ZxOv2yo1ZY5HdQ0kZWCOLZDkmqiL0fczdMbds4mYy+dl9W3F6DTA3lub6pTB3bK1Z+Qv0VHb2tA4q9yLQ88Lh0Z1ca7h2Mj3RsDf9YnoWR+AUIHLKnvXILrMMugztFSp66hZcGjJ3tzVNxLrFse7jBR24cWz6lzWFCs+bO/QxWGulTzUG/m139I3KCJu6x6IDiDlO5ZDjzMQero6iB8kAjKMkc7M/6vcWx+EPClna3xtiEcn/E4RNPB/hWX3W2qjdS60y1/seT18n4fc5OSOagwq0wIo51Nhtc/AOgaTIYEDC+/I3HSR+UL6HS4NE+Xw1o5TfcBll4mu2SS0ddodIPfDQDFIhc7EpoB7/YCpfuDQ+JvbZjx7pnOVdSPMuhNzvSIr5ea1WoQLJGtip9X6kh5B/h4O9+HSe2igGGPcj5PimkVm6vUEv5SnXhj8FBMEte1CqY9SVBFBxNIQovVDSa9WnUqt1yrce3UbC7ukcrq/4dG/+Xy5AQBDVr9h1th5by6xWdu7fQ/472K/dTP9sX28eTRCGXOEZ1z/jEf7ymtqC49gW74Sy/FMwDB7Yxau1FQ7qu+XEKMU9ZV4Xq8cpsSguNGUbe9wwtQ2AkqikvieRXpyO6qLnQ1++MBN+uIgZyWeOpzx4u/DkhjPATpA8DKqwb8lRkO7ZC9kIi8+D3Y6PjW4QNfnoYevc9JALyCzJN6KsFGL5BP2YeIzw5YrqxJmY0KmJznl+XFDs7baH5EGBVE0GZK5yLIk4hftVfwi2aNjdwXNOa06fhhinW0v841CvdwBIfiEZgLroX/AvjuuhHSfCEAO6JhPJ6N1Kyvz/z6rUarOG7u3VPPYE+1TuM0F355Qr0hsYLcLO65ptpHS4FYpQZHqSszzf1fsD4ukqMWV4Sh/DwV6VphM+PBrTucaXFgiCqd9HB6u2OdWX1/J9Bjd1fFBxqj+4Yh80/NUKYYzu7PXCBQ9wxFuRO1kLfmQbQ7rCrce5c9oimABbAbPBE9sKnsFZn49WrIUYIIrsYc4po6dVtFo8j+3Q6/vgafAwXw4TeiDbbEJAHPWLQgmQz6lh/GdfbwWMVDd+IAJ90jn63pAK4Dsrr8T/v+owIaUU6xND6pcWaC9Rghz3cfO56cl431YqeUJo3TH0TCOg/2HX/FGEaN8f2TQDjb5QSJsgtqOlQecW+jXrWPH+6F8IENMsNjLu8ST9l2V/4zlCZY6k/Ju4eagSgkR7FTcx3yyjwYW+BsHXqWLTMDMRUiVrjaMTMsQOHg3wNj2NYBdHbCwFXFOOl9vqOvGE0FFekirxIbV0MBCpb+zh0exO04TBBMtgg8b6pF0BSHPkZzRXpPE1H15HC/4wDYHELBLB39sYWUSyx5PyMxyZ40QEP7S79ohy2NAMJGFpZWRJ19fJ7t99b/DUtfyPwNPTy06C8omRo1+fGOzVzGeg2eF9T7/cL1yqIjbXyQLHE8xBR6eB3jCSu6C4vjYWkiuU4WQSc9nueT29T2AFDuemeklCY6U9tNXnwKjENlrOnpvahZfxFGC3Aa05kI2Oi/LR91EkXORBTaBk6cR++bpm4JiTKcVfPiC5SaWwS3fnchc9E1Ik8tLzmEnqmTojyo9AjOopMSclgiQ64qjrsR+/OD392IP+KuJpe/SFtab1BrfmshoS81IeVwELYHDZQ6esR0RAnnir+38zoF2Ph+D8JsX4ELld7Asw1FrW0MS8zVr4hDbdrNac+K3++TEM7zy+7xs2qcHn25nYFM2JEDFniUVFFDY16s262WVf/dPVHWyej9+9ue778JpE0IGrowiRPJ3gdUDkSkcdxzKW+sFZp4FQVhyRSzZLUmEXHlM5vrdko1rNubVA2+x5fiAkkAhNCWV6iSGrWv5pIkb213R38MsKU6IpvXCv2KOba9mez+dFukXFXn9MAJ6pkCh0RbqtZa+TzFFU83NCWNT0ff/OM/OOQ/UpgkfStdC/FPI8E/NaXm8jSibNom+lCAqVaFzWufxzoSbuiGuex3TGQw2sWo9JL1O7SWNvIlUke5mGHnMw9c95FUj5GFHccfHO4tA7rCIzmrgP+SI0/O5o36iz1Pz3jUMlHYp4tts7OrdB1SD/9kjy2xoGF9TyUQQiBdq6fTi10v03bCtk5SqDdD3Efjf107RxDDuPOeQLMnM/IwJHMrPMPQ8FVGwNq85Z7aN/6dyBmBwmgBkJJfThGod5dxwClHv0xi3jB5ug8bCtwaxoxc+FddjzmXqUNGevHPn8Gz4rUECypUCx3TrV9xYOBXCU+6/hkrg1NKsEmbvVg1tTfSCNQMomTlK4YsklMHBmrTKwGo1tVtUGK+4OAY/UdaddJa3h7xdc91rAzgBBeQHIkSvgbdkS0BCxeloMV+NO+8zdUN0Q9scxcUZ6nanFgW+BpyImqsFLh5qhntn4swxbvcncyE7GnwsSnHZTr3IZ2kYLDFKh31JP8fqZtBj0lbGczanNS0MbUvE73SmaS2Q5ASkcpbmiz0TAUkdDNrTw0JkHkKzsffPbxzHlbeW8DtWMP7qIz5R0kvX7BAtzR4vVEfrPcO04IUSit2MWk/PR5PjIYnbI1cgZ2+Pq9wc/yhbo61HnPU4CrQ/NTlDFLL0ciprMWXW7ZNkV4AnPYlmTT+1GZFa9b6MYwUAJX094fgJl2yl2oYzBi8/J8XuLTB2ZoBrcHtx9vn+4zh5SQHhC3YFPv8xwjmR7QzP4tV/pFeaxhyCPrFLiVzHMd5zr49y2pvCjvomP8Do8KH6siXPQlwBStRf3/AdTI+K511byqVyqzpv031qQEHJ7fTD4yrXCCEPb+gX3KhfVRfUKhxrIEmw62+YE7BWjf3tb3x/uK0ausTMDVZUANf70sym7nNye2gTOE/KH4ZlJ2yoY/IExI9n4/BBwYT5WwVfO3/1Q6BAlvdzkrtBHpx/Vk3slaHod+ypzqlNOqYqMQGpkxZmNPZXFdvfhswfBu6y5NTL/S5N/Vog2pOcKirF1fdg+teg7e9bs8vam+Yi9JGtFGx48VUoXsSl/AP0PM7urtiZzi+bHEOTlCSJuG9g1kRSgJV+Zsk1eCPNtOat7n3TzpsPXlg63zZWAc2AsdWyiB7tpjETlEyKqgdAVPsd33IGgR007JgPvqVXl3DbkUdFt3U9QzNdkP06+FoO6Yxa/oDmQgUfy+FAv0pCPKKtqNxE1F0oKZ77GoQNI19LYDFizAQ2QGjvv3XwVzR8IlzaYRlEjAS4kh1Zug8lTLsgganOhRqIuJuMmenuONp43ur1bcSz0ANtwcSXalfrV3OfAyAd+4B2ZERCJwrQLqeuRE/b1OlKMA1jBVIdcL32FdDdLMha+wKcyHjhjTP8QeTfxzd+2mTtH5F9BpNdLcvmbvbsHocAcH6lO8dFX6lerFgUuuLpv/xW1mPOoa8a3RH/+H/IMqzuMY7fpEu7w8GGdqGfSGhuX6eceVscmf4ICEYpFIhEGsVL/gZSVXYX4ZiTpgpptaZVKgoIbJ7T4ZkqLYeUuqg+uy0o8uSaAEwVVlrbD/m34Lz4hdDnVG6vYltxq78I5R+OIxQSwJAJaOP6caHp3utGR9lvJYrECMsFMeCf4PZUMcSPtY5RU13M8zYP9FmD1dyWLlcgWKYZfkVMm1PVEb3BLvZWJ0s3tJ4BN1qfgH+J/t2jzV9TwpxzT7nMtKRwlw8VdiEyv2V4ujdq9ZrfpEa+eyvpgUB7+yRyxPsFdA/veHSH86X2n/yRLX3vTKOM4uIS7ebw52FLbBgzh9N9ypdC4tvwe7OKwqtFr+utnoNUBRYCdgpvVhTflfdm0+xTyq6CJ1QOsPkcYPeUkAR6SctIlhNGXtWsuMif4fWq8SIxFsX5wDiNaHioXrmNkA5auDq1QdJEzuBAC/iu9C+kBoEp7Kg0+FmW+slIfLx4QD57n3IbwEvya5w6TyRpnsWmIhx7enCopIdDRqv0oG47v1awr5NgBEtbsEHZ+QsNFQOwP0+muL0oIZT7IxlJB/3UxWUC0ONG+sOTw5kdN0AfWlj8m3R41zBmts3ubUhCW+KHbaUYpDUFas37LVS3svYZA8hxNOXRy843Ta9ktg1M94NrcMCf5D2x1dd2GKMTE8QIj5ieq6OaGJw1uZfvu7y3VcjtRX+7Lhf5aEbcM4Y4SmeOCSg76mu4lM7qiNIDUA783zfTeFABqC0Jn4g2kGo7cLRwWPWtshRaqvddiEjXXWFepRC+Fwt9r1d71FMOI+NLv5pZf2LpS2USf7Nc3ea3T/QwUhYRklV56AkOJgzsFFP2SEALb5xqAMtgvrCHkhAOMZttB4e/PGi0gMWuZkrx7KzDenhnsKRRTbDDDqrJQQfJoy9G+ozQT9PdzlxoTsqO9QzYcAIHs+l21+/IZVOG8JzfYDHuNjRp8SVcXyj9Is/SlgSd5ZHGV9BwUitRFFr54wjHnTSBDUGliaHnibYue7TI2GaNsyCPpjL9vZpWBvF0aNZOtk4qo1HD4IuuQuccj46yY9qayUmd9MoFxpIdQijpDlcME08NwpIem+M6ldbAyi0tds2CHUKHvd8/AolQaDRr4uZFJHB2Ap0nK3y3vypD/XGtl+gf2gW3OjMrVwClyZRGcB1nYpCbuF7wNcXkWoBMx9XsFdYzRXOdTaDllThVcuBojLKgA+hbdjUK7jOc23oopNj4Te5wENScA99WqtjtSg2gZlpFFtP1OEv5nfZAZ9KT+Me2nIKHSDj+O1mD5gAGw4LGO6O4hao1CklUquVi5x3pjDlW3Lrj8yJxIh8UY2z/X98ZzA5JvEDeFSbiDWCMPLEHwHw1eqZwEx1gUXQnH355ws2jhgX28/aiqoJwziApLfofUN+WawvrPEWcWBHMx6W6LzCSV+/vFfkU6J6iHac7CzyRWoxUS0lgavHpc3qWA8kVKDt3foAbWn+tOsbOWXo5Zy5Vc7ix2D3s/H6ZVxn15DlhKNnXhcZ8MxoJUtpZPkKb6ylcTyVItDQdOjAAXOq+MClqUD5RKEE0dN8/zBu0rIhSh1CqGcCwqfj1svcj/YffK4BAxaT+3VXa3h3+q82G6zpNdbXCKkUC1eR+JQPc+AmVjNZ1GwMdNgu6zpVScy3u1FMPAjXbT/027uDp7QoLmthws6sRVjkGtSIkhIQQNO39pyDX4IGClDgVsMSGb3KK2mLp4lPb9moBVL1Fy35GqVK1LhynOk9C+wGT9lBB40EDUfVMF+m5JnlhQcEV072hvZXm7t+WwRlAo5UFVrhyrCE9SB8KfbYPaqOP+e+KjeMwF8DUIOJUW8AJHJISQfhVwwaUILljhYaeQY48d6IL/vgvjozHLy/h9fY9FWdq6/YJoN0TfDUrnpBelpEr6MPeYyLZW7viROWnTXqnoVlG/69tAeLM+5YfklGcFV8HupXSUJD6ovhCoyOQhTKPYEP6ql4KHfUFb7KVwILq93mbBEwYhmimcVFD2mgxk6MR/G8wCn2Xf1brfgR/w+VXhiu2vee+PbS4ISLxGkN2JLlT6WkYi0Zn7FTvoM9WcgawXmvymnNheDg73lxjrPlzeaW8vVSSnuMmJESgeIK+rrlGKun8wYDDwTCot+/poqq2oDomUy75/AoeVDUctRJyFEETlDDU7kCz5HoovM6sLLSh11RqfVPSFK6pY0iJnhtwZ4gBL8Db0Okti0DjtN/IC/Db/kuOiTwaFFmm5g8QmMaOVDlL/W49fl+mx+rkmAmyhX8S6C8C4P05k3eCGeOWwkWuktvoARA6R/lM6Ke5K4FDqXQ7jHmARepTb1cNeyNJKh17bRLGlH3MF9AA5fmdXUUSY3RfKC3CHOxSN8VmLL6l51jpn4tcmVT/QMBgiCKxCKNQCl92ygTBNzneIMgRn5u2yNoFMbMNpeq/xiH5J5TcmVgjJkBQQtclnomldIb5cVvmrbdi+/GnRJwNaLU55BhRdiUyunJhUJfqZwXlvm5nicflwzBCuWHc/hH1J/OCkLfmAJ6WO+2OtO6MYY5EW1cppEgc3BHxYorCONhgT8pAcn9s6592SyLqZpw+KrQekeoJ53EqIZCevqm7J9RqOoq7/fFG0fC1D7CX6MlqlTzVrrCdKm5tcJY5p5RGx39AO2wOxQma9je23nZzvxeOtyIGX2U1QdOn3pVYm4NlRXUk1sVPjoUg2lCCj9KmUXrwltJF6SKda69UJiGSZpBv1kNdNy+zGbIkrULsWL45MeFKoOr6D7VXP9WpGoGycyZ/ealnUfPdOYaYn+bXCROQ18sLsyfaE5a/FkpK3MZNN5JMdIvtKYAPIQjOZr/Ie1PlfpHiZn+GvSMDoHPBSvcmeuWXhCPLK5bvIpq3r0krEO09tp/aV3T8CFjd6yVfvxyKTXLJBkXBRe/nuTJBigwnN+aQHPPxfUyZ99PH1+K7t/PNFoSU6BZ/K92P4LvEtsRfrsSNWtK8QyNq0WUh6ejaMapXGJtZrJR4p3nfz8UPQvhxCe7shUff/HXts+KO0TLuFhZcYWkeSi1NOofTYhhTktFUBbsMEOj+6S/kWdYGrL6EGQKJs6vw1UMP6rihF/OIsC2k8yzPmE1HN3s+6U9pHeCprfdnOLZCL5I32RoGhTrumGgDd6Ux3pYiOaIPdk+MmFiTZtc3ZNgJmXPl7tOTj1qErN3iToxuQN42LAudTROBRI45I2mWNEKhkegQRX03b/ffdQJh22/tYMqLodc1pZMJqaX6rzlbMpIHag6Xw3tSpxvbCtSO0vAKMqsCpPhJQZ4VbEIPD5ZwJ8n7tqskNIbZXAcq3O+WSZyDdifrwONKYJ9/HbxnUUDvy0Jf6yZEhWAJU7wWoTMpXaZH0zbxPcOWDBCUQjwMjTOPHqBCUBfiSRGgQktlVLETK6tVLrTvhwsFBS9reh2H+zD2p5IszeJiVR0gjwEXd1k0Bruh4xWrHwpYNkKPhHpSMf8b0enC4lfoJMsGr+/yD4bVbqEtVBEsUCd0ko8GjJIhU+ey0XjEbdwkeZ/2gSCGOsFgFAhMICp+aGasJnGEivXZWzi6jANy4QrrvitlNAfkVKLP+AsADcdVoV+58hqkc5bxr8qI+iJmv8+QrnGJjTFGQq9itEiy7iX3MR/CozGb7LV9b56gAEPi4eY01732UboI7hmT4i4kwtNFAjtUoatvBFV2jJl86N443iVRzdKiGLQsX/0j6zCjk/IThlpKPQWTV6f/7p1ykg9vHwco19aeGtVsYmAbEGnA90XVA2b0nsCzxW50WUOANnDJ7dcAIR9S+EPaGHPToHkBEFWQ0nQZvI5SaFWIIVhT2KmGR6sxLnonhndRYgWC3U7QP2Fyy0vieEQBOE8+2OLsGoVUDe0XRdFFvg6IvI877AyXk0dUPgsrWN35sEo8BZmm3Z4neiGcqzrlOdW14PPNFUZcVHf/cNnL/lVuhY851RiKdaVZTNSqr5nq0XshTnUCdVaHZl5OT1WmxDKZ022FDP5QD15q+Crhnmfozbn+ctjwaxbA0ojskWmjbQgQ9wTmvtbgcmkMMSk8v6li6n5hsKCWDi0N5a1tyY/0HimafueSZN9sv5PDS0wXG8oyOug+msZJEej2QFYzeqwIj/Eu02s1Er0ba44RjSHwB0ufyAUIMMC/tTncLQjWjZ8fUyS420vhD+MXv3RHgEKj6eyFWXYZQ1CzVvWGnY/O6lyphOf8cqDM7io+vvzKijxFL2Oj5QU8TYDTN7iFLDOfXiZVTdfhilLuNDalhWOgQwG16PNazCunlgPu6YNgmizXn4tyh7iuEHtWHAFUq8PLE1lC7eXOPq13bP+QcKCM/q8sx11psvZ3vANGQMGMa+RylzED31UA1zCQ9n9QZduZnJUHVVARTDT7FsWZ9DHMCVOQF+MY9wEy/xXsWm3rzpM+cUIwgAcn8EOyO/ZazcGHp/BnOk8GQfAfaxzgkE1YwzH60I1GTo93DxtIA5zpxmtIUSbcZWr6anoqWp1X22kjeSMWiXH0c+58nwRqlCMPUhDQhJIlH85eok7Sl2ZW1Vg9dkRS6XI3hkPLynwYvRs7zs6i2hwf/XMLYmYliDroqQiBDcFbxkQR8wBIfdJDovw53rfjOpFs3COy1j4YOBMWosK4q4JY2iS1Fn+geaKEytU7Ww6/Pd0vYJDlW6rddDBW79hixK+2XwF21evCG7tiMyYoMWIv50Sz7hSI5fvnMG4J8YOcjSJJBLxKhjcHuTKmxI2WZDrxMyLUk2bWwm4Bm6XLW0MyO3Q6kIdjfIKrw5rzIbapeoa3QbB6Dha6ERInvCtphblyn9tNgJ+QqC1uLbTYPVF0jSsNogiibFSaIcg5ZtLw7s1qZBAgfYbHioSCn6ZCecFUNv/oRJ7XT9F7I6BXnlZshtqKyMs0WDXYghXK+pCU+t5aQ9nJdWbHaiFHdmZj/K4QCFBtcDY6gLsIt3tphktJo3p66FCrK3Rbo8tfn+koa3Q0H1i5/nBcDVfhxoYUCoRvrmelNRrF1dTIuNwwHlbXwqWH6282Y01iOXy9hCZzlPDj8D0q0MW8p3txOBQ/PzYFVDHA5Xyz/KscEuilxAQGrMdXCLmWEV1noPWOh6ooe/k7RtFNoQMeVdtUfZHSRZqya5GgQCahwcLEGRqse9b77D0duOCVtJy/rpmOIzKSFmeiVJtm4P8yxp0AvYMCrhENfxp31LjYcFXfVt3X2pJ6xeOhE0wnEvlA+coYRx8pZCTL38s1W+iGpiw6LcBLI6aQ67ekMVl7dUvsFkJ2zlUdblHaCWSN6o1Z5seFm+jgfX1iPuKCVQ4Na2OoNG4eag8LMsl425FlbTG9RlRwyNJclKFbluQCeLYkZNMbx3nIz3ocxdGcCRjD3L7QEuvG0cFmoqfHyXHby9pVTOA3X2BSX+GH9aoT+K+zObjSW/Gc5M70vSNTywQlP06AlEhgVK1r69lIOD+lE6ls91hbBu6/T51sXNDw+Ist7xXU/kLHOuEOGuxhNbIrR+fLCQd27lRdpcrmAWtm4dwQTrnDdeSz9wCAeU4VEhp6FiyeSFYRMyE3NhkydfBAhjrKTHfcXvaiuuvQOxMzCiMECw8sJ7A6S9DUD/omVu616LZ+u+hSKYoXS9ZhKp/6B9CBh3z9/OF/xzxFLqJAi/buUficRDhglEDvxYaiS05B0gqDi0ehO41GjUPEIApWHLz63M72vYebgnSQICyLWTzoz2zo7HpfUvF51GVlrZOO7ImGYfstAuzlAqHMMXmbT+YVMKeHTKlIyaUWFkOhaGLjvQYzO2gbW2TJoY8meKXTo64PuRyyogsDVp6UdvTmHgrfMecN6GGPoyeIXbZSMymyF4M6ssiVsAhgGay9i3HjzCzZwP2uzAFX/Pxg2LzCjX+d7HC8MisCeTzAdQBjDoPkigtd0LfCAT+bKSYqS2k8Gy8Z7ppsWbjcAya9s996OeJu2v9LrAfLE/NYxM26+/oh38+uXmmknhyjcBWqkpHpnqwwlBUWw9OCPVGrWFR3zVrqSSCx9pPXpM9P5O1VDLgZ5becFPeoBdPC/Prjebu7TrXBz+oPUc7MUEZ99JSc6ic0EfeGBK1gMn8QOEi7CvB0DcBZQe8lxSVpQrWbDUSJk2xeRqTbeglXUyRuuG8u2EylMhExO1M7q0xIVWifTEXmmhgXLcoESKa5JevM87/fHmiYZ8+o7TnJRCKDuPyzsV6lXdUcGVddsK1XyOvrYLPGx3NlERiAvrGTIc0/RwGqOngXVEAvQVFg84umArNlHrpPdMGJxtVbQ2LgQnp3/I/vJzMgvhOAjryvFyzaMZ2QEY8sUnVdifWfKG8lD70NxTF4x3kp3TeHuIAMGwJIMw6MyxcWsKC1my7bm8BcTSywu5eyVHIWwchAtu7z2mYRH3vq3LQXFawO+bbeqA9AhmGnUC3XHJ4JjBWO9lxRXqvspSi6tY4NIEQvkMCyydHhrAqvDHtMDTzO8pt31CsO4JXihkwMDPi2wapBgTwHnSRfA20rppfBDhrtKQENKeYQIwMw1vZWBwubscK7hZjsq7oIwb++1nqN0/fqqTm1+AXLOqepslvP2neLYPH7YjTmRhpVOuUmzfrwWB1W0XSmVea7Dgif3rHjsiJBxivPrq0oFXYhnqT+daZ8VSJVLf6sgKl/DcItBtsNTE7Btg3hwU7wnM9IAs+clJYkd0ej5jWTrd/ijalzC0Zx7QckSATv57RGIYDsFCJ2yFXRzh44ZzqacD8ZgFiGdMNflTqvkzatEmMX4O2jbpfJR6tGMzliGFOCgn2Y7AtQWeqAvDFY/qMotFcfYGfu1eFi8d3kvuSKXFUIJe3jS9+fhoUTyHxkaGt6bj5sNhNmg6xz394z75YXPudX4uS4KWsVH24M9Q+MzoZau2YhIsSBpwQtlOYfwMGqxfZ0tIdf1Ir8VqetGRFwZ9j+uIGD9NXCZKiP5S2YRv2wChaOHR4Fs/3iZgQFIY4SrayZGukGVMyUzO6CcNrlrEsEHU4p7d6wZ4J/C+tnRLNr5XoqPqub8I0R4YzPPOwEwHEedLfO/re6AgUlBwzSVgXxJEEgb+3zkHQYRJCjFuEBfmCVdlyH9X2nzSrpeotwwb4v4TcesH7Mnilge/yXfCCcEOZyxDBtvmoJ6SJzFyVlC4AxokLv6Dwu4ZQMst0jaWDRKc2EoU5UgP3jq6AEOCnk+2lGBCTWex19gKLTKhpWPhUXZTr9Yz9NgJ4EFkLsh9fk76N8dD5VB80DWtfvuFfWB7crJCTPIHeqH0GWHTZGgBCobzYM5Ep2eOo8Tfj9LeqH3K+ykYK1EVRM3fTgdlMHy7G1u/b5bDmEonI5uGDg12A4RhHt7fsST3g2Hd5t2sN3vDv3kjU8HsherJkDwxzDo4tT60MB9ElcoFjNmrFyrrY9xZZeOeogsIKLtwzCPXMzS2tr2idWiSLwbkiMpV79+uLCxjYue+75/5k5NOPR0BmkSfZWzYKt6f9looUaHNmpdODFR9Tv3+CF/mNHSh9STG7/hstLy4u6FQ7kQa3b/9vdSB1/eliuCuo0M/tS4lXb3x0/+kN3GvSgwMUJA9Mmzn3rf+gvzonU0tT10mm5oRPHDgwmh2A5pf39ZzP7X7mzEB6bGjAxeo7YN6KrUYEdxSI6PxZToHCxV50+aSGhXPore2ajVbUVwt5l/tduiyYxGzDKvk3PAKm7SMl25Twg2by3weAtVbnxFQDhKIaUSKMZCZ1WxnxUyAvbKc2FZG5oQGZ1iED/76abn1QUBzRGcqLowdd8EQO/l8H+cYL7wLU9d5H3GKBSDzlFZNeuGpywgysJnPQAQ+x1x/W2m7U8NpbPa3REW244Ju2YU1LmNvzUh/oT+/qzOQPC0UOY8ySPKr82c2MFkgpQ0YcscFNBkOwgkNX5hj+vF8ARfDyxR7co1O7en2z6JKyIP3utsrpUFqko/E1cvhlSJZ2kuLC3vt7h+sdeQJ9Dx8qpQHVVK5tdOlsBhsSiGpRXzAHeckv87OGtKyDJ2BRSSKmmROq4pGFxuxSAM799NSaHfuOE91QnG+l+QmTkhNDQhpvXOOaWibzfUwZjwEWL/MPRx53vwa/vtaK2ha5p9L7Zbj5/KyxHsciEVrtvo8ZCxF6X+LM7sBkdVM77bbhnbD97VM0He1r7O4C1NBlk9tuxR4/PzPTAU34Jn9Y5KxwvvxuX4d+GcSeJNCOaWBseYQ492X478cyCavgTkElWYkLCD9r3lvxtPe/m07IxOtRYfMjHnqo70TCkMFGEKBMR/SQeFPTN8dLlvFGgDV5vKnn/XGk/EoeUEurgT3Lwedq0W3i/u0Dki6VVhWyAKlTPpPiQVgsHchiEV9OPpSF6LZYevfq+5CYYTkU55Mr83zHJ9P+3WNWUvldAZ+45ZQet7vZa8hat1BVNdwrEtBdBeeO6SV3IeryRSsDlP/zDKcT+wZIN5RNG1reZALGMyT48jsvoHnaeukObVhoQiU+8tkbocqC4VdQpCgp7WXRenFlhcJM6OIdHPwNcXY8lIa+0bNUAQo0JeolQCR6H+vBBUvKHDeRTe6ckgFGv8usHX/Jt/s6zlB57Pi5ewL1PDc05z2Tl1aW4BCDO9jcRsFFy1b6Ym6471SsC2bOIMM4NYqIuQkMR5CJgwdQMwg8VrUnO5AqM94Iv5rJySrVrZJ3iB7OaJaJFrpBofsthBmvnObzPXVGop2+Xet7q48Dfxi8WmctOhSXFF4CRqO77LWUV0JTXXAnekjuaoQVPKkZ8ZbVJPgIXtksmG5dijLNPUbES1Oc76FWoUrr+zY+mDSRJCL4fcEFqCvGBuhW7uPDrKAjEkT+g4H/S5ZmmvmhgGLwctQZz3sHNr/g6mvyrse+Fx5zTeRgPO2HKpkL8iLVTMmw1RmtMVbUYeB9VOk2FdV6x2NYll5tdyd6r49Q5yxTfGaFSTYLC13PthAWBLd5ll+kvCDnSshwEdPeX8uuNPJBxgWi9ILEBR8KuXSiBljsyg37hqIfogQxHK/FZTxh3VCSrxNmG0x/CUwtOaoU6+9n61B79DCIsmkqvW1cNUzF2hZ9W8AMywBfCa2By04lFDpAXSKvA80LCqCnEhsuINDywJRzh+R0eIThGtAej9P2gh/ZqKrhMPowCidsSqUcSfKEW+lUfYBFDkGdjH1DDOnibhDy+ypjn7uWKq6Mpk5yJIjWrFm4VFBXLhHY+8RsIccAU4gwaeNwwZw6Z4xHj78rKePhZn6bPQ/uz19w0/TlWdzt+u6kaDZzD8j6sRSMsuG1Pc/6oqAMWuyGbUR7hk1dXAlmYbii3B8Y6u2ES3R5nG02fG+X9IcpNTwZShXzS87peOBk+eaNH/G4al2vJB5OhUSqXWfMPWC+dPP7Ji+okxGYiiy3uzTLchViix6lSA1lKSIhngUSU8uz+9pWpPndx/kQgSQ+F7pe2oEpdPw/PHUqme0ZkFEwsSFfuBq08vBpKUfqAxIJPMqkNxW7BZbLKXZVV76OTW2V1DFGb0IMvuZwQzxNStzhAdbrMFXZIKeMd9AtGRYyZ6b261k4DU04qsQmxpvXS9LvOWCmTmUBBJNQV0l5E6AV4f/O/qL8AYTRSg9K2tT0Xfc+B4LK9dBBORrh9pUIe1G4qWn8xRxZWhQN/8+9BIkvGvewS2nkrE87tLsBkyhvY+58xKbWk4XgNwXJ9dlwK8qY12N9UuxC34pSoMwGzgVGLSgb/jYaMuac+KbFLt6uF/HeEa2JYpkH6h5MKY5blEnpMIbpwaopfNUJVkBOb7PisaPbGf3TEs8ibbhu3YyiVnz8wB0slzAcCsBeFEtC2uc5DVTN9pfOWwDXMusQvJcwV2M97idIq2JZkiBv+LwVTPblIMti96vxR4r9Yihn6PRNy1N6hgfUOVV3oRaz/OtiRwuWU0HC32vFKbOWg50A33ehWYkbCOniB61KxToK6wQMQG3cfsitDHb6/BzFw7Rp/EkDiRW8G0SeV0TjF0tOBFVJ3aOeo4/IzJnA5ea+ciPLULN3PzoBeGsiQo+EFt/YDjO/dV3WlWqsxQR5m/eEsUhHllzreiGOUodA/bkCaYL7CAbx4fK3olmdcMPm0i8rGcb9Rk8ZZZ0vq4GCCHUiOzt6SqbqFB40qFIj6kdpp7S+nVQtrDSclsWBz/UALZ9Y3dGZY4LXv6n7zXBTbZAO2UPu5LOFSQCd6sVBF7VjMJYzLzmpSF0XwzBnN7/GbfvsJjYkhsVhAzJXqT3TYJnDxNg3B2oSEhfRsxaJ0UnqFJKjn8hYpfLa5MCFqieuP9zYW/JpT1LkNin4e1UNYuQgiO0Cx6RYD2UCmQn3IAEwL+J5s3nCAvGpJra7NFtDzOwFZQiaB5ks1NOJFuXTGRwYn3DjPkf7oqtpHXrqScMVBmfMljix84O5vqegKoQCwUOJImpy6dGCSL+brorXb1+0gXEqQUOb6Qf1OYg80ojF2icIW5jVwtSbsmzeD3HW8hN8/MLqut23/ZjPyRWMRikSxFBQrMjaDNmPP4dCPssMac21Q/uaIWHvxsCgHIrxWf6QuSWoWVlnwCuYyi++U3kjzbzjpRVhtcZKw+wp9AijpmPgyfiZhhoBL/mp+o0Fd4/T/nyQM5XH++tgd/kViTr93BBKjJgEUGG2NozPd/vAy/K6lJVqpop380pmW+INhBJIU8BEBTJxkMFD5oFpYpA1KQpP8mEIf9/7RvZpP1XzzfkoFYAtxaKdOc1ALFZj/rC/PgCvbE6lXV0aa8TSz8jJyC0xyHEYpiqAKda47YENI1S7m8FGgVj8tQccJ1CjqyzLqiOMF7BtWa6sqazv5m0z4Mlz6A81y9IvXbhMLGpVN0Ei2tY8yBKEmC1vg8DBBFYntkryjcPx8AWeLS8xj3pv5pqUkwc3sRrQ0MSOXZ7BavNqdmWGFR6PCP8oSM8/3p2xGZnXct/2TkGwKg3tThO8IkgXf7TR+QWOVMtBhSf5N7JPlrrKeSK4iV4XVBelRoHuw0vuVk2xR1LtufRPegAbIfPUF8nTgmuW4wg8cijilF4fhbT+jVU9ExxBUXdbefNGgCDy6ol6kpv7kgVwE54HE8zANX+kL9NcmJZRpJot2wkPf7SoXEoZqUXOko1MdrO66XIV3EnHDCFADJQ9PfxOPXE/QBOhANy9efvKR53oqcMEmhiBCLqvY0vI51P3uDhU7Y08rBKMwEjlNSwsJHGqkmeJuUas02VudzgAxLwb4CwCAkknAGHezlkoTa10KlJ82Ttqb3y6Yjr5QdscONSuPSkR3xr19LFDWp8NNBJSTuZVtIUmqvtjgldwyTd1RCF37ZQI6aX3n2INPACb+Dm1CIPjGEqUBXOxyCryiZuZHsdt4/1GwvQKZqQj9PrGvL48CoBMg3y7/YYFhlYdC4S8WuVYgIcP4r3vhhTzlLQkgtrtqOZxcrqnbIdNCiQ2IByP17UA+SdHD7v93suifCfQdqH7SaGZ8iZvcjRAkcXl1Qrw48yC+hOnZMJ0M1N179MVydTTAuEzLR7+xV3Cl8aIQ4M9WcrdXzLFO6bSUoiU/KKmfnLA3tvMbeOkzmqO5Nci28TseiysyxMi78GN1r3PSjwEmXSnAQpDaskoEtqEwEW+X1PaBHYxMZcAKYubuxmMluWebz76qE7LovY2heq2a5TNZvg4QxL/iv1F2xpNRjeXioHkntoYR3es/pqegUtCEsVcJwG6GH6uH+TN/oJtXQ5jHHlk2Ud1+AB6OI39N0BOdh5o6B1miITRQn2hy6p0bFOXzTJP77EDShs6ymSWMncEWctEI3P/48QJr3JQL0Lu6LI8dAEHQCA6+Dy219Ia4hCQFcIsUJenJoXiF2iZUDkjyuI0IJSKLOsxPyvVgyA6rFnM0OTvry5vJzmGD8Snqw+vnkk8d+U9X+Tt8ERX9vwJh8rZpUE7d72jkJC/5m6YwGpsKKS+Vrsl8HQgrCtaSt6CfTBh8lFSUtcIuvLPstov3HT8qntxufW+Hwc/gPxY7srXvMVT+D4SmvbM6eVVxX5TRH0Dl0CPR+Zgl+zYi8cbDn8RWVfwd8fNIesEzMTZqpBmbRPpUt5MUiPyYPRFqYzXpMLhAypH2tqdkdoIN3f/qDrvWcB10DtBqmWTEOU2xR3t1kgvto1aTiHb8f+g4wj8ooKuMX/vV8Uo9ORv51HwrKrPeMUsjbFFDHtoo5ieM0ip+IrVpkUt1N5Th0lmb4nDfbzGazBCO/AqhFnBX+p/OfXr6mp34vbx4pHjk70gbbCIQdfOaSVyll1DZeTsmH8krxK8pwe9QUjQBTZSlFvS0xLKf7VgeoRMecMgqtu5CDoTQuMc6C3hYS4lv7vup4vyJhl5UowyRXYS7VOGtjX6d0lOgcjrQ3Q/89sLs2KnJzsxyWAXt8ZXL+d8WHKnHJOh0sNknUgv0kYRP9I+1KkXoLGWuNBARV02kki3oT3j7q4q2664MWIeMjFztAzCHPyOaT3mIUErUYhZggmQtLoc4TNBzOvP9KyUyjU4jU73ePjNq6VDa79JWK+8NmfXSiENvCwcbmsAM6LG90bF7jNdhftF2IZWlHvX2CcEhbcNMkgyYnV6L5VdfEGzSd0jbRZjv6cX6uGRTQHAwInQG6aqTxg58fBUtOm+Y18a+wWaFrl+XMxXqnNB65VlfjeTuW8RK7ItkFHHdyLFVWCRe7QronRpl7EJE20Naso52Ds9gQWpsqM/3B3CfUWbNLYst5p8m1UXty9l2ajUNFWump8RhDCs1ZpjUqgJHKC5OYd6yG6mIvPC3si9epStpo9rc+c3Vos85WaTINBcVHSOqyw3HNLBTqUq6gZEKUPBitToossYiJF1P0szvw6qqELna0Y27MuUt9UeOvX8CLE58UD+8G5fSb1bOx+IHdAlnQRRuxgz4/TEggLHDJ9SNaYMgT20iHr372eOYqk81ROmKWMIaoEDB5QTKaFOwSySrOtmim6rVsVXecd8pFpsPwWwAk8yTN0OFF2LC2HH7y58b+m/1C1JjLwPgoo8lcItXRwCWSdLJ7BhtL4sPcutoAQkzN+ZEXZV3lrQ4weki6RXvhV7RHuiI3HOGjTVdqEFMPdHTLIjwcMjalV/6kr6bkVKVpmxQ4DBxBPnQTLg8HdyM5pcFkx54Tjjmhe2FwtKT3oXhLWwA+kRcQRruWhWRJuZR/0gDtplM3jnpVpkyWSqGTDGXzb0Pe8d4vHmxpSaC6nopxVSyCZlL/4qreAV/PThGZKvfj8tltiQwtFI5OmizgcutAaYcpck9HYdu1nPaMfS52wMyFBpQ9Ci9iXvkeeYOXNitKtBe5BWsKV7r4FYEthFlKAOkEw3WDqGXO0GHMANNe7gc6l+B3ELf3CryNF2GJXO7WIdxdN0CUKfiKDYSJI/XYIzPdsAjPLgXYBJ3eDcP8zTNtNvdLvMCjElJFtRg2/2q1iLKWAB9F4u39x+VlUd/BeagubN5fHSw/aZFEv6nwijUSg3c+pO+BXfFznZBH1wD5OShQrC8HfWzziLI46XXzKDD/e39bFnY6eI/K5uvHULDT5XIfgVEKYO5Gmmf+UxSZc7YJIyRaSGj9vLtm7Ik89ExQCQoka/4s1L7KUAsgPx9497jDITtZTNIGxC9Y4prC7ezDTUFyF4BPa1o5ziWnMccBU9/mTVrAkeE0du00FwXmjJNt57ZnXxtu7jcvHna51aP/2qu6p959EO8113wXU+FGx2bfEFy0v8ogcsoslkC+PFMdomEt0ezowIIs4AokFuhUsjRBVCPxEBa94W6zxqgXf3khTuFYOldNQ1txkRWEICmsJUUrssS9QOrcpTXYnz7K40lrLCjauA6H2sNHWQwlrJZ81KIme1wn1I5zLJ6QI47pbM8SgX6tRAyJBdvIs8jhovkD13Oo0Oetb59bga4halsp2YspPidZiKvVWTkWm2fVAJWwneDApl4MlH1Ubw2oFIneT5WMwNj7O4oOet+X91AV0GyP0AJuisMwa7Ain2PIPVAwzGKkeeSph1YcFog/RdC8oBdhs/mWqi6637o1cOIE7uvtJTf92HbYk6n6DUiaVHYzod8xvmJ7j4IA8AF3s+G6wOKTudFuvruuwpSb6L4vxO1D3teZzOGjZJ/K5t4UJH7O8Yx8ijs20HColX1dPC14JFr5kuBHGslabh9uZWc/bzLuVq6DakE/6X3BAzHTFdN8t9h/bIcqt5JyxjQvuJsjEzDnpzRtmavHO7n+xFsCVheSwcD5T0MgpYw8V7pAAeOgrq52ZeeI0IrP7Q2jc5v3fKL6PMNztlLDuQVUNWkOZsvL7rePpNcYcBPePGk/odrGGfL5rqPU/3JmSI3UnWZbAqltRbyM/oyL0qCmui7lSCYjnUAkCooVJw8+sSQXxUGbFgjTcYKQDR5Tb11PjVO+VuBrm//lJuq4rUv2Bk6d6NHm1ZtXHiqnL7J4nCaDTxU183BJ0SM5rUaULzM6HCKMffcNwPONZX2iBqnQIogVqe3DxIyn7w0jMl3fWtChLx+Bm+Lj5eyJjS+EbvqC9Q9x+NmsjKIOUdOtYB6jxyoDGdYKU84VV38MWihJUEmZaZFPKpGW/6WZnmmgtHtblrL/NUJz4bVplNdeyiWJptnmq+0W6yGi8hhp/K9RPF7SKqZc2/uq4WvWrAs2D4/X/FMfWcPH8JVDwhnp1vloB6L8xqiBzpTpuC3pV6lIesVQ1KKGR42zC8loyH95b0jGt6m5imw0uEksbsnC/Wof2HokdbpdAL1Cry2to0A//XO/k5XgWqzrqSXflK6foTWaoPI+VVVbXupSYPw61hfG7s4Qt/DvdOupIO4zcwgWqOY2gA/gHfWedegdRvkpjV7+WvpiMertd3iLqCvKxF9w4hzyA89xIl//ehbTB8LzijA+Zema/vw6GDUbh6bix+RXtN4YAwLg0SU7z259uZrni5RIJaugYL9eh2D7P/NOlGeHZ7S5MayI+0jnTTbJ08Z1XJGVEdmHCgGv7TXaCCl9BinAMVr9w0T5WNHpS/220Rv/pH0HPpGlf/reelDFJsEpRi9pOXyNuOzsWwcSDQLDhqVGq8o6DuKf/QUlO7AAk7wqAbT5xIH7kl7kfS6VN9l6KQ76Jo7mmBDMt8Avm0/llZE3MvRth6z4Zy5aESVXqsa0zUiUJXcEXCFwb7nRlpDe1U3q/eNosAbFKGe/VhTQemAKK32dAlrhpIj/+QMPxEvZZO2NosnAwPzT5VoYS2Doyn0C9Vy3MwTOY2070rUs1F/CNVTyhArLRSZoNTDI+iAQbnKWZNedFNAaRzR8h9uoYTJxPykD3TIsVBb+zimKedULHuHC0ML+o+9eGlrmjqsTMkuxMc6DjvP3R7xBuegZEZgSVWqUDE4Fz2rt4lVR/t077/w42sfou/mNTaBT71pxdIbx8je0040wlyPwrdLqv+jTZXvPhf6J/7qbaGXbeD/I+2Z72GTkjzMvrQ73HdzIPKNrMvYd5W9DZo+l9fzty7t0BRzUGwHHS1hFvyAFimgNmEbyYk4o5OfRB6r6gVtEccZzl4CJj63XwVBRyUb2vM9tdZ4tfYIw7dwrhnRaOJyzoKk/VgVqiaU570Sk3Ba635Avh3/ZAUcL9COVq+c8LSCHMDUBwfd7VuWnx6KTUu8ra+Sr4RmqoA498DQUxmo4GdxbJ+0gzX25w1ueJlGpBnIZOnCHQaB4jJe+9obb96h4vI8q2kBYUkhkw8eE++oSdJBUSlocPh/bnGDvdtl1MLm6iXd4WhVpWRznD9zC5mAGloTepPMjQe3AJ1F3X3rFUFOI84rtdGfpCyem7cSNcWzsoSS8JPw+2m9oSIujSKD9SwCRGzhKrpMyccY9tPiCAvMbZZH52bEW2E7+vKyF35IgkgQMeR4ddZIum37r7rNvN/5dB+ZmDGjXpyy71IgcFn0M3O3kyuj8nfEzT8o7dICGj9urlHJWWk6S+0kjz39jlfjuPGd7Ge36RPYBqBQXlxgcIgV4lvBToq6iCk/cexb12L3I3Nz4K4zRma3H68iv6MLtnNEKeAyKtx24EChfAl8P9lcxkyxeFXbvO5/bjmRT+XUO+VUi3PQ3JZwvSh3qUwW3TJl20ICGV5D0R26ViDzKqJvLbfMvlo2uaSV5j0MzZg/z1Lk+2lhzpPvPcKR405IFhmo14SQTwHetXAdCOyOB2gy8MsyCEcNcYIm5s6UmcwBnruIgeURp4u1IW9tzcFOlwVsHbII/CqUem3QCFp1J2YW8vSvezslW3HctMsX3L4c2xHs8jUz7HzwrMyeiNerAZtabCW9oHV3owbUyuti8mPY/DZiX26zGFPUJHfSuDuvk1e73zScMoZEkI3BRInlw4QMBd/sMqWmeXaVfVqVrnjNxkY4WV1idbTlXvVKG7A6V5C8zPoj2IigWXASeb6/HhzhrRPRMBcQtdLb880U09rw1il17PaCvKoVB21rVbNR5JjkgupgQiAqNR0X3FErtk0m8zh13RX/fycs3n5iIaLX0nLPo8D+/l4Y6sw1hUijd/UVtUsNpZm2yESkP1mBQGI1Bu530zr/eLgBdu+lp59KiYu8zaAFVnnanIpKBve+MkM0GSSUSzsRwVjk2HIAj3zT8Ta9EaVKT6JPxR3qLggQjqmrKBP0xPqkKauj7dvyzKBj/Ez8JWA+3kNQ9ELBNgpdnfRe+k+ad9SlQtVGshN0J6Hv9wgYUtAy5P2Nn1soha8bnuuVkbWLiu+oq9Sry4CplE8QovPCoXUnBKEk9Rr8M1CA+nUQ+yisUzt0hTkBdcuNN2otAtdjACkQHnbp97N8ZlFdwJO4DmGV5Jv6nAs2aXX7Q+sOtkDr2tmxrPVnSx8SDvheRsysvyhByK4nJlM8whqLxqStjd9/k03zLaMm1qLVQA+dFDf8sSjP+lmZ8XpvzTUYYujShZSCoRPO3LOjlc6+e6IdRC6OgOYqiLb3EXTi5HgbpgU2HQ1juj5MTZiE58YxWk3W9iuF3TdQWpKVipQI2dk2lY1vdnBPay/KESxzGrqDmfHV9oxd0Jd2emsVDDBPOHGjlqEPiwbCZRzEcQqPVvyBgypZJj9h+MX8xawsvAhWr2caQIEi5UkhTBB9T8B4eJx97ruBcjTnFePyDvfiiUS0GeTkshon29r0u92FQhd+6vI2t6KxhQBFj6GPsTAMDh6mb/U79plkpYwA6bryzIDEC/yM7Zxp/E4YtuWAsaAVeHGMScgXIZuKj4UL4gZEaCy1qqmDe6sTpYMiE80Cc4FRkzs/dkA28PvmcchlqvmwDcN1ltQ8xWIPROpfhKzhaIwUGXbRw//BM1qEarnNEXWW5qjxc/7u5+FBF9LJPVhFSSIPIBIOJd28qyOBkC3Pn8nqVOif2rRP/VskhWmxiF9umUdPsi6UfuOt0HHiE/XnG7Xp8oOS7bdh3q78g9OFMHZT5XsZTyvkORAchZFXbj6+NfP4POdT2uQH5QGj8m6TF2weNFG/+eZiuqHt6BPwqPjbru5623zLC/KWOTIRNrUD7b3I1rv2/FqCqFUw4Fhmc50aXx6Kh058/cmlNVNlX/Xi34GbgUdzQqhuETVh3VxNrSKkZmim15TWDhtXVP44pWu0JkSzfma2ZFzdx79dn62y7y899XOPQ3KTNtng1SRVwPwmHbIa54ejSY5zxHn1/TEjtQZvpAPXxRg5yvr8kwxIOj5l5B0kCcII7B9b+ibjZAe16fiisnsorZGOhXkWj8sKdToGIl9NwEJ4Nyil41ugntzAInQU1buQZT438K0aKArsp/I4WAww7UmSQnwYjtH35kw51KvWQ2WR0m333OqOBr4PB36dMoa3RYc981P6M7qTR0/jw5YxQOVIio6KA59uQj6s96Nmgzs8WZwB5mv91UHK3hO/g0oVsjISQ31fbjKw1DPfLNBnZpK+SWcMF4kAjz7s2aVk9sHIqLLttkoONiPsy8oTyasz7Q4gByS7h0IAwEV0zJS0FWus5eg5hZpeluvPQR+M3M/aJcUv5puQDFmj4fSY/yAzyAj6dopbA6Q//SB8/MQIgmPk5R0e98mlArCbyws9sVyHyaExiXRdDZyFCh3X5dsIQe2jtqKyA7ivKWdRg7W1/Yy/SLFggGlpGkgts4o67abi40t0FFw4dUx+jfCdzxaFiv8M3vOxH38OEGkQ+KZed8IsCPnzeHIv7zTnmeAQrevBRprKm3RueqneiffkmnDNCKdYEFgB5BxUZfSpz/cEu52cO0alV3kzc+dL+3/3jpvXg/y0paR0EcwJWM+w9fdXOEIf6Uhh6adCBxQr4Ooaj2zSX3UphqeZqzcSPZdbamFTpA9JOrnWd6S+9qRmpPP62Q2Ez7DRrkQCvj85oYPT4fbs5Tr1PfhojGq9RJbfSVJ+beVRUwwkk79q3kBzE5U3j5t2KaH3R4HFRTf6q9OyY17LbAhDwrGbH/6ISGEKA3rR0maKZzi7etjo4qAHN4QmtmL76mfajJV/CeztOuw9yUe8q0UykfczQ42MstCc1M3eK9C8efaTqtIqZJ7/93V4cvtCBxh9y274m6a+uEav1Yl59oy0SD3cmRZO93QrZwBik3mtEVqp+vqK442YenSSmdBGyNgWPqHM+KXZbA5CUyaQYRTb3/91S1gt+j6b8nxWGvVf3kRlmqbLc1fXZilI4vALstJoID46DPBqHk9WV5lEZqD/4BzDzUiuBPp0NZ4VuMBJu+Tmlu43xupQCyCePg59g5PPEBcH2BDQA2lvRnS1Q4EkenNSXDdiL/GrF5PwJPPck4/kZ1pn0PdTOuzKKNrqcTkTNF+Ffj2EE9vcX484DHwZxlmQCmcf6dC8zqPnobuPgc4j3FzK/at1aQOynI50q7U9jHIPFxuTMK23wWT1tpm/X4IeW3SVRevSvMVtUYCU3ceIlV/eKKEjMv/8Sw9U/8EQ0gsFJ2hL7pU6a8eQhJ+kvTAofnWdia/eCN6bQeJcwJwBFQ1qJ5BX+cMPvV+8mXZxT1G9InrymwmJSQV0hPGsFKKqftJKFRjMggFwtpcwQZdj0A8ICg6xVN9rcp2cBu1fYe6m+uydzzCMcxhCbs7+3ziLu5gVpAqE1AKQawfhZSS1binI8UsGzXiBFhQSKO/xeeOPLgEqUBc+hBopNNGJWXXIYMYDnp/Gwf3m0T2V2lQljKMVqlQeqE7H5p3dPpzq+ZxSUuz63XKeEAoN9oAOWRsW5aCkzoyelHrXL2pEqZRp+yg8qVQff5wyn51EQjv5eKRry5N8+DYrKxAOwKVjk05baiLCeDGGrp6bnACAgmixj45i9B9t7Xz1TvcCET0IfUXJBNVoHulq7pJucPhvnKimzXsOq918s558yTJuyP2++XYRj5jNfr/kPeZcprOsdljVnGa4ot/cSYDlXccLVXp4thFDNGAt1xa97n5bxuWO7AEXgYfECwltP8R+0aBWE5E7ELgGBftWccXZX4JzfFho/xZ50g0YpzwGu42tPbA+d7INR7dAxlzucTI9xUx3WY25wy/FC3NNUTgRC3/kQ7m7iVemwaT0RIx1LMc5DWsug0jRFTTsqEB877ed0lgpk9YoBwpaNK4TrXus9SQ68OdLAwBddlKzngOWHuRsmlg5EdMqnHoEi5V/t4DU8FKoUdk1wq9LxvMvi9IC4YNG84rhAfjQHsm6JI+LQ+/BOd7z7ROw+ixAMXc4e7ZcU/0ylHi2oflzRqxm00Nk2FsPlc1vZeKj4B02enAp2E7m9dGFDiL5Lkp5SDw2/Hy42L+OP3JlmmWg/UiyUPgzNGQMi1ZtQ4bETweBUr+Kg/IQFRW+oHgYLASYry9RMm/Vjew5/imS1a3t/XbMlKcME63C9nJKWcvT9yIPNKV5j4Y9x+v1kUrOh0vNYBgDMPCMe5TEAhXdT/c5uF0F7I6SzSGMU9zqDM65egT5lHh5aGfTyNHE7h8u54RDGT6h6N1Kj4Gs477tDygHV+EHDESnraGhzZBAqCysJTvNTyHsvY/A99vlORreI0ENc4mudZGUfhIx8qXgfN+ZOPae+PnMG30rLoL9ivZnUCP5ccgpjT6gkA0N8frOVAbcFzlRlI0vbPrhWT6jk61tLUZ5gmkg+kmHnyB6S5KJjcXTIvM4qZ0EJZRHTF5Wcf0wtxu4i7oVPh+TV799EZJNgRr1YTzfA9RKPElRR6SfOb/ra3KrxmT+lFIFqSGHfzf9uYpGPaZMRpaZl5+xelJNJiKn5LsPdIeSOttrRYNRtSdSWiFsEvSCHk9PvN89RzUf+J3sID4b6DKuelhzeKvGo6ZhDvLXMpRfCw1FyyZoUXumdyxSts36HOAFyB/s58RIZ8r/MAfMk8Uhx3FFcOs3D+s/E4t95I3oIsN8ebFqv8eOTCFpuXIGmPdIBFpTw0WNZfFIHS9PwjA9vC48NZDmQ984v79tVcMPtXtQWgYYf2Ui8Wsr8pRF+y4XzhchEohvBnYIwA4AAdvoYaZnnEdPgB4zx/6axIAp93vhHthzWNNPA1Xr4EV3TNLeP46lHclKFOQeY9dRhLX0hWkMY2iaEVRiHUFPHkO5TprJqZBicBG7FoneNvJf3Zw+vA2RDQUlD2IUfF2a5aLtdxD0aORXgxpPBWiazQoJ8CmBza2SKgmAQoWEHDPJ3ZBDNveZeYdJZtONJTGAaVdQFB2ccxqnVGMA4ihIq68F9+sNJtdAbPMr3CETmqIbYRsJmUv4JByld4yKf0WPeUNuFg1oUSK+hr/mCUzOUx44SGd2fgA9Tq9xDW/b/TIVyFNol2vjc3hVZ8z35bYCn/r8dJBZi6tCcojQdB1KgDkaf/WLk3C0FpV1scQ/sVHUrBphd9vNI9tjGXGhQpQRWgUB0wVKoKBUxeSnYIcTKnpl/3QJzOq/Mruv5b6HIGB5CvPlzyh9+kRenno5ITYHGreFuTXH91+Ztn9gpSeaXQJaMZyVi1x5d+9FXJtJ+EwIVFlR9hsiO51Dbz8IkSUNc9jHi9gz7ggn9G/l+0OP0SRXoKwfvpiVfJkPa/0/u25qps2Bu/0dXXmdBxPgdMY+Nc0u7kK3fPktxXFU4+TfiR6JWy8GMRFo5Ifq2K2lTjI1xjiCodfOP9tuuAaTpwsB9tvFZ9JUTePwxwVj4ZNDqYbwEC2gmJFf91vDrUfMBgQv4ecHMiLKNMgjiRJayJx8rtN5VOdAf1n5L/sGMWQJX3Whwl9WNAgtrdgXizAkuBea20LCxuUuLYTd1QxEqeHYm2/xvk4xZ73n05bYih7Dl2vT+MImDhfDgZYxUTQyFw3N8VsZhz9qz/U83GSMRxg2ze970PYeVtBvgfaNfbgpMMrwFOmjyqtYxzaRrPZlLk84iA0WtfegjF5HnQYrTsP9xxl6ILTohYQkohhcW3xlI82XU8CNFetJRe/GvUEP/IqWdW/53juXEc0cO0Z4jHkvxfZHngwGJ3TjX9aP//LBWiJp7x7xvQpZgpqkjiu9dJ4B2U5H7HOR0JJc20zH+ByM16UrZ9k3Ix5q/9SYJAHv+bzfjd4Rd75xmEazLJ+hx96HcjmXUh8s7NBELfPyjWuLtsufKCIfHmiN9a2a1vKmCZXFuHe5unKf6oYSmCgTcVljod5espsHcctR2XF30Dv/YLIXPSxpeberNitEjMVHVRhdPOGQuOJYy0fp1BDvbhvrr/rTTDAvi6COyQ9v9KGmHJAdSOFsCl1LqWt/x+xGBvXlzdXoChjur9XWtBy36FqmCMK2zMNObd8gFsTWWj2AG+hTBJ0fS5VAZlcLYHKFLdnAc7U+0LkOM0PXfkRJBJmDQXXQjjDYlTaNqUuqStcMngWjniEZE34Ex8MHGgvrl/IhGIGq6zWaCUQft8TxJAi4/W1/BLYlfHn0I2qfRNJha3TYytJZZdZ45sBo02Zga3zhKvVeP/VIrgmXrmPKxOrrW6HPu0entpmRcGO5Rwg7Po6xJamHVw/kVZ4/oiNQwJPtmpaJa4qsHHsysdJZR7FxB0axbqzBZbXbhgIYDz7eo0QVpXByD51vLRYkfUM7EysrNS4fIwJ045UYYj+gOZZFuT+w4fyEWOwGr9p6Kkc+IFBwUTuys+UUq5htYlufUYdHqhKeLxicqkurz7ws0XaxBuuIPd4573zTIOkOoDgMxlPc/4Op6+DesTWForIMZWYJRzesiMqy08epDQ6uZsFODxynnni8o/roon040u4ZTyJmFtyM3tiUtUsEG3at/wqYkTvtXMY/Ssl6HVbvoB1DMkOnZrWXLET+7CQhgmO9aNXQNRAAqYyPSWTQhV5xMueXDSH4BdswkF10Ii/50SvZE7Xsyi01YW6AvGOCh8f71SgFlvFHCV9h7huPUAUFW4zsx5tFuK/oj4XRzpi+iaoJh0rL6I71rA2VzFfJ+jIaga67BAqWOx93YyUi/6ybeQime52HRuoNU6/3H/8LYx+nOg8L+vUd+LRibUAMiN8q32tsDzAaj/06yO7CFTNnGDytAH6iEqR5GtBkT40ydyiqlod0fmrIQFUUckQY5NccjohiDrTZuo1Eh6JAPrdcEdcYiV/+RJR+DcIJ+la3mfqwJpTjQ5XO9x+H11+ym474bvxS0s327NbWVau/NJf5+2cgAOvyG/ysbMZ6C4Fs/a3ERF2YBypmCJfqK7N4hr5YgO9/H9OhIMcIybL/07tqHVbTcUuRqpYkcWzPjLQg3KdnBlwtUQeQqrnxVA90M0DqC9shM1gkg9+wzAek8e1mBD1hMK82OQOj/EUnaQV5paedYwMjUm6n7+65dZGlxTSLewdPpbrZab6TCzQmaj1rqIdURcsJYBsltWvgUuS+1JvAi93t4fUYLDM8qdDP5VXBvyye7nhZLkgNPENPCM2XejdSIAvJ/aPBA5N90tGvdQ4oWcNb9u8Hlz6X0uNyBXe8zJ4gY4mywimV4CtAlQFHNtWmiU3HYf0tVp+Mf3VZUQICb/eEZsCR4jd4esMae9Z6WBQTfVgYYmEYdOpGTWpXyJri7u2VS4ldr2qtdAYqRPf+NjuqDrmO+WiRacbEEQkGnoj43zGyk5P23FNAyPEiV8kEIxoALuXNT3Ybf/6yLiE6etbQvtXEP06HzJo5yifCaTym30E0apOcPKbc35mIiEg2rkeMjG6NK8KmGCI+jxjBXcq7NmFwDgJvMWXxDPFH02vKfXnVZ7AAgYCGyvtYWlfNwCY3Zn0znDxZttjDA2Afxn+2uRdu85ZE7kk1cl3cmb3pbU0sA7OUaUDCa72xppR+mTaz5U56eFhyLSHoMEzYr1pDG7FD5WDub9kzJ9/fawoh7+dJv+YK1IkoLRNg01um2QwMMamo094GkeCL9ShDV0czotxCkqE/QtvMjWNZO4blzB27Zvm7jKvlR3YdfkfkoGaN8gurARPcLuVugdAW7ckeZ5HIJ4U6BQPPLuuVvOx+Gsbp9OdvxOVIan3FH78ozifc6R17aHjWAxoFYWw7XTkGtNp9UGeBhjpaVlgds6GWUGGolIMlZOLE/4Mw0CN4n3BhrDaFpf8egHIB5r6XRfheoG9im/ODbqOryJRLpJHrj4yZSDNFYrVIerHQ+Heduo4hEZ0TWmsi79Af+pq6yVolhcXIg6oS7h0WYbE/xTcBzs2Yb0CERqwy+JKkNpokpsFJzzcQMuIfA7fJdlPDxY8v8lPIKqIzlLGBuzrhSrUpi4jmDfWUW+8I2D5g+n1SB8fO8BIOGJ5qbyvChpoUwAufeeVAYok8g2E4ZDzO92aLCxWlDtqFgp91HMGx25ph1IIeRuCqOuQY6V25wK/51cxqVlkGhl0anX5ZwZUOTOoyWHpQI8loSzG8GwLjyFlRsPGRmY1HOMBWACICAowN44woeyOOL0W1orl4CLgjL7900QXb/F1Xpa0zoDAzlpDKcKy6oexBDrprP/CgV6DgfcdI+Uwg0/F0OQHY29rAB63ixPPgsr//PyNTJy9+EQPeteqxRULHJEqQ5dME/gfWowjBOQ6SeX5WDgy1m+ee3g8kvdnd7GYyYgSUIAffEdz6a3eL4vcwaC5sRT5xQVY02hlIPfyimg7Cot/NhobTce4cDf7scTKOB2gQRwpT9dAu/+VpJQk9CdtmbleuMfVgzqRjgIvVfgB8zR1DSeiznQNbE13rxgNMC+bEuHzWqMPn7n+Au7F0GVGjwlkgmvqMF2TDFSeafdnrjttm2T9uZg1PgFj3WJGYOmy1NEKu9b9Z61a1/uhmAILX0srGxvRzYeCs1rc45WLNGXqHPTYYaUNS7hDUiAU0VkvMKPGILWXFoBm4YTpBptIIRn+1WSdkrB3l5KmRqjRko/I9cvcWpieb1ZTssZKikrqxnCjVfdMI3Q9Idz0bQDi+ZEgmw1Euug0CgdmoQaWE0rRGwBji2S9ERt93ckv0x7AWga7KXS0P4H73J9OQgXmXMgNnHKXg0kXq35m265FbBUYDgi5O338IJs65xf0JuGuiZi3SL9PR3zYoEZP787mrN+4zc/0sAHEykAyNSz63q3wIR31LjnS+Fgq0QchDR01buTuBsOmHbpMCmsznnXi5FXi1mdBALnoqUkjCgoZH8qLYvV5hsF3s6CTSKaXMH4DH6tpL3rK+kdrItf+6ALWxs27WInaX3FKvwF1vkrvahBvVIEo62Cndb66CrXAWNmAbo8lrIugib0pdJNdFR2G50JuLkJWgznpnFrGJLazvlsGvMsnHoag0qcVDKzu6SOG2itP+FPQgoFsNHIKeeIzJAXKlTXRKr9eZemE3XELry42b+apmYvUj1k41H/une04fH+0w4KzV4aqI/L1zhpz/c32AqZt1Mlby8JEWJ8pO/iUoIcbQ1Zk4OW1ZnjDRvo7Rr7Vv97NHYdc/N7I5D1v1Rp4KZRAE4hqfORSs6jSK+OpcI+NAa6Q0Q2zvLGGM1NwtuhD+HYgaFDU+9txmKWL9yALuMhqTicwe5mOwkHx/RlJXT/n8rJ6Mea5ErP6Ohs2RQFxXmo6CJ8AVUndJv7lNVC2rWgwU8tAMtxLaYN8+5rkvWUciYrVyZHO5eH5SOb2C7ccTGyMhcGubzwnC9yEr51WtjQHTI44gNoT2J9DOJHuNiDeBKCJo3rvZOcRaY0Mlx9Gh0wSq0S94bOPdfvIIB3PPbaQ+JhzRyOQG3w0q1VhRJovZKsz57iXSDjn3IGPS3NI+oZYpoKMoluGH/BWnuN/hx3XBkilkpMtJGGMk7Qls5VOhhmwmuuW+cT69HLAEgoKqePtZ7AOE7xvCRF63jGTx3c8thwM2MKMxcRCmUxbbEtiibn9IzHeMui8eqfzgRErjF8WNizDUwVtCs1EXtSAGIMtkqHSD6RRtzsaLqX8/sjotS/Lq9BSzs9DBqKB7vJAg6uDXz/APgZx7eoR93US76adjfG7lQETbHEO+vVEdo0aT283QcEnM5UnitGJS9OvoILeHSUFNjmbQ8/Yg/v7frebrrKF0HrWAsu5clFYvl9UevU66ABeUXIqJ/41+32BMu/sgNag0IsTN1xD0TvXdHg68nvDXw7nT6+HURoiQtPEbDpWrRYw2qPnv/P1WuXiGYJnHcjOF30en5SUzJ2tGCmS9uJWfz6s8zY+4rBGuLICepVgBkTucjp7oLO3BUoFujBAziauEyuOD5BrLFhPQiP1tRTo2hgC8fPT61Xz80WzRzZat2ZL0LnW7ITpmaRftkAyfxjHBOXRY8T/Dx8PfXThDU0nBN5QuMxSHH3L2sD/v2yUHQmdxBGfPr5S4AnshpupgwbI7uU4Ta2gcHKRRhrkUlOzHAekv/cdduhLI2j1M8wU2YYd+iMcfbSWVeO2jy3fnR+tH4LDlKs41ofs9SrftOY5yMBNQQp7rvg2EiIKegg4Kn/zqpCasyAcPYSTP7Xo27wQ/aNbL8RB7DkrBUHXKHsa0yvWkNoDvI913GWGeFxTc9OGVC6rMgabPJ6fR1PWD4/kMHE82N6LzRPFxrdnLWoywb/+EdHzYi2GOfivO2u3+sqxt/6prTPbepGORkFZb0yK5OqQ8NrZ90CMEMpMmvhZcmHNkxuUCtsxaB3OfM34i25toIRF98LwYLJnXPhEAp5FmiWOjvXzr+Cgj7yt/VV6W4JXetzPtqJtyF6odq1lNifE5G+6Woqzbo1sKvsPWkbGuSux6GxiwwOeqU61PduKp36U+3tjWKjkeKIbhsf0wKJIePzLO2GfHiQngeaFm1whLySX/7VBEnaafuVpAFNvT25l+P+/GosYT7Tqqfv4WfY2dJMNMIgu9oT4AMWIjG4TEW8GPv09lramQ2HWAJRebFyNUZnu/LH2aXl2dqrFc93owEjcZvPLgl5f1CJL7Ke4Y0UrULO3DLpHhnOYGrzLgwJpTiijqf2PpPvRTb9vSZtx87QUbQ6NPqCBYOmWxk3eD53put4Ez0UBiDEtMhehzEDIxSODasDyhDlbbPbByhoFnx4t6z5ltWlQ+D3SaDUfHwz6nnEe16LQy07ljk+H+VngGvsVh3MDsyNWJDZVEhDsjg2UG18UgTEnaUTibSv5jdrqlfBC0pik7TwTxd9fICiN6qzCVoQA0p7haeFau2KkUiJ/OsOKKZba8aTmMsV+ibh+rstIAifsBBKtfbzR28DowJqE6x4SBRGdSlO/RfoJDwvkVSxt0mcoRzg2g28zNzTNLTSMuIBhQftMkA8mAGhKP2kDLoqvntmG4Rwzohvzb3vo55JrD2AUm3kDCVuCE49Zqll/LZNkoGkorg86iIrJ8A58w9d19xe5tM3tIy/teaxgdYEjdlCkGPdqflhDEpUOOIgtrSpvTlAt5LUgn5z6Gj/qTf7DirkzrR3JMXaJEoiOxPVglzPz30FSZ4rdEvhquJ+mQoJOJUNZcfQAm6+j+8Oyi5Y6SxtCDacn3sgHty8HiHWslXtxMRFL4aCIo2A+q31Pm0cB49grEHWfMtd3w5CY0kAr3EWiDRGvBTfnOJi1ZQs7Eh2S7HU+xrMibcRLOCYZayBa8whRijKw/B2e7vc6jPV4cVqMG2yDY74ZHcInLO0rh7UbwFNTy8c+Vp2rYuwR8zDZ1Sx0TeGmQKX7s1Gb/NEJHtvY13GWOhqubzc2DmHW3VCt4XjG1FcHWtLqklyPg1TL5EF4qZ8jKfhlQMt4zB8dDq8VPWjSJOKrEUahxVA65UQ21VulRMuAqZFMCp1djCvMojuMJWqTPhkT3zf2jSju7NBG8sjaqhLWI8+wN1ehsE4aLqtpkItNc5lTxLs5mq5B4//kvjteufvq2t0/kUKzgU5dBiHw+JcWfFWv5nblchZTiwBBbTsGNRvv2VjNkJJsTeFzlBhUGrgQ4crTN1HMMNZ6Nwne3LxDslapmayUfKcEs7tOaMklAlJwn0rRWCEuZkwkjUmiKBc/3i+1KfroMNRIZtAau5xGhWRxizqPEByNb/fBcy+B06qhPx3y52EXVgdFmwIRQarjCh0LLa+BD/ZQEec6u45eWkIVh9fLwpq3vHBTAQkaigs53XQEmIK2/nhvYULI0UAFJwIlu8m4qXHUVJBJ1Ls+uqQ865pJtptzZofGr0TulB+nXfQ7nfmd7rZOWliDqrRgLwnZhan0QPazoFM2XLo1BXwDTM4l58Y8t1ejCL9V+jGTLC/vK4QyTQH07nFaVbaFb636FPvonx6W7XoM5mNl7ijcq7KBylc9vZ2QBzdhRF5eCZa52YHy1kIwo/pH0LRkqgHgXng+B+IkgYxmbUdQmRnn/hB2LiMroibxjZ+KRWV9jme10L19ok62m+p6T06YgVrd+DIf7QW+hQvZ+5Puev5wSWFG/833meE5WVjLaxlsFDyVCiBISvNaK+fyGC2KFsiRo5YZCSxt7sgkfCusouj+YMtbfokwxkAOhsO9Btebl/jCVZ11ha4dYgJamO19JO3CJXfw+ws/9Q1JD9KqafgkX0ft5Ao+xpxiHerrQByEtYKzh8IDyMfzxdNoHunnGEDpur8Cr5E0BHyIxTMnHYEPLJeHbRfiOKEear44DmicmsQB8Kx4RGIXrK2w+ip7RAqcfzfCb0TmnDBLoN1dvZVetqs3nOh8KeAtV0TigjgcNx/oN70hweQMn5HpGsZz6gu5YkWpJ0VkTPx6l6w4Fkr6Jzlv2Orc4qhmFY/h+zZvmEYzSmDe6VB7SFI88aFO2IwJrPnTETNrXgo/4dg3/EuFSf3w70K2QzaLxDT6whT4Ue+hLpKPg5hSq6szH1FSAqztWAh6hZEf4G2UfEoP3Su5w9MKXW+PrWbIRY3eZiYTXU8vXOWLl1HH7VmrwC3d1ddnmWUaYygoHGWUYG98oGsf24LJM3Q/Li/wdTusT2Vs/VVnk8oALcRGVi64VzxU4HrsGDL7PyjSRnagP8+gDThRUZ5+B77VMR2BJQfHjes6fl6d0ai+QHNQSpZBVYGLPU/085leYoHOqrL+zW65aMB5ZAx4aw1OluZWVV6OwLpMV/ek3e9nvoy9zd0WfpUGtldzh/tdaRqpG9C8d7WFPnMzO4aUFrvOy0oACTuchIXKXrJu6z9SrWTzrZRmowxutDYFk8vvkBUrI57PRQknKCp3EZ8OhAhaapviPgOV4TBn8fKY8El6H/DgWa0jXLx1WE1MVstEwldUtSNiQXUFJ7pMzLjV1UTfnOrdlJWouJtOK6QD+0+JbJcLyJd/NZ+mCMIN8RixXcse6ugzmm9xshdaSlGXNIuQlz3tbuK+LGbzjHaACu9+08samQtN7K5Lw4CZP4I7RYr/4EdI/g9pAT5wmc+1dfbHnRa8WZCW3ITzD8D9WSX5AyrrYKwZ6M9ug24P9nyiUEelSxEYGLvW6I6W6e9z66Uy3qzNkOrS8hDzE2Kt44Jq+J/AvcBS4WYKVfGUcUNaOtZTA7BPOIQ38CG3AU+KL/AehKTDOdhubh3k/11AZrKhGokkNnTcZ1xhM/g1CRo04d15YLTY1aN/JS1BxSfKxojzs4llCi9DufGVU6b/7ooUsTgpV+ECY5EjDhaH/+NwhWi3RP7mPbCKxoP+VobftPbbcf042LGNwXspNmVHdwGCYiyd9KcyopY9H8etvVBdUVT6cUjJLarojPBo47jxJl3XXYOlcsdlzdXwPRC8QyMVZdghxGShD9pi1TkzOd0K856qgIPTEU/TQgSYmqgH/ImOXs4WCECaaRem/qALoK2nmh/Eo6+62yKxAOZZ/Qu4a6uTDHeMoU2y7p2Lg3QaJ/ptXCzZJSNkyBhUGwhaX5Nj7xsKTkqXOqRDC35lrrikZOLYKoQgp7A5DxrYB6QBtp7Iv6552J3IN/uu82HSP0XVZ6UUEUmKo9WlDDjkgryEzx9IoltTzJPRqE1jmCWs/lkZOhaUBf7/APBI4L9XYRYmg/FW8bPAPgOcvl2+Aj5BIpY1udFKyQnOZzv7X3M15G7PgQx5s9T5V/fHsYE29g+RhXnzkHRstWXWNwCR+dBQHdL7jcWLYVZ0IExYKB9WxrNSpsYBJXjCTmC+f4RLebVzRXoiwHXVBr4AoHKYpRdriM5JGryHg0PYotCjZjMCp14K3a2qrYZpQ9X+OuVweuUmvOw3bHe74PJArFzp22udoLappHIxvWEgG5/6vnLdiUYyydZR88m/QdPyJpoVtvMHR5V0h0hghJ3IRa6WFalvEbDW9bVNi3ydMmbTtC083IscxgiNRvhoM0zpJj3LSMNDmd0CozyDfU4l6OXFD+34jc3cPz6Na4CsrcAXFjBHmqrykQJ9ubLp0co7t9D9JAfXlWqyDIZQWiiFTA7+V/TW0xAbriu+6VmQQCDHAKxz/PTsKqE1/71XAeHW5n/4EzpfDWvz5D3TcSGSUYPbkfG4TuKYMvjJkVZS0tgzjhoSc2+ROJtK1WIgJyPhpZ2UoNssFozU7Oli4mHYgaaDGJhQpoyE8FT15Wau8mh3Qra64zPt9KuAKyKoea6jwWDQbOmNUold19o8jEscHNEREzBzl1avFFkLYVcNPue1OnczeWeuf9FS/aoRr4RVuNa9tMEFi9yIzjirCbL2p6504vrufaieUyjqCMIlGPzTuPt3qJ2yWMi5798BU77rjzI0nc6AdFH24RCWfEmtdJNnlq5PpHU+l2vO6JX7R6LUYgkwgayRZsjAv7rUTKyvtj29jLuPmPFtPcvyPqp3seSxo3JhjWxof/Sww3raCCPQgYhNwoFITLtsGP5yOJqRcojwrctU4WBsmSO3pr00ljN5R96iGTXMz1GXk7bcuW9eZILci2z6WwtsTaWEt0+oFYd5Xq9G9ap3egEnHnoGdW6Bz2LmzgtMrtlwjrBVVuJwRoiIyrPG65cRspA3Q3lodMcREWXc8woF2tb8p4/g5lD9ZcqW+OjYwJ7pFOlpH5VmtKqVsLDkauHzwR9X7+7DpA/k1HHTUg+Tv5EBsGT3/J/3ilOLo6ouRUS9B1dTlHirREMZZEN9+ruqXGu81oDwhVRuUJdFT9GCVmMZ39Roh6djQdHn+AVjlm37qEuTj5Y5J5ykozKCETBFG2Xn1uh9rtDgu/EdqP4bofjIdWQ0HyYH0YvQiu4hTwoix8gCFr/uVYh2oBFsr7Jp7CYPZE/cEvPqAsK4hJWWUUE0J49ZjXVDDCwKc9ubRRpC/pG0BvMKvasYYZAoG02prPdpZsEzn0icDbMdMOIWl4vBKWHbbZj1ebinRKqeyO81tcdkdyTg8CiIa0jA+Wc91smVlKX5MmPUgDbnLoztlR+l+MwDiiFeaX9dL7/pQfNIVKsMeCbDnxhchJMyRwctwRTa/U10OZTNNwWv9Ubnj385plxktnWZ7E9i+uI7GtPznyyBEl+hfZPNk7RXZ2omrzw5kz5SW0ulOGEwoObuaQ0Hk5KOUZXTcfsYiALFW5rd6HEMSGD3KcOqwvyXLoAujgYM062Ca2mmFGnKI0mcmXiGeY9XWNYhEYVMPa15RvQBSml7hg0VlvvkUkQ74aRdWiNsXB0SdzZIGcqqbEXvdpO2Psfn4Yf59EQ3qmlqYR6XfE3hoAB8HZ1NeccHYdY5OtSi3xCZBYPgkESPONzZF0LIuOh/II28TK3j0EtPwTMzW7IADz2aKDWK5Leco0MqI7E+DQeY3CC/RJAeJ7gMtYyFeohfKe8HK3VBS0JB541Dm8KURkXYrPN8gbfAVvDii8eTjDmzlAiOXSLO0VqRD6sH4XZ/9AoCS0NFzoHzT2lt+ZrYJLu/ZYSRXUuvYdPHMMXb7nI73Cg7B53PDPZqGHqqRouwxnv5kNYXy7Sgi2yYFCRSM+mrStiE9djhPSWcFC5jnVBAR1pVqM7GA2LcESRVDgfZWnL8AktF9104ezUx622aiFH3u1iDtx+Z2EmAOdij/9+FVzywVnEsEuTb62kM0vqJHJ40jfI3WjwwDKvAHQaTn94VEQgIKFc/RIV1Z06b9l7ttrcV4RFJ1/TJtJwfVkMwVmhx30I7xCyFYU+RI7LIEAnEhJxgzMgxcXNQrOAo7Rfoxp0TRv+EV46qsVYAfMzZuujtxqKPqmT5rYMnmLc2nNSgGNjWxOGyas0nrHcCQ8wg/3Gn/sNQbQkV74oW7+IKO8DE+hrWLlR7LH6WSx09UhzctcAhMVmTDbvXKpENUbvxdYBB0DH/4nhL7VgcaeYylQ5Ww2U5GgaRbWqAkwdFDRNBXEYYPO2yHm2EVykI31cAkA9/cErwGWgFTqwZowpjc/9bb8m8mKLJDqBRUFNmut/OFPAaG9DCKXx4JJiLFwKptj4igh6RmhOJPyKBrc+NUeFRtyyG8u9n+S2OoyaxSHSRV3MgFkiQ3wiQjCOfCi1fUiCK7UDXGej9AiPmqDv30BJyZNNKVnoLaaTfziTqBmB4sCz75/gus49tlA4yQzx6nvVIBgEvFYxWglm9FMa+ubo+aU2Iv2WcQxWGH0MmNInd7oNw4Bd5ukuJNcPDxIMAxYwAY5zwq9UBl3+nDH4rkkgcN2m/Ad13CuApeKOaN/urdZHWbOQDVwO03zRdB669DfJKlWKvTSidewUsc5JLvQaQOBWkJHSR2L58BGDpw7jWjUtt6qME8H86b94Ff2UQ2hbvcLI8W8s5NV4MExJ5TMTLXt2qNxrN0pzpyOyYkpFQ2Ub3uRkwhcMqkijjy6tyVT1AovV+fOXrC0+4Au2u2UtA14cGQ9KaKAhx64GvqRBOYDr/j1FWHKVQ7rX+wKfoyqzul4gi9Jpn4ZAd7Zfx2SYHH6dlSiRhP8edgXXPxy7O96aFdj9OigiUbJ2AyQLHKGGhrRH5zUOmPSIfPi4il+t2DecCGzdrs93KDLxb368sdovbWg67qORvoKG/4C2EJV0ubD1W68Qwu68n1IkkydD87Xak7FH3vW3HJDHVLkE/UZywh/B8SY8LWI6+3MLyeXEzeJ1FhsUauf3oJDEW9VJkW5LzorU4a2kNcOyRszH9WaKELaLKthZD2iFHSDA3xd6UEkWtcwe+8O3CAUIcMo5Y99LWWpB/UbyQy9qFOT/96ZzqBi1YmmlIuku+kW4WSi7Lzbu6x4kTmlgsHLXG3OqMMu31O7NCLcxLPOzHUVjw6B2Zpkq7fmcCSbp1+qMy78lWoBSoqfph0wDH3Uik5ko+2AXupeAf3Z0GeqyDaxPhnUs2s9TRnwxW5QFyvpIKEkMZydj5NNHiQ4r0+j1iybsT3YANsEr/vN+O5N2wf1b6v6KeoEX8SvGA9Y3o90YajqFKslgdwlMij8kQruxjeOJ9Ca2kQ7u9ImRQff/u0U5oG9/P/ABsB1ENXqsLWu3hr+pfLEi0ViwdgSWm6tXlLVcLZ/FtiTWIAH348DBP0dI4qfGyPMEK2BCy/0NDuLg4N1Gf+RxY4NL2CVUKrlQTklq4TXdfn9s4u2g4WuViwoPw09DpxQ2DXpa0V5d3leroC6B0NZtWu2rRqTE5dBe/XiXayaRDNlAlvOtOZSo+szYlhH+oXu9ejhiF4TTXIBX5PegwTvmpiAixGl/0cjggcVg+ZhY+yLDAwBsuCzhKMGS5XhhOIB3qXwKuSp+mt6bWkYA4ACK/ooYckjyMZDQRdUaBuoiaOynvRq+dRVd1vEuA2Wljvz8u0i89nQ8ijK+Y/24j1TCM2N6F2ZTsxYsZ0yDC6eFEa9FecmoKcoruOtD25OMWAId1Hg+UUkeNPgBsSNiMGgWpEzQvHDEsmuzOgngBVUyxQpVI+njqmk/23YG3P1dBqhr/7sL/3jrvoE0h+qlc3uKpDWASvQUhqfiWmDUOias6f7GzmQo3U6ApMxO+MmNEg+I8ndTsRtbZHQYvtLf92nh+d7yraZ5SAgVOa5TZDqwrTZxooUrSow0wU+BgrzQj7UyamR/Nyz1cZSe78jM87iMEJEvqzUbpW3HBoK3xbFINMfeNR1yS4f5jMtJ63iT5rwZTDXDg3272kppxxC0/GBUYP90BC9GdYQBV1FE8hoVku8qU8YTLF80d6TD2JY2snfWgjzlfyqnyrum7wAV+XcPzis43EGMdj811sbgpqUQwtognLJfRoHnD5FV9iqrCYgQ2x7Gn4WzoN9ypKiRkQA4RlrafU+ygbe9yJnfa6spjuIUQo4L0Wc6w791qRTe24lntwnuClvCUJrFh7o8drFXp31qblJBa79LwrvdJUU5B5f82un+njy8wsykBZmw1Wo7FLh79YOMqGnSpPcAchU68FwDuHdYrzsDBCDx67eNtzau8G61cy6hi0iZ1PmZ5x3396vS1ID1ANIfrYSPTl0gFVajVqXi3kjdrW2bsljf9Ll2DJTMUwfIbP2VPPglKi9RLbZynJyED0Gk6bxpAif73TojE11TunuP4WeC2ewmh04IBaudbLeikR2dkdkpF0fPFITRbo1eRNUoTRtMzSWtlvvfK5nrsqlpFcMRrjlE5YYE5amLPPmAB6q7zKLnzuLkKr/FZY1BajAKvkEMXQCHOaUtWLyWdZ0D8vekxY3bLIQxTMDTluTXIwkW+ZwNIIT+Q5Ow7FbIRORhCYTNHyQx4FkqqPN1KFr4hnjkm8f0QwKIAJJvLsN1oaBSZaqwXkFC56uWFRVxreNNgHnYMFpGQqq13Z47B++DxZIc/fV14oWOB+mmSxduLDONkuHg18wOicibEZJbaAI1Xz9R7qovJJsYC4zE+oEwowdIWhw3G4FVQoCyp9EPKSNRUgeUTNtZqEamrXy35c4xmRjWwc5Tub0LcmQknIz9/OP7OPxFD2S/hEAUnuHyo1bIZSKtoU6PRfN15R3JaY34/cUWNnfWTZm2pKzoSDsZwxuH3+0h3OCdQM9tV3VzvKLpa0yRuig1aIzUOs1NzY0sglvX5Tpzf5u/fKtutf8v0lX33n02a+fSThZWOC+S7T/7Jn1A+/bBxk4GSMIzyspdnFj3fFU5KZhlcU/MVP4IYpNeFh9ylJH7+FvHnduywJ2XirCzHOLc+U8lcwhH9pBYZobr2LLAQWXntKdwe5JUxIvdaIidKDRnFztAcB4dUiEjQ8X07Ju5Qk2PT40cXjuGbPMNONUMtVET1LJ+1uFXfTm3hxwNYWTvYSy+UM142M1NlGl3VrTkRZ8vhIHpV3nYT0Qca6U3iBLZ4+z5fDLiU3Opa/91cCRCeLghkH+40EhoMu9XaW/kZx9vhzuChKCvaEP/JgAf0IBKEjpwYIoSYFEbWBHPw1zuXv3aLdBPLBHqBxI8khNtC1eXAgrKrMnidMAgYYSg57/zK1IAKsfu2wwLFf44G1XPbKCZ19G9zJ8atR8hwAGX6vjp7cu9oOJIirxQZt0D8BuPWMSwRiYxVD/4i7vIpvicJ8JmZvSujzWyU4z07qHZ54TaIihO3Tinb9G5h32BHB6pApABFVN42vjWt90DZJ30rhv1l4mIQJz6mfrVi8iv1jU/gnArdmCobwTaCdIZU3kkNkjY5dhRhAcca4U4YlJcNnIO2CJynqtZnlOsGIWBJq3C3WW6IIZq+mtvWVGy7yWaPnjfAp8X2A9WNAC48OH3vxmcQc9t4D//u9vTFmZXfP3qKh56dYmB/skb8DZJ+rNWVk0LY43HqrMpfOE77IZSrP8gQytQg3+9w70TzOqAS+5XjD0r7aKfkTJuVT/RdGAjizJuDXIgEEPtxPbloEW7Pwhpf/ZNoMsRC3SQnO3VJqlb+lbLmYT7QhFIjIo/pP5H0usB27lV0sPUBoWDyT7eq7Snjr/7GcJP1Yp5aq7kBJj3v+dwJ8NkANld4uMzyQucHJm/cWgFJDPMi+RDHOu9Z6ePJIiyqtaP5wd1ZPtrn1brGhZlrnbtkYdkrRGa3yBlXEpV+Y5M8CHYZv5pHllxC+Is2PLLl2Xe9S6y4cB3Cak57jQlsNOBo0s6jS3Wrg9GSYnjOR8Zrbpg+chsA+4aQzfTjKJIo9hH8fq6p4N9+X0fbgwCbFuviN+wm9iGNcVec+BfZAN+QHTs6E6scdOw5LCL1D4adaFnhrsw7O7HWPqDrHQRQwcELVRFDzg0vm1SopNpREVneeEe1y7uAqpj6wN6eiWD3dWnmBBRqj00pH7L4WVc4il/nd6TiEtnnYO/AOtKNjz32/LpT7HYyA8uHcDIDycIfeVseqp1Q9P6zsySoxY1sfJksJQsadLjhY7JORUxpsWsXm68qhjzkh0Ku75Eycf6bJU22NC2weMp/P2WFXi9A0U3CH1nMnNT7nRIZpHZfr92CRELS+uFo5WkqdnCRQJSppyAB7dpGrWc/JAw4AG6HZFuFKRwXj49OnpTUYaBAYdX8EiDn3zP+8axmigwzqE0/07i+EWrlk6evDeBx5YAwMJ7N6Pc8kL1WOEjZ4ujc5WMKa44aAQL3TSc+TrpKKoEQLL1GjVMH+eeOdBnM9ALcrIqeh5r7IsO/qFgUIXT5CSpvR6uV+Pp2KwbCEDp5t5A/7gTUVMqFBRmlRJO5w6MZCF2KhRhbdODSE4YuMagcMjySf2i0Myj6NQvGTTh04iRqIxrbzd76/r+NDtVHgbEln0uZDVSp3fvpIakHQgDnTEeRyeJOLQy25ETgrv0zYdlEBppaTvU3ycutseKCr/ulewM7QhbUxsRlFmm8cXIJm3UdmhR0EiksQY5tzs+qUF9Td2zz73vmQOvp1d7UR3Gd8r6d8dUjb4ZVxZQHF1RPAA3NTxZpY1vhurVmJP+UaxT2nXrJUET7IBN6goY7eY4Y0FUQSbE2GnyahUGEnJVfh5R8HzUOffSiV5m+AQKW9b++XdkNsWfle5Uveq60iCPri6/w3cAVVtAKaSiYM9W/NvUfnuYMOSeIS5OrRtxEyqWsbvzyqduVkf7JEszSFKKeZq/6yvxwYIW18NA/FSTpZE5bu2fCooSvnX2z1UL6vHgYtKxonYzEKcamGxkZF26y2kyZ4DgbKaWi+ntCLNOPaFZXpD7EExS3A4mEVE/9Jm/hbF1dXZcpCoQZ5h80bmOf7BEgiCfSQTiPQEk06Q2OcaxsTJxd9NSEvHsyHXNiR1WpW40eNv4QIds0WLcNaB21T0m+K57ggmJZTG2/OWbIOakmr7I0WJR0f3u1yeS0ndJaRP7TKl89z5T5FHtze3HuFmgLI4051454k1GgzSCCQilf0tZo6no1jP0raDB1b6Knh881+nk1snZFextFR2sf7Sw2yp88x8USgYhqVpmYHy02MnipgRqsPeAS6BrlqmSBHs7jJXgF03ydTvdg7KLbNAKCwD6/JDv8i3jZQByTUIFxIBSAegMBCgQO38WJouA3kVJ/OTeOMBhCqBRkGFs3//XWuiYsb1XYe9hynsnaN+c7lVXm7NUu9kB5TR5fOTIfGnxYdO7P1KE8QpiDqPqFDFAFHtwtPmf+eeWv3l/kklfoIWRusStZK3dmRs/DIjSI03LsLF6SNcHKaUJPBUfaLDScHY5ORzei5X/P/vZMDHRLlEI+qhIqJvYdl1AEK/48Y5zZuPfPCbvHAHQ7p8+TArYxlvWtYpHqWL7n9lA1UNT4t8XEkaMWxvnlAroqCYDedtm9MkdxvLIEe+AtppiIF8U3LmyCWrGKljM4oBTka3Fx5KbEOINnPv20Vmh3ncmSUAU1PrHisdMuLLcOIbIGYmtXdaIl//n6R7VWWUqN5El8NFuGUaoH7+wYQYgQScijr4f6cCSb8STjNc70rUmXV1JnOLxTpC7tssnT+k4suRV3ss48JiKsQmF7djGalXRubatplhPzDzlccxFhDGNhYFkEHBkpHTdKGMOv6x5fCF1x7NwWHKy4JiFzYvbSpIFSEYyGEp90RKehXpTk6X+JQyct1cPcOm2GhnxjT6zyETiLLAE7rh3pGYtSnTNI6UMwvIbn1jD1JfxpNrBnnd9yGkdMxFn3B0rTeSRgP3JTBO1GaGQHhTzbZbXI3OhB6yzAWRsBGeSJcjcyTiaBQJTWkOkBOAArosf9URzFhI8ysS04g4pQHgMRgvS5cFu6exbzZF8fMo0mT1ULErV0CWYNe5l0dlUkSC9crajuClAh/AvfM6RopqbNDuVXOC9PNlcMurHDj/4s2LfIkn511DUSh4exIhi7EL6EvqMPe4QOlUDhJxmu+fZNG5DPx3G+7QFeLJ30EJjjdpNIgPrWNLgIBzaZmxIIKsToXlfkVH80fRHFN8g6PEAfbg9msbPB4nlrbSneDjjuSvu4dNgfPKriwhQmj8cXPpelId3zU7gaQKtnAX5GNyp50wQCX//q0V80231B7QDA+u+ecOFcMOQReSRlJ4DFpIdJpn4Hx+sapiyfivFFfpd4y9uhj/QH5/6g8KCM3Ao3WhqApeiwnafjXA+S9eeYiC1IxnoBTkY3NsycIk3RrmjigOqN3hGtMPFEBn0b2HU4WFV/EPcUt+vFzNLWwOaO1kqX1nhIBxSMyGrwV1wzUvSY1aA5opBwUr/ceQpjq4XbR3ZFXH0YelqSvz+fC5YrO72jSo/D6stxv07oxxYzV9SdYPnoW5GVaOZrUDF4xMcVfKWBgorrH4HphdgSQb8mCrHWhz/hn9C0yAHeoGJUqb5SECRgdqkQD6vY8JMcaS46uay9Aj1qrHzLaSYCMCnQnWJp1Of/0ivqj6bgPBkOVlWdk9KZ+Adlrk31iLUWp0silJzMGMrLkdeVp3Tp4HOwje+JitvlhumxhT0gErRsoeM7FV+W8ePsTI6YWYhdl83U+6CQ8rmCl8JR5YU8JkNnCicAG+Okhsj6IetTxa+ySR5VGDQSdpZ0Gryn0CUmpWtg+5Scgy4dLw1weFvb/JPl3CGTM6+iO/IhminSm6k1GwElmWaf8wYh1LBL/+1o/xYhfyX9qT5QmdwLyXsJMCRTsXnfv5NC89qQNcspNtc4+g0oFfxN7ZtESQLea+Yq02G5CqRF1uZoyIBralzTJ2phx+oIEZWPoXqHghdLNZeyS4fOWL7+4IkWJI2YKNM0jRx5I0lSWYXYvQERiFcYrwlUP+mHRhgG8ZAwMYDhbpz+660yndKU4Iz67zhEny0PamAI4hw66BTa7iajThaVt7OCkYj5uNADjFWY8ii1+l+MIJTO7CG+H3p3UetFDRzmqJ40H0P752b1tzDvKl6BvUV8zTrRmfqcZIiKLgnc8ULlB1bjeozcLe8IkrC7TFe/TnzEHM4odwrQNCTTbSOiQEYAPX+sYpi7p/HXlIo198zv2Yv+jg7Uy4IfZFpbhufqnjqzGkQavclCzaAr5sPHFD6tfJ3SB0O2sRm4u3I1g/jP25+MkuuJ1lcAHcb3OIbF7JJcig5YxH2naUXOWhfkB4Bydg5UQy6czTDxykWglhV5E3S4WWlxIE3vsVIP657+MEYKi/ybCOpAmgWQ984AV4kiHgOfC/VSTzS4NEz7ZrutC+tpn5O6HxhbNsNOnD7ktPN1ZcOZq1c1or1VFL66HM9zKEc8S9loR8SIPTxOj0O3tmreM9OeRzmQ4lma3jMqP3J3hmEdWzGPcU83mzbCtAJ9+cvsDv5m5YRnKkhR6lJdFiV8Ap3g/Dkae/AR0KThzquW48GSTY2Va0ap+MYHtc/v7iUH2s7Rw5F/jyfytK9QXibZpQshFRIK7ujOIWmdhpiZC8Xe59oDoZcL6C67XQ5nsfFfDVY+BU9TziAqOI6mEwEfIX6S0JZJABObcSlxTZ0+yddjw33UkwBdAJ/aKD9ApakgK3OnVZhPHw5GaErISN+zQhPEjUtBZVMAp8ZISMnX+nOEaHrF32owne2OZrgJ07aNvkxlm6NMI9ir+VYeSESgpGWHDAimK9Qbwn1pNOVQV/IVXKdbg0+dfDOQ4yWhopfFgjC1ZPwIAYVfbAySbfYrQ4I0WUIng2vF27mXnxEFe1wqiDEImnNUN1ai+a1oJg5nQcMv6y7zf2aL3DQM3rwjqS4NqfTJnWc1IRq2+mK79v/64X2/F4RqMwLvDEWK+MzTiBecY1pAjJ+WMKWMm6iymxu5o+KVHrbzcUTLjEVI4pINoxG8sHULOCnS/TjcDsFA1Mc6On23kesHpQUeLq16WsVCqgXyVhUd7raNNH3ICAnq3svz/WHAN/2Y5Glh0ljpsXv8xVfLX/wWcEjyHNrrQlgiToNE1hgn6BVFeSds4HCs2lZpq8wvqQLQQXbbAKuR2HCxbomBzW5LqZ7qeehJxPXkWqxwYwXGt4ncb96+tb8GdD+JiaVdq07sC7R1y6BytXVDKBIY3Tl6SUvLoIKBkrUM4RE/Jztlf1n3Osz0P9ifAl3qNWyZ5NLo6QSuqyeol2MpDEdXXb5sqcFev8UQyZqVKat4xiixA3yNc3yUXQWmtm1HfmjB1NO7LmA/vSkIAqYUTF7g+GMD4nsJ2F45KkZFmPmQasanwTls9GxiGuUp4dt6u/8LB3r25T6DtAZp64NFY0BSoOvq27NJWAekdOsQvmKgcndOHeuyPKee6njY7llDtNy2JKWXmpa/0SeoCXZK1R7U/oKPUTLZuVpkKdKy5GKLMm2tFAO0C0Vg1lOJKtZ2UbHuV+hh3oa9k59B+BsXNiMmREOxcirhyKQN+/y4RzZAU23YH0WUU+UJ9tO785XMmQj/dfY8F3YrYBZqhlHqsHwX3tqFtIlwIOCbvkgs1H+okdyHYTuivzXk89Ik+bCqFfLa7APF0p+DYRppNmkbTGmt5CeJk9PMQMOrUGDR9zX/JD3SGCBF4O0IKjEsVEAFWKOarJtpyE3u6I2UEFDfzJrke916yXHUJQpyeunbaKZKpfKhElNI+seEPrexpmBlxVPrvphBHSsmFIzg6/SB0v0I7B2tjXJZO0CQj/Xj+b7xwFRjllIOPGpeRN1nLOLKo1xeacjUVlwXqW+z3H1vtoUCjskeMnOXFrES1MXZvQcN3AiuDeCMJ4tUQuy2rEKrH13kqWG9WsJWSpl5L39CW+jC8X1MLUX1POCJoxeMgZJch4GfxVbLv/UpsK3EK5UBY5Z5f2p6GGr6aISe+KKNmjRhtfVGyb+sSjT86mbteyVKjr7ja7IxH6RKqfUQV2G+FNv0mbAe6P+Q4eTEFjW+St32QIz7IWuGeT/7iXQ2ts7fFBS+KNDfzElTylghSOXmJ5ujtcl6mPTc/ImhYiMdejF7wP2polWue4UF0p0hT2JCjMhMo2x8Q3GqK3ZBUqr+nSr7rdM1TLnwrXXIEZTj5eYoWCuDFf6Lrzx4QMe8MzkTvIYjgeYMln2YXfnWgeFAvw25tCbPnjWTmacAKXowRAZZBrijjPGeEH+STjUF6oFKR6MF/5TbT6DokNE6m3yFKAw4W4LzpR1fyDhPBuu4t/QaYI4gFCkK5ETPpaajtWT/ft3q1kAHbzqT1Bgk2bohQ6+4FLIngoDHLqOL+UBAzch6dVSX0+b4fXj51L+gsLWVj1y4+G3h0axwXXYkwYeR6JLVJ8NAnA9TxrzUI7QNL86tqdoj+pNLr8g/fcQwLmIDCHMR8MN5s5DtmddkDeybif9Z/SikeCZTiWr5ak0UeFLVyOMm4udOTUngUaO9ogClLIv2Jbu3sN84CCsuslDd8A8hE1A+gIM6JY04JBifaTlHEAo5UU39EYjvVL76iYALVBfyP7rIAeIKqvx+wErH4SdFZmOuezHL/cAfQhEEqA1Xfa/fobmN18XrCfnbUyKZPEFEO5mkCRsUtuhRH8YbTR2CaGznG+hjr1Y2CdCZNrtAVo2VhgnqbCly/lYLn2Z2uVCwi2vs7V7zJN9D68RZBn5U6NB3n8jWF9GDPQ6uhmpZ1oO3jdX3kEoY9IFIrEXb3vFAwEaL0NHBU/YvZ3VZ2MLKUAHB8EINJ7PLPMDRCmo9WxSmSUEavwV2qbxahomI5Woxul4Hl4TEvp5+fI8rpCzSempj864YFCxj3twlVe//VZrQsIb/Nj1v1QbSWEhYZtyzFaZCdPCAdKs/rZ8Hg4geS9BCY+Y0vWThEogu+pIE27O5tTxYNO6SpDbVVRTqTFKrtvz7+luErK7RoA4qRE6OOO48MzBXBllGac1cC3XKvNURaZsGHlafefV4yp8SwkMk/fX4f3eUF6ozT+yBwJu6oXgSaOmHbSa0a8HbdfL2Itq/p4AZSRL1qdsZ3C5h1xnC28peQ0FunLWos1fm6QquZP2AlFy1zKceTM8ayXtnn9X9qyeeUx85E+DKMl0J08hWvhMvn3gc/mmrw/R3TwfTiydwFN/dI+cbtIyVBgxixSpQUEvMon5euDjRqUPPgNyHa3BAqsca/Tw3LIzY2khpN8IX+rFTS8WObT1dbCdvcEXBIffuUm+T6q9Hvtz0JPFlCugacwu8yntsrTXNhkBLbKuYhHqdgzS9IcvV33imVnNUL4am9mq5LDMBW7XyASyuVRr0tXtc4CPO0OjQHVPbTBM9PESKewTZMj5mdZ1GvXcu8W21vCndQLPkckLdegmF5hyCNx2V6HVnZ04DewjSIdZr+P2s8wvTM1narknYQQGip+bQ2q3dUhuhkO6uN75aqSKg/hl/ObHXalXm6LCdr3oTYlUvAshYarp09s/3NWGKBII+wT2DVEiAzOMTbrpocobZNxbZrfq/l5zKXiwS3JvR+zYm3DrVAnWPWUvV8ZfWth+9VXuZq7elD0vVppCZsm6emJtanrju3l5OjmJO8HwY93VWHploPci1Hln9He4bZhTA/ujQoOrjJtTdNeQdrK/1pLBrIBeu1CXf0s+WsKUcapl7yU+SdiPXslibbuv0TwlxcuUXwmBV61HKkrBO4vh7w4pLEdDO73g05aVSQFtygj9Y25hFP19vOpHirztLN5fv3lkNhztz2iow0egnUXNFnrmLleJoh2UfocauhaEgj1fsBpQIYIWxabDM9D3i2k9JoQl/2P23uFJRvqhHwEKPn8+fRcGuC4mlNeuo5lie2lqBrHSOwI/yF61f8PgmlW4zSqa9dVx8ceqCrpEu6wtwgDE5VsXyuA2vmSi6hl4YXPI4m68dsY0NsNgfCe3lMBjT1MjkkRbWTy7JwlheSSCVkTSjuLmyH8F9mqc/IxepOIwQp4ouyeQXmoco2ATXDqMC2KVzXPog8a4v0TDn0bxLs42VQawXqOmOltW+++5GrptEJJn4xega1NXD4cgl5MRF+ADIZ0eF22me/aecajdTOQTfMY7cz8uUrapDV9pcogdtxV4OesBcpMmaOUpPasL92SuEMCwnxIu59U23ch2h9RIMNh0WctiHZLsyL7okSPpw6RCwwVbuf8/HGo7ztMKcieJF8mhZr7XAb2HtEdk+IdCM13YuTLFb6rpP+U7s5AomAhWNrF2247m5zhgmWhLl3NRc0ZXLXoRWt2AlWFHaoaAV3ThsJqYNXliWKBBKgd+gsnkbli85OV7uNTFVidvNLqGL+ZJRIXP7RejKwnZgDqjp/JmJiux0c0iyCoKlxFGa5h/SjFhZQIU9ObaBcmuzktjVJZ0yzdd0bupdR32u2jrTGi+sNkv23Ap+tMt2uqfIr6LdfQafzM2eCe9L9ivgu3K1GDr50RsEf1iD9g0X6ofZgALJsnYy17Gx05ZX/kQtHa1imfelrxsmCXTaaS0rMCmLLqDsZr+DtorISFVHJLhtMx+WADgW1PMRjos4HlPrZU/unpoWszuEWEaJSiRdd0DBrQJWUYhykQlIRFxPdjTbkHVyPpWQn2kstmuPP7rngoXgDx+qLxQOsMXA59nbhXbyqvQ+ckCklm71puTQvcIxb2MkN80YIoYws2Ml1bobOZbEkKs7t/XMnEhBCSdaYao928yjWmPCMGvY29gyCKJ1AMxwRv8QAoUwexo+jjPXqVpy6Zv+pFxvYeSo0Kf6SmJHwrFcUhEY2QVO5Tt+FNoP9xbyTwxWPAfd9JmTxfaA3YQxxrOzbReb8VNkXJcf82JI6NARUxKpzpoxwbZsYn+O5aS6K1cvEZ0r7fIcvHpJXSDKLvmdSnnwlXyD2IHA7mep0YWMZeKjb9QkwFxovyZl+tCxB3gkTrbpge6mW/I7J4phwRI/YRhwTAXkPNWGbsFyzHcsZI4CHMq2Tmj0VKlBcAFxCIbPS0Qbz1hIjdwwDXO1r8v72mOxPSZPlPXqBNBJ+GQMuYPrOq4V/ldEGraUuUvpGlzz9/QNr6XOivBiQquX1w2wS+2srtBdsAS0l9T0zJmo1FC0U5RuS1ALrNDBnMb5Duy/+VJnovq/QnrJp75JfreP+5AFQKxZL75ACNJfU0tOPxP/k4HKHELAEAnExk0mwWv3MqFaAq+nWXM/9O3G4SZJTcdxrEpV/JzhP2Q5PEiRWfYyamyK+XxQcbN62pjUiZAb/MtUoJyqa2CJVSYpKnsvN+wyLzhOvEWr5Pd8LD8DBQ66yIVyI0P+ts5kS34WCgbLf47YfvgOnDmuC79ghRyhxnlHIgLF+cHeOTu0RRY8iFH2u4dqVQCPka9j+MZh3DjlgIXglPMG6MrFLaRwNeFXzcMJMWC6dFlSSw1RSSWcnFDAlf83eg256lrN2D09me5Ie70sqmK+jsKyYQpc/CJy7A4838zSqd5JikTU6VswOachwPNIZDm2BUqrJrqD70cpteBrv/OQWsjjgTOHWaxx/EqgKIVfK05IMRJ1851td+31cR5n39ND6NILxPEQtSBYbUamQbNfN16vn8DK1simZ5PQzpe8axlAGoLdrQAg9/6CBF+XNeI56g8y/jRApp6lla/s0xnb7OJXfjNNSAH/bYmqiY9oqSgtLD7KA+AJ0LS2eNCZ1BFi4F1gX+O7t0h3rWy0x86FmoV18inaYXT6x/Z/Iq4aNbeZ0mOyywRTS/PjWZzz1gomgfdwd4CF8yt6xRkxW9rcBlJRgRoIB61bbIsrgikCFCT3mEG96FEixx4SiIUuyK+vF2IVuYXtUJS+CWrIYABX+Jhov579Dy2ESqBb2MAdMHDDbsZGubPxurZZ2fSMvVjQQJa5974eLf6nwCSf9a4nU4iwqItreiyIhGyHq97twrZymJvX2ZoVOn4a06HSJ8kYg3/mkAqPJMkcM3/IgSNY3lbdsYC9FJniX+zCC3+DSec0/DbGvb9cB9GlndDC5Z1Ek8uMVLeHLQ6o4OA75RCwG7bgIE54oZw/w2dBalG93PMWRgMboGLSVtP9+P7EifpGNVwmGZ8RdnMhz5kUJzcugDDkYTRHFHpST9sqQMa4pI4tA21o4rlVOxh57iujgi7E5cYLA+fXdtd1WFLUoct07Vv3kBo3IWWyVsLhIlHBcHAkRYJQv7pRoAevTWZU4xHjA7/tG1ivIxmEDLpLr8pyhpcigApYQNGUsiF5dT3NDUn4lXRixFo7t822CbHt366D6528neu7ovoSti+FjC7fIsaJeOar7QJrBstVhsFmzO7ZRKT9ScRDuc2ps4Ly4B7ahRl1pyssiiwJJFrvcQGefOha7n6zYCFTN6UX1HLpnn5WSyXSBjA1JlWvu1e9AXWfp5xRGoQQvfnvCqoFtJB91HfuPwVHEUEGVpru0WyQsDhnR/M7j/+VnGyTEl17HpsVVM6y4FnaxPbUYWEtE82wk6vsW/rxTQB3jmaFu5IsNAJ267B+F9//K7NIO/+ng9y8FALZ0d9gUOWOu+lfG6e64t8mijCW2KMXVVmheOCi1Saj4zzFU9rauDUT345TFZtPjIXeCgL6HSydsTFdU+sdJgRwLBgCVxfjtblSvMJnTjz8Wb5xak8lMI/58bRZYy2NaZnc866UqQqw0tF9GaYRBx9LxEHCo8gCVCaebUUVxQK9uy0FVDIs6khus5s4G8vESbh+rpzbTLNzYOq0k0WYA9nM0hNzQsLHbtNICHYvN98NbGvPzUPLyLTJvPEmDs24PnwkB7KA6mtR0ciEd+ArzHwGd47+HSLGf2mqni0kX8ZjEUkTwwQOgHUgNikY2mdxyfpitNqsGOhuv755bjC/60mccxLII1wSIDibN13dHkQC+0wzpIJ/uHO+qtG9Zt+M7/rWgqzs2Na0h09lh70FiMTkaG0IBEczDEx9A4VaY5lBLPUOOkb84kIkv7gz1oByZm3k7NXO4lSyFgEYoK78QEvdZ/20ZBaFY5MVNG/Hs0YkVed2iykcpYd++thQm1pOdkVJs4yljam7bFuSbzmEnvY7192cVTdtvWOcih9SVDDmmdrhfhzwgHD6CpOkcCsDf32426Jm9eVkYhn9CuAt66wjfavDhhUXIL4mx8vqs6EaqMtCVmEdZ33R9MgoIO5DGfYsmjwrBMNP/hpZvaSyWsceQsp/bLGoBNQ9+mCQE1+sFK56jIeISDrN3WEMKLICswlXx8XQekv3P8NmmTb6s3Eua4S5Zh4Y8NsA88u5aK0GF8Kl77ko8J+ugbQKVgku73HoESi0QmYWagejArTds98vYLPeohEhHFRqn5JgFOUJlaG8mjvC2NFpAFW0lGTUmwoibpDW6SCcvraI8K0U+rRQ9QMyK4ZZPnTs4gyTlofCuKMiPftZJxDGvj5noYlt1GFsJ0AJfWZeI9KFKxp+0BsJ3/TRH7U9VMBxDCWeYmMl26rWD1oymEI0Tq+/WwaNMknwlbWjiHCZv0sChLUlU1SNM7uyGWwT56XuO15n8y2taLl/T/dbk2ska+ZXLnvwLJ5C71HjP7Kxc3OuOEJIrC68hNpsnqn54PaHW9Fn5M3NLB/HNCXyN659sYc4d+ArxXhE687ksVI0YpbtproiIkJ5hKjOFcHXnQODzSgbA2MpEP7jLNE7au9yZmx4PxaFUeauYaOgsXS4pZEnRl6+PNk9kWicOiP32e7g4n0LX0oLm2q3CVhjjHiBTSUDRRqQJQzJK3yamoEux5KvDn89g3GKVaQPH8q9ArwUTtADWxepfFKMW63Vblk5eVA1fMpOMBijxGWYtp8VXz1ekTciM11HQINkIYQ4eI579LBCyM01jynrhPS6D36/wzHJmKyldCiBZ9nZwDJCDJ75jsSLgueG7XvKKPrZVPwHwf+nhkyGmAeY4V1+sJfoGcaDJjg6RlNYlLagRRO8FKAjFJUFgD50Ex04uIBUIp4loNJGF8aFgrT0cRsqA+elHcsrJmNwRPuHpZZDEVhtVLlyDENb9h7eiL63vJyBbUWcfD9OOnL+u/tgjw5CdusAQdypFiDbMe2lPb/vBo7rHsC0YtTxfG9xj2x1WAGxmQmFhuWjBnMSNv+ksp95KZfL4iBbWTDRlf8f2YYYbXBzQEXZIS6jG/zPBUG3bvky/aSL84ImMr+XW1tWPtmssvJKBGp52Kz0o6TOQjdYrtpzBQcuXJ4RqQuXVuoDHAYcc/nlwVecKdTNe5GGg3DvSdFWd1AQsahsO3y7dQ0dTM4Omsxyhn1Hd+CGRM6syHlE/1WJtTBVuFT+ViMpQIl+rnyEdJUwvQUMpSOoaSd49vMb3pV6ODPs/jUjtKGXhSonitfQJs7TfrKJ/PyERMUXntqD3aETFvNBMjujSi2i8pRjYToZhiZJyc4mXQZ/QBy1gMuQDFwpMaIEruxtK12/+RekOkKixVB/hdtFAKgY7dv8lZHiJGy6JxDLfeHWAYGEP8ueJ/g4mgzAbIMIchVVUK4xDsqFyzADCiI4QJGy9rAntG38U4Bi0/nAxX++SFe9/8GV2pyCBdiG/704UuiRbb1pmGr8mRdTkJ/EAYT2mq4Xfx5MliWqlvKGaV+4Q/u654ZAsVB3oB4NGPPSd2SyXqkYtUOcYn6XyMMZNnRTaSs5p8AlWxfpJthZBGsXQbddAY1dgHzQlXDvNRPnDM89o1HMHp9WtX+NhU22eiQYD7kOfbk/9sRgyBL7gKjJdxUr76Uc8Y42oqLzUU+ToKMKQXlrSB125ezx7EHJh3FzyHYkJdUqrJRC8low5HL/vOXjZ+4Q4s+LRg/I6UflvSZ3awCjshtUWzXQT993pDxBy4QCkSuJAHxI8XfqpwOY3cIfaLt2q54J60K/d+vt1eo+E7Hq29gmIPGfp1KehJIZKBEAsBIg05nzcx0aaJKbPJJmPi+ovmRKTBVkLNt4nW8p7J6KjSsbr924NOCJTNDOftIx45rKh18FWMa3J8c7hOSZydUlSwNwgog5s1UCEGJI8T+HBjXG7qhr8BLZ+Xrwv3GUXm5m36sHm6vnmK9CQmXt4fIMEtWGHp7dt7yG+5QXbU3rQmAvsSEeNZ6K4FTuUEDW3upPI9RNTphGu0MzOSd8IBDBrTfVZfczYS7wkOk7lMFO050xJ4UWzzYifl28YGrXrUPjkPOBPXJfl7rqI851aRi6khIiupWiAc5QBSR99qe8EkIFoEPyvd94zWCSjdOzrgXixtCgz4UraOi7XRqVS6d4rj6VyDcPV+6Lf0CFH9FJgPxtsmV3SZuMMV7aFtBNpMS74ThWHOblyqjqwQ+WMaeNDxeIq5CwXVOtR5JzRi3GP2Lo9nRKf7ES+XqQsUNwz1D4YQeWE7xmoAfvI/bOJtkx0rL8bu+deiq6zUsI9wSxMuV5FeWON+iQpsEPPJXTqg6UCSkw72LaOCFoWPHYES3vfvtuYkU25+n+WRdgGClS2r6V3/eczaRrC1OHKwbo/RPI09+aSwdpDZ8AB0o+6xIZpgOcI81svGvV73REekPcWK6YnjkKhYU24lVU+kDQepPqlWevXFat0ZBLDA8odgw1FF2ZAeVAxUCzD1QB+G5BfYClhR5n9U0LLxWvQ02dD5s3995/EJ+DKe5s9d98SKjLkfohHn3uVuOTdNxQT1Amf7USMPjlHS57NJZcJ+P8QX6BtVdO21Nh/d6r7STa2OSspSviPXgIa3ZmntLMTF6Dvi6h4Sp3dDe6IqPaXtpnICRSu0fv1aVKrR+n2cxVEc0FpWirnB9EJfZrsaiErfQkISOhEMLOdnyAlvSzktPXlUB0AQpAYPrrR4kY15I0Uwn3aMaL0jANl6hpCrnYqbkZqDpIXnaKIQ6sj4LdUTGYQt9mzSl5Mm7JgzrUNboWP07ZHOlBmKzJxHi9BzCtXo+wMIzleoZ4HjApYl65Su58pHDl0727cFFSYWhIq6Ak0+pMO6WqoRUc2ElGcOEpWvntA95cjwLfzHOeUeKssQIOMCJ6/p0BLjfDeW9qSoWzl/0rNoPhZgXgb4pjlbv8JBtkbpjgL4jmUKyra7RGC05nXRMbRu8qSas6U+fAw/mPNPxJy/cEXwSpwHNMO/L5CmUOKnEEPN65x+x1U1C947STaxziXzyAGVLaQBMaMdvJkbJNFVpmoEtsfNM/g60uBYA5FcP5wD5XqBQTIIKKFkOKFe8wxcKcKGS32D+O6KYcQPFsoXq0CCru39eX1WDVW+JMNkmcv9SkSHzVqgE232Im3kZy3dKms5AFnlGVNmkjr+Prv/oVx7on6vi+0HuO+BBJJrKmmDjULIKYnxNQesh6g9ppX2AGW7CsqOlAnZZKt2hH/+uSFzyCgzHsufoBSQnkQG/9jC88gzMjwKmjL1gkfDQru7Q7hMLsxKiceJRFjszG5txwuC7qYAv39R6G1wzMvyFV4kH5EYPQ/rK8lRVy6PPpPF3mpLL1iH6ioij+S3kodtY60zehehjsb6pSEF5g0H6jswd2bWtqiZ/cetC8zEw3yBQxSxZrsNzSY6EzyErqW8OLI+co9usSECBOCgcdKAHm4Q+g1WOIKZscHCT7TXgu4bl7OspI+PKyuX6uZN1+ecyR6ECHnlbbgkkUwdC84qO6tR1/Ehxv2gVSrYi61DAgy7hTOQHUWrqnRX6auIeuwDa800OkZsb537JQGJRxacIeEObWM82u4UaihHddrf+KH/cHV8oM0YbF3AUp0YBXYf2Fpg63q9wWj7sc990I0UXEIYEuVMB0I649ucO80LFrFXQqvLYnLEPAr6R8k0SCofmvh6Y23/andlylYSqaRA+K+FfUg6qPbjuYgyqmst3aO5z8pMfJ7hkPIO62hnWRDTD6KxopIRhs2Cf71JsZ5Vo+9qtAFEFr4lxOsK9fCXY3yJu5WkpJCJZwVA3Ag1RAUGDmEvphJjC57OETKMp8X59ZZ+U4+8WnxtJzvo/b6Naw1sf/kcSFtGRirDjgnLUov/pAna49jWnAIKpU0K1dk7zRAg+qT8ZlPq4nud2iVE4k4mAqdgtLhFJTlPrTczoQVkB6GURYA1+SXC7BdplioBqmbCxvueMRUkLtseettfHzQ3HMe/q75LEX7Ps+XsIICsyhS5gtu9cl6vyTyOPHF0yoa3YUB4FP5XfJ6DhkxsLdUZhVLxC6sg7+TA3GWzAjkVJ0KeVv4N4b55gB6605lfgP45c+CE2TB1UUoKzuLCqM75YFm3hydad7bt+CSrB4gudgwdtceDKQ2mQFSbkF7GmZW+u6C8rurlP9pvaaqBWbOAlFsR+x9rskCDejZe5QWa9d9jpjUPH+DFlI8HEYloMnqJ+oyjCg7O6kutSOGDE5jyMrzAFP7wJ2/4p3gblM/7SubyzzXoV+Lde1TLjx/q1oazOmyCp53Jl4bDr5pzGLDHKgKCblbIwrej2VuND6xnG0U/bZsVwA1WHjfBcbfIYjL8xqkLzmZGGJobwAnfZNSvhpj9YyKKBUA5ukud/QzTmObkc1UM/XlKAh13v0PODItmEfVl2V+rMhPf5MS36lwzjExer0+zJLYRL4zWMPLuglG2D5zcR83s/Lqxjy2d5ZQjp+czOUdRIXWdI6JU7icbDBDO0nD3KKkEcxQrsYoSN35jhSUpF3R8YOF+u5bP1o766cT/Le82pObGmHhYlFESy0V1CMA1fqyPCgtpMXkC/RLtlSr2M2+EoFy1u5kJxJDfm7Csqp5pY5QzL+G9U5OyNrNUDUOLmqcgGKQjW9dUblfwigKgQlV/PJtmfk6nbiqsxFmOvS21lGMpv5eLzx65VGVZsl+Ck8v9N2Ojck5e6rMp09YE8j34bhCaVlHl9Tjko4TsdUhwPdm4g2V4p/MrCC58qrw10Iue3ERoWy0q7ZD6O+9lfKjJs8F5kueGUPGys9DM0AxVR9+Mc4QggYzS8P0pc/Q0M7S+oUKO/2iwUyjh9T2WZjMZgStdAYWd0YydhBAlupd9y0nSQ0Z0Vy311QV3WFAJjdbQxVSSBpwVR6gzA56QTwoyE6YrfogQ5gqmjfD+8ABYP24WkblgoeENyFcqSu7LXU99NCjc9vGB3BhyjUHMoxfaowiP4hORhA3Bpo/1nrPqQ91VYXnNIqO0en55XrmOn3QWkHvFXWGzJiwOvVH0MTLEs5jxfVyHt4MMK+Ld5c//r7WCNeTVgc0AOIArKJhI63IUPjQsdrL6v/Gc81VHUxV1g0uhbzimy4OLpv++dlLzNykbyZiidsu08845QDocl+517hgWH5Um+yuwBZK+PuLFIdC0GErGrZE1jG1DFj03PezsR/09QvwyGJL2XGZGVdiDriZZ4zDkra+KomuejBFwaaVTt+FsbjZ4HftNaNakFDtplBJqkD9TBz1MxiDglILxkOsZr2uR+oy6pH1dFsv+ilDxAj02B4GI3dB6DaGjMYpJY2bPpowPPnEASnzrWogxrElLH32gmLB2gK5bEbDspKyHNnh337IUkF6Nn2evFvbH5kFF3tnTwDoQciY70baVxiEp9Z9LULi7bHQY6tP/yRfa1836JkNPOrrWSZ7kF5KFyCY+V20qmJ/Al5HoFT0SM4s2fzHg81Lulz8RgPNy5uSE2ieLidRU6roYwoox3wKfv7qjFe2cqyL5sCToVqAU7CGHa0tk6HIidLo1D2YvhrnR7QuzvOTZ8ZDUaom5RRnHPc4nW2UbtAUPWlWN5bDyNI3r+dRUZ42gD7aADt0m/6BfIoZxpGigcjS5W0IcU+r0MjYdHQxCn2TWop3CEp7sfMjf3xE96e93QOwkrWeNoAHp4aNr66pGqiG4ihF8l6JaNuBmLQwAQd/AnhPsEYYbJFKOkh+xy1fNXgX1TSaOF39sFB8khBVqZ2y1G2sUF6LYe8bv7FVcjQzFzue++FLTsoQ2108yrGGiK2J4Qqb6O9gwVcE5JR6QTQQ1f/+CFLYlwbBGk6QINmEN1oYO876/62kZiaawC4+ZQIbhAaqDCPhYCRvukLHbm4vG5dz7Gh6XhyrDXqPOGlYmHGnU8Z5jXaBuo56xXw+EGcK5L9NvICYKmrT9M0u5L0Zjv0ksEr6wJiHlyGudu2DFmOUN0fGgsuc7M+P3GDdrIR+PD0pbfE4ymy4uFxctx6a56LTg1qhSocxirR0wLIjLF2h00tQFJuJGPE7xCsnndGm1+HT+YyEuFhO83gT6U+KXaTj4ADmwPUVXbB69nptLmOx113bJa+i+aOJET+4OQvyJjZnJGJgdgLraHT8SIsf32Cds0m8LQyRSWtdAFXd0OtPt+OBTzPX2cqADhm9RarxOj5GlbRMR2PCYVrO4utE4nfgAwk0ZGwq8qE6PeH/yrvkfAdPcGi6Jb4mHOPSX99RIX9UAsg8Z+pzuMqRxAKoa0w/hhiq/Z+nsEhht4Skowcv4RVyIdqLwWL3xgKpd0om/rVIHPlkpwnINfCeEAufr45BEbSWZShjiGVshJgNohgLf332hnuoe3AdpGtM6mYr1u7GuSdoD9gUip2NURgOSrzDJ1j5uzrteXYJTGwcDjZlDgYa9y4HCf5c9NKhc7AfkA02L+0ZAhSYJPm7VA0ftByOhVOl4EXrcN0GV6onuibJGTFkW9kfEKdt90yQAztonk2BC1R9YNCFPh4DkdLyCkog9Zb+FDjB0dm1DxzRSEDeTVl3KNrKflsXLa5xW4h2tgoJ/BGjm6xD6wvY9kDdAVSbNpp5IkgnCy0QIZjV4U9oTeha3c2neJ4zKB8cOHjA5437PLBnLB06zVT1mJBkGtv7ytPvdVsoU4bxm+2J2RAfGWAHu7RAEla2vluZTsrrIAOMa1+11J1T+gMmJOAtSXxWovSy+635iijkkG5WdeUFlxUNDA5VA6Ies6KGRZ/oQ6BSXhnkojRBGCHxEyTc8we77ip3JRuy0rrdNaaDgO4HQ/sZvDc7sBdoIv8TgRF3JziczVcjVUoebaBVFr+mmbuQ3oiq1uzqeQA4T8R+VoLVIM1v4u9HdjTqIEvi6W/y/DQlrS17beqSVL0QKOTrH11IsgwOWLptJqI43ituiFiQNmG6jPdp9ardIWXrENekBHrIpxBK1F4RQK++OLJxlhlUMES08AWKhs4F5GOCP7rkvLFqX4iXGYLpO22EV0vvVf8NhhNtPGE+HlNcvUpXecVWM0gJGXTx+dluvdawvddj+RbhPmv67W6S3tZiEeoKA/cCijsldzaaRWZ5glcV63dbrznuuTg6AGVN38gCAkmNX4k4DoWaKMhoA05SDoZ960R8+SmERZu2nRt9MuPoRjUBPmXaRBZdtO5STx17Q6gJxV0lCf9U6E4ibwRs49W75c5ePWz10QVxoX4dY+v3Kb5EZ6HAbrmEBkucd7u+uIbJlyjZjPWUbhMVvLn+QvmDuAqYlow98TQJaJu5OCDNYU5g2XCFneESdDoSmHLPghAcO1p4fRT/splTssuvjuh4QSz/pRKIpNqpL0rhj31tnucXM7Njn/nBLUNfa2ccoGI4ifj/rfR149oI6VbA9ALu0z2Z+1IoWkBGKxKVu/Cc0S0xm/d/1A74ghnBHRLCd2CXFUX+LhlaT1Zb14Qe+7j70dPYeTKKHsXkP0Cy2BpB/r/gQDST1RMVbC/iEkHxmXxn3Pi+vDERgzLKpeQLi891BTzZt9/2SjCaCAn1krWmcqMlcU/DcYf1hPSDl/8R7vhHApRVPkayKwKxvPf+jWyy4OYz2qKXfBTXpOkx4U/31rCykRLPIA69QsgIGH9vIMZOX7GMC+zIvPJu/cT6jnJEzKdS6DCZPHp7U5Ok4IZ7KYw/9xdRjKVPdVBE+CZkMJEeVEE3gnQytwrEBOdAgHmW3/2Anj6AN9L5QXoeFYRb/3efPAoKLftH0Ff4fGQ7gqfycCpSRbO7b3cXd2KHbhBHqHDbjlPbyZpCws9MN59XmxDd/gunODUB7BnY9gTiIJ2Ouu/qqGdDmxymSPNpU2139qDThDmAsQKo96zXXGgfHGY5GUXJjasXSDsXeefGf63ZO/dBhbhc5ZIzDIAkDpi8b1wMpiFE+S12Rwt0GH6N9k/qRkyuOnMDYTYGfrSwO5liapK7CqfkpUa0ikJalgls5aO7m0lHK4SZrI+P5uEHZeX2LE21BP27WjS23PsixLA89KwPZA7hhnzCsXh4fJhzdhBKXV/xOmC2GBEgUFDtBvyaGeFoUFIQ/TjO7Ju6RpJO66VIVaHAEu6VbJgrwqe9YPuMw52+7W6AwY1UHAnpADmZsUdsQUdYt4QLZZEg/DEn9YtPA4mY/uWgyiHDzqIJeASM1mmqfja+ahSudgMtPXKp9hTT3cjGGCbAqywCqWhE92tx244tW88RTXHMg9KeV/qAKPp5ECzEgp/CafWMXxO/R4Yf8OLBP+xOL5hTSr/T7sVoM6MOQDMGRkQlsFidSNSgwu9mTdBOsOnu0ej6ikz0FqPOFQpy+xCwTuV82Gk9qgJbPDdM3eOObVGGBmyhUF5A/R4wHGFWPIJyGijR2KIVRXDhv4RtIq4F0Iph33ohHyQq7WBu4D96LVZ6KG8GIvVAtV9q+VpPt2kWSaMXUKWfB4Q+ZMTQXhFCmxR7Btvpd62JPDxO5Rtq9gjFAunzFzchUZcpN6a3hhxT9OpzRIcmvFtj8OUEDWcaP/msh5oPMzqHSC7crYal6QsYHsv5pTGtnpXsxxqqCAoeZMp4YtISiZzxrvB5xoW39w6aLlkzFv9J/9BdSEKH0t7KpSVcHY4mXzifgjmwhzMRGCBuoBSR+vGqGrF7miwS4L/GE+zTy9z7ytBkr5yGZaXWeWSypCQ3Wci2KxAB6qP+NcJKoaemm4U0ctUbrFFbrINf7CZfJS1qh+sd6TvObpRV73i8o6MS5/BCE2lAphHuIF0/GjofmKcS3YOc5s2B6pYh9ddWM0VBXdXGLIpqnxyrwvIl5OL5W69CCm8ZXbp+RKCHZ2O6oQOCFl9vuspx/sjYYZL6ehR3CGtFKGgExPll9M2PPjdYaT00yHxmPaIkTdXHgy3yEYs4/azM6GLDaZfpmbixde9iDLDhFmwdp1dLO+kyL/S5gaIvIjHwVcqvEKzw5l9FdnKynbGNG7fZ18tgpsv9i0ZTsq/9/QOhSbYYpkzlxfj/MAbC4wRpdU4iFdcAHAWELCukSk3IojKyrfgPeqR0SmuVvhDKDhWjsFVDmy5toa5nCMY4KuG9kkWfnPTwLtYu1MA1bavy37/HA0Smfd2LajtkzRE6y56NRrgetRGrSdbUeOj09Q/EyAthCSe7k5XE4u+ZORdh5oLaLwEscs75oHKjPWqqYCiq2riqqTxnhj1Pwkg9ouXRg5eDYht1XzxBPvZ2q+dnJdc7fHUW2jtnWZPg7oy43++4+tl2ZtZHleHsvvs6veYJNMRFfhAI47soNj46fe4AtnaMmy+CzLi8NPardIcG0t3NON96RJ+A4vNVxIT72mAbFYuvwblUNieq9/XHaHptJLpiP0jMgJxUWzD3Qo7IHzOnJgCCVwAC5WTJJhWD0PDKMYBjxaqZIxIWNjClUzWO3UwNm6S2GBCjMzYI4OTtFkyTQ1w8KXs0HfynFoKmehF1wOyHYiov6zF3TjU/zghAu0lRBAEgBRCokJXpoc2PbIwZ1ij1HetKigJCHUpXSrmSOtU0XHrI8I4H7ZXCDcJr6svsoYwUppBSlnw12N2B0XWHO1SkSuIcJbP+9XEv8xU6veG3cgiGRONvdyXduHl6+4XUCZJo4k5/M4Havzf366T3n80JeAMPaZ3M9Yk2ocipXZvc+i5pNicCMuWK1FATJbGpaMtM+v0p7uvdSWNcrTqpaN4G2GvXcEhB61hH1ugfJbIIYVYYtdxO8Sp1RYyuEFzDLsgOirnamdORifJurbUAj2XfaxuDYQsa2E0B6xKmhT99AKEhehUTHW7mDNT0BVstufv4V6qpz/EUBvosOwWYiJK7WiLHgBM+hM8BHeKfM73rcyco1KO12HGNSMv2tXeHb/KGN9vl3opv/mAh6WNXcUJkZHQKImKSeX2iBvn5BxQaHYg1Iyr0JV0TC1XcWjAc/uwa7JHdqvnJ6O12ySvpskzBQMDeJCcEaUAhA1TJ2RZFT7g/yTKcXA+Wg9m6Xu9VglGuuflkrPs6bpOR2yhjdS3gwfU3yqhilXntcMDipTv9TYXZopDy6pbQ2vmIRUBhUAN3/HTpAarijOzZl2yVhomMFHd0v7mnyfjw1EwmyiSdV6PzJSNOBWSB4C5L1gssDGdIdwbF5oSJeZ6HgzNQhHkb7YyHy21kyWPtE+6sEx3XCer6fH9x3o7ST8h6GKKeiEhcEY2W57zAFldxgO1yWsBmZbJrhKlFltUAgxd1iQwWNES7cFIbB/GI2OavJU3r7PNwq2KjnqsROjuvLrXEQ3i/lV1/g9K70qiFaAaZoCaHbfteHliGiqKR/grqjNW/ZakeSSrOoLtM3rU/aG601w3ZznL18R6GVETk2aFL7A+Ottu7osLPhMQI29PsXkn3ELERYPT5KAE1rt4lYNYtJUfFfoeWOEawzU4gNFzlP6MNCUcU2woiIwyABcphjYbrWl63wRuev7ZhThGktqI3gAWOxIILZvM0zGxpqsP3L0xFSYvn13WWvh+WgtfQGrXXMZwenz7z1+4+cb5FI/bS3djDXPgA7PZcK/UyjXkCV/P/mXtDlaN02nPtOX9k0d+ka5ERF0OIS1VzBLhkVt6ATrKSauqDZT71oSfyTsVm0P8jznCDbaYfGCGW5AdnI9Y6Ps1aJNzJTwxrDk2uHcr+vlineGsiNwKtYSOjH+fqpiQ4jyQSXVUhwg4QTRlpgBtwLQoxoMe49c2qxUv+M5bVABuLpw54JJabQenwmOfxKRytlnLUznZ+/vCNwY3Qw4f5Lx/XNZAyWElv2XsiGKA30/wXk1P7sPjnYCUq2+EfOEeAuUIjTTY/icS/JtWrNVHJ5LVhvZsujH1n4mtclTQZUzErZt8Iz8g/pZxbTNonJRNTrJdS7sS0HHYuzqZzHZG3gTrGX+pbXMYDcoMRQHv0dyiTtsRRPoxqG89ukE7aoSFLYAtjBBeXIlNRukFZtazrZHh82YDcqpxuVTunosCYvlTRG8h/NBUCQjKwDgsKO+pxj93vleXsun6shMn816uUun+ai82FLvPqTGkZMT81wplC7p5oJbsHO5R70qn7xaUchgw5xKbaEsj0VNV8wnSaazsxel3ig96xB2PUfBpwH2YZc05iOGW4Ba6LL3GOSBUmfrF0lr4hDlRoXBd2SnJn1/EbaEcef1xraeuXo1vwBpmfrrq/UAI1s4fqGVvOJ+rzqYSgE8H1+9kraZRn8tcy/6eVRhfsu6j3XZoSYYxs50q5c5HbCe5MZ4OG0Nb3Tj7QxKjA+PYQt+lzEv4gfOQVmkkxzew57EPYqqXEcEPy3K6Gmy5hhOOt6gAi5FmzQQuOL5xBLqPq/AlJH4uYd1PTAVtpishdaXXFoNCkt6ZcvpBfA4JKU1ZjUn/WukIknq+gwutP4TuAR+kDZeetKOdYfU+ydGAGtJr9GtpDZTXKwoegshnLCp0BHhnLdpdblB1658hpgXEtPvnrv//K5sDAcCn/GBS9FKmnskx/RQe1rWHFeENksAt1QdOARIMC8OHWz0zz79BX3fQKXelFavhJjeFJaScpAsk1/Hp3P5OBCBMDA6dydJajpeYLVMWVxJYQRkUUjTLetCNTelILxUtvMBS9CTTrryhZjj4EwVATzvC91bVRjXoDQPtoBFlnbeaWHfTrpuagkHZHU9k1C2WnV9tRWPRy14jmKHhM6FMhtPM6qKXCkcq6VX2SSZFJNiEQeaViVoA8n62i4pPr3PQ/H5tQeKIeQEOOwRUxO6AoHYDHPF02uE/rweTxvbT4sSF1pHlPreIsOXAW93wJzV1+P4dpxSy1Ouh3dvrJxVJBXDM9zHnlJXLxjpu8vlaj5MIR/nUUSpvv3hag2LzAz94Z8z6IRRu+fbO0p1MeUocDHuK5ET5h9PMJpFsdc6aNNbx5MNRHO/LoBe2FGohRuT855MGbRhRykV4uHRhRxFSszJjk2XOwXyqnprWpuS6ns2GIK6at2Ymx0tbfT6m+bK+vvPgPyhQHh0WLmM/avuRg5UWWsKykwOycgveBuSFYd0x2/ve8NX50N1sanyjhaRFw7WOz6bCVZDvsmMDasOh6oZ7HRid5Xv6tEuGRz1MWpwYLlkW9A2R6nay+oM9V2O333M8egUOf7K8oigCmmAixlQUhHIl8fp51Wwo3BertE1Afp5tWmnbgRdYL0Zf8Wjp23vo3QFoJVStwmiFZKnG6ke+weC0Y7UA8nz6Vniv/cbf8v2y0z7QtyNxx3qiZeftQBly0QG0vklcI60iekzOH+VvdDnt6dIcc60zRLilUENkdGXGbVJdbfSmxcECQP+hVdVC1Qv18wPMiah4R8QjYZUoj1mT81wadrc69TCg7KN9DxjMScbEprFuuQBJb/IYldzyfHVk5PpYCKZzJnDajD0v2WIr6+DWeQyhIzhSTVFWAuW014+sD/DePMCrtjlzZOxrQ+1UE797nw+Kt5vfqHE6gTxUo2IatuDKbQ08OAlydJE8L5y/yzINCw7s+hDxOfXQYC4YzAtgwXIEbaTHySVvni0yrdNPNq177fJjt8RaZ3edNRVyDm2imJwoXQZdH16w3uldIfBtfpVWWgkpwl8XK52qVz296mDSoUgdPTcK+Y+zQRAvaHCk/kG048hOCjJxGoFh/9Z9JbeTSz+vvaY8F3W2iKLHu2n8HDkhNyH+kU/NMZn4ictUom0qBeMOAxrlfnZolqOQ63phlD3hEbnE+D6AMQkKzVy6eOEw6Bk7pc0L/1mJ5M9fBUuJD8Lpb3cloVmuErD8CKdn0AL1nEx1YRRxRv6spgekbXXZGv7EZUyUUdnRD3SxvzMAzttN+QWFctRMHEuSiq+wraJNkLYJBHh2kSIMH76oiyd4JSMcpQHWMTpsKsm+arB2u7KKpm4p5X4I8B0C1cBL0ajOZMozhzR9UVN+z7/who9lq4+Bam9xoYcf0ivCG2Fuljxj8h/ojL7n9HLvJvTkOsUpHoklu09Tts2owXg6tgSQx5yy3ldBdZ1xkYjXy6QVzYjp+J388i2OmKEc0n9TSr7siEf8dHHjgjNz9i6fryWkYNiK3D9+04EdAcbjjNC+Pg6c0uoX9dL5AtxopGk99D/b3Ch6w135DSiPCv76ZuHB+I9tF9NVU2Z/AhNCO845m6InTUhrkKSJ3Mhgcoomq/jG5jlZs11Yy2OQUsKsIgrwx6yHJlcQz25gpXMtHRFHsezup1awgiwovQnHjvAPYJ0lqo4ViGpmWf6c/8tQ1JoqBviH89GzTNix+vR8fM5afjV1XNMpbP/1l0sxbLAWNF2XwTVcAJXWqQFcS7xB+CmElTs1u3LOixm8Z/yRQhcqLBltTx83EbFmfWeJijuxKBaoklGDiw5UxCw95JhRIWogvcAYFNpzI3bPOYcrDBATe+KcpUwJCZAp0DzFpuipWCFhp4cBKMbIhFxw/gfjvUVgN933kzRyTAfqSCXIBTXw7bx+6O3rv+QOlm3PDWk87JhmQnC/uPI+qv1iD5WqcbhqDY7BDUmYOIEiW0DE/o37zPi/x7EzePe0HYvyMhCJr/QGq1oPTJPeGIHHSBCZvJvsCR6urdWuIAFmg7RNAzJlsNWF6DSdLEhHnjSWTDCkXI/QJlrQHjhQinTp0LTGPuFmB73mf+XYe5j/Q4HTcu+mjvjxLUH6o2HRuJ1JUNrcxZX3zV1W39OuUsH6m1lSlcv1Qn9CH5/rdtxKWI0Z3A2CXwkFWzO+ebDbx4zQ3qvLlln/QAG7UnQAlInoGOClCq9tj435cCKBhhRKnpBz5AYBNj8YE5Qvo49MqqRmTAVO722AxlHFfaLyhHeEPSkYMmlAQoPTtUqHLHUpYfeBrde9zItoXKPkyKu9ZronTtRR+eYsMBcJP2PvylrkANLHLWMoohrF+uKujwKRUbU/4E6KpxKWfd/jZJvnCNzFlGBTxp2bJnN3ggl0jqLqZ8ui4vk0FdO9eZvpfGj4KtVJy9hiXFH1LoLjLOv66z+Y1OJvprbhXB79bb697MfDBiaMSQFmXDYBZPVAboTn7beD8Ree6Q8n9wke8NSeRQlBlh+KUVT/kVrNyuXlvjzjn9Jpqbm4bxrA1RNLj3CQhycJYLkjASNiJdOYR4zyUQitOEUkPJ8fL+SE7hAUp01a4iMmhSu2MJDtzULo7VJB4x6JIslL+FqTDSwMcomILLaLU87NzHyTUvLFWQ1tOAhSJu1SGf+jTRPw+0ErJeUkfSYSY0IWdKIm+9FAiNBwqx7SlZCzRfn7sFKvRp39aPth66CD04xf5Pnp5OR0AXJahPFDItScifa8Sc7px8t5M2rNkzVOWfJb7VxbpE5TffQHdEsgaNDADF5prnT3yK0KaBej5pCHHN7b6ZsZQBiTFxQfal1hlmCqTQvIrEmkZI6Nj2bRwSi8NOupixkuQaC37RgpRpo2051VItrXy0hCr7U0ZQ9Bp8rqfO757XLUucTTv4q6sGR3SKfHzUsgiWUNuf+GfrVaz2x2dFKIR69UrRc178snpCehA38X8exTzJ1ogUqLsEmHqYaCVB+naiXPkSjYmjNlXCmLVB5Wf//OEUCp9ECDfl58ZPPXZ74GnSbXieAANQ800WmrlleCOh1NijYkZGzomOxAzayPTmabRcCn88NgwpknjUba90UUN97BRi2II0CLkLD96HoXURHlEICdPOzz9aWPyfl0lV5Sm5XL7b1Y9ukSm4p7vGuv3W1+UBqWfod4LeFkmGWvOLsqXtLAW+93/tDaFEB5LMbmgZXBSNoH7TtPyygaXaEPlu68Hwqq9TWRQQFbjKtsoOS7rHvYlBELmcs9mmM+7Bj9dFGi7eUUqKVkk1kMUsfsQwbbLCqVVnNieXQIF2QK2tHaL6m3ox+zdENoXzuIMP1yZRQVgmaqOx7Sv/CH+AFXtAI0NO5cMmklPzavjKBZg0NlWj+LO5S1Zba4VCUQpvo2O2SwNVGdvPRSx1r7tHluAAyQsFCI6DXpajajTr/lOz5Ynbelmm6Pk18X4rXWmuPcGiU0hV70/vHvcUZ/GcjdMxniHN7KOwDxzncfcN7fFOvF7k8dBJrim+toiy/LO/bO8DJc9vo3xn9YNTf+8p6zs4iq8bRUlm0MZWR2U3M0MYqMrwWMMAxNsqhWK/E9mPMhOYI6c5i35P0lkvX4yg1mnfSHE0DLfJ3kgrDtzaT6v5Sj0sRQpSJ7YHvJM+E4/Ay6Z28pf5KxM9z4eSd3jvP6J+n9Wj7meGowgv8XuW1wWVaGUbqyq6vdOD6SdivPUV0iVXFsETBQ0swgLpq39nFm/jp9ryc6KzFnc+sKqaIaYgsWvKtRV+pPR/6/zju6fKvCVqyKUMi9v7od1sHSp2ZRZFKVLQaHRcUpljAfhU6sN7st8BiPrwAhXWvO8SKC/eBX9szibpyDInCeWocXNxTKI6eHstONYubKf52MIIzM7K+Q5XzHbP8AwTt/Zy9v9sYSxVzNeHkkvVeL12R4hUVYMrqKbnVBrCgPem57k97PEGAqOBjsRypoQyfJuKl1F2xXZ7J4hl/yf7okuXWZO2JOHaMzVO9yMop++3E+UXI7ERWWnaSpSAUlnhR4p4aqRGsxg6BHduB41gIzyEm8NAikTNmyO9tUZVtJf1GNCWkUwIBnE0HUNpIVj8s1MMNpxANld+9PygAHnwp18BIsDDN6Kh+yvdrCEOIh/4gN7H/1v186pymGpAe5eIo+VVJD9hVt/SDb2Cv6EhyENvMqU4He37Z8L5a6Jb3VxEe04SNuWqEgUqJIfBkvm8k//Joayn3sUYKXb55fg6fhk/s6BCUfjLk+FdNAXf+X/kIKxXvjaYtNwwHhgvq0dbRipH3RAiiYgXH8VdspA/LtHYHJN9COl7mJL7DrS2URrwzqQMjG+phGeC4sOFO3QE/QTh8ONprIiFNm1eV51xeRq3anxywz/D2tZsdK5idEGhdWShD1eKEM8wq3EwMjTjMH95+o3isgE6mDGSZWsq3DmsUh3q01n/8CD5bOhZHVqZZrPFoGUKUSGqGod0SAFZcMe1ZT+hpLNl1R5Qn61R6rkJ26UE8Fy/YBWUC2OGxnk0qjR2IFNdxIyfjDeWZWjD/2D7WskySqlQAygO0tjbRw+HOQ4Iv7deOnWV2fS6dlHBYLYdg5uScqGbSJj6/ugbDi9tP5sd0q/99R0EZPkStKti1RYn8hFtyTqoKFRhiTl4hLTldUzzyUjuiO09P3SYFsOpyFe8SLVWLSmpOdchUzCT4r2pjxGtAPP3LmypF7luH68nr+Ay/tCliI4jQCiP3RGCUCG1o1kgPNJgBSDChemguzaTWz2YRzADdi7lWI/Df/ZZdv146rF+ZUv067nHr0JAnONQEgcjkiW5ZmzMYaYv4aN/5nM7tOkaA6TYCy9pu/dVAYh8UlwuDOyrDwq9qw8467dmG4eqJfZLZy3B/BUCKebGcyGzQQBSarBGMLP81SGx2RGKUyk2c8L3NrZlf5PQDrdsrbd2snwDCTGY2tpwo4dGtP4i2tYLsKgDkrIC2Bri0aidyNqMA66Tb/lUw2VPU2344aBkrIFQ6ArhZUEzWNclJEUs3AtPbsPRUEb7rX+wqEHFh84q7GSVtjR+3WfohLqLkVbwZIYQL4LjqHaUPGVAhf4SjnpHhMHtD/Mcj7Iuk5r59qhef6oRroX0cMw0EMYcjhBKQoWSprelVSYha0GwilQcA2nRj3mZVdc+Iyr+M0L1cPu1YQd5wAdvHNK4VbDRAln2o1AX9DVtuWp95ZFXo6ax2wtbj5I0W0DARqj5CHfDFEBXaH45f5sFqvl2Pwdavl1BY6CfKfRBOKFpzCtrillExsxKNa9ThN5OKXd1OP6PF5p7F1L7e68+h2f0lcZvUASdumK83cDC3KUgTShcrzA+ukukRZ4DfPLxnn24HZzcdwMByzFrjyW8hUIXiVbVKluAYLhz4r1EQwzFEG2He0WlonX+P5/joRKAxCKg8fGr0wNZdvuf/iv/lIzUutISsMvAJAJmVmMg1igducM+SIkUOnqAgJ+/1C9nus9msm0XJY3qA3XeQpiv508pqBEnK4XqkQOlUbilQHmtyP+sR5QJtEDnx4p1jvY1vJ0+wCmx71DWKFOdeBnhIXO8et6azetvG6oXoidseGA1lXmO7tv+B4fkxn38AnX1vMdOPawMZv1nsHYlhniglQKfR9IIptJb9ebxnlRVqNiRp6agikcSnJxZisA6WDjFty8vVlX3Zt8+YduvB87mMb7VPb1+xhBvpNHa4v3NBGi9/vdXsRuvVbeANy63skpA6pJ5+yQ2EkWq+9ABEpqLBS6vq+1yAV+DkVN+G6x+l9XBx1APy198h5MDpjtrknGui4Sh7EEJyPfsAEa9ybeWamPmyljX5CGsIDLR970v6J8xaJah1Zsarw9aT9csD9eUcq1l3PFNDSXugcRmIT6hwWPpjXceKlWMec5l5W77I+jdWMwEjMo2e78aMzOut2cn4/TvRX1hzCWv2VaKyYOGXk+u+wb8sSgWAO4VwyC+STaAWIiwSAz1oRTq9CUb0enjFrjubYlDuBTaN1Sv3JHvLByBochXGa1L8fvav/EAc8sVy9ryrv6HHajFXCuy+Q5rYtB/vJ6imJpoCQxnmC/AeJqTqbOOTyLt5fg9C1LKhBYF+y94xNM+Jduo2YwyAgfTvsiEgPDNeSTtC692lHPo2LeTTJbnkoucAfJQWGYgZjtLKLeBRWte2pNG09w9uAKO1uZnQsOyrjazD6J2+JgM9I/5IEXylWCoSNgCatqXxT1y3XU4B9sF5fikPCvr+WJD5wX1k9fVs4Fw8340sslYiD0G4lflzVJxLnLmBbczhXas8nF7sh6zvApcKTj+PnLDplEq5j1q1rdn1ZUauxpa6/lU71TRgtzb0Q6Mi/RaVAxBhP6AAB0nJYXUueHpzvtwPrb2KuGpS8Vy9ri8II9rDZ19WnvvN8JTYZYVyWehOJrQi6Y2RMt6ojenSb7knX98i6q9Js4fTM66h40txUJek0qImrxOw9Zyj5ELo3IXsfJyGhdCFDue40zt5hAgXXmsgKo6bE8W6lY8fBfVVOA0YSSrb2YdmBF7s93dLZ6FhVCcO5Z0PuhdWhwFefRJWmc+s1gRhZxT2tXFAFtbT4zv7k5qaiqHRU7fQYDaTyMpUAZZeCXTjrf4XX6HCD7BRwp9son4Pm5hVwkRtDvhEOvq5AU1z+alaWJkCmlKLpWTTBaQdFZzMH7x68W1SduL9nQRbEikNIz4W2rxqwG2MUN48c5ETF1FlURaaVZoVAGC0dx2Ek6FFzuOCMtlwLcHI0jR9acZ+hkD80EDHlJuoTHQz803pXkjZr1XjSDAF8r2ba3Ut5PBRdIVXR4RlAZ2NBrxUaGIhzpNDmzFeuQBIJenFwezsZ2/MXBwkikgrRkdbJvOHjnFFnsno8dSGgM6b8L2JT743ogrW5zqCNL1OFAdDV7tz6C1MapeDL4hg82GC/NgMXQoRErdVRQCGIdKnf340gUvh9jgjefcrBtd4i7kk9X+SIjXvD4NXzirDapywBljjt7g8vxMxq0/gs41E4yCgD+acMampdRiZ5fnl2t6BzEu1dkWCHrdwy6pfd7lWbafHPAWtJ/PNCH8K0ySYrSuDyKQWvSWdueZHfHBrQDuv5E/LaMnZX1w/y0/gJPDX7pFwu3vDkMPbrsFsRHPJipbGk6dxSBUbxySahCj5n0hS5tqdlDRadtD5ZJ47Gem0K2n5uZmGOHX8b1qeVrl2oDu9SDOjr74GfVqYAMeUjfP48eVUJUpCNvOI3hgo01rhfQI14n9K4EVXam+z8VUMK98x6k6xB1tOxRShaZ0U6tURbAKawrtD8slBgKKLerPMK/XrlspgigUBRwcTlf63ADaL1Z0jLU69FSDaGX2E3J7L9zLUY+rodT8jZi7clCHH7FJkzys+4Gn2sdcC06pNzAmsX9yFqY6VTpcG/wmz1dTe3BMUCvimwJHV650JvWcyPDbARjgQ40ND35m5FNFCedUjRlEoxy2JMDf1b8Oh7KkP9MTz4EGyti3SxcYjlxDY3f3ONcEdPB6SOJAm5FuZfbh0CVfi7yK/Sot4DpoNWXgrwNl6B/ijvqA0fsA71nXXlgkNy+bslNevx+jZ9neVwDYJYhmpuAVqiVfYnvYrGWY3DmmWLpYVWR4qKJbCy4Y6dnWK74ZWXntwO0A4kFcVNQw3e+UXgwuGyFgqX4T31CxX+YWnYDMvqqsoDOGGNq0yKz+MiJpecoV3JA4DtF2SoIi+w/8RNybdVLers5y2ADduVHKBufSA7CNxVDG8fVKqtX2piiOAQvhO+xEOvPt4+EaeZgBslZczIklMATXOakE4XIWhEt9VrNwxTaxjfrKFs8Dfa1IRXqrPyz2n1UlZ7/hxr9x8glxLiRYH+MWVKEv8LlTyGdsnh9d5rJjSdGVshXN1OzQ5lhMa6OYYK2Pj6mQXrOXKlH++Si5dXEY2ZFwVZPPdm+JkBA6N/IUR+Cja2nr87rQ7H+v/QCm7HjgVczkBwc0U8xkhtQvP0cZ1Nl9mxjAP7dWuIFB8nhzP09nBqYpJcCDxQxcN2hI1J9897Dmm6U/hVce2hVjVCzM37eTTeOoDNDuyC3E78A2WKm1rrW/kEA0WWDpcffVo4wM3JKj6NGgJpdHtUrsrxXbBepXTVppWRz1m+f2s/MHSMxORLF+OoRAV1z8TLVL8YIat2rd+EfDaImLf/Y2bIJtiVKoipGxjpMNbDV7krPtLMkTYwhx/tKw6BWvJgeazS/soGK1O+WxJPouSQJwBA/7Z0xkni1oITOMNcNatw7kJuoZfuu4ETZF5NxlvercPYTb4wjwlCW8/vLTdOFuf4nD34vj9+Hg10zgOfFZsQe5oLI1XsPGqgWZ86fsUd9JLU832zGIl481n1mSmf6l5COHH0KGd7AG2VNX3fHutA1CMIJ1rdzzFQ2tDU/sOR9lgK0jvC+JqzGQ6sRcljt3XshHffTremtbezqjTH4BAN+dmdVJ1QuBM+WW/g4zUAq1JDB7ANEqnNbfBlW3kTPGL0vtBI2/Kvi3yzmThRPYkwNiWMYPB4fUF8gSbIgUlnPeUtQZ80hDNLi994cIGjNKgP7886+dLMvsnHgPXT1svHIGvBnyFYr0pjxd7rkbhLRMMSpLxVbCsZ6jJxySuF3efyhudoCLyFSlPpELqUgiCpM1y5bu4Ovfnr+RK4C4iuJCUOvf81HJdNMmQNiFV9tmNTgM5OPKYK8pQtCtg7K/Z1dX8+lfaZJQWNsWE4iuCxu0kzecrp/vu+yTyjPfvDS6klllgqNcpBw8p2EZvp2Vsu+pWjCAkJT8t+nXGlpqf+nUeSI+hw8LVDXrrhqX8Zp87sfGXcVBRPxKTo+fiIJ1rXGN+J/IgQnSTQkxi4DJGSi2YZ9aZRIISgk7GiO7eqEb6u3cN1iTymSeN88zGryoNbG22lxd/8dzZZP3cwEgvsAAnHBe7Q8YDsdvCz66aEYDxpUzOGepPtV8Myyc2Hle8FaSqJ9YsmMpTlqioPM6dcUIii7j+eQV90LThXygk08szmRUPTXv+KyRhPeJRoN89RPBzuEho8RUIiA5g5wIun9f3hW11QYWxHPbnXcs6HKlcEDAwUnPHFUIi76EIqzCfq7AVZht74HnRBJHdT4o7r3Y5jCDP+cHXC32HJdLIxPKNhs/kjwOJmUccB8qnTKHOlYIItHvnTOl7BdmYeWU56vGUOOZNjV9TM+H+uQ8mi8eJz7UCBtsK/VhF1XGryQO2y++HwgjW/XTnkyJkPu7r7kFNMnRAKuLg/rmqMguyIbdEgtwsJsO5ioGP6guLXsVU3xGC54zrb2aG/I4xXnciynT06x0xY6b/ts0q5220P2NGvRjf7eCX3I8ITIC7UDiR57igMohNU23oTaVUp5Ei3gFjQ5xNry8SG1YdPweQKJhmJCLpvV//EJh8n922M9KzF+JDriekazu5v0ydKtHoi6W6en3AnUHqfmUCcl7tuYOhdaxNE+iOSt96vMcmRzBTfY8nyCRhnBApxxfyJnOXERzJWUF+14h98jUCNURdqigCLFVyxQoNV8ZqH/jJyf+30ulRxjMGr6E88fX9V4NmiBrCIF3XsUBfs96rRF5lSOejZihg2/xuQLfMDFrOQLE26gq+lvq69/qZEyWzhuzmFL/z+p2y5mLGPy+iERtj4g1asWh9dxsTtO7qli98XMrdgggmt/VvzJzPf9iXt1I6l2fRXEGpu9Gtejpnww5y7cJ8L83+VHkBdBR/fkTP22mm9+rnArZ6cLHPBojSCso34tdiC+1JEBQ5juREQoRN4HqEfju2uCj4ScEMAvxfR31QGwWHfWwxQ0hdsQLNww9ZCJCS5j5sffPhoYsYGTDfXMyyAcScdPgeGm6ycGMf9QvAmsljNZEuvCDY43J1zOjfzvv7yQN2F6+y536CqK5Cp5PZZae7AOAXAtuuXYAoxChXQswspTIc09eUj8ejhVTTEQBGmIJy47kq9A5vEasD/1Wlw08YQ+MIjd2cFfhFF5PMQOCznU5qMaZ7oUN7/YEvJnD5TJ33IrlSB7MBcCL4cvApPE/GzvO4RpWRTygTKngzQ4u1DH/mV+Yte3At9Cc6/d1xiEbDH/YbbRHfPSqZeHkYcl9cK6MvykQTvMPQoBdKKUtCNf+125Q+LwLqUZ2RxPZGHvbafIk8Nk8l1dej4jHsxhsp3WqlDj0OqHiIA7Dbi7HIZsAg9tqfqie10cYNXw9qHzl7p9Q36mtsBLBmgW+tk/w1yR9CSThHLMY1Y0M+eRMm5HH1aqRQOcrc9NCX8btc7L/x8IfXUKa8iMQg0iHw4qAr316hav5rKAQxFMMyW3uKxAO4s3AZJUdfZz8QH5M4+xZvW5xcgEWDjtYJeyL1Jy96EwCSsSC24W0N9uKz9Am7QFHShOw2cVUMcIC9roto0x+EI4ZHXcGJLi57TCp0UKR3UomJb0It3NOP7gDno9eH6cQ3Vo254sk10vesL8xsfmw6VTVtjCWkxJYYe7KCy87EnTB5RxazjI7CQZnEimIsFDoxhl9OQji3dq0JcExAF5+m7EA3+qOnL1Ai495zv0qyPcup2zGIr49QLq/sPlIqI9ebTsfZtwhaTFfb8oS9dRiOkjxqVg70E9j0Svs439zzz99aeINC5JMmVGsIRiUkulO/4nX4cJ/+POEvv96ZOtEtLDpbDm6LS0bR9RBinUvJ6GqHq4YFmIBHZhbhmKcDVxOp6gMKRrpJLZ59MbBt4MnkC49vwXC6l3TKPB9wR78dl8qxZmFMNlEkou+1dd1tTv7irtWHmPWjO3aZRVb/UDjnGiWjQiDNQDNu+baH/7v/p6CJma5BbPvWpSN1Sj3FTiUCaKvX7hUUYHq48svHFGC23lUgbxvQ/BJyCYW1xuaXG54q0U0sP+WQiGMaLAcl4MLIxRqKkjaMkIKOpjxpk8S5TWfFMe4t/zn96wuDsaQ0Zs5szAkGPYw0RjXcH8oRDNr/ib/brt9Sz0GdSfmIvBkFg7nQE2n9xXwZizV7tRDIrQJoKy33QccH6nOqrEMUK25LEDQ755H50PNFUNL7zz52m+yp3QL1fcpSfYn8MZQKDg3ooMPuaxk0iKL3dnWUZ3bgJS3UNthcqDiEXKnQ40YGaqeR/RBskt2jAr977htpbycsRIPUHJ30CtJ8bOAn0EjsH/WwBUcX4XCSv69rwK8PW6b4k4IumFKOHNLG3fwZY9akykkyImr8fRM4o/l1CnjXmZXi21cs9xucoaqSUifbdZqpTobraP20UnOr9dabeVp8SAjHYBWBah4jtS8qjV/6R0Ocm/M0xy3aQojx2fpxOQGIIZrk7IWm0O2GEulG+HYX7FrTYLXVyMr0PCxeytp2RhI9br5l0wL/nKLJ0+nIHdwDE+iGr2vF8f5TfooryEhzup2WzPIcNHSE+mQO8otFEWG7Hl4cXgR1+thAERjskDBGvssuLbjmeI7dWCQJ6+ampZyMFbuJm1dcdKnRd+uiNl9GrCvJjn+lmsutBrPdnBRVkeIJQwCc3L4MTgMXIgM3rc2yF/6WYD9qAwa+LVaMYKNn8TbBHka5IjYOagwXjrzf+pQiRrtPhrJ1xEvbzzvUSem34qPmE3aE6f1cojH/NNx1K3Lsp9cgGevg7xEqG49agvTN5xSZjCPp7GJMJ9AngpMHi4AXehJpAumO1pk+yPbVvXyMXL5TfWB9Gd9SJgjnyjZxZe79iakvasXLEc5o8HFOP3DWSMgAoWqy0vWsRATuGUJvJZSfJtkeDa9zG19zFfSKEJOTU8We1+XzVu3NLl3yW7LKjN0dj2VYsN92S6kqetDNhEFCqlyHWk/Yg6rc+/1MsJytMa6wQDHbaWp1lnvfSB1DyRliq1eikAwFH8ZaMfsVp3EaIxZTg6JnRbRCsg2yXMT+AC8YB4S4F01EU8gmY9asby93dlW9428XHpEQFbMEDhUgvgFjONR4xgvr8En6xopFFrglEcTdYX/irYArH9HO/O33idP+XySfWHj9pGmCOA9JUt0YCMsIjSSKf/7DEiNYDrcZFLF8Ofr8u8mNinATgmnA+V579OFv1TYwjNvTG6xWNH+/ot93MnaLWkq1fBp2ooLMPFiMO5MgQBDRBEcSlIAdWLszUQsQgCIHnzKz3vpzZ3i8LlkepBjEnlkzq2wTStjiH4/qMBuB4kW2tLNUy98RWGPoM68PNONFIdVAwB7wRzmGxalcm/mRgFkYE++Qyv1iUarCZIp0yQA4ArsI7SMNR6i95IIqQB5VPNLzt/xuMs5O/ElcW0ixBF1IGlqtonfrd1RacI7mzdh4b/22MLmHGEnivLQFUvLxX7kRoS5KegdOTGmgMpRpjn/d6dafVZI8PKCzte6ScK3DgeRInAnsPsdluhd3B7zokTN4LJPH+1iTZbj2W5U4NQW6fhFRStnvgjAAg0ol26TIHZoS4fAV8INrwkbHpTw73zspAQKy8mxj9ZHAOBtC83z4UP2L2OKxC8W+98rGJrwqCDMBO1TyxjvopCg28o6Z5yMP+zYfcKj4WVC29l/rQhq2iZbMqVH22YrTVijfUf3uJkymOERm3b7sDlDXgJRRqju8n3KI4SpueV29qwLE70tfBdaZ4IFlvk30fA5xGJafyPuSWkYrbhzqJVUC17xmKXb6+qYrIXz+Wu1rvJtCrrODOVprVM2Po1556jbRgsDs5M0cHcBaICpk9Q6UxV3EHeLxl54jPQlLvcyVlRW69oxEKMBR7TazYOe2YatnJdlA67wmKDkRhYPdK/AX8sJAMRXkQdNGg/Ihixvf586BlsqUeFOnQFqIYcQoTNWKdAxpn3U+ZcEWPheG8SCZSEya8Op8hebC+ftGfuwSKFAEiUBeq/GklL49tTs16IK07Oh5xbU7TCsSrcPEDd35Gj6pwTIS4VRYMnb9gGkX+eO0fX6bxbIR7yeTkW5NfN/ZgIpMReJca7ufnL/r0zAhN5Hs3ucZ21qA65tVxYfyE9EhjW+NyQkiBZkV/npwZ7Ncu3ow0/oo7XqrN8oIkBUJuzxkeOSdxo2vh84ADe3KykJUCDPVlQsu3gOjYV2S5P6w8AccIpiEbk0RlziPrsMnGzKzqH+rdssoRG8OLDku5UXnTyDBXyJyH4zSQnxygg3kchExLlekJRgxa1ggYPTYwS8afLaW5drklopS9DEAxh/Cl3FvlPnish4jImgDybp3AMR6LTLjWalWyF3JE0I8TbhHFl/XD2qyO0ox9rUTQL4TbXr4b78efTaT2SLCFIpy1J1P+o1akRKcIQsEUHXVQGOuhyym747s0MyGIpcE8AfxSy+Tm2+3EHnwb3+zHkpeJcQFc4LPv3yu4E5chbMfHJSsvZMW5xVUrvEe6ergPmMxVSw3Gs7TrmiRU0OtTbzs9o7nWu3WZraxEgr7c6ieaMTxuGYchVVJLkk9hibBLF2/OLMjcZ/rOMK9pgREvOXIGs3FPMH/QU6l0czo8UKAN1cGx437oRgwOOdZlgOn9QRp184VfMy/OgbprzwUD10TrjWYASNs7bhIZwO0vvYAjXgtoYnW98J1Gz1MaLYshOTNRR6RYP5A9v/NtxYXtneeHLPYVv460C35zwjDPi5yForDrgR2CuHDpYNwHv8S46xpH+6un7FCQ0Nwf3vJP8U0XJIpkRJMdZJQ1/Fie1WPu1aKMDMn1LfOMbdVvVOcN645qq/O93J6IPnCQa9eYTXocobll6C96g6fCYLjIxR1C6RS+XuHuwMy6ItoOtNOgne3jNosmVRvkVJvXW+vsWjI7tDYVd5B9R8zcf9jIreDqRL9bi5h6SrDJiChjZ44iG6/J0z0m4eLbIHhxSo+2kf2Yt2PWq+nrfZwBOPngzYQIvnRB3bDU3hQ82HJI3rHavkgqdRL17LPgswHZW0Svv61S3gTmdXMIOFPB7Z4DGpQzHEtYhMNiBvP1rzUDR20pZ5+Fldz4Jn0gWxsWKq1JTP+eXvwiiBiyHCHtoHYioo/qf5msfNoRdVUS6CVVbO/+i92b36YQAD2XTylFLauEItCkLhLQrL+pSsbr97da0HEfR/giitRNXYDG2vsYbgJkDfetaX8z0p5egckWZ94VAiwpk+5bCI0d7E5FHh2SyBmgn/EihaQNIW5IEg1CWE5y+FEcv3/GfgrVFFyt4kioYCsbUvYgdsVXTO+DtWlslnDhIra3LXDLweRGIqn3K9Z9+Z46hSkcLf8moZ0PUkwKHsGDoTgTjpTsdYYD75i4wylfymkr/a2XoDSkQspytMst/1xFif0jaf9gi4lSKNwgqyg+qSOpS1JFb5lky9FOtRysw+7YXsKmnRfxVdBrRSRtRA1cO8ZovH5kdEAk5Mtxj+nCoeL4++EgyaEhVA6yoFlXgYVCRLyXW2nmiBaw8LXL7FGybxm2O50RuuZSx4i0D47ahQNaG7QWvZWi9fqBrbPQeLIAJFOmtBAP/TSnjYWVJtJ5XwQfruB0dVVy1CKH33QIbId/fSO1+4tDIundLVr3H+qJTaNQ30eiysBC0+3MI4BjbBP9V38s7qvOPg/gHzyNutzsLN97rx+BCUQsHTaZW+34jZjLX2hBjngXWNEW8TSLtoWuQR1xPTAHLfQUSayL3hQuqzf4z0HSZ/yKIRPsSA0Sx4iz2vTbeO86/F3+JkHXSkDlmn2zYsPZzOpEYZG9Nzw3PYan5JDSZA6HulT+4Mm72uzx5NaZmXN22sY9F9/Y+pVyDT5hYQ6zNxVJNq6FDW+TaIbgGfp9vz3egxBE6vxyK+Yr7u4SqiAz0o87mhEmc1n+9FpJqxaHPTEX9j2sGSQC0VkVlZkZxNcvkVPTIBj1xMnElZXjLGEQEERQB4cIz5BVXfXDMhe9iyC+m8toGlePCLWm4KS0F3F1Ytu/8HmMO6W7brg0RvieQqa3o0VDTU4yW34PDLsEFqyy9L1EoOefvFCmLnFORBwCpKAf3z7NGbLZDGOi3J+6YuVUIBBcEJpGTg9DOuTHHNFOUVXZcZOVYJcX+4rVFYiHHDuKDI11m+JQWg4Z20ANlKZui2OVbMImj5MBloV5b+um2SesSQUSFKzS8tMfUTY0yXVMtM39EbbbxZ1lsW6K/rG20wtNb647aPmq9rksETCnq55Fzn2af76wFkVSb/bGaE1PTOQCO9epwzOvlA1y4QOaFyZLryRWhb5gNkCe0+CCvhuW9QtQ4cIiPxk8Snriad2FhomM0seCTBji4Wb6hIQYw4Xe939SGon+8z0OGMhZoRi/j/B/6EDXEl4kaNkVEUmwQmjp3P0dIOnSuCu5MHUuXNQNkmnngjlyQ6dJWa0WwHmKR7VfZ/0OSE0OqjSqTjb1Us/dEaBkqi0aYcPKrCah+LoYaDphSSW2aky4z6uyMfoi3vDK+sBo5WiSvfrjbm8BUX9Lj/tnpKHbOu6HiRzDIT6+MEFxGk0yoxFsMGv3ZTpHQ1yqZQhtgiIQPQ0Kx9cTcp3Iyb/JH7f1LP+G7S5PtmyHh0OKnwJqoi57dg4HSKGAcm/q1cLU+18NS7wnaAym4smyx5a85Pb/hC7RAB+iNLvcHdvnsC2xTnU98aLBez5XGThV4I8+fbWie+Dylczv8xjDWxgqDasiq99SCs7gSCOWsFM3AtHZdGBNxlSOU6j3GvzdWmnq1ua9P5A2kdgJLCxZhqMzh7Lsvwb/MWwzFwUsDxr+CTFbbUnHsxonRB/CatB4JQoMvp7Z4if6iETB9JJkRr1ujRkewxXKUZDWKAfSmowgkC6fCIOWXYtynYo1ELfYQ4HNOuljB6m2dAbBUyjvHWbozbTojvY4vPi36tiCKr+xCNQtyflx0n8YhCAs+CFPtXqVGd9ubdZM88ALzUKtNQ1P7U/A8dxhAx5KOpYUEyVRMrvQg5LdVZ/ZjJYK98mQrZ7gP8VMGqQS7rsfBYU1pGMuancAOzaBABdEiJkbHM/V6rcdVwOgMoLTF/eIKgOz5Aip8w+qACoreVUCnF1TZfFugEn3EtJ9SSRtVsXT1kYef4ETYqtcWZnyaQMuusr/esugBHWro1N/z7POsh/DE4jR4UhGgWhFOUJ4Os3T3IbkOUUQb30SuJFuzLi8Hnh3nvfXk1HavW72/S0C2E9VBNWJQqMu1gh7rphHxZUddbu5oZvH9NHvVEFucXE3RcLS65Kyfb6lSWMLspPVED+daZZtswpAXQFLrXTDsDMG+lI0yEForx3vlOUgucRh5SirllNrxxFt12afHronTZ9/qrplP2dmq57Vdmy8pSNEd6HOWEppXraOBTQhvKGD8efJcKfgKdrez46CDIN+9JcPC/dy+tGsLqXrB4uGEyRQbjcdifEiCYkpHRHxTKCYrDcYia5dUGaFFU7r68lFoqI7xnAoqTHGDxRdMBcFefFbqgY73IxNqvRWdCWW3Drru+++5tVEMcPB3/DF5hi8nqqpmkRcTxQDYdsNUquAoCX13PPetAo+chsoyw80M54GGF6xwcu0xDguopC8sa2LbDQ/MNbKZ3Uqxto3ZzkRoRFcUZx6VFUcZ5sv7yUt0l2iyirIpJvbUw990EUSttKtiPqH5uveWIXL56TIITcdLyPCI8FwL8JGiBg7/Cc/SG9Pj5H4uMrM2vd4AYdnBD5qp28Aud32yI1LZzZJ1PhbMa1elwO5DXZL8IqaA3e46bJ10lp9+tb/bTGgu2kjTIzDySHaa6MolVUt6LcxUXIViJZQwYNtS8mRE4HCH3FbMktAIS6vyic9MtXGiEs5Zb8IzMAjui88ZD5UAcTvwu6mSODkGWzby16TwLvXKWsesJnSq4HC7EiGX68BA9HpRAoxJbfgw/V/fgqnK7wo/U98j61fi5jUuAoT1X3J3flwLpGubwgyPc3duSAxYQUCyc3kHCIPcQ+qHwMGeIh9wnG5r3TOLnCF26gDFkmGaeJvA69QInSaW2E/vX233lWVdvHGr5XaRht4869ghO4q4z+n79pCFzS3dH2tzoETl1keWOLqY/bk8fwVHWLNF6noGj8fq7YKqLEZ+aztd/OGn3lRB5JSxKDLEHJTKQZS8P3NeAJR8k8DM6VLp1T809diWLh+JZlgDKqomXNmO7ul3i7bMqix7YDlWsgf7h5C8Quv1fflZ4Pw1kmgX0KoLthjiKOdSat+heBNTIU2Gvm8lLdDiDMBmTq4PPyQFJ7gZNHZJF15ZTZylagV0au9gg4M6ecxF7Lo/mxnp8RcaGH7YOndgRWeOqaVDG8nJLw2KIovxxMUDOM3xJQ5IX3q+/LkDaecZ0Bksh1OtzNCupIU4k9jfw4eDvFMUFhbC8s8LX1rL3OwuPygCtmmLteVbhcp86mdquvKeKYUqlvJhBb+WdgLeBSq0BCIdsZrKc8mliBfUgc7g4xL5HneRYl+aaQ46BrWIq5yepH+yCtf1O2bn/P6AMTgutyyvENR2HBwHDIJHhuwmXb2iDdV4eZvlDfy4nzF8aT8itQ/Ug7R8uf2zwvNyiKKSMsnOm1/X5ZDqn6msEtmlt15bJu53z2CHQ01fAJJIvv/RirdUy+BZlSCp8O93fkq9GuvviqL5XakzBv/5Sxu3nPCasCDnrZVAHby8Ef8A0yCw9nquWgw/WgD2Fj0KHQG77EsARw7jcxd2/qRJa0iHYnX1jVxzYCPm8K6HE+4IZrCvdqBrBdDUILSvl7lTAN4i12Z7Bcq3K2GX5ZUAOW9YxcpWcIg54mOZvlC8EbdjqznibUqNI5QYbNYOlQS7K4mWTgx4O2QQzf5HV9qrg+Xslm4mzFvSfavitiacQAB2bhsCqPscbR9LLgXSlhF0Bh7wg/lzTLfoO7xdXEwc8exovG7CvuXm0P6rdm6xX3/ysI4nuFt2H8JHywInNKGFylYrj6mVu26zjk4S7R875w13Ahw2sYL7lsZzUSx6RaWtRqSEt76QdEckKh0+SVnMahr2jc0mjnfdV8zdDGYioXc6u+FKl+qvxlPqRjy3Ggxoz5RPPMYYaMZ4WxuNjkCSa4VZ7wXl6urlBQEGgYQXHflDmI8rQj6Xi+adLW9xWn13OYMIfZdCvEfzUjfJMbtVcCeekO0si//TWVfRu04s9awLMU9wVoiA4aRdQ+A5rrsa8Zf70Haa4TUFFj8D1Wt3OhaiAKNiM3lWYuE7g0AFih1ge48J6J5ssoEubB/pC0sDWa2c2+pXrr/yjd+070f7DxxSeYyaGLvlSfYBAJijYAmL1Yx6OH/YCJuYqAz4mPLa73XExxmqA7TZQxhUa/VDi9UoGA7ISW8wIt7wUnQFUb5Nwx74gDlda/GqTGMzgXikjiZBFd+jamXTROgqovX3NVIFLo9LJ1zFD1KdArxS7p1egP8M6tRecn4aR/o8u1zq7ZLWnvyer2DY2qyIN69bmCzb81D3ku8xyAKQAjVW8Vqa3pvqIEfYMZuL1Cr1vCW9J9/AN6Ihk+nJ18bzPw77k8FPg3a4IRLv31xx2ddPg22lrPrBhRWW1+JzA17vnpoH4Q16WhHqUvdnbKOcEyQXjXtXwpgbkdAD2hBbkF6z232Mh851XZov12hU4MTL6yljDiptEB3p80kjSuEjfK4tIwSFpAuRIBjx6mQz9Keord/W6IQdNIy45KQ8MBefXFXy4c3WjNLna/FsfkVgKdbOVqhnzK8+2/9vWQdmTNq27jxj0NfQ4f/UKgDORzGJZGTDknzonJ/ERqiSqkLBNyrqnUdGsTjvoyc8zH9UREgWGAZKOhD3B7AGE6oYcJaJANjyZnxjnWY/ABtbFq41n7qOFPLzH4/JcNQuSWAbbFEMAkBhFHA/35H+1i8DQf/NfmWvjoYw0SqoACcZMeB0K5OMm6dkvDn3At+tMRH1xQxv/SMMEtM1Drs4Jyh+ueF2Og5JJbTHtt/ToDw3cdUR+KCn/6kpNplB0u6svOeoirt2ICOJvBdJ+yzK2VmNaHcirIZUbcTBxBrm22guMCplgLYuEloV0GaRrxTMiGLIHCJKGIiIPRa5BfPeDBtAVlm3ISoqkRJx45mnw8lrAktLpgM0gC8RcmmbPp00gabWvETQzeglxHKvTXRwqZsws/4rzrpD+JOgAAqlzTG3cMsquJA0mDcdJ66LTQ2Wit2cjLbTkZr0/A0tjNfnAFUS6d2EEk1bmpsG1DQFuxdjiYr/FStGLaNCX4xiEmyHXFOZASq/JntNOPWo3W4nJUsqM7e+vuk8tK0jxHs0eyb62PSKLV1MqX09k+tjyMn9xEzDY1PvXvHSpDXEhWfgB7kLH+u4MnYhiRc5AkeyJkOIihNsjL2z2ZYgjUl6PJXnzWRbI+04hGUsHi4PVvKjTfMoyTDH6EAQzP+O5R/K4XLQhk00xJvLwV8ivIF15BwYsDxmyGCYenw8p8EaA67ciojkhKC5KdK22Q1RqwXVFHypQEuFL8sRbNmRHwuTSeOt7bf7dr09tb041kxUm7obiTrO0aQHxhVeCcvY+2ti7UbzoeP7kkjT9d7YaW934mxMlf2Xm02tTFUbCDX8d8hMsaKyhwdB3FN0KbIn81FURFV9jktVkZDickAN825o+T9tKSH0K6g2qLhkwaTZjen3LMvqwQB3LXAVz1H3b8eLYcCqRplP5ADxCs5jgJSk0KB37B6Ai1hn/iSJ+93fbzERP4TQ/1JTeymt82yuH0/OOQY8J8j36bCQH5QRcYFlkXFV8M4sPvYvCsRA27Vl97heOuFn02vmu7vrAD7d8qSEmCio9T4F8uurSjhkzZxR1FFybmEYWOXzrXGsXnWsSnkOlca/JEhZWsVkE/KQVzBfCh0gVa0p3BjPQGz1YfZE+KSJ/8weZ09iyXY8VFnlieSy4K7Db+U0jXelU9eXAr5qY4HRo8wjwkD69UJFmWpQByWfhZiP/EaleXBMv3jiewjkVktzvFKZt63dvFyx3YmMxavlVIDZnIshbEB7gUT/0ZhW3eAUagNrTEdvKDII/F92qdpq7K4gyr6FrYrwUel92p4O0gfkgz+ADIEbh8yLIiDiFz2x8M5yKHH0M9fCwkWUkpNawIEE3FlUZbK5TFDdpJm4Av03f4BlEKpUiDUc4u++q42vpmd9nCGpveC/yGcude4AUDOyrAIWfl8OTu/SEMHe1648gNEsJZSFkkP5zTjXQ0lLYoxmDIsr3JYaKoKj0WYPrEmJQQ4sv7OR27vjqWQOvV1MqEBNdclpKibXEkGMLbTwUa0UzUkp+xnhhEXTAJQa2Tb7He/yG1aE4UweHjPdy+G/ClyXgVNPQQlGFF+fbucLZbIbWjfmTYWc+Ig5N3rCPUajrZLtisd+zSvJyrdQshBsG7Ues8uejI3nQu6ZiKNADT8zxhsK9+EYgv8XICNu58aLJIvtE851bB5fsU5A/ZflWrFvU+f1Wssz/G7tihV7Gl8uT+QJIjXq+xdeSIWbDzYMgtXVUfhJf2Go9aIZWwYzZnQp2atsn4Kf0RU4UR2qGt5OgdjwcrOvM5j/MMjLXmWOjToWoxrA+/dpCbyAYCz6C+sLWBYL8uZtVEksASUF8+DHUfnoqTpGclOjd8SOgmcutAyrJ0GuhIC7wArleqOCNE20cdcm7nUVowXseKHT8cWujqkXFcjNL7ibKzQtCHfrVnBIR3z7KSis6V2+XlGttxoL3DxUnlAO6rTbZHmuIaR/1kZFDS8+F53LrAJ/BbvIrfRZnWv1OCpv0yeHyR64/MBXr9/BAye4T+o+omKMKsTtPaIaRk5co8Q3Hq02GKrw9DnYpeI1HAbAxmZogGEe2pD8n0kkgLa7y7ZTwVYpIwNtXh2mH7KfsgZgMdbbAcgAWxfT7ERwa0F+RlSlJb7MeHfjcdyAzubQAgk/1lWyj2v73nf3SJfKGUXBH7g3BKMs8nZTiXVXqZhIWaiFVbYg3pWwUA2dHoUWQWZuNh51NNyVemAhHZ6qRJoJsmG3be3VzNEysFvYdzxJH+3pxUyTcD2k2fGS6hQROEmecRECA7DNVDK9P9QZ/BolaLZctHP9iXbVRYn6IbHCZmlx/22ofsWdoJE21bJXe+oUebN66lRzOU+/vqa5s09+wVAfVe5wuFB5YQq3R9WbAZPqDL7cra5gnUFgyAqabvyBp9uQ5zttcgXWFLIbeOM8vy9nHEeNgm4SBSK8BY9WPojsk5pjQORdUtJe6zvvT0c/9ZKH+NrOGhAvR714XkRfRq8qigNzfCwW0rHKtiTA+/kybcvgQyoWmGVYpdYVL5ML8/u2NXzmkOaifLLN2QV+dM+Dvg50tzFX9e/b2+HB0Q7VpDi6o78lkcvOLSRMEh45/FcrDvpLw/+r4yNu3fSLweFNb7q6v/NQIuny1xz1RUUpm9wURgN/1J8HO3AFmCXElS7h65pVe1zGHT9XkZAXNG/U/8TWeA46qoUx6PoDCox20qR88fSaSTA3Wa12tCr9MmYMuhPOvRcHJrNWRBEuPETKhXKYOD5xJJorH/WIacYnjDkH5ZY1spQLEQLMXDcW+D4PSEnJwxI2jzyOIS4JRuAHwmblfVwvRYz48TctKEcJmPBd9Y1XvwAtBHGF3gBquOQOos/1Xz9HB8C/58BwN5eiFDg7c+rb37rM+Jb+X6kcG6LTozVq0UaOaYozcmJqPvWVt47le9vqulpS4L2t7F3HG+2buT4IIFybpKWmzzj+u2uA2NTRDW4bRjXHk0A7blJEQGrUna1GM9qjJ3ngh4mKfyvcdylhDSVLd/CNQ62t2hL5wxdiGIArPgGNEdQ6Rxm0ayfNeYalAc7sxvRB03fI9xwxUGJE0WC/EP3he7sSyHLvRaBNR41SwGuXFJYvE6wEUxjjM5WB4bUlI6FVbnrXes6PpK0I+/Mg3kSpHw6j9bmyN49AJUmMWBJR86jh3S0KJzqX1kx1gnl55G7gFzMsQvsCbN4uWJhczArRA1uCqk6+zwEs7NMnZE5bSeMTxV45FTh+gYFDscvX8gSrgwzBygjjM3VD30vLmUyy9PRMkaTj/z4EURxvFWLV2mtN6tUFWCoJ85D1Scf75WUoVHkrwJVDR0ZjyXbAg2Nd1CwPjlypqpIEOD96xrUNHAYV0cpjg56t5tDFRsKy9RtHAYIjBzKc3/mxOzGrPjLclk9MuR5merK8tz1SZzql+esJRe8jZ0vPmofUE/BGCm4Roxltlw9lTeQUm/Q2BYlchUtkIojnFwcvMyqCaegnAbyppMmQAe2zlkudtOWzb3V4QXwY0DNF6odPfp7g9cjPQaV9OKa2f9+oSsqjBZBU2Cc6E24JNvlAnIpADVLc0cUB0WmuN+6LxDKapp6eFiNNvdO0KwsTWHWtc1MVGCgwFAW1qMZPkUmkm1gsYZ2iiLGrlsgTpYZE0K6ax6rTxuTjWgjUI4Sb6N1YD8BG0AC8jGDvqcWFO89GuquI2Pjs7ot9g2efO5zdlokZ0T87IkXIGST1xZ7n2MvaowL2OWiT9OLdZiOzonTAcuDgtK4YMZzm5INijrDUBKebvSJHpsBvpSELV0p78i9WLkPuACDROmjm+X5sRzFGdeQFO8afp+JY1I90mcvZhMPUlYfiEo8vZDG+vQQEn6jzUrH5oNQ6RTuCmtfFvlZ4mK249lrqPIBbLdJfjsXEcg/qSVLg4ojmwv9c3FnmyNjTMaOcXvtd8wV6Tu19pxm2eIwUdA0Y8ne+hlCAcvTP6sbFDVzLyio/fvXZIZW1kSk4uRIEG6aoXxkbSJlP/Q4Kzrh2W2KnboSyz6lp4ib0GyIHzk+p0uU8OBe5PfLPI5GX6xUI3KOJ37c+UhMBLnaKE9J1aMY82c4RNW74E4BVjSQ5r4MPq+iITbjsB+ncmHbRwIvmf8moKL33Zhn5zDp0x/7EshN61aQUx8p3xqDzvVhyjklUzMtFGbQEffbu4IAa4HfwdvkBT27JB8j4cneOMSDW4m5QuYL8FqZQmXs1/8SWBD6/j0CQAlZBBujU9Ry01A0erhMAhLmqAaLSloXkT2cnVz3CHrKX191il8Qm5rLpLam8Kr7mzztT8W1fkuwn9mSoletntCqbOhPM1i4z1EOT6xD3zFWazePSqugbYE9ZL/EtcsRD7AhaZUofR5cc4yO0F2iQ5pWSsKwrLJTybxFQ+VeQs1NSHzCd3+ptzYRPMg+h2KCGvoUW1f5xjFWm1ZZYh+2xYE5uWxLvfRylNJxYvVhq4q67Jj9cixL3bJ15sJTzeLaPLJZHhmyP2Oj7mD7kjADjPQKEgzYC5ulb88xJJm/wRIrqVwmkrhsmrx8zZq9M2YPHTM32POG8WH8c3+Q+3qzasdF+3MKBQh+4gRv68/1Sw6EdVpHb4UXA6TfxtXDC1LifNszcoW6RxITHaF103Kh0g4kAvG7YuSSKxzN5+FOo7TCPlxhN7UNk8Hat+pc5ocxeuZE/qQtmFRJsbftPEvQPJhaUN3OZr8FJJcbt9PT69GQzRVrIPvG+Re8hpe/xSLlBvaUGbr9dC1aGprr8f7AAD+NYpOUj6R0inpfiDtAQGvHIg3FHQ6pOkpwh6GdAXqX974ua24XM5/sWhsg6jDuAzlStBmltkttrK6bJkOD51rELoRfiOCIhCoUakxlGGE5f/QnPhhhMRVvS9xDPdsAomfH5Gqw+7yqgHPaAqmfYdCws47IZFczAk4mo0dBnIXEr2xth+MYbgwMwd7uIRVBeN359qEnMUGeSOlQ8rTDjRv39MwyxCrFwgXQvOwG3FYplHP4n1hM4mgMoTvMqjhGTlr23kp/yQhh2rW6BqWZkDb3zDHShHB7LtC75auPBr/a2u3hKhcBB5nkaA/pAZUuUcIUL2nTPrE84ameGxTGCMDQshiH4aFy8GAqxHe2S5bUChrWGYdlUl04artsREGpT5guUYo0Szth1dCZhvrIg3BCXhSCkUtGgKrgLxW5iy4fzNPWdfyIGimxUwIuopi5PMhh1CAdb3G98/H9xqeHftgNFzvY0RUX6KrwmQDmfyME8uL3KshyKWKCEKRql7Jleknl9rt2Ji68scJSDo07o7yZ1rSQKCkV5UJqcmFs8stvOP4D0TYMCfun4v1WMQGL/9IN/Nfpd4Q8qN0e1LEYNpYZOjma9CUloi0sFFJc4JS36I2OuW56j4lIiKHiu1pjvBMf++Lqv5Uhx+dzYRnhR9wqSTaBd8zvEByQyhpM8AqBAS3XA1/85+fFTLTV4l6WDxG6cFq+vFW4hJmmCWQB/a4ZuW5RBidYqJ6GQSk3MhEzKd0WpHi7hrcZSRA25xFbzY80vS9lAAlhia/C/65D7Q3arCyITFMOL1/tc7UWxy8l/O8a+AfRDVzUgyZZiN9qLEdaynSEeDM783MgWwvGi69LJtx9x/X6WAZn1FR6M3AXdMK/ZcEXjJ45szWHo+ME8km5ONuSqf4aGoWm8Akcog8PPzF4C5m9jPbzmA6VSjWLUCKMr0+TrLDgph27fKIFu/ZwgjKPYtmTu0LiToSAL8Nsg/TEdT6ndPQ3AXy6OOv1DlOcM7CFlNuVMZZ00wyD5Nn6c/P7TyIvauZB4CSRfk6eHhabCwT0e3D5egCt2ihbGuYYe+60r7hmf6NX1r3MNNbCunEhk3j+I+oaSy+3o1x4lqDy+KAfY7TWsz41FyPis8BYdLs8pb+fK0z8qFw3y9MYiUbus7CNxl2KCa+aN+MUeYtb+Eo/nR/OS0Rz/9xVuIoKUh+zABohfkv8ca2kBrm7D3ivKNo0EvFtNPdaRAqEqOVPGvg1rQn8qtxMvx/cw+JxQg2P8tielQchdEvpIvNB0RePU+47OwpKCldEPfU/umF2vxNcq49Ogm+ljzvRT3RuV3fQzniIuAuM4WYjnzFmbhTbXfpHsACvWsxWY9WvVr2pWYvLGnVZmnN2rjZm7SWmo7C1ZmW38NFshoLsjUdUtG0h9Cto1ag2bOg6iz6a7Qj+aJli/nhbQiMEQiSDNq63oJ+YsCQOFlb3AO1tOreaUMN6Uzp8AmJb/nM2M8bPe9dEUc/Q1GyZZApnjqZMJyMGNQHgD+VldQzAVd6fWQYStgAAu1Z741mAYcN2bffyp7ZvQX+KJU4trbldvGUYqKo4utEfF9uLbW3ymaiZhy94m9eXfwF4863k6MCqkBeozyIndGkCfjK4kP0phZyNW0RHHXlMoN5ILtgN1PNmLxcvCq+YVpXG2hvQ031T2jKvoqnEOy/b0d2Vm3sOka+38LQMnfc997l2WBHwtp7dv0sP5dDUEq7VNJqwccmyWvsSVwTHMYkRdvDmU+AhkxULUQFurIrT/LBPvcIBzMTFDmWYkWYFxhLBVpcpwRfDivjYWNaBXV98zKefO5TMCJplob1Z/RaXea5K3J/VNu20bT5bCKi6aJMM04r5RlAtVuiditdP7a2Ci7v4uTeR+bT9KGnkvus+E01cPDBRVeOd+JoJYRYLpI/mELcJvbeZ8PNiPmpK/qMmNJ/e6fSR8aIj/GlF2Mh0dLwiOi5PuXoonE/SNmRbj+LYrP0FjTikQOv7bX76650xv7cpiwki/kdmJK0Az+u0ckpN/hv/oj+go6lHH3S4ypLq9WZFuxBOmsU6Zu5l+pN/ledD/rC+7o7DNptOjAEuWN4ACLapepSZOyHbxAJ5fL4P6FN/WuTq2SgBi6KC4FXCzrD65wNqc49NxN3RxS6Ai3e/xyzXuNe0JtrPXAcpNq/Wc/rKzDeJCWuquUBzngNclyNCXvoo2Mu5ahkaCbP7vfXYXaJnDXEIEZZtpfQPFE6WkH67OrfaSz/+pnuUG714AjDYUszs3FTbt9QvjyW+HoSVXi7d/P+CZ/Hu/mtdE0M2TXiUM56TSaBtmlirdteIwjJEaxjRt1Mp/t5K0uS8cmunCHjcmZWPC3CgzcZzUYKY1qLebny71b/4BmrwG6Rtsb7am8bH3TJUkCPKImS3QbxJ9d1U3dsGMpApiNOvTHsWWEeSwW9qI4vsjuZ2Wdw+UcJr0IU7Mwn0kPwx3wx4nDNKLib5qM9CbrVlRpQs0KUpUe0exGliXGkeoRO7cDAk2ZzqLmGp3rny32NJ2kLdZe1F8NZQ8l1Ya+mhur4wSFRmopgfdZQKm89B+50k5Xo6+yqJfRZ56DHLn30wDz38sY2qsn/z72d7PYWgV1z/j0dFMbUfwhV0GnSgEiBGTDndsM/bwiCtiFM7gW0qhWO8Q2aQZ1hDtg8FO4dKxatQTgxfLYYSU90aY5NSccU5OQ5WCzN0+uS/jxjXZqtLw/3S5lsMJbzUhIdsIdlsjz42009syrRipihdxgIkmZSYKLo8YkWXl7x9F0wwpu5HB2pANRx5zSUScSdjhtDWjslchOHCgKrZl1eamo10C4iD+nDy1mKtJMUVcULleDMYOuPl3iaj/d6oPfZks90GeSwaa5dbkatTXJIqfatnX34GBGhhf+qUjCHDtTNOlT3xlw8rujK0s3JfMKgfMMDNd2OXoop6yeIyAtKKnMAzukV5O1P2IdDQXuXCF9dnuRM+b/F5lJRt2TSrPFL1yhBGJ8RKK7V1ayQh/ILjzEF4AGxEJyK444uWB4Pmq4h/IggZilO2qa5ORzfl8HTL4Ch3OIDDIETQjfJapt1Fd2rXqKsUrLDwjJDEVDzvCktYg2mwNahswQ3BH8enK0FWQvZ/zQFbVCMWkXOtQ441V+Uje4YZ0t/L2YeFCNiC9+g0frIcikw85QXVxv5pLfZHa1r1ZRuk++Nw22ewXXmgdZve1E6v1Ugg7xM1vM8YyuqUB72CTR0VWDXVQFqp8hnfKkC8qVq/0oOTzIj3nrRs6sXExqszNprzFDtrWlBYAGf7VEHA15dKGNchGAoU7sVYH0cPHwKAKu73ecOfBLiShdKZ3wAyEy6l7C7YGDUq1wGc4A5qkp+R73KqmF6WzGVRKnLp9w6Kyxfe/LNlFXc1v4gqK6FQpZJVTJnSko6GnW5bim+nqam6wnb6IU6Gy3fkdMt8hXKxheZoi7dVOmIyZ4bm47LeqJitdmf5JqXzZPTQfdnEQnkoAy1uJtgR4ZEDzN2RspFQr1Hf/9g+GQBGVVSvxQ1xR0TR71RE2y5YdUQxYLdBzkFZt5D7ggJqjD+yTtDLlFkVXagidtLJAuYXLIg916a9rBkgKByEQg9pt3CS7Uh0jnCp6oIi1yn6Rqxx7penat4OLhDPNTTLgmkYIzSNh0Ttp+3e1bda4seIcMUaXCutRuFQqMjWyWmUJoXeSm/eC392EPqDJYR3gOhnLdPlywPjbO9n7cJkdDYqmZZ9FkOm4dzI1wMUFHlx9+3HZJSW3fZhEr1w1RnaIc2/NDKiUiLvwurhNBxTbRdqV/mxM55FWfke+4/uH6wfTMkAngXSrs+Ad9TALRbxIlFzShwtUFouVk1v3cjCNg3sq9yr8pIFfT6ipOOBKD6xDC0tsMZtSMK98wDzgilhPE9KLbSk5mNGGA8xH7tXVyV1THO2LRg7BriraxDz8cnqbetniTwo2JOiN3TgXwhoZ1x0HMImgkSK/3r4H4o2bH0crIGlfKiefWxQwhDIuW+YJEUHHJm6xiX88a10iVIQIdigetph/J7Lsk0bLhuJq5IhJQtLZmTzbrxhPi/3cB5XtgabfQxabQe+pt0Eq9b8oo7HUPkQTXponSyDoP0lJpf6ABZDY8RMF4FJ91jsmesTrnHq7vUNdfmW9p/tNgAjIttsEzVjJ6ugMwXmKrg5/0ra5gAelMGVU77WOqr7K2VbHwmcNtlDD5FzRnIL91lN3PfbcnzQjDJvCyzPIcG8VFstlg3BkNfFdxNSgv+Ws+JUe+McN/fPtlNbaEesnJTW2OA72HMa1HsAIHaORLYXwaxY+Q0c/sWwcfnO/AWWhSliRlYi9Mr7OGzdn3+tN1q2NnLL4lxHt151j0XtgH8qQutO1Assa5DNY1e9o6fPnGltyt4Ysg4Z0VKrdpfbPDJpEhwDBXZn32iFrG0uiyqG5fl/l9BPOxXcVqvRJSH+fwxcPiJr8lmhvkiTII7/yzbk5CXSspf4b3C6QIGd/0aWK7n/S2h39knpThNM1mvWgFkvox5gDfcFmf0VTIkCrug498HLjR0rZViv0K2vzmQXx2w1Yx6L/9PNthTfQ1GXBNXhVmcI0SV5g88atLYsvmONc8R406dWVfbz8TRs5W+tCEkp0tmIocVTnh7r8tty3W4F23kF/4HIaCGzfYkp+hHickThNmAf18yFWgndybRnIYbRgT17S7/hnfra8QaLIp8z5Pkp3P0HfkpBC4Pk9KP/E/xVDWoHj4jJko3SsBaEV6xYwCm19dQVovV+eABODmq5LA0Mw7is7WSoJXK4+DCpNM7hvi5iMM7IUllAnP79uCGDpF4rH2q6rLDdTXVFrdv/loZyxGSIvN1KkOFFowQYBNQYKXvcfZc/+fLsJAlKs3EzlShVl+Yot8joPJqv3oG6ZqQ3kcMVDW56HdcIQFQYXX4Gk0skv9szszge/o8XQZNqtQfdKqfj1A4rJd06Xce1BaqmmXHCm7dN+Ud7D7wpUakz2O57NlAeMG+JyH0iU9ha6+9JyEcICT37vajK6CQtwsONrzTlZJLhJr+0vlRBcC4ZcDVOOP3VEtQfICB64hTgGBKbP2amph+L1+1CIxjbtlBC/CTZE/7PDB0Yz6osRIvOzhBGxUp90AN8MAPY9jJTptjrWs5hrSXHeeZDOezul2G3XCd9ZKWao1+p+8bueuO7gA7ItYhnFxQtaVpaVEGIZWgDnV1k45rc0vxyjmmf9CJJl09iggZa3CWLOtx1Wgf4V7o64ReRqEtheLfdLAcMkb28LxR63bdVhtRAkqS4f4B33aFI4wwIvJZqCxo6rTl0dQDdNhkh2ZHXuppiIG9l8vndJPusR4t6HNK4e6oQDLVSY3i3haMi7+V+j07WQgJwAvRtYq1VkzZzyk2IbrjbKPHIw0LHJ4hihuNm+uXq9gYJNQyEIZMMEDNrTj7idCKs2O918VrihInPlC5Xm8lCbEhm1etO1E7wRlxicHmKDCmszqwtETyeM0nybGJHuqAwBmqlXVTFlh6m/ow2dpGIP2Gie1Y9kQwlWCCFElfcSP2a/ATWHFLXzeL8IQ0ImEcEzNIYcxxzdbeXkQQSa+lsKg3i3dFAYDC/Zh+Yc3ewcwHAXVXXEWTf7PTUj6LEgwlUfj2QEtu/CR1QuN+KJM4/4mXanavjnPGO9+/TJgmMTHjrJUkkWq6IODrn43a3rV2FrBO5J8MHAdp4PklJvUQpygQYIrE7Bcc2PmfmPGksTXYkkbZywUzfe2sVHlpQt7tHg0bPmXR41wRQRhkw/jH3NBYSMhQiE3Y5ygVywFhSDzn29JsRJzqRWX3wuyim5Tt7jxwrXTNUhLoQ1VgUCqaV4AAl4jR42D4evjmM3BiRGTfB/VE6k2hpvKReJVBuriEeN5f4HFzZoIYZYKGrs9TP67mPVrzIPdXhkuSaoU7qbi99duuHh2+GEd9yWHyVSVUqaY3StVKVnJ5OsgL76hhPbUZyYnXT4zgR4koHmsoUk7q04Uha3PE9+dytWKkbGTJ6upEf0yAqP7yK0WvX7Tj7m5Ffbw+iG/NXdDi4dgTHdslcs8kA2hKOtVF+mhkZ9qyI/askRLxz/M3ELoVZjes66kWm1KvrViArMB8ak/CvNK3TckBVDn4zFsd9lVi3LKdMqlcNE3RPnY0DBuMy8ssDkR14ybt9RS9iVgCXxNjSu1tXWruVdMRtI2NxuDTpsxB7ul0bN0hvhNPPUHFFmcCGVJ4IdyyM4HbhXHxToww/4KSH+PcL9UfAhW1ak75Td2MSIZh+PVFIxYL3wkLRaN0FP0Os/Eawoch1cHCcJaQRPV93SZns5QPiXbSixi6jPnvUTPgKfWGBTUoiAMIDabnhxhW/82XyjD04GG6KHZ/4akUGjjzL20Fd+WQ9/AS35OcezL5b/OgKz4JQmHTeSBdjXFc/eZIBF2ZAOgjtXwuap/PJlkFsKcZJCY0sxHToe1PoDC/EXcWC5FNv1OajuxEWcqHZsGDxW7OLzF6M7OJaawCN3t6ykWLqh5sh8cZTmFe96H3pbiKlfCyMkJkn6gH2SC34Y6fQ9B65Y3N0GXAdFaWZaQFbEOwBNc4jhAKwFnjc4Soj/Vf27ANvHNEtWhF6WAG7RIS2fq3YKTqnxDSR4nbBpVhWtnxBGMG8M6u7HWO5fVCqawm62zPTrCaUbbGXScXF6oyOVRlIu7mocdOVZFT76whIzzzcb2LqMtH2Vl+BdQRcl86useX1FaejjOYJNgct7UwpXz34auH9mOP8zrpe82UrjdDgxIOcqVjwG+61v+vfHHUPVlNzjI+pLWGLGwxQ0Hvi1/qEYBcgRawhEGVBNzBVgBwQDdyFMDv7hGpHcGk6KuOzsGCZdDRRN0cZ4l3RiHNtiIp9vPK0J9aL1hICpNTn6c0B7/SZajhU86MGFBBfMuMJMRQ14JCjietlefNVWfJyPOn9ExnfcRpEH0f8ncrsNAVpBM0sdIeE//bCw+0zCoN+ujjAZ+tu8mKBO8bDbjf0bjPcYn4S8pKEtLfNNAYLMI1wivJh4OzHreb1EpKB1D7WNwS0Zus2UXYHyn4YBSQQtMahbpQhYsdYHP6JZxDXL+JWF5APcp99PY2eJ+DTkUWWxP6h/zPzUWwCYVUnaql9rsk1jE2eSJJRyoxAQm5gZa+iskwy5p8JEsMkXRHnHVkqjFV9TBYedCCP2DvbaxjE3KRfTwhOXLAiJefdWJNqEW3nY+t/c+ZlpEua0iQp4/MU1ckhAe9B0PKowOaYJpxlF2nwykXy8R581HRijJ9JRYFrldErxFSzhOhhsobIS07KaWD8TD6Vff2RDwNc5wak07OQjV66tNBWRQi2NmDB1G+HUIk+owPtxM15dy4ypRHckrmaQURQ0JLjCDPcAaQpViuvKndyrRLWGIF5MsZ3u8WeFLZrEJPwIZ56yZAOH6sHeko4YEIkSpYyx68zhoQmQ2V2bkEd0OnnFHhd41/4EI8MojQfT29pEZdRqrd0ew+I5QEfCA2sE5rmc4DyLtCCfBjcThl5b54D1T/i2shs0SZ61iDadzxuQKCcg+5R7j8XOh3pdY+xvr4cAArBhmv2UaOc41An+Xe8ehdQ97QUJpqhJ94lpIvicjnIeSSXml83lNQIkfkCBzEmG0qoNusV/6gHZ4q4RpSoGiq9d2YmXF4ue5dhLaJ7GRPxrigP0LoOiyqAtIH+zHniQKIVn94LpEUCydTvPobHXb98ssmhCqB1DdSYFMQmbKyg5FuW6hcepvuvBZ8pi7wWzpBdGr3qTedAYKgrI7oAxDdZzXJrRI24S0VYIOInTsr/NOGdVbKNBahJkhW5H1sC4/KfUg8hAaGVUAGgtgSGmuPcgSlJzZiMaTnN18jqV9wk+TSA7pS1BqPfLxrtHY8ARvDaqyKfw3XdxR8p0brNZE3JRA8JvVSTFWdul+C/WeaxwSWKFPap3a2swA6nOg8JZphKoKIl8D6H/Arx/LhYBbkyZsyKvVjTchlEAdcnnKMF5Pji4fsbhWt4VB/Kfiz9J91aspOOOsAfEWKg9XOOk7t6DLKwpRQj8TIRaVrSMo7qSAZTQmXLrJuv5R+jDfDwafjbD94KHBikg1QGH0q6QKNDhUGVf1sBaqQlDx2JgKCMpaVW5AF252HOI3NjZohciIUSlc05hU75suYVv5LMgmxLeUrzKMysgqb5XtzjRxBsFEybvo36ZQsscsVtGj9t7CBYn8TFZtx1jOicFY7aJcmMDxEWibpadtVDQLEIWetFyXKzmx20GFNBm0dHBD/75key0PLCVH4XcwoSb6qnRhDNZ3JmkPOF90iDOYiFWQfdhk0Rne4gB8I36PUDMj5WtQe+1MmeDpygCywGspoAyMhbHJzWk4hkxRUcPEVbN1L/KQFkreUnDX49iR1QTb8s32DcoPbWfaLQHZ28W/5y8SbmSV/4Ea+81ev9oAGimqfjxXihI6M6AJ3KyWTYrRoLWTVsSSyZTPfOWdLd6x//dDLNP0G1hn7XBIyJgn2VhgmK1wyTU06xk7EQ1IgyiU195XdtSaJvvudkhx3L8xx/+RMetrApuu/d/1l/fzK4qo7PyczAeKI3SNjNmfoGmOXZe1/eEHKfnjdHLjgkTjcZLXgoF5YpeMDygjBj8U7FH3BTEnhq9/VriMlRUoBaZYtHvm0vrArjZG0jWWdCD0+AsXiW0hBHQKitcel+KDbZsYG5km6ntaaraJSEyB3uiVsHuyfQTl/c9hDjYwrYa7alZb8+VMYivh7jlFP921Ein7t7ltTlvB0yrTwf0IgW71NJwSDk5vcdIeg5FOPnkBs3Ki1OmkivFOGmHRybq1z5FqGN7oSaTlVyQBU5CBS0pX0I/eJ4h9V5TvSmxTp9+pYWP60CILRzD/UkUago9RBEhALrDMrmJniMLC+Y9e7PZOAoA6R9LaNLK9PtJFyFkKKRjhFYTUB2b2lN/28z3XZdoGGcpEi8JzDdjboeF4RpIsxNkI2xpXQbSfovuFI9zDYWi9ode9vFmkGNfNABloP0CqudUvX4fDVJU3nfH3SZlhEYPypqD6GfTZbIRoPFi2k9YaadXH5EOCCOTSbMSle63ow8nCF2A6QwKbWvLmKmmNB1pBY3y0zBBNgMCI7Al6w4tCVKo6cf4yt3LSwKHESccfQtijv+QigmqyVqswg9a8FbQ4p3x9389feFh66px/mtI7YyrzKsFBjnLWI2+H4kuSN2Msd1DDp1rJ11HhyuN4dk/XCa4J95Yz5C6zwA3lsC7ccMeGPsEPZ9bP0awT9ZHuI3XOfPeuGEhHfYiQN9NDLhq4GBAvrIkPhpOlQe8iunbyHypy8ZwZl4Hmo7Vga9+/02kSBglEb3acSt2jBg6D36QibGWMz9wEWPzNh85whrE7MKtBrsRx4aov4pqE2WpLVk5eqtdyGbMZRXy5llVPg4J8Nt2Do0qNYwMv+QHld3RpE752MvwaJ+MWpNU+zAuEtb6uJput878daabuL1ZkucOeQN1AX5HbRIxLEB3BmiGrAymWxUQlcQpG7RkX2QjUNbUMuzpUClin8G18DXpTtZAyMZWWw6Qb7KZj/QU1sBz861CXhTVK4eAfl31SQds5Xpqiak5CjV2fk1W4vYWKZ54KBY8MYZNh7OfNS17tCMU/bxVcoLyd/WS/naWuRYVhwg+6vh4Q0r5r0IP1OtNBFwNuF4CJtX2a1kZyk8zBNDPskZ6tMcC5N73AC0ISCZ6NzTOYNZjlY3DZGgyiASTmDoxFDtrpFTD3p4vL4yKXizTx1EZ48zqxVVeC51PlvWUXR2h/0UgvNj/2CDaZtien8w7XU3wMoJxFoczxM3/Q7oNnBP3ptGFtJsPEdRfWZiGiT1VVoJbmEgJszXsPe15+x1s7YsZxBZn/pp5EkqfHA6HB00fMI1MxH7yUn//WqXb4T4OMWZkEBN7ccpMhqZqMuPLplUZRJuWx9grZJbVBVdWDMkpa1QI2kK9+RnSAtle5oDB2kKG/iGeFW8J2hyQzCHr7kDTjRkF1fBOlZ9AgaoQyubR4H5Rvf8QC9CUkiaLeJrgNG/xzmxo8s3He1xJT+TifgcsBOtl7LTv5r18UDERS4YOeqsyKxBnACdkTQO2q0LC94U+NeFUQgEA1SXcGupqsQIVH22s8y4gXULMeWDjzbV4s7n+nphHPRdCgmxeQoe6GqxruEVz8KkuerzyIYx9+vs8N1jH8JTGAcg9vGHC3U97TWwV4VfuUXepeQ/VDjtzAYJw6cHQsmZeG7q0LfzTrS2nQ0Sd4XDHxFbBSRGn5DP/z1UK/wG3UbGpf3SO8UUmXHXIT8mNwjjBzH6Pt316vjsIWA1rckyThQPDIfEVmJTVyhqQaXtZtwFsOJB8OzAhzp81HLfR/kYuXsXzSjKWroT1E56nKlheZ/kwG5zJhXfhFWZAJszdrr/KZqAZFevRlD7Hhg2UZM1wv0clYc/saT+oJcjCVzVCNZHIJtKEKqXYfMeYXzYFyjpW3so8/ZaKbp3zW642lUzHUI/2vpnnS0VpHcdxQZQIO6kAUvZvl0koQtCt9w2kzAKMcTjZpxbEZM4tlDYVzH18IlRPl5LdG55HSmwMNPuXZanyLb9omA7xduNZG0Ru30hcz3RoOb8saUsNrWxJSTwHfl92Q3Zf5bDvzD8nXnNY2rn3p3uCm6/VWTQ5ZLHMu2ObxDsG1Qs/3VE5++foc6zm7Gy0z54mnsTksFbsxw5LIt+ONK3gz+mBz6/wMDNYN0i2tv4+a0AFuA1KTkrUTDiRvaA2WbophiYMZUo0IN0zCWsn9j5xB1zHegpLjFdtEJxDVfuLoNvLAIySlep04xqBMX95umdX6rQ0FDwEAttnWvJNl/ZGEDzdLX2VXlhUd6votFJarJfiB2WBadUWzfFTXRPrB+K0mAxmemFbccIU4Cy3hWGMsVA7e2be+JmWDim8Z3FS/+qhXK/IEUS3aWUf6KFLQPwMT3UOXodJSjFdGlTyn4RgMxW9ZL7tJGqWA+rG6Ig4c0N0XAyP6vWIz2cuomdTW1A28C36d3r6fhd1NxpGYbtNWdStBXZnaLFEDyVvJUX7f/e0hure6nzYWAD5kGVygBKdmrtzh14YeyQ8ooEXLuCowoEUy2TgcvMUork+Oyewd5co35RNJ6y4v0RjimhCBSbMSaO5V0iLuFtE/Wbf4tLMU6YQCz433LWXQyYhkikRG3V+gqSlrZejGFKh96PyuSx3SXdw/kJ/qqn714op+SlsdPNhxDVKtFmIID7CY8nInT3pnu6vAD18Wc+pXUqsbaXvVme0tNfkn7R/GlKaz+S9XTo+Cj6taeVAGAapkK6PrbgKrMU3xjgZ/DCBNbkGVcNSJsx/qkwos61EDZyk/mfMW1PEbNNtIu1FsyP82LLz+rjkUnO44zWsrMA4ExpqxNIq04ZzjMVi96kLj3uJsGl6rCDYgvGqE75/sqQHTLV5ZQPq0DIxNjmE7Lde0CiWrYZGuhzBm11m5M20NAxYMKmwqGWrxTmRUUdm2Ak7PH54Z1mm2ql1UMiLjhYmfsIYQgog6EZEf+c4M9KKH/g55UMwwZIjRcXNt0eJvxJ4FRt2Isj1WxkBFqKU+Ea+lfCEnwIaz1VNna/YWx//vLPG/0EkqT8Mrut4Gtzh47Ge3ErOycrP36X8Vdbs68R1P89KH+aiFiIaBGceGVEyUEMx6QKW5ZzG6+QUXQNB2UF5dAs2TD6iNWvtcTWh3ZbvFoe74tCAsitHLK1Zk1rFekYZBs1dXGA+fB8n7QDjwTsmvlDaxBsvART0JvLSxy5cV1ixv7nMIDFJi3EtjyKxfAYAUMwNPfeFfAmCQzAZ5pCcsdClyYvUFDrEP3mJPdh4SUpaVC1KUMmOr5T1qZuyq/YtxYwrM4h06VDElUYaSQ/73uVss0WjJWSBX7fv7CWX7aPIjwQVpzDq/7zGnRSYKxDgp648aIcN7secOn7KbYs14uDs1VKccv+Wvtumk48RZGrKOzv4N3Hqj6PnTFC4fGBywRbe9jpEzhFYiyr9aN062zwcJDqeTCgTyhIz+OjSTt/Fjl1mnLMAfHMTkFgf0luXZB0gQ3tqF52pHGLyCJuserNlursbGl7YdXNaeLK1fXUw7D3vaZvpCQ7/Ddj/HzC6JTpuHGmUgEcGIs3vhm2T+OxehtVr0SWHjbp46PBXwtDAbGGUX+Ml3GRJdrV32rEJvqtAbs8x/DAog4XIwzFwhYZgmiS7CRnL57NdGiDSjmd/42H0WrkUrLLvCrGhWjSPXMh9dYKIPLDuruJuU+hsZQ7S9w/++bAYX/3wBzkdnnNSD85WIn56MGaOsUttStZUFQFbR68A92QNefrFmZjtd0jSMs5/cuqykZH78wvDKZGLEtxWWrLw4/XZJP7yiFIh0V4abcWgXNP5eIADlVAlMVLnXB+DG9YhjuEQzLeKvnVXCtGUIj7qeIu70DVsVgSpepMNZ62L56lqjMn1f1rClh8GToEGBGO1LhvmTcj/sVSkIm5g/i0aN4p9wdSWS/MHBqiXNk7m50pOEFt1+njRMBc2kcU1pCgvTeg10rOKlwEU+Qlh6/ZCj0OPUbcng0movXmGiMVKjOrrBwX6vCD9fQRKZNJRmtWD8Rak+TvZKTqcICbOnwlmbw2dZiBkmDCqJhVy7I+0ijeLf+eS+cFHWxxwFWenRLo0bcZ742HQJExw+JSvhnvYFMQUmab6l0V9BajknOHR5/Qoygve94RiyGEY7SeRUQjS2R6t45dBNTlMWnUxBwyCNBZKyHwLx3/TrnZPejbtDIonYSvn4Z/Xkc0RbtRhaNLJ1il6lwpzY+wPPiWszgsaVo+GbsM2QEvIdc1TyhuWmMGw7mLqV2P6mtSvNOv1THVPcy2NbqdfZ7yUb9RSbE/1LGWqvYwnHumUTui7rf/4uzRlYGcyfhkQZKaOuhXFA1dRQkdDpYtny9O5UMn7mTWdTZ/tgix7J9K2s4rKDetIWAdlYfjsKUPgXTfldUcL/fJQhG6TQPLRk+bewg3rZjNHUKDdDoLyrUGIOSj34EiFGfujT0fUD3wGtbmTDHwJonUpPq0JJUr/MAqCdc+YEoD9+0fTGE/UQKzeeG2hFQGdnmtt2W9DX60PW9udNO08S3xi3NOuAEjcPspdTXBw+gRN9l09ri/KEaglYEOEBXXYTwVEp5f88QCoEsFrg3O2Yn7fXj+NSMA4GahA9QbLJijFKg1OXHk9C9wWq8KW9NJzaiJV40uxWNC3hocKZSjtkTkigKaiYQ26hU0i88zIAMmJlmlvUYBL6OpUe/3FDQf5H6oQNQLnE4NqmA7E/nG5y5aBnMG1IZ73H/2E7EchnjoydCrSeCqiASbfsXNsK2N5OlHvIcVxl26E87CLnV+xGka9bCJMiw18y1+b/Ey9JQFLm57N5s0uzApwDpcIax4DBkVEiki+19k4GLyAraXG0IacnGSh7OZPHzvKqDWCoLh87haNkghJupyerxmHx/rSRS1sWLUEE7uSaPAjUczW9AlSMW0UIzCE7v5xaURO2N5Fz6YQU5d5bjEdSYZhaaWOVyleDL6w9wZZlS/y//E3UixuQHTDB30R4NfZ+Vzm8idit2gXgeknqfE5DRUw0ZEorFO9ApEOJOM70Eir9qGKrouAX1fCVUb+OoO1p2695dzjD3Z72j/6EKgZ1AtF7I5gqK+JE7uT1v3Q1MiKncpR2DB0q4rT3/2MBP5fPiF8ci3QEH+m4GktrCG6DKuUOTzIutGiM+LlkeHW/n22SDZT4AKN/k6nOkmaOTmhtaZFJzgdsEP1T7o4xm6N3+9OG7B0zRyHQNLbna3rUbMNFjSCSYS9VbkBtyQx1H9s51TwRVbnlN3gZXoFcw+5R8b5vfHdgbiV8MIyiT5s/QHqSMQ8NaFPuY/5HDQ9THXg7tRRN7DPA/hYyBTUVLIIIBp6Q+TuOp/Y8snVtQ3v0TqgzM2jR5cce0lTOs8TOug/HaP5xR6/8M6Knq45wvQSqcnSqraZ0BnPSdJRfSKwvWHV2CV927DkV1KsEBa37JqAODskDXuzz6MSqnYLl7ljESfUttXxkiXjhxHl6hdMAzXBGrD/JKrn4vslR3Y+94rtqQ7mKLTSF0yJh82Kya55fR7LmRke7Br3UwgABseI0jFXVaP2ixNVZy0Nf098wsbuPV19tdRoRj0t4sjBha4zykdWTiP717NgCZ06acgiD3ZmUoSSvSvYn334xC+qncBx0s6Vm85x1vc+gWu4aurII9GbLx56l3b+XX6rAQkoVE+0jL5F/XKiJho6+ml49Pp3UGGNQl6TnNArjLu0xDEn5n1VpOXklXAqL1Z2pBXpj9bihmpB0/c+qWCAm0IzixldUrB0MlLsA6exWfCeFbT4NIihFFvk21dP9vXX1rEQS7ogjQzqZU1koXzaXh15Wtdf8zmxzFCS4oiG0QaQGr1ng8EQrf/f3ehn7zL06IUr1ydmqkZ5JL0w2rg8LZ2O1e6v/Zxpp8lJOvvpZWshimsuWFf9qGwhXuY/sZJQAB2hglIAwKTqojoP/eE1q29ut0B3KnHRZ64maVfD/kOfch/KPEhGYy/7T/h+LkNEVM0fF/Vps1qUXbDW5La20H75K0Y8m6/sKmaJWIOb4laxYcElwOMtrkW8X1TcGAhhQXuHHdyt4Ih5BGbqEnP1HXQv/3hJ0HvZZq53YgmtQwBrxxaq7MCtrzW0PY9i0j/ClK39AfUvc4TFWfEBEOjFKQ4xKXHhxLG7oHXPoPAKz1OKhQKMBVnFgqGZKuHnNU61RrvtXxJqUa6Z5rYnCGLB/jmeqSwRv8tCbS89zvwJHnJQzv/cDUqDatyAAWzvUGzxB4ZKKhnn65/vHjRAb1eXzoqifwmo10+AnQC9BmVMWLOZdOsWan+MHbkI0Pd8GKw8VkQ+0IPsOBH/NR3yGHYARq5tW+oSu/YlH+YnL0poPjYIMkhDPpMATQciEpV9sFRxGNeUX631+peVFs3gHYBewQuAI3rlzCCSVn2nuVdrL5oxWxcYfXjSY555tOaiZubwIpO5HjkA3uOq0IvYvx6e0+jvpR8cXfkG46Xl16Y70NRWv8lOOc9ahH1BtT1HRZDNADKntrASpGJZet+m5W2BrDXjCbJRolCZHHSyc/KLTiKA5oU6CmnfFbH8WriD2qVgybtITYKQNT9jBeKc7fgKxR32w5zgCdd1uFsncYFAdxyac+aeucLs3VK4iBHwLUid9UaKEFqjPsl2QKfWM6Oo0bvAbXYjWxUCkbEI4AKokHGOd0RKDtyA6ITEa7nNTeVAy6iO7p+l//MumCNRpbhH82TXhEWcsX2COJDl3nERGe0XJGrS3eQhM9NFIa62y+TPl+9aMRbifouGQxqyiJkUIZumgyfod0YNSpQbOp5qq+LF1ar8j9W/E6IkS6OCfGvqegFdH66eQKGsVSBXom9IppRLrTzIwPX1ukoWOlEqwLBtERi5m7TN8jtrBjAgLPv1nK67FynfgceyO/McgftOhRvP3h9+Pe4tXkb4LKx+LpYONoKo1VBUDpLfUNmTplnSlGlge+PEk9M+2mMYr2ZkT3qxDrccr7C2Fk3iyJBaJOs6gN/WyCZxdYJ6uG0v0mckRrocNJ+68F3OL5AC6gI199XW2x9ifhTbU6t475jS5nUqFcWSB9SI6cCpaPgKbHYmJSAndVS6begr7evpo8kqdTcv/AZxbtdNvhyxQAUwSqgF4WmFfFLINhC2uvebXReb2f76a+r7irWnArgvjAC8074pMcWEPWYdvPWndLb1ublsyMhGF+JiMDTZcNnh1WxPSbQg5s8XlqJWruIg3psn+zLe4xli25PchWN8d0e9NCKsKuSe+HiMaQ6SWGdwtvTWeN0gP3lPN+Er0/Y+/OyLzZc8ft0SY2vVNeaM58S12Q6cSLFF3mgxm54GT0OeUU7ig2T6KLuyBHOQHqh6rbC70kkdQwYmpE/XZzGCjxkvVUmZVXbXk5+W7gEPZ4bRE7Jyg4N6Duk6sNDlyDMEGk/3NXQ+R1GUK9Pgz9+w+kcB8STsRFaJPBB4VEVb9b77YQI9Smi1FOO7gXuV5d9RLRTizCtX287T/x9eTSTE0aS5v3zYYfw0QocjH3pYNKZAps+oDYdQMfSpuYy4UryyaqZY8Pv6VD1X8UP2yp9e/x+DFyemljo8HmdxAIImcBUF1kF6sT2Q8DV3LNjV4G6ce7fMje+bH+hArIyjRFCU1WvN69GnHka7x3I86ZHD1CIqgoCMN7MgVJx8Th4l1vXycelbbAGMAGDWz6aA8YJcpBaQrGRwwPaKnJ1z0Y1s08ktxDoWV8C7bQfCmIIDql604JlyxK3pVF98IwA+WzEE6rHFhwb5kmyl/nGhv2+htf9oUu1iKq1lO012vNu4aVoQroAp5rKMYjnNGS1vOOhM7udtGrgO4kWxwfzT9k2BifTh6uO7d7gZMordG1dXORr1vAG71aRgETjW/Smt2f5NlCkoKXRV2LXHQPMvh5jyztQvbqdWq/JIIVXaXOkTZ1/KwHl+PuPPoarBrF1LqyrEU+T014hY3zAVS32GolRvfjot8iFmxuLjdsAkeFjfxgMjQxXdnWdvntcZzl4pYEv5lKaFCXrQfjPbk3XBAv0L9hdlsYcRi9SyVuWqWZTpsn0wbo/vkZQlLd2iCjXxc1CFFlbf7aafWzciWjrm92MtlRVAzE3+bfZ5ffbt7T+xp36zDSpD6rqAxbtwh2tRz9AF96THLlh4frjo84mYlQUarauL/NaA9GeISOeA4yxpQdhS8bFJSKbhqjcf8Ocaf8CCywpP+iOZ4uThKuftLfuWk5wwAiCXH7yjgpuh3Ysb+nC7f2ecY2laGE4/aTN64ImdJL1MdBwRJviECIbMQNbFqUSPmx0iOHYjpa+DVCgnqrOfjw56T8cc0zrCuwW5HCcAlJkTB7lZ+w9uHuvPWypcZL33HsHVkCkDwLVZNL/VNCXSl2J6n2J6u/HbkkoI9zAK51/ccWaPVNGY/tlCFZtFLwHli0P/AAZVLAN8xq/aNVHAG50WXU7UWIUj2YMRCnK2uQpLgZLvSzMEAHjpRy6E8UjinY8GpBKpcWHqkf8lM9gvSSnJevj4dMcI6za6F0h7EWVU9k9BYb1M46ybE2/B2bh4yzcF6MixINQmlobVbkUwtxXBON6z/MbuC2bqzUKfslMNIP/5kER8xyzw0VeqJPiU4uCLyYr/CU55RC7MZwNKndIUyBjl+NjhfFnW3KGZiBMeWXtPhZTccfTrKxcSlDVC+5l6+SCPQ2ZFiMeoQVj+VkZszcTiHB3nuL3Lkl5FPs0jDR8TvEcgu3meRqrEYmJdaMN5N9HCdzXA3b8r6l/8p9Mrv+6qmt2CPzzWfiS2L+YK19uhbcTHrWeA16Y02nKPhXNqXPoS0w2YYpbCdjjyiasUu8aamlcse96+RKobQlGQmGzR7C8AIk8v0j+XGCJBsBkFYATLRfxWtLLRJmomct/4Llpbni0PRGiOE2tCQg6/QBNAMOCiTgj/+DJ87ToCAV7wz4IqTFktVONd7Vth6qVEqGXqK/YPO4MN4XrAKGckBV5RD5MEB1HuIBtUtG7jQlr6fghnSgXu+OypFZBBKCQa3H45P1wUtZuaUPjvWeXVi8X40aaj5DLPgNySuaHgyfcU5YJ8WhTAa02pR3ASi3WyGEZl/MvUyfoxJWd7OXr4oEmITAKQkgU/360DZxb7ssiwpKwdQOBbhWzsdRsThRQHqyMcThL3gTIlgYD3GK7HqVLHBkfqlNpXFp4J9N+8xhib5qSSne1ojPtY3jKy2y054rhy9SymNSgMW8/vdPDXkJzQyBCeqX5gSyvUJP3yjRbi7mfC2sZ5WCvCL+K4SFaRT9AxLshX9GFEoKQznoYi/++q4UGIrsC8RbOAsKqMXd/UKTs1j+yu2+LEjul7T4Rbze6hVkRnvK4ibStvMQPTbY+dkfYodUNfvVGy/qXu/NoyYF0K8zAXSj+2BzM9184O45qEz83KYhiJ71+FRSFFWBxK+c7lavZSE5dq+6eaXP+vJGa0pgac7PSJhMFdX5RPH8zJpaSfV/Hj4nkwMilaBz68kP/sMS6OoJtJFwDnYChKVVoEGqFqXtQGEjB22Uf1mfezCboLgUjxwOq4Kj/BJt84fgsKZsvrcxM9/cJLMUWOAX8gumbI9rt0MKuTzYs0j/vD8FXVIGDO7IPtK8LIfffSs8ZHim+cZQpsXcl7LfhrdpewcnJllycFyvmLE3zk/pAUVqMaNTYE6pBuaFrj+PHcXuAOMZZXlKM69Pmm3aIc0Cpu/Qj9UYTu0mKN8BJsG019lttjoYQ1RPRUncg1kKZSM2MlIL2Lnwf4jH1vsy/6aRYCP3OW/ET6VbHuBqKXguslCDKsWKQSPUm2kmwxnm2shMqYQF6rEyI+leUVnFDt8WAF+AHOaP29Sz8dhG8v9aQt20CHJO2jM25eZxrcNfJwqpo4Qqlh73P47cAJ6Krs6TANu/xZr5Kk0AsGFgilIMPHyU+JLc4oulFtbZ9IjD/Df4RwGc43oVe7xWBFY2GFOTro7FJ3TkKbG0idoxexMEuuVMhfPUeJvTFuw/XldL4ufaECxYN2uIkWtMi1BlZjf+585xrEKHauL+gEu83tyCA+sIyibFNaSCGCUFesIyS7JbNd+d+ssuy1Uw/Q2Bs+2EOU6HLboIqf3whsSaxS0/56sUJnwhfsi20zmMDIQkCzY9oMXyqb1xhQqPKIcEXnxPaeT913DunYFOkWXBgUGdKddKvIeVLWOxXYI+8FXPiAjU0WXhEvetPHgxn4dGUqE2HggUqISYD68Xl4VdAgyrXwRgEVY+wKA4eHmfaUM9VU6VY1jwGhwZVzIeptQgB5ILzV8eDvsC6gXNszHtFXM6IgJCPjPrkLe74P2E5kPe/0nBx1GA+zlU/2Fe1pLW/Uu8/IvokL8gvh7bnJ9flOMXTPVuGMC2rvA30ntbIQ1OvgQpeMwMibNBtA5XIKnLd7GNH7TuU2J91a/45nEcz4NNam9veOj8PcYNyhomnth9Klo4aHGU2uBXjvLOB3s/ktBQUPokUX4jpFPW2M0JBCrgOrx9YQGOOh1fpEJZvbu3B31Wu+tMI9caVcTrDaFpSaW7fr57lbpwWlEAgAQx4sBdzfjECN9n/bsty1VJzUh86d4gsWetSKT4OH8gbfUSa6Tqqc8SP/pcA4Kid2lx7nTBZbh/atqDzjdTT7svntej93mmtNK9CQsY5BsqgJQ0QEAcpX2VVi2Qtjg7kZoZAvmhZCmCz8RAuL3JUmkvKRZWKDLRkKOm/EOco7u4rZLtG6r60C0WTM2le5CYhnpO0srM3l9SFtZ+FdDzoA22uQRwCB2OP5oMPbVlUGTRZyJj11MSYTm4KJq7aMqWDBr7SGy4jO/ZC+ZSQ4HgUDw6Phv5VplbsPVO1GDm/TFntmwKz67mZbER+rzSk6kTfkoPFyho2KOsHjh2cEGpO9K4F6HZvAr7a3rOA020orUqvPFOG8HmCpm9t5kZ+PUXoX2S57BVHtI93nYyaYYmwcPUqM7kyd1GijnaSiPXUmPV38qRTdFl9+q7bIj0TvIy3F3wnqBr9li0hyOXa6NPvQOU+WGCqq4WyM3Dxz9PacUpPU39W6aMEDh0ytKYEGDa9uZj/CnjrqBIJvL/YNml572k1PeKjvGzUZKhpYelqBcFsF9VX5qQ2VMogG2jLsb5mhrqM2kKigLJ7dbW/2PLLtHVzDeETfvPBZXI/CjiYYNLjiG7GfChJbJPT79BA37mqGPo3nht2tLT9vnNy4TUI3WI9reyfd2JZ82+JO9pQwhXGVQWJoUYI31zyuYzYf9HJ/CBj0+nuYzV6ID8K2eKMRzlp9Vb11d2o+/hfAUiFW9TgnPNp9lF2ty5YJPd/ipp21qz8kC48Z5Mh5u3VB+653Qa/5wxAwbZUALlqa8HWZYDPFssk/RrB8T+Ul7+HuxpBQzHPpGLzfvZHH/ZMJcZQweQLFTWdrjvBarUNCFdttQ7NVmqoGN9Ga642ctpaY/2xW8DAJLWzzEOGTXi/0vlgTqfVdWbrgVO6rtwFreN9owaVQQnc6er4y53AvASepnsbQ8qDxUiWMQBIiHYid0CZZR1GA7Q4DQtyPmGjx7HZzBE5YLAf2ec+tQZDk6gkkiijuApa6ZCYn0Sxoojq/fswoBbqvr7O0hSWF+rWlcD/ja+heLmCDtnNcq23ShmMa/fOK8T7fpgbbpHykyl51akUdkbNqsGQk9+JmOHz3j3CqnlUBiNcPQ5EgpdpY1qhbRduoVa8FOVX41Owoirpt9ZwGiwctY5ou+zWlIL/67UY0hxnLeYxe2nTaChcLBR5wRuB2uHreor4KlAKFHKGgjw2GhFfLhVF0tAloqS7GadGG3Vg1rd5/UXMnqLZJMu1uJm/eddWY2dPm8uInbfxhHMeMCTFk8vg2QHZIjVJ9HjORzK9r8SlI/JjSQNDFo/V47Ix3sK99T+uQ/r50w8uDh/uKJwXjj810fO7kZtsbVoDkz3PWFHn1eE2eHmjjFb3xSul36xsSGlouKpG4FiPA2N5DKvH7a4SmCReQkNvMpzhZPvJGPKmuXD3BWv4lPmyoC8AoBfI1s8j5DBuYnJ/7AIlMCGJUyMpwNvMh1p5FOY/SkeVG4yTx1fb0wgTIgtiSAfw/69HkKN0ngli3k78d1z3O/WQjhnb/g89ExTwvJxnFXAnus48Y1zvQLcMuZ5gO4976rnqQjjQu9LVoku2nuDga2ovnLp4vapvI3FSYWn2NYQ0iThLmdynyzNaiR7r2erZ0F+vtCwmT/hkudQrl6neDwM5dvU6GH3/KUWPwjzEqj1RPDs1IYWwD9xI4fdEY0WS+zCyEAZUMjEK60RZ93ZB771+sjZS6KIe2is6fRwyTiX9VOI8OTALSINSPpbBRVVFvQGpgT/hND8+mwiPBtTlCQSn+udMxQU13uXMd2jHIglKEFJyXeyQzMZjIDvqwFybWIoUNxivj7R+nlsP8mteOl2pPdXLbXepXUonV9x2eai3jfjTD/Uh28NDcuXxLFWzldTOL/Ik/2XA5pr3Kl0BAHT3AMy0+A/dcCuZxfCYSJULWp7SX+RK4+h4UBMRn7dRn87TDAwZ17DZehIdOXLfXvt0piIPM6+8JJas81EXz5yF5R9Frl/Z1pWAxYwRLyHsVaIBJI3hspqxGQzUNrxsq0hmpCUtMPdp8TYIJ05IyEb2d+oOTxHvKfLy7eL6ZBEIeUP4MofKB0B75CNFd+WyEpOLaDbnkiBApBamb/fTW13OCIEWSFkv6MOPFgYrqNcD5qzmWnQgQqRFHwVS1ilO+jPg0Bornpzdxc3EM3Ux1pICHuIjDTgYjAQK9XFXu6fTkWzkB+9mILVxfnZ8sepF2ow0oXrLd7BKfdJrS8MoYhXa3foOLXRcSo7LshqrjzuOPUj/LzB9O+VIY1jqypDvOI8SLRNh5h5qhlhFfN1UfOZmdB0zYJoGGHVygCYr974Rx4kvA8KhGcce3LnKz5+9CdVu1OMdn+tMVmF0+hRbOR4sas1IW/48troHTTmiv4Nln8sZMhw9IN5k1YxRqECgdDPYYX5zbsDrohIFdAFvZd5wVjknWiPZhZlw2yd9WkMZ0qZX0CzPrRbhFru5DicFUi4KIOjVVBSr+Xnddqor/wjntrrq5+VaEQ0EUpVUf++nBEXGa4BBAgeWBQnsiHHtIpVIPtOzKDoioluE3bT80V5poSE3K7PcLN6yKXIRIpTYaZjlhfps5a8i4kETzDIkkmSTDj1QC1NbezDr1NDVRNVFfiY7SwSaewDtP8QHcxlVASptz7RohpUTe3oZdC63XlAO4RErUVM0Zgvgw4lEaCtxGEodRJNo1MHfvQbEGwyIIZ+4y8+9aTkWYLf5QBcLrQw+N0ptu9ssS2vUG9YwhWkxC5cV+uBGdHtf5ACnqItdJ3c4QH4LpC2htDO0UoQJIOcLreFpreS97xzCOO56ptMdLSNfYMSv5csbC/4oh/hWWhQpyUnqvn/meRONrajefsspYCb01LY22TOahuTjm4/JUY0+a1RE4Gsstge3aIAm+xDZfR7XUr1TJ7Iss8LUGsJQlTBietk5ARMEF77uVzDG4DEjQRJJL5VD6gkOJIc5Cjx1Y46ajXN5LSdsjafQNHyREubKauWWz3Ske5N+GucwAYCCX4SLwo3a8hAK4DpHyHJPI8Dfbh860ZF+mTOyx91Qv29WxhsiGVUf4EsW6On7oYVGtunPnORVWvPhVbHBKH37YY0AeUqBFn86T9J+nVuX0m2KHofJhkyksdC1T+rDZUns83HVSHkuBalwHKsWtNs+J148oNNgycCJToW+HIM634sVQ4gokajaUc57ppafW8jj9NU28honOjwhRIPbKruOzoMcKGvmKfTSK/jLzYfF/fBMxNvipBrgLkTB8vwVs4HcXULLS2BpZlGYtNG7DT5ZW4sUU+DZpF2caoJZb5G6TV6SWrcMxBkBXrKgmgbJJEAd1OOY7L0LmOw0OyaaamWMxee7MDRaR6rwj8xss6J/cAY/XRrj3IOYdrYLIUp6TMB77GWrTo2Su+/XRRVtgIWeM8FGdoB6a21qiiqtOiWP2Ew3krLa4NdXgNsPmj/nfufM8PAzxpdG1qB5dDJBEHQXeARLDzwfhniV/h3EehP70bvIxQZvdA6thOe4FZ+DeCJY7TRLmyuocG3e2k1xMjL+M1eEnrmPoADCcPZf+HWZnVvrpoWoH02LvsPwyM1O1vUDzMieZacW6NMfAMh0gSZNiCTXpfm/7ZqoVUQYwNPZ66nZUfsPZAb6tXXNXiu4V+aa7y4xvndIwDjJ0XR82OO3dvCygf8ADSdR4jyovnCZDGf/z761b0Dlr5pD/+AecRrFNHjRZLV4nsiDcoUSjjUCIxMlb2awnirfYkGZse3GHoBOxVELHYIUZDCnEMSZCj5nB/8cNmzKg5uaMGcXTquE4MssXpSW9hvVGhjlOpXFIe5dcMa3hyeuzSHYqALvEdV4jso8CXjDb7tRpvbKb16Rs1WWthKhFK192YqmPGhHtEh5KPpmryXYc5XzzCkxSDGaCrkVhTqNEbVyyxk6hbXDrn18AsL+Zuq83QUjy1eHMHmq5rmFsKzIyKlXAe+XkzYo3tTnFCLZiZAPxu/9WOXod75PCpa4zTP0RvBoEQtLT3P8U93XSsREuZgR6ihiPuHzw9ieCVoI2Gs/Qa49GBFYh6Sw8zAjrxWhFxb9emYfv79mXp18dtvr+hlXQAyv1g1cDbvxXZ6K716AOg+lGjawu1DiXIz179V4mR4s10XD+xozoq0k/HiHjZN3nuHIirmkceBLu8gtzLyMtyhTTgGqv3DvbjDzyDpGPyW1Hv8/b6dgSBhliNlYj5M3ELNKjywwRcAqIN0daePRbzikPWF3ahyvIyZL71Un64fsIeo8tjz7RU9IVe+rp76r3v8OF8HscaWFofy2OJEtzStWaD6tIDI6FrXB9n2JxZKV8gXUtLFYFuP8t7anYvEC0sY6uVYKXUy8WgSlmJaF6Btw5pfpuCv0C7Zx5ZuWyZ16vPY9DRZ/AFf7gVfddSY0HR3VlwEt2UeCr+Il4VjMWABOFximBaA06saORPPUeQoAu9gFo9umijTzvicaqqLA5fjjr3gALbhlt6wGL5nCFSSjjnO6Fja2DXMdYXNVmelX9cvf35nLzXOMr+uP8JnnYauXeFccdSdNEa14oU55j/w/nSyqC0xmO4AMAWeZ1PPaQS5zIhGFBPAXImf/6rk6fCb2L8hOOCeJIAnTPumhEyIngRXE7FZHpSDLwdWpOKRviZ27f9GLukrvt3fke+qmVDRdA199PVaArnyZccQ4yZrTSw4+GdxwnC56NRWkhjEUlAxqhme/WlDvEzOFFiu4lXT2pGBR7iIAtyntzGjUTzbxi1+WIGX31pmE9jWxpy1gaDCDVvGotC88Y1kD6rk8PJMMjqVXgPMC++A1YtrUm6RUvk9X8ZBTZZm0F3IUYFlKmifAyz1cHBPteGuJgll4T1QNzercKL1OSMeXbQ6VxB2V0OM3vXxM4ThgQRHMQEMBLT/GTrCOrFHb/BAw85yfRDgF1yAFrZd/txlCp++iX0zqNOJ6mVKa79oSLKjjvVAU8l1c0o0GTaiZoSUaaWWIl9wQMSKyAJ0mEz6s2Ye+qMbbTIXmSEhbv6BliQJzWFLf6ZBzy2pASJyFY7Q8yqC1iOJpZxOqKkl7K2Mbm/xr+t52mkLFnWpB047rGXIeJ8qSOyBLhTu1G5mvmx1lGQ/0BsuAjHZjbAWqHd1RR8ghwXYX+zG32D8np7o0xOnB5pdgaQ/R3ez5qoSGG4spW5D9Quhe20zYMzgfwXS8/aL4rxpmwl71I9yc1OCLlOIUY3cT1p5aQ1igrSkSmJzM/wOPIYWWlhMNmA40fC8rw1QF1Migm8kAFyOpBzw4UNCKep4baogYkihczVeJMe3yUbG7mvKDulbdhsM1S8XlBmdoiVv7Cty/8e3R52YnArUgfoxqoPucF9kIDuacGy8d4b4XzVbhrLuiHG6En5hDlZrNtxuozizCctMVL56PgbZtaOSQ7rqK2KhcvsNJm1XxoDdB2ACN9sanH7sUeSx0JVqc78l7jhUudznqIYvvTQnyiKnJpCAR4i5hpkTPL9dGT7+v5+FdS5w7bUyIxSUiAm/HJwdU3Oe4xwwLniQG3juoj7l0nny6qZG4p5SDpsBPUbnMshfOMjjVy5klcEoRV8uRKPSZ0YVCuXX7dFARrpeMzgmmkLEG6ouKv9AI81TN9/3S/Wtl+GibbLjzz0RtGdywIiJ9WqEdcZcB+FHpvkK/GlpcatqkH/KQEGfGW/R97vNv87WvGmUtTtiJ9wlCZabUEVPdbOhGsTCUz/v3GqZcsaFTAlUXVHCwPtmR8rM9SxriV2Qp5Px1Pl64j1TXp5o9EIEjInh08Hq6UDAIqoIcf7MdyaCiGUhVsoatJpwi+etdVBYqmlNfTTHlIWV9V/0KXTRXGXRHPbgrdF9nabms3eyCJ/G1zRStFf70ip8AMHFZ3MRkTldjaIYQ3VAErjrXMeySsPihbdUwjVzoOopNnbsdO39OdS2whYmjw1ee/eFHByMAd3+8F6INS9cBlBwK2K9CilR09L1iT0iQNZMzXieWJ8pQ10UaRIpf7ANP+l2+XJrn/pNUkzmo2t1mjQvh3u2pdII9oX62DPz9Yg/971DEuTwSevHp5HDdyTlSO9ZPd0Jo7qmImkL6Q1IlUNfOXgaFbxpoFqSUae8tLBYhGf8EJgn5cGVzqpoLyHNsuwbOCC8XT3BplgOFk2l/s24SaOcghz3PK+45tLF0nHu/GVQ6vicjsmNh5EJzrJYBddEj9r8tgOIoL2gFnpNRIqyr2CzWuIoA15kEs9FSPkhLIVmSsbZf3ATLdRuLmjyRo+8zi7FRSq7xhdBvKOqeDlAXDL8Zfl2drA27+6kz3vcCNzSmIbUSMpPikMP2nuH/VT1vQl0KirtGd8VmIQlw5aq1PhF2ZaAFWY6KhBTRRHDPdYQQknGIGQFJrUfIJU2pXIvyaIsIa9LAU8gqyTVxap62y7JzBi9hv8VNFqxMxfP1rkKglp6/Qo/FUgfDhMukidITv1mh255tCjFU17KLrXt5s+AjkLE6v5V/7OfRLGTbnTkQu6Bi796/fEqQdh02yCJpPSqW3RC1XtR4f5kBvONCWi7pQwjpUBvA/52Ks2qKCqZEO5Nd/ZNKXlhIO4Yhr8IaI36FOFtiHgZNMSwTFuOIbv0lph+4Q9jRZjKdVCel+xUyFT+dOm4nJtfQ6TSQwp9fX7RwdiqElCSLUS+4t0kIvXGwbkZOxEVXj9355IoO83FMGMQSmQK9Wsd635a6Gtt3sfQ+FZjz02K2pl53wM5AbIQSCWl0y7lMn/w8Z/7uRH+dZg/f7Iu0jm9P1Ugk+yG1rJGkt9aW4CWG+nGTc4EXw1xxNtjoZ9KW9py/DT819LJCUh8cPZtpDuHALhJq+Q7swQkeMJPTDgR3zBlv/2qYYe4dXvdkOpqXGVQ9Q6rZUf3Jbu1SGXwvI4U9dceWBGRj0TogsV030wciHstmxLmc99t7GIUTkQ6S9Fuj36IJE1bkBksJXfALzgFjMc3f2O7MqndBi2SHY0L22v01oEsQSuXWK0TlpRWXCQOVcDXB+B8ZN/XgxU8lz/rpdln8olQuHiuHGW8TYsV3V0G40R2hS8Jy3sKQTX6I74UFcE8rnduSmjAc8oRyQIpDVNiJcVLwKEdACHftvxlzh9LZ3W/o3TqPGTqEzZc+xPMg6/SD/uOKb06owVpkLLmdkco68Xdh1pjZSCjpuqfopFCDfNZ1yRl+92wsbKFrWBhQDRpELkMASkcxtXzqpdpxSFo+i1qAX81MPOiEHVaTeyR0eLCAzJ3lSzyBayHZpC5LHIV7Oq9Pa2x7ZvgPblmnQsZfGC3O14AkdpxD7epsdDS2ajYm9WPpauipAZppDvuSMoizN+NtLAHuJQXaJnABUla+9kPhyw9jCPEOMb86jgdaHBCaEHjfrHklFvkQUqW29C5e2N+HMV8a6/ND8pzwB2lpsjJ/mltN5ld5ElQOcCNQlGR/CkQeqabIbwqd6BM12MQHA3nCUG4fYjmIl472ngLH6xulKr2BGLCaqHlPzfPLGJMEmnrrKuO3tBnr8YALeM/NMBkJltIHmmyor7cg3/baAeQXUaZAkqV0ySe0t+UyDmEe712IgGW1q4j+Wk1DgOZZSvFFG0kd+cUycvUSVadO1mgiWN0+rtnue/IeoJq/cUFvMXCfjMFvBhVkqpD2m4/XZfPeHP7YNnEtTBmTScmiN87GKcE3KTeXgEkOkjdTRm8E07CMg2jvNOnqIY09Pg9seum08zqeMeKbU1hdmJX2t1vCIXXu2GTLNRbPdWXj50wx9BhkyXpG29EWo7mEzAW9FYXKj41SuL0Mq5C4cIRgAJw329njiUAPtckL7KZJrpXuWAlYbbOgEHoMbojNQGIuSMpZBVwJ45nKxN5Q6DBnxph4KQnVDqdBiv2TGuLaVAn2O0gnqjaKDmRyVrKoCZjOA37/WfZk8BiKWfVHsjRzOgjUp4wioUSIscflxG+0WqwYGzVOKj4y3wQjN8K1hkShau0QpKOQc1kCEPSVT/RqYGdlzmB4hnSlD1VNlsqvhC2+TSYHIMmErFMDH01Y7UMdJzltm1G0UyX0bNX9WK9WyE+MPkBeZRRFRCVi4g7/sD5r8SyoAW8uxezyrLFTWdUN/+X0HVPQqaUVFNFMyXejRzyC6mqiiayVFC6MkLmBt47ZEyeRpNmYegWUcb76TYArRlsSOBezf3jLncdwTTRJrP2kH60OuJOuXiMJr3+3gR77DtBh+OVuICn3r4F+acj+yN7M4F/O6MamC1bsgi5CbKgtl1dBx78nKrPJuE+vaCK9HHIEDrl8mbP+eOvXSnmWrrZOYnhLTu2vLDvaux3wJYyIdoAN+OK7qEAo2hzj1qsbWj//gzYSBPIWpRlq+BClcIZenkSdX4dHsxsHWjxqxruGLZ0/Ai0TQZ10KYJU1QY6h3Ou1/jFBpi/XbD70uyJDpfrLwwNy/fWGKCOaG8aCGZihdXJGowln50mIL3pfClnDWtuTLcZ1XmD6JfTdx7bp8wJBY5hoqqCMmYn+1xXsKYEajmp2RlLmNkwuwvlfEZ55WQVM05qQLfYZRXibLv6M5XekyIRaKUww/b3dJ11rSTu4QCzsQJVt8CeFG5KAFUUyOfScFyUAdNFPiYY9w3GLPFBDBwZnfVoaFFNOPVrW7X8KDPHwEyA2EF5Kzv/XrZkSEOSaAsYvIoMxrgJ/S4jFPokkJgJ8jJzh3myk1cN79UjeuTx4NQh+bGLrV71oO3DwsC/599g0O9uTer+lqaXJrfb6WtPuPuBQbFT/3yS6OqB8CW7VnyiNKZal4C2Uf1l0afU8Nhjw3MmHUCU+oqp5jWW8QJR9S0WUr+6ORp9coiaHcmJR8Kjj7GKNyFHaUhmPCf7j/RJEmhzHaMbvuAgQ7YiNDqpMveNPXhpfI9YXc7TPQwD3Mad3ZLj2xuOHzx7ZiA+Dvteal8XGMSo2KRJOPJfCv/BljRCctb/S18GmWoyAzOPIfAzMcNxTZzFFuC/yjphkBZZC5BLC4wKQ/J36aRmfWBKK6QsZeiPmlunMGnwNuxD7PlhANJgJOfkRmrXIx0AP1k1zbSeLMa9bOeTpa23k9p+pWNsQ2IC3765/7rIsnXAU8uQj4i/ufmt3u0S9YqYcGsrgvnhuQsAnO9kR+fL4/yJFWv6TfvUCUb68qK2vpKW97sqk/mD0TVvSmex6jlsPPUMKQxA9Zr4ckW+gT9RkvnMrHqjDSfgS1ijyYH6+6JSMgMpCAYGTxek6ft/C441A4N7zoRqidKFVerBETFgXcj69C/S//eAEos58/LRWfwDWmetin6hshcDEgUjGiZdnAGJUlN9Hi4gbPABywy6bYOVZLDGWcPWQhF4OGXj19f12MmVtrJxc4J8ZKRVIsMQrDfUQ62g8ZxAP6LBgGktrGviAqdHP0lF9h+tx6bg7ade59mXug+YCJePaI03NTpPvIcm5fa7bTB6Uj5nyO+iiHOi0fVDoAkQt4LmG+uU57STCt4v6Jdh2wD+pngFxsR4mCOFL2gR+OZw/StgMRiPgnANNnfrCSVwzDoMn/PfWGQd37A1O/y2RMX36A/WxgW8MyzDJ7Go38NgDL/89rHHyrBpEUFxkTxkl5cVqbiWK0+h76FIaLBm2lk3YUwNmdAlfCMzDMmUkbdeBY0es8b2rM3StHfRIWYqDXlWcbbQhE4XVPHaBgAjMTc3Jp/tBXx/cAA8y75SPKTZXUfTNcG4UkTpL1Rxtiyl0wkVWdSyss/jmZs4OSMeyD9OwaJAKvDioMx4CdaztKXKpjg4XKOU/vMO0k8txuwKeJZQ3MB/XLC3jJsbcfyQwQK+0JkRikS+7JtydJPiP5PSRx6UOqmSCQOzbJMRq/qBL9jh8/A5TDqwL3k/7a+tM5MMaGguQpOGzOlNPtnqOJqZg0RVUKnlfI55mGXG78ER6nkpu2vgdK6To+B6o681Sz4ckjAd7/M/oZCftJqBxX9Im28Hn6GzPd+AUnwuL8Ndts38ZhdJhcasao9CkVTHVPxku4Mftibq6OF9TZUbEsPxt0qw8tBWzUoLK6OYFpl/nuDzHP4HBiuL6jK26mHkQQK4vkNW6LrHGqlvlb8ERtOON3jamgugJetLZ/lQHor92W1XnBx3o20vqHfp4uausEmH40rrDJ3kpPlBhob3clIFjZoWz43+q65OnR2l+YPJmfE/CuxpgCMZROsokqPqavNlxV19Didj68J2Yu1akjnbM2wUSl3Hmuxoud6AA/KPsvCRgrzTG/zixIfYbMqA7Y7XQQ7BU0EFrAXYp9texLP1pa5d6ONcSCt5rO98pnUJW++FwJztvreIj+Qa53pbaB+Ok7kZexIIzDoJl9m8ozltwxDP1iPSpdlJZiH7tPtRxziCiZHglVVOdAko2bXjyF+YlgBdmYXLbkRnPkbLD+L5GFvW0JZzDeTfflrHWdMA5lo8WAqARx2+nuvZRgSfVG0UC2TqyyFMZCNbd0MGOJSOg4/Ka5GRzCOxaKAklG7pVSeQChjrVz3wBp34h8WVw76sErdifevvFuGXWhieDIjC+PBg0VkeS6zdl87Nx1Md6BqdjmXnRbs23GrBCm5n35qcgwKGxGVaOaJSbZ4vB7nR++ItwLF+AIgpzHPg2pmav5teUetrqYXI5yoHPUfMTqJZ4On2cJ8w6etj9NbtqMVpUApmAj/5Vb9OGeu1FRbteLAZRR+Hdb9cOTJJ6ym+0QI3CtrHZDLa2Kht+jXoXqWJJHsXFMha3MDUPercYS7yW++3IbyBBLr/j0SYSmZZGwT+FbU4nlHe0ZX39269lVJofwjSz/+AbkzBhNNxu9FSEqpfoukijGnNraf6NdriyuSNQaFzUzFxbPma1caf9IyQ2k7j0LxhdUKcHyzzoo5c/Ldq9VuuRwtYOW5Vt9xNHs3Ukfr6mydAWHsl5lxKIc93gd/Qqqvu56dU4p4cEqjShGLyafVJ3RpgoCwKbuxc0UZ7X0TxpTt3NpYZr3nLErCZ411mUjaK3YUGsF2i1C5IuhlRgMrbC2Jmmq67KiNX1okXyj3wOzI3CjnUCYQA1+5pDfzk3cJ9jP3yjut3FvoBdxBuXq7JQV+0DPuR9hh2Rlkeut24aM8vgcsESHpUKORFY9HVPb71qnNHHFph7DIq6TuRP6nrWWYHmO3slTP/Y30pOMnKBiPiqSl47sZItDc0HxTJXZ5SnDNypam9CXKNSmjU3ZHw2pgtaT2d8btuHBRsd//HMEkuqnYviCT9gjeABlFtMWeTDU3OHMHTIGq1+5DgH0YHXDRBIVeBDvYyjVLYqqq7gbpb4OxNHMbqS11zlhMc63QUEFqDN1KT2UVcQnZRagV0n/4qtKMAUuXDyumHnCMYHuaEBlUKEniTfdS8WZwCAYXeAozC07EurzeBNe6bVIfQjkqLVM6VZGZWCopqWWajOTSa5dRK0FlkNMCVbWEYPb2tbdeS85qAUJUE+f5G3PJLOOcs07M6u6IIRY6XDrwZupWmSBkCl1SgSRNtRvEGBvWxpbNBJNSNoel/S3EcaTtIfoEI2EADdkKwCvcPPQE2gA9IXYg7cFNEEUnaJOYDKz/qW+pwNhDsef5kXN/9X6YK6cEXZlDhaqOpYLGIb1KETknBmekdgf6dL6dvSr5Ckz2eNNmjds/95mbl20bDzlXipFA1V1sEKLOYUivIntTe94o3c59o70uxDMBlsPX5YfjTnDGAo05Q0oERXALRq2eE/NM7NbWjz6gTxit0IWYeq/D+88XHeOTbR4QhGkDm9PAH+Watx+d/qGhcB8nkRB9P5LOEib3T4Z5ABkoAbcItoBJi3DZhdYPgeOawYEQCdxK4rwinNK5WB+nlPEtbLekR2odRYCZ82HKEbNchgIpRoOWIREu9z2ZjQKfJzfm4FYYa8i/LsGZxZqKqHqp1mKNCTHk6bL3Xpkyzp1udPc7IyFMrCVBzUkpA5qq7B3O0IURtfJIDif+Yr2KyRRmFCazVAVsJtF8BelzZZ45RTiZ4B1WMLz5vgwcmMDfK/sQDqB6oCMtNaXcLStcTzzyZ8qy4Npah2pHQj5o+EpHwcNU0risVlxCpU8w7K+xyJnALP51mUg6WDap2qUvaRIhJY5TjHB7K5qjyjY8lFg3gqnDs4jyDfZIQJpNGPkSt7Gfz+sXmhqCzN71cpErhPMuMDpknoqsRTltbnqua055qpiar/Bm9i0V5chkndS9LOES7hsTq2gH0HxvABtN+gA+36LhKi9MsSbIY4Dx340t2DQUbZoBfvlSFU9YwXwI9dh08GmX9U7pkNxC5AOGBtSNdTL+SjSsRjjB2GC41rcDAXtXh1cc3MKMTTbtKuy+CUZKkO4jKvNDszFvRWr+Bu8KAQuUw0O9ohAQVEVl0NpC/8gEagsHql6UapLybdpL7rVJug0kJTsQweV0IAbLO12EQWyKh/+dWcUU7oK6Hf7X4htgf+SJj6tcXM169fvOmqS013bZLKUmlJ5aEMSwJenTKdyiNhtJtEr9qcr1kWCt4DLcGGGq8dzTh7zMMiHmA0+kN9vTWkGzu4sOPsLueqmxN7p9/JIq1kL0w6I6VYY5NOACHGIOuW7fwcdfMNj7n7owEzwDMcFStZu6G+Izt47tY4plNEW3kr1K70a509NCYcjpmb6/krne+FC2PdZkz6x3Hn1ntKk/90pjtRfQnnZG2T31hukpSMyrHADb1YnctuI1WbM3phV1o9dP5SV3C2CA8C13jIgKwAAwN9f9dR8kFoDLwX32pkyVUH5qvVtpEWxgpA9gc6OA93QhJfehJAf+IVsqaoYsJ5dBfoyFRFdT4S5k4mJFL1gjDQMY8An1OFpo6asdgSB9wSdulQ1Vc8U2B0x03sDXe3sv+b8s2z5/qlSdJ8FB5BD93J+SYfs2l737HfdzMD8OA/DqqcLSclbbrSkHC+I73aoi3ntowX5dyBKdYQSdBJcyejKi36N3aWXuIHpPNof2ZgAq/Z1v6N2//eOUpp/bo1z071e3Xnvj6sxihA2CC3YDyh+Ev4ihAc9txjxuazyltyNat7aEC+CjR1WOQN3PM6ZKLnikLDjMAOxKqxRwjff8j/fsqqLS4kIO1bmWmb5NtU4eQo2/mGb2JoNBUaPaYAcXK5MxcoVagOG63FN9NZtMIM8NU3F8pG88/l8iVlaKvW6o0OZ06YJ684K5yfUokTImLzPyVL5r68bxhWimWd+I9CRtrSzjRfyb9v+tCYed2acaDMgtGXMUjJFO6JBJ/ineKIIuPL+6EClesb9nbkqWt7NdqxuiZGipZ1BZggpe8oy2x4+aatURb03FVDWLmyTb7S+QEp3A01fvExfjs8LFanJVZmw2G+hae6h3qo9G+sid0aZs1CtytWyd7rPRXVGgCuiO9unpsh8/lGXGRWfYg+fkFKPpJRg1p0yav7uXLj//BLSLGodrSqB04Q1GvggBBiHJklPyx7I3VD8v5dEAdtjgdIzdS51k2cFySDLn0ayz0ZbZI63XDvJBPVzZ45TCxOQVME0cL8oQEuhuGGrLChY2jVti694AXmmvJ0N9ibC5i1Za+UWrZ0WD33BgL684Ewix2ywQS3X/5t4qqHPQO/xM2FKOfBiTCGp2TS5cPqSN7IQxknn1zH3Lr8fc8h7EF5xsvnX7uGKaPi1Zu4U2Qo0Yy+Z8jF6mwvd1/XvCxyZtP8A6kWjpYzH/8l+utzxu/bNMpiNAr2StvzoFKBtS24XjjVrFkXNiBnLLpyMiyD3LqzAkvMX21RUhxN/zTEwexVup2sOWGx+tG/xYDGzBpBjauqexIC3kQYTqaocF1NFMDRL0R6p77r7vht8Lo/mUUcHBn/3W3ZYCb/+TdOhmm3uuKiOq/wtQ4LXAaSrTWQeH4TLVdqQNCWoJiwbFQauun8M1cpxSiHZJuvRL8x1vwhkqdrIcy+9u/KZxwKVPxSBgY/AXp4OsVJdlEX0x78Vj7BnBb7DIlhf0SyQart6229EMLYDaZKO/3k7uoqPTB3ZIZqW5Fd6AbF3t7rc9ViaU3QarLe376ggPWv05lN60xR82ajEtcz37cTbkhf9EDwM0deCPALYI6HRtF779INapPQy7JQK1m5/SCp2B+StDenuQaDvWkX+wzaX35x9vx6mfLrqGerXFIxXF+AmyfEdJkWwJNSqp2TxesYjLkCqD69T3GDkySNTc/1GWS56A/t+w5l3z1yyruBLvuTx/sKsbXGRRLZJgxC2g5hRrhnkDdgvJ/XmekcR1h0kWwQLvijm4aAN7Qzszm49C7owQp4g4bV7Zmjo/CMHOiY/EyRxm/WU9P3d6GPv1T6/QSXK+uT8WlhqAS1jMtSPY9zA0EIJ1OyHpZemYZSu1Px35IDqLQGKMTMd4ydC0DB3h9FB05Dnsl0nafaewizJcBZbFC0LrJq3vwMWdEXZFf/KyUkHwfiZNXGWG+xn8wn+5sDxy32U2RtLn5d8Jk2UpCi1wNBAcf8PyTFJJ8VDmE22CMm6NDAoG9t2jHyEko348lZQZBVUd2QkeutsyJe857jmA3snK9c1rbCpPd7lM5GOX4x4hrYCdsllYyF8Z6Xlovz7E0GRa+XTL5tSr1qbRvKAfqUTIBljsS7gEqyrQWZjH7fVwMu9d5mA4osNjcuyb+xKXqxVpIwWCC5FT/I2y6Aam6BxmX3cTddzpOQeJXQPZgUdcG6G5n+v9ZAXXqNPrudxX5vMGDAJ9Q/1PL2IdVn7/91odPYH74t0h7lGzYJWgcPinQ8hQdSgCLAGY6xtvwG9S9bzG3b3NHzEeSXqbFyNqHzE82XrZRfxBz+YHy/MHgu3/g7R6R6mJtz5gQUKWBKJN67zAyzjDAElCGoxRwUZUlAtWq4fg4v2U2LbXGd1l2zfn63lb/HpG/df5WKolw2o2f0FVwY/xxfcYiZuDwv91/y3+F775cyhlgTtGPFuuKQjErHKOx56e4PsdtBs9p74nGN5Wh23vExPdSvznWCJkFnzoRrQXNr5O4kFe40b3zIlOUKcPjsCnO/I7jkxGuXMu4ABG1mPgAKuPZj0QaxSIHQAWwX1TzI5aeFE490ZWNgdWrtrxCs1IvN1Ktsy9S0ji1qyKGq+J72xN+E8IwUuGhli4R0q+oV9CH0U5760k86AmA7K5oWqmnKMxAzavAS9tUs001BoIOAafIRsOpJ/lRJQEDY4RlUASah06AYoviEEeYMHPO/MosnWodm1nCjpAA4t1W5qfNNj/BbgPH/RXwZXpmo9oHTtPx28G+tw1ZVpl99d9zHB0LPDwHsHv6lph3kdzbEuoxZFxMQMlaTd8OgRrLyE8UA5uocYMPvvbzUMTqXQZKKQOY/Y+32ZEqcMd0L4wVA9ovkAryA0SUq2y6GlFhKU+oXOOSSV7aSuMwzayVUe9LX5yUhHRIts3+wxstyW3rQ02FkeaH260zignJHtujYWz3bIRbUCG+/VtxluzIye9Zt2GARW0s5B1LRh3g4QcK3oeasAnrxmSW7hWd5bXRbcm/g/pgNslEcrjMulySrxQw3jJ0mrDvvuOU0022tG8lENOBQqYAiWD7buVSBfCi6duwiaUFFUVVPp+VXx9B9PxXhWWBqQQN0A8uZOQO6+yQa1uQOuRPzQYVmNeiOvuKY2pC8rULUxOiDcOo3BLIZ+Ufbj+mXflJiGIm5cba5QFrV/Mr2OvOLcUWfe0+LngLnj0C9j4mwB7sepuwRTvlROmxhFeIX4iDK6a8CY+dIrXDHAW5zBdloq+Xl/0aXcai3odKqn9bFudc+lt5jGANqfS3hR3ZCFGDKlzU1p0/2FbtdgCiD4IbN89xntdzukGzxZJMpiINQeraH21dQV69xb9CgaDDCz/IkNHFIStokbjtUOX6SE8YhYRiV1RlOaBzMtVXI5HH9oo4Jbzlm2bPxfHEjbcuC+O+3igjeCdlHH4VISxTJN/yZJ7XJE5r3es3fTlNOyjYmkgpmkacn4h8ofq+4aJQjm7R8g4aiABOPuqmzfNtVQYiiLuOVUQgZNc638Db1/NwyGzaAFqlqQVU88hVr8mYkvWndO19wk6GLS907vxObt84LaGH1GDHjSficSIMNqP5xqDIA+vDiJ7VcIQC6F2lgtgyKclXbt6qnJ5gZ9piziF+MnG8/EP7BmPbJSPUiv0Y9e8i3UympvOm2N6h9We0ZnsP1WCmj5AfeJA6VEbtw59NX240m2fCj+8Jn8a6TNJ7w1R1xK7Eha3FdUHdeJas6cOcL4ZtGdbC7PZz0IBNqhqMnLF0gIsffATpYvB7Bt1lldLxcgpVdNV/rSz8GxttaDDzPCltRQpn5Oyiy+uc64qkHGWGkESwx33DFfZ2ae1i3ZiafoL2p95sdXZBfmjzic0soAnqBQYWT3pOTWUAM6i00+A6MODv/BJyCkhtc9DS984p674X48B14ANEHyCYy0U360MdQLZf2uX8mDVYWz3Xrf/J/m/CnIK/Pb/0Z2QqNa2Xbv7ifB1i3XCoB//m52LSzF2YbNbABzOLtjmzdd6TRJzZxw4psDFZAdD5A8186lw5W6LIUkzZf2neQ1Lk2xe9lN3L8tHTpVnDsapHehWoshDoxw9E2ZT5N3kYlHiytnZjJkN5OtfWec7rF+wNq8HO13lWAq208kjORa/VkPzexgu/Xj7MYqApnp6ORaPjLUwme9GRnM8gDGTwL5Qb8VS7Z+z+BlUfARh/NaujGxXrha2U+r2x5zO9anAWF++G7HhUnjp2bNL6/AKWaeW/8LmyInUoMY3Q62yLtfeA/FGWWFIS062LbvlA+C7MSOzTUOzFgQd8d2QyYWUyQ7e+TzyKJ0OaX5Usto5ii/NkXBqRBmJcy1oInZaKiCT2u5RKCiUAqXFSrLqNTgNtQrJ9VA8IUZyAQZE1J0waRRHM6NAtOrhjfT1xcGJ45Oe6odjUVhSxL1VADp6TpPgua188LOFKJPeP2uRrIsXcSasFN3+MeS8aKI5B7YxLVwEkxDGO87bjAj+FYUfdKXUCOoCnaURjAeP0MAadJdHEagXG1mlpwAiQLB0ihyutgMILkdSGfY0JB6mP+Z2+Kgs+k/KUvSsFodSSaIvUgzua+clmPIEztPF9CmNmUxfh1BZOJOgeSwBn5x5TBTG+kBPT800/3FRC73pCqglphGp1aIkm/9KpycVRI4rGHDpLmTq5Hh4GV0VMQkeYjOTZobRcwPo/DV6cBVhfO+uCusjVE+29Mk6mHxh4LPmJgRvqcoVt87YIuohNYxb5/b+fVX7vZCB2J7YqCa1ZP98HnEojKbL+PBMBg75XPikqo6UrspjebcgpKnZqsSDQErh1TbtYo1LHsWrh6zxzj2hpJg8wjJDvtz92zalr7KD0Mp/5lq8Wr/nDdPQGR9BfkfR+QXt4S5Rb6pjX/MEVY9UG0I8V22I/Oy7h6WOSclZXoDYIlN/3Ww8/5/nxksLO+1a+d+EKZc+s+6QOSFs/pfGRH9zltlDgDGz3BkUII0hxrIpFwr0MeiO19TNgDKq4Xh3UD2wpJoDMHUVxivQmRDbRAP7HefziNW/SdMVsMacEcYw1RaaaGnixh9gk0zvLtsS2n+zscIOPgcXEGR/KLlIZFhnrbUf4U97PEWtrusygkdLmQc45c83IeMb+D/XbFQgVP0G6Kgs5RnIP3wq/QgXwRUWMBFdxK1CVxw6LI1y9UBo03buKT3brtWVc3PpRQMos/9o/F5E+Ek8WOg8UnHtBo46QLNbyKzuB3Y2Ft118zNJ/qMoLrmgZB0cq4GMwmDnrrPkwuBJGxfz59+vUH/CrosTyJpfcbsaVpFg6pqLAPCqQKDqXInDpvZX+wM2nFPNtTiWIKBgCHlb66Rb+at1pF+XbQ5yoMgPyotF2fsGt9+1s2OO2yjFbqY7eNZb0emQ7injHdsYflXLytrQZBDtyjqG0Es4KijAjk4LroyMbOIbu+tT+SMgo3hYINjFbfTs5r+D+3YcDTdNIpR+zvcYbRdlnbr1gIbo4x/sq8+ayua8mF3rEyyX7BFO095szfCbgQX6s7SDhNQD3SicSSEnsHmyMIfsCPg1+C8S4AgMFbEapzovh2Vt7q9zMzNk5fhjQdTtzm7igfYN+dsAbIMNenKFBGmTE0iJRyKWYwfLOpevQwMs3qFKhaeYSIXnSS/Zrvo/JMXwCP9qaTCVgT8hA3ah8vgfwSygavdJd/S/509XLzkhFIbsVORliEtqqgJmj1Mu9u6ZIRpi0jNa25XV+JHvWYzFJNkp85duk5UvbwfGxxXCSlZTvpJOcYm7524yhe7tce2X4ULZJ66E8tkjXL09TwHWRKatFNaYUmwSCt9F+evHVjV3ztR2n70YYyN2fJaOPZWkPrhRdApRVeQHoHqIRuUs08r8VFjCZtJldcgPQIr//+73Th+oIgQ2btEY9Iqjpse+fCxN8Fix0h+bBQYHPj14Iof6uMYxnv3ChOFt4NbbXnSsONWkjPh27lZFiPlcmYvx375/54qCvNaZZORM8RtBOycRzAuPup7dhogvMHOkntsyGbj82W66PJVvZO0lfijjTKiUZpYEVr4TUQp3AOsNKULdfYC1UuE8yHkGZAMJjmCdhfww47S8Oj651rgRlzaEZGSAkc83THx3v5BvtHZawUr+lXPTfFkIYyXx996xWR2S8KUZwI3lTnRAeaWmS28DBqUuHARffk+o3gm32A2Niktp6VYZOC9GSCewBT7ANNpRvHEjFbLuP4xIgcNzbT+M9ntnneKc7oxgnbjNCwyPUVnRSJ3OjIbFTiyvsegdhLANLBmX+QG8ERWVmDZM7fDrz7tRNsoz8JgS7DJ50BN3/dTALXF50NHbeCxFgbREanDHCdLvs5LdT9k3n24itkQELQhmqkSqm7RAA5WedVrLLZ5JrUBG1jbc7idH3N/K1zna1603mCY+RZNR9/VIDB7MJDLHlZhsdpyo2VQX2GIc0J5RaGuO9hD34aNZTJc42H5WqJfmkcwW7r5yBCrx8TWczVNRceX2P3QiFKETBD/z/v+gC0UtD3GJvCui8Myk5fcXbrrlX3PbNr3B4R6GxHNKyvw4a6QyBFukq7NfLwKPuP+0KZyR5VNMexmYYvhnsQb3yss7vBfGOcoqP0uxxVXP7Q7wPGI7u9SvsUfk65NZIFeL5bOdJwOhXR9DQ+MIW670H/EgOfDWB0X7bGe2+dJfhxICIIGlAIByKKYJ2eLeZ3NM6Nvz/ot5HfEHY+TsAAqplbesr/sgDtBx/5DBqtDoRCTKO/eOQBp/Urywx/R8v/b3KqkUYjUbQVR7uZeAxUlgsdBXmtV5J3WMlzcYid3U1omBLvfU9E8Kv334bbxGkCGu0WIDKD4N0iGO6rIhi9IcHzNiUvkB+xIq3f6ffd23YPThOBXgaSBnelppNL+7XAduUOHx8ApRlIfd8GA7WBg7gc6/DXv4GO2qPOUWV0CtbbC293hsz6OM2qu8KSLe14R8Ia5QbIvzJygQDG3m4gCMKqa3zh8mV3Uo7zS5UyCRrO6Auax5xHSRwlR+A0j9YDVqtGl9oBM3ZfKmjMQ3WxafUtUhlQoIwUmB8eIGfBUEmlhyg28xrRYr6dmdbZdHZrjMtMWoOyYxtJuDz7Kf+edfSgppWqAT8BKG9RjJLnpvdwEvJ3/Y8lEqesn2GWqzroK6VoGKAuSl5c7CVWpTaEOJ+wmc5jvxC0ZFdc8EtzTjtco8gcdKcMGQUKKF0xYSlfLz1cQrMAw9IaKWxxXSVdt5davELaHwZi85SFL1YqXlDEXMM/zMDMgTLYy4SKq9GrfIgSzSjcdjgi0HNMNvkA3A7b2vIP9hMroRyeW/CN2t0IeqgNz9IqquSrN/lGBMcTX6snMqa3SquGZTOflQKv90zM9/NOQw9Jx0cWKh54MCXyUCoZ7pq+krJY0+SeWMZcxYfuAe3MHgTc1EO0a2J5FkAdQUhmAIw2l3GXQC+OmPDovARIigzBek8yAOJsTP7wMqajd+XKTugu6+lYHdUPYVPUQWNi8x9Kq5fq2LK1gT7vdTOZrojsHFeRWKpJEgKQ/apjeCrMOetoEmX6zB0H87KJY+ZVCfr+GzBGn1ujGec99UKF+qBGgc5oOhO4LzPxXl0kgL7fwWGU73HCDCNmHM5spiiokcLUIq0UXwjWzavk9YIeHtRlL3ZBNiK0R8UvXrr2okXgv6PcaDT1uY9ht6rss0LGqRMA3bI9mNo52O/EigjK+neLJFV5tQ/TPWFNI4NVWl0Oxro1gE9r66GW6d9YxtggSiXVL9GfALWZVgl0YrZ+HG4myuAgwxnyfECIwRf3BQHqYKTGQO5yU6J5v1SKV5XQIBvz5WO6Mrh/vjJpAHSe3ZOKbehjtEQRXKlL8lmVyQ/0jCs+L2MfRc7H92FvxVdNi6wMqnpsAaM7s6rjbQ0dXsBcDohq9TV3E19qdsU74tIBltS2Ipgq0moAoZ1gA8X1pcdF6TKNTwD4bNI0SlwiuttKvJH5mmPEmsThD06RPMp98KazxN3MxVxCboZx3Si0eu+WLuY8nkEwd5Y+kjuXatIOnnVeNUQgo86pX364uNcpp2/8OF2scAlTKaSlHf83jxQ1C88DjXldl55dsqnlSPGpTl/Necm/puea5K2KD3n4QMa3bGjv0rRLJxCgSMFtAQRNk/g4unqIZbb8Pp7ASLfLDAWBWq43CTcwYzri8LtlbsgUrrVGtpq/Eu9y0SuPcR+elAODZnYfFX7nrqj/SFu+p444h1ZIS+UMc80EEC0h/HPLB6rsZdB9TFoZnYmOp0ubMVBw+kFmpjcprcRzjk1BTrjDpmPK3ah6uyUu39183XGuY6T8dw+Qb4vWUS5UyU5EkfGX2qTKHLTtx/4Wl2awYgOo3lXVQrSQaPqzj9RS3g5mahkqtF1wD3MgdbKguQx4Pro/D/ex2iHOOfYDL01fB2sMFdc+wo6qYrq8XzgKxBy26fG3sLlBdMU9lzALRJ4LpbL3E89o+aeaP95KZ/CRkOUlPUE4jMxkFzEEHqA9HHakmms3iF6dpEdCt2HDFJwFLIYRQtpuJRP70H/aFB50UfFxEzA1+WKXewL6+DAcQB5McRi7kOfsc/2cLXrsQlfmd0kg5YdAxhOyLApxrLZBhcIojD2rDn21/M4uJ9sN+tatL3w0k6ib9cQfVKu35QwRH/UdFuNQGfaA99ZOWHd6Iv7LKqYdR/bSyaKbj9bQrS7BfKbMoHS8FAbErPWh17GpykqKtU6a7jWRtakgxpji2Otuhm6xlEhMf3xdtIADplqmXPGIiScoJUgBIH6EgPNJ2ImJEqyBroNe0id4p8XSAdsEXIEogBW0YrYP4/iwKgGWK8ZnPpTWv4UWL+fSNH0wlzjBiGTL9A5MsrEtUHKHz8o2JFxfd4EAt9L5HrrPtwyHSxG1c80TRke5HnEGasy3h6M8RXgLhJjusiOwuNEE8Hj9LFIErgY3TLc04p22ceYivduHGgghZfZYLHh0N5dWt4i/uCXr+X/5H1DeExJy3F0gtsG2rfFIicGAAvXjrTnjPkAAHjsgNY0432lTpPdvwsT7dreTjHrhTUqX5FDocqdOFFI3ZKXe2D0RuWgbjqVtnn2gUVy7rlCQR41gcBOB0Gmsayp2Kq8j7MC+2XiqOiadVVAuVvm6kydCoprHmWVQqevuzkpkX/PpB3FrxvrzqHRyWksVfu+RIT6JP6NdvA8iLTOG3hGMQFWB7UCZYgs8bTtYbrfItNUYm2I7D4FTwJPGx+MUbmnO2X8dD7u7WMW0SOl+ZN0Ss+GBcWTtjCjgft0QfuSVVWKscIvJEjnLdSbvPegYeuvcLAO0D1jkmGyMQD15KD+tF1MUqS94ZrrQLshkPQN89zw/Ud/9ZSeMhJk1ik894MlJwW0Rg/hMrLGSTncRT3quXm3iMCeByiqbDp1ojJ+Lt7jJ6Fx31o9J50Z/dyrm99c2nJyNE2YjyOtNtxFgnxC89GhltKUFXnFXtI4GUBJ2BQ1gBjORmjV1fuhLOpqFgva2AGGNNCH6AiZBA9dU3W4wtkjzflcA75bhQDnVNiJWdHHgOdLG2Sy0fjXogI/R9Tky7xabUV0qoLfZwukqghdtiNr1En4VHB47CjMHIGL7XqOjaYCT+mJUdfKxmRs7b33oiRNFSAKn6PEEv6JSgYhgGyGq+b4DYWiH8/HVXQt5GNe1BxoZKfH0lRg+xq8ZB4Ajd/iXT8PxCRrYZuJq0d6fjNkGjmQwIFSSLu8Z5NNS4gMEvmAF39KaJjMldHGGXKFvoXxxlKmvNC0ZeH8mkgIKQ3lJ6URK7PJt+5e4G2HZqN+6qw6qdNSLW/OK+A6dWqc6oPM6d0CT4uuhBtYGPn6apiDKPSAdyesgX0whcPQgT9VhkZY14De/tJJ+9FkvhmNcLFObpYDeMwu2yJ8ShRcVJpzDXLuuIO5/LoxjCz5LAysB5EgiRmqXhYgcqJKgd/bFWk7BgFqHmgnU2/ksr2K6GZRvgZz5rAOD7N+ZOedPfnAEFex9Slw4zkhbH1qtIOXVk5PyfOQJl0r49Tj1FaXcLJm5rW1R5cwSBzd0cYmaH67H+/+/VqRP2Z8YDB6QH1faZigWr2pxPPiq65+cN6a1wA0dA2sVteyhJ2Z6dTwtP2t2qnHk4Do4Xn8Mdo1qwLxVmsVVXqAyWWUx6kcKAzocniCG/cWoilOCWu03Dp7jTow6IIfvIb6xJq3HoCVTuaV7CdlOkqWmKclwvd8b62zOXGfRVXHWNpeXI73YVJGgnNF3YCJuW0WBES6G+uKqkFf7rLMDr46i9A7HYMw2jC8rbqC6aExXY/055wxGMM9VBtktGsLA8kR9LrymzC+ejsWgiTvXns8ESr+UNwJxZCFWtdGlbi5//VdVrD0FMbPqbhvvvkugpmzH61jiW6EQS35ld49tUSo0upG8y2D2cNdCkq9ns8hlYYi+vsZSiH3z+zowdXa1Bdtz09dGnmuY2DEdv2k3haZmnFSHMbGUH1wi842d6O+GYXjV7mfAQkPPZlJADGIlW97Hw7vEwDkZsOMocsyVQeuivn8MCiOruVgB/CV+bHfHUxLO8tcboI5Jnu05XGy4Pl4TH6RrnyDZkMMO8VZO4AYmrtetvaZGt86HhAvaX6ct7ePfxDb9q14b1NnZ4GBivVejwU4Fi07Rv4+1ydHj1bMmMvE0DuSfNooMbB4lZ93InYwO9L+3Rxuz7uBOq+J7EP9VCUz35S6sP5/5w+b4LpKqtfFtbLCNNyTSkeLxe73G1G0p5zYS4DtYtvxL2sG8BeKgMUACUTUTNmf7LLl7WjWph1AEtdqx0zsgEHvkGJsUCHYWr83qXGv0OC/8j1IZzLgm3+w4OY9UcztedUbpZj6dBtbeuEbuBpXXkyYRIjX9al/Ir2KSvnMqdWLtylUZUprLzY8tIYwxCGuZ0jcN5kw6EFfDANt6MQMZNK46hIcNLdSMdMse7yaHXyN952epQ2VKSa2yc/0AJbMx3o1ZPsYKc6+tDPSHSGjzd/z+VARKz616yy+V+oR9gUH7tY+cCY01zacJ6ypdMT7o4xyP6bagUqF3wKFs6VCAFQrr7oIo42+Y34mY20Y3r24dWAxh0r3FN6TXp0oI6IHyagpinEDkUs7u3d/2huoB2U9RIhg/EVw00iFb8J2RoUC9JZZ3buXCeb1IVFOdRjtjaDmI5OLlDiJtRdQGqKxiNuAje/yyKkJ0629heJeZLNjfWyF0Q6mkCe1FPUNYnTWiVtVStZ7gIlrgeNqcSWhCD7puPiTD1Jvlpt7JxH+LxLKGGF05/ZON0sCRUH8YXqwjp7yJQSfohZaQqeKIZbTEWN5ez05K7d5/rGDAz4UvCoMQKRLWigjSXovbb34XPM2WxNnPZh2lqm6g2r5afH1c8l0JQ1Ot1huo+HjlE7V4DCTnu8LnKSugV77T+H8UhNLtRQOuWiR3Fdy40Pn5Xf33KfuIzRC3TtI46Dz1D45QElQ2T0vY/a/Zcnk7T8MhAO2xa/RAwbxeUNX2Jp8ErPpsm2KC+d2iDGggCgMv55tqj+qP9/N3Ajryf1wioRB830xIHlpk/uQRs8mZm7CibQ/mHzK+VIE9Osudq/5N8HM/qNc2dB94hYKKE9kPaCJzEHLBEDLwZqslFXtpFT7UmFsIFcRdk5eq3orLnttEouUwHZbkEXakUDsopwKDnXpo1cuU2P03hhkvxdAn75oDlGhF8XOhFIK96GPvaHtAZNJhOnmyIFhU02Eai4HfbuR5t2OD9nP5VohVTXwbIdJBXajcFbihp+FA6huffGYQytWcQtkU+BZ2e4ykImtpr02xNDI0YVWm8HG3ujTkzzQJBjKS5HHi80VSB5xhRWwigHeI1mu5Djkipt3WkmO2wzv4fha4ceTpOUtOnJN7BXDM/FOMM1CHgskaNeApd8qqeimxe8Oj38LQ9YPe6TCTw64oX3mppIcbG1KbdQY+zetjyw37CNC60szHtBfa4re5/+XFfUG65CfWuCRzokwYZfdBzsyL9CSqmQp1ioW9vSPnxkIMNyPtalUMGYkApf5SLCttmcJD8lWkSYi1zR9EO0/SqaLCxMtzfeNdXWkgJVul1YVzt+A+znVOZ44MyVl5ff9QRu6fSv0Cg8S3VKKmgT7aGNABKl7Qa+1rwAPG0khxAOKj5jyQhutj7T6Ad/bmnL6HH36NIJf+dCGdCcWwl4fzINJIi2DD8MtAb6s03gdLg2z0+kiDdFoX2uLdzJQCOM/xz1zJ9vYVeohgLe8/1ioG7y4DRaloXz7uGUsa+gZEOK+gA4xbKnjaG2UPkF591vNfAJL1e0vEjlDsjDsAk3LD0welXG42tNe9D+XVHkWSLFOXlFn5lMa6Lej3uqzn8EnJrE26h3w91ARnbGCXI9/I2iUjUwX1a5vApYxwAHoDYRZOrX9aawS6onNmKO5hMYEgVKZbTXaZv+VMLtO7e0pekBGObF9774NWDBSXuNQ6tn9aiKy3a3VyYNqqbZ07bg+tuB5yy8s8hAmqalCCWvQCMEfZRCpJKwEhssHqAiHzkCCdXD6a7c7T4EuB3wETCnMNHekJCpJAMYOaFr+kb3Ov5f/ZtwILLQVZ/brzyLKg8kbWoko1XeUAacQ+dva+DjwsewaVhJiXjOv8YCLRwB3leMKrZJwgkRrlkRx3mJYTGJdFA21bkoCKeQQ78NW5vQMEc0cs8HEJ1K02pObmd1/+7N8eKo2emJ1sxCziV7MBGnVSZvY+dNj7EEYb6gJ1d2UgCGWCGODD+ooYs3sNHqZaIPQ5yJ01lE1Ic4aTeZKwYGH8eS/q/o5ZPvONPzX5+89QyTt/v2lNrCflR01FAlwLYJoTbDovrSC7330rShpABCfrrFDM0lVqtROH4W1DJwF3dxY+ceBb1YXh8+xqBeQQlU+2cQJFXrtyEk8DcsCaPrQTxCVTgnwHHuUretyuFv5nnNHAxcHD+x4sg90H4ETwws2BbvhviqbLZhV8HUl7nECkMbiC/wcTOm5+jjan4gRpiD4NWNInTdgVh0Iysr3XP093Pa8Jh58boAd1m9nRxodOpe7AoU5Cr4bmj9tfPF9Z6ZeuGGhPNmb05y2W3JdDlJwf6LJUb3StW32eBuwUiXU+REsPV352zBmYo4zEbMYHTdJ98hgKtFOt8P7beg6HKGnpnIu1KDEUJlCcCr447+Sni+bXRCVTr7+Scw8XJU0sh7NIz8fhRbBGc3N8TXMepOnunSJc6SC99u7VrwnFzCP2buC2bYwubdkbTj7vlLSM4fqHL6ek3jO/BU/Diq917ng0NtjBIx/kuNArNbjCKuI/tKYpRuCZ6re8oFPG24ba2fD3rQZ9Irc8Y328iQTIofDbNn6zNKFzCVJtQ4H8nuSmd3MtitNdDXRfkNHLpQHFRnRrjGJfK1a7dvin8pk28+/HQWIrrXMFt7Z0UXyOKCha76rCjxWTlKzNgRO85EKzrTcfBV9ON0UJJdjTcmJNWrMCt2+xkAa1/saEYZHVbrOF96PycFmESeOsiCdCXabGsHIBaJ11M8+k5ECN6GxcY6HBXo5QMATkzsFk29abQ2tQ/bYMqWr/iStPVvHb1jGz+NTsLeYif37z0D58WaWIP8uR2vHXmPF/PYbbq5JjfmD9wRQvKi+OQCrF7SX9apSFsHcgQ0xDES1vZhMjsSOyozwSUpmt6UhEaSrjoZA0eGJ0487a/xJkOc5PIjU21dFUYEfa+rGX3LeScLkzfFNNUASD+5W0y3OdapRcWd5nuoZgUG52+q49Cnp1Rtfzs/N7uZE1w32n3oRGtPgT7FnYiKpg3QXd7X2rOK5w9kDlhEFoxVZo8PiKr2hxao2jysWK2hdfUqIu0e9f5v/fMuXT2Blxwa0lLtXjz3/WmoH08PCK9W0mXI7yNiTifHoWY8kV2a4/fttpAxofFlarRDyRst6bfn+eLzoc18YEZ7LEp3FAF606oRxMuUyYYj6ls23rKYI/nLb2u+uj8zmKISRajwN9XztkntoQjZyjdpMr3+KkoCO5W7Tup2bneYMBcfywPIe2osaQZxEZCul310qUCWQhrA112kKKMmwCU+/4ba9t37DFmVaTs3yPQmQ0Kfl/zp8IAS6G/BQpWn5IIIpvq7F0UoRu2tutY3TvyjwzRdcAKhaT+N9226EjmloH/b+lqTmstYfa5VeuA4aaOigZAZVeIkuueRIA04C2r5hgZgnwJ2rGC19R8VlkZpRODzSQgc53zUrg/vpoGdKalwlLYd2hhiiXbmeJtil+CKNLQ+fTDWXd54IVcIwuJZEnvXeU/aaf/hHS+gOhYT5k+gGfVkuFsNrooaqtfcd8PGHJuojo1B5JyFCcv8FIaDMN4fVUIb06nwyjRcUeJsOuO313jNybbz7CkrWCGVWza84kGspJqgNFzrU+JIRehwF/lCtgYkmSxGe7VAG20rl5Exo/jP0IQ3sI0vKdfsHIvNG9klRv0Ky9uKXd90CuyfSFzXYH2E1sIOlRBqmI38Q6GpRMP5Ly3wXMil8qdBCWZrCZdwdwT0kyriQbjRcJv29rIy9tO5uVSttEFM6eU8Tc1CGvqVaUDFPz8hlMZ2l53R2LvuV8ZFTip/YJakwQFr+ZF1wunbwoKJ/Kztqwqy/82FHOMqrbPY6ImhQYCh+DPvLa35rsu3aujcaMqNG+hXMVgy3gYn5wSrk7f5MOy+VU3266zLVQItP1H3G9g2sw+7XrmaC9XGukIfWki1REZJgx0xXEGAQfycfIG4xtWQIlpkUuRnkVtFdvmLW7l4pVl19XkFG+xdM7+zm5IEeyii4aoTOtAz2Q2wePR+Q8dlU/Q6GOKl282I2POGWRoGl2ArZEq4dBpuZYa2ONIunIx7qRIS+h8IFCFgD4FJVnUCrqf8f//upWqpykg62ohp8QzdwV+sRCvD+CeApV+TUhRWtg43jmx8WwYjAminPVsB7+rlYdwGkTfD/OFpxTRRNpjQoNdPNsWFYeDZiVCV5CtMLnJE9oNdXV2O/4jSAo7r3hCpB6XDafga73kw/Nbj6iWAELLNaEPKXIJy5ClTUma575W7dX0vUgJArlK2iGOrMS2dB3xn6qeAj3eqonOvrdK3rZ06lBoog+bPYttbAvhoMU2MR3XDxDDKivzCbZxPKW1R7gwa3y49K6kzXRrGQxr2zvNAGxAbHyQb77RR1mY0KKaPGTLN4pgBH8t34fc18NEg5sNdI0zHD46frsqDwlPWsE91PtRGoZ5Sj0MWaQvEEwoo7ZG348fJ+MlPaOT3jIkdrwl/jALH0f7hXVmRX7ZzuYFb1R6ehxwA2A15ODVFl62nZWsnUMmIGJL7eBwDIffnVkAw+4nLSdUdKmvhYhv4rmVqIJm3bweGTcp2lIpBMbyUnm1leOwNAIWj4muI5I6GhNSRD5tjFUw4RqJ7cPDEPhMORcZj71apdbmkiZ5zABTGdIZKPkdSFhIaZS3vAA7RBBLt4ozkwy++8jyAPY/tmqiT/4PuJ54t31NRRr2hB8clHvpguQ6ctpjNKaBmN3gNOtZtOCSPQLKB3e4eRf4bE5i87iowG5mls4kWDdN6DtIhnpaTQILxu7aZRFLSdG9S5YWwNfRgoGW9QcgGToCz1hf0PZ9X92T3arrBJTvERqVjgdeAYafDHFyA1YBfdUhRmG8Phdjs4kK+tAseX/m0R87TxdRUBGgxfbyAhNVTHgrFysdYvLM9hgTbqNO/2Hxlyci7YOlzi6DpkwOsZwAbySK6PZVhJLS4ZLOanJxkDdQji6JBVTDILlQ+E2SNo1K+VZ+pzwGIhINVv+OyE2YCTfhaQPr+wOckdNuoTeYyxpVKAn2FxH4sicRpYxmUwgx2lg5Qi6GQJgc4Zrs52jrPDbyu+fAwEbYZcKGPLuQoTWM+0+7rKtLMvFa/jeUm4GF7hYw+iTM/0p+1Wyx21+B+7t8p2/aM50lGJVcGbf7M6DZr0nvjyYchwsNkX3JuA3aQzmZwFdcCfVXAGkGSIUnTG9oTz6zBOUStWhTG529DfLn11oMsAPhQUJFUpVmMubWlntNBpeKL3Qm0hWM/KntcwJnGXFQEeJNoDEYRitknes9Wb3x3+WzmayupPFzwzprJnDJdCrKtwlFom05W6mBhJWV7f2al3xYN4RsInBdvtQzrhNWNri27wFCGw3Gp7yuBRGWG5GCRbEzbNRHQCEuBZ9NlNJawETDIjW+qg1KA3qJbzvCRDZdVMigjnh5QnLIvy9IoOzDHuYF57wLpmj0moodmGEpIooH5Gu3q6XlHTElDhtL1nZa8lniVHIxfBcIYkQ93aMsukT+IpskR5Dquxf2oM5m2TQbd7wsrf6vkaXCRhdDiF4F+aU3TzcS2sypleI3/00nMMTOp1So3sRTdrP8wtfGzQEI7VQovf/59Zs5PycPX5dmu1OgJy7Egn/R+QHcFK42FgUSSq2Y7/uu/DoTRle5dJwM77ODFtBaytoo8LGJj80TcX/CG2D/htdsfqmjLiNNi9Yf7xuJRC3E4k0ZHG1cYIFngWZuVCU1g8WCn9VqIK9Y9b81IcpF7qvG4DNYAiIKb+DsADSFwKVWN9/VeArQROQ3/9vAxcIRVjxC2chg6T65jzWm6tTuxTU277nfIpbAxNyuwzGrcKSg6t8NKupP2O+N69YCJov4bFGxX8SP+21i7eNnQAmxXA0EnYil8AU5o+41LWQxUG3Gb+60k9W76lgxuGaYBnhJQvPmUIa94bYinkrdyot+EYohF8Ik3wgptm9DYzx7Z2Fu4tESE8vNov54qRZgHA5FTW+qr3YtgpZnPJzI2yoDSHXfOZUQw6cCVyNHE/59bzJu2ARBwieNDTQNF9l/XEoZxnC+r9yFc5fMiBri6wGRkt0DxwBsAK7Hd/Mh4dWwdkzzWYSDgo4P9sNLVi/0kSoVG4zrmjLbQ35xonkC/c/VQUBCDLR4ZrCG8g3XAAHGbl/KZqpT9AvdIUe56JQSfrPKtgtm/P4CPXGYZpZoslFoBRSF2Ucok/kP+ygsp7J8tne5pnDou88lf5bg2NaPWqFNi0GgCVE957LiTv4OxxK4UxyLxRfop5pziaAwceaEWnKTmWfNz6b+uE/ks3f1RPi0bzEm0lPay+clbnYToncmcM5OjZw1GSxbctSqgKcG21EShcX5ICafZZ+vq/dYXIMbQGqdP+3s/hvntGAkeXAxiyhi+V8898uN1xHtlddeIGsJx0nYbqa+2lINCiojLKEvMAPns672jFwEun1OiTiMw/Apm7DJYM4cmza8GbZmlMPe3qGyaY5DeunZ3VoCZ/jOHOiaBVskuLUj/HHQelruUkK/Botrr+ULuQ6tRPi/5cy8s/UcPbgNTgHCfbWKXxFmWVh1BNntP44Kw2zWDP8tLCBFHiK46l+obBllPb0DthCqwNf6zJgr+TVhQnFHs/2xW1Fja+tQmoLytPnfyibBDWfdCGfUdGov25mnCYH6ZQkvasHkwBBKuQ23MFvm4a5EU5GMftpsnmQKenIMT99l5j4zUbeB6VYsGF4EBcgHV1KE25Zkv5LNaR7jUCgYGFaRvo4QtRh0Dd9uKxx+kJrtAHyUsrQQ62QHQ+yX2unshY7pki2fw5mvzO6nJtMda6hyeXd6s6eODdebU2bxl3J9so/5Kq55oaAc4DMM9UH5fjIItps3xJkDxMu34NlAuIjpTYAs6y0u9s7IuHrZ7VfylmANALWUrBJw2L4lfIoPZFVSeYAhztwASB6GrxlqrOFM9NICZufXturO28thjv4kAlsTXCibKy9Yi9THkAIX6O0AvKUgsCjSiw8n7kxNtgC4OUS3GMGej7P+36A73xbN9kuG3gI/YMV+ixoufbOaaSeH+OeHhrG0T3QTC0mpGQcIUxOXznFWJsp0FDUZyMMXQOH71Yv9uEAenivFLUnG9fdNgrMbimUF7MszFs0ur7lDmjIEXKtQzvMjEY3KpUyvqtSFffxmjiN2zznK3M8CVBqHx8BGIpoiHSjDI8lQ8mqigxVbA64xENmgRoM5hpq8nFYGXw9zglyamHuBgOuCFgyXbKb+8w7nQM7ieW/yQmZAcTRkzP0mLb1N7g4VfJCky4FRtUJOxcxrPrP3+CLeIVOhRmAM6eSaGfuFT/tC0EkuiSl5sP6NdJKT6Jo95Q84WDEWoFSb2dZGvBIJvenRM4HKrztEwEp+X7PdRSJyPtOjgPtASGZmYuqWN+FtPm4rOeWyeJjiIoCgHQWXMrCpUXfK31cCyV56kIF8gfn7RhvVZxktVIIrPPbxZF7U6V/onzjtwcU6FTUX+6Lnu1SasFRtTWdtOqtU8dzxtrIyAWu5pO5+Jd8pHdJ4xJDy4kXPOVBGRk5aHT/CpG18BSppfTUO5v5YZfDLz1BbQfXo3fvsPfQddniIY0K4rBK+a8wIHDMgiO02Ov5QhIkOAcC7rMqaKBjW8aaN7u6PBESIn81UJJ/ZaKhqcAgXZ8FBxhCNk7vC5AlAT4LTU23Pkzhv9WrQC0uXNWHEcvW63sHrqyFfWj0UiX8obzUkndBxov0Ey4oszBu0aJ4A+yfMNtVKfsgvs4eDrf31rC4SssT9ETA1hwGGrdkO1m/CT7+26bgiaMY1nog6cN8MIJUoBBQiWk8TC9eLGwzREyGXiySAlJ6PAZabqGZg/TM/2tzOAm4WlH+tNNDMYJIOG31x2jjyZF57b25X3kf9+6Fuw6qefKBYL0nsGOvED2m5L3VmUpg/00IoamQ83xaQ/8FORLgnSuatEIxWnwJfAn89EVvWniyVOvP3KoXvPlDL2noS/HIor37wNC/h+0pDj/ADuGrgmDfDX5f9MvW5GGGrv/5a6cITly2tQabBTVhQ1eKwhwMX2SCNdMDsFRecvJWlybG70iU4ALPONpsqBwjzqyvGW/2Psa0l1zcjJkl6AG5MUARW3lgvxjsV4u6LhevEAE8KjdxDVrkDo9oVygeXzLCwpcl9BhVK6wetpGYTm3EMNu6vI7IcAlxDoK9tm5DBshqk08XAjv9G5AXPKNs4CAo4Qsu4lWbpuot6Tc2ZpCj2bHLc+p7VCbIDF5lTbInwJxC0P8/rBV6sGk9gcHkQcFF1zIvq4vzPSZSvTXRIT7wjL9Z7/Nws+Y7NFJNjdMMcoVDBUFXe6fcJtyqZWh8Wvv2J/E1J+Y2uZvTUjiybCCyu4xQQLC9mzJw7gtCMgPLnqfekMVZVshy1sITbU/Ab0TZ64BwbEUD3BiBAqI8o8mLUZJGFWsOmkjG224KcZWyNT+q6tNxffP8TB/SmmJ8cPit5JTFHNamKgo+Sxu1qDR2pWlmEzm4AjzTAErtkjSlEMRhxfhQ+Jm9ok/hv0KHbpOUW1aPR17N2Njzr8ZMNMAEw+tzrQVw1Rzu20i6ciRnSQayzlJ9f4X65vK1JzjSUXWkBUfZSqn4R4f3ODMio+c9MM6D8psDtsRzKj7SZSmx0ynkrIFu9xi2CCijZDyS7iP7Uy3PdcrpbSG1PVqc+tE5DnFIvoYbFlDfSVKYebJqpCvkujFGNfufQJTAUSHepAthW1xevBBI8vYpU+Gk4gj6RceFRR0Q2PwQQPJeXn81+dStxZq/BJE4nmjIW+7b8y0Awp+xT1NQJMfV1nQ/vNKBqtRZoSoR0TjcxY8d/YwgQMI0FLBMYVv4r/8ktUl4KeXF5kQy3ko9vhl5ZTBFD6yw1e9kpuIzcdVR4z8so84bS9Wo9IfnsU3fS7zGijBCr2I2NuI94mfKxHNc00Nh3BCKqMoThXX/XR8ozRqeFDDOc8VXiwta33GF5m/AfFrHRHdq84cMYgW5eBnzhZMoe6kM972pv2rWhwMgExrMLC7ZY1w9b7gTAA6CnV8hy1UEr9PZgQ0Yxaj3NuzBG79fqGmFTKdeXdNSxKeugPN0WXkSYvLAs6KBNJJFzdYexHTSFylpUopHwooFYQGrZl4T8mSRRJSOzB6JbB+Em4WwrV9+jCt+6MlFF+nlIJY4IieHNGzGIlLxQ14SJ/j84t9MRKgbq4c/Ib9xOT1Q2KR0qEgvbefVPxHSjclhVWBdxOiyGpKjF40M+h7T/t6uAhD2jbKg/WQW+/bxPATF+j90ZGKgwsTAVDLZ0MNvmIA5G+SKPL1brsF+7SlTNEH7wQsuzobuZv5Th8aRE1w1OLgo8EXawSZZWYP6t1kaiTry4U36kTfVzKyoNPBU0tS2fiNlKqcsMj4UWIkiMl6YG6xtGfV7TaqO2bzKeT9lsOIUGV4xMjoUpJZK5b3Z+GlG1TemLEyDFQjYmFfmJ5R6pwHjJgpgKGzSVcl2TzRGPnRfoPf7IGV9wxF7UviLKmfppw1Ucql7h3WNNob4VKwEsX0RPHF51XUJWIjlVBjBv+lKOX9+UKy2eR9gnF1IUA2PHso2vwSlIeCaCjhxF78n8eF09eofGxPc4kCV8X2ynyggEAV9K12EF/Mek2sSlhEQj4q9ERFQqepo7U3qmfSFcbXxpr99GtBiN/lk9ABL8UsUx0TeiXl2wayQvaMAycQJGAXDXiNaYoRNRjQlucf2rVoMc52/xvvnxxcaOtfv+F1ZQ79N0kDCbE8xbSpIOASb56byzNtJZQpj8Hkzu4IcMLTYZ90XfaM3xqgyHNOdgZHfcljO/CEzhV+YiOaaE1+JW4d3kBZmyLTEU/P9RMJQDKmGBXMclamVp+ETHvCMSXvF/wINVR7MYxRSQgOaYZoy3JpNCM1vLPNKcBCZTwNchAK7YPrZuYgcozUV/+/k/BX+yNounB9my1q0fYLAvcSIT2VcX+ldjHG8PuO/0flFKP7P2yJXlgZHcUW1ou5mc5ct4XJ3fpm29NI6CTeK9uUOjnDHvvCKXYTRAw14CoqUVH4zbjDwpex9nx2AUhnzth7HjLlT25bKxlDDRGN4hhExy2+CYSa3WA9tow1HMjX9xwpr9+SMaFuJFtJGLv8nbVAri9QsM+cxY7aMmEHJ8PHCO/lk2Op4xxpYXyHg5QVV8lICUmkw7ipNmxv2lvY83hGfSAsPbkDmFhfJcrn3qBQ7lItf7nNS5t7LcTmQinfXNY7ChwfMEOx6fuU7Lve432BsHpDI2EFtNkTu/hqG/WMTawCw5wzcz1Ug3I1IKjh4CAA8wiHUHYt73zYLUGs2a4DX5WDIl2mN3+zL2gcqWT6SfmTOn4oEmPwoEnsbBNHfkzCEIf561LMQN/JW0YlVH3mFNtuK+DR5O6H4C6YdQW2+X3yPQWaLPdOn1Az/Maz4JoPjQg9DjT1+ZzpJBVjTPwfsKRwJh7NedPOUpeyzUf0D5ZiwPg069tIPxaiU+XlRZFearDpDA5b7WSGtPS5QuZQvZT89aRbjCh9SlJ3I0xatky1uxeEyWASWEVfAW2sR9siImXKdGf86H16YudWUlhf/7ptQZ4wE93Ht1EGzirQ2YPX6+E0PLV6BxHWSOCyQ/36Kq5uXrqWA5KiwHjZFpDu6fpfysiuvdbpXkJQpehX+gOye7xiwiO6KCnt7vdpQtzAuDs8AZhZPR9ccpkjKJ03cTrY2ldbZuPTBjqgddVZu2Dvnsc71l9ZIBQKJ5G/aT0ODyi3RBbs53QKFKS9Hmu1ny9bo6KcmOQusnfu7xSBXhcGD1TigU/58+fze9zJBUVdRCkMWjkkra31FDYKI9YW1m1w9Xid+RIP8Ugo5Pwj+oP1jz9kijMle80MudirpILYHHLm8hfFcLeNO1vrt326m9facMORmcdzUjf+DrMfHdxwQuykMldWTf5+SC9GuWJ4PvSFJBRG9F6qas8wiyHYqQ2aPIAdcxlnICftYIItqlpQZ3Of2zjCa5upJUng1toR5ypkkbDxEZx8IaiIHHZTC4L0Cif9Nxhm0a14w5qD2WsKpyZJu4pstFXHrHyy8rZL5hpCNAqQkswozljoZsfy2Kq59Fv/dZRLggXdLJoKq+IkuNoMWxHIBNLyoiCdj/Y8H3UCDUEArRyo1NCRDOjecdr94PHF4o0xp5Lw1SG6zAzvuZUBI7LsENY6DcWYLZvm4CnYYzwAa02sCwPHg6BrTu9o4mxQTZDeV3kZfjOcnpnKYSyQTvBLIsrewAj06DwFbpM4JCc5aaKSoYNfm9XeAmuT34eciLTg/MbWUCu2usT5B8nCanyjX0j3ZFOUbg39dD+djQkY33DztR5JzQlHzn4I/mUCSW9kilO2NRKeP/0rkrg038y2Zta6KOZhwL7qv2CQr6JafdET7DxZC5YIMEwsbJiVeqA5glao5J4QFfsS16Ul46hjGBfm/pw/ARkK5Ui+D44tPe4QUmFOwcfx2cF2J98d7ZuNP1cb5MEdugFQnayRSkqOJ6qVM5I/a9UT8H4Fer1tSCW3jAPetc6Y4s2vlDUvtR+S/8EPbiEEFh7Sa9z4xKNjePMMj4IbQBBe0LrJKOtyfnrhrzbVIGE7Or68VywWKUs97iI2LHim9w8jWgeCi/C37DZaLOoEw1cCj8VnEzUDBylUcIrfM6pqZhsUC+IImaQdohyfSMQmIGDJ7jbIm0Kfmro1INxSvEL2l7C+0RDnIme71xVc3110Srw0IwCWS20fGivbP5z8owI8upiOvij2YBSrSQ0KwKN6pbnVldvBkqSQ6EclczQgawggdhCvnMLYms8yY1sgLe7FmuFuwLEiO+xhvVJpJaTN3DHtrqlnAVuQi6arElhQ6DN2WDggqTayAhgObc78WH6RtjcpTg77urJEtFuoZm8uJp5PzC+cgMu5MGKOrpkYt8TcgzqVwECqFZtT7iJBSqmhoWOiFs7ixxuofs5TXwNBhtN1CJPBeNGx+ixWnHd6mmFidJhMI7mdiJ4vAEXUqqCFcXQ0Mp0daqGql972G5Dazs/DPNze58UNs2WSoYHMmANvnh4gB1k2F2s0lDsZrgT1q/TxC6fIqLP2rqN4iBmZ2d7MEvRfBRpg3KSFxMBKNcB3MPOJFKQyvfBtt5x83y4cZe4cZqvLC7M16R0HvSN6UsADQSMhQHxLljAlZ2A5uhV19LjyUm8L3eEXlEmiu2Uaud/uSkUG73SDjgNAArMavdoIEbc7zpTbODgXEP200bJYetcq+a1+Ds9pmZb80JOnP6RtslLYUV/EptJXkCWmscQe1uJevYO/Ze4Ak/nE1Qrg4nTxZkgxlJzLO+I3eUpYzdFUv+4ByXj6bn1VZUZeAjtWAVVtKcvn5oqDZRImiYXACCJp6qG6G2Xt21PlEJJ5L4pJ6UHYdkZuHTUt9oXDB89y+8Lzhl6i/sSUWcVXzCBw52C0idzVKJlvB6bVzPUevDSiTUXitTwo2XrPL9V9tgbxdcZPWl45apJhkhLnp3keS4D8k5lBPt2/cyxSX/UFwJwpAxWS6C5nZzjoWMINq2rn9LfabRoWzjDs7VhMqjfnRk+Q+VaEy/L68giSrIFN2dS0j41tOU0OfNAov28s/jZ2Xuq0+a3Pcoi7vOB36ah6Fi3yQmsUQTRQsSN3aG/pn643NktLbdbU/Sl7rtizQnl7k5qsxwD/BKFDbt+kHFH9j0W20lw30Q2BOjGkNG98CVFvU7uSq9tk88KXyaQ1YA4mU0Mgfhhfv1/OEkPUTdPJ81yTMJ0nqIj5AaLU6rBtJdRNOiCQhtBMaKkjMKiWfo0Y5qysni5i+Y33rDjKoQwqmVftycZcqYDITSWW6XA05fe+t79rVjcEZbISYIar+RODcYAJFshMp/uVSqnGq4WQg/frvsvasgme/ecoldqzARpja2v1CRwiedPdM7Kw9IvvuRpjiF6oV34fprvWdqprA2eT0641LJmAP4XTmLbyV6ULQq3FXxgcV/Pc5WVoe0hnnxK9ijkQdBiSau2sXHpI3PKx3tgJCW/61NgWi9jxkAmUwUS88govuRHPEIsVArEzBxh+1qODvb9oL+sepdy1pfw6Y9UYa3GEpBquGsdXLunYJpBGouPtLn+d18278mNV7345FBLzArDgwc/zE2zcnSVte4M5gRY8ddvp9i/DX4994eNb2/NsbZN1zCFO/fzpJNnstPu8wjVpj/ATTK4KwceEnsDgWBuoCeVHeT8IjLTZeJyIfesea9VStMPVyox1c5GH+BsAgf2IbFkQIl3UyV6uA9wwGQiO3Z4BBj1hs0wiJpK9oznzleT7QRcOyO3zWh2yNwvWxgOFXJXyWkTlKGVze5rLqW3mC0XcdLhWoc8Au6KJuvCLYN9KPecuU7f0lGPsns4hbyY7/ZQbNp+N+m+9dnAJ0dLNdJngVwSdtPbD3dIrbz27IqCqB8dlKU6y3Ec2oewy4GDdiU6Hh5GXGdt1QjpTBxrdDt2oioDKWzqPvNPI8Zs8qOuZN0Xr3BPw0aRYH/GC2JZ1rvNYe84ZwTm4JS7weQkTFA7AkTFTdWlA8ZeE4jvPFsUmUlHNfv4XKMAcnZkpvCRtKvebM3jQBYO08e7Ho7bDA8dmvot8+ZM4YHQETtlrkNMnZBh8eit51WwOTb8ZPcjIJk+PNVzr8zE4k6jiYWxa49bLArAWPhWx6ZGxxxjlUi5vXlSL9/r308gYlDTkXG/TLc/6Qb1mrsDFd/JMDCchQxxbyTL/Oj2tTgTY07yeTaP3cGZBa1Hv05BBHm2gWHCq65l5Klit7DSTesCh7NGSkhOO+65+VOI2vu/1V0fIsvsAbN+g0AvDp8VBEgkt+wE/k0H4RwHuufHfw3EkSUdw5aErteVGPdzujSGHTkICwQwgKwTDVoDWPT49MqMh2d95h4FzwVh9dl0j5h84I9ZIW8iXsslxdkzsBPW8wVUTZBrds9wGooXZ2y5qgS/vr24BMxisRGq4We90zrKOHB4h1bKnOV07zDU3yBCgV2VY4gQt2jDs+6/ljd78Ho0VeSau3g5QN9Ix4n0N/2nKZ8eOHo8xi+r3nh7MUAr/aQLtyROlsov6LwoTMtWBpDw8KbDfvHfMosQe+hDfe15RRT13dbie+9a8UmznbEg/ZzYKwKQpqUyiOXBAagv8u5EtnUdrX/aSf3hw0SyAWf2t7hpVAmbixQrZ46rHaLLVvLSTPL5eujIZ9ZVusXZSrIeDoOmdfrDRH3Ao/tTk+FYyOvLiT6w3YYx1C0aTF3vk3ZQ6JJmxjzoKEX8kBUckf7EQJ1BUbN500p9/1zu545KvxiapYKzBUtgmwACgjl0vpBtt9VKYiSKuqaDtgj4mWU2U66kl/G+WY1SamzKcM7fJQiRuCwCZzwyqDyQv/9PdJmN4BOaaZ/v3dXG1Hth+8KG2PEEVFb8mHuKexLyJsCdWw8/4XA48+798QyTq6aSzEQqoGlI92GV2itNjEvkv7Oh8I0KW37ZPp1kCVYtqpLSkgGe1IAcj88FHfHw+0N84Ca3sGoh9S9K+05XcsqtxUVoGwa+Ic6flsvkdpLjc2K8o2ZLYkchvD5WfRFDBh1895ME2UFt4WNSQLYkkwlsXKA9RamuNsS1z/N7/8hzhGWqSfjXHxyQwfELmouDPQ796dCPiMOPK3a5l0MBWz0Q+5M1t5l8Ac+nQkLj3WhuyCBQinNlvfSJ3EztlzafWtkEIQ0c05kOr/f4SW5g9r2dpeXYlk9iweaImUWibvHJ0VU8qMc3kE7P2uh6C133P0C7+YP+zb3KIR+It1C6g7ikz3nisUMChF6G6KzDHb/wIluz4haXhCY+hMznO/CDMbNKMesFYP0R4ED9gqtlYmXsktcYP2+vGKuWR8JSvGgJOzxGEOC0zTjX1at0VJTDgXsOUV42/oSqA+0YvtUtXL9QAxGcqaIG5jTs5pS9zxV29iKeCVfaua0im7YL954tm3jzl7TNV5XUhWA8Dk6WdCJq10v5LNcpvl3+SR2LMMtqo09m4B1JW8Lpsi1+SsQMBTX6NZWv2OVN9xwuTG6mGYdXasQv73h2wvbzGOeDEnp5au66ACG2Xsb5Kxz/5gW2EnGINwrIfNml/RuFdPbcwq09kORQmEqRQuZCA0KwtDs5Ct84qOBYKWXJ/GnsRznJK3U27A+luUrL8g5zkp7w6O5jN6WpbBoKZyV0Jw1exH4z1G9DeigaIzxOuj7chND+wzYLkGsEVt3pw7i9FFI/ok7Rh4JvfgjkR0VUwqFfTbG6tXXBuEvYF4U4FN88OXiA94wg/iLbKu/UAq7OaokTCyKx3u4xoMCMwWz3lEwnKZpPP/hz09bvyNKTsvqWIQnDS6tQ8W5O6EjnJzM9It0YKy09zEwKmQn36RR/FnSkYaopigVkMm63TDv1aJnWHs00VQezBpc+PBFWwG4awfv+y5m4TZ6GMHDSPH1DjGrWfgk+IZoXLwnDLyDaLUXm0A1Zk8+v+uwTNhaPUIvE6h7hbxfKSO36/E/4L/zB32eqzegGN1vzVUL/3Ly4VyZtvuInHt65RaTXaQ+5Wcdl7A9i8rBKBcvW8h6Brkqj1jb2vVvRwBhACyqNiA0H14c+bOvCVYWb37/3mDvAmHu0zIEzR+eCYLukO5BrWCIWm99IntSppUrMWvOApyo9U9m/4b/3VrwUUFxrLD5ixl0LF6Squ/lehC3XS5sCXchN/dVJWbjucJR36stOY5ZbkkOVKXO+oOv7P6mUVWcOeIy2lmSLnLHkCv/7rImHXJFiswTdNqhPNNPWqwg/eZlrOGSv+OI2mcvjDGDcm1NjxVP0IXcEWasHNUCjMl7kMjLd7CD3rX/sEBT7tJn23UHJtEGxKD7tJNzMfHM1ssKcSxI5W6YTNWrvahuQQoGGuvgA8YJtYzH6ARkIwzlZY2fOv16knv2SGC+lAQXEzSn7dK2vQfb4RFQdFk7iF9tC0MvuHCis94PY+5qj7jwy7GVUOl/nGpanRP4hmhXqcBgHcbYKl3KCrAhUVpkXA3yurGQ4HCRz32EAjTjexA1SDAkM+chu6DXvuh3drQ/8RQkGbjXtoOpYHqDpEk2IBc8p7Ev8tYFW8045Hp7uEB1CRy6LC3Ui/U4BvdFnE4LTatKOzKUKm4jWCU+WtfaIfegN8C8Kk/9N5damaCu8eCY7iR6xxCAMeGtKJYLfACrJmWEkbmqvyFMacjaBKpCU0VVTeTL6sAUp5x6KN9K9liAcyXngOs/svj2gu7vFoE2lATguLRXeDA6u3c3cwg4wJJWQgMo1n755n49wSS4y3zuMPO/fWIA5RY9wi6uOn0YJ7+sUX3E9WJhtYCnZJqMkaw9MWTgtIjzrSP0QUXI0JRzypE8luTTMVk7d8u2/kUv3nGTr05d176BRwEDbGUzt2aAHNbeueAGRyS7Jku+LH92ssMxf6eVyenc0YLs99NHAQxJiyeCIUU1aGyxt1DwEsagLbMQfM9DH26hGfy4xMUyZqJEIS4trXuF0RGSdI1+jOJLzJxa2JbQudzk8H5SHm2vXTNv13mmcTljbEGdrMvMFCQ8S9wMeExlhvAHvC482bNZW5ck85sUScFN724vhjBJlcbgMd2BD/uTUR1ACC04E4WyJbqkHMf6H/HdlIn2jbR+oUyPHM4TuzJALlBFwunosot/PmXW9G/DeBvCv162F8Kx/NiPPEfAaakE9962nBmzBGAOmXLIGgZE56OyVeDwhhfGz0FZ83jXv9pTk8tMrfq7LiWZkAerO37pgsoplIzi5fjcfYdUUnnoXEeQH+aMco51y5K42R3mrhgtphVloozrhO43VUuqZhhD7OMrMmaTZUwQ98XuBruF+Z2mKOItjc3Bd4JgC+Vc2IPd1gy1gqiLCog9Ph4ufxyVmT8wN5LjKwHTa2i9O+WtjDOgArOwg82z2wwEAPADOkK7PPXBufLHpoHbx4X29oJlTRdQkaAuV/4CDqLQTmfn5tOtjmvvi6cLEWdifFU7HISDhFXY0qlSLgMCjzY296TY7n+2hYFCCz2yl20L/Bn2TqTPyidiAxC09jLcaq0gm5Ag7fScuPut2zGulWmMFHAICYoA4+jZlPkiHbQ1k8UYna3hpA7kLSBc60bTE0MHmUtDwu5XoZGT6c6LD4ibxiRgIKZpKRVnKKCu1o+pr+7Pesoobw90Ib9QVo+DiAiTZoh+Kehx74WNBdubD4xNtoCrWaK60lPZfZSk/OD1lzvwF8ljgxdlEQghEenpHFlQ1Anget263OYgJYFGJGbFQp3UKtjnUbO2ShQWkFB58cl4bo5oNf7wmaebfB4DV2YD3Nnya+Bt/xl1g9tX7sV8quZ/heWOL0FCCL/1Aa59UXUxlAthwfdaG2/RTpD4gZlGJwyLSl7Gs638SxzH7lksv5pjFTMdUMYFajtsGap2Wa+q5+3YdsHkHMIW7H8KCoeeOuOUjjX1YoLQUVXZ2qTwZY0z7gAkxD4URtEUARbhcwt41RdKCqCZzZY7tWDSfR5iXj1pZ+ClvhkMuoFLch83qDG4bSWCj7xS4nxdmE3YSeZqGBnPkF9vTlxL+lNBoCwy41MjejQVPkUtiAVSuht9NHXc61SCDQWjLL7Oba1wwh0lQ6Zwyri27LkTQ4cDrLpZsmK6BR5Q/u2tQd5vvN44mC4kA5TYbe2MNj/b2VjjoGb46YUE1F88kxGLYboUBFwXajb+WnE448TUFvxGAD2pWIhY+xuKkMj9ho/gm73T8EMAspkzPaynY+FKFJkBSzzGVq6lttlolas9VuPtW4xWrlZorImaDAEgwtFqliwvOlBw35bZ5EmbUeIA31laCokZpuwOqQxPLtAwe8EHS0HzB19kvlWZY56FSC1T3lCZ+SlHeQaFyvMdwM1fOqmbJ8BITrVLlXhTZ0et6vqHXXgGUV2pLpntKb5w2KDYnjwXIbNrcExpRcPEDXg2gZTHAd720jr//VpSwxIWVwzN1hIFnRk7hiCaUCzfNm6xIfpP10a+/DEHQCh+D/OabRr/DSjwWcENly9eSUVed9kX0xO67I5dLUkJYq0SVIKRvuAL6Bq0WiD2CljRYZwfppD2iHbxD5/7fCYORXO9xYAZJgg48+xbXVUoeUJg/Zi30331hhrPEst/LYwDz0Tmp0H3wB9N3P/thCkE4XrSFNHbjf2j9Dr2EmRog+8FL1o3x9x1CDcYTQJWPJD+NKaHtHuz3UOjg8qPYzuGUOJ2ruKqIJ5lG/k1h7d4ZKoSUYtoA6INZwWNu4QMWcXjdqKrbiPn5PtemAnUdnaymMGzWVAExfuqlt1vJqRwOe1KN417IZa2Q2ObC6lAhK/hs9zjEcCWkpPvBkKhtc8ve+qx3NYLbCmYwjslgeEIuIXKbzDVp8s35stv/MEPlqAjkVRpO8Mzttooa4F5aOnBsHSfow9AWOjet8lcJxE+NfyzFAnm3GLBsSMsC/9/UKdWdxqmZvOChIxtBXHUNTLewLgDp7vps2V2PJfhfILR8cQv8JE/o+Fp2R4kfKIWaE6uPGP5f8JgB9v19UnMD2rSvDLfmKuuWNkNyedDYjeCtNSW5m3q5UVwNHv9/g9Gg278GMfkQWAY5NEr3NOIxV0J110MYw/mmjNLfJ5zgjhW4t4YNBOO8MAIOYp+zXVgqTbaql9HPHK3c+SVQ72rwwWDssF6SZdVsByRxZedxs4iAVoCqXUMpNZoMr4XvJAPKMcrDznhx8gHZD7kVYKvkbdWvQxIauqxdb+sEGGt1mG6CedIbsn08Pse0aovGus791dcc+Wy7g7xXET/UBsVovCR67KjTaKEg6Z/WJSdBDi6ACk1a32Ywb5dCeRZR5a4eSVj4DEBp9yij5Qutu1oQNYkIIcu3rWwU6lh+OCUuoSW8H79RWRfq9pwFawDt8Mz5Wuh94P9n2IOpDcItKPZ3F4sA0ft68Q0bzCah1SbtH6lQBLhTQJeXrub/G7L/BB5oJK3V2hCLc7IDwWDmNPWQD+ar5X7HyGQzgxAYmEaLUsp/uYKNCUTPgoUigZm0YBiCC9isl54ZtfbvmwZS6eySmt/u+xXmko5qVo4ArE4Zpq6zNSbCZXHsxRfgj4JVRXbMqY22bsCGTPvCY8AhQDY2Eubmr/PPkg4dopIi2sL7YpuJEmuHhIs5Ya5hHDAwhuHy7lucTLozdENvUqHrBGNI4r8B+WDtGyru5BUoSAduEVAqW6Tn7S9d3Fa82fzIIk6arlOYj13McP3IIXRG1u0qOh0g6qUBQBMjhnF9KETQ69GN1U3A9I7qOhSKGsaRupBqsvxe55J1Hvs/fBJyVp4HW3fA763nl/mmhxULBQr6p18oq+UiXhZZlf0lNS4/8tvOb0udfBx9EWfgV4Cm6t1ViaiZTvv3LVWZknt2JO7mBER1nbNyCu5YCECaMZyI10jh53dqIyp82cyWHMWBrFCnrwVkWZisW5A7Okrej1bYl7Kmw5CaHXwq9ygv6LUqhoGghqINoEB6GAbIaZCHUhqTgHlOlpQEqx5MBEfa13fGw4NeC038KYL/adv2Iu0UlQWKfVzuqlfTWBmRq647Ui+96jYORkwIBbNxbVSUwBWEAo2YWMott4Qlouh3XBz2KqSUnOdYkf7/ghzN7jzv4EHYwTowrzs1QVclFAT0hZ6BWWBOX+et4RcXySK6zl+tSKIXjDZmMUUZnLj7dWREih7yENSfwybO7JOsw4Sxb2pCI3DUdkgpVFz+Fp8Xj42b4iIa/wfBr7GZ2l9OFil0aVJKFS7i9cqetXi0g743jQbuOWWwWxGJtcxm5X6V9YMwMLqsjrlszzRa8GlKuuur6tKJgCTdqmyph7REETEqvzGIov8pGgoC3gDPAFQ2JaF0hoBBboxziiMDCGi7yo3EyJJeDeIsTRA6m+yGm37rnKdLCjpWiCd/LmTrjD0zW0fdhJeM/Q3s10dBMkXLX7ojxY8LCQ4sZFCSU0gSEB7X5a7Wjk464r4tet6+hn55J79kMc0H/f0/8sNxyTmgGAKvu9xJ1VfLF4QUw9gwVMKLgo4S9EjYYv3mBsexS6KfPqiEGU0MumqYUZw6HCOABo0BtYJf0dQhcLn+kfUxfoQ3GXSL+DCDmkU/i55yD1rfoJV5a907YJWmztmVMjPlbkz8jj0v8KHJjGk0yX5+aatYWUegiU5cwGSKssCuXQW5T+A5lk6laYZQZ5d8s8M0h0DR/QPpMZZHX9mjSuRrx719EKzxkqS4zgGIY9Qjxo6Fn0fwRPPxZLFFrb/Nlfrluqq9np+Vf64ex3M4eAH51HhyfeAIbwpGl37vCMyO6EOPweTIF4ul5CA0njJme8oPibHFX9EaNlqts0GEsCgo1w3XSlCHoG8G4PuzyBRIyzaGUitpJznwMQMNarRhUtpztno+1VLFZTVI/fGd+oTjVx7LuhcycmJYlM4VI38QVNmF52bPPUMmpRIr0lEgvqSmU7Vp+jSYFXVkk/h58foLICvoELT4cdHUIqWqYKGIxWHuo3NVL8sMXQMWZtr1eNfQ6Yugid9I3RlcCQZUiElDYSHzt5Vt5Xb3CAl+TNYc4e0UR3UdU5DcU65wX+SJaVzX4NRCcysct0pFTB7sywWtH2v7bzMJ/KPTc0aS+hiPmmRL1kbewvo7h3gJq/JCygndoEyRbuwBhtdahLV2PRWgVDozWrT401ZiCmgGWjoRACkCI1e41Cgp06w1XGmeLcmADArFujAVEuCvfwK0aRYiTUCNvps5IE1M9LjpPIGF3ZIimWLuPo/VyJYCU4NAXwAorbgpso9Lrto1pVFYphrYqzddVS7q89xqDgcl7GZr9qCNAGEA8Ni0zrP5ezr3DPEnW2G4jpW3Rvt93aUMbzoSizeT17ce8f0amVHD0+NrW4faXpAJJdAGhq+kuu4YMZGZfAIvq3pajQfISsK4IPiqfcDcm1DgjZtrI7T/pnu0LkLReIclmpxzwsIvcCnoM8XAov3eRW+K0hIpemPR3xNIirfKCN2Z+JTzRuo6w9YcSoiAg1XKCmXBcswONpBLzCUK6LiYjWEP4FCX/iiakCyLHePDva1yDS4zjbA8yTBMv1sQvc8VsmvXdS7oM0todJNKvsG/jKtpHbNPWBjC4NL6pxVExtiaYLNIfWx31ZG7l7Gii8TypyCT5aQ7QjT9QZJcMhjeS4twNTFJl1a1U8KwOTIvisap7YhlOg3GWRqoqu/gKAmn3ZEvylVJig8PGTy56kzZNAJrx0eDBL0KssC00fy4Z2ip9ooY5mYb4fSTf2QvacrzvPUD9TqAyLY1nkuTaKanuwKszP5ksHOnUaNWRSfTQhv82L0hYNZIjy9jMB5bHxR3+v4cTjXrx6VZAZ56hayf1c7ZmRNR+IL0mupYKx+1HWbY/dAjh/o0RrHrGOSqEGGe59xk+P5qiMcu2EHq0mhzCaJ9nnY6g3Pzqs0thdP7ysQtC5MD0ZDoNeJArvKKNQmONhQ0rHAu1jwGL3oJ4UlXyS09FmPWgjRweYVXve6Wx2BZNedb6mMMcYgvnuZlLDJKtrXd+LxLfaZoaW8M0Pme23iPdjJEttfOIzmOv6MaYhi1WvzytDG9WSEuT65CbLtfeiPAcp8tHn35r6muf2E4J+dx7NI/J5NnKiEtEPANsjVwn+pSx5TcmVTMxQDuROUqZvp1eFCbsPP1nFMH2XiB7NU9lXSaZuPLgrEgMIlG4pjpnzsq9vttiH/TzHJoDoM0xISQzrGLOwdVgeYbbzIoWBfFjMVEMjrpdsEgmSXqmpvpL/UxusleWn47mb4xZkYfD7YYLo7CIrOlkLDUlyXi/Lt/2v7PN42K8KYhb0pfE36LQROIrYq3AjkZ/IzTBO15g61gST3EkeMMhZyXRYwewBOnaiX6yyKgggY4f/r+I4vdGWaS4mI5j1CaRp3OL8rS0eUAFiU84h432C2u4NE9EjQsvuLIRcbZ/D5M6JfqJbkK0A1T8apPdlyIHgv4Y2QdF3AxFEWA/KRx7IO6tUFnyrHvag3VSY8AbwcImVdlf7L1dFV0E5XWsln7sEnMjKeJffNhF9ZovfTR2/YuS/E7j9PsDfkz/JRiD1ObirKh7OXp8GqlSUXapT7udpcgS1ZArou5/Yybs/yd0b68hkndLrHINlYCHYzXXP39xXVqOlKObdMIVFPyzn/fQRbVvTwpAJS4BksdsDzQzjbJfiLWX9gF/ZYAB9QRhhFtY07oFobqXsNN1UE2I5uY3BvJB51zgMbrtmkFZss5RqehrTaowcnhGP6ZYoHIIANpl9F+smrVHvGszme+dFIQw4JFIu0EJ1HSCA27itqDzjR5AQlmIKGL/fGOoVxsdpGYnXWIxwbd/Kwc2CipW4wNgK9hJtkX//gz2EC4Cvpv14gXiVmsvaqo2gn+mwuTpSlqsSWM25/A4A0m4I/vm6SqamskKRhFXs6B+yZLYkJSADjMgLoVEEOCd90q2tHAOt9aBq6ZG/u11uZTeckKsM7JVaGQszN7ER350DlE7HOtPjUhrcakGm/qwmfoYQ3Q7mgcoUV1ir3Uj3tugT02DC9RyE2AGELpjwk5j8iWvbvnL3U0WlJ++nJXpuRkoOm3j7/+BUqOoPjEfUc304aKQ5YstLb8p+O89HIEkVVzsPa+x7KYf0cPzQY7gT8q5CieJ52CyriRwZgJ+vZAQcyjQSOXs6CGwx1CW9e8HAmzTiK6gtyTzYgCGNaJNpBRQkiYEJVdUGzAOAmbZHn8cdhFmE+l2Iy3uY87To3VFcu0/Rlznswji+q8RAvT8mqaJvY7uxE/3tDhslnWXwnmfCZgGX/rXU0V7jImK9XGRJprueiFRgh3BVQg1/8Cue4K4l7d6wywDE552Ukv2UG9yZZ+XD6On+IYgfBxpLVi/xZNGyCwNCdKQRF0YoBmRsytXDx2d0E1wKAinRDxclno4oi2XDtMYy+47Z3TF5/GmdO3+anNhAWew/AGIJR2dNbCI56dpO5zsObbRZUJGqc0R1UkCwjCvS3tjUSZRntJ8pQbiGZ58FB01JY+LBdGzgSj2QwfbYuS0Gu+lVPizG3Z/UJFgWg05hzIYEzuSAYEQG3mx9ULYB1bcqNr/t8Dz+UXraxDUwFQCUH5hnl3ZEoOFNLJaqPz1QiLcMkWPr8fs7D4g/05czA092cILuf6BIpykCBQJAIVOJlh5uatq2fS23cO+PHwnz3rrJpoHGoAon6SSCdNNHuASj+e3wf2DPZ7fq1Ogd4cv7znB3xn0ZW2mQyK4wRT4QLD5Rn+5SrL2QRAx4Q9Rkr5q5TmSMaY+tm/KWleUkbHg//wpz84LXLKGvxJClNjBs6JkSUbYP+DMmJrnlodSr3W3qWIuyip3ntBc8IZdYDcsMd2JG/SXra9hT0G0ri0Wwon20HUVSisyJ26rlYHA5CHXIeVusRrTTwpcgH3N6w2QGL0Mkqd052XqGGbQ4+wKN4w8cm/SJLOk5LtQQel2s0NhjSaxuA5p5tX1CEIOgfbMpRfjLWUEbZDPuUlII6jG+GPzrTk/7IpfH/YtBFB+0uiMiBFP6dlLqBzeMhBcQRwxwmwERJxNoDXtqeZZGAhB9QX10waWFslxFGRZe4/cyr0dGJa5YN3iROuI/fsu+hZlQuw4ATdZeIO7QE5WgS4KyXpdZl24keCBGCoRzlXaQRyBfp8IjEEtU2QTgoG1Vi2haa91flwgooX0fCA5VUlIrhHOHs8bXg8v75mwwZ643lIWKLOYKolT5cnHFKgu4kX9E3LqAoEbRM+Lw9T+g4ex3sODAk0USd2ydoT5AAgcZivSKS/yJYU1C07BEj0tu3Kko5P93FKm4qsNYLgps7YfhVUPf1W4L2y32zAKT0PMdAu81Emyxy5IRaeZzM2XSv/KonPIBVN1IW1t1UzVKOsH0lFoH0wVaZxfKwweAfUwb83njz8ocoYdTu0g0W4xMXA9zL5oz/837k2ZoOU+FjxqGZwRnWxKBg6fjReZUOlEFXrEs8KJ6aKZtPDckE9v64Nh0jGVhl01k0PTOROHMAH+JefJfJGGXoLhBYjUTHe1dzkQA5aiwdeMv84vsccA1f/OSELXZYiUxWeNlu9GtN6Q8sqiwv6mj0ImoQjhd9XqM08F14Eh1h/y8kxoS4pZhYzQIrSoLB5BgyBd/GmoP1dp4JExqY2yk5xaGCXGmFDLt9827r/jdYCAu6O5MUU3w4diYx2WPVjO1a+uvYMguX1X4Ue8wzHI7RzRPhTNVVvjTia1V8XhpPqxd6J/h6kHD5x+fv5eY4Ql5dZImXYI6W8PeCb++hXmCNqu7cZe7iPzPLkKQYpoCuaCVCukRTXWJRorIU0qZlVMRNinetQZVEh6zq1zb55gfM8yck14QApeAHr7sRCOKakzlCcRX5QolHyMbnNd/kIZMw1ipmG2BtPm/tjZFIN2TLdH25AiU17DqYIhJE+FcYeRr+PMh1PjM2XIJ8QP67G+OxqlP4BWIMv8DkqWpDg7zn/bxpOG/rjOCNtZkbwo12kaxde/MT0WwrD2L03FyDchDWE1a5KWn+hHhdkPJ/GxB74X37VKMwTIyqVeKk4NSI+3ioJZfKTWZhx9b2JJZ0eWccaJ5dUJTmx76pCHBEIePDL7eCYd+mzJMK5QVgu0bwhMwwM60D1QvY/XpG8p4pJlKwvM0de9byt5K5fC5uGDoFormp7sD2rJQ3zx7lYKmi3kuNnuwzUvYAXXtnAOV7wXPwd5QWGzixENjmlAUByomc3qQjW4YXH28s59AkztkKr3zSNHt8FthQiFDc8owJwaJGPqKxiX99jF2Pd2WTkg2m6C7D40EUwcb25jgyBDvmx1f0uoaIv2k6NIm/JvorvtHR44pGXCQxhfU31hSX1EO5jXdPFUn08kbeM+5WfCKkcNiRdLLbHiP0gbqZRONCXNGlGOH53iIAASs0YRH8FCA548bcUeCkIFSdQo3KOKs/NBFZzVQCdidwi3mqJ3MU3xjnSsJKPAmJ3qWaSbQs3GsovU6fgihf7MYPxX995qJUJjEZQTD+UsYILKjwOHHq9x4z+3OTzPPVIaXUS/wM5sP+u/lOBxvyz5jph3nNaEqOdJ8jmIIaBqb6Os4OANV44cQye0b92JzUYkP+L8TS/prIu7oJMXDLs1qAlQ19ory1/4eMY0gV/M+gIpQjIHUp7qrqdF4kfQ3c01xCVsXWrLKVj6FCgoBE+fuqv5Rd0o+vN/0ycClA3ZTCf1J4QdmJ6kU9jbuKgcy40CrPh/nh+SOkStn4IhVN6lSW3sgH3PuM9TAI2HcFaHud3IbySMDkTQEu6HWwTU99Jpqv1yjVJXJODtghGqqOPK9I8lEfslAiRoWMq889VqdZHd6t4AHqInYx0pzpUHhosVTXlWJmd77rBlTZSTL7xG2y1HyO4FqM7KZ2mqjauNsyBIwhNbTOJKUQ4W7ypTiiEHimBfahsXz9Im8Ghgx4h94zXp0hsV28GEY+oRNq56B45R31HxwLKb9/DIFv6w/9czzx2rjkaMLM9k2NPz1TzyKjFDThwhenlmG1vqknOS3vCm+tHE/tDffU+Q5IeaXZLVF+xM37kdO4FV4N/MwJFC9Cv2h0bnG6U9rnGnsZYJPynh4RihxOjvfmxUxwQp8DkayC6PW/iWUtx0gcDJPVwXJnempdG1tlFShmq8D4nBFIBRmEE2ReZFo6yCC3WnK50i4xfeWLZI3ApBoiKeyT2R6jq+MehmQTMbxW5iIjS6DMGhLeW4hMPT9UGtWo60zDtC8CFZC7NBu81EgjYciboWgciGbh1lAUuwq529DjWwiH4f41k5nK+Os2RvRP2P3m7kKhDYKgynDe0GpNKvYUjht0pqbccYTDUTfE8LaI3EIWa4V7Qg23JLfbLNPf9A2JAEDog1nNvphyTznulA0VQ1wi1oKoVGH5p9gMoRfBI/Rs7rZqsxjC6OtMy0BfxdD5Vuvi5gwczeXpZluOEQAvIAd/fsGCBZI491cGnxXBk0VVGWagxwYnwKZ8JsC68tOjdFyaakDLTiEdV/9DkAW/oIChF34swc3cp06yUHcTLGgWSadQWaVfa6vh7Lh6IWiQ+tG9fEID84YkiZaRQkjVZ0RZS3N5qXB5MprTyBX0Wlcx9w6wmpifBUk/xqZNX6yPC9HeRoDYo2xGaPog+E+ZBE9LFGBoBAey/WFAh6TnFG+1f9lawyUj2MfUElb2XbPku9WklYQsiAHWPCnkQ7226FbuX9D8Dyk5+pPr0unQBUYd5KkaQaWRbLYJEk36LaMz7ScKce0RveYXykpxu1ww0TSABahyt37BEJ8a4zWJaMeOX0PDVx1CNvstcKrwd75akQoXdoMCvGlMdPBKgm3mURFLArhn179JIhhLZfGwjh3L2qQMKGigCZGpOmb9rdq4jMBMBKyGjyhkHKd2lLMkeUZAIEalZekHn+UT9QjrcRdSIDdj1qOnpEiTJ+Vucl3n3CM8AHPZR/snquL+aPJd3Fc9+QW3mMi0dMCDRRKZKYEeKU0DbVgtXze5FC3cL4bU8xkvV/QdyonnuOTRLABl7VIL7KAHn+bu+XxjNkbIhJYPhvPf/WqComp5ACdGW6rfwJZ83VHPBYNhB0Ornl4ldZt3IW2JYc/ItTCUMmXllw9GFvmx/EV/5xmNNyGb/cANOAtha+IygOIh1mKqSEedJyDhIr/zFeNCvPiPxMaO4s/6kibSZ6oyQU1LEsNXu5a+S7KluOHVbK/H070QCLWsJSQyjCii3g5Z9QRcsFjpaSsnbp9GXHHwLDeNAqe2ir7jvm9ktb7FrtENOP1tBCk6y7GQFSmzaLo7b9OGbr5uA4qiyaetameQhJnfWwBokFs/vASlXpIDouED9/vXuILce2Ah4Yn8BUmRRLVyT01jrr+XiHDQ+Ytt+d+CadDC029F1zpimkDI37f19tgq18KI0ZukIso87Cairzh7AZJfjGMgtlaxeATkPNJHA/8ewPV9soHSwe+rrPA9eVhVLNgGXP3O8sZJP+LDVKV9/heV1mM6uKHaQw1LZ1iUi7rJiBvwbPhktrBorJ18D9vLsagZK6Q24rfUgZnwlzcaaAuguokbvM0YkwpY+sdLGvkztmuImegtArxXlCtb+97OY5RzDy1O5ueWqVu6DstLEId9eXwnWQGrpEwSGaL2Uotrs/w9Pp1bNKmIDwgYT/isfWHAWXQHcOWDIGF3kYd8sAwdSsy4F5prVs10mkcuJarK8Ys4kZl2k9ODE6xtjSTSxp8+aGQd5kBu8eEziEGNC7icQ55Lurkc7Z6LASEL8hwz8AeqSyeDYE6jQ9cfD+DinL/zv0vmBZmmBXytxtCKr+WAk8efuFeIh5/8VeM9zmz7eZsk9qYadYrTLelMfX39+dvL733GsLR89oYzzcq73NW6pr/bj4VqKyP8p6u86OtgyZ1q8PFst2HiiCSMCBVj8ClGnordABRMqpbzeuybaif7+DIj/jAuY3K3Czy6Mw1rY4PI3Q6d30laDZbZz/o2Jp4A1Es0crtruDcSrHhS8ORAujtTgHPnOWWkK3kaNI2af3ZwiSWuyTjh29ucxh6Z/1YgH+LO4o+9jPZp1QtV8exVsU7WaneXVUQsK13PZjb6b5jBpmlIk7STtZihrMTwc7VfnE66UrutHrYByFZVbC3dQT+NL322SjfW831OSGtH8JBu1UIFpdeLrjCVNp2GeTR1qFam4oyJQT2ggISL/jhX6lJVmu8YCyTKF6OEQ9Ohy7P20W25uFltVMlkI3JGF2g+GLY4Jk0WtvuVKqne8gvIeq3pTvnLSR0qQekkflYCxE1R9dC44ZoJSFzXcvr/7D/mXdbndmN6uGwDSAv6JQvRDnxhPi8GoGI4miHrhZuyR6oz+7fEFNrzOuqdDwNt9c6OCUxop0XIu3f4urmf5wnqDLsTrQR7x8HbwYTb3gWtite26T5OzISQTyHZjrx4a8XacPYY+sR0BH8Z+slM1SkSOPKXg1hqNNByh3OI872zN19kHh1rPmefNKYlQT244q8zipQY1X8Aa9vWjdXOUSN7ebMxPhYcpLTu2aKHIobPN3gskntSr5nq3GTg5m1sk4aHFM0f2QBYsSX4wWKis82ivztoTHGFFVeuZDUyxE9ulOQg07jyta0QLtXH2B990HSGzyXhOXshuj9XeOPief2tMELKpXqzSPMKumkZDOb1ULR4e6GGUg1wRoj3loOtG67pFxkbvqe7wJpkkvaOWrLJdTn34llQBhvSyh829W/TOVK66Dm+bKEtkw0tL38WJHadO3474lN3jW2H3297r3xAsC+9G7ws7sFJGeMc4VWajUFlParnlz7wc5Goq1ue9IYdafgrNPY0X/KH4Sjo22vIu4lpjxjuhXyTAtKjInE7BirbLlZ7JGHPEPMLkExza+23GjEG1rEhwphOTKWXMv0hoXpPfTyXWXo7BOwnAPu+w4FIRI3vEwNlbfTag7ftxjQyWrIioDl64b13wu1HGxejHBUZAYr1nYJEBVW7NhwRBj4NTPFzXyxwvesaBbcXM0N95qtdhbFYdLxU2OBT7obY5cO3pckkH2Il3HOa5Dj4Dtld+wC/TT2L3F0lePXVU1kbOYpR2stsRmE1b98Vz8jPL3762dPb3Kn971ILIShCC+Q/kXctFE1A53vdUMWPNk012v5a1if4Bccv5OxSWC/B/8jeyJCvzKs6UxwigkEZ/ByO9R1vPTSMAyyY64SFkNO6YsRdxrRQ9sz9lHW7/W5jH9OYsBu0+JnAxNRJWO6Fa0WfHxb4Vrz6yCX4aBgrIeST+jaQgzJH7DsqML90gTb/hYes1JGtH6k5WhiWGh5zTmMKj23KZV2SNPEI7aJKGYjc9hK4o6CnCXcvGRvrVdspDtrbl+HIGaHlhB+z5C41Pk0MFUee+w8vFm+F+AFFWeF6VZQwm9/cgVH/sOLx+tu2byUpWv98WeK2MCO4an5Zf73CfAgQ2PcHq6d6AYPWpXkAGM3a+y45J275I59aTo+Om5kt+0R77dAkeCiHN/bpZGLe9QEadg2xyKx56UpZu9f5Vnvr4YWZtk6wLxrBBZ3rgHQtQrjzL9ek/bGiawJTylheo5EA8qE94hKQR0tNrwtMYp1DU80NKb5KGPLThCwpKkD2jofWCf75EUkGAOWl+RzTjdYsfe3cUeW7+wGrn0DXlFygUKea5vH/LkqDPnZbhDsx6R0FRkASO53uOjc3WuBs7ny1u0e4TyR0omfPKIalxy216+y9FGKOk7FL0TaLfsq+5CGoTRvFGTkmGQwc5vtOp11V17B9A/uuAOtjPVAbfV3YIgSWzphRNDaso9M8wkS/EQHXDQLp7l6UVXL2Z9JvwOrQH4tye0MhfhASOeZo7woje0Qd3Y2VtwnZQiGBzcxLs+YL03gW6xWu56BfwBMp4jc3iTxf0z53cgTbuivvrHjWzyjXsDANaGIVxesmkU+s4z3VlyVD+iGdn1UTQnIyR6GVsaxMTw4Ivs49IoX8/Ft7CDGQos4NAO8zh+H9qQxAOpT/WXpfMeMzCormrb3bVlt5/HmLPbV7RBGEZ8NDT9aur3LnFOv54X+QOtmE9oiR6wv9EkSChwUKpScVYr6hnrxAs8H46Zj5naPQotRL0rZrqyls+VqCSW3T5MErZA8AokVJJqYhjkzB/GP4+u/YQXxHZU4ECSufN77HQJEfgEH+OLjb5SC513FzV9Ozi6KCqAMlj0lXolLVwsgkwYg5vhxQor3I5LtAc1+3SfNbFtSQPYPGCHiM3B7Qj3XTPWg154N3RoTKeFXQRj/K1EkbgHAMamOP+Mm9g/F66BP5nCa57S8GoakWnNb08NNa9hrevU3VaSgn/vuxl5B1ZJoxoI3AYgxl+ALWxklkDILCzy/DOuuQ5wZAuKNEUjewDRC3dU3TUKpjvfgX4i5wPBA9uL/BFzMgTvkLLOzWoInPR4VM0NJp0xrCs0ZutuNTcr0wHdkpJtVgihFEnBeMV4CqTBAs+9G/hDWCWBwFGmiL02rWyQDYmiJczfvVNJcjZSUPsIwURTM/7ZpSeucg8NJQSNSthSsChCloFwHyBeFO5o7I8ZXbKt4RCStD+roxRgkXJM4X36c/xITbV/+MsScn4UkVgPglwhyRVEoz9/pPskO2B6gM7D9h1ZfydbY4z+5alwUVMHDjO8DQH0lmUtdLulzs7Qk7ouaFZdSnPNYSDANxHKoXg9M5b0BghahI8SQp7qh6WsUzs1IIH77dQRtmEv19LCqFAz83d4PtzDYLyZ5BQADL4CoJ7ypbXuJHVAikzx28ZFw9KZb+CgWpFtHKAkOPMUilOyJe7Af0zvqTasNM7GKEYWdw8lRHtNH3hVVmQ4JxKnAzkuSxrtJjPXXc3+ii0YHKh6pqgycYzY2r4MqTUMLbuYvlcPWnuZh40+0dpTULBQjgE7nVg0tsZcZudiUijdPuywKKMOnbI9IIlvlvfg1bMB/2mXo1r4dDpoLTcr/d/ngO2Xp/a9Zbe/UGGhKT4vbu52zs+JymVwBExlLj9xhhAePVPWLckDdV6gM65ye1X1KtWc+9boHZob0AaAbrG3PvzyxWDCCt0O3g7v5HNHxl2eCUJruIx2iDVxCBcW6OceVnybVdkkEiwDOn7aRyW+k9q30Sg/mpyAB+ooQTvxXR2QXLvl7xuLLMXJNyzvhEG7FCzjcgWsrST0iYoMXe+5jhu+HUALTZOjDmWeu2EjeJMSuAdZy+i797u97QnlxVGIRPkeNRswlwD3/P6J1cdqMc813xtHNIXmKMCJw8B2j7Nqk+MpFuR5RD1lzT1l8N9zqsDauLNJDF5ENlZonBbpQ39Q2Pn94gfqzyKmJzm5hOjsvS3KO6y8elAqNbnWxdJh9ggvaZFOG1DWoHskJ93zpof2u4JUPbAPFqdt5KMrgSyOQPhWF49tl7V/z4eoE0uQMsmXykrp651SoQJWYnsBfOHKq99CnO8xKfV19bvBHnWKXX6f1jcf6cMPKsp80aJ2UeHohjuQny8BCEGNM/VeO1ct5+c58lte15eOhNEoOSUhKPwXgRtBnDR0lnMyJ5h3xVMlEVjUCAkzoYATbN8p6hYK8fdnpx3d+l9zfGjZ84tZwdoYPOg1JhpQ4en8nQ6hB01Zrp9EJ8WF33nbJay7pzJEhN3CWeXIStkGucJ2mTqWEbnyPGzKvcVm0DAqy0v55sUBHScAtQ3vVQD0HUq1dHAEj60XMjdSoDPGmdNOL0A3IZik5LpMXaESnt92VLxCDS4YdaCYiv3UQWN4Gsm4sgTaCya4T5wKmg90FV/IQGqtTLi4mk0CBNMSgrgt82sg4JZoSPZUgTTU3rG0kjDGcAkSHdO2Eay6psLh7nl5yA6vCD7Hnc58OJcR54vhBpI2OZzj5OKuNQ99+qNK/flo9O+F49gX46w0OknyD+VuaYq7b044L404YP6PYuybasSOf7OD2Odxp6XxHkrcbG8Jtde7ulN0879BXYlJs13hi33jKS/SODaTbOXl3jhvsEV8gQcJLrcsuZRT69/En3NJPz8L28pmXg8BRExrGfLv/gGlAUnVTz0XpLn6HF6kCi2PaXNyHM/AJ/0WCjuSvRVI0wcY0cO+KN3eerLawx8o80x05/6XT1H7+rxIbCK7k1jUv1BpXvYxVW6uK69QeZV5kR5pF+MLUGgm21znbZPC6fY4s9uOa840eDqRr8KcwKylUV37n2fRSDwNzmgvae8xInDvHpLTusMnnbf+Z9yGQnT0e4Zk5ICD4d2zEmEE9c4lcYcZ+jiYSkHJkASAp5IRdXHKpkLGDHPPU2aupyAcGgkD2ymd2Ps3yQiBkPzRbmW0XoejUOQd4VNwVAJe/qksROle7PBXaQd+77vFzO1AzK2e0HyTQXN5HHfYUs1UxLEm0sQaKIu4v2o+YHOvAUxsZ8JoBvdn9J6Pg/0ZzVMauh8kPqA5fN7O4AR/yNND77sIIULNum6Ynh5+UhBdW3e8jZZhYXP/noiFHUWMp79CVeuXcvx+KxwxaQVvXvn710M4qsHCowx+avi2CoIMYuTXF2T5JW+W3q8sgapzzLg7OjokR3EguDcHxlPCxvWZmjb+sR9IgfL77yQQ1TfKQy8E0vOWK1/1WXql+PZKeDYKu2Y6YMZxsloKmciiay32fh24zj/4zzk+P3Lvgteakdz677GiPq9xb2yBeYj46UEt1SHmWW9uEeR7Veb13k3a3x6byOffq1bKHSm+eP9XkzrPmcJGuQgcMD7tveRoA1n/a4Zh7dsTB56bDyB99bFrULWwU4ovI8JxLha8KfNMReMFHF9qPBCdnn/fR0EGA/vnX4riEoArGidk26Dc+nObHYyXscu26d0FUp+c7CPX9c7ZPjVuuAj7DF3lJFqitu7LnQzRTgr//x8hjt5C0B63C0eO4tfYfFMgcURHehQ7bYEENzJHle02q/g5Ivl4747NR7YcZWtEu/5JZQHmSObCZZTCjLZRr9SPEZPs4KxmHEw/q63I7x6eZxpigc+tcIk7vGXPjbkd9FpD4GRuBEm8tBCqaapAbRabx2QuqlHsOGdwWoNYibU+oFsnFP3d7Yfzp3vLtXeCRVcb/+n2E1Eyi8Kg0AL08A1M5uJhZgCU+VdLfnB5pKnbRPoqlz14ZIeYUkh8M2NxRXg/O1CjwAet367+JWOW+e8klc1g/3cWnvo94heo/jiaFK6l+eLNPMTrJlYhIvIrfpGVGg7NOkLUGg8tqVuw+/5d+Vv4lxLeKPTjxMlojSAkdbSLNUM4r+izQ3gQv5KDUY8JW3oaU90S5fZcIxj5vGRnAHgGcW0CrG+16McnQYwoGMndJkCBuQ+AYE9qKFh1gI/lZUUYnV8/6CxMF+uuTeX0tA78OiL/2I2YLxja653D984Wz9GQPN9TJ/UcGT7NLD2TkQ33tNC+ae0DWjb8V/M4865nyrfOzdnkZYQqxVeMFlx7VkxnltnACxIU8sGhgHILtT7Gv0g0ITKgiVXygLDlewoFCmteqCcujb98XRCzPAue3yeaBC5ZESYucASXB+TvuIOGQfyGuZcQDmAuqFJ3j8GnXABicG9dk4m4FMhC2pnEmyXTCbqSluhfOdGWul7H9rM4qkd9MVtNGc8hxSOH6V1JAjIjV+jMzbrMVGqaqvA4AHbK3KJUXog/40kv5uGsncAmK/wlsTzOSYPRcN6z2WB3du+XvL44bEDByO63h3EZL6Xo6o2AK/It2eX7yPy/VET6y+WxRUPYLdZW4L3OGlkKnsoo8bmctic9+P4Gd3L03+wD6ZsFZfhBon+TnaA4XLUQm/asj/9oTS8YWiLe/VxrfHdkbOLAsj3sjSZARy3oRaXfZ4knz0atZK73zbTs80sfkpc98mR0yWbVUTYgG2Yat+pgoK3dO0mvu2jnjmhxCxZlYanNcRuWVs7opM6C7dY1ujpT4j2LQ7WuDDlCSTHroDy9W89JWlsKeJ4nMWxR3+9ZS8VsclSShiTm6HG6ahRtKarpcI+1M3LzhGztiUHuVYg2jTplaoEbCBEBQ0Q0yO6iMUZC56poo+SOfP5+SlyKiigfaOAy31VBHmJp3jf6xrpAfu1vlKFz0sh0J1ArI6eOPw3gbz0jTBQubbKCPIHfi2sRA7gSF0ZQ9czpDbrlaDhzF30FZKrjQE9b7CDjTbijlqJ2pWQRF85IvWYKWCk7l5Qvwhzc66KCglKb7VDoXo/XJ/gR/m/Gygpcg3f1ma2XnTU9d4bj9XaTeuPFUm4ooBa9BUrreDI5eyDgdjYuvqMCTFKS2dLMsJlLsGQV9ZXvZfydBluAvm52fwU5t5PN5Nk1rBS1qIknPF4mQ6WfKHyDZvyRn2+h1ThUqMVh5s3z5TinOXeJ/TQ6TMI0YAldmkjL5rxULPEyWJDfFIx91JSca9iPig2eBZBL/Xva29ZjOHus9dmAA8Q57JTtiVE1b3rwYwT+AgUhaQRvjxtoSexKoZjFz0qlkHH62gc3FcT8D/a11tRPNzDgaD9u4DY4bvFuXjFhx4X0zezAT+F+nGMWpQAq0buAHOI9fyAM36bba2nawx5uA+Vk8w9VuoE16+cYmHNBLFpzy+gVKDMx7fuRMLyU4/z1t6ermCwXtBpxP/lq1mpBpFMlPBW1ZZ9raCh1jTU1nN3O9nNx686Ko+IOFxgJl+3TSgs3+G8czh9tX2U8YZOyOK9bhOTD2DOBcIDNn1go2rHUd9878cuwvCUQxuVPN8R0D6wOQENBK+qlykHi/Qjkj/khOr8acLZAALa3DcUj46QlWo3RUP6zDmVZSpiMahv6c08y4TeRS7KsX3YPOlm79hr5J/z0jLBEJVldYOXWUlPlwwwu/bpm6sZUe/Y6Ah0eKiw2N1HmVrEzzO3IV9LoT45ip5EDaXuIMmaCGLK2C99BAEvzKhT9hMD73XYGUB4i04MYanAigyVpMI/9VD0pNcvbjCIfqgV2yAESeKXR++ll1VnF4WNVVpJcM41igJVvyeCrP6WX8neIW1cMB4S7gIdN39sy6l69DXtrWMCcARnyEzMkN7de7YJiYYxKAbkPXxlza90nrvocsHjYmhkZi2L7hwP2+sPcdexozC5ZWjsYCJgeTF30IdX2TjVkrJH2VWNTKQvfFHQiKQpcdEhr7E9zvWrIMKbP+IAJmjcI3LgrOx7Z6hO6lufbzPbxgqn9pFl8+GzacPyEbPbeHxoqfoh5tMB/91+1BXw1ZS8heDirj5wHmrUSNvSbTpoEnpDMta/Oa5KGbkwYJ192bSTw6AzROXyajtWF9nu8UbWw8wWjCr4Cn/oiBklFyl7N1rwZr/DKfk4mgpd6YUv9W1Rr8XORnG155j3vcOVsjgYncVqLa6cyIDPJrsLlCc2Y5+X7lj7Mvpv6ClJM2hF4Ddi4f1N8Ks8XygzlNILpiBAw8lK9DWD8L7F1lIJeQb4uJCTQ1RrFEv1cit8jo13C64Dkgv+7UPi/YDhJGpolFHyftYLJAC5KFlVk40psWa9iGd+LbUcTps9xvF1J1vdxLb+tWNl1XvsOyv1oQH+6CfFfKliMBBSxunDxbhmKyWk5HALryT169TUi95wv2WcEqOnrMvN33Du5sVbY8SeT8MecovY8a2tB55EitRUs0YPy0fBFZr9Hv6w7+H2T+JmhRwVxOaGMjntHVFetCffMkEqQGQXsRaoLDrTS4Avw0c9ctfGmdMImgI/N6RdGcTKWrE+m30Vsrl2e+6uhIAgANJhx/+lvkvOyPmZAFa0jHZyjShmdk8DrNkw91jnDWPsK/srPo4zEf03JaGpNg7LeHni7dzQSl5vzIH+aF1dzHmBySN3W/KMa+FpfH1vDhI4BWrLKxOJXerG8ho3A6DhatL+nLM88ecQEqmGx6n7l5xM3KYeN4znWbQOJqzqq2Skhx7N6PEE9xmaCLKeUdhOYp7PXxmTXK3H0cLU9WiIYQphZl8yVYIG4N0N10zsFzvDtl03CBbfkerYi2PMyYDEDZh1wg11fYEGbbYUE4rLZy9nROL08UBpC24MND5iPn60Q49To74ZIxhh4Jm8Z1aoUI3F/AAqLKVjc92KhKjQyRSB6z1o+tmDTPH0vNyg/D5fqt2fv7XehCpNoxaFXGLcQG+wxNlyFZfcGV7j4ETZn2KH7+H1td6ieEMfeJ45TC1RbRYjZQOcqpROH9JGR0k+epf/XU6Dc++ERpchK8hAm/c3BOhfRtNFAM9PfnMKqazvsNZBOtU3aziwmk8WbTVctfVBtav2U8yV04W4gdST+pCKRxLbl7vW8kwxkuZVCDJl1WDjvemKK7VMnUoMfqsifS5stVCGHamJPuzCS0owa9ypunDcXv3U1O44spiUd5F55j+N0kneehQTCA5ggqqvjMi+qHV/4tJvsnaNQG3Y6mbkNq5YryO7RLakkPet4QUeH7dDb2/c6fAHx9iqdFezcZK+ZGDddVM7ILngs+UbfucOCKxL5+SPUs2rZExD45mZHRzl63+pCw5eVGOGOi/m3pudSDOTg1vTqTZpKyGVoqaHvepXF+XBv7dX/k+Yzlu8BcWk5WfxaiQB8KNvSpmXP9/BA/xfUuPv6wIgyZl4zPLKVCSkfIdAKlfqrotUIbc8aPxF6YdbnGvvYl1nnfmHW+dIkwtQHdBLI/k+/yjrczhrDz3nJhhXtIP9bNIOhwt2EDpuNG6BleDagSW0gbkS0xGc3V7sDPdP/jPkjIy3+1fbytoJUvwQ8V4nTmpa1pTVLPNbr9HgJ2UuWOXpWrOwt3LQ5WZ2PyQJkidY+4q/ArjkM8WCAmOhL0ZgJ6SNMJWtIR3cB9F4Z5lWWB2QUaXf4YUh8pAKCo/YWHiOBmPHDhnJELcC1lmWRqxP2sJsDzy6qvFkUC0AgfxpeLQg8bmBQrmKlHds3hjUAtDKzEYhWjxJV27d90tIPXHTvTTiNnWZfw902VzHv+TT1AhxEFxjRFebiShlskDzD33FHYq0ZgvKn04gAcR6hqzkl/CJ2zR2Tttf5IfiTzrzQMK1z8EnO1IChKVoKlfs9AuzRA74eybINQSBmuEVPoTH9TcuywPlLOsHSfxL4FYKRWgBMi6JlG1EGkG1QqTdQxd2zLNzPDR+3sjreFZGmCJpAC3TTPAOPHXmI13B8vu2NNe8KUkWk6GON9nITZKJ/vcsItKfJBKLNAVDFanHtT32g6oO71CjczIoWfL15fnt9GM4CWy0lL7by2lSi6/QKRP3WT7GQVR21OoR5QG96JAksCPfb1VgF7v/xxo7ie5rdMHQ9aaD7Vr/4q4Vu6FyL5PePuy6JqxlpMzrTVGEF6dpdaCCZzWpaYHJy60qfQaWqn6iZnapNQGnHzqMR4KdhhQ6HB0cMFg8BelgiP4J/Nll0lkEhNVtG47CQeig+lVY/foEobiFiqj5BqVB+Edml4mIqqDJc+hAvq/ubvM0N0yeDUBf1Zh2yyhpE4oyeCNGCJekRr2+vBCfeXKnjuPYV0/pq3l3AlmOevDiTxOaEdsnvggtMe6iQkwk5z6b1xZoMVv+ck2/K+r37y64WMLAIwePZt+W3Bs12bKTxQjK72ccA6HC/hSdLMq9Wuw8C5hb870l0mYM+nTZuWO1oxB29qcAXPIvqn+bkDB5u0FORyu5E3LjjHJteqtFrRLWTGYg4zKbYZSnJ3wLBVnh0i3Wk72+CiFAUpmiEJZYGiLBt5UzRx/bl9RtmNZSgv5T5ThoVaDm9jCobsJWXEeHVFEkNJxJzlzf42dtdUDLPAnqxsOTKsH+e+Kngp+9oLjBnFMhfiJUYTdt69vDEscvtU/rLFl/RfIgfepwDSmpWjpfRji3Cra1lZxFyN6DAaQw6ntq/vIXIwDhLBIZ6QJ3A0Wnd99IgndBSugNkO9/66TTkfgIOXA8cpY3F0Ixz0lR1FBk6LlJjp+tQv1DckHp9uFFR1QA2vohdnAxTVyNaKdf/soYRGidI1wbFlHNPi2x5BB46fDMvkBkQC+gesDWxe8MYqWCok9KSah2BPuAXs+WxDMdYRAjqtqvBo0rZadguQEbWcBhgc12sTkWertomsQJtX6AlSrEQJUGhC4EnLfNnVOyIb0+je3F/iWS89R0QI1wEMVRyFGt9X3maIXwgzctVrBzdtniTsypJdkvdrZ6gFnzN7Lo2x0VUpCKTYvotugSKnneFy0qXuT718k8yL4dLyfDgHeBs3puT9R3LG48YJQq3QKT2qQsMjnSXHnhz8FF2z0BPRu/eBTU080kBS5atbsaBosNIdd7ySR4LltZ/JOrB4qP+wkl9Fk2ry/CbZmkTcnYii+oUdtza5SltQTeTRaCuhWaoM+872AwNPp6Ln9PyA8G4TE/0Rp536tbu/shYv/N2JO16NRJgwatXNLITzxcnmS/JjEMvjTlOlUVhJy1KofP+FqaBGIP01zTDZxqWxvX8hQaHN9edbzTAKE2i2Lj9hWlhyJQ2z3TFt7/KjhkD0RA3Z6oLPKE9gAD9PgPLUfXDHCHBT7eyeDR0xLWPC+lgI2mBY5L9Llga3w+DSbdgI5Ic715YwJyCjd9EjQecCMDA4KfeHFc+84wwi+F4EIjpChybjTIT0VxHLU0FQI1HRYhoHR5WIX6kKCLtCAy3JKokdwXN0L+AlfMB83eHsP2ISQ0m0jQNjz9Oeiio5dC3bwWrVnyl1lqKuFh5viEwhOcQgSVftGgffD9f7GS6eTaFQ1q7uSxMYR2uLRg39o+BOVF6IDzX6q2Lqf/pdijwCLaeWbCvVaskk+aVWkFbHUpMmBvsObkcZOVDx+IyIzmCw01vcIUMFYePZhRLWJeU7GwYHWf5dZJ/caA0czh6fU3q8k/w9qR3gXmT6+tyIGbc4Bymoz8EGPEMkxkjt+PmtR6dSrYJL2YgJ4plQpakT8QAK7GrNYImJyo8lf8JkOkD6ftwxkZqniIhtiSKN+BfSSff1UtoXYl4BjbxWbYFL6O0rltSvCfjOayBN5e9lgvBLeSxnhypZFvoQHqFIiubW2HGICiDx5XmHPpq5EHc0APSmVzBJeA4PMmbDlive6J4eHEu+GqDJUS9xUNOryI7CAgK/Dw4MiIm+2LE6sFmlz0NMvDTrg3ytRqaNHIfec9ItOvdhsHWSXqNQE5e4eoS+IFu/fda9pXV9ypO1MS7gYR0UGsDf8qsLob9Fy8gKNEZRzHYc1EolSY+MbuqCRw1zEZDh/+BOEb0VYzBk7OyHL5JyVziO4FVUYfO8AZMhq1IOKOzSSXlyUHMNQQ09LwVDdWW7w4D+OAgPVJ0eGlduLP+ULcyuf2C8wVz0lfQxw3BMzn9Xl3bBXHziyoIblEE8nFg3HvWX5g6pcvoXb0suTfDMmXtACMY5l2TKu95eeNb3F3zfCvVfqItDztMJFVuglvRfl09y65KpWj2pzis33JqroEcWa4U3ElGZc8KPmQmPg9J5jeGFhYUbV/lAa4rk4raodGLGmjlE0Sby1QPaBnydXxE4KncA2e2DI5yFbr+Iyoi2FuVAeu/RKGQLYARYKy5zfWHpk1xKJtUJFVCMHMN4HaNvdUWhqXZ6si5GqYn6SAfEX7MFl87NKwLAXrWP3ATFmihf+0bGaebMOefh064ejdN76XIL2++QZQwvfaJEENnQvFk7ART57TdDCm0QE+xisRFBL92ouL36gX+3WqTI0QzrkZUa4ntUUuRDQpntuoHHWnWUpLebkSSnEINVoVbkOEBgIOh679jTETFFenv09UKPi1c1qyX/vtg5/RNtJnMFs84ikxegBmz39wXpsN3hOpYShmkLgh0FrIZKf9VQKdNMrOzYcXRswG7ldlLsRQ3BOG5qm1g13uPa0QIbK+4FNznZuz+EEsfsM7FcuaeF2PoaB6p7q3WhyAI9x84mhNcQEn9wPrrObPBG5oyZ/lG90H70d6MpFrNuNjM6ND8xgYeQ8i8vHRLP87MDqmguBRQQ6k7811o+BjJledmuvXOsqy/69xqDY9q9/hpp3mgrD1XgO9VBMi8ysOA2w0PzY5Q4vbYxunsDlWkOQkUr0zy1J0oqzsSWlj2UuedEJUIYctyPYGdxU9GZqmn6iVntk7q6Sf2eg1K1GIPbyYgYv1aX1uoov7UJKr1o1X+k+h0kXQgMp1SzirpN6J4+Lds8+YZONtok0Zhs3WNad/nVEwH6A9mbCzjd1KUpoaiLuEtO6Kmq+5e+yyqA40zCGLsIvIXpjiEsfRahepCghBFJWHOsylvVIu4tfVtvPtMy9uBqmQBGA3J3NYKcD73oVFQmvTZUx74RWz0V6bvZpMVcRqVu+PFZcZi3d04F/eQvXJsRGCrDcuGcqM4cQuoCRKz8bsfoRPAmEL5TeLJzJCBmZrfL/k1frun0zxiddcTx24Qvd9fR2m0TJUqzarE1LkVWKOxfMsOWxwl5madkT5eQgsqZdXagsqUG8URRHHWZu+aUVGnq27YH4vq87fv2oBM40UOROpI7aAt3GI/WsAEOfcFhRCDD5tILXuGtee6aYMWNj8ALG7OCAX44cmAchNj3iD9KiWgSttbyaj9xyYq4XaplrZ9iNVr7qMIazE1+pO+Uu1sJzWvm11tcEkABNRIvUibvh6K9UzqTtHCEbKWzCUDS3D+r04gJF6EVadlsmfrqeB49jdQ+PpteoxlGN4dBiWcerXA3KLCsUi2HdTC21mRf5fuMW3uOflUjFPC0R8x+llasn7UQec6TXp35eNYSwVmRLE4qLl5T+nK5fRK5dZl9HDIsVJtWX5XamkrKs2p2BBfUTA0XW70A50ZVAGsktSiO3b8xdOiQ4uRpIUL+GpRHWv6SDR8HpeID1/Rq5a18nW8ck2Rk7hLJj36xsKyfc+e+yWn6KYmdA5RPGo2QIZXJXFq4beNhQWgti3RC/UKIt3RyxKZiggXvgaYS6h9ykQhDHtfBHf891tNds8NKZrQWIoo99NrrciTc0g53yEV0oMc+abr9VMcFY1sCWnN9WAzTlQwR3HxaJWYQlJmOsxlzRmFCDUFa1U4kR+tnzkTYtvO4GzRCRe9MQH9CrzLKeBJ/MfHrDi/2Nv1pCvauVnlI8hce+BmzdwRe86P5KXoe5R6+g0jQItfnhw9xMlucMVTj0nn4MOh4i2nbS5BPslS1+7lLi5Z34Lu8oEktAZm4yCJEnLR0vJFVMduK6MtSnBIWM6bXgbT5WYJu4jlzZ+TWqVnZ6sD+y4UAAso3xISWjUwjOdBWzvTha7YRqDNuhtxamCp/5raGCPNo4SKYw+fuo+DDLn+pVd7+GMXVsQD8Zj4weT4/InFgBR+7lrs46QbjeVx7/KYDnTtSX+FTX6Sac9Fo9gR32hZUi4IzVy4zi342KSjM2ER9XOHNHtYej6MkVdEw63Q5kMNIao1R4pacvVK8y36wWMTrnyFWCmcR1BnKmDp/G4GZEn6rW8OJe1mo3rBCU4X2lL4M+SD4+/Xit4FEuHuBah76sykRYbOx/o6eKB6gIQn4gl/2uINNX3lj93zy1vKoG5IWgMvDY5p/d5G7yIP8k+qGgXCUSeltTauAkajJlTlRQEgWce2Pg20c92FstiF0exdYFTNX0sewi2hNe95vZD07f/SMOnrBg/KA4mhIotdr66NY1Mfe07B8i57Kf98mqf+TsdTIjF+BqZ0BqRrNV1IPe1Vbu9NNEl/zTdHXObUQoVVUwcLeH5Mhygb4FzFltUOk6AtfCo+jDYy+dXfyv+pR/f7bbcinfQmAPtzlIS3xaA4Bvjz/uY8jSmQpGF0aRJK782VjwuImtnAla2qWS9QN/X8xi0Cb6YSIb7A55ibmAxDmL5N7PLAMsg7uxFHE6bP34JtJD68BoTBFJVmrxGtvdma5i3Fg8p6xKoi+bSyvHEqwxK1X6L1T5CnW8aIUqdpFHlPRmAb3wa0qHy2UbTZLIpWkfJztKAgXLga+7GZlMrboCBlPUq7k8HmfeWtPrpOVSvoZ3/BOlhDoGE0BixhbUyk0xkVYu7UvyslRthPifgCcy0Ksa+8eLeC8on+GuS5nqGsBoQE/FUZVO/I9rjZU//byU3td01fCVxRG0J+HHPIJ/fzrEQJOXzzM9Lafy5jy3ZMpwojXATcJ5FNQYhWlHtbRJDiezNVFUPmDtGl807wlngUu679FTYrMHxAp5lcnJqvmHY+y3kCfhEqhYmif4ZuNRcEoS+ZhBYxPNjlS0kj8sVtA3EYgGr8vOqmuxD47szLl5KWiTm3MMfzR4IG1MGjfl0CN/IWBZMiOSmqVYva7yLhVBhKLfQdul9n4Gil2W8LTdo2m+qopf6dfPPzfI5wvQRcmWl2AUM5jQoaMZ2lFwLDHv56ixZJoqy1xeJyXyVOcUt6sVtKgWzIPKsQ6PkbP6MhIdwGxthD49+iQa8AVIVcyS8UdV1TAY1mIxC65ntuGCnL2SxiksWLAxgQpsh5l0/4k8qCeSRSLwcpJB+zwCd62E/pbYE8V+u3VJ/DCM5XGkwjS7i7LEQT63gneYXwJvC39yv5WwdCZNUj+aq2FJENkhTvAd20mnmSggi+pFlHInWXyg7OnkGQbBNmoLhWYSRN3toFehqAv8OM5uALBak91RlPPWWHcYIia6CfkURxOM4UeSuPb3eyYKnLKfKq6mPnUPe9y3Lk1mb+Nejw9rDsWSyKKX63VShydK3fpyStfilv47sivQ13zqFTahbYYwNTlfIFiqIXPwWKG8nvcpz0T6ABcCacbNosHc3rhui/7B/KILsFYiOdpuEW8sewoBc3OR5FoW5knzfOpCCTEuIV8d7UqdqY58xPy+OBb3yIm1W0G3V0Skjw0vlqmVDdS/uXjFnDAioUOwtvanlHePjHhTdfogZzBH/IlykpPxAiuf2MH4GR7XIshvbiNWw6snNFOqTmc24fFptY2eoQh9sWXAIWt0gCBixCX1tsgn38gQTBtm+7fnhzK4aNYpK477kP7huuWXvo5lrB7gVqotZUeY0UtQUQBxd3IH3zhS+1S39aW9oCQNFcFWn+lajJ9Jg2FajMV9fvAxfaieOKdbv2j3cENkxg6W4gykXKkMw3sOCH8EvVKX3rnMZ/ykSORGIf/ZpHe/F8lUquaKBiGoqjJz8PwdrBRD9RL3vMnpKI4cCuoeL38gR+4YA3uoONFub3PNdlmH93JN4KcSrg0M0dVv6BhTjPuWcggdLcxa6f9Hk6Y/DdQlt02qQNtZgNU4iYMjvMjYxwbzm8ZOtcGW7xdSqWC59mRVaK/lkNAnozDrXf867ROY1PUC0a9SWH0ILXHtM3HFYZr6Je9nIc7oxBamWBiMAITeBaDAyIdZiM2IrCETozJ+divfb9WtVF4BCVwXxqwelLgTvCqEgerXNO5Q1rFPoT4OBphuOS12N2diDYQZ2y2PWYVdZQbrpXcMiET8H6PhbZZ+ds48f7gx7pQefBV5fBQxR4bLLNV0sTCgIDW2PAU4TfuXpBzAZD6x+YSxipc0eVKX/9yHFOyfZNXHAok/O1yiuL1FYg5Q8klhiimCjcOMLJSEBDTsfUZjQKJT+VLU4Fq22QYVFz+97O1hL1RVEOP6B/QIkant3XKrqhOqVtwYPJ+rdP/zpcMSyhuVC69hX1mp8lM9W4i7/J2DGgmTZU6vT1I35tU5/1Yn4qV5o3vkvAWPukHrMfXQdbs02MKVkX5L6uqZvRVNzFZJGzEK5t0edtj6RUj1oqU7UQL00AkXsDB9h79DdqvmWWKvuMORXnCZ9dFd3e3YlLtZ7tfdXmtq0snHAKiPQv/GLni/h+I/f0HxNLTQE+mH97508VFes4+5dnfkpNZfWthUm7ISpjQdjGwrXl71hUjq0bbNX0R82Q44GDFqgBNFJ+ZV/bwGV+VWiY5o5xD/0iZ7vZZwo8VLcalNT7XsL4YxvDhKRLxTb6iKSR3Rb7pA/AIzpj5ocDD+Rac4jXoCMmcY+AszMh2f5SpItVRXctGMtIP6yD9LgdPwKWotH36sR8M3A45KM2jXheC2XAOWK1HLxOmjEVyaYb90UbjSD4zXJ9u/5CUM/9wgAVSrhG+vQtXVvARF9CvRuMiMtYGtVbP/w5Lrd6CRAmEyeSMrvRLRHVSYsOziOR6vDKGhM5CtQSP1PWcepXmeFaKf0JoxrcAicgvH2veHqmAOfwOkKUZZBRZjdWeitLfNk3B7BCNP+x3uoEsxJAheSt4/4Xzw00qXORRj2YskGngIyqSF+d3Y00BHWqSsJvY7GKsZUInZhRT0MZ9AoCsHLmOip1D3CHBVDaBAfTglQYq7z98RgskfHF6uGz5cEuhVE2WQCM2A8/y/kgH1+AzZPbCOMHPdxy1FoDz2Hfj4wWIy44FmWrxiFbfd+VZtXYbDZy/Ycb8i2fmeR9VXAuE8KXvuENM2CFYEC2nrr7hiPzI8dHsSjtABQAlZyHGupXOp1LhEtnvcHs2vsH1SK+JKD0QTPo1owZqwlNNEE7993ca3yYg/XVvEpC8LYDwXJzqgNYs+ytG5u3y+9iNZpJNlM0OKnOHSrYzNBqHYPA6aR2l3oQT8BvmXLiXES7ZmahxS+/Qa2aRs7JXNcjB9zErSw/XNiwdjj4zNV+BOPaYEc9dFShvzT2euEoU9tmNgyROvmCvq988kOUe9T0JB42OzxdmMKXhPfu5iJJ3y1Rd7E07uIv8fidi9c+srmHs7sHSmZz+E5HxoQtJxEAjULiLYQsvL20CnuKwMtx3fgF+rYW4uzOpaECYgbiiz0N6FbLe/z2CApLHZnEvcRoSyM9WXS9oxfr70CERmHp0M57WrDSkIN9byhs519E0/aNT8w4xk2lKpS/flk1JQWoU2edxTVCgT/5+7ngbkQ2hRfmj5LDbF+8LUwFaRUTBl4oqB4MMfUkux5U5V6e7CsJVczgacY6vgT2FkjkO9tFBGWi6qUl0Pv2CrJCscWd7o8vXDbL6jSCmgN2ho2DVdolOgUlS9WkeWpkZx9RMN/YUgIFBkiCV6/VI7RSS0SOHCwFer+ZjHFaSWG1ehLQkAinGnIGf7cVSs932sEQuYcjkZAAqhcBMDwgAEcysnWUy/0ut9qYbnMyYBJ/hc34EPdthK1qXluSgme85vZPFHo+f63Zd36JuF4PpQqYyaG4zWuSCia9yYETxb86ggLttZfHBwVfxPp5gvBIbQsx3QALB1vqMtPlEcNUi+1zK5GmWKLcVbJwsTNkgRe4csWYd+93jTZOL4fBRdZtV2fXQF1QEznvU39WEIF5R2XKMEMqEe1+hBRDlC0hbqcyZ6lu5TanaZ04tknGh5/vIeZw9CKnORvtovbBA0lbaX/UxgDwJx9fqTmJqqDa8E+CL8OR9yuu6SO5U+4Nna0ElSjwpEWu8/0qtXNk5PahJ+PK2NBMMPQBb5bxvATVN0EZ5LOwqcwjhT1nPD0OIfpB/3c/jyTiwLLYAwv9xw2slxpbF48CHF/vXjfRhwANo9qFhHQIUbH0XTPZkjnlQISiD2hNOJjnD9mal1DDHwpeHu+9BxASyHvES/0e3W526e2m2yBo1/kaC1TEamv0rybSbtcEcZisBRNlT/9rTecdb9gh4C0eF4rMU5ZiTohO2Z1edFzqGJHLwAz2PyOOG2CuDlg8IOCNPJSTjXo8bpwgv+wXq66BdwJsGW0KO//AeR0/p+MD3xj2Qvlv4IpSE0mpX/Pk4xQ8k6+MalEwJdAxQa6aXLOFFYI0Ivze85+1kTrI/FqhssQJeq2GQg9UVrtro4vmGkI+udyCkyoytlYBs3aTu929WTIg/73h9hpm/B/+ce08NP94Av43hOcG0qCrFR8kuLYSTbsEl3JwlOJ+z+fN1fd7EB6IgEEZmW3XVaZeZXhZWCaRW9FcW+00dRXFfIKA1ABx2E28tW2JZBIamOEbuemds3DVH9IdOrJrby/sN2Ns7s1KrQAFBkwsnvnlm7msqhQZAopBV5d48vhHsDXymRkhJ0YpjLUzzu+WF1IiGs1Lf8RObkCC8uOhUb1Z91CiN83+f861+6D2KN8ZaeHX1dd0j3xaV3slrhLOxNGBK90iaosgGWXDQmlw5YiO9vLkKKxJ4UfHM2t/+SisCw9GmaWhHoujNHCR7WQ/C59PttDG0vL0Dm7g/XoqXQoRq20JSoHyGofOcANXOzn9zDbhklSwdnKSnvlJFIS7C7987EWGmpUKgLShPZw3qA0iaLP6nyDL9iJEtVR0f9R+kBa3IibIY956hnm2gH9d8hlkmPyCjzXgAKRw518a5AhKyFxCDk1fcm0d6S5ttXBbB4MdQYMWp+rFn6F07Hbc0i07R6ajuItOX0hpVykY3w27GFTqnrVfloBSVNLi6JT77ctccvHdX5iJFR0EW7FrtP0SjDVclu2gKhghbPSj5FAX4gjNH564anpMQf3R/zJaM4IsFGeBRYoep2QqMgpWyJiD5H9voRTq+lKkqtEh3Sm4e++iqcLq6qZ4g8aPjvec5AhQvhJYV/IUrzbV+sfuFqEkoFzF/DM+0ZVIk8Emmta6qU/sYV81oE8nLRQZbOCEavXlI6kLpGVQr6ruxE3FDT6cLMneQZ0lYvibmMMNb4DzGt/6aYr0ZpIu3kkZhP52j1O+2sfiztUhXQKIrdrvxL1beJrJki88Scf9cCpm/7iyUa3thZT/iyHjl3Z4a4jkXVJSnEqTo1Etsb4K2/S9cRnOCUPL/vob25tWhva1wEkiuQokRRjZNlCEpKJsqyg5Cg4ByZTRXx0rqMPHz+XBql6a4tfLWkHrVct7LwXwTxP/3wjnLPLyXI8m1aAPj+z+KmuqG76nQZRC76Qnli+KQhvAgK6f54g6lOuAL7iJ44IA0GaIQ/W+4LgiMugbC18InP/pWr53/ozvMAZsGs7LhnvJYkwWemesG4NxZw0UpQvJAvFyP5K6t2YI+d+KukUodgHNUa0cvHOY+yJSO4iAJuIvzpFWKNExSnRpoCKu3hqJCxYo7mHj2b4BT6rOmuNRiv5oUF8RPu9pC0uYbS2p6sYJC1QVuSJAAStVFKEFIbL2xyBLgYUxaO0WIO9/ASJYVGT4AX+4h4KpE7djH5OeEd8t7JW4T0ndcfDLMCJbEqbpOpDPnBpvxbQ3utTYSw6vHoTa2u3M6QF7IkVnXZIKtAHffX+gR+ubYreV9i4yQCWgLvIHeYyx9KG6hdXjtlY1qkB7L0TTlWILO76k+bDoE487ByDjHp4HpOaV+rE/W36h5DzJnyF7g9aW0+VKVxKH61xDyCbsddbzNce+OlqpZLf8uc3ABubyC6PVkZL6I9EQQdCmpgZOR/DXm6wU31iPAjb0BiNuzmLxVEGtm3FfU5yPK2n7hFc6xkep8Na4oN1CSrgrCExXUOG8CeMX5HIYrPtHinSTmKc6IEIApyn2HEjX3zMTqSBUvV4EnJsl1yHt4EM1A9R8Zzu2QxOMLnHv8xYAHsEQGucI72JwjYH8XdMssoWgIBHbKdUOVFy6EiVTi5SqnsaVp1ZNgMcRO+9r8MY5gAuNhzjTZQEXxLX83muAMJXqXsl19ydkswR3QiVeJ60NvCFL6+QfDnpNdik1C+sZJWs3FxxVGEzPOTCPtgb8NiMo35g6Yj68HrFqpzlOZHvVDHtAvFB9+W83ncRC6bDvDVv/ttyoeNkFMKNLIHR8Ycf97GuSj91Mg7flGkD/hszeSK2Kf4eGb2uspsMfc+mgYgTq3eP9mB9s9rtt5A/Wtl9o6c9Y03uCj/cLKE4JlrRJlaXczlyVC/yuID1nd4ekqle2ygatnr2EaPNqKdQbtJhbuQ+3U7MXZMobnc8xtvQK4IjHRYMM7fpy2ZQmFHU9GhVMA7u8p4awEaqgU0+iGeoMwQqrj7nTcaWqS5/FGgLTbQ7LNh2Bo9gsL52uXKMLOE22M7R8SUT3+AuAXPn/VumBof5wabva4lqM/DY3USvy88yu/OOnQ3o9k9fqwtAc1u0WC9e+vJRxmxddzdAfoQA8OmfPtqJEUaZkZyRUoNYfATEUEtAVBQL2I3uP48sqTIybAbRmZSxTqvpdAE0LPBJHBJRuegQXsiFt9RHpos2tFddpS1tcvey2fiPno04cE6CnESWWLEOMozkL7FMeW/Lk0Qvrgifme4UPjroW99y9Ll/c2nRlUWW6zIpfUAhcmitz0z74PdXZhQ60SrxH7W/4g8L7tEl9ln4RcWW/AHC/y7AIll1gBbzaMuVXUcqMoSHf8tc5spyp0AZP6UEKVLevnP4JSIgfl4+nsQpvSMkRypexDhNrGyHfwFWP2OtylEeNkoXaeV1ATfKmhEnFC4RAlWlGjWZdx7EFlAuGkYNHnhWR2HKU2s3ZK9JiQe1j1JgcllHJUIDdNiwf3JWTBUv5toYEhfbOegpSY1VKYzKmlNQigKXtuybzdOhx3jLRZFRiS7zXPTXABSCEaQ9HdmH+v/IFg12H7FG5QgIlGgeqs691y5d5ihHwBwdJtIyrRgQbOtjgvGafqONE0pNu48g4utnCMoZJyVLg6oTCaXOZL/VYaIgIvysw/UiPXuM9Xbz6p4mOU+2k/ZrpfPxONRnwGhWFmjbE81qDSHyV6HaJ6UQJFMcKnsg8ZCSKYfPu8DC+CXrSzZ1JUYHjeQZUdbxTIicXi+i+wLZWWYpF0sQ3OOroS6chNX8tUnz6rRbWo2f5VHfxv7v1MkksnDooelpViHXmwUKOi7ShWew8xABxHCBuAOA3W/kxmRrxKpbSfKfZBy2DpuR+cZYOcEWVPwD8L/Qe4lRy+QvC8qKIjEKNSgDjNIXsA8dPe05mYbAgHKkF1IKrHkBJ6oQISs4VWj9cLq4r2hTMbWggkJ2KW/0WZObaZV4yF7amNS8x10Ar6OL2b9HJytBIhJzvWqKvGamKEkrmU86A2hZgKKSd4Hlzo6NR2n3k+YBJXKnOq3F4sfg77akcFuoqLzrI0YZiy1gpUJhKSdRj2fRpX6QVuwjAFiNnMGorF81sx4Rd7D8/7zh319FcIiWyuoT+HDn1OAikMNqO9ztPgHFS890fyF3wz5XRqZjwMCDg6L3PaVfa9OenY/O1T57w+uS32RDNv5e8hqmgEQq8CGesLnAb8WKXnLJBxEboNWThmLm3sjIuICFixWvNBbBqNMP2Et1VaRVipzmGiQ9t255VH026Y8C3TYPtcbSuOX/pHDyTwx3OF49a+0tujQGkGm/R4iV88rRKr999raDJwlKQyhJ4XdIEgDZbFHnb/fv8PjHysFUavFpv4SKUf+UGHnNYi+VQDxyC/HdkIleUz3GEnFZS2Ygu68ssW5/dvSBYjRsr1sKjyeOKjgjhzfFRU5B7PV5WJBhxzwcsowGtC1XDQS0V4sDpCzoxjAnt410H2/HH3UvbaOBGwKeVA0I+uRJgY1A5Z7KcqVGnNLan8j9SI2jQYwO25DgoiNAT9DYhW3vF0ATg6pUsXA7SL8sd6rHxFpPNNpClOw65Ttv9pkwnXUJfq2bofhEFq9V+g2rp7iXQCtkWRiYPlyGOHZcAiC/1JHA4ofU+uVwkHiTusp9fD/X7DF+ps/F9XkPHOq38qXQMs2FWlPesTFZL45+DXO+0G69ss3D5gZ4z8jQSqk6RzazyFG9g2FUPCrIkjuyGYRF+y4MYFWmAq4evjKniZzFgJXxJH+913LDmDOK0M5+3AqurPbJUISbA6DCOv/FyeOvgKnepgveFn6k3smfxsbWRf5MM7pB/kHZAmm+yTwCx4UMtepV8cx88rhPvhvgFlXRvyBM9ioaBS7YAezGNJwXIFmY6xfzlUEw55VW9Xj/CXqEVmLwbsLdeyIIAeDgJLlbzf6bQxBBKv/Yds+WXH4Tuh0Y2Z/w7qM02WB54P2+e3pIEiHuzX5up7gwjTF/tiY5YrIKL5t1pc86AmIwZXSY+/20rhjkTMGrJ5s2CZzg27EBwtaAQZzv3iDZFGbCcUQc+PZJWDm4huKJvtogvpspYeaC5gGPAFkLIyJr15Mvn6wBFJEUhsB2bH7x8crIPhJQb7BvPqYpGtK1xYxbk6nyUuV6wbVYLFFDMBn1YWXjcVnsW7m6L4m0c6Jzvfd7g0MZpug2VEcmYVRRlbGJQONuwKvqOZ6nOjpUFXjYDyzoxPlo4J7KkbVRD93n0iLZ0570IvWbSuvEqiTaeflwYDXydU/DvY8POXiu/BgVHNFI2G5tKztWI5itKdkCwtoyz8VIJYnGQ/xYicRj7yVs29FAoqPIPdBmbr/T6YGkSoqkjkQ7LlvH595lAvmYq8s9RdTFytYhpU/FYObylKnACw3fuH8IaCBTg8hjhS9DXsoPkAiFphUbhmGtglQgQ5eImCj7/VoBh3OirMLsk+UsMKeUrR+pYgMjmQfHOP5/DFhQgphCMS/YYhycSq/Ra0nUIPoKeRI9ZBAF5kDXxKOh6OR18p0uruiQB3B9Ww2U0MGhJDjGPR3lEIWGqixVAYohRQXlIiVm5TRK/zKpflWPKCn2khgVDm7pBZmwpRY21VKTpmkotDJLveqfcRJ4b1LqHdDtJ4jeuSCXUBfzpFycWbCDgZ2HEp1qNo5u5+BOe7cQlF+gd7QLohB+HWnHU346dDO3Y75p2WhMCBIfkwvKXH9LIDIO807CgHpo8vGNDjBUO/F3TYV0U9lmA8IajsuKQGhE4BgfOwf7+uvsReIVG1y4uy6ChkYrLwCiVAjDTyc86JcRDWVnMWVlSIvhlnztx1GoALzAuJ6SljwosklIiX4iDakKiEPVmkllJuZtGbVlxR3GfuR9JIx0W2yMhj3IBR+izaOKT1wAoikNZDuRAK8WYEmDigy8mOa89YroHICwt2ZOVxNv5Pzuo12oGdb4+N6l1dbf7Ns+U9nnbNk9sXkzIq8pbRlAiBVOF/lIkKTskf4HJ41dAkoO2VxDOtQeajBwzKJQQafBSYsoIlu7+RV/ZIBCot7q4FfsUEgW0hzpiozSyaIQ8KLvxpA/9+pLp3lq2jPVIlpT3S5QEEKKHEF9ynl8fl3pPqT/OemgdmnOYLbu6KsWBOK3qxsP7LE1K4kSw3BOBkNuAsoXcT/Obb3Mj1HqEtTSDqi9QtFCueM1J9ftUMc52Gd/JVNzTqzzGuDVFcOJJ4nMEda1s/IWREgL8PePRm5gjx1GaIlvh4rfBwZzeqfA2CoSmszZEO/iLEDHBq0ciLxKb6Yh87O7LTQzFW6jNnR9Qe93eJ+G+FUYELo43fGUaDYRHE1mhK5lu+1ddo7xHLSyMpf7yUzAtwcJu23CsnEIQtdKvll75UHRApv2MR1aSz6HuXeJ78vKUf2TeY0Hn06Yq5LrlT+Wm5+Bvwps8+eq+y1E47i+Dwomo9oc7liCGdQqvVGJyZU0OI2ySmtATE2ibDce5eHe3PnX5kqVjGd3Wm0ySyvxhvS/MrJ/mPahED9f5Azg/daVRJi/IUw+CFEi2OXrL5U6bQYTp5b9dE8ArJQpOxWwJVdaevxYO4cYqFb5MogneSJi/ufjuanRBPoBxdwuSyf5fqiVsTzFHf89ni8JFXXhCFdUGPOzvCiX64wnB0Gj9FN262mgN6t3uNeLztuyzVY4sC1zmft0HjvZYqsYfKJP03s+nCcNgApDR0tGX76+G0Bvhl7TEKufMsxo+Un87jtNoxmluAZgPfke1d2SyVVwrYJgytpwDk1r+PeWbe5dzecDT0kO6R08/3OU4+X5BJ36LOjL5Tv60bULYsZ1qYzqGLV+fNuWmLM3FBVJVXFA8VaCPff52v0y45UKPxB8EUSMILdliIK2unexA/X2CjX5t1axesoTO1H6JYS5TSkLGfwJQ691qeeWZLeS/LRbB/qYkmtANadiW3VaoBu6Xof9ECI8a+ncLvmCvHOm25uIYlDHudElofo3GZ8sX+epmDn8MOVe6Rqp3bWPfVvcXExlZSW/LuiMFXINsuP1cOKket+yySDRvtrnzYAvSRqkdB7hQ77KEFPvETPAcpKaidumJj+hqSWBeB4CnV6XUE7FgR/0+FgDC35WJliHRrXuvBBtDCcvoKqDSe+STH7fLPZSgaMqVPeHTGYGuk2jIdrdTBh1FJYncmMCZkfDQCHp8vjFjsrUDya0w81F4j4NCquRXBBUNldZj1iuGbVGWcRbqMjwWRzK3RisPG49zgltyL1ILDZt9nVYaNoxrwAdGhzFgEbyn6/q5Dx+UayWt67Oiz35EQamCI5D8HNFqzSXF+copZymOrq/VQ2P/XV0kndYCu5nSlhcR4K3p3Ubrt4UFvSWE/kDHkAHc/3cmcz+2RM2nqL1ThMbG+JTp6pWCwiitGu8HNZNlCt8+SK1G3vhzvnJfQMyCtgEn5Ii7W+oNFtQxmUwNKHWDIjeQ47cHAuJCn7kvCOzgyqwcQJNUeHZZcS/b1YNtG6KkYuIPsjFlLn9tHX6WAKhUoKCfpP/d7cn8BTsLIB185BAS4wClvVTql/Cw5pxERv1q3cYVkqcR672Ul4Ao+AtcmTstnlzLVt+I+D+rRnvxPx6O+V1vD/AQnduSTi6YdykrAbAFZUwVQ5AzJ++bEJCjytQ/3GWI2+DG+ZOZ1nfy9KpUjfcWELWTFCVmtrOASH5n833KTuuu4MzhL/Yymgvf2f2OVymPEAwQRQ8bh8H8Q0T97nYYGm/OkN7Ab1003L+dbzvRO9oOaooTeBIgfDy5tp6bn/r4QsB7Z++8inuaAqKRkOe4YtNs+IOfCuJpHlm9Lp4xdxwn7JP9RxuvHsUZztzgsjOrdI6ZUewgTIRXv4IZZExyVFODui0knK/0nB0FQiZXl+JG04uZRbfZHgy+Ez8NL7cGFTIwCwrb5WUUMe7YQNhO+5DyMxwkZVh6F7oJCKm962BkLfiLdnkXELXMCkQX/N+pWar1lXrPwRgg7aORmSlfRmYimAfHv1V6nCb6+kXmLsB4MNtapUQvxYqXrrcg/9yiIpTpj3+Bq6pTJMXNkFdbL/ZVGMJukV2mI6O8CXgzZ9eUkLp6EJf48g/9O4fQRxUyWhPMDF0LNiO/mOJrUzWqPNPEPpS3bqhXYoexvFNZe2ms0ybAJEA+USLxQ95zmPbscD0es+VWGEF6S6ghoWOeHTSxCh0DJsQ4GROfZ1RNG9rYFD425XwZ+yPv5sIw/EfC17IQIT6pD1DFLFpBMW3QBwYX69nH37iEEHRp3ej8izmipXpR4qkUxsDOHGbksMuEqxtvl2s8muMRz7inB6L2rzrUwsNWjdF4tJQYlGziTcGQ8pbPbwQvjqNtwN53OZcwmIFeKmvXLqEBieOeb7M9X2nINobHAjk5QPNue8dg429vcfI1b6yJUKIqTP00+fjvpuLpwnuyPhRrtC1/IsWyYyEuaEGdXiFQEDC7yZ5NDPBL2bVc1n1RJ6OYHr79z9AlaPYEFIjub4CZIy5Vg7nBEotPy+e0+e4zn/9ZYa1Qth7eqlsA9aXnATnqq1s/1NRra/gI+47G4EXHFRiCheX2GbjW2kGhET5L8gCUSguzxEN8BYiixoW6bihk41gzPYWwrwYWFZ8ExLXwngaCrpLgE5n9pparYTowmmWg6fKKYghaIX9yFwHPYIZsj2xIndAIL25o03s242haB1f/PdQTMe3+z/rmvyqAOKPVNrSiDIj0m2CsoO3eeoB8b7oLrL9/vjUB1z09PNhltKO3XXxzi6GULkfOxw02yD5Bs8MEjlKKTjp3YiBYLHRUM90XgBv/C193VOfiQVSM5TQlIpcKoqLHXQQ+LJQuQMVeGBDpql+/AciIhFBqFehPOgZ+zkw0m5bqDnyI/8RcR9t69DiMyN8FywBX9Y4OW4XcsO2ZYGJqbfsAoCzskiZX9cNtZRa+rxxthzQQQHkAGxK+A3MkOaUfsk/Hb9R50GGTUXwqB39yu43pcsQnVTtlcOaFXZSN6SQZreO6Uh9QhhHkbFdfGS15H+oZaJok2NlBn4m0Mc+BJ0eY8tRQXL0DH7UhzXMFr3Ftaayy/sj/pxsz7rnO1/6vLclZ4xa5Bg8uxCu/NnaehdNltWP5CrTKN0rJeAZl4FMQrKhUx0ewBdESoRDsXpdzXCrwRDr0iP5LKaOMftbM1c9zkU7H3bMeQddVi1w4nQpUCCPrDHYxwzO9Ujfu21z8dX5Tg0ZYB3yrjEvNYVQJDa6uX8Q2kHgfZkvXrK7T8Qs5IRe4w0p/BbxJy9ixyAMm+/0e83LwV++B68Aj12fKWRoDobfpHAq7az08QePfDVa6rf2lKcM8yRGR15bs0cbTV2SH2tyAdTjFn6N4l+Z4nXv9Np6dXyQdf2ZWjFyww0bvIoNCy2XSgRbcpY3zBeFd0Qmp/EmhsQZarwAd8c+o+JPBSsXtS2Z4nnvFYTqN5RewJcRv9jKT71Xon3GxE0Hzb1BkRVgovygvw911jpeKQHTmMHeGKw1J6ZJbf2feoLf/N5Fb4A0HPk1/4uYwh9n5l4aktzup7Vvgucr8nYVSN4LD5aLXofPlVvc7JcfPbshstI+X5BH9V1xOgR+WekdoTuyt61fLLSSU9d+4qMc+gowKdMZZ5djo3gYWH+CSJ+U4i5fVVzjoCj0s1Rg2EMk+zsoTX3GHQoS932+CdGpcyZUgCkM00tsHL7R1GRK6lAXOyBgBTo2nOHNcBAacTt4wU3AFcfIn96BwA7rElTG+EBgL84bi/j23J5c9MYOznuDNiWYHb9B6RDwu5/QIgKnRAr2xhp4CvgFSfptS20ws0yaUTpSR4QluY9TGId7hK15rtasrLhhAZ6tsUYcuFmPH13mJOZFG5OhFenOcriQK6rwyxTwcQu5LkBNeq8IiOf88Oin5rufD/MXMkLShcYgQqSnGi8qu4GswLYnSdT5o/fSnbvM8Q3dHVk3KhnU3afyw7z3KtD3MraaMsBCctydB+aE2Sy2z2QDNE2RhvB1nagjCOyTGY1QcrTK+dco3bfrjjPLJhrorrh5w9T8wFJXGGsz+ifznGnIvBxnpUbnGnNkl3ELjKWZLwSeZl6CkoWYr6qU+BzFvdo6lWerRDblyYe4bCAAqmZE9XikNXPZSIQpsINvBaKJ+o0qucip5o8Gbu/G7jy+L/3jTtEMo+IJvM2LqIVov+36gbczNSStfxizYq6EJR8s/dXW6m2Yo9uYQP54e1zqMWTcW3Pwrh39UCuZ7Ik7cxC/h2TcJyDePZISe8AzbNCdfrz6J2lM+Xs7uy6nYqW8ed48oKnl3YlDcubGohMj4ZJ7K7narF7WbejrGeDlpfWgqz2ueyCYQgxhhmZmuZ3TIvtXeMFX8X8iEaLxe5SgeLu7WhHQgSPLT6lSLg1yo0X8JfPfDGKm7ih4CNrFg7Fib3rd4QbaSG21nCBhx+p62dvKouBUqUXHGkVbgBJMcqw7nK6xSy6T34RPQ/qlG3wtp+SoPfjjy3j8qbpsN5GC5xbTQGEpzOzktOHgZdsT2qDk3jiptBveJ8vRw6pFX6LylsdA6fpGoXHCEEwNJJjJ2z0g/l//cIaCnkz6KQZ/iFENPzYoucFb/slqIAfnaiqSQQex+RysTv2FeAMG/mHIlcoxVp+WwvsMmGdZ/d5Jp4PqY6xqIa8SMDxRbhV13CqQFSWY1mjbHnp9NMpSBRi8CjkP/OCWSSYo1iDAWg0Lrx/O6PDpDgzXkR+WN0C1J1OhlDZ/fxWDB7QDnQXyFEj2Pm7RVSl9tNUo7CtYsvtJuTaXBY3IlaSNSGid8PCCBYO4PMgdCuZOObEnvvdXsf2MoJhXN9J2OlQPynpSDiiu0m0q/wIJxCUWwhTGzHqqoHFki6H1EXCffHlT5mFENlEDgotSlJ2rYUt0rzN8x6N/vmMaalzncfw3aiQEIjKL8/LQ7qJt32T5x7ajxFZQmNbbQiWQF/s6Eg6q27b9YRqfEkLI5aehh/wuPC2l+lWKnqpzIn26wBxllMNU+gQEmSrkvBYiP2L0mglnN79VOivllC5F4D1Drzz28ZnQUHh4vhJCs8uw6llHQUwv+dJdu1igpVjmEPiRF4vPj7eluiDxdifewqPUxO77l/Hdad4FFs4PXtUxP2sDvr1nRpMI3KkIBbv3hiJolnv4VaWBLAiXkGeL/8/TLv0psAy1XvTdZUa2kW4atZDFs/ib6985s66EarNlwlOo2QCVMDILuS/jG7HFAqgSZPn3pubeLpnFyEafiJ1WUT1t3AyYH2FHaMWFPBrXWTkTQoHOS1cwPlCZCnV9p6/QZGx3ZPkrs85zzzlOkAC+QCUj6Hw7u4FrhvuhXfpQGGAhpts9ZP5MrhC4Hj6AjDxoWgChDpJg2pwjHAq2jTKbo/drPmoAP60CtuVdrVExxzCiC5i6F99LaosGW2XBRi59vLPYm2kBZw1LeVFY08F6G3ucZs2AEOk2dKgA1hoX7qgVp0oBZ8eYC0JuP6Kc7UTf0aBxJgFpJ8MQ455M8HsH7dCOc5hH5tj7xYj7efKFZYmP9dEy+NeczmEWa9QCzpWpSP0ug1o8e97jN/9wTA4HG/wPEyuz8DZKbJCxXQslAu8UI1y+iFin/26deEcwEYh2y9JDqWccBVYyXy8/J+Rx1MnRfIX/LpyikIFH15gc8+HxlLwnr/JZEq10lAxcjemfBtM4M9uHM/kSkNF4ei+w1Zi5Zzm0RY6KUo92xqzGkhlBL26oGF9ytQh83TmCLy29OzetQ0ZyEjAdXeptc7POh0LOzY+GfApbNbfRKaDnt08VJcB5/8kFLCivNIrANIYIWpMyLX1LAyDpPgNYCRLM/XW1XBc8dJhMkXf1gCz6ysc2QvFKB96zF+HRVe755Vn6XkflGIYMJOKbJiL6WGXIpQLK47pGO/NoecYD8Tw19nqSGShRmE8H7ZZMssLiHifM/rNcNrWdTDVjQ3gZPvfVMWOwx2DYAF+cHnteGS+ReYc798FaM9ZowL32YtLxK32kVCukdbYcASBKZ3UqjNlifvZ28MmkLQx54MjIwg9JmKMFzBG0UfvFDEfgqtNEscQ67EJyRadarI7p01FdBuafAD8vmrisP2fNcPdHwxaYTo/DNfnvakwfHHKfRwK6rk9hQHZtsdwzxusA8fC/L4m6jZ/GPPvL6r6dP58kTaLXdS+48XkcthOrMxEctBSbYy/0WgAAbWr9qDJXkRb/TD/6xTQXpudPLwRE6/v06Hlnj1lA9VmG6OMgQOCShMYOqGE5jLuxzynsRWlHGownd6YonYhRaRocoC5UiLxRH3vWq+PyaKODc7jkvGojHgPEvlJ7QNUqin2O4zdyrXsnTAC4CdJZ0LAvcfq3fgHHbWUAQG0y/CPvFX3dST7pumKn5RzPbK+pO5aGimNs6E2PfeyWm5EqkOLqSLh8PwCiGu3qT+7ZvXJbOxtus8HlClqSTIjINMLmGzeSKSSm+EVVeZbT8qToAqvIlbNE8Rq+4W7KEyDlQA2xAwmuQmSyAgd5AE4xKCWwPFMl77cygvkUAZQ2LRn+Ido5urAvDJ5Q5AdcZuOduHIvHhho06KMN+bcR64CUvwHH/FB8W8PadUuvHKJ4yyhI8G+16GIECg6CnVUoDQc5JgjYctQ20yICGPmw2gtijin4lWElofhqarMyjXwKRxI4m/Snt5rf9jR/NVdx6zxaQZjhDxatVntS4/0DOp8e4M3gwHxsSYrVHPH+R/GnprRY472JW0P8W0rdMGjKtAGh+vZIMCggMrqqD424Xmp7l4yBkNbA7qfxWC1mF9NgGbQXBQsawnO/HyyqYodI6lPtuV625+9t+DKwbF/RZPP1BRfQcaDrkU/2WpRm54MRLmDrRcHJH+DADJuqjRr/njqJsOaBxPQxmulBKv3yi2z49HzjU+tbM/p1eRvD0hfP9w8w1gb/vNHimycesjJSKUMZtgBBvywaztzwfahTXhS7HN/wjeftosnOpx3CtIOGQYFhxe+VKJuLynukQBxgbTpyXRLCdCnHjZ8/7GxWIhDCRp384VaR8e2pUXEvlAiBzkyFwxueSeT0BpsOKbQg/X+zkK4/4/poQIo0mCdq2ZKIQoTHj1aZ1bJxTce39Hx3Ax06HbwIv3WkU6x82EzQXNo42sOoAmssGkbe6om9VjKiYsjwi5Tl7neSdugSz+sF6BgXvBEXJIJ9Q0prRshItCdQ4SSnHj6VuaGaq9oVeZWLB84RiVKtdSvYEDKVUJb8JkDAq0ZBfPe/icgaOvmDrlIq5x000n7zS2Hjzr4/79xrs7mQAiLN6drR0hBR7P2JeeeepZ2YKdS1QHKijfizFNQG8DwpPQgI70xNBg9PlJQ6AUjAnbhDkD8+yFPruscQOz2z6SBNIK1Urq18moQ9kvRyBwWJnqmWZJRhIenkLigQAUt/aolktdUdpHOFaBNWGZUyy92QXbBCN/C0I7hYfEQCPtxKdysgjw/HFVFX3RCes6SrcAta2TCbqm3w77KER3QTBjsQemJtk8oF5r0ph05opv3rHgIAxuKW+r0YNtp/cczWCDCcimi5PY6ZI4HUVYB2SM4kH1eTAhFoIy459adfG8jh/RN1jP9IA6jiMiCPMpxDRhsmQAr49TqSP2Y7Bqar/g1VZNjA6Hkg/g4U/E+RLMYmztMXwtW/cjhq0q9uNCVp8YYRq996TMUNyZ6q+e5OSNnSKiVEJQGf8AQCx3X4/HdcG6LlSGaQlrIQn08gtzjoAY0mU1CfgAd6zMfAfNMT20AIwALhsdmUDz1atx76rmSaaRDgGPyNvpyMuCpnGgfVc6Ji6JcNAs5+e4sMcB6R0hEsVYhe/t5UqMzHpFhR5MhNpraQJNKXsQG5077cNteIttENCoVIH4CF31q1CI1YaBLVb0jlBqMzWW9RYQWMsZoN+aOskE1neFghgTdu7tPaqBjR7NH+jnX8s+uSjvvitXteeJqdhWbrHwCPm+xWZoXFkKH8cJUPTdvvWaenHcG+rLV1pKNHRQ0Gmma4KPtBSyMqIy60oaZtvG1ksrDGnAEnRl1pUOaXpccGBqhfdu/j3uI6mTPrbmRw2XtIgDU5VoRykoPMgqdJi/Q59tbkL0lOVBbe3jeF0zn/QnE6+WkESWLIAFbZsTw4HLgRQO4VbnOxH3NgxhwGMcIzY0IC638hg7wEdr7t9TuDBzMbj7Gn5XAq2SOa03Z8xA2ReS8TsFexc43jLhxWjxdc+ykVjBqV544Js9el/Y2V57gtwSVZnZ7nh+1ziqL5yCOE/SybL5sDxR6vjvb9g4pPU9eTbyYN/WVBRXShHwYhzXLRLX885Lxw1bOtIsh6T8UApfPI7vFAQAjbOgLWj2vE5ueyxFAKOtaIQo89E75X7Cg7Xa0xg3cxWfoYa1V08esLgx7G43onwPQ0nASvEIcBqjgIEUjc+wR5mh+ep2l4Su7WtN4LACfDygWezm5mmI1Or320HNXFRkgQFtxs+K7sl+W8BQIMBUMg1S+UQ3vcjPeGEVMXfHe/FZD66+JvjNHR/b0h5E2pxLXyg1YlAwDUiV2x6Xr7uDVTlIkFq7UdOZnOsMJfE0iToapYzBKM60CpJsgbkMwlnThn/3V5cHboA/AuXy7CoWHPqOg0nGB+2JUcWXkm38x3jEAzR0l+9MXvwErSYuKwZXVVpaz25zfRtzDOr/08tXg+TSI1mqCfKScqxiFWeHa9qehjTkwoCiMckCYfkcfG7rBlkKf1jREmuGX/JxrI++8I7bF/h4KSb2dcUi665DxUd7F+/iB/5oNZANpnkdeZRlqeHPgOPfI7W7S7cu7Im2UfDSnuS8SFgb+wioWKJgeck68lvo6ih66I9Q4ZQChJr2JGQGzmguovnBBZ6yC7OT/5qLyiU4e0bLTfvtCpBNvCILXlv2VV/ZWBulYjWBx2jVu2wJZ4RISIemA8GjmTVMgQf6BiN8JauJbelpDqB4FRCHXWDD/GZVwwQbkZ/ulnw6mo228R8o3NY0QUzLkkJkeWS3Safj+xOJ3DOcq+LxKIvpHXhbeZyvtRBME48tKCGdqL88nT+XP2cEYUh11XIQxIObHSLM1t7Mu4BxBFGrRpmt1TVgbvDSnXUv/6sIuEwXkmP1G7VF/ggpEn+No67A3spQJKn0ZNNZEGegOiMXA56idT0ZXGKDB/ToU/+LD1iweiVICNU/PuuQPTEEObqT2UiCvm9u/21ukbr8XTXHU2JakZ2Xrx8WdyMd/1xQ8TRDzI9sEpiv6pjh2eN2MsT6tQdwVT9T3y1LLXhdLGHDZTLJSfHUPD4b045rZ7RL2S/v0J68UjgVzI4ZwQ3G0jhCdqazPLvLXqLM4ZgSgLnsM0oEUneBaMK5WeIy6cq64/FyI5a6dKS59EqsvHlC38z0SN8RTVLM9q6o3MPI+KJp72v6ZBUgmO+kgfXFJH1IC3WkRLzqG7Aq612/INK8BWW2c93Pgb+g179NEcbtm59qizwEEnRYQOMXzMLC/Kpj8w22EOrJp/MCDwSEEaYeSb53x5UQglAdtfmBKfQTVo8eubJHZPVH9/dhcpZGqq6p7g06g1RZ/4hWm76nzrqUY4qU2RqvjbWSSzAwv8fAHytFGJ1eitLITY+VF4GINo8bDx5Kv2+83mbcnAEsiid2QWT3DEpERAY7gs9muIZ08QlAoqUg/lDL8+AVkInfPMOvBHWoFJrIfP2h5dmYByGAQc65vy9+km2NShiS9siOLxn+zE9HA3zzx2dD2+oN3/NBhLyZjSHTBNi6tJWul2fzwotd0myVpUjFRwecvZCBpRdaBbVY+PWNEDw4OOIdQygV0UZaMsd54vGfsjRrhU57dhhMJUDlr+E3Hm3jVGdwtZmf746bUhpPXkSCoF3qwsRhWq60wCeoMmcGuk5BhpEqvuzYn6P+HvRnIQsv1+dtkuxJVIczRp+te4u8jIsvTwlKsrSffho66vNo+TozILUPFxO4p7Kph+e5gbOfQX1pjn421d2ton2ZyV4tcAt5yOXYYMJTJa01b3LIdhaV94xxhw++X1QHOiKFpAYqli9xTMY+UvpMI2kZa8t4idkLqi75z8S83K53lbuE1LUEo13a2GYMC7/CnfDroeAOtSlFT5pMNGy5tNN8Us6i+O0JAPrTbFG+1k6yt5UTACxj9cATCTOR+7ey87L9bOaK9dyPrMIprzYII4dkpKxDOjzqgRAlbDCw3tlRohE5v4APzZch67bFUcbGG4ajHtz9SBQXPQpkRWysasJDGh2ka8rOw1LQ/gLVtUvfANUsuLFLUubwy6/9AIY6L8j4mk6R2uZ8xMEK10qeFcwcjkcAvz46l9AEi2IajzjMvv2FZSfUo0vk7Iz5IMP0qlUmVkWUPxjhSXEvu3GxvJhagrJfJhaYn8OEdmKdhlnReMCoSbaerQvMYV4s4OOGvr9U4njft4RUYjMsainwEOlIBvElFvkO7dz8oXVnruhE6SjMpEdUfCbJkwbrI9WfxQck8xiM9YS9NOzXmD0vkaU4qkx+Q9DRbF+G6dJ+DreVkejaOInQpEezwRvqRMBDeTp5AoCUA0xi/ZQ/1GWz4qRsi348Wmgh9GGpPrnGHolI8QuWaic/cSJL7DgSILD08i83dOGZdHZhfMPayVB5YiHW4Z0t/8ffoHdOWpHTHcVrM3UdRuauQx3slsjl3QiqjxorAPDBeJdPu3kN6GVcTWuCrJSR9Gv2aqOhn1WSciwNXM0INZ8mOYs25Me7RbD29XsdqZ4xvPVIfs1urk4P98vxOdJEjkRk74IlMgb1QRe2je8OgqZFhegYBUTdctqZMT+ZdIo6aFZtFaTYvqx+jUBrH+5W1KYmdlyv9fm1tzRcT6e6ylVhK99apLFApLpFmwO0LJ4u4XZlrgj0QORJAwXqKaiJTIP4+XYhV3z5kUlQaiRDTClr9yOHjwVqwi3Gw6frK5vaTTTMXgo2oojZQiWX1By1c/y2bTVYJzJXOfT4vYNJL6bDqOO1ifkidFOS3hoa1ok33qjJkLY1pMh94Q2Sk70BWE+L0Lr+8zbqSbbFqbeMXfISz9wsoJW7yw6wzUL0XFPMSt1GCGrti1A9B/9mG8u6KroZIZF4ATP9sXkZg4qfBCnN2i4YFVpPCgfqEkTiX+vcjMKQqfT+hGRoLlt60mM/xaWpCn25/8d80ioMqDeuzbmXUsWBuP2UmTJEMCPgsYDzy8Wo251QBr2x5axLksEeCNESJKIYR8/drT32KDyVQsne6oLJm28NPE8fRCRSp9M9IWgyyOVXfVLP6nQXHueGhRXP6cyV1LUBzlp0xU/NuiaWZxaBT9C/sOeIpYZcDbPTI6ZwIMBkXiX3lJIDJYtK2ZnQ+zphtaJjN6cS6s+Au+t4l73IFMwvgpSWY7wVYQNKJ5uMuW2HQli2L8Vc+wEFK4m/YSOll6xLm859tD6H897MrHgRWDGggbf2t6SPZlBhA2A3nlfsBiVz/wsZqaH88zpOYsFGrFxO9a3+XaNl54yUO6nTqHHxdLCZ8M93jppqASwnHbs8/mhfQcPz26FLcHiVQeKnOyFq4V+7I23ivDyrkr/liS/fFrTEGQEn6MZn5jGzNudHBqPVaix8qlnE6RDLWIVg/rA7md4voOW1co9EU1pPYEcCPwHXhLDydc6esTdtBE+WzPLfzGL1FV6wO09W4OKDxZZWnPTxoXfFJTfZNC5ccc44PIznAsBOYTVMYiso8s3f8QZEsJZ9eh9d6kIe8kOJQVkgdy/7sHfXGss1ZQmtqZQ3V1+tLQ7q5zjKBBo8OAM9SNMYrUTfHD3TRGOqS1aEPNMe387hRWvn4/vNXgpZAdQzxpjBxcFMzy7Bphyw39DLIp6Il7SvPbGuzXZ5/P03shcAJxJQjpQEPGDESiUnE9g4W7hJBe9mhAlPtlmvK+bPgyO308naAVLrS+l/1RH6IO/OMjNiS1cFobqDlZ2d+tJxrw1gybK0lXRVNjEOzyuQO+kI0Ni88bLt6AP4ifJfC1SY677siAP2OWIY4NbHxMEBjB2h15sd4kyeOJ6nPYdCPHb6aHDsMNHNwV4DNYVBeAZhUM4kF9xL2qGuVvRQ5Os6sGi3hfm/0dgw5gkW24CE/juakMwZpAvbq3qeiEiqKnrdL7SLxjCYf5NkRhi2SEosMDEtc6Alwk+G6PMs5/4cAKJpJ0W1jUn/UNS7WmwvxbElpy8qmCtcG/SN38aeodvzGoHjc9RM7/7Sx1JJP2Jm95kimIDVfm9YSORxjfLv12DpVPstyQ3bo3b1Ap4gE2BoF2OTx5+zsXvPtxT7sng49w5GxPwQeWPQ7Wy7dEQE8RRPNJUtcIBSn2YkUba5MmRwYgiCBme6ynzKbhl2JXaDjdljNGcZC/eB3hKH7Mrpnyl1yZmUDh6Gm8I4Bj3JQg4IVRf2RFeEldnJZXTjykSVWIPrDKfBWolumqSnKudHl25x6O7al3L7b6bLXi4nsA1X8TbM4Xagmgsv5PiJIsyGih8434u1hqNp9wae9eDqKKcy/Is1WdR/6mhBKzqym69Nq2GpdlGpZOrBW/2e9tpxdGriahBnBnrhO3/gypJXp+y2goH/7NY3CQoEyz5BYD3ECFA8yvoCuwN08l89D53aPrdH885CX5ecWh2ixv5451PZ9YZtaldh7Qg9nh7glqjRLNTIPU06OG/gO6/NuOUbGOhFfaRgcpN5pFjI9l17GUrq4HDVLdJCpdCQvC9uD0Orb0kL9loATmbmCFaKAeUK1/63B47hD14TFfQvIgDTIfROAfTqRCGVHdmgiuKnqq0AuoosSXxQ9RATcEdb1rXqKKPpv+sbxvPKy+qgbCD2Z4Xw2Nkc7LQ1ZltthIXZ0cCWyI3YyIGEY5Bm2BdJal27sW86+FUSFM3iYGfVLGzb/Zopq8YbD0UZDIPa3k8y+hEAK0b/VAlYA8ZQS/1D7FZri4yATT+6wVXjp8UX9DkSyoyLfuiPvhgilOcv7jcjTweQUTra20aLv+5fcLf09SNbcpe6TPbFMAF3eCWzexGLkFhm4bigD0WqbmQK6tHkgFgHvoXDnCSn/W1kV14kKndWj0m0yTliItgAytfNNKWcIJ9fs5Udpuj0u/+x+1QB7z224FVokhVvhPs9bqDzxo67NtLyy8BgrgJqWVelQxy7hcT6pgEalvjfp4/4KPOfIcJ932T1Df6XtulSY6rcc/sizsz8LWNocx6zPw13WaQ6Gg+sgavW15lQGjYr8C1p2on0uxnZeSU+MSHNMKiuwokXKc1tgeP+hK/m3QxHx76Osmj0MAXAOh+mnDX7x2zLzngnEGUYzu3x27nRExuNlaBvy4jdbyfkUgS6fbFxxwoaHvmePzLlfCCAjvhRWEC3iFxtKb4x3poDD7pi/tfRC8NYsXdHhjiHzi0qxHnk/jHxlLUfDgy+cSeXwhJnTaXXEj8EuD7onRdpGMBT2F+J2FOoWdXAH23yIO/oWNNVABj6MH4fJqhonlNCyz/vkQ8aQxVUqloO3ReA4uH5JHwxw/M57wguRg3uWayJXobrb8X/N68zIwajIcTKPCY8jJQZLYAttHtgxvUXJLIzxfhljC8uGORjUdkVKyLeQZ0AYQu3lRfGtc9jUgml08rgDxQuz5HunxyMsZ3icxPch8HIk7TvqDcwRRj4XGaQqFm3b8fdT3xYNwPS7Om8yGja+N6rPrk0TSn6hc+1R/xqiR/5SMIfoJyLMJol0OoFKOGc52hQXKEP5g4XzQFqOv3CzNjgxwlm5XVknY2AAIAXj1fpLlnbiqGQ0GoA+/S9dWcr1UjlWA4aLj3cEE+dL/oSeTT+BYpA2JSqsF6bu2Z03E6xjCBkELbWVVxCe45s1rpBMmQNR9+hGUKjx2dYk7xY7fPbPP/b5k7wL4zgCXJaZVopcGZNwd3hZPDpdi619rOZGoCKRnhugnKjByTHEtYu5q1x4gwHfPgjhPXr/yaudGxJjH6w3yDcd9tGBkoCAT9HggdrYps5wIobqkRgSejjHV+WG6LXmA9atP32RrXIIpWN5ulbof+dH9WSfeujiWzF1RNhPdqPc1hpS72fCLwWL1ZB7KpCIsCUnclBxORdxB04C66OWb+hP4jMQnJchy+ZOWakNuBduTsyKCPykQaXcsUHHmvKsV8rL7u3P3FSCyWAMPqpdpNj00ShdoTwvRscDQv7NJe3fDOtBiTUWHlJV3RDZiqFP3eer7dqAmEUsl1MnXXxiJZbz/QkjQdlMr/vjb30LwuNMjxj/HNWhiVn1CYRiCzUD0qYK0ggfcnlJWPY4P7FNXGTgBS5UZVWooQy+F5Tj7vS/HDbIzg9D5qJT3FSrt83s6QiGSVl+BVgppbfMZu094Jbha+VzblhzEYJ3UeHCqe3KyNOjVdia6DV+Ekzl/dzIa6O+Qn8GRS2rEoKxELds8UXZnaLwDLo98MNvYJGufIJoORw8LTDLy5237v+HMPGTnc6LuE20EvHQcINwJNNImmc+chTrFonbW+HJwRmuAu/xY/rR4oHOy2BPe/DXRdmSNK8MdaflJ8kp+cVg38ve0MY+2lwhqViCikvngn0BDyeIU4yLHDSgLfb82FTskdJJsaHNmP6j7lnkJgendgCauZ9XpB377ZkqYgwLnvDi4BOZSZy92zIuDmKhcLykpCpgPY2PXQeALrr3pbkYdE68p9n6YNDBLHJ55yjxORvFklk7mctwrFVHAMHBRaDBw8Zc3PXqBd+M6lXM+b7aJV9OlK81nzof6lxNPto8A5dRcgLRy1hARfbXpFpudUxKTFnd5L0PcjdwrkoFvwveSnTLMHdrhYDFJGWPPk4yyBMlpKksKKgDbm44nQoghP75coi904IjIKOZyteR90e4CcEyUb7q/Ze1gSa93xXNlMMJ1g97fUJMxt4CpXDRWqw6NcubRPOoNeTLPO9PSMw53AhAx8eGOo0k2qCHW3BuXOVf/Jc7GDE9G6faSjphUhx8vC0Dt7LX9f71sKIM6wHoU9q6nJ96hKwzKeW6IICdpdYvEUVv+UYcJ2R6kXYQtaP7V4XxBscisZhz8jS0KlxXad1H2w6N953Z6Q9dRiMTSo8a/YpK/SmSqN/LFrzcWb3cJ4MLiM56b4iuD/rfX1kabiG05cqGrdCdcGWEbW8cQSZP7ERdBBg2ezNbtTsNElFcqGzmLGYVNz6yABYxy+D+qaJFW7O3fqJP7kFrWJN4pjIybb4n8w4NXXCuHYy0zGuZGM7wK+hEkfgA75EK8nbZmr4J4QzRm6XzKzmNnwW4vnpxnNsG85dc6zZOvZ608I4R/WHzSNqcsZnxf1oNHUppAwwQzCEeY1BKqS1jdfWFGGz9ke0B2bGLnd2JgAOnZXB7QOT1eQVtjaJHvLeWxrmD98nmOCliMAlDKuN16QrZ4zDzJ+AAaJ98NCd8Ww1igPm5PqyfAFfjxQcyiG6hMbMrKF3KXKUzTvPKfBR0Gbcegh36zCiaIKpHqWCkNfSehTau9h51lJSA1GehWzdw+KBKRyFhkaHN9hQ3KNvfhtzklZ4WH1VpW87IGzk6NXBrN/F9K5rGNmLET4/wc6MUGO48ap/X5XCvXjSuoHjsnyJkvAXv6xnPC0Ay7Xil3evTmdNVuHojNX8nWCx9wWIVEER4zMrSA4GHL6jS1WHeIHFwDH05I6Rn/fDeJQIgrxcWUmc0vCw1foNwVFnVtEoAh83MekkTy4kPDD4LMwDtxTCwtNREyAohjBH6COR5KmAFztffQrzK1e/aXJBZNLelvbpRbqRPkQrdLGbAPyZ74R7y5Ce8HaYEs9zDXw8WbglDRDO4ohke9A0VRgHGvL9l47nb+d2SEabIpoFFyR09bK1AtevuEytv29dA+ewKSOZqwTjd7kVSd+LK4VB6Izx0Y5OhhzeTcWH3UQ+Lwzyaq+AZ5ar5pKIg99EVQ5p4dOi18WOgaIQsfgqY1jHaF5Miunsob5dTfaqr40kkztOF0HeQZLmPgk7yqWJ5uCaCHgjUZ76XgB+6vh9qFoKNelHznaYPUz8voRTJJOGsi2hEzix8buA2bI9555xjfhewU0ka93paYXKtQOJdhX8TVMTrWU9+4bbDr495Ax9+l0x3zokYKo7/y1oughmiTHP0KstVh1R8p5TgRtVXn60xsEsIuvkz+5niAsavBkzMp9LsOqT/iJQBH6TDDRlmzW2EKEBCmDBhA7+T9DvLrRSYFvce/4TL+ZnkAJMCOxKQc0/sT2brb73+NkKi/gcqeAKv40PANJCf5Hq3zm93uWme7z+3Vxs0pOOiPpFsstVjof9mMKLtLwQ7jYK6A5wxARjdfY5WvXlMGggvX0bVD2nIRjUzz3hlQnoT4u9ZbZw/NgxWv+4ih7EIQQ1euBhtOD3c6hkPxXLrX1Rt93DG5LO/nfbTcyulGPCfMq7Q2t3DXZ8IS05FfM6VbO0FOgXBJb1mTb+60wI3ELXmFAPmBfzeJiy8Sp2SMmglMx6Y3AyXTqfuZiulHqTkmIDbe2Ad2O6uAG0GTj2QO90QxhSLMqccMOHEUMJSr2JpnyHDyGmPk5MIwgUsxWImn/jFygZ8xVSB8K4IwdFTXlKY6wr1vJbgOD2SjC3MWj/Aw31Zbqgq342KbfKnKTggvw7TLmF4Z/NCnPVlmmENu8b3zSN4uUJ8aisBi2yWSMeBuGo7PhSd+dF1pDwF3E92D7EwDpIxxtX5KQgGxwNIvP+IARA6byrG3Po791Iu5gXqYhTtDKHDaq7ewMVvxQ0MEmyP/zInJ0KQRmjrOcygOUeVHhTCFwKY5b3CBgClcGoZVlhz6VoAsb1Hye1ioip9SDKuQcBf4u0x75uWcfYHuboM+eyssJBJ4knXDETBtzf5Dn7EaOPjbIZehtKJQUQzFpAagOnK3OFN/cp+F2XKCC0Jn9EqEPeIOcdTZID5oMqDAS/LQF+XtomrYwTjXmdl1DYSjguRQgKI4pecjFTSa9gP7q+Nqv1BH15FkB6JbhHJkz3fodX0BMSeoy4mPqFJLvnKTZB6HLJDOaSCVFX+thfXnRe5TfagS1UR8Kt99Qmq6PVogtPYxMyvVWQ6/pfyaBddbAP/kYpDdse8yFG3R2rZLAn4m5j1DAG+WWlNPlRLZbxNteEzMw5aGZuScOL2kilw3O8d2uyiAhhtofkfn1ZGON1YcnjukUmuR9YRHgiy5LHYTp8HiFMEdE3k4rQU8MVUxoBFGmGWNE6GzjBOBKdv8ZFnilA5TzRPgAScLWZJxWErVkjVtd6wiyhPMZHo1URP3BCg42WuZzgSEOsseg+hZaCMSvGsjsiQTZTv6gUn5aubWqSkKpaOZ0sKgWz1R0F09dCidG6Htrz77u3OjLOfMFJqRqysvzL3N+VRjjWNfbtTxWj99zPEct8tAQoPSqQOCfbyrej1JLIjUh/Z6lgud4hUwcJERXhUNcXGHa8hic7GfaTTIfiYRvEAdr9DEe7PNrvDXNQzbRa+4tigKoMuFuLuHjjAMpHQFT1FJvw2BEoUp3tnI9qwYbVInjAwtMjwzM16A4VdJ+Vjfo7XWRv63vwBG1YvwpcmbGom9yS/WKTH4IyP5E0x/Oe10VJCnLHWR9HU39bSdaCh0oUrBOKEC2s4Fv13G5j8Xr1wnDW/iJl/WLyOePpTwSo/IO6NeBpAeDp7zRg6xcPF+a8Mpap4SttaGNzXkXCBlEYYHzxBhz+qvDjn4srumkh3Djy8flcgtascJNVmaK1Ah03qMg7vyxafKIjzIp/z3l5guX6MC2lcqNfARA6cA9Sa6ufUacNhirYNt/S6mtspKMuUcEu6iiy97lYoHAa2iowMUIZxZQwMBEQAl50hB0SihuD/9w4j9lxZE0MlGlWNT5Xbye1yMV8we4PZNUIFJtSb8d6DA7d2JfHZwPZg+9QxNMXqVZgmCvT0VM3rC0/wxlszU73DJV6RNbUS+5g5yhiQNmeB+5fUTTkQsJ3zAzYCSOFyvUTFl6AVS2mchBmdi8J0kpfRTTvp1lJAQ8EZ4wH21ZLcY2IrsBGy4lmPmue8i+eDUKH+w2Evo5lGDS/UEQFiNjfhYFY+QhXs+MJZT/CtA/FEp3m0oal0+YX8/VtWOWDP8RSL4iuuTWq1hHBe6rtaBOggKT/SrbhaieaMY2FZHOVLI4RtdBvXpTc7RTm1qiSGFJlCLuFHKmdkpvMYasCi+gTm3WzBDix7biSqcAnuwQE+Tjc2KYuPVxC/Y1dHtFBLF8jNUSdbMeLiSH8ASDCJJ9F/C7/AbX5L/2bmBeKq5FGmBp2ryudTqFU72anyKbzeSbh4eRacHQabEzwIGtN/NUIFMxS08nlRjDe508dJkQwGLVt3eaYhbYFDCihP2qh38wMyU06TT2raO26FGN2de4lmxi08cP69e3YdzWYQO7LShvyo5hWG8eQtYxT+mhbjrltOYNZkaR0qGxrSNB2MJPVNeJHD4cC21GhEHcDWiiEVFIUpsz+PzF7VaEyl7VddvT4RjZZflALC2EMGG3qMC6wd+pjIqiYJsz9/24McAibQE97ufEwBdMIUirtMA6ZEDfnwH10E4hs+zll0OCb9PCyitrsVeFmeMuQiYQ48OgW4/URR/2htCzU7KphiR+aJRo2TlzT5CTmC0adFUg3y5ba63S5y/ld6lmxokfPJbof7hw+M69voVzpWrPI3YnjFmzvLXGyTfXTNJeJLNLJnUcqUKHoTKFNaNt94ChDz0+VwGf1IXXOn3Cc6ShNP59u3unLSl3Y6RVny8m09hm5T6D76jRqwax/fxWjijRkmRNk2RQZEHo2spr1AITAlJCw7dW4iSfk9S676aPG1EYYiijaDINle1N5lqIKgh3tvTCA17VDuFAC/P3AP0cgvzCNQnrNcVRPVrY51SxjLNM9gsfLupmc7hA0M4JyXe+llKB6MGNsO4culIGyM1HDsFznp2t//a0zyrZOIBkUvvks7SWtiC8vDO3hLNR5em/CnB2WNtbRJijTXKNbM3L9r/jq6J2xUsUUZhETwNcVsF/Qb9G0e2ZkQETAPYNEoPdGK0KoYZoKI8Pn8r9MLxlWrtZfLJrZyDKMO0eJ3GBMRkyUXZFgM8QLZ+6K0jxzY8tk6O0tb+Q6sZ6UEXNCpOiVqOPmZVMa4VA3GeYsafq4qLSLnmjGiEdFhj0eBqGkWvclSNcKMIxJMlDtmxxC85ejn8hJDReOJ8h5AdPktcbgY1pzxkag3t9XnFbXhmcQvW1u55c+ztE62SrHUI2p+++98o0eEmZQouXnDKba3qon5KgNl1jI3RtKJUrI1XM64HXpnNVuiXGNB/3eRcG3CYqey+HTH2uD5hfVsqUgeqwyrRrM06DZKiY7h2udxVwd9jOcjcwZbQe3574dOm85DLh+rKIuqSu7BB6TWEcAb7OZchgFrkvV3EDO1xSi8TtBDfx92iWabipz2qoTHAobfw1kfx2tEY68ByegS9gwCFmHa3l4HaDuIXzCsuaR6ZNhydI0ayQMaa+YJAGb6H6urfYVbPL6rlEr57rz0dN7rayr6fe8gllFbEmzqPVpgiEjlE5k/xQeP9lXe/UlKcBww1IJsBk2QgQXqn6iKqTpe5LdEf+/cst9uESb1a2C/Adnhhposp7kJuo4UJr4Q1AaG/NQFe91R7hqkass+1FWrSidxgkMbuSkENF+ISYsfbiSoc1+1x27KiFi/R9nwzpYkTuLd86FysSTKCrlLvmC7Yaoj0ggDhu8Vbgv/0OqfKZuPUr/9Grz9sjd2IdiNHODH+0giFxR6x3Cg40cktou8Jbkkq5AlhgjFhnhdA7HAYz8B3vvDjS2rMPh8KpXHt0HyHZQJiT4ix64REATiLgtOp9DMwj+CHRVZfAE2xLspH7HUH8u9xgdAgzsixyqxsVCLAAnNnlvEqpFcrXNZVF+xLEbDNb04khnrviELJ9drYgBVecOr/TzRFedARbe8IqcKr8sG5bFpGRcWCyYCNXbvjSsAGO/7ul4nqq6zB8ZzNfL7IurqaOhrg/lp8OJXLmlK8DJzMX7NjN3FIJm4+7la6U0qmopiqGVx3bIW2tGwZvUIDg/0qBX92kfLB97zzyQmwA7YMETVmGoo0ltEJQa1SKinHD7n4JCrCABBf2hS82q57n6ALy2CxsptPU/NF/wD0hQ/BzDYK5lLRCCyoF18WxV3DpM2QNXe0ubG1ayUUyh9oKbRkB3s2rF5X9pY5aB/AZgca8QY2nbYvDfXe3M+j/XFkrKB7jk/jlqMLyWq3PhbHB7IClEgArhbUsjq9oLoOWUJKkpv54iKEEHSNOPNp/SQ7Uasv7f0wyOJDswVNhqLd4E0zJt6arLm9SeRK80byhBDWCNFR9ClPfALNnff7hSBAmhNHViE8btzSI1MnAZqdFdxI9OxaNEcXk3tJ0RkF8OnLrNtrhy0fUWgRQDAVhL5h05xGDnRDZTlHfobwIX9Mcbcs3SnesqKbMgDNsjmXZk8nw7xS31Yxwj2dMV5o1YyLJfd0jqJy4BqQCC6j8R+SWEuFw2215CpJsdvnvyeE6G+LjIYW63XTecwIOXT2czLNWdj0vmMJresR1+WexPuRLvyvd4tO1UkSMQ/fBV6atigaSQAKL0SFv9cFmXoMJX6CZroewTHJP4YrMkwChcBMSQ73vfffeDIAjcj/Bwrf+X0lQOIqTSF04tPeikkiP1lmChecwWNUBs4JCEjFEuLWuz/sxQjRnO71eKjRRpiu4conWIt3jgNglGVWpvKqXoZz+4lDHqgjNEOayjjnOcjljZyRN6Lq76F0nqOPWNTGBlO6pkCpMkxyyzgarteFeJdlIi5mKa8hZfh1JhSc9Y8+xzcRiL75gy8xPmgiCLcl7//O/2tUW7FPuvIPreEMSXdarWbc/psjG7pQIJkHm9Thf0vVuvZguUmYyKStpEMoGtNeUlFng9CLIq8UQKdOBfeGMHv2AeP2WyODfCFM6fNzLuPGbZQ1l8cHkHYAuCqhoxncvpof6ExKLmtQGksl3lzoshR65wN0ZhW+sERhnVetX5sFf7ytZjDdT3eQjI9LP0Ux2UyZM+7yjzv7Dqe4wj9Ta6tzg2i9SUWKkwDymwSS6CQxYVlB3RN01G9S9w9XTTu45S4FcMk6vZ3wHq5UCuJHfMaQnqTrMjLKAlwqnYMjKWx0fzuHeoddvbo4XKtbuZZp34ac6l/N6hab+gYyFjH4nqBfPuY/5Xf2/WsfmElY8EGYXgAvGJ+riSstIiB7F0r99V7LXlmDysDNnJwBilL/o5MHTCJ2WuYcxofMTny517jMakZCaJaGQjR5IEfRE+0S4nqbrdbs2bQIKcMXklXmIeLQCFaUpOOXPq9Df93tn3cMVwRboml0oRPlKP8Jo2Ld/c31uhxn2Vys9R288tQ13BQHTLXil5GJNca56mpRL8rMaGf+Q9Gi10+JId1mVjWMZ+1oamyloA2rt+WpMWQiCP9ARxRh7D179cMbACy+Gfpmt8QvcStddoEHAJgj1kP6AjD9ikctXPwtcuVDgLRfjp+Z8RKnULu/6rUNm4yt3P3lUy0UAzs2SL74C6oEODbBcMgVKPJRZhy7wq4yoiD/N15AvQTZcwaCFJTs7LLqdBEa9B1F9b6XyMtL1H4sNe+TInhJWqkLTreQjAq5qvsJPM1U36kQR67Eo+tzFQDK9mgbkGudFPHDnoo2swRJHfG/Wb8bwhgQ8dO/2hibM8hSEqCF+SUNg31u83sm0S20cCfXWzcJT28XKEWXaLpWcDe5b1lciSrhOSStIokeyx5rlcUkUYklAmA3/ihQ0B4UDU2IX8upLFKMAYbrCuAK6K27ky/fnSeBdz/HTrssddWcUJbxS7cSjawld0+XdhBRt2Y9WwC5wsH6lzp4krGCgoAlKngWxp5faStHpHNPfjj+KQd2iVN1Td6xtdRQguNENaEGHzJWVqAfgRwmePYLcCTZHS8hapwlK/RPsNZQ85uWn7xMX0CaP9wdqUUzdJ/eAzrZENdyKtFFj7RcQHvC6xsHFTAcYJFISDHtXcIIlIk3/MkFq/dOZH6Eo6tuP65DzYumJk//sD17nlLqNOndqlTaNx+cy7HQi/DC8R50GzLV0zxenBFgwcuVtn1f15iy86H+WmmmDvPFk/scWsmG/ApRbP+Co0wrvy1S+tZ0byirvXf2/CHM7zC6PUiY3oVspzokkGEoKTXccaePGP5A6hcLjvNyJNdoXySxwEodw+zyvEwCji3wpnCxrHE/zkVkf86uDKNgOcSyoaeaD1RLJSdFawuifTb0TMHBz6RLqixPzV5dTT27gV7ff5d2JEdeG+T6eEW1F9PWvAcCAjTCx0AayiQNYi69wddrZCwyVgoCfbTg/7pw8JvZWB0xa6g/kJmsqRnfqPLBgrj3zuDDDPCg1jfp/BcZhfcxU9B2JgcNHzIGVvlcUS94BZGc+XnOx6DWb534ZksFc3xHP46WtmabfDVkYJ1FYOF+CRydxxrnjxEpN01FAU/JUsR50f1EZkLOZnUWaM74EMnWrRCpDY2cECpYxIbsyn4sEzoCHzEy5hUc8ruDzYmXzKA2b727P1nkjrAb0cjINqOJzdlXPXdGsT7gl2rLdTbHw+2RCFk5WYcVqjUXYVbymTSRkd2sOU2d9bRWeXlmav4AsPqfbO/Rx3gx+FqnqcFlfVPHO7ss8auxEFAUtSoFO5VlBJQMNDMy2Z7Lfhpiu1Fy7Jv/TQ0ynl1CGBpaxBui7CN3oo0vqwiqCwbKUxvRC4IMElnyfxqMeBkjdW9kHiBNsMo0E76P7Q0INfXhjNTGRF1JPUcM95hRwq974qdkiNaPhGR+nZ+3SIGgalYyrsCZeZoIUdahTJjw9ltpJBBPC6po1IjLarcl1S1V12UNC3+EVtnFJ4QsqSYaM+EcHaANK2rFZn7PxGKFgNKV34SNqfRzy0FQG7FrrtZ1+C8PNdEOmpJC/3AOZPv6wRX3KdtX/LMn1J4ptQMlKtn+6V6Dp4JuPBFIKypVs0S317GkQuX1xYiESe9U/6chXwkdkuHYeQg1mAdXMTMbxnXC/BMRKbhLkX1XSY1eb9AMDI0wY30SPaOq+JT47SKTK+YNipo2h3wtmSgD8wPzVK7pVajSsK0VbhNswBCpR80TgfhnFa4ZqKAsWDyRYlyxdwmXlbAWWA43rjGgfJ6TBN2Z76W3fRGfAd39NzrpX1cBskTqIpnwVCfAyA9LbfI9xwRKQe2QAcZ5vUAERqYHPUKMdGhr/7mrTR0xNxTp+Bpga2lv2inPF51VWkc9SYT12xLZsjPxKjkNa0EPYQFaFgVp4+IeMTLPIlie8NjnDCcSiBH9mZhN57Gj22GQB2xmWZ+9G78Clm2Qv8ZLjwr1GkEb9PE3FVXd7Xs6C/m2loalmTTRvSKid1sEJFD8pzGsMhFlOjW+FMFNL0no9h5FEC4Cr1udhZ3uyGtWKg9OPFw7G56W/QMzW1dkAx/0T7/SM1qU5ms8EJUb+HXZCR5exD17iQtMKxwL7CoprFrG8bBJmFWVdxzxf63saEglxFArT2ssiOrJZAxQirSQdJ3/QCso0JJ6b0ZX5U+gDksJ7pJ7DR/29LZx4Mkw7UqxjMaVfEYCLuNGVXdp6OBUu95op9/QSz7OiOjQnYtPk55rZq4B3NtrR3W5ix9oeLoB4RuH66EDeUEXhSVbwDMZM0UxIV3Gqr23s7MGGfqU7B0uWL3q5rGSivv/0jLEfIaP/CAPNbxo9MWXs8k5g9gM6CDoOC5hhHD7bdXwuhPq76VX9DUIrXErSyvor1wafUZkR7CiNqqG7fsjQR4Ui5VKSi53h+fJPFqPeZ9NY894qj1DXcuDiNYyz6c7MW0YZQSYl+1zsCwhPbK34YI/uxw4WbrceVoRgtnUT0rejj+fKT28KfrBt8AKbSxggDGgBRfh4+7wn/82egD1uHgpam1iAxO+MWoK+JQ/9xiQZGJHemFaA7qQUwWiN6CC4UyEWC25G0nlmr7bzXQr6zYTZ7PPq5CfzmOGd/h/g7V6xjL1HAAZAWBdXTuQ9LC7yGzK7vfNJfw8z2Ty4rIgeSZlL5lU3R9vUq4GAgy1ix46r33y6Z/F+XpKAasBgAU12IWWIjp9DyoF/GNkZ9aMx6MCj6l+fXTp8EljOeUtBWqbgAXz1CKiSMTW2zAzPW2cblWZ/DG5symzW8pA20wyVNFebuGHOTvN+nfjn3mSxDD7DoFJ/jH7Jbq4fmAzh1nSamGgs8BYmsXHAy54hq9WsK0ZqaCyeTYS9EArENaU+dUW8dKnPDa9/fT1d+LwBVllGX1R734GKktxIBpgyUhSD+xsPLk1v9VCKwI2cydAxjEFkotuczvoFj33sbW9fNtbrAIDeiC6op+8jpLXE4glUrSGOad7InlYuxneg/zkXTObpiFlbVOetr0eFqzv0FPQCs0ulD9i/jCYj+yahHAWqwdfGl2Jc/naOWNvaFn0pTnA4qL89PsodZOKSWx575gRqEIVa/kVxtitiXosGP1W0wR9RBOHQzrQxjnt7ZfAFpBhNH/r4ClvW/7hGUZOvZs3Lv05JHo5GVNpbRn6r1TD5/i5DH4morjMpRRw2JXlIRdSJ2+8y7FuaP2n2wDOx4HvJTi+NmXGA0H83lCEbFZt15Sav2NcXrW+PtXARXt8t3jn/J73L2YG2fcLOTEZ994i4nb5XwgCO3/65MK+Wt1ExUa8PpoY+i5OJF18ZLT6fH2dHVh0PKUiXfc97rbON7y7JUmN3PGa9p6UykHPzRaliYYJJSJ03CFcIXzWIG5vdUHGhqrgrFMH5romkyZyHh5r+AiXExzmSgPadGaozGHxrhiZNlQ4fR1NZQAxzG5u0tOU/HcuPBifafGIsBlAQzAw6lQw1s04aM9Hjlnqhg5OK610pXVyGqYgEpsDIVDcHKCnqDM41OTQxL5Ta/pGdLmkSqXKkjMIMTaBxZz+WjP68ERQKDu+/ul8nu9gmb4lHHHkrPd2cYdTS8g3tQyrVOgQMPtyVyqdZ5FS/fZQ8Nvnd+yKIDQE+BZ1WBc02+TGLn9sqYNSUvYnfWN+i37XhiSakjLEzs8KZ9ISNuPkNdjn7DxnJK5vPaLzRqPV+BXupiW3doKDdY+K3mn4NHWI4xb2M0ckMMJK4Eig8AzpBcVI1BxrOxnZx3N9XX+Wpxul1dvDhhVzOzeeQ5f6UUHhguyOc86UPHRDBFCN/CHM+x+BE4F7K5RI9suGg10RcsNXNCk4lbeEdPmcMIvyLloWZa0GUhrNTzmBau+RfMPiG5jhEZKjrV2c2/UB/S9F+NowBr6WXldOFy+fkEQlleuX/iEhivrVL/TciSQN96vHDQz2iFpuonm4gCouVW1bM0l+1ZUPdGiqvLOkdCVDuLYSqGNDBtb3/aqAmK95Xxve744wREbRApbevL9Iqz5c7/uDTAR8Elovowk7Oueq8OHz13BDg1eH8Q18ZG9fC3QFCckBSPjCnEsL9LIogjGpaq+fxkQAoy0tUPN+bqFOwJi+bJzKrEghxyRDKUyXR2QYjjv+DpNerSvr0cJHp/l9n6abGDRNtJJDZ3cky1ZvGdt6G71EBxkqc9jgUI0+imM929RSFIm4KOicexbxPIu3MvgWunMonl2R7QhUFTg8xqRtFDbhy6Thl5Zn6Ld0B4nZ6a0FU8beoanc9tlxEk3z9CcMwT8FO3XhnA2esiTsrnMuYxXLeqvFIWINbJiPOVdu8HXnVewx3cQKRkCsBv+JiCKDmyKY0JkpAZxwlM0Y1RjeI8umiuVZXKbRaodmTQqMMjf4oI5pTlwdlT8YbeY0b0jzcIjzcIlaQDwCXfQgDl5ioOdMem/WfLi5gnpNdZyElkFxMeTsEjmGrV++8I1mBkfiHfgsy7YG8/Dw9smc8BVo6yOHD+uOBzCvxM4KIQAKL9Mmg0PJbNrqErVQabpymD6mZ4gyMGzP6IjjOk0qEUqzndbVS5S9m9zZiadWCeLEgGdF6l8xzIQCxjmo0Gn9h0iAX54uIhQkxlZ4B4XNfHaEDKaI0yiDE4KlxLsTJ/jyOcmTWQyRwTfK85LaeEpNJ6xVr1bolwWNNADZSCx5mJodc7OyQMFt28aCbq0yxmdyWa58/fHdsnPJVHuNedWL3RoQ1IlVsOamZ/OI/9kWx+jwANEgm7E3bcK/FIVQ6V5pvNLHJTpTxCDivXooL9cl2RH1lJej6WlsEuGLkEsUwCjOz9c38BNTEsvmwj7DpdhSyz4w4qjOCxm8FgGWoy7gXN177wHz8LxO2bTqnpwsw9nqdPs/IkyfZP4OnthSJTUPuXBM6tpVc75gBFOKPPAm8R3eAU2oLNpD1O7r5V6WTAjo9nOa/ONDEf0aag1ybLNKOJP3d/zdlKi7waXmQXkKMqp7F/YKfI9yBISOzm9gUcoeQD9T6TYkQuz5E9NJCT3WPRVnST+G/MVMqV2Ja60ULoGKdhgCUpzcCKsE9/qIGt+Y+JQbCItsuA9nmUaGpW817FXcETHz1XHD4c6Qpp79QQWoha8xadv8BfAeCRuTC+m06vlCeEpVNzx8/G+gAvxlHES524iR28YzfZxpPM4fY7Ui3mz1NIoCFop5A24VOArgN0HOS5Xf/bqmVi3ErSwRDc237RtQUWFb+pJbhVVGg3WGKEHch0bNw+f/H1WZIvc6RzRCkqJr5VU2spzr9HxF0Q9m1iZd2m54ZMk8ZMXLkdB1hHWZ46SeelX5wq7rLmxDqmD/flTS4oTzlerNNSOz7cZetq2AMuqw6GdJfuzNrQFE6kdDt1yY0b88VPaYBdvht+TPwc+sTzUBe0Eb57wK5WuxKr30XWLVWhH3f81EDUMcWuqSVyFTBoD1vlYkySohO0JK/4A4htUvlsNTvUXy70J8SEvFBTjKxfyVkLIV1xNEYLckKuqK2LDLScqQdlUo+RukmENeljTB0J417kOLkVDivakSSjB12279UOLwdziHWEisDkq8ckC7bMPdcz3EF5N/t8K6JJ6KetbuuTZ0paJWbyX32KmV5I1GL3tuX+hPY/e0LgqePBY6wrr+grIUSzSxTvrrT/qk3PObpVdNleFjn7LKdZxuFIunPNjC4l1gxxF6MgZRVyJlxZkcGCDdtEfoFrl9pOt8VEsNU2MV5JaPW6zgn+Qy9i+kFeexCu53ZcG4+fmc89k28KyLRMFNhPvFpTrMCn97EXOSuYkPUGm/X4+gmvCGtnvgHtfTa9RQFesLlZ/tr1/23C+MY9XXUIsg2Y+4vcRmAw8yTvl3yYmEwuHiCBClKCJcdAJUVFFXsGlz6nJD0ZzYkrt3rT675wRxclyHwMaqpzWwXMe52jPCi31w52hReFrf4miUnQgC9eLWxhEB80CcHchuJopekq1m5NwdZVMimfpaLstxrQucQZ0ylteu51WaP2oCy4GyP7IBkgz/K3XEk4f/mVvoFXqvk2JweA4F8H8o2cs/jrTEgwRyvi0LJNSeiAhqHW6/Qit22baS1teHpk3eYEBoa9HvBN0TJllS8LPkWGk4HgyiCxw9VNCBTgOiizl0Z5nJG/c83SFR5XYpO5e6wA7hjLPVYxNuWQWKWTp5s1RZQVdXZCFvMZ3h55KXtk+vZ3tx6YJAJINiavoulcgn94LA7Gd1FyZT670bKh9eWjjAF8os7IrQeoSC3wdl8Fo0wgRvRJ/P5vPM68ZAN0ewzWpwuwYpLW/wI6lWpUpLhK357yStp63vsUsSn+myyRU0VkvjihpuGBtxBP8STxLybicSrGvIoZnnStqCCwpdgjFUiQnloQN7PJKjRvyc/1sJJSkSOSe061gdplTwDkK5s12VOwq0J5HeDMcwBbG/YhPMcrPCuhv2vU1MMIejYURITnxEjoFmTC2+hEdrRH+IXM5os10p9groWrHq3RxVVG11cxRlhmcqp9ovl5r6C++7Cm/B4QiEhBj0iNnG0B5v7qiBNyF4q2Rst0FsemV+bi1FpTrBjUsrCmgLGJisib+y8wePUwd6ZT0eDvZKQpLOLctwlLDGThi32e0FA0UYkJUNO5S9eRvdHPOoeSxIav4s/pA2EBPs+FjljAGACFQykjgNdKzYH0nCaURQ05dr1i7DNSPo7hCNdT6Ri5LEwrJxgRcGwaKnf26gHUQiKSzc0NoLOQvm6XJROuF4OI10mqEbBZCCZ1XfsAjUeYMjp52jrGJAcSFPnpyM3hVXAM12IyLVANE9Z06xkbbdx961ZBKLDuqVcIogi1CPF6WMtym4HMbxijxhkb0UXt0tB/jRMlitPY2TLxwFBXVesHmA+Mn5RkDVtiVQyuH5Gd9D/010ZQU2QujmSQanNOYsw+do65GfT040FE8dkJ0aCIapz8x6ztRb4ZU93UC0UF33xcxD4WlHnOJiNYqYHW63Zx5JvV9Xw13+vUJcN3/NvlxxuiEN4+D+5ArcyNWj98W7a/AV8cenHvbUMPxhmpD2cUg9LBq4Q8R7H/MnDyJFC4HTPZSz4KEK5TsRtQqfENLJcP54CoKg+r3tjBPZhggFOp56Z8YoSWcXVdV83avsW2kp3Bm9mdg7/5vLKWtHBqYYdXNSzWAXkGNtM9M65Y1KpyJD40liGblc8ECyCHB9z6dnjQuyOs+J4gsp02ZTF5FkQPvHztipgY+wT1aNomORoAv3uYPPaCAkq+MMP6HBBBWnCLEWS9IE6aEkzpketAZYrcbUR1vBjF2VoLqHquumf+TpXwASBlTELbOB7IEld3WdX0bvT2sVcfn4vartqE42m2EhRzNTf9IvBUMfhLjW8ey0YDI3MKYLOmdw0eSrPQ/9a0n9LROOVtILhKAdVXJLgngHJyQFrakB8RGrycAtTeURRRoDEj+ZlalLEvyVO6sg3wncImYEr6SAnWihNbF7uQSK49TI3CfJ4+QVTdn0JYGv/T8OTHMtk23GmIz3f9cMy6dLWeBzQeP32ydZ/fA+l3Rn92ihpobG8akkL2CiOlx2X02aAkhz91vNlpnWYnNvWIypgxnRgSys1j13he684ZgawU+SR2Mh5ysBp5D8pdM9+44lga+hnD6Sp1N260RJYF5InUrvn7qOpWlre3UYwbuW561qBIeGQ5XGaeIWyb1dEbgR3HlvFdQJ2x6PLHGvmP4YyrE33Lam/TC3HlS6W5OsIjfzcAr0nSCjfSea7WKYVuSlZcVvGRbQ2HMc9/WA93eOL435GLcvY7BI8MrvDvAFulodNgflJO/l9+csSQ2SgWNYWTYGexzmh/2jEB9RtwD461J1Nlw9W9nwoTxhPOr573Gz7BgZXwOAY6XgR234Yhsz1i1nuqeZGiqzQznOWKS1UJSdVDVdHaTtwCvTA2zBrgzUc5khUDxviL0nh/7FuqlqipUkb6FERtepWMvb7nfKHqHbGBg+7+4kZ5btFMRVEgSH3cEplajfPdUkPTVNqB1nEn11dd3qvWU7GPA5ozlR+Tqh+M/Y59Y4Z7+j+uK9d/BdJTPMhPd9VlWku/VN148aacP+5sJy9iiooAlsYmrMI/LCaSA2FNIxmSfvBYw8wftBTeSeAlzUygiGELStuJdMw8LxAKivs2iUBAXC49En6WPxpZlBL+E3dIThwtsMiSilGOtOWfj+rO2IDdsQsDmKVTFDMjsOFbVGmDK0XlhVm/Iyxd5Kyljg20u4oFuFgtCth+Fgw83bVofWuTRoMdueZ86iwJJdl5qLmW5bYrxWAgH5OM/azhK8RgSUPAJ/9CFTPLD5HfIyFu0gJ08s34jFLMrp8nnTj+Vd0VHU6jBJ0qJE+qdatXzU9nZs/frOKuO6lvy3/qLpNez21xLS8nDU8Rz3FylAjpWUo3MnEmJczKwLx/JI8bEsqXXK1XIu+XV6FlE256LoQXqqQgCHqGBRd7/gRssB0t/g1ZESi8dkTkbw59wHgl5kFZVx+lobcOOY5Tv/MY5BBkJL8hIc0GfuP+onujcP1cH1y5BJ/YGQjIeWmSg5jULrRfYNDG/7AZe5saZOpfj+TnLU2c8mY6riVzNO7TgNrzYoYanBEdCJ3FNwiRHZ477RFycsMEozxehrdMdkkRK9mSzwRcquJF+LClbkl89Bfu8QIy4yICHEVBBQ+S7j9b6P8q7JhxcooHlDsmoMVYHJZf+iEvCW3Gb6HNSx9Z7FwcSZig72dHi5pBXZloCO4bApC9ikbHOw0HBm52g825JLA9yKkKYuweQz8mYwFVlFAip73meIdE1Y/vqr5I/cUZPTmj84YFq06owHsHYtVpUDsX44CrGZdxxmgMX1BqRQDHjgOWDPgFixdC1MVzC414Qs691RRVX1vPcDFbSgytl/guCxkFwdB8i7ynT+j6k1z7Xg9/yaCMlJEJHpBfYOCIzeQtWuGecjEvh0eQu4ZSJSABNXew9VvhI3/rZO83RJV+nq6aK+kxE+SWW0J9iODQY8LOL8YISjDVbKb/YNq8bdlUEs5r/SERSAXYjKJ3SkD9ullsSZlDNHzGJAAJmgdhkFTxFveAY47XFJg4yPnHZEJwH6bObuxIEf1ewB8IMvSAEm6zg+z0tWeTBc0/hupIc2jZv1TOTomaDs40LpEEK24YyjDpDKHcmw/VFRVGymliqfeaiUYasghSFnzvpp4Ju/LwU+R83FDxPVaXWTagy0OQoeuKFX79mmfPlsU4yQ1GPgXpeQSOfdF0KlYdfViT9jk7CKCl3Egam8+hGz4R5UJesH5xK6Q0ST68BnCTF8ZCekEz/edZUcTXmEmpE5A/mjiVr4TzTYJrVGPWvBnpTR9YvSaewL3CDnVnGttSZsH86sthLgOUVuOZXOWnd2BICTDWGzl4METs7SphyXds4ZmVWDQy/S2NbXUwFvGxyuE3jqkMkSkOLYgDD+0apJnbv/57yVpVsYh2v82RarsE8Gpl01i1l9t4O+Uv1LCDI0nH2iYbDABGRtuhypcbaOoC+RDWO6kXS3EynRMoMKa1sPE7a3tEUPVHWhm1W99yCu/i3aRIAdlYbRLm1xcxZ9XiTlzhbd1Z6TcQSWIvR493QZC0oGRaDCBl6uMj68yts95++PMLxe7zSj0fMRoayA2h3ughLiQbImIL3DUH+A9TqERzurOddgc5BB4Gp9579PdoearOQILAUrRKFkpze3zqI0qicEFLCGA1LRvjGHsBct0XRLG/kdi9GoACLHqnqqrqlJJ+gHuxC7paMx6lf6CyDWuUn/FMOxcGkbD12YjTr+v+vWDwtci0eHjfN2ijyuMhe97OPmfsarX0Qo8dHP3/l/j/p9fafnXy82K6UjVh8m/8+Yvzyh0bSwyXJ/8yAtwQI9qX6XGBtz/9qzR/OEWD0uAqGATXWl11CSA+G1+WmvA0nTSKYV3yVvkZLmEpouBvQmb57/oOV7AQdp+oS7a8lwVnEuW4xSOwh/qyb1WqQfr6g0RtahkvuBQ0kJoQL+Go/io8W7sSyRH8/uIn2ecGGh2glfaIwrFD1LG8qNukMduYRdAuillSnpGrUZCEBmlOn8yVym52T/n9UvBuwy7Fbc4niWKy0faSCJzxQfh56jtOvMoq/mBi4HlPpV33DldceO+ibpnyFfcP5bs2Ul3tNH7G69V8iH8HSlGJTVtUtwWAlGD6ps8w+P2JBgW7SAvCnjNkmvqibqsc/EVMb6XKDZpqTFemhXA2mimoDP6TYbZaadysaGGpwsGgh484woP7TVHYtIRJhBVb2D5L+CAJRfqR83jPp/tGKupiDAv8vsRTpTc9fu5rh1MoCdwZI0Dw8vhjp9cM7GbQIY+v2vxncDTZsKv79b6DfRmzbX68mCxBCSuWP/8Kyed+rABX/Er23YPHHXEkXZM49XhL8b/fX2yxc1pIymdSi3fqajK6K6ZEUGmIFLTcd7D9tzLdxQePRCUCEpohAKDJOn7lx78btY55M3X2W4zbjQ0Griv4qkJqIgyxhHVtaIM2DhxS34nAdE4HhjZW/UgHSyAZ/RdyOiDMUaS+MO58L+f/9diykxD3N9grx5FZzM7ZLDaLZSwOQI1rblLkqXWpRWaW1vlFiVIFaR8B9fJ5FQkM3AkjGwtJdMnok2jPHMQzkr4WhP/WtJXOHN+wM8U7xf9ZpWkI1jXxK2kRCictpcx7mcWTG4j4MnORnbSSSAhvnzMRmYSCcllojCiIIGHBgdDtzI0Q6uEJ0i67UwR0hMnCo33b1sCY0bc96vXRGcoPjIHlCbtOojkn9ThaGVXlvsTgUVc6taPKQX0yQySdlpGpVOzgQPMS0s17MappqqW1xeSjpCn8w7Zu8jR4BAriCBEu/cAM/xQ8EftIUKs6LxTwtMj/Nk5tGrYkp8KJrrqVOkEXBSDPeCnx+kGNxcpwiIabDzTJRcmTnMWSRdRX394HL5jocmYmslMx7QNXvXMMOlje/k7atJscIzLjPHGbdwUq/pToRTnuWNWqBHQH4lc6KG0XGtFtrj70FSQDo27mAGWLGJiO844ZRLPBR+bOIEFRe8FFHU3rwu1CueDkJqY3mqLVZe/OJRuLCnQMZfD270vuAG9lWvi4ccDUphndYk0C+Q2G3rtaYLmsuI+4oBCuSYkDk7huNNbw9UkDESquRasbdt81OAWQaU3/GReuc2ZMkLhXKcYojAyl41QGf8i8Rzh1Xi/60TnZTqAc+zZiIrg/IVXnrjz9BcHlZmyG1Cx7Wc1+3KHiXf1XV0b68yx4Is3SUDUvyuF5TVwGMXw4ORgPV217zTastIlTDbMLLTmCx6qK613WW86Cr/fywQVf9iUxu0pWbnSATkOKcckLFGIgsmcrI5ERHA51gTQKRvjl20bjTMhvFTy+l/B4r0X70ZIYkomAklUlrbraD2Az7HkTvuKi5CjB+TXGBbd2XKwH/k/4e9sHVXp0SyCC5fDxopCeINuHBHt7CBpxdK68CTWeQX0dfM8WC8VLdR2T6i101+eflyhgmN/SDBeLF1gUweis/37CcLf9h8rkn4hbB2hGkHpoBy9y75+S2NesGuikFub6uTOsAApRu9zkkgxCF+kCmfnY8s7ldz6ibFiOk6CS+qeoNmwPyWsnbwT1e9GI43CyVbDvswOBtZ6evWEZL2haiizw0MPUXRwBUDCfa2mEJLzxiVBEIpGxVp2eNBmfoVfUomOgBiKoD7/OtpeBygh95B6nS38PjkaTRE9My5er8yIyggr8y4qcW4fmHtxRG3FAM8C18l1SpD5BaqHGwmIOH/cgGl2056DMJzY8mxeEM/gVCyNoY+vGYsM4gZAgkYnmq40x3Dpvhrrem697N95exEwH41gM1ktMQSZy6nMrhnNbqwH5c+9BeT9jbZ2TSw0qSd3ZsBp0KwlIlX3SGSXjmtxboOFTW+rl1b0uXQrtCobjpje6PsoJtKqESreN3Zdc+YWoLdzs1lVZsOkMY8sooJXkCHtAgUkr08U0iEPi4t/Fp5joVtm3/yVzYp/d1b28x5M1srRWPqpgL4+x1GORWy+tqWnNJZKvLnBv8k1u+0iSrviAK9sHUqF0RbRsFdXozrjyOTqtkzEUo1cJBz8v0r7JIB1Wz7jRDCelSHFTrXLUHsE7k63pg4uJAkEQ89Hbw729MoJAA5hS5O2w7owezN8KiHgncVnpikUV9A1N5DenTiLyAxmn1Aex6V4WH0OGDHCx3LFKyR7Eq2GOdZ9jHB2aJq4pg/2IJAR8lgHnZ03mywwue1ylL+BnuIu/+4xHNINYbO+XFu7tacP4fcUJ44v3APPDmvPOVxVWTMlRx0rOyAU+p53gC9opSaozB8g/h26ikqK7g4AnewyFnkmsQtyppJGRKIYOTNuZMdn62R/NWwmWDXEUpOxEQRMaUeUKo6zwDzQEZKutl+yBFXEzEHgDqgUsUVmBgd98n0jYI0c4vExNVFPS5vpbh9JdI/4byQL8HbWnnxBgXqx+c0jfPG5gjCOKe+UGH+q6H5DPu3SotDt0trz4SiRG98pyjG9VC0ill3qMHh8/nhgcZjRM2nHWNgsFeYA8WB59fq/k3jcyOSNORF3KJoS90cefuZoROzFzR+AoR1ntTRZLeB7DtRl39yYh5gjjadiXX8h+tzQhdyF619XIpA9lnftDuD4tADqWPZdTXdVjt9ZKTLS7kerftS582j6Q18BedAWHuXHBFcDnwjr8Ztoz2aLirno38CHUldMFYbND9ffq9uFTJFU3lnq8QtIule9gK81oN7rrcWzSdjm0P63pIclasWMPC6v5UYETIq+mPFe5FTQWt1WvYq3LARReCfiMUVeKYjtmDLy0eGzMt103sYgpXVl0X5LWq7+18H5r5GNgoprS4apTxqhvmlCvlrl3JRqZzgpd1oseTKMYtJ+aNU7FK5FFh1reSUbZ4mapaq2KNXrg6a9/arra9iyY1karvvvUQE9Ep3PdHxfX3ku7B3ygO5EbxY+8dQcpHzDa6qCmm5yofHaNRTyZHUkJhndMktpdWi++xu/jysKtmOtf2++HLOV5R//Pbqgh3nGRRjEKkcTFbygfm17ZW74XK7lt+J0O3FpyY3tJmMnH/U5XwxK56FIdUGY2OG5uWmeI1iPYUapQNmSE4GAaXzJ2L5WDQYFG/0bi6gYNMj+FMbRd+ProVL8lLOSP/vVEgWq3a9Faf13JBgHth9BPVUQ/qJSFVonbL0HSgRH8LJOQFrricyBU4wP9/lIrIsAD1Ln+r7Y8amToYj5J3D0wUOsf9xy55rt8kjGa228xscg0MmqJ9zdygPqrZAeA5nSH4lypW7XnM+G2fs5lqQtNZlstSwv8gAvCCdTGyBBF+mBoWKUDYEQMiXxq1Lt8UlZQ/BMH3s8mxQLfoodI7sgaeONo7a3TlsBVi85aqc5qpsCGLFinLh+1gWE1iDEh7dzokbIHbcaXedaGipbU198YSaDSkxIaEBD8Na0o13Mb2F0n41bOu3IRAi4O/9S2Biv6Hf/LseXI5Tc5RgcMEZzkA04r51WMjqJG5evVg0XLpzWLGOIWo6i7SSFQo/PP9sBLnU/UKaAJYyuH9gf5cRJdyZ0cd0lBWub0VK2b3XWkvqfedHVwE3VADdcCesMahLgKK3tTIeFsxSwOClZZTOrog97zrCNF7cc9dF1YQTVOmCd2WbJjegZATsTTXeeHPWM8fvqvS5rM5Kg19TYyZeu+D4wdPwAaVxTcCKgj21lxtZNY3UAehmlYIh3VFFgFMjYNj+8qoF+I0e5Xu/iZStwaPfqlWS65HdtrPzONiRdIfDIFQ3ZnxYHdquaEJzPM89dZERx+Lef7SE8DoooSX8+TZowbq/HZuaos9WEj4t8PB9OLu5BYZtNRUUucEshbT1zKa+CfP608/Ov3fpYOVadhuK0pRZVfWZ3g5lfcbEegz7I25wdVeyyrsYj58HMhD1P4gsgUiPHRudssY9gl6X41vFtL8VoXMqIioErd1tHlgB0dy6nigIStnjywnPEsq9but3LABQsjJD/L80QRfqFRiAnGSbFpvsKOdfUWkryMlAVurzkB7aL5l9BQLs0gbSJUBYAO2H/ioNM2YYxPtmhnTsuP/6QEOJoC+3L1I7cNA4An686y+q8JMe274lLh9w72g1QOAramgV6fC7nxWax7RxRAc2+UfStQ6dl1gh91gpmeGPSoSUOz1S80V07K8Z19/74SfRqEHh+TPQYrGom8jcVNUcJN70iboj8Tjo3bMTKwbrv7YJz1kFyFu8oXwDYTqcqg4zadsV8FMRO9OyXkfHlCBpaKat66PzgxrWqjeneoF3XkccehTuwbxwUDMR1Ejqga6Z1z+p3rmz+6Z8xCE6B+hJsZ6vS8ibpZIBjgSY/87clQ2nifLfKmu6NGnbv/B7EDdLbIPxF9G4uAH51/D6NZ4jMQa5Q7HB71kPllqidycTgu7zt/m9hKCn3kDWbOD7i9ZJK+MA7/UXxpe/QU9D4yiYZ6/urvhkCWmZT9U1DzgCAI5QAJlRQ1CWUPWURQqn1/VzyG8jtpp25NtNcGK1/3EQ+1QBjEj01zI2P+EEwx/xYN66l69B/EHtoT11tBETUPTifUDfh4lPEK1ShYzv4Mhsbl2OVrVwiti1r30a/xRcgYgJvY+8YlZWjd6LUomfsFHcDkEKtcv+LiSgQQLU9J7SIE6zBXsz5J2stQRbF+9qxhJkTlWo+upGFtgoCilkZAar4PaqsvpaBOLITOKroAHuenNnx0VczTZ8quKnptovX1vtkEvCutSbq9kyFhEWi38+iOris/EUY1in9cacpOGNd8lur9JoLx7PHy08ZCOnVrosjWSdLDgbrE/3hyWfvjrQWeegCwu2j3xEoqwSNX1ztGyJFF956AQyMU1vfmsfBIhMPCHWQqu9r72aWDLt96/ZkyfpfTwJzs6x66uEFn06fnxxPUUr4viTJIoU2dxC01Ri/DT1IOyfnnfwk2PA5NAgw7RTc97itI3hbK/AhyMEaMb8MCV+t4gLAkQLvyItpgBF/Rj3IjduaxE1el0RmrzmXxvfrSn7L2RAlkUOGi9Zku+B+SzO/3Bx1sZf96ml8hxn7tukQZOqoWv5zUHzWIjqOp0BfyfmVBOtcL0sW+XaLUEVlQHeNDA4cOEy19AWnAmg7k6adwhVQJioGNATo+zcfgA5ooYHqtJj/nl6ehbCK5dtKNZ4c7Yv4+C2ZdmasRzBVdkrEEAfpf/OJlyfGYdwnDW134zVJc9artlaubV2kSKVCS6KHj8xN0Sz2ViYLX1b1GzQoSrPQCvYF62mphVJFdqQblaYZW3BNLu8VkB80JDCrGdOM1zMqXu3X/SQsm3SORF0WtFACxG1HceudFFG19N9aj2VMVJphG3isZMFksNB4uf63oHxbpUqppmkmwHSdjrH/hzTWYlMAe6wCiyI9kjeDVDRpb0pc0+dxgAHRgtP4bEwa5b1cmvTuGcMXLVtnRU765QFG32mhDz7s/lvFV0f0p3HIRjR+iYbhO4XTABkYnLV4SZ7uTuJVxyJZYKv/kCHA4dNS4wsOeBQGi+Xmt7N9qzCU6LDGYRMVPiHVuO60IUJjp8rrFhBFqQDYCrn7oDstpP4os9YoUNcm2RXpZ9+bdKGLBMkeq3Eip4MwwQh53B76zQjBlhomS35xnNdvAI0497kDBFVDqWOSDWtka60ajEt5IdV+J3WM2XcYJHXkACQ/XldJipfKva7hJbUC8UhvqOlZhJRRmUQAYFxzU5NUSN1RCaNuiWlE+kaz0jG1YwuzBs3cPDfsjMkxAhO4Z3qXh57JK3Eqy9PmT5KFugUvDCilkjPTjJMaQSCF3TsHk+liCocJ02csSaPV1ura2C9H+Ss1qrUGsZAdqwpX6d1sz/AsH0LQKS20eg4ZPVdE43w2FrLwOEy9WpALtgao5wQjFm/Bv0DHM7pFpuHqaphXa7Co9kmk45Z4+fDxj9nOB6QnGWs49a23fqghDt5hNuh4tPfksG1MHUuRgHfhrLDUOKhAglnIdt2FrzK1ExeFAocJPyeOt6h3kXjrMilUDg8f+Su6vAYlbHgqizJg6Bf863YHJ2cDUKpa0U/m/kWO7fevCMlS2CFpT34XnL+jqmPhsv3qV+pW+9Imx9xBlZxLnZEc53tkK3BhGMT0dKK4+HozdozaL9O0hz/ixFiGge/WLLrqUW0dQq3cGw5ySGsyG0QAMPj9Oeukpy+3xlMj1fGjxkZuIIKEJ1HUPuZgZmLJNmRXDGZ+g3DosGT0mAIi0+N/9fVjKvlqul5nKBoGSD8FUm+CABvogmOOIwACevv2Z/jxo5urVKFkX2HArovILSDjgnVoYlVGlUy11Q10VtPzCitVkGUNngoAytbWXLQm7PNPIRZ7A9C078GlqzzTiJVkJx5CyP9Qmyj4iRo/+iEZIrQbtyl+98apAHaTBO5mPKalI7jWXEb9FCKgjgmz94i2zNI/5CyYkpJ8Nxf2kwSmBiKqvdD99i19oAO6hY8fisiBgST8W8aGeikPTOk7EHORHniULI7xzWUEb3QWEENsfpp8KXPyaFlTufmJwyoV3osTLMezA8gs0i3U88dRo9v5O3kypv8+6UoC6trttrhw1tFEWODle1tqYG+KbJa5iq88BGfY6i8JLnRWspeNK5lW5GTJ4FWHLrJzLhl4SCPTJ2HChiRXL1N3RLb6zngTzyHOJ7peQYt79FoQF7qYcYgxrd8GNXVH17gicHYTCv4TJyoqraPLUn4DEmbbnWoebxVQaO3iahyIH3kLBFSh8uG4o/YqTt+r24WJhhVuCm4yJ5uGCjSnXvT9C62iUcpzMVDH1AVRVK3OpZfQA4jfl8hj8gMh5BtBBfCtAGhPEYCDOve9mQSBRRzmWJM+yF65rT+/KJoaCLfPJDlay3ySVVe9KyFljFAUIIhYCinVILt5duiX3V7vkIdHsrm+ARb0QlBfS86VQPoSJRRZENS1cMYImdkIVgw6EKgy0TT82agdRQthbNS9TcWwX0CED7dwkok4JfLkoOrDauHMaRWEBkx4UkR4EB2XlP+b28Fr7nynzUQlKJYn3g6BRsKGjDkVBe4+hfOu/K19QqppNKCJdtgkIpA/epkxNRsq4iw3Y4sS1INEQQsTaVt9SBwT/xdGl8AORs6OC1DUT4K9v/QOMrA5G+xpONiwdMV3eTkzrgGWiRoiorat4aVPbQ5EzWu7yneSucD2CSj5OwtmweFUGYMrBj3uW3KZG2MO3XBckS8dHsVt/YaumNjcGzSoKIBtNGoheduXcY4NIuD5/zLvAUho9PI6XJNVsFkUPzPnuSoOpI4u1+eBilsfj5PdPR1uH8Xu7KPJFEEEOt8GH7/Cs1TWlEramJFlVbSX3Gq3KJmMyZEz+PxxnuBd7cMrAWZP90NR8mp7D1wcuaSCI6xEQCfSAoIU5hxSvA+h6L3rm9hlr8CeOEOmPFLQ5BPCF8cBJzRqsFDXVLmM50Szd9o6v8XzleN0iSNPZpi6zeLNEi0aAuVq6hZX340eCpU3cBDPkRqfRb4g39P+Kb+wlri2iizSSWd8erEnKFJ9V2W289HLba7JbUEsz6Jcv+Mj/qij7NdwTRnfJYP0kK5aJtosb8gNT0JNKEMG6jxv4P1+29K1nbVwzCFByz5WfcLEceR7BsR9QWSOnilI5tk7ijmEr5ipEcMFymTaWuoj6jC6fw/Ir1VXF9Y8IqtRAJZeEGhJxOhA88fXHK1gvSvLZiMjbRmoJ8N0GqH26Xg8oChMiZhIQH4zsBOljcDDL796gHihzHln6KEA8X3tBH3nf2Rp/1R8VUqxYa/7HLzNEyLS+NzyzGx9IEPvFccLIlpdPcN0v3oHfqGVRyiNXyEY7bZXdC6d4XGBXgWSsQ5nyDd9nImzFVYlKZRaZSlwZqhCUteN3JESr4Tt4AL07BzwZkOHePtZh0qV3jT01QmYCwsuk6Domw2o9xZzpr75/v4e9wlXUmkje4ADluRQUbF7i1h8nt9TkWUGLjmlcxWC3CTeeegotsidmCuU9+HyQIX45N+KlmSPqKI4RyLMHqQ7xETI/3xhrZEQhKMvbQ5pdP8j2CfAWebCkwIB4GYteAyYvlPx3Z++xHRkC/KCbLtLmVsrco9eyoOh8zJvWuXJz5lMZ/TN+3Or3P05CzTKOf1xfQcPjbsj/VCMeg8fuq9XivqOyB0dOWkPEEFgvwis7OaIPvC6A0tgf53SvvlO0ADIjdh29byBkMLATC+xxDvXcFwS6xXz17rycuZs1/9YZzmovvyEIen1baEAO58EfzzNxm6K0gnjkRJshBB94eS3qmIky9eHCLQqqp2FQKEBzwge+hWhz0sUO78p7Yk2P3e9oRnsmtsvyeW1smBycarXd7xt1HzSDOrJ7u1C1uSTv+a1tCUuryN8bnmgZBuGhjcPYxD2pTIFIIRvdboKxA6EdfWx7UzJ0lA1V+NJDU613Tcy87xY75qIRYnfj9XSvX84kFAxmUHoHsqqzzaYistOPb6zCgIGFcUD7/aJBTp6jge43bY3Vdef1YL2d+YLb6MEq2uKPdYNlL6RUYvfzmetfUC8XK8XIVWPjKIXCIE/8zaZVFYpm3eYzw9tQkctImTKK87Vu44qQgx3BC3r/1o8Eb13hIMfmRw2Cc7GNbQcmMfRgLAJAA8tLEDvXOM8WbllkEWp8pueAvs3NH3onSy8rFLOPw8ymudYUAJyX1mi12cNgDmUtXBGqMXVKL0UCTGM24QSQYNc12jFkDZsrH6vshcW+L3EcTBrw1v2egvN88X0EMSLiTpGlR1VoaHS5RrgUREXfaecQ4ohwDl0bSmFOWxLsbA4kz0xLZ3xhBAQU57X4TAaXmU/fqjUBMqWrSl5h3FfWiBhgoi1a04s5b0oroFfNhjd8gsSKa0uJ4hteVE49rlOXn0Bit2pHNIV6o/Fd6HclzX5GDwBiCqO+d0NEOy5dq8zkpzkXyk4LOAMK5MSni5wpoP7q08E+n1cDD19ZFZAZzDbuRsfAewX++mw7SeaIBOqtaFSwErKTGjuqxdGDSftV+J90x5cBXqU86lzNuIvqRi2byrp3XGhG3fvvbDqzlLrIW+fBJYXVsMP6OaKcrx2dFXO0Ox8yOMn5q1CE9f76s4ukVXJI+tjmxPFzuq5HY6/BeMFtEssLHwfeA6gz57rJzpsCkmNV9opar1EXvYQhnJI1Rpmx3ahewsQbwYtOcHePcBXvC2/Aw1t5kcSn1V/5eb+/4fZksSpXmnXBUhRqW5go8Wu1KC+EbgIq8/QV/yMB/VCljaTmDf4FB5/B6P8tws0RIaMJJmtdfP3mnRVF2nOf6IJCbUZkatSfafwuMCkOXSHiiYC2LfGWh6ObLLRwPN3N7ZNThVlEGgwkmNeVjgMopH/XvvPOOnDc3k9vC19J2VrzRCHz34pEp64YCEmnsGlnBAvYOUt6RLkaJJifYFiDT854K1n5Z4Ii0QxBOUUcYbPLY0zBuDRa9E7UqxMXI58yYII7NPo1RspbKNi+FNQwUCsfm6UMK5ODUBOZpxnOQ4VaWtf7wPJXWub89Vh+U4AciI2YlzFuIlWsvqIi67gZNF5QpE13Bsq+aOkYOGXYhYeiyShvhpVkTOaBFBmWZHLh8i6RLqVjFxJLDTepJ3gtZb09WvDoFvYp1bCGoRCycDd+AnHzVLaUtHL1E+OQjPRcEJm+rk5IFYW7/ptpY9jBnZ3NWj/RXhaQ5BaZITjougxrTyPY0D/tJZQ+b1OzvQnsoI8tdqAbfSmTQDObl53WRCrpbFj2WsDdPoaCbgWBjPe+ee8bagJ81AW2iMNLrLG6ZshUntIeWrznGYxHwW34S5hWEohka9Onn5c5nDmWKJ8TJuUR3pZtfalV+aLqs3UWrrpjNxyvRu/D6f5hOwKjfNgjCTVUg6M8ryV93P7Nh82SRk40454+IR0WpsDsf07zxMn3W50oaHGmjHJSkN/t3VXTf0yNRO2zURZKL7ottnd3AlZy2cidWYNrGFnWWKQlJiqAlOcxfDkYJMM3KFaodP6ltKcypmsUToKqMSFV2G8qQqJLoLlg7sDOTt5kaKJdGsuzCBg96YWsLvmgjyM81TlqI0oDCNKTucfjZ8LC90y+kQsi2esYfvJknXWmhiPN2yfwOa9azp8uvIjLSxdS9e36H57JLae/H8wjH3AaSJYwMEE0Gwp5J5gX1S8FAacbEByICFdyTnaPNxOAxreJS7O4SrWbwnmCXqMvc9kMomEX1gIc2FxTCpgdwS3Zj8wAQRKYuuTi6Gw93oAB6a3DLlTcbgi9cKhOknH7XZSIlfVFBBMN2Md92gvmpu7qdt5PkCP/95dQikeHYe3AljWJXQUl0HCLa3dvGFERn1XPHkOHRuxyN/5M967UtAVIXazY6qTOgas7X7kzytqFKLVekgEgj1qFTLJ9s0T+96Sq+hBr5yEGkbKmXyhmHX0xEDeetwxunhEV9zfXPqejVH1Hk56/+x3RnZC5ssFIRkcJDPkX3Y2qzv4puYXaupnsbn+0TgL6bjNOAThMVgJHkn9XMgtJ1izajG++1LQzZvnMxwypFohkI0/oR3dvY1WRIBaX/VOyOJn3lUE1jQx4z2oVkNboPK6NGC0VfyRb83PNxHvbnS8sL+w76wS3R/x118fYVHMZb8vLhAhLYeDxNZEVJIjAGEwmetRPD/V1rTG/hUGaSiDg1tWOlKL7W3bJHGSti1lJub4FV0LEjnBgOfg4+yFAps+iyYHqtZwGla0lTZ92UAvd1BL0erX0Bm0v0Yvr1+k5Il2ttIV5K2JAlsr+yeN2jIbIecYnqmLKplw9PXnw0L149MmxlfYeYHIY+WDib+Ssb/ZL828MJ+TGPkDHv6qBJU+67xBW4uQpTgFyzaK5DDO4YvzNaAYelIddalVJnjpc9qYh/rqAi7VzsbnhfvWnNuSoNslSzqq1HX3lW8CS1YuKRUhvq0NW2BekpzE+2eX2/soowIIa6B9J/MfLF5G2H7JlqOME+rtug9valXNNma9x0aE1gYOmVxraeFbFMiU5l8AW8sH12IOe/bud+q44vUfXf5N2kOV8knocSCnZeKnetM/xFPiWD89PKJD4zK6W6d/sB9k4VyBOZ6Md1J8Ex4cSDFyd5xJFtxOFitBgl76vnOs5RB2d5ESOUaS9AIxLeN0hen1HVHoRd4++ZooPg/hIHwK/AHgOrGidTjsI0jQOKyzWn1saMx2fuM/zcDUxbdj9yDwQmvjBkLODKYs8Y7tj7Cn3h/Lwj3UY3gSwe8vR5ilh9/SMTZRqH2XzQ6TxGcJkJo4usOr+80eVIYwjzyRHiuKIWGShJR3CVmn/3bfbNFoLxJXGUAc8OlUkNZBZHmEQL+BlWsUsSqWWpnjf20XXUxfuwHzSTf0MRzMS7DjiwXrAx3oB8aSuOyxF9xoM5I9p5B8Lpevk9vCn3fNLLPhDSuzzx0JNuoNBUj2f2C26YQaw11IQbRgJ0WUOhqZncoaP1+LoU/8nY6oVDMeTe5TMdM82CI9b9C+16xIu4lXeKJaRUtjzdYpQQHagv2FYSdx33XdexqCe/0jp5INJDIGIgldcWhQacZHJThEN2G88h0hAlo+ctuqAnr2GzDTUj7THUkqFrcRbS9AP4H7H6Z284m6am0qrLzMWjsNNS89E7ftCOx1/lkJWx0rDbimrKDv8qmp92hFbosHv7azZpk7IdNO83z5WqrpF4Y98+qyEEgrtmpQxL2iZrEVpraahvbAJ1CUrMfbUkpH9eUg423QPWILN9nXSeNNwt5eORJaVHqaIXmfGVXd22/bccZldWBuXdMMGaiJTvuDvLeSWPIFMN/RewQciAayusyxPWGYGpSBSK57RnWJuQoLdoDCNNsXXF2tXIewFyipublGchHziPzPdfNcN2PXV7Ucz+j980e7yFx8/tzIOvxZ1HTAUUCX6RL2sbD2HkVaeLWEoiTY06C+1fYuMtgZ57t02KAnryjDOwGTliggBsSrFVTccU9hyLoN2kPVC2P6DRSpEikFvgo/V1sAWVIursUcwhoTAwdIJDpUODFRgYKoJmzzTUBGPXSlpc+o4Rv1U1YDyyvDZEdDex26ltREP/FTbwPTUv+LC6yMbc/PXd7c7CmXhzMgo5ymF0sb6DJLnf0mlzrC6UmhEyM2mTM9aXX78UiB14mMUN9i5piq7dtK/G5egpSuoFoV4h1deBueh4TN20M8X6Z1U1YjRQlhzivcr+ficpaOIvu5umjGqwpUm9JWGsBkC6PnpiNL7V+IrPfuoFeOf76YzH4KlF/vcczWdLbcERQbcSXgwsqFrnjZy4xLqZ/ZJmqqM+z37C52jqGFsFYTgbXN3vkHZ13DRG740HXhVw+cGIHr5QDtq01W5yZWEt4Vrr3cX1TPbgcOTdunQrOCYjEKZcH+EsmvSXxeX5fCxFEeaKsH2MH9QJ3/pNjvZuuLcSrBq24msYlzQIlSAwFbXfhuhJqa6cYQMHOLHkqaU7MzvB/qTc4aBeniaYwWV1yJs2zhblQXIbq5b0whfPIJoX1D8b59dcGJS7pS/o6IamLJK3LQCqHxkNXro0Uc6J9krKx8A4kxA9XmVmYfvJ4yxEwCiGUc7p5qu3kBOPqI8vh7wA4ZS2gAZJu/YfYR/iDRm8ct2+Vmt7t9hL6vXs2yd3NJ+W5bVo8ibtd+fKJjN678W8bFes7P9PDvEc9dZTGYWyhmIvm4yt70xIhwrecPt0pbGn4awQad+MWNhllEA24UlJw+ZHBVyyy6o4gorOO4mtFe2R73ybXCLauwrjJQGJd4wYXMWuZZWf9lu/enFkPIhtePNLO/axz9iVYm1elC0B+APQDZ98+XPDz2+8xO8Mr9N+3U6gXG9Mhm1EGIFRMrLhPW6FPOkx6ACDsJLqSLjnDiFoGAUoP+6zPQ9aCaWg8cczGpAHSi0vhhmMUomBuALjbafbZCUfe4R8DQ4kbCKMzcldauKaHKwm8ozWIfYf7uoGhBltVQLdOSpDYIWObabm7kCPV5vXbuVxkum5MR4KCUvUkG2B2piWiQxzCWPJDfyhCMpWoepK1UuuxQr/nKKj7vsarPEu9aCPhhFbAu0B5V06u/A1oiRC7Nfr+gPtTgzCLm4909SdAL1MgbEUlyHubVYCMnSx84DfBFwRPhaHZTy2u2sHeZhTAz8XlTC7mCBk3vO8mglG3dk+5k2rsj7xz7zEnpPdO0DQLVZNJg7iw9SYzCw5BlhLUtv64AWGR2sVw9mJa5oPMG9LHSDMyhlvjhcxmYBW718zAjqx4SmnqkS0jYXYh0Fj9g66UykZNozJkBgakLKEQ5gwwDH/2KkdvqxJYwpAYNatjD9W0/K/HAqat7m5zIpOI9QPAGVVzpR4Hxqj3xkWyBAdYAXMMkNPRXq8ek879RC9Ugzctb5cACzzFSQSVch8ub89ieSk1+YsvFoAu9M5i/097mTJyud/nxDjP5SC4olrxHXWc7LznwoeJb0c/sUXKJqQ+PRDlNHyk+KGVpCmuMeSpNLHJ6prSYNNaZcaCSB7qZnqUuMLuIbvCHYrqJQHgwraLpIWBaTPer9+ZTORXRS4+NXgGbI5xrpd2YQuz8FjouBhr7zEBqNrFKmJmFy7+HP4kXFH5zohpudqDcB3BUXlRkS/5r+dK6sSgoY8G1rgN3nOLMJxc6at9nkx5btzpG8ZztJBsKsKK7G8UZrsxbV935qykahnN41GDGPzU9FL59t5dg+5kEMZ24OWZmbVLpO98QfwwgS5xQaWx+vPBG5brRlRXi81seUUxUdtNTO5zOj83Js0K8Vc/qp8SS0D3hXUIy95pf+orE6UTAUVkG7vS2v3K3F80G8fGzaDAdiVtRnRP5bz9BpL0U/+0eXqxri5gkriJO9QnSqmPTbcXw5n7CC5ejPqFyjkuaEnJPoM8mrnIkUyH+QUYQe7LhIWjWgPytcm9QCArT4O6Wge6/WyT5dOl6NSSPWrYBKUCX5lyNQXSsaTxxXNYTCBuo2FjI9MN8t4w4ifSc+htdQs+8pMcFuNksAG6vnhl18xftPRRIChCO14AakVCQaCg/Ni5lMalOPim3YukXkUaXXWZsJ52Ve0A7GBabzuBwDp1L+f3l/dFXZuW49D2qxC8BuFMsPFQCDx0WusgaFTEz9c0qzKHqxvOB22E5EXWXgVozkVZxztDu22Dp3QJ19YNF7aB1lgeZhNWwiHnfXArPTRrEKPNQQT31kRvr8hb/N0jeq/37v8wt8cNZKjaeWyRDIyUXr+P9UfZCKzEDrDKmEHt4m429B7ofW/EYyL7yrATaFowl5KHmkEu8KsAFjTfsCyLmo8iAdKI3IFlIR5X3QA4W0Hiul/yH4URRMXpxd+emRr6vvvjYp6pF83lVXB0zcRZj3djfYmBp9KWB4Q+ol+/peBur/IKBe+J8QqJjFzSp/idwJRPovrRq6qGfoRxnguqgPRSc0psYxyEm/g2ZlI5keXhftiquKHcR+WVN7jSAgBzov2aQg/81gRlxeaqNRrgzlA/WgwKBko7jOubDZaOccXSndOEFb7c83BB5fkann/qLXwypmBtjSNfM+5DWR/p8rMCOl0kpKRP5FOfR5Qn1PcFTlbeD68FiEYkHrFdfLd6Q1UO3b2f/lQ2xALDx5Ddwv5JauhW7zghqarlMX70g1a+fSz3f0+dk7CW3T/6YclDIe5h1hNssxqBnF8oIqoO+PeVkpf2Tuq6PUhSJM/VUiXVMKUi30GVmJgaz+L26VzY4g1Wc+2uJmquwaF0cW6Z2ndorr7xLeLhVhVt7hoV1NybBofejc9R8kvv3u9dzdEpOioK8lTJNJuHQdniRotz9vfG1gbrVo0ogFbn9UsnQKM+3epznnP+CAHCUca3cbgsPQLWBXYooTlh1zyZrfy7PCOH2b8T1FUrgCm3mH7wqskiyCyPulXXet692V1HSYWe4aJoZwxxwW+VKuPe8h5uWTnruS9iGVj5TXlJNpFx2lJchM54JuPw6V1jLoVT7iWEITRa0knx0dGVIaA7yRcuKXqpXtfwlbYd3Je4Tod1TDf3RSKg65yhx8IszU7gO+Q9EFKv7vCDRpfALraj9rx1qWms8IhS89VEti4rwVkQbMwpJbwEvQJCiRy7iSTyta3AYJfCElIO53+GkkgFxTtdUendHcug8Xd6SaXZjkeJSAtieBFUhDk8YhIEeIacRUQqc5U3c6oGgufWSpnP70yHIO+5asRvtphnPRZYeGa7jU5hZKsfCwn29ZTDCfDuYBHKYfGm+zDgIH9J8uy0F9nQw6cH+lYGKQXCVNRkzhHAwUJo++MBfmLYLLBpS2ywdCDcwZnyWSb9wWDYfTgLg9fNaLu8fNGKjIETf6pIGVqUgv3TbKJ3Ey1Gno4sQLXE7FUVzD5l44YKXSQ/DQ4QT1PIrHBTDaBeNuNfkswMiXRBbW3dMFwXY5oypmTL5itwLrgB948vyCw6Fs6374xFpWQYD3oCKU0X6tXTgab/sgTXwqmrQADymKTdxJ9p9pmtV9qkLHDOYwkGewL2NfToqV+lfuyg5AQ8FnY3FkyQ6zKIQ/LUmzuH17n9YeVuumkahAth+ghczyViT0ccOlWPJgVVbTiqGqjpyivo4ONYHMhXXHgRQpbngdiOs1B/je1L1rrcPUhwP6e6bO3eo/BhT83l2fEXAzLxQzMHCEsAZ+s//eh/tIoKf9lJPXNjgpg2lSbYfHdNn5jjEqYeMNsdjLT0BPJkK/XuWRBcNJxlR+MFf60h+LdPP/0mXzhw66ZWMsH2hAlgYWwG2Ba1VwF8i30/+dG2DVxej0VQVgNzWtkXXHzlDx8XEOr6Xh6Q/lFycUEs8OHbAFpiRsexGMkQmZ3UUbZi7clJhBrGPWJBUnY2tbcGTysxfjsdRr0PnUyYNd8gWUZTUfCSBPeXPuZLYUnz+Er4uQpO6ZK/h5ES1wWEklD4Hk32FP7gsNb80li8fVAZO9eqnmTnEba2P4fiePNJuaiHD30buADhgzNchY/r+s5dZYflGmbePSjh7ZASqO+2/wXG8xor6VLc63DW1w9R6vKaHXXyot+G9ealvgYjckctJpszvnppRJyytY+3QQWszHfgwbRH4eQu31DeYT9FV5mE8YtC0Ya+g05TCmYS1fQw2PR0/04BAMpq7bhkIFRbP15jd9l5BF/HelwAvRrNLW34AQ3kyPEkMRfHuODst+9hNBhLb4OYNRVaz2BUBt7TBR3Kfr31gMVABY/0dwOLUcr8EZ3X1hzOqiSM25mGtTCN3Mt2ZDkA2AXbe4UVwyVDupXgjleE7pD7E1eBBmGz2o4EKQPyKSyKg5duS6GntMzqba6Ty/yIz+t2SFH40+aTB4VQhu7teTisMfYDxGld88ST7/p0306G1m09tkweSLWH6AerebQbfyv5mXKm4ENK9N1OZmsf5FC/lKDtBLadTLEsrv5Y1rbpXFAB506odfLAOK3uYIt9+RqR9Av3TBGATBj0VOJSIXiiXei2SFQ8q324BDiopoX3xEUYRe71thznIyH49jq3yNfSHrEBllQc8uafQ9q7H+jwlSzLIjrED9ogLGMX2otdeACevaUHFFy967Z54QTCGi1HYgvInll3dNeOV++PckrwxtSzCO9I4/cOMq22ARt2LtXebrMv3nwOt9ZXp99m1HX38ZtfUQwNSegATBcXpYEE1pL7VhNwkZr8pkJJm9O+GKMwSnAGXn7eSnpx7ruQkZBvqk+AIr+Xnr8FlEmFRqtj6vb8t0REvk0obfsvlNxVSLMPGJrICkPuVG6su5frf9GLQ7hp3Nv0BVfATl/HZMOn7P8Oa1MGtwlWwDSZob04Awcqv+KHUGgLmzntzUNqbowOcfM9DGFgtVenIiJZkJAVkySNzyaTmqCJ61vfTVOeufSe6VjNwLz1l/AWJQfrVvzH6RRCd1LDINm4MNMuIrYwJNm4B3TxIV5U/dMFl1fbtDVYhGknbXCw/yRxTVVoHhYqmuO71w2ondiND68v+ofVsr8EM27CzYhuxQxGe+UjvZ5PWEc7ZwNJ2+itEv6qh2iO7FGLeZgRcesx46I61Ok0NvZFfK4pNKIgKYKRL3IoSki0yKGBfYRi6ieMrf2RPAV5sZOfNfz2Da95IhI6SUkLl/8k79KIaXC7k1SGk1xsPL4OV2csHJq8xLoH17VUJ4M9wxItITL9ZJMHk9Kj6L78n+LWhdJ9OdvLPO07VgeTUFSet/zIHTKyw1dXunGcwW2oxwgdWBnZu3fbJi4w5JuD68elcRMyhFncaIvm91z7TJ5QqDgIc0XqRT+7MLf9+h/XgmFakoBg7gmi4sgZ/cVt33fKYupHIM52rGHxkLYr+/pYBtvPkVLZRm0okVMr/qQ75jjqsrbX/HOwPrMzXU3AoSP1FcQeuk4/NsyUD3Zir/Q2e43ca8AZr6A/2UOY9XSADq34832qoD1TU3VTQ0BdH0jklASxoz22eana42gJYAefOumWnse6jGc0L8EX9zP3TxiNGxETSYE0aV+oMDd6pjigvqqfCtsI6yvrnGf0V4GIMY/93yfhA4HD727kVylz+mEgwpc4Iolp3jifwUPSUU6X8wu7LEzDLT7ENy8DKpByJaSRv4tqy8vOl2IEnkRia7iHwzifWG3zGxjUaX68Un3fdWBcASaSdTL/9x08YMdAKAdtpGsEAch45rEnV+neOq8uzJXO1N/XkhkmfmcbgBlaDDc0Rh/i29jhyVAcLp/CW8MHhm3kryS5GJoeXjXsqcClMxqJvd+Wsa5XN/djyqwszGVw9n5New1Qb46XSmHTTCIKES7/k9pi7SgLmIiJMe750a0MLqakN2wKxCqt0P6z+vtO6EdcReDQvFe9YBIR7ZH5xqOCl9RX2TA275rUIbbIi2qVlLjuADYFFNhITGFVvuVy0iI6JmAjkW9PT9zrOUsWsiQyGBJFGlpQA65F//pAIPzxAq98AUTw1J45D0FbEWQ5VFkssX0YQDoaB+KJJobbCO4oJMd6SQrIkmXIlGgLSaK2dCh/nUo4G38moQmdt3SFnHQfihRNjyg96mdhU4hdFa1auJL8kvjMLjOB4LtTichhRx+RQDhVhFfeCHnZZlmn/IAtjfS5/5OIBlS/djHBY52dyiHyo3tq8CTwsqBv4jq8PWGUz3u4WeQGqEAYidYxnp1GO1UJzLuNL3U3bih+rhahgZMNKieMyU/EW7VvY+JELgFR5hrlSInjtH0Z8Duh+lEealkXV6dJ5oGZkFuiRxfNYi54qnyyNgPMqM7mUFBwimqGRfvxTTDlNfPUT31xL2k95AD6i5GshwYLUvpH3QM53uURghJskkalX9vkDCBELDZF0oaDsf5h5JrzIT2Ya3P39bcQmTIHudEnlf8Fd8Lqf+KYflKadEMpO/UFYzHm1rG4So986duHFqY50KuTkvZYxeyVKy7DxC5wuR8q2y1gSSR3bzuq0uKfmNl/S/wBoQegMK9LaYgLinZhu2JK9M1ItgGM7w+6NmiC8USYiyr3qb061JuJ8XBWy1G/iPe9WQhmvh9UoJzslVsm0A0vc/uu94txay+vFsVh9EAOYOWp06kyJao2VzfZIHQSPxPQNX55y7E8kEQ7OgNOKgRVauzEBz+JEWYQhnJqqgYAKeLQtNZvPcO+piiKWJIDDinkLVY6CMZscn/UxtJRkzt3tSwgJgsIpzFCpXwD3yY5LnbQnIqFGTwnpEVMb4zRPcOafMmN8wqZJRv9L1djiqVbhQ8xXmMBDT/rdXdvxVJGxbsi1pigpHgW0S7gZdb02DkcCyqJwrrHI/9mpfrFYwj1cVWK/Bchgw7g5/725cUm7qhDWIL6FpBbrm6TVz25qVlPAbm+nh3S7gkp3q4+hpUUICTrnu0zeecRDu5+ikZGqgW+pfl/LoMo/Bo9Dz7+gnwNur9iFH0XCEgKsJ2oSN1Lfjj3/ocSB6FASJorur1rlZR5oZyKNHfMM0YO6TG8oZBbpRBE8S13qVhgsflDk6Jszam6Ss6I2zRWK7HBetXf5GpWOndH0LlYJvdWV5ZD/QaTwHUssAusPz81GzxlsVbs2+j2+wifxeRmI12h1X/aVp1kV57MmaozurY7hqhl5BuFvXpw9Ds10AJSX8FjbNg55zyrG5Hcgv4KzgTGHNfLNCFy9ur6ryoqH9C0cncSy7wuuaP1gymjnfl7N0W778dTrPz3YjU6COoLt0ENoXE9wQxd+5MYkay+vtF20KX3KAub7k4grXoTZ6wh4E2wrYV7FILetxvvlh/GFH/0LOZh/lYxSYipv9T//OXhHa74f9x2CNuO8sp32RU8h8CLAeilZgdy8GGJf/L9KMZ7bZ395R1QJOP4q4z5NijScxuyCDuGaxEyNtxft96z/zFGQScUvr9ledMdwrtYlQ7MO54d7BSDAbMXmZ0JUeqWtxf8yy/2lfIh2ilMVFTVdqb5SXv9fFtKFsy3scp6HtSN0chORanyX3k8n1vPaVk+IamjK0idbrRvTTWbTw6HLae0k74ZX0/RXC9Q/50zCDCDjZSyAgZEHpWj1wOMTgjGWYqWpIaBccn9vxiIdId7WgTOZJtTihwxcFZU3aoEFEWQgRHi6jz1yMHmh3O7oWnYd35yNfIOyHxw29QR/Q0YHt0TOlDR7gkYKEP99MRU/hCboJwaOEaLKwLAGDBQ0QXPmDcXcDN9efB4NZcLxLg4klERN+vO85q7W0R4SDyMVM0KSrR/XmMl51lqdLqxFx2d+cz8cQs0yr7raRoGDPHPE9g2jJ/LGq8R80Drex3y0/fRudPdJhisdmuB+KljTTHkrGNQU3OwttItd7aJikzInwCtEqokW3EGFztqk+8GQawtDJLYhzIMsc2P+G1BxFAyJE743Xz/1Z4Zg7r8VULGdaL8dgKh0ean4Pvt7Kh10P27eNBHlhdJvP2k5wEYNyjTNwqcB0DUA1YRO8GmZG65KANheK4mUxlvud+HPJIw8ajr9YX/GAtwLjUjelbzIJpNkHHAq1XCyOZ2gWJ9BHA/UKGciIdj1V4VBKit6batqwQcrV1r+SmIu735mgM3bGdBB+OUBUFBhhvZzP1mmrpdD+WNQuVUh8niErHtx9KWHqVDAZVxzSpMyXZHOtp1vzrm99BXP7cSiieZIqXHFGbmcDAn73WxfumN1CnPxNvKYJaJRNPxYscZGfg53cbGraEw+OHRxPqJe67rgbIK5rNqDUoIXUBXmEHCapwCujVfZ1tesFqHvGwiE6T2oYPeO04F5EqN61OPVXn447W605B8tDG1Klbr22ZkrvbN08lL5uJ1qj84P8pa9kO8Sm6K7yXXuAixYf4U3GYDt1VokW456rj5+gUwzLVKETEut74blzhk6YIBc7OTQWo+7IQVyNXfbOzSGExxy+EDTLgUGcgARyJeCEcPeQyyp6imeWTnqXav9PbKusPsnV9k0QA5ejsAQvU4Wiz1FJx8AuCenoMvf3wfrQrgVD2c4lL5txjRnjQSlAq1e+jQnwGrVsFP/xvORXyKLfGdbYJ0aP0I4nCEeFKxc2aegq7qUhgW09fjYXbN2PbzOvIumJNEu5bQC41mbFJRdhdr36tmR/KBDRRv/MxKAcKYcwBo8J3RkEDZuK8LloVLlRAdwhfris0t07Db0puGsXFLiq/8op+e3D01gwwG7LSYJ8Fdudwis82k7qsNPJKBLpMqG1iEqvmExlRbpMF392m/g22brQ88Ue0s/YbGq4oVJ4M+pk1piQ5cjWamwAyNFtNDL2H4H3DsmM88UEk8qwqfOreEoH/o7roQIDP+nRN3cJkwwVhWc84u0Cs7as2EgC4b8LVGifgifTjM0T7NbAOvGBm0pbMU+jXp3YWRietSMeGlJGkeIEt/4LdBBQoT9ZTP98clxgt9NrN7msHOAAgcaWA3c5OLPSPcdQFsK+2oxVms18MLI5Sj/rySrGaFY1+ug9+UDPJ2TycN4Nstjz1wvR8+Ep6rjjHP0Lf8tq2MGElLauKgEURf4sv4eZfDRptX5p+GLMOjQHrWSTF74OR5+56O0nKn56eaIPMy3TnWSiSxDBTkL28CxJYmbB1Nz5xtYtIj3IqbUNtLoputMPtPt8gTOQ/ufZzUGX/ZZLr8G1k2BKJztX95+M+P3+qTyjKHw5KHlgJeOpBsSqWt5VOpS2nabvXmVq/Uc0FO6L+2ZApf7H+xIpVRbwoGZ9jmZbemIe+9JYxBE7XIiIj4c2CSGmUi7XPD8ObHmMklBJAYnEF3NGyDY4A+51dpx52pOR/ZHNmjlFhAfey98C6RHIFphlgbKAYBPz0ksTnMsOTq8zqCV++i+528lcuKzV8vuozVrJORzBH13rbnzSflN9a73LLCY3TZED1sssGZWUap5OICaq6mGvAAFSom6sNZww6gNZwlH32FgGdeDmlvuwmFGwWiWzQFr1r9L6SSSEg40FHMT7DvHEyuaLIx3ZA6/vllhtv+CVLieoHDRlkaYa6r89EtfhVqjEavShZQd78A1mvjpW0okRPwrUlJt4wI/gfcxKJeuPgqcWmVZLUQJmArTz8tA0++gsCm+h7qO7EF+lsSIQel0FFQCaMc2wOGr8s6pt6gP8HRPnPMYdXqFUeHT0ckSD71QsHi77tiSiUSETTYjQP+zg2IQM0uw0nIty7p2nmWker7QoY+CSf3rbLzOEcaDPE+KWsrTMIR4ZrtJRrzyAdPFY6Uz3ZJHl+9rNt9f5I0480771lE2gdPsQObL/JYG4fpowPtUjcveStVUEXPJGZsWnPSurx6Ye8C9DiTHmTkWwxGpMTsXsY6Ohw7/mRlwXHBDaYxehkDyqajAmREVwkOr7+Da+D+eVUuy4fm23Ql6EES0k0lWZZRR5WTwzhFJ+NIzCBxbKYiP2WwHqNBpI6G2YNDQDJfAw96n2JStfZtwRRdz6HMK8lyJ9J2RUnkQOffZvP2j5JcjkhrSyLcxIhUAx9c4nfzq+O4dHJpS3q9Y9s1mlRiyFLKOPwnOTDEzE7Mn0XKqK5Xs+sOvspt9RbEDUH9B4Qo4RApfpyG4Nc6OH8+zs/vKqhDyYiHJKzZy83ajBypOFvzqWjK7BWqeX8VjTq+/34uTGMCSMRlCcFUW9n4W4CXpHpaChBCKxcBJDCP7FvS7Wdr22R69yP/82hvYaWwJEd8cl5bNWtfhVRzzctvLI5UzeNXFy3G8dSN9Ghl9nTGYyK5f/J6AlzyNEPLR2SiWRHAHhuyBETu3XZb4iFxN76PsSB4nEwQdAlAuHkCRCMGYa1sxSHCy0XVgjtGJvRo9HA9MiGTW46jLmLP6nxbRAYU7Q4UVQPXf45zGoJy18xTTMfnolOwjO/04EBnMTDbIaTsf6gQIY9NV6N3tf9310AoRnKuFSobva1btRFZZ2jsjEhhFIKCRFef3IElJ4Ukgl4ljW7obF/k1TMjO1gmOwUnb5qBvh+9P5fbl1UjQELLkYc4kEbV70rDXmyylVxz/mHiT0J3RvaJG/6LUsMdFI9vKqHRy07CneU2tPLY9wS1Zq1qBmHMNZGtHh3pY1pmQQ/oMLs55A4p6k0wWMA9Eq/vwjyesyzqcFNtDhI5h/rU02GITSi/bICNBBxEBdoCMAOtcZK7wZokFlRCj45yKqgWSfgaMIzGxUh0y0fd7uzW72PNaSqeCazdWWpTGsW3+1FT/wR/2OqPBThIdb5rZGY/HAfM73LWA4Lzdl7xbyXmb0QysqGLgSmq0y3hdJstlcXvWqX0QG9ZbouriFOvXuaW+nE4EL+BF8ahv8jKMTpBd7EJCdc1JRhbzRYXLHUq4R5+aoL3qyLxMBc41Uy0fylgdaoTLicoDPxT/ddn070iEmzlkWXoefSugbmeymRPUX23vxsxTWljDqHfhaDLdYKsgVcWTA0RbwPb0hFZphf842e5wOX5dhDv72fVL8yecbFoZOvenHgbeLBat4mi/o7h0skRlOofZ1aMxN0dhvn1sEToKZbZmDHU9bF1H2hjDlNHPbytJIMwlblgn9npZstDqdxTJ4pDByDuSdtFl/NHHsAlF3gfRqkwZdMJScjWguNGl0rLTDGa0KwDrYowanqvtZthPqNDGVwZKnWNk47fYCmh4Jw+s+fioLOfNApcelQ+ZElb6cZalgkW7hXngjHxdUpkooWMt1k1if3bzyd2WX4ddHIHpc4mLhsbIDn6zkf3zFj/kWnmNBBgLAcXAc+hadzK7yM4SVuoPH0wSrRSHqCPl98tiBZjsmahye0mY2PWaZcmQBr1xBUD/rU0kWx4cSyqtSLpciEgKesLVi9PkJiLn67rdtndTlmXDzpW9Mh6cua1f3fWQQ9RN31r6txsR1XXFlbGpaMeGbO0jzufk5hKTJZcTL5IfXCY+D7lDTVcAVzxSTiHefzZvcD5hN6AUApWzGTB2jtgSdqGQTvuEyTnkWLvUGaNTka0kVCXJAQXcP3vPTtidGgL9UDBi8BL9UQ9m0RADB47L4Hza0Vju80A6oulNjkvoODzT3TmMlEEetDVLXnCTzh5cUXVPIDNJMlP+gQZ7LVt+vk+soiRBZtI2NUPLiCg6Sunt4iCPDX4mb6sg/d4CmkDJ0IrLb/R5dB6QtAB6+kUtQdkgPeT2i4kcorUNt6CBVejqRCqf1Xex1h3aW/LBdDghjauueCnrQ2PzXj/EhwvW7ilx4W3iztXpiih5+tp5srzcQ2nMRcMJqY2PgYSALy9Hu719egFz/qsD8mnMNe1MA6OX+xsQ4R8tYxDg8W/SiNJotq9UeV1gb3I4Obs+t5fCAId8fGYOFxWBc4I3DpGuC4U+8hgeFYrZWoHLDB78WnYYd3bsKG3c909gCyONeLygi0VluiK/0xZJ3oTtIbWQwkEWqiTLFETK2W4lLm2A/fqFblmk/SWGBH/B3nHQMlg/Igv7j/jCxwEkhVJgZu2+fbv0+w3TYKAaJqRs3u/1kxLr44fofly3nQFMquMdc+2rtk8Jix4BbTcZKECuhDAhp8+LvUNBYIdWVs71P3XQ/Fi3bCTQGiRHLpKM5hoaeP2oK4z70LRuVwS04z/4wRBSkHaDMRa6QWuNBGrm1nhHVzQXaMsLZ9mlvZVTYhWLRi9XcRxiyEvjbvYZuTbw8F1uR+n5Rk4PMSip/CmSehU1auo79QwT2fVWURBgakvj7RDFAHq2xuHBVa9o3epDVp76428AdqUWez/b8i2ii4UeY7zIM/78RqDf0XjSnHKD3jMwg+0JfplVIgYEVL1S2t2X1QOKsdXKC/S6JnwFTt1zyC0lrh0fL1jTr3mHVx0TwRpkgx6Bf5O8Rl7W9dfMOTd7SPsL+vlrBV16iEvN1B8z4hiJERzEGyOPUvGVaUrFwePJPPQm1t6y4Sdoe5YDFJFBCl5ZgQY0DFt8+iHsNBmy48h7Tqo7Suk0BcnO5tpNdt/OgVd/4cspglj/J0y8P/FfUIuACSAZq/kTxb4PSMz5ekk9GNZeeIpCPoyxLtSWCb/th3JJcNvwyHffGtd0qQTWBbeOYgcsbRujSrzbkyhTRTrbSy3IjUKRqZzrJEFmxRTH309noM5gSPFiCEfPjkIlmcd1LRZ5cVi9LyGQRCKtEJQi5FTQ3aYJY9E/9KH4XmSipenUmyLSgVRl6Aj0aBj9TzWfo2ILJccuywbA0Y6wnsKrKgwl6hYpcRPXsdm/F1pT7UlVZYzQoEy5gVXzrLuVEWLRXYBHdiz/X5HdjDk/r5j7txLMNNCpcPFeSHvtv4ILqB3OOGR2kAATYZzvSIRoTIrkgac8lRgfOq5ON1JP85g+RDmYmT8gJyaAHg53gWMuTH0QMpPEZU1NoEC8kEZygLBDwru0GdBp6wZjlpmnHwR8cHBujG8BkzThrxPaUOsA/o1BvmNYopZOEHJNWvHAbmgW66ytvwGFv0qJkmaVtVjPo9zpJ0pLaF/qqlUWVyZflUbQzeHfDF3ECuaQOysikTquKamP3hUzVTTdZhZsA7I4h/y6xqMb4ChKOfHW1xzAJ/9Tj+k04adgyfKhBk165Cb1tHVxa+PEVoxkIEHCZzCym1lCiibGo0DEpW7+U2FPYiozPcYMVLWaupFe+QKoHiem+EIkbaVWTyeYLBNzTs6AwrBV196Dy+W23g51WpDHKRMi2X28ihG2v8l4EYRcqKdQM9GW/1lS7qqv+Kp97/rvkXIS8mKBHi65+m0dBYlXsyB7vx1skiWFGStpG2duG+On6wX83CFHnqeES3Qj/KmwnZC1PwEOdv+Bc8Z0/aJsqyUl82+m5nEk0onfo5k6/2hb3LUCcr0AIoPGl0MBFaD8+kAp24vlUBgCYNj9UMd6UsyTmVILw/k6Rr0ffl1ES3X08KRXiLvS8iqCUc0jztM2L4DVcefVvbWGXEsypyPc3ucT7qHZVmI8VjlH0ATbak0mkWYphFqSU2jr4HQwl1csQrnFagnee5PkTY/XOvx7hyDC1LN9eKLrB9lXmbkkYmFkHY254TUGy9+yfGsqjAguJQ4Sqre+ITg5ODwYqwTQmeoYjsvANkF6bwGd1LI/BHz5uPFM4Z+Zn+nbVqNWeObrDsnxR3drBRsEQAp5eV6amRJcS14MUk8YhxwsJV7fsMcxkB87nuZZYSvzQPHzmAlx6qBgKTlabvC4kHNlgdTShAXjMZby1Nv1B6BCbqtzrrU0ZOsOyph5L3vFNrbqlu9GoeO76yq6cOm9GK8cmT+Lg7k0INSUdLUgZbTjBe0EuwCVDTb5SPWCPHbAM59X76sewUQA4qrz1nkMQr+GMl/cyJCwJxf8PwQ3wLIQESQipH1BMO0eJiqviLHrvV13Wfb+jZ5fZ46jdjfl+s0nP0LWguTUy7SF4F6W2TDlzJW6F/DxpCuFwTqTAMtMlgN1nOT33RkjcbewZVGudyhWAW96ZShML9HDNBf/jZMc8O679Rh+hySU7r1IZEIuiYV595C4PsQH1tU26vHOc2G8SgIs1T4Z2IvfVnnn620fsAqeIt8lgb9rUx2V7xF2dFWGZx0GY5/TLkffD/5bemUpynoLqdIGOYXC06+GvQeFU+iQWIIq32OcWOheofLfDkWLzmeKLFLtwIRwY3dNS/7f/72HJ+Vi6V3KI1Ab+LJUYFftOQ8s52aYEJTsbxkAk0BF2no1t9MMVvWCVTKpndvj4ubQylzRIwVBuixw6dc5kHNgR9x7UFhsPxLkTRNyFzJsj2E6bzcq9dxKRiXDhA3WhPjlNTqp8JyP0S07Sfgc6tyaH8vCX7OqC26XzYVi1eXdbRd3bKEyt3fFVhMfvB0JhGSFC+I5Ybza5oX6MqhQJ3jL2RIEfi2XGTisJfmvo6EPrqJjuBglPttLTLmCmK3iD6nyxikaIWxflq8T2tzxAMBO+4zJ5JCyu+0H/0QDECiJweQ2DcsrlpNvXz+OCABpL7kQeAF7tQkijNs3lF0o8560lQ4NjgLWxh8W7U0g8VOcnRMgwjiE87Iz0asQi8OGXx5PLTQpTuZWylgS/cMroxPE+j1z/33pRcKm1H8Nt8LPolz3eYexzNGWIUF164KDovyu0+9TllFbl/nlS6l16bPlhapYOIspsgjl1Cr6EjcyVGO0nKuHZ2GpouGxzEUZqihGewpE4fHIgyUJSlqh7uMhCnPv/R8WY1OwVec4SIS8VuFar3fj2yFO+dvuE2GDa/UJjRouXJguefUKMlLHJBoM2UqzgzpXJLKVa9bJYNn1t7gJW7c5yu07bpwwrC5oqDTM4LormYrnolgploOvY9YEHJJAvgTnXC/MtbTk3eL7XFRGMcC0Z79ToVBX6r9SHx0U63HObVCdOA/NO49jnmAsYIRnIWRJWv9GjtYGieiHApxWr0GAYITaJG9JzlAHwB32qssG7bs/WabChaJYM8VdPEGwy7rN5iqN6mTPirBnXH/tqeqBegalocARn/zGsO6b436odV1m+UiyrDPw2zJbL7/wtQ4VxrRybE5/Ujhzf88/OnsTn4we0omMn6aG8dBEax9Gr/E5sobb2tglVAo3PZGr6cpJFQfrHISz1lBKpxcjoe/X37yx7z+QKq6Z8Ac+K+YwhVxMyxQnJUkqca1v41yA+vh7WCIR6y5lVykp7mlf/G9llKsdviEyQ96sZ08gh6mrhgeWWXG2NblEV4L5BbLz8cPGc1AXxC6DZESvu5m8VCtHr20cjQjjzQ1htnN23y2FAFhRDkhUEdzG77hoAxFF3r8HrxMJAAmd0CiABMKQIXv55APiULAZPhNfAmPro3Yz4S++bdNtABmaiFDYIcqjMI9HittfNu1mXzvxgqFSb5MSDo9DpFVP2akgb/Qd4OA/8rntJwCXwnUXUq8cSjcnXaN93JZuQC6cxROuKaOJEnwqpezY8AAbF23xj2KI6GXRKSJnzopkbSmUSVSqR0HBqeKOD0oRB6vjp0QpKUTxRJWbfgdUWAQR8RFQNlUOOyScu8LLOOsMVpnPRI5PSTV47AOhWhIiVJOmYOxuXOef2fLAJKh+AUGyN5l+NK7EPRpEE/k3DOid7OLEyDlxNgd20d2+/D2j5ngzfQGTReVC9K5SnQiVSXiaB770lgpwS6fKG9628lC8kqkc962/CpSkwiWGkCMJK5eJ/oJ165od9KaK3Vbx6b5LFGTkwvOUGblME7MmSd6+vhQ/vUVeAPuqqix2gbC16H937bSlQaSIq55GoIaYbJQuBO2vHiieY+1PuymmGg/t+NQG+ucDyv/Et6CBiLcRK/tOYZGg3paPQorAaau8iVXb4AXf/TzzOOeT+Bwoc7jl1i0V57MZM0RnwByfFKvZHw+FPjtGaIW/I37lNofGMwixytp6XjtykKFKGmDc7CAn/faFpAmCrLoHP65lg054gRtzEKuiuQk37hSU77RhT0Oe+J8/VAyvYillPRQze0rrveqK5WLEXGUKlt00PvOyZVSUaZAGzPXimLqnk29nJ57oueGYmcZFDF4Wd7Y7CeBFwQwbPbhDN7IP1IkWsFgay+hqM848sAKy1vNNWjnWSpFXMsY6sJkdvQIAAh40oo5x/Oj/jqmOav+0yyJZfRj4Su/8ZaErQmhVobW+fAi86FM1dBBozDuos+/VPPI++a24TMIzDg+4E7h5b/yHWV+bUYhavwT6f9unynjKrTOXf/dy3j4u9VFikLJ35vLWL9cfq7cynH1tORoBaU2xgxL4ZyufcLc5HvfVdtRzTAM9HgHd2Y00vnIfD5M2hw+dmrB5bxMEebkekc3MyH4D23OzxAYe57DfS3xlHY3ZpucqCyti29pTr8QNzsbCM/EuGSMwGyQsBTCWKryHMzCiZQdseP6+zrw+qyN8R98dS6NrIwvYnAztXkkzjU/Lkgb0ganesYtNPjuWoL4H8MZU0s3y5iQ/rjdlXWzRtEMuR7AJm7XBAOsY92CZe7GWkiBTg3nl1LGV420N21Gzx6YAY5QnC8ySfWF7zjD8qFMpOfBFMLBvhnfc8LBi/G/orRI8W3pQxeTQSzj/Y9sH+nXZs/h30SzNOgSqLNe9BH5n2i5IcR0IkybttA4PRnndWB8kX0qw+msUXHjAqOiSbjk7WnDt1jULL80qlangpnj2U8bJteg7L2MwGjtcgPNuObsQA1OwRxFAyetTMeMAyoh06iVmb8vrP0ME61jn9MsES54QlMAkAdNwRyMpl0YWl9yWsnT75VpWa8kUCPHcE/+msIoewtt/jyzQ+VvlV5SpW2z6DrjRkzIOT9TTHDER25dgye1PpjZL40+BJ+8HjUP7iMDJ0GMTq80PVqA2EYhaDYVmTB/zNMJWMTNQRRrHk3AeSVbOmXK/HUsrD4hCg2eNnJyh7Y3jJoRlo01qiXzxVge/9M7Ao9onlxu129C4MMOK6LMJC/z2sF4cw/w1On7b/BIy4EiEiGuQ3hdxasav5sCu8Tx5w9MKeca4ADyufk69QTTxdtHRCC3oD1tvzGEOrK8I/nN3eSSNQ39jmI0b/fLp63JbCwtfOGxjmYCcTBy+yae5PgBpkSYkT3nt6gXk7pSUik/8VaFWfkgKxtQPXWRcoy0xMH2TSg5gfGU635XZPIl7YKD/7e+DQg+fo7CygcpJqz77I5SO+ET6rVQq/Sj0kLsFhNeNobX2l6e/NFlyVGKh/d/lBOPdpy4a4ROfOi+UtgmN52FxZIP4JSvQI9stH/FFr5qFZNsEDY2OgqLEHOLwhhKIyQIabJ9VZq7h0G/c6LZJ1m8zh7wFaTyRUQ4ezBhPk3qxoAPAb+OyP7ZwJ2cF2pYNQfXImLBgStzUvcWABFpWqBqSe3QuMSaCqHZ2VG53jNjXKueapjNRHCHZ+IJsI/GUIkn/A3OMEbDfIgC3oPgurFRzG1Y2P3mt0dZExlJg5FPTRBR+p9Rx5QAfsOw/NCkoegKbzfBBLN85DCwa0J4wFLCZlkesrLnWF1zDLNkZ/5k7Bp6Md48D1u+BXK9XZgywyJS6qcuzExlfXw5L21neTXNoe8E8ynLIm+SFS/oai9rFym5JWq2MH7FYCr/sQvCqO6/266UyNXzPJv1AEVFH2ch665MU36vqxVkXPpLSsEhkja8DLHUidvwnewuJT9I8N347FInY9pbJJNua6pyfZZNg2rUBklYi+aRuf7mPU8JgXYNfcGBpLw4H7rWpY6ss9xW60yRr6ye0A5gH1LhA2+Va16XuJR1i8wQkRCY8Nq39UAYDUxvtXR+N+NXaTt1WPKL7zfaPBIm7+QjCmjTW0Au6YT/rAlmZRcyQFD33Ny896wNL9gJtWFdpNdvWdiZHfrkRGAU/893vabfEzQQyobxXP8EY1IGrgo+zP88BlatDwjSXlYDEVPEz1VJy3b8tVERaChpS/JRT7tp56s5jx6DQWc06raZH6tKV0ne1+tujvWa2F4FLg41pory3iFpMjnCwVv+CmXqUd9wwnlOauag0+3G7hdWzz2OFhTvtagOVSaKScQnfpf70tgHA5FkHlDVX86fJpTHIYhiCOz1eg1WX6C3KbJ6pDPRSzTViSuhgnG9UVpmmMz5lr4NoMoHAK1Q3Xs1xotiDuyZTZ0oPPqxBC/rkipPKm+RJxPpS8egkxAk3oQWKtMZTyn7UgZNG1vOKz0sukrVLHugTUc1ik/TekggT46O+nDDdyEBLol9G8wO7dZTWFmZLvLWWH4qviJNPS0dL7nCGugN2qOVRcisx96dCbAzSOMkEAogkAa4UhNKnNOn6ce+YGYxONU7qcuAJ0JlvnR0dD+3Yzq6cPUMG+dKdhC81fNZm1Td112X5wSjBRFO/UXDN9FXBXZ4FKa6TU3K1ZCtDKgZwCzdrNm6eENP39X0EAUpjMoRO8XvB1WgFRiK1eJvNDa7yxDMrOwT5TnuwtpGvOHEBRSc1qaKJHrog41uou0Ci28NFs4bKwfHSBdSG5JiTWTuh3srrVuNL1hxJ4dr6jhqSfpAddA2HUbFDOxIA3tHSKgzTT4316wgZz2fC4EsqmNjfq0HcDoy1VTGealAYcbNDTvZhtMpY5iCUKFOJKDSH/FXNVFN7nyaabODP30WLonByqApJJo/3THQndF/Pe/ioO5nAdHcu03pmBXR+fEItDfZAhTOsCu65CpfUcKsFeqylEjPS9pF9j2tIKehRiPpFmkbUg+YRghEotp7pVZdCHQ7uCO0GQ/HSJ9RMJ8FhKrPlPdUYSUC4PbI+j2A9wAKrBF8tgfTRRcNrnY9M75c0B1jXSziCdoi7J19rLNqqUgSuN8SWMzP7zeTnlhEQT9sGfgFQocN5oIiJtYWyhs1fmausw5KWdeLj2GnaqZfP+tI8tTGT5VFI7gk+Br0Y9Tdlp4tg0jEGQRdnDLrny7S8cyX0U6N7GS5XHXzduPSCPdIkjq2stCNIBgXAUKVyGfHhsf0PkXjvZ2/u/kbp8WCArDFW5h9XOck78Pe7+gtio8F5FdsC0nsT1RQNKRkM+RCDq+pljGTNdK9WcW2Jku0/Xby+s80bcxtVQyeUyFtpqSLs73RVL473+8KxCtJq49EiHZqJ5+G7oCgp1uKSQ4V0PXLAeNDPyqpKK6p4RLTO6m57Q0o+2w/NRd93nzZopjOeEr6MdXkoTKef6WFwZmnFJYO3kfrq3jdrt5JF7O195MU+uqhKVqIlTriwK4rxETduLicLKArRTAgiqJIe9CAmih5CZZ4q3Cy3wbg4/vZ1N6Z4lMbq5M/krp97Bp64XdVyRo2pgqIpIpBEmYv0DfHf2c1DIhO62hLeRSjxys5/yGXjljNNJ++LS7yUUNTfOtb+v/sIpdS1Oc2TUSedEZWubnxPDmqSy5N4H0GSOsCHi+SVEnklMkIKRRtg1yB/9nHTn48DGBq44k/dPdNNbyY9ZWnajb1wKwlofseqHINS7KRAFjn6W10f4wYU0tklXT5iy0QDFktTx5mumsIZAFETzLjy2G8CnM8gZpnrcL2XKjNhkHxwFrC5CByaYNICAH64nDfYCtWRIXeqqWppXL3g4TQMhlTtCF/6YabhqP9gcC3Mww1C/UfVJgzpVflJcEXi71VznCsmS+zZomyiGOKGYuU05u0VYY6C6VofoPtDANNG+aaqrUU+GPkc544iKwi0TMsjVCH8EmwPpyzyjdZUybciISQv/j+lKUCMWNarOFrxG/n+cZHTmZRcJF50H6GAbdRCfDGed8eKKc7rnQstrHZMghlBVuevgh+HtaWrOa+QPCTaXW0nsWRSfoIF24HPmCWdc5Oa5hmJMjRTcpXNQJ41QC/x1850y5d+5cIV77lRADFGBZka6fbIbrtU/2mWLDmixXjts2Lum6pG7T+BwcM+CspY1JdPdCmiJc11uCm0XCLaMi8kwbL4xMKlHCrKhARRh79AevajfFiA+pJ3/aiKHwu9PK2XuZOyqhXizURWsm0fqQZ/efGNNZtpe7/UPLGq/zyB8ZViBR7nliBl7IpraShrAY5/hjrHgnBlZGwfU5H5dtvofq+VkHmsx9kFCRzTqH4N2GeCj4c0EMyn0ikimD1vEFdI5vqV2vKxKmzdIeUKDk/OSUX26EuL1euGFFMf8NTkHEdj7CnIFprfGFDKwDmP1wnG4pn9vNniCZqTPAyWuW+RMPKQp4+hK/El3l6DETqaPge0CFeVMnazMykSxVxVDUuROpGGP8QMdFcUW3IBrQ7HGdlSbmKwi2YqDqGLmsQLuvAdPwQs80fuv2YuKDTHgH0+30iuis3zxMNN6nY/kr8qtLVZ4acAMR7EcRUw1ozKI+x//vi7mY87EpSWssxkfjkqsAIbOtAEobriPdyiuKyUIqjHwPzAV+gkEI1XPaP8QkKfu45WqZ58wrbmP7JWhng4V+KdkZ8d1J8cecA2LjL5KE0a8YRHCDz+p873ZFQ3MYdAWnVAhwiHlT3cd75UuTW0Y9NXJqWok+aKA554AtldcoR7zMKniM9GeUGSxC7TXviXTsnPJVbwM/UQleMWFc/QMEjxxXwHVi1Z5a0Khym1f9L8AZT5od922qYXOr3WRU+cLP060bpfE6088IgHlI6hKsUfzxzsIgtOiFnR8zrMQ157pxr7XXxc5/pprsXcgxRls5Hw+PH5NX155p+gJr5kbh0o+fWwsDPpUDq6wwzyPySbMO++JGuobrTZe/k7qXwlKL8mfkZpU1BoeBm0K8kFMCxTHbWxIxvGg9a2vSeI/jDx0TUKJwbJ0AFWDsIyLS4E/6v2CRurWMUk3+oCPQRrjpJFteJ7OO5O07o379+wW1uzgDoqyZUuGu8bwY/euNllUvT+XuvznzLHAw0xDoN0K09dkt6vpZf721H9YytlC2UWW7BsmVEkS6MK2FyFuQpcS0cac8L4eq+D2ASbKzf3212v8hjxxnLEPnRD8tYwnsF8QbwwWJOGasM9d0sUes2qTzelsvNcc7PqPOOzYx0eQShCKYkt+KGMCft4exvQbc8+LzLHeaJegMp1aewZxC3ynIiPIx+yUY6CVHuUKqnz6Kc+G+J1M3rg7RjI/nLcG+tgoVW3S+yyx7gnop1Q83/qKCvoP+QgzKqaKSy3Y9NH4fu2TVsiRITiUYe9stBNNyibF0dzxa0QkuSH2EkAI/q8cGD0NFOPMSGl2faUdYANLSEYt1tNPFq4rmPZ8sT3ysOxO+tz8gpD0uurPXf9m4VBf3KOTV/M5R2vgUS+f4LZ+uECFtfpzW53sWQ1psAfgNI8pQSi97iqiHMfKfsjkUVd2YfEbUnlkOOzL4/a240JR++YFw7Ao/XKVuz9eNnDs7lnofp+hi0cKqOuwqrM4rpC4BRDiQxxnJDyAgd9J03P02uoH8LxDpSaCm7Jq7ZHAuSRQgvoHW2Pb+wSPUx5LVPXs+6fyPcpz3XbbIGDvQ2U91EaVX/+UOdmrEEKvVb3YnZUkUFZkd7b5/Uf33CyZ4kEuoBH+OTyv1aHGgQK+5MzcI+wV4PeE+Wrr0Sx7MBI0G9DBQDkTK472hgXw/yvso+vAMfNGIq5IIa6JeoG+UDfnsCALGervA3QF4xci8j5P36q7acN9sOP6cOTWVkqACzNSY33C+YeDmN0J3OWjhWDPFS84qfOQyS+JMliH3U9jGDzDnQZ1syfKN9h0uhkmqsdr7FYIQYVGGV6zpfQ1YJu792lj+hAgc9CUDL3r26SVjxoSb+iGCwCJ7UPu3FlB4opY6ojR1sO1Ru01aS6uWlBzxZIb/CJ1949+WqnW3ihmSaiFGcvnmd/Ry0Rqvn8WXqUfpegX0EPN3Sfqe/BgO08MjSRwSAh1WxxNkaw9bmsKWDBS7TQIIpjR94Skw46sGk+GXBkq0WMtfZUNwlOOwpHHdqBtb2G+M4lGc4cYO1wQQMfjIRmkqmZiBpX/DT0H2RUZCUsyi0GLSO6LpvbuiJAPzJWjl67YqYuMUfqlK0KX9Q0rnNCELL/igXHBWQC0R795tdBY7rf3Z0Xc4/c88FkRsZZbfMMCgEmOhcWBOJG5NM+rEEI2k+oiV9ESj090kr7Z+k11UTQmDjqQY7izs+dqw24Um8edR/AiUkAvUk8CCgOH06tZCBdx2R45+3U4zlV2o2JZTqyvGNSzr3yV6CtPs6YdiOurg0OUYR4uXY8yETJKHbFKqx8YeccVxAWJgIJMZ7CpAXuTyF7jMtM/8xbNVChDioMJYg3sIhkRGi04MWkkc+TwxuyMdEUEjVe8GXBUVBC7R443JAY8GK2ikizr+OhD7VTeBgGPNbFIfJbSojWem52eFY2NRh6AX+dn"/>
  <p:tag name="MEKKOXML12" val="0K+lPYsFiEMQT9MPskVd1InkfX21yeCL9invQKHRlaT/mEG9cXhWT4Ds3Knqq/vUBZsxJ8kPyiHgNhf0TgnUCDK74PkoYNh8sIbXsyacA7b1nuiGqYi+oYFk3PVeEcFy1eQ+zUMCeCnC8CsymmbRmZUCCaYMwzLFi0H7AtKqY9KKfWI6oKd+2xcuL2FbNm9sC0DJ8nRx3q3aXVZLj996xejKj2YXv2GC1PUvrMziU6Owij7sCn5fDxaq6QrCezyV0nnJF1iQ89iy/hDWI6HNO14sPZaKm/fr4DrGZwm5j8eLxKZRZ2az3l93qat4Lw68MoxqV7zG4osSPd3DrMTTSQRojrxjgII/Q7t2T8bpfNqXlORcJSQ6Tt8bucThG+RXvjgaY5CQmkQSjIQTaE1SKYuhdS7uMKN8V1lJEPG7SqOQYGi8zrYnd1R9l/yQ7gt7vZMS3TWnjoN6sXlj7K/k/VMD/hQfTqIvVyi3CiD9O2Csm8/D8fxxEPAvOB0gZ1ze65XgrAN18xjipolv2yVgDd17Xp78cmNUavrIBIzElYDPnr2uFZ8z/Bb0SK21UFQCVlePT4hG3/LPKbglmguWmEmoPlgJgZBVDE1UfP1EVKPzAxppmOOIjxxVr2gzxQivZM7x496760mvGfIRqvQnnjhM/wCXJPUjI7dIS9W5MDxVNj5xt9URbf34IOMR0ENfq3gVtNIZox9NL3oEHg43oNzNyc6wtlqpOYcHyzHam2GNr4UbncAksiFqiBtWA58mn5R7DxQtsKq3moQWfhBgod/5lbyXbEavadTvSaGlc+52YPmbzohGuRN31NfX29/x2J4aecbfw+HRqVM5bSKQGCIK7zhN9ipBMLRrEN00EWsJrRqvnu12hpufHnp4kPsVADGEsaVHOqLK0wG0YOmnfKQL+wzaP1Vdr5uCl5b+veuPKQXBG5+qsFa8MAphREf/s7A7UckSdrHhDdFbsBbbsn++UzFcg+IOphp+89UpX48Zu3iDG0aSfE062LEHeCbMB8kKkEZpR8LJm/UBFt7WITC9kXNJ3DkFC3muI/6f6h79quN1fkkpP9sU+9j1CupSn/ZqYnlADWChpQPmh6BrAopH//24TwHtzz75pgWV7ygdtTmBEmRwFWwEvCT4lgDIvBaZgti9LPKsMfuAJaVhO+nSoLWe7WkOxAQ6GYUguIdGhG2pet8hYfCqDnbSjccbRE5q2W4sptJj9dNF7geha9jZay7CMX0GK3sxSDpSQMziDo0uc6ZOyipe6LayvRwqIBZulJCZn7weHnInfPD4Ij8D/KWQtj1HhF0x+Cu/rsrs9mfmXzlDm8i+Z0sU+336HdVxqMs3IhdsrbyGZz5/fEHmkJ7XJKijm4P6qrWI9hkrfxIBniTfK27G/lTouXEH77vC0vD7WwJ9mUODsSlIIlnizMYwSqzOktgUWMzi/WdSxjxAH9f7y0lTLvZwyhZLeZ2YSsCsQTzO/LxhSCcNM6LrnuaywmESClMFka6F2VKoprrGxySlRb0x1KKfhcXZZwp7rX6xuXjbPdNfSBJ/z+qmdBzgD7PcfTieE4FX+h0+DUdHG5MMWY8UyJo8jpwY1YOWOhUEwfrcq7ueSZOTMAKT2iNjDFhE2YcRV9fRKTdBB3GnkP5rYNHdueJ/afvGpuuotMAnf+qFR2UYRjLrmGro8eWaRM86L7GEzDsYDm4KIl3E3AunYyTa2kITamLG0mlnaQBZ5jk5IapRhzLfjWAv/m169lii+fBPqAHV2kTRvlxeglAHWr0LDB2638KN/Hswv/R5AXRsDL6TxBW7dmeDsLiVLmhfI4E5UApDbSCSxkq3nUVOYq7KXVMiXqeuYtUHXX5sKu9IpZbV9yg/TjP4034nD2RBBBDCYD+Dym3gZvkc5j8IY4XcKQTZr1LOCch4QGwlJLQXNSTBq3+TqNB3y5A2Mrb9RP3g7v2NJsq/WLAvEWICXJ6IrmCRlrqT3owfplYF4Pr4U6s+OeUGfU9ui2ez+e4hVvOqkSzk/mHSDBG4Z3iEcoiWdJ+gc1ETNCivKTREQeTk6daiy95zF9uKv/UwPXdwsoLm8zhN+X84EqaKHiwqsECIw8xFueLMG3hb/eDvSSK1jiYPUwY3Ye381hgOyUf6C9rCXTr7+sWDfQTArD1J4wjNwZlcN2HYMM5g4hnVs/MpSONjDrPTY9red8BZOZRQMPeUKzBibBOdzxxSot2zwLLoMoGwqx+x/Vhyc41Fpm/AD8BJFdefFgowTQiIPnhv5Kx8uW2Rsa4FTuyoBP1YSA688XwGax/Z4oMLT+j158+iGOL7VnFFXpQAFvsgbaNVWpo7wOLjGu1RFj7WVdtFQkzl0uGbIcYrn4jP0IdD41wDSzYYG/GJ7ZWP6S6sBNjYOnlkBilfqH4BcuAf4SNhKTlI6Yi9oyzuLilWhPbIP1h7A+my8Z0pHx73eX4R6DnABNjNCS4GUwtx2GMysDtBcFtZ1iVBmMkgz1F70p9TdRAa5/W+85XmW/HB9VCX4jliCN8eNXD+YgmI4U6j7oJmc03KRaTEFgScjXzqzAQ+gYUjl/Q9RRf/rpEeM3X5GJdyiZJplwxEORqJkKPcKV3Je7OLeHl953IN9JuXZyQHKLj3NBJEEMbgbA0/x1G2BD6gKACSk0zrMPFB+YkTqiCSRNJbtFlLSrFM0Ttok3oMkgORM4Q8USx8FEHszPm0SR6M6D7ISyYIOGMxULMcC8fQ1hwm4biadWxjby5d9wbIzauO3H61JX3oUqvLTP+U0YQBT01DpWrp2UDt1dgM8I21huU3TkygUrKEwHw/zqJXgpfLDf0r21g7JNt53f4mlqHQ0Pr66/v4vL/EDmi6i1TwuOwZM6hSLbDB4BpjX/d1oIsu2+0By/aa8h8XpiXiQ5/ADqCi88xuGGC3GD85KEZKHjeub1fx3y4LRsKLA3zUcdYnacnEhyNTfOItTdGVCmz7pr/6aWlZu5vJ397W1DC2CgxRvZZoC7UzZNx2em9CDRQ6KnpCoxhCjeCSRDOr/8cW5+AY5kJ8RdqMpABNxqTgQTC804f8jwIRhG49g8H1vw5LW6vWcebRGXP3d3olAq+4ICnwrFEBRuDM30XOc6hD1SaJGuN4hBx9cwKlEBrsLF6uTMTH/mFQwV0Nl5ipkKxce4Dh1YSdQM0uEwL9FHkE0qdTssUwCDR4LooMgTPSU2jNtIm8lZAb4Ubm028Gre2hJNh1Y+TvKF1eVQ9DQO/BDJMO1z+Il7ihufnffm0dAjDkgiaO9N8Uq1pP8hHL1aUVoraTJ5B8OK8dUmxosGYLvXoNhtzwbVd0sPZzIilIrLfvTji71wSgZpS9VQInIbVj9RIvTc99hDgjxkWCd1hlHvVbH+scBL9wo2bWEVVSAxGtFwrvC0P5QkGYZWPe+gRqU0H7RxOfofGcUTpU0Tv8CXg2nS8JQWX1MYHVjIde+Q3f7wyC6WjvBNGELXjI231Yvqt6qTo4t7ylAjSvXwZ+LaPrIwvOegkZ8+qKld0tvEeTH9tm4P+Va8mA9bFOSf6vdl0S+zy0jjNIulYmkMWBtVy1uFRzinWUWyNaeUgocpo9I6w8B7QZrta7MwophbRczusvqeGT1GPW4NQM/0FtWg0+Ih2nJu1+OGTIiTR4NzLV+vve9ri96xX1wMtjE7K59yVpemE7lPN8+bIX7OeOiY+WIqTil3St+b4m+Upk7qkQOR0q+rQY/IYFUv4O3m0jgrY4wb2mEe53tYOrFkX/Qrg3oSmzFUu+uTemw2E5a6WqtKuYowFga5lR8j371aVoHy608vYbfKfrEAe8oRfRS5VSWgBEZ9WmT4plJCEGiS37IeJDeLFRIOLhb6aRItaLBnrNz9ccBE44jK3CjJ3J5kSkGGVwGyAA91gDFPbHTa7qkx8Dzi4DRXgDgXnW8ZK+9Y0D8v/6KNYh8ch8BtOFfNMQfLCaU+PNfQq4mg5ZZ4dgASnBWeiLmYVrt5Pwe4oxsTOlV6iB2ozzJpC6smozl99yYdrtztVWWfNBc8GVkAE8DZhUwh+hvlYF2uD6TVHPKvfbVEDXPubWAg9en3vGsKNMBTSvXZsSsybne9aukTxeC+MNcSxRON7dE/p/pTgEngeCtJDXPXin+c3WGaEvYSmySNeodBtConNPbPxMY6rhmZ8ezpqmQ/UoxetTKLQ4e3lVFCWeUdwXpyjfdRvsn0V4TWBDTMXslcZjdsXGLSecau66hEHs7StdHSWVX9rIlJBGwsB6nGxu8S1iUnWayCmsT2rkKzKRh8AiRbXMQixC7f0T9v6iXZNq+POVttzE/+VlzlT7D79+nKD4Uh8stoeO6r/8GejzcHNNy1oB9gb/ik9ImWv2o8q4U1OFGL3mi/8WNxzQFtWuDHNpedoZc7zAGrmISW5g5BVO6AtS56Hl36XPQHnY3Y+GHv9/Y6mtF9ZHVpAvsJrQgKDZp2eZslMOVZ6afMiWDsnHDVWfwX/8VWufeE1vsqWLKkuPltFaqihg9vqWesLFIsVu9AghHNESLO1RxkH8S8QZZswDT883GusW0wEpG+rNJd/NfRKHtIi5JXU2a36+5Leluwkki9HgeplfderuNaF/NMhLlaIWvzD8dZ6rBI53/MYe+eJQjyx0j0zdK/fOulX9GAOBWP0JmyBJ6RjX6YqPQ4u0QBo9ReXsrqJBvo1zFJxN7ZzUSS0SIcKdK5FdkzeCN/fAPNmUlMuINsfDCRKi/js5E+jLz/B6Q6bh4geWXavpQ6slXkciHIltHKoURxHNGbFA/fpvbTBHhTP0MTuPBI5hUQgGp2nYbB74VyKf/0g3Sg0G4uifpwcHqVurs77yPH1ezo91L/a5D4UjP+kHwyLvZJMa0CLRRiUOYQuawZ/4uUDVK0/4Q/eCil6xPVBcsL2U1dR6N5Zr3AbWCuKxB7zm6gTXHJZsogsRsFhyZMr/jp4wm6D9yCqKrdF/rFHj97k2sSJ6/AqVisrVfEY7UATdX6yAHiJFn0Meq7GX0YbkJjrH/2tECQwlKiQhiVpDtmoKFwtuFN6b1j7fa73is1Y3lBJKIgqJ/5z9Zxc6DzrVRjk/nCkSBSvcaLMG94s1CDnY8tzal71qINguo/pwCEEJ4IC5QNvI/vsu5g8ndDIHlFG3LCTBybwLltAuTE+m4/vV5AUG2zapXne844o2LjHO4dx4nfgCyxnVMHD8U00BIOLIp/vpRZNtkzybpq11pQcSY3rqpn3JllUfVqRXjJYrmkdOIuN6XIAcGh3KDFpS1qhANKq9ZS7xEkDIs718N2MjIhXNdy6t3t2vf46bStOAGEilMhmUGaVWT40t9zEiC5a0CS/BBuG3PK4IJlkMjYtxM4MEp6dIzSjgPpTsNoejIKzvFDJlRSG6x1bowqDiiDr++KmTJhT0hlJL1vP4yLvKsXyLMbzGJ+W9oz2Rzm2cp4B7vucTXNZi5hQrx7sRhIlja+9I7FXPXJ1A+K+KbsOakW8r72lgECtG2V9b36FvVY8Rq+G1/klrMJSbetML+jlD6wh8MHoJOV/80WoseJFEsqvnJJ+TEUDJj6xfvma/Kd4HHZaaFxa8wHI2Y01YDIHpW9iZzoHgGDhuwf4+p0a1bDWzu6BDfo0MmV/rpUJ7J7aUEhhX7bPS119YiRo6PBoT7t7Sn793OKhmrNNuoKEdSNG8R85jD9I+FRpCXVAbpVIjvfDOyOf8C/nvc+x5jZlYMaQ/wkYqT/hSClOp9zrskjhlQ6Fbj1n7tu2hmLugyJ9Sl2LpCSSkzTuPIACPKTRht5h2nuKXtkeDULou+nZ3aUVewbRhuDyFhkKaOPLsPoOOH11Q5Tp0HOg2cs89KMSUCPtU491O4CLvmnTNh0ccQXvjcE6+3dGsJCk8VVfwQ0pjAFiRynhkWAHJ08cfVv+ITsJ0XNcVsVLCyolE+b3mQqUTWaApbCG7iqGLq0C78MnDE8o8+ngFRn0IRwZKVFbJkfkvitlJISt8NWXcFh7LOF3muD/EWT9IdOjv3PVDVCCVqH7MifAlQtxYkp6632zZfQLk8QUJXtmzJV1srFkQgYywVtBa1gGRKq7c4Y2AllgcNK9ynxrDJ7gGWSy+l3aXaQK9vNiP2DapRGkhTiywcfM3t2T1Y45/i/knQx3POH+eyErvfjwzLFNrOg8Z8qTwKorMcT010wqLB0MmMnwFB6EMdnzrEtoPdUukf8R7Pxzlv8vLgPVeMpNDKZG3tzm5Y3qlPgMsaZ0dF2VnKLh4dP403kjjND81Xp+VVQjuamHjkurvw+63IM4ydCjSSDqjgd8ZgBYJyVlU87wCvBtQjThRV+qy8TeK4cpJZ2uxFMhUOWUT8Wrd3g+oZMfIOEkE+6p8JmIt6WY3bzG5MnrSiZfSs3uO2mJFGANvjqmoyo6pGd/sipHZZrp8jjwYBP1uc+kfdY7S5cq4Qc/b5D3Bs8i80IzVtd8cKfx0/3d0ApfoTsPaYde80/yC2H0BVXp/NRxPis95Tp05rOUIOV69a38o4bndo4OMDYnDZtoK+1F7ZJ4L44sXNTJg/kMzY4/PtETXtJqR3RfFEF+UmLdBPranOB35Ak4BBmHpGNUdWxCV4YtG6JPgy4DiQXu2RSYtCi6M+QokoPVYquv3GurAReqygYEsxnyz4QRnR0dx8KsMs/LDlUzaX+zIEy44wbuErB9LqwoR+kOv71YJrRRqbebfKciEA4Y5Q6fCVWVl0tHK8mShrP58sXpciUAjuS5p6Zncy5isV8/lWtkV1gMJvsaIPANZR69uq75wEOXYhFLFNpdMZxjUuAPwE1yxnhn1Wu4+DpgtIHp+3NA/YLl8yc4ZbnDikHbPLJNxdBC+QaJ0MVGC4jv92r1lPtBh152kezDEvG6sgLgpuvqP5owQZz+Tj5nMm4WNXAVtyTvSBLmmv6U/4tw4OX22l9Qksxb9gd+ax037WuViL/vREC1nbOxb8qdZv7bsRjHwsKl44kt3rXuhOt6NMqrKkmdNkNNX0UuSwy1XO9NSyrSrFfOWjO6m3zAIfA9t6Db6xsBZQtXMczjubMBvljhOW1ZPJC6m2XVIJnJ/Sw+vMfK1qGl8rRKclEYXbxXXodtQj+41NTJqlflcCnXwtAzpFjjjfyAWhRKJ6KHMEejXqGHsoc/IZ0G2dEUqIBkoQtJn5eZECYF9vO6Q3FAq8ulsOZ8PWwB3vdvs8zC0oJnoSFzHBBBUJxV9eE2odiJyq+CVA9Izmxbtb/mf2yboNXa+1OWqluPhd2UUV7NoCDm/1APQ93znzM14XTy56aGNOp2dddBBxnbNAlf7SRHZbNYQ4DS5HhTl4MkRyreDoAjXnAVk/T5cuj70z6R8/m0cvf8XvWIl1CIvAGo404GTOLfOcvkH1/B5WmcHUJUpwRGqTD4GI4EGHaq+Zxdf77LcXxT9id3SPsBXMu41/afr+MCm9H9d+Iv0Fc6Nd1sTg1nLl2ufr3om78Oms6Q66H1V+Y74Zp7GFrgs4CaHup9Xz073GULvPB9eMrGjBcrbGYZUXF+JMoe5Gts9nYXmYwgzYhDR1UqMaoaNQWySRARofTYjSRyrCl4/2AKifGi7fyu58Dg8OipoDCWHhF863THfHbvidOuXqAm8facBA0lzbb1xrVEjY6U6Rj81z9Cw7JtUfB89TtotA0/i/7jh15QkD1A/KI3SR8gCPbCyb0wB/eLILStXhRNFcimICT5WQFVK8WfbbLIHsCo92pF3wGt5WuLgJtDlNqX+f1skwcscREO4O0H/YfuOs+spZMYS97RM/Kpkva8AC6SLuKyD/EuXozUYU2fVt30I66c2L1dAM2neAg+0yIsM69tcIWMCu37CrXKTPH3YPgrSNQJlv+kZBZ9utUz5rA+LUCDk/hbUecsa7IWaOyWZ2XJjUr1yXWMwlVwYIJqKCz4YAdT4xaT64Z6Mm9y9igX49gWSi1/p5kOgzNPa5PaPTm1nZfjRp8aEyM5GNoV21JdHEO3ZGGLerYlDwGcmsMB7NML8tzz+hAiv6kYmmNFoY2rn9tD9ORCHwr5FrMLgxpxfOTpeJxCgbIkw0pOrLQkPy5EPDsb4Lv5eZQ37Lt/xPhSzu+pbjPcm8B+WB5bv5IIyVCs8t1X7sty1kC/EaOLSCg0fpjaMzjwocrDGTja0ujm8yJCcQ8mgI/V34ueCHdrn8hDkxq5LtpYKNKyFkNwOLCtP2gxeshRxXGo6i/ax6Rgiad5ZtzBTleTqJsgDBro0NP4K/NNxdK6LqujLVTV3nj7n1AZJhMOrpuFyS0y8drvjoBcQDA1mcv4nJLEnHnSyca095lbbHr+c6Rxp3tpJu5m8FIorObo2x1l0xL0HnjQfKTDRCbkGShbuH67c24mPZqi94H2hwNphriPDMDXWH51gseND+/B/kwfV6triiHKHQ/bmEucnsDJzb62TUIFZEX4BMr8v95Jh6pv2xWqY3TsEWMcxtVArRiN0SjrUpJTckUj+qAiLuzeUpDdaDw+s3vqhuVPCzQCBbxv5tRv9krzgev/XfX5aKz5iQSiUdMbldjIbsHGeqz7Bg4vy85ACsa9Ig128VxqNVKbf8KyOFfxz6Znq3naZVH0j/FSC5zig7l8NpPD3DmKolzH5zHN5UHzKFrpABnKep5rX5UKbB+VePINgVyAoBD9wdR3GxkGGZztlxjU+2WD4GPqXACEopL3wKKNaPewkD1e6EwJ975ie95GqiLBkYKsSEOpgP8tYXZwVneZdR7rTgZpSAJUdqbwf61PmWPIqGGWupeKPJeDH2765VUHJPF/jmBr+M9OeSG2doDvNi2oGAHsd+dmQeYafK/lp8f3k55tkxdhSLhyvz7UJD8AdfNuvLACg1GUJfJUaWk24pSz7QLBj8QzHMnLrDjemFicgUwMC0iCtmpSlLhzBxsFnFhvM2z1GDiTPnVUbn6hSWl1pF6g1DMd+9qYnoYnCPN+ijNerNwkAxaJzqpltd3yUIEcqnQdB40Dd00qjEkiHArfUCyuCJeg0FiUEc86/hv2qrCCY+fBfUo3WtIrBsKC+1/++DM3MlIwFeJQYNK4w+u/OqGg7Dujx2r+LZoKHNQaWYPHF/nI3dRwZWk3WeG7b4ALrkPWFZZB/80AecsFZEaOAM9zbFblK+W6P14Fpa1p1xhav2TTwsbmtO8OZti3XbhxBvLebxaaCj0Ya/6otQEhgIV69PxWqFbkRyAwvetRkGV5GeVjiS1q7RuB3otfR2Rs96Zc77s4Uypk/M4PHYsa2xmezoFCDQvpK3QP5o8lUviRD+ayhOM9mihlhjw9oTX6wD9wdT1v3u+PTJVjpdJGgt45taAb/62QhXxhBdaIm9vkmBANWLCaUdVLZjFuLC6iw5zVwg/yZZSykzLtjmMhlEc3jaGxK3ZkiEE1W1VUR0Bm9Dvsrs9KGR3a+hjDPBENYJOqWCu1F+SVvVA9u9MUzD0pVPjxHcC9bhnBFeeu+l8D0umbdeSo1iZc/SVvrKYW7pA3Q4CyiJF86Jx2RDZJgVMh8oTFHecKcuQYrntq2Par3TmwWB3eSeuXOt623J5tBYYu8yTsb5xXFfkZWkFmCKZm26fVh1GH1EFPVzvoiAyBw75KpbJXLt9sy5+uay0ho9TFFBMwWaLdUj22KVS5MYZeAaoPyxUMAnbfqJ7A3CvXO8/lyv3Ygtnv1E41O+QsJYVCHAy9do8gHk944cEWxYDqHpcNEUdft5oBlBz8VQbiUmBXdQ4xRrQjUTDkpR4komda5+lKyWUOWDdixU+4lUlDlxZUidCIbVS/X/Bql5VDIDNeatCZhF7kICz0CC7K5gDuQs7XAc8wZOekaszCMm7/9HJ6MBPBBfr810E9IrF3TRGQ/uqrLy2NwIUz6q+FulJortbhU6YzDPCXulU3qZZ0bYwWezLXeDyJuXpGgi994EvTH2FhQiWchtVoScYzjfl1cZa83DuXc2Xh1xJX1hP8kwuWNdvrBGcGesjvP2+2SmIMT90VnAFQMRmfP4gI1iAbn82idwwgfGN8VsiZU4ZSt+Macv2nZ4K+eAqDFos2+Hec7OYCyZKUdjKnvgchs3y/hE0/Td+H8lP3LsLosoY6d/XUGB1my9spLkaCi5Ia2+VZRg2ABSH9KvArxIUIHAOUexo8OvnqPIHbl2Lj1NFPCoei3f+9orxsu+hCilKXUP/3334e/JyqJGXtQXcdFM7YQq8Om0nK/N9iV4UlenUN1oAM/N3YO5jFKXgk3w2TAZUlTc2NpsDv088vyGGXHiT7ofV12geo4WFvcKrrQM/R89+lDlHFahu4Vk750t0ncMlRxS8djo6EhQ0N1Wv3gTh8Q2mkNB5ubcsXvxL4X5qmL1nXq8FxdUmFL16UfF7jnA7rMhG1bFnBibcQqdDXo4pl0aKTHDcSM441m5R+mynP7vmpmkHELlWXc5i7biwsuhoGrb78iGvi3tfVVyh/AaxvJKOxmAvGPPLI/AABE+96m9VgRwXMUME2LhGTY0mL6RuvGWeSdZpwhoasL90IyJc2AFLL/ZMKQbzGnz9D/65EsC8knOGEoKqO5+jH2H7hQsPddjFILGqeRcXvSVH4k6bCldoBTnUcnyk53ml8Ln1So+ZXcIG7IgTl9R2z2O8Bbr4VfDslR0BKnRHj3UwDw6mAZBzHRxNO4zfP9ehpD5gBjfOOyZPQCgmvUoQorGIKsczRWy3QI2nPbQ2zt++NkHolDifDuKE/sPgQfvN2jhx7F37vjSo/6E0/HEGrY3c0jplrpBeIc7y+uLsX7mMnh2LjQtcgSKiJywpcyUOHurAB3KkwG5+6PIghv//wpQ1yuM+TlCHyNJatlXGYa5vf3bjVGMHpZz8LKJv19Ke0R9LtUvJc9bp5cpVBvdLMsWKaevi7K90iADj1B5wiPKtltkTF3LCgEncVjf/tsMueziBJFFI8avte+Q7/ALnC7nyKfcJ5mKLxD0HDjpldpK6zrK78h8EMxOrNQTBbu8FLJe9KvcCwfY3YFRWVELdwEjnmx6s5MijdJLRIDzAnEShCguXNRUJmZ8/RgEFNLaXBrGoQ3JTtE/q5HbqGTJp4MCCD4llP/i4HvS1a6e9FxVXhq/xBN5gGtciPXttQ8GA4RJwIyMmxQ7WMWG9ITXeQPndHH9UX2q8ol0q6j9IAdjZg0/1TaGllMwTI5nG2NLzLI5k2JNoWptd9AMPnaB/bs/0gbgOHxckH/EsKitgey9kVZPDaEa4qZEJ9U0lJnOY9Bw4SLoOsO6Xn4UPOIDEjOXAUDegaUsjfrfb6Pq4DweQL2qyNtCOrwUazNLhUAJlsHLOaY14C6bsRoW5pMghEq9Rftjfxp4kD7Uuk0nrIRVcSsm7gtyT4nQlJm9cNdPtFmyOjtVIFUvuD6csuWtdewySE6L0PwJdZDx4hpMOCXU98ZUAFFhen5nvU4ngIuSZOxfQXGkwvWBV8FpzS+S9Ycr3aZSGwMyPNv+rMfuw7GZltF5yXQHGoH00f7fRU2DHV6ObDjhMwYEsjObDX0kpziP17wYVHAjPYO75AiucwmhiG5RPGNoVxeWTR+X6nlXUPiYHG4mQrcFCaZzIANanfm2K/oeJrcIlmmTDZNMEx55sRJr/4j8SbemH4lqzcOqz8JmSg6b5LfPI95BoSx2qJ0Te+GPadAiBxGSiaNvk8ouKTJaFqg418n5KS3qPYDSE8A1KK+pwHdNwY0BIFHfZQAXxR65eBNWPUqwwLko8PX01zKR2EWxklnNqE8+Nd4I/6AJuuAHDa0bTSTQlWyhcFbF0HP3NapLReQHR697zLVHTO2T9oOSKQLFcBhrZAH1D6fo61zoitt9SZthnb26/suqYByuSXPkzKl/TXPxoRp+4xzp2W3ykwpPWOjQKM1z0vTRLY22TCdGMnJkO/xqATmbmmQoT2p5vTZGFuvwH/opIdVDrWfkxg1TqjozaGjsj/QsrnctUOZKFIsejJGl77h2X52Cy/UhKx7tp2F92Y5nlMXY8WPx+3Y4a6ykUUCgTSwt1my9cx8XugycAH6zjmcrqFnPwUL03WWhp3VMOTXxtB9eEfc+FaMrGUXs4R1UaVmv/Mq95Z/gO4f0KxlgCy17K6wsBMi2y0AnYwAWKe9HOi79T8LNdqInSFfopblymMDaxpzHIa0Q9uNtdCntyxuK9LXAxPaTnga/iA4LSsexZr0y6L1dLzekMGT7JLPQONFEa2kWKDn1LzLFEWzdc8sXxZSdMDiSQXtXcWiZ+suIRaIAc3XMoMlBXJA7mGdATNAsSbaOIJUfdEkfVyGX+InLVL0pzNwhSkEk5eqGbrhcF7CdeMdYTcvkdzEQ3Y6jDgQvV6gganSkU9EqQoBa4t/jb9Lob4cAfgoXn5S7qGyqwrP3JCDVm4AirPFlVQt8ML5TGoszsNzkj8tfalEdSDbQutPRaqaFjaeHnNP6/cxJzp5aLK4LLHvvSjLvWUECruri8dvzNdeE+ZjvzvMB8llBHRMeSt3qHPi2fdk5n0I4flPpnpDmW8r1Pb8vuYg8Z27134eA5faN4RbnfZhSpQfaXkhObr0IVyR2wJK8auv8TPqxGKZ9ZhC1wFrAprAHVJQJLGo0R+yfcDbn6YzHx8LsGYRD7sTfl5VfutFXaen+xt/8u1HwV0ZlvOzErvyy6XyzFFb/6mZHfDtTv4tDa5ffC3FjvyaqzNF+uKH9Q59VAyMegZoVUWn14fwY9I1aZiL2/xbg45/RfNB3MJphPso8hjZX6p1ycOKNnhVM7KFqIJkICDPTjLcy95gcyvffy+TIXKegewe/zjMx81CtaOgWeE45o6jpK7hla4dajA/IlNu9GXMBuQk4bxv6ssKLSz7iIcR+0UJLNKlmUb4rWEPNjrB0HupX5hPmDtCXayxGrKUY3aNrvz0v8n1bXf6dXOaWMpLjc9fj6EDPkRR1Ek0cPyLBv+prerFzcoz9T/cUVYel9xyovpgvIjB0kGaGmNdIaDKsCEbsZE4fSaXFVPM/u6HkIydjXa8rFZEMAkN+fTdAXZbQsDjeyuYUdNG+d/4q8Upy/fOUY91h3ONkZieJjGS/CmJQGPE0l0dEY9zAYb+kek2fErge9qiwa0mWvOtQpVnJFiastXkA39H8wia9vvWvXGpSAgCIvyLOb2Rgs2vNwMNfGy1tH2yFU4qH6twSu3PyCiaaDAtpL2anW6Fd9giucBmhAPNVOwJKIQNkcTYkCnz9saNqVGP42/MYh5tVgXbdUjUZuXyXF/ospH0pbE+W7g48mk+rHFLDZxX3fJmI0ZqcgA5UcBLzSfBbVdRqhNHyQnwR/r06tUM2mVHwp9sKUuIMsBAIHFU6Gi58sV32GjHzb6PUF/08aH5MfmTfbFh+DBMSwwgXBrj+wJ7AgIV6pLgB1eAEN/D/fRvdcLlb/t8O6KLJ23YP9AWLuuzw47gTeAt2zMRqu2UDoL1HFfPkK86eNd2OFeImpmEOdnJaKsR1a4X6K/n2gppDH83cvB1k8YC/AJKchEjWpDF2Lw13k/HXaSbrE1YXcNr0tQtLHXOm+3SzPlHFzgOUUDR28cfkJGZcXuYe4XMke1Ag0Xr9xrYQ8nc2Vdwxm4QOkiWOL0w5nYUmUlhLp1V0nqvg+YV2G+7pIlTuKGep4DJfcc4xUUIwUofqPRQ+BQYkA2fmB3n6ez206LauKjwTSRgMwiHhoT+1pyjHQDjwkE35HNVAzfUknX7ELtWROcxiJ1sr3uCtACj5Oou7eVpAkO7XAaF03d+MUTgbyH2YlH2IoJUv5KPGOj8iNVeD/yl1NOkkLdW9115QfjRp0yhyHLb03ULPmDxZMRTCjEMWjdy4Zc7fuuz/MO/bwJClTjIo/UQNwijua9NxonKv/AqaTgslEhwU3fV1Igz2JnNrWzHoWYnV9/yTOLAFXyvi92jT882VTYmogpK5r37lD49RloxDy+qb2yBY+ZLh7MpK96F1olbMw/IYAB/Yeir2i7EoZGre96NMouuqOoKykVqT3B97GeN/wp9Q1YobSMswtVTWUcHQIzZD9jB+VWcy35AXmTy6AvXIh1XcgSCgsEoFLh+0I86afqO+nk9I6sWqMAIydDtrXSR+TXIEgwkOx0cQIoMKj2ZLfEYLrnIJS/kEuXQJOSEtzDmWdv8RkDIphizkzLnx+KJ4RHpSkQZi+cpfBgDzjQA28SpQReaHDTX5ZvzV35qPAPzvjgH0H+bXjZFH/5Sj1rvIdkYEQVB1TZJOgVSbH7XMFqoK7EFZ/db67qD91N/RTEoxP1oIw+yd58ijIZwhJe0zgCWbXRr81JxMZsdubZiWU87EsZ8Ko4z5kb3zwIplRk+We2+v0pTWD/SSd+Iq4sy+N5lV1gMVxAO+GKINnFBDmXmuOKO7q2CGjeXiBLvT+qXwfGdmYHv+33c7mTzTKbEsohs6i4jRvOgwDTfHLiRFUhv3esdyDi302KAQ6e8EizxjdCTFseQTapT1h5RVZD9qAtufNnAZka9bNPSlQ/97Um1KDN8B0+sP2KfZ2v8BfpIOdiLpmH9sXRXzXGIZCz+tFtXuPfHWMMtNKV7qyhDNUngHiJ6McxNdYcGxwKPhNbWzfsD/SsVwFkl1d83F21OH+nAWy6OgIOCHaVbsuoJ+NEslxUaNMpBSUVdxNHCPzqbUK55Npeos+Q8Q5fSfKlqxs6q5mnBLJSPL2tygjQ6GbosZ+1Ljv9R4QNk6KE/nm7FAMiowQ7RzZ6RBt0Z/CRblJZwMdVJp9lA+Z3dG4gNCsYC43rxWjMrCwki2cQhXInDyJx58dBqzwjfVGINBRgByUPfeg8nS6HL3+7LEAPyPFDCOknhNPdwOXAOCqY0WoX9x7ySDhxcl/xryt2O13pgctiC4CvY/JQ7kaGL5ieTQUAzyT19NPjTiPbOlB5AEpRcTaSaZK+1uu1X9uQGTJmdqVEJRHEw1bEMgv5hudaa2OArPfUU6PkbYytlekzu4xYJQh+D1f9mjscFCQSAfVzrGhqSVEBjnqlda0HFCksoGGI7fvQCuGrQVeFlL6lumPTe5cyKTCbD7zVQCxnMCgQVJx9hh/gaS2g8y2q2a951lvEO+lslSFvLR3jlGZ3IrbkLEcwsGh6Y66qwxoKFs32TUpYRJd9RvYSprnMNpo3ZBbhQ7JhISzzGZuBjB1bIx9bE/beR2OWV9eDJPv+u6t6HWUJ2zWV3OlIIMW6bYsDmejcNk6iFIpnvyWObCFKXe2YZFw7PXSIcqjYxTZ6zSXU9Qmp0vDN2QKKOGFNM1nVd9SqOZ5QKO8Da5atw76RR1wfQl1tp53xiR6qNRtIoolD6tOlgWe4JRkCDcN7THaKTDGRzAEPdumfxPihLlE+zB2K2qx9mWBRo1/Zi/P7oFlVSmWLmwMX6xOIRmD8PneZNs4e+IVzuiL2Ug9WQlI5t4oF0RmBZimoUQYc2QMk4WwnypJZyYyKvFZG3tK+YMEscA71CrLT3pmw5zDFlXrtBLtnfGL6LQQpkoFB8lQ/pVED4bg5YzSIr3yzR0GwBxBA+804XFgU/jLRlFqNeN3BgQ/VkB6sqTGCF987MjHaNmPzTbSJwtmESjsPVy7KSH1XEdtZJilrHyr1u16jaiIlASbUhDazdHor9YkM8zp2x/GKJqtJ8Nn8gnPb9wwSRoIlmvX85ZeE4K7PzjQraiJmpoUvjDgJSiSfS4k50iICoqbgSRvZf/7M8+sDGpUtlhK6APQe/GrdBp/IxqqiWISavUE/DNgFTIzrrnksnt0Nq6PBHkgvrEwy2vBSflu1s6h5bd6pKrdHDmmOQB/pj1KsS9zAiBcTNKg3Mc4omcZITBUzFK9F/7wOcNie6bB80Nshce0urJ54CQ54tKMwFw/cSs77P4jpUSZg6tW1A/boA3bF8PbwVzZPTVtDjQ/7fQR/+0/cYjyQPoa8nVrLn8XtKe7DejE1ZwnJlH+Ni6ndatdfSN4kXogO3kZ0/nCubrtJXiPu4DLYDtZ/CL28diemzA4Zd8MnMdEy4zsr3l/dqjwdoujwPXHRmROTXvLANkNf7MEe6y8NdZecOFMhzGGXgTojknF9JUp6Yj/UB2LNG3NFkXt8NZ03pTD89ff5C4Q8QI1Wfvw5cY09N0avelX3pylCdcHcWb4uHOy3MyCCOkaY+/kgDZl/QH+4Ae9BDzC6+MsJi4OsCLCEFhUPS3/DMCJCJT/kb0zD1Ugw9g8uBxRAJ74yyVQLVcYLP8huz1O7tCBii06bCMzLsgBPE6CrDOHkN0Ouy4iT6Gvd/7iFRY6PeyQHX2EbGM8/s7YaqD6yZBQ89lE9F4PLk/5+p3PoML1Ny7bbRc/4fmqeg7wVPubISGz41vhfNBx9Du9MSTIUhvwKmUYBZ4XGKgPUJbHbXE2Xg1zWNxm/2OCzOnLyVkFkQQ+e8P6p/oCQgt+G6h3dKwYqgkUG9XsSLXVwZFAY5Uw88q4HLiyirKSFGoorTU3Sfd/k+ZEL1fEm0QsZ1hFtyVyv1VbPTjb7PggxB1b5iIVpTQ9ty6xGTwh2tH1YgP5EY174MYGt58tL5DpGM8WdnofNlY9rDBnH5Dpnx2rsnqJJMsVPwlmmRfQf1WZaHNp0l86fGSxJmPE6iM3YH1gJG21hl8dfvjXhvJtbffh88iEPPWqaB8MlSxjZTjIL23ZHGH5Yb8tenuLjSQHMOf4r7uAtc6XypCgwmgU92/2R5iAoBA7Fm11oS6aUygBIvZ7f4WGWnihx9AXJ5sYUMWUWb4VCM8Raz6/J5CVVcBlrEyQAMSc/zdkya66WD3UA7h4eWsAzpFxrVJd81a6iG/lZhva6HOCYE0s/vDSdlMhfEF2ZUsA/5XYA9DOqOz32b/ClM1VKv6Bt7Z00qUpGOWELPVTY4kqHmmcRYfS8fQQxk0SQ4g+ftsybeM3sFDHHfSxKQnnq0MxHL3Djmtv4nsMnXFc/qEqUJNA0JwHiHxV87evhGMKrkSzoHXhyeQVGixkwVulkGkrm66kfZm2HxOBYucmrIceiwsF42deiczByZM/Iw0zxJct0EWEYJ0lBJVgIicYAdi8xzua56qoItSHm5q5UNKIhWJx9L2x4LDZRFw0bt1C+eeg6jiu3mt7Ab+8CX5J5DM/BOTOvEvk3k8RPdjfxF4qseCWJKbAajLQ1NdoLPhx/RY/72/lyYaDYgoHJptNG1j9uXoD9+kKzRGTk0CGKaJ+qmp4VwqQf0/GJdHoGUFqKyqqLI/pWSM8kVThvaV5l3+dgBbwJRwHQdk97MJUuqmkPR/TAUAYaXna1mSEQxRK5rUJEOHQyxHGf5yf8AveLS2tjSp3kN/amSiYrqGSZ0cnMo2NP/trjmFRBRmHR2QKP+lPzWU0Dk4FBVTetPQ7ElG7Kb0j1W2v0G8irkFw4qZwBQY2xOesnvW97KIUZWVRXGG0oT5765y85120GMfwioTKRQ+FOveKCUwedoj7ThzsKzvJAUyLqQSpGLN/ikqKdHxO++dEZ5sxtxRUjN2Zf+FL3TBQsji2juz8d1PodIzhK4R7z41U44fFWh5eAoGpjyrXYcXQPMSahkm5PuCL7mEmNAoq5KGo0z4j5wtVs3z/0rwvizmSnyka/tpAhDO6fr/MDdGvuT2bd1EcqcU3m49XJkt8Q7HOccORO5G30r8t+gDZyk1SJUCCyUYlhUDLxmQffjylZ1gQIlH9xF3ZHpp1cJKT1C+Yujvij5KG77G5PPOYuidfyEnqzSAWqL2QJW/m2/NUZLEMBgQjI3XvV6mIGPrS92jOI3Vs4trHqszBViAgpun7fgEeJMibfnpvd5giDRK2m/LPjoRjhPfLRl16GAkHiEZeS6vqhREMRRr/V5XuFpse4uiUz3r9MqINj4gpQCOQLQ313B2QdLa1Gx+xQLOjs+TwK0fM/6s5xy+2ylc6UNvMmNw5FgFwJTrVxhQ+VLv+8RNvUhZ+7LuXFIopiJJcdjcnDyaV3aqwdQIM+7pq9bxwGYEvljltg8l7lrTiDc4C9jmyQrW1o3YNPWGD4vFV5CCqQs0mkwJI3DSNZEm3yfLLTTY262UFF4OolfAXBPIFhKQe4+MWedmWbQrJc1sU8Pt99Be1QV5neRNsDGQZJQhgOCGECjmWIAxs9XqJHUgYFkvvVrplUiAOqNG346jcv4UWlsdVf93RK5jD8LDMxDhR39pDHFN+bGD926YXFYAyiMkpqEXjzIMFzs4DlyMOOOWxqrP2f3M3OswIfp4DoAG65LTzYytfvubc4aczjmbmtu3shpZjIiJipj4g7ETkmTpO/jApXqFdw1Mc166Vrm3qvKLvJx8VecSVu8+SSDTRgVcOG3ZB+wkoLQTVB3QyE9R0fmE1P0ywQTIZdnUp3whRz5/whZVXaQXPqz+l5OcwUlL8FwtP17KCMh9cmG6B9qg4Y4UVNnPi8VNE4WLnjep3NLNR7G4cqqHiMwo5cn6+NoS3S4ylQRPT5bXkfmRgWeS5qx7ApuwjHYIhvS52PAzP55bsTpXB/4ST2wvIISP0xukZVZcSMSvDbBIGYS4E6jmbmDRJI3u8/bc6fbeObJ3tCJj0RYkUMMhCq1y/O+V2xJJjFODwtdJ1NN+2Ut9oGjSkm6eRLg5J0GUqT4co89qQKjmCGwk1x23OgChy64kHoKWzu+ZdNBV6SfHtfOyNI9oCHEdOY5zKUK51kdIZmWx2sR3K7/XgcNBlC6x1ZwAizDQMHY5bR3p705C9Wjt+xPoXhGi7MlDx7mmVWtDYqt8F+nMjhMLmo1WPt+Y1xQPrHEPLBerwb/z/mKxbbmu7+mM1Grma1Tphw9zWB2xFnv0J/JJSEsslkEoU0DMPmpDvvP1w40vzY6Xa4XwtzA/CNOSJmqc+F1CyX8fFLXzQfuwenzWb4+7+vbZURVxgSQ86vAMJiHJ2eHDGuzimKSY/uqDvwq2roaCUgJpsuDHAi7j5TJEf8FE/UyAlRiKxwHqrrhpRNptWkqk2MgvPaFsfKOGOeaJVrzfJPHnua6ChtBE7luOzz5yke2xUQGh4yvP6/uS5TI6KCz4cdq7fiDczt9nIYYmnl4DhiNuK9G6vAtQ1xPbyNFHUDzHI7QEYf5hGMbjHsiFKw7Avsf9BD8do8S6V1TcIeZ5D2hbzeCumBwWi2Pp7XF6ZnYjpsSZ9/bbblzcfPASMGHMlz1wGvYViXXcFAyLCSUXICDuCTN7HFJSnLA05Jtb3FT+K/9hsrmcGvZseTUrxDCtcFDhTFDFtoGGP1UMFzIaUbIUDdVeqTl6ceHT9VOeWSRCNzArbOEYOrkTN/13RzJFTAUX7iP/hRQlfZzobTdm+VJP7UYLC08/VFRiW8tBbTGltl4SqWeYjdVC2K3mynb8xl2CpQwGvBdsrx4cZpRY2Psn1bt8/vfr3L9IVg9jn42VC9HFtpZ6/kkJATNjEzVaUzL9fPQvLryeR/DVisXN31/MJSOKKcbEjdeo0OU3tv8XeA/ZkcWcqW27DGhfQBAuobzol4zrdihob/fCYd7QntJeEnIQXW+rUHf2KvV+9ZhShBZIKaMQo7GofYhVbyHI/KN9IsHNDB37di46AAEjVcINkHtvhQYpFBcJXo2UdqdVETpzk5MUz/nkNzh1mYPptAbzUkFuyzaZBpIRbJ9/UrJlJC+YOc4/fPMmsUh4VShBLSR9Gv9qurQ2dN9sM07d9F2n3AbTF8RRqUQbj37s9teDYgk39foJp/ugDbRMU3e1MDzNovnpRaEssFjChzww1pkifkDxbb4KfPxwP1nE1GycsDuL0QW9E1STyaUQnkgEzSCsQe2+OT3f9FNZNL0ADoLgcS0RjbzZIX39tiP31frBRZKe3sGiSyHYIjKYIC2/yN37/begofx2NDcZ0i27Z/NMymFlZG5UOXAAExJoFLUEdEW+IUjFqJ4RgvHhFRcg3ibhH8JWaAB6aApEUiUV+2Bp7v1l8Rj952aozcqkDdMVlyhUjBfEY0bL+LD0Nehz5l7cw587sUDJcoPdgbpX628qmd8owQf9VUyBW3GBbx2qESapmms9Z7D4U9X6860zTnaf5lilQlDU2eRA50rqYeUNlbv8mixJhB+Pm7s2OaUgSZLDQHXfLdKJywbMKWW1xFRGl3mNjGn77fIBNakNvySUQFIThzzC32+Q/7kjisU9V3YEh4k9KYN/evryFu4uVup67e/xw+ytGlDSAxmg4Jj/NraOHjyJoEpQ3mqTST13gbOrTGudUM/0vgEdCSUoYmYwzSzaTJiMMFLk8uG3Ln5fhuJ29CBlYEHiXLRpPUl6iFBvGLFCSyTHV+GhHP6o0vFA3RJVMSyy6r0hOK0+8qEItYE4c6XDmFqFjV/14AAXLVRaJgNN3dxRKoz6+pMizVu2nKIs0sXbSxYLiZBjkWBfy1xWxXJQGuXrcN8YgEJFeERDx5zljxzGWbzWEWQujqJzAG/tTwOXfEi5NxdP10dmeF2/6KVbfD29d+QfeE84l/08guYLuDAH6TI/VkCAm81f1ADaRVjCV7LsOauVIE0GpOJj2y2h6SkleEY/2aNOm6O7iTgJQs2jqTdvq5q4od47KYwhdTA5gJvYxB+jOQLgUJrp3qOIIXRQTgigGw+q5cd5l7HeTDpXGlUPMtHiTzyQT9KId3sWkgZ2bst3Xp1NRr+/9ffo0cPFx9MyQkIk2QyWMQG6mL66Kicl46m8lr3GEFNzQi/g+VhDpKeqTz6M4N6Pc5Qjzmw4Y8w7mnFqLgFtEYpBJjB3NtlvzeUDujylTU1kqHO5hdIp/BhuC3vCXVcOWMIYzM3WYOLyAgogWaGYyCzfTFgvleO+LtPqmZL10s/8991x1iTeAMTFkUm3muO6T38MQnlVXe6NO+wgI865EPyI5XnTqH0WgIehkO3omxeSMMdFna9RKW1S/AcINUmA/02LGtRUdlPPAJNn3p7KKL+Kx4hm+WN07xf29z0SiZXDEgV9589IHQ+yeOyJs8iT/slnSFtT66vcFtEVPKCvf+/xb6XyclVbojsmd5uJPjOCZnq93wwFOA/hNGuPK9shLPkzqW+DCkLbClLU7fE1xk9pAeUdS23eR3ASgYZf60o39zK7UL22qCUr5dFSiGBV236U2+P9lJWAVDQGD16QPTeL8bLfQaL6tgYGZftBYuSHoiUKGGMJL446vwlVuvi0SGZTm/K73ER7ZY1truROXUIFWwN3c9damPE2EFPeX7lrTLG6LItlWhwcBpLC/aesR3AlzfFqioC3lNEBmU/40zECtZgymrpqAtmyl+xE/AkiZuULfWuA9exGbdVEvFwQUBiPFmCFG7ybvRkGsSoQG2Po+jTXBw8JzMmMn8hzLdkapOji7n/cQdKaXyUoHZouGHTMOFn7CyNpZhREFST/cq4AEKMO6eONnszfQd76RhNTmbjz2YeQ70MipvvJjEvjArj854lXQOoGPZCu6GAB+BUudZ0yL25arombyakggX8E30zxiEUxN8+AMqt2lZ4h1bWtglFqMq7PPi2QZ1M6Ym5IS2A1IK1z1k0OblGb6E/bBWQaef2hUQkqxup6DQQvsm7u3I6aawrrpCslJEMUXRP7IzRS9KP29e58kxrxOenTXjdgoQin5cXyRV5eyLGRcb2zZ12BMkCVx36ftE0L+nZHr0zOyMUNrA8Pn3VxZvgoJBDD7qkQcdywnpY3pknYAQmfuU89u5ch9s9z5QTowsU8xuL/Yd6fHR/ILmWN8bRorXiibnEpTxsVXF8U3e6cqsetZ3CRLz5uHjMTCNXevZ6cuVwETfBiRD07Tv/fgu8ih5ioiWyBuhSqocAt6GIIy7AXPYSNtZKP2lYhyhZU14aJCdBnJc+d+NZyppQYUDnWr8G/ZWdGv9qZHQHHu9sjel7bOWz9e43gyzPDR9sjfCqRFFxLq2NgFhLiaBf52DWPJTUuhJ5E0RPwA7KYkSD0kXSMk9mg1SOuvfof7mpGMCE+B8tktKPKlnzkqODohBtaCv04jEXlb0T8KhQQ70T0ToFRfC96PwgW1SMtAmjZOXUhJwtA6DDbrPokvyecF8FmNGmYC+olHX8IuU58rePTJsbCzKEL9xZ1ieBTQjqbmGuEY9RAzb23XMzwpBVFcu6AMoKrBBk/VWPOL/7ShrPUnk1meEgIsNNPyk/xV0fFFs3XRoC/zIXB1piOPBFWulGafMkjm0C+ur3sTfe6ZVDBSTwtPDYulqNsGiDxqx6BqfnEzT3dfTb/req8nu7lI9nP0kdnOyXAfCE4AEViifJ/r7m4WFuz+vadxiGDEKL5uxdtxJflusLNCD1YPiuY9HdvpNZ2PZ56cCQTXfeE1PoMd0un+ieIqSrC+9rmUf8VOr9JoXGebQgXM6UrvR8HGcQ9/rc2QU9NYkaJ1mT4KdpLN+ctEEIl+hHk2eUOZI4amwsDMEYaVkJx1/AERCjjpSQWwEnAnJOOLTw/1GGyw5vaGRKdi6grrcVtEgL1IPXljZuyWbg6X72u5eRQFUwtIP/2DqWkfiqAqyorWJK2ZYmxiqHySVobhNaa8Eg1VNZLpk0EEGE7SBODLf1c4AFC/YUQLUCdHPoyjJgmuOlinfC7kCz2IBzYkXSyE2QnXgsqrA7sZ4qBFvLb8eBl6rUaW8zcOz5eeDf/CYBA3huVH69WMF4RY2UhpjxRDuHw1JlDdGxc/N5gkD++e7QP7bmZoKR7F2E16TeinyDkfbKO/WDKKY5JWYuZM/I1OzuyvVdeBeajnYn25EZ+wA4uGfzWJU2/3nyyDSQJ9Re36QrziZFOBXSFn8HueFg1PvsexTLVffbKeQuFqFossdkmeR+n0hJ18l0XZbj/27Rhsrt9RparWeCZp6bPD6qxo7bPzg04D7eUwiqOjHG7FNq4xM5FPUslU0i6ALZfjltENf9nfji9A8YYx/L3kh7zC5TEmhplpDYmHd0qApY32bVS4owfxOq/F2cwmxGyNWCa3xJUL48pMr+0L4QBhhL9p74xpgMtFt3lOtnZM2HXzmdd4sCqeq1glGChXodbZ2jNoJPCHnGQoUmzvCR6gIUxtzi447gJOTJHvQR+3gLN4equ8tVrwY2kbK7FqQ7kzJK6DPlTD5OqenmAU7T65ug9a7c5LVEasT18yxyE87uZ+NFFd3YwN06FDOKp07qX8UxmsP1hpTirTVzFBholQLf/nfSPgjsO1FmlDINkavH+CcJTn/Nf9loQHI6tVTI0/Lw54xjDyjPhqAF/7Z10dhyV9uHSk7doU5JyxNE96mN+T5eQoVp2cOLMMjo2OiwaUAtfYHTRFfxphSNyXY2VGxBqmcNB5qWDklv8hb4j5+Zm9b0miM1bwHx0XNpiaGjPGEjFC+AkAAckia8SrMyzIXth+oEx4sD3+IwuNAe3NeHAUf0HdaygcmTLgFKYjljBOfbzCKTnwL/1ZlrLoTO0ppArxYAceeSVacjksls5SAilKUqCCk6XFxLWfpvZpSPV9K4ijiuocC87JmIlTJqIPvcgN0hX1yyw+ewQJLPV0QRivcDkUu03KIvH+ntLjqY+X3jQFVgdtZZe55REgBHJ83vfGLnMjrobapRmpavgQdT2LwuJdPcG6B+560zJFN5EouN7dsKr8xWvPyPP3dkPm20x/d6q9HKs8usETMNrZnr+TlPi1YyAN28hhyvkrs3+aMAfz1OfAj9hBX8hvuW02Y4yYwX8o30xPGRktIjsT3xtPzGhBlRQirCsvwlPVbqTeWBSVhnzZ+ArKj8pTJUgCuMHfHJIT4CIaplA+6Y+HQtiuTQcHqfa77+4jGebCycJD/MpKMpQ3UqKoqotgE73VwRl+Y2Im2YE6Jb8wfuaWgjx7fQJpKqzr3jULqXe+CSXL+q53lOr3JPPInKpk0RM16w1HO47X/f/KiabtepmKP3XjIMOe9RhfxVvY/+u7o4v5hi9xmnQbvK0MNRSa6e/AV8UWZ5CTLqBz1OKSPBPBGMzGk9+4kazIRbgr5vrJGBbsmSWWRzpBqxSfcHsZ7SECgCy+VeMksKFjcrOfE60JJth6IA4pfG2W+0SQ3VjwquNmiB1LkNncHuXg7CzTkqcP957uZVjyDGD/XBxIDXnWa6uHA46L/CMpRm6FJfJrD6T3lG886R+80xsnofw7Rp4f8Y+rsVCmTIdvup8e0aWqd0zMTwNhK505Z+5JmsXtW2dc3ZOFwyK0qfFoREWSm/2yqbNP2DTNmqxyb0Sr6D+oir4ma+cJKHKu1qJxR3RRueIZD2C4PwgTfs2vNEsT02gX+pcbAmMgU7chckncrJu0P0fYTrGCZszeybfOLCXb31HVSh/eR5k7g9G1GrHRhcoDFrPOn74TpqQBZ5vKHEIQOYps13+8Hdmoy4/dCl8GoGP0+zpLNK+KQ7G7UksRBpE2pC93GRAHdiA4yKScuM3f8OSONUeDfSIiUigSmWv0l9LZnaf8tCwlZ48DW4cXkRQ+rLsVocAK/LpIPRgTTKAm0Ywz5ub8Gt8YSwjURggoNW5aq1S7wathnsWfX55H7MNKsLd4nvylm/H+3Ror7vQ64kQHKwh9rFOiSdEXRvk7cF1YbV80n6z6jH4Kxd2QtWRNHmSgwlblUeywD8wHgEV+4uhzUswGDyOVIFyNHHDfbKbcz6ZfmJkaLIm19VIrNjn9yBwk7/hgaE3H0ZD3+XEEm4+13q3CWCvqzjnltWSlsttj167Fwv2z/l1oYWmN2o9YjuyWLJFuIYbNuzAsojE06XpfeM8mPOoHzmOyFaAo9bVBGFkPvLpl8zX/qdCbkH3llBBU7RbnL3yBjvXZR96rtByB2I2M0aEJ7z6jam4cFzmeVwSOToNLGR3KMdUTMFOdW6UROpmWJVeIlA7kq0TIMinsA8fePchS7mx2+Te3J20w/c18Wh6RrKRcP5RjRZtQBM8h2OMvJvLdQKOXf+oC5yF8oLrOBeblgkd0bn0FJMpG/X+Dn0SVqpDTAzttYn+kzNM8lwpPpApLAUfpS13Ax+e3LJ/2oEi8urHDwnN83Ws45/HwT6/7htlJclWDHYOWf+6F2i/IMzTUCG0sF8MS8oYZXOiZE7oJCcepB8PGs6pwOmBQbrMeuesibj7vtP/zyjkO3lFipYpav3OctO9m7vXNYHBTyf6jBMRGKIbkUr7mmoctZ0dS5cNgxdugwml+jgO6dgjaDwdPWPNwOlsRjoqWlwt5ZX3IZiCdqVF6uSPRRH5n9QnydN48ybwbz2/lXPG279Yqql6LgkDuaHz3rNHu+0xWWs/vrykDQ752COwBIiWH7KYUwlyO/177BZnEIOVLr6pt1hOfo6bCTl6UuP7YMN+wan4aA7hVzBRDCAeCGkIioaJGK+ZFYIWQ7c6l0AYkb7ydMNoFgEXTMv4NX9bp5sBIeYmDxWG3wM2XgwbTEs88aFlUtmX1ejTfGyMd53Z8FRTnC6sqpFuIiwcFLyh7cT2GJ+Jyso/LeobNpxYz13vdQTFNH2mIhb7LoLPqmovyhwbS0GBtmSJfx+MxbScMh3VAuVcgG2u7lprCOVJtUbZVj39wKbEvfMCoRh29qPPZIMCwdU1RZVT1IJIR2TRIZKdoKghBNHYTPpXwzSh6XaRNblHhrIMHrG0R5+RXY02rRTaV0OUdPE0joYuPbRfDiUINz8flnqNd2YDHi6vETyv6Np14WNO9ZUrRa6BWh1i/fukJ2uJbFyl9drbkOWcf2fZwe4k8p9vwpAkTI8g/GnNLF/SHiN5qmgMDk0a+l8SzenSRcVC6lcuzEROzEKPPytMr0j73UUG1gO6yc05Mo2EngYKsYEAt5FkV1zn+ykdnDRNUDlVz6y7CmFvynaBsSUC6Rxel4LjUdS/gveLcTXwmXe2hg30FnBuH8atFfGWPZt1uc0RdYmvVT+s7U9GIXJBVYhHSCn4JB6k9DH1CkGmvUkrHhkALpmOQaXKgr5IEZSfk00YQAyK4eggd4e1ZQbMzvERvopJqQlsUXRYdTAuyDnXJDf99/OuAnmMra8FNKsVqDUV1ij/W2oysFieIKm4KMGd8n5IAX43sQnMVacl7AEmSMBeTdpcQzfRFujs/GDrQtUajvV9ZCec7w4CxnlLxaizzFJFNZ5N8a59xaNGlYbMBizf9wSxpzRe1wgGi6exYoTiF2qoRq0WSOVqzjbroO4V1gEUaeGtRr+KFWQG9tY1AL/gJR4vNVFlLNil8QOd3K2ltqWYOWeFbm6fzkgZEfoaJRxUBFiWtIpqFEH0bWxD6vqGCbcaBwuz0JZglnrxx1yAQVoQtWdBJrgSGqgXKrMCuuaEjIYYlk6vtgTmg5FVzoew8kxmqcFiKP9DYRzaBC1ea6MpzjeL4gRMh8jls9Fv+31zwfCgROfn2jT69ejeoplsugoBLIR8x3ET1pHBbvr9NRD3Ye2A737ddc1BU64QwUiSP6J6i6LHaf+Z1yAJXB/QttvWfI3ZHl+ybPqjJGtWRAh/HyA/Om0mB7BqlruZI7Lny2THQFwEs11Taf75Q5BKBi4n3fPpubgK70wMjN+j1Sa9O63AETsE3NfJ1hkjdn+HBq5MO/T4oGXZSS4YlAkiPaTGSd/9rYFLl79LsV3eCLOjH4OZCbBKsIXwndOCo5M/CoY8jPNa3ZjjCCS3aCYH7fvYIjwUbZRgNxXLLzCCx5uUmymVXTld+RXOld0Hh8MuJF29Qp4Bz4/9U0ICbASARIZMxpJQGLFbX8aYoZMmFDGsWvzHCuCyXYP+prn9e4MvzLS1BtmvV8BtP2xizeMC0CkedjdXhT88TJsT6ZBO4rBedILwqTEIPHblHgZ66oyNeprypdQewbM7G6VOUtYkie3DcqHMbq8rq5bl5MWLb7Lm/avffVDSdpjWKN4IPEmWqvHnF9d4qsm9FSlH8qN44tCA69z2Q/TPlE3wujug7C2w83MMiEPZ/WoinliAi/fcFeYMChuTtwOankEX2nSDT0Qgs1tzHmKGG6CU4P6rK8FdQcCeJomy1v+z2NIJZta6i3AL5qlxx4fmX4NRgFa/2Lkrzs4X5R5gFDdp9a8N2hSQTDKH7F44Z0CYArU8qmrqQpJvfsejlSuEOA8lLBpHKlJqZPXiKSfndRjqv5iw4QjeB4StoWAXlMkYKobAF1AAh2X/nGNIEdnMEJW3MkRgutDYsvRi8V7g8EYEYPl5EcUVnicw49k9voNOIth2dHZBt3WFIPkpvj7c0oQMS8rfr4OE1CDqsmVaDoKxNNKPmGFe3G5ahyDoD9b/TCO4QDPxhG8Wfh0gbb/FslBfeT7i4GcyP98bnvyIKr3pNVT51CT9+VsVm9SOGNS6ENWaQTeMvGP39IuKb45h3h8ZZBbH3UI2Oym5dzMnV7Q7w4J0bN6/Jy1B1Xt10maPLqvM1lEFXb122zPuwHakNAHBmMVtlb2+dSpGbPBwPI1zz+OP3QY6Gr6JgTgCWfD3cMB/nBu5LLha8kUUfQRkoZSjcy6WQxm8LiQKB5MEIGU477lFWeRXkUZt64QOQG/RC4xKf0kbbu5X/1D62Q+SWUayTIfiJ/c5y6i0IDkKhYhiE2+4zJ+L7l7d5/bg80sM74UKlM8RRjWh9e6oEdaWx81INuQx4dAblR+lC3alm2vxE83CzuO6N1uDn+0DgoK9NbVXOPHynxHJW5a3hZFIvHwzl7L+j5WWWgYvL16GNKAlaQyohk4ySWfUtZDgq9cfVydFSqayp7r7llw0w6m4xQ1o2tnIRy/g53qW5yMvVJczZRyTky98IcKelR36NkonyPX42ejOf++uCE+KUOxseP0oUcIrUa3qwFdhtPpZFNO6dfkpVDt0dWezRmVphmpD0JOmJviAbbmsk4W2hFBV5C/RWGoLl9cDCYARmHL7As8U/3BUUNzNjzJqXF+afwIbx5U7F8218GcwKRaQK1fhBmqfUHObNcMtQDKvA496aehdL2NCPYtjH6h7Giwl7NMb/41on5FPlb6wobftX1CCm43EDn2P6/wFNtYj37OwMwoKsc94sEnwtLk5AzQmiWdnEhcasYgLi/QAoxcQoZ1xHgt+4rJdA3XFUPRwrTiIlxqoWEpi9wvNCjt8oTZP1bVWq9d4D9Sc/+2yxo+R0l76IpUvR8LiRDMIbo7KLpmzaQe6FqVcGQUDBQlMoFu2/FaaVv19TgJqf2SvUpZPAtWpb8DmxlmPUoObTFaeu5A1B7Y53KHMhsfKAzv4cTWtQDrDW3G0jwbKcH5xjriz22i+hu16+PP4/BE/385qE1QdvhPmjPnb19JDWXqDFCoFErN72uV8Gzj+wZOsveH75wnLvgsyueqjNIk7FqduosJ0hYixQsqjS3GbgVs/A1enTOv+sRUQH23MFHPb9KigbktNEJsrykgwGftOILQamJmpSzSKxkTaqAvinK3N+2F3W2cP+VQkTFsnr7EttiJ9D/nAqhweBBln7RVLv0N3Rc0TafrTXhQy2vT6PWj9VYECBZiPxc/0blPiy1dzPiwGv3yrUo9B4KAlVea3drea8SKqXrv4T+wCeE/O+Q6dTro3iXbI4j84b1qgPFsmc4G5iObRZg8pUr3hwvVJ9NNHytyUXfv4tad97QUSFaiXmY96vIAl3pE3I3mCU69gs6lIoEhpvz+ZjdLAlndOkMoCT+UbaD5o4+RkoY1A7HWsHK1CHqfpH44OVO9kvsl/HPPUFnabR53D01TV/mju8sUCIpbZmbHL+bnbL1k6oIYbBXAC9Ny8Y/Y9fXoMevcD9ObzIv3GjWggORLIQqDK4aMbOthdTw3RremT5i/ORl4YGIJ/KmwyHbD3BT6qkJUkMLgbqzZMck/v28yml+nEISlTKakAkHTwN4XYkk+pSq1PKGs36U3WWEDWpDb8M0utufW2RIH0pK6+pawtfkJhQNpvw4mrzHW7BFfoYP1MXxRiM6Ylf4ScFKNhHBjSS7YEOvBiKVI6b4PKTwcYMRsKO1rHFrGGqVajPFcBkOa7Z3pa713rY4yIdj8OBW+nSqdwUU0504HG9K6ftbX5BH9bNGp+oaaiSDdmDKCExgaDZfET77Do9zrnTXlzClK6rsNkcH9mELHw0xz9zQbYzX7fYv5CX0qiPJdIfVueI8lAjItYgyLeyxxg6bhUJKE1pTFltw+FJsBy3yPMsLG80H3yh9IO17svF0EnhUqxG6QTAjt+YByPDeo4sN899vk+jtfDBxcV6IXMSqxaAs4kOiLYNuqw16tVsl5ocKTLL/t1R9wWavLuMRhyeaqFX3HVPzlpc8+RhaUyC4+M3vYGZ8gAeT37hk7DK7F/oWKYxG8X0Nv9hLT23T2wQp7dIZe+z2Mxbt/r24btJoh7TrFjMdQK1AK55NlJCjbk/2HjgtHuUmxVXjpueZyXyXJ/IsPkzI4PIhh08GD31luQXSm0jQOw8+osXZK0jqkwI/eaXu1VFH/9ke5eXL6tQS5c2RyPV5yukDe6fRGfst/nmGOIBQMBBzqhROyeDPYH9uKvolcMpN6LWG3hvTf7SMQ+Cum9nWAQ8D1wBBTQN8lUlc9yVr3nR6kJ/oVWeZnlbYVr3mFf2SrwE69mdOVN/5gBvyjtw/lTXnHG6uQGEaM83zuqrjZqz8EXcxrXdGEDNz6W7FkbKjcWG5rd+5FWorM2mSHtwbYkATzuIwqcv47ZbNxTICwh6N3Fgv4nFhEdHJYGBMpqAWTSaQBek/97VaMMMDOVRw/Tj9/yAwgcvFNgcEzH0M784vqPFiBwS2DkqMA8/oFVknM6EXbBoxMZVrYcRU20avlViJE7e8MU8cDDuABzxiBQdj1qFPyhqsKeBVZqO1i1bFkNYzZ/rqn9t/PI+K3/j7CpFBaXArl69uNfJJMN9c2zikrY6JcSBZKFQt0MacRRXQ7ikBwxmS3tLwTf2dGklUvXWUiLhTATRbQZxgtEv8+DvPn0rbcJeTut4XJTm0kva1dXwc1zyz4SgA3WI8ayPZbYaX+M+7xLcLNNg3ui4B1DiOkSqUBkBqcrroeIAClHskA08FqqRW2WzW23/GWj9Sn6RW1xQWppKyA3EsmbbeawMuylK3e0KBzi35x0WtOexUNEBBLwGBpvP4WG1UcHTZttMvS/91m5m+S1i2Z5cbNR7XarQz0mhNGXRPyHnA6TaAgF+yHdzpuEmWzd50bHKJGqTqC6zmKXmMtTm6QQUCacNXDzoAPUVtJ26aSdihZBRfmF7vtf0xLw/gxVn+PAcUUdJqTMOXyrWRYSvQoO1IreMKDXQhcW4nOo5JCR2b5gucu9RGdhEoWcwd3DiHWzeahPRhQtqvGcLq+GgYoJzI3KoLPm47pS+RXCsmM4dfezW6tnyeCvPtEewEwCy8+qGUz7HojriJcuWGAFjMqftS5ny3Lyof9sEM1OpTQVHe6JjBjUZoKodvJYlnhWKT0JvCFvvOGsOqitAz7iaDAbBfcj2nYemhDS06a0Ayn6+k22/YKHypS9JB03Br5Fx7nVbqkvHEahBLJPAW3QuLFCSVtNonnKd2U46YosB1//bllMaks/K5MiQa3IcEiHmubTVZl2oA/JNboV5K0z5AHjr2pdeKAOhG2ddNllg0EvMUREtP1bgfJtj7U+JV/PgBCE4GoUjL4/LYzsw3Mrksv6lJ1w4UgtdYvl5b+TYvbaVhsXIwtlSDJkB9aywKQ2tALiaHTLw983hkVXIhNQLz3XhZ0hMLM0UtpO3ccdsSHAU7Z6gDljYCdoN1A02Zm2aML81+IxftueIW7R3KtV+UURROWFGWKLin0RI7Jj0DXNdl9EOJEuX2XLNQNjxSkUbVRvVo+GhXsGv1j8xo2oKOnWJPIkuVPuQEKpmlORAsmJqL5oxTdgXp8yC2hOQ/6NzafcBg7rTldAAPpt3V8V1J1UAQuehg367OBIsu3YIZ02ZndwUc6davFSL3DCk8EL2uwXVvRg9GPUctjCC5Pax2XqMKcdyVXTDOzrr93nJS+54DNjinaPRrTAtVA6O3DosNm/hrsx97PzsZyBJYlfRVCkkfKPWaJEwjN+pQ6SNrOTTzzUR41XSM9C6+avecOCU9Mb5HV5Db6rkJILD4xSCAAz+vjov/XC1eeExBSiVCqJ/fZlrUKsuk7QDfa8sN9L6etLCp7RjhObojH4tgIDbXzoy4BTq3fNP/9R2YeoYvvL4EtvMZjw3nUDgyapc4+kPFerQOHaEgIVW3shkZaIJLoWpxgO+5U7J62QW7dxGQh/64pePGtfzG0JBO+R4LygOrOkf4GCfTrddzHHBLJXsXIzTpP38OZTAtKokWzwWvMOx3j8YajjRoD8waD9DsNjfkNCO/g4r62A8oqHactFhvXw+RxI9BmXOfxnwOgUcJlzdjog92y08th1UuaxzfC/cM62RAXx9KPFGwO8ndaQgUO7YakK230aBtknqqePCodCpHM7V7y6rYLdrH0zZnKppMusNdpgwA421Y5LGppUy85wlvODoaiI0t8jofYJ3T0ZGLdxtDinLdxc1xdTBZZ7F34ev/ItNe7OWeowzmQD/58sFwTEiZbLZLqnXLcDFZYG4MT66w4nSAPeYwngca2hNKq+A/8a7RjGvGHuukR8r0GKhypidRsh1N1iQyfp9vK+9vYtLczsIZ0OLqgMjP+obLW2B9AlMJXnDxibHisXu/n5OoQSZceYQ4x6dHun0JzY9TTLYvufuRg1dNYKysHdOlK09mD87F/xEHAQeKlnNdXO3mgq5PO7uCrxNeI7Yhrce73qTLWezijD9bvIjWTLaJNqUP8hxinAhGCaC/yBA2Eeb4/4Gej3pfG79zAbuSAoVITrvSRo1s/4CKkbLSgHNVzvoP+1BQ9kzK/CvYWU6AThIQUgvsjvP2+mnfbKf3ceYbwPYQqC3AJUyMocE+TxbsmArZFA/yxLUttC2caLlsD6IpD+RgYZEymSBlrYsLzjd2Ofo1KrVEd0f0FbS1Vzm+PWHTIZ5NRI4vzNJ7m5jWgQzTlJs6Q84qww0dNNtGsuweyhuZzDq7YloL45csTvgrYqd2cg0VyJQW6ZVfHArmBa5pWTukLOagIlBxSyP3RWwP3QlDrPaG0O6XaJNj9RBqZefUB9LELzIfSk6oUNMtnz2weag8z7cLYePjxujRRaebuobgdeec1OlOvBQlnMIRk3x4S1blutyR/zk1KdYJjVkZ3+/E1cqeX25UZEKLutensn33PXKF9xqgxh0EhicyXFXTsjDD8+gly+QmgyI3IvSe34ZgQDOZCIqpCRugdeoFBiTgwejCIDgHa4CtqFJdIg5UuciO9qw5NgQHOTs9prRbxp3lEZddvaeFeqYRthtfRpaGxFB9BoZ4zGThhQwHHuopxPCqY56aij1tn80JHKZ1D4JDjuSOyDHJbF9DXHl10Wp9Rj6zRgbEc6U7+iuY3pI4zRbzuifgJ333WKyiQcoh3F5hTZToThmrNR9m/+LN0uDfkk2yn0Vd46izf+m7fIzyffzwefEdgL6xFSj4t1AjS4O2YvtlZxL1FIKEGHNa6aRTiBRSJwRW08rQyq5lLwXoAzM6vXo7rEbOy4XQ5THP1QqIPargJ75kEIf5nUliqZprzMoJSAlv7Ws6KWVOW3V2c0nWKQI2H7u5TSH/QwKuxqUeG4VL27BstghUcMNQIcTD43FFZezHs+gz4czeKXoD4j0xxESr7Z2YjD3TQSCrCZzdPKGi0CljHWdwiQqsmBAaO17IR8rM38gwlyNfNYAmSIq90UiwLsUre5CnW1NLOdxedFSTjqbzP78yOLjsqv6OAqxcnBXxRJfwYqJJN3QDvilEE1uTjUKAABG1bLniJVB1dBtbsjlwjzUULgMnRVspMx2IeZ6QMUV0c83PNqBieAjftRqZ3vN8OLLnR5+DhiPxoAO+GNMVXIXkM59y6k1fg+Ws8dzo4FRqlaOOw5lJ+ouI5bgxmFmRE+tS8+zC/66Gep6rt3rBgxnPxK679C1aWbsQV4vWzXY4R5gOQiawgB86V2Kofo9SYLH1tP+5ixUK0aS/mqCyZeWztJT+ml2I+unW8mpu6nrlkloyK/LMJBRNJBrXNQrotAexvNNt8XzWEy6hSH1g2zhFrbrSBqb+frM2971UOKeNP7eLJFXQj362yD3lk492bW3ul6VOj1P6Z2pUKpp49drnAetBn/FDKiBa404ehXZC7UT0bwZNfAshDzwp3m4aSyNCWo+2zkm14nkBifJVbqgteeoc/XbxfRu5xKvzM7Uup2sGSn0hLAR9SvHd4g7uhEOCLswAhIgGaSoADKQoWAYXTymUvi5be/t2mH8zbp0PQckYskadl0zMRNcme6dU9vuduErbMgQiYfE8mQyMsVHdiUUScgt4D6+kpU235Z4GtoEL05kW+Zvazxhga0pMhPJaq1Sj1OlDGDJTgG5t56tCXtaVAxQyNrIFFUcY6GTRp9DVgreVzKA6SOHdY/3j2gEcx3IGkYcWoVTh6WbRFb1y3Eo51DnKkwCqhO6a5LmdnBRNn+kiGbEqKlA1tgEjMYYtZM7ok2gLWzRY3jYoroJ5NqRaSDJJKrK+jaPr9UO5yx0xnAN0QXRXTzzhED0b7MZJTTqIqSoVmB/7vYrsmhT5ImBgouEQ39MTQ+PboRBEJ88Uh24m3Xz7WQkwryE5nY74SmhzlfNhxMYsAbJA+Q/7WwigYcsZicNQrl0kBTXgtRHpR0SeGUEGDENJoLD6x0y5lUiok8dXD4k4jRJIzRofMg6hxdrtMAGFZU/2RRMsJSLQI9TfbleIkH9Xu/7h8mE+mwLiUs2U5LaEeEZggBFkWjzSMsdQNFmAEP2sPxWWHhpFzwlZvMAflIuNDo/yyiHojtbuPqxiw/ZiH3P0qWJhqhjBz/Z1IFLqaX2S3s/e1AMkITGtSJ2Bl1e6w9kLZ+tFevYKQddHF1QZSM53YR4F8nQ55oE4vekHXqRhyiI8tnU+vo+mWw+/96wbgQghoYFkeUlAiBrthMR6nyJ+kw+u5ZGLY7ICobA3cbU6Cv+RhSZrmjOpV7fGRsSWt9CxbVIXYOp56EvAMeaXKj19hbJcQx56lB7qMlKqNCsd+OfKhRbal6t0Yn98yxP8asDL/V0FaHpe+Vim3p1G1wbyBJtO72CxgpZ1E27sXYkH4r6O0VmMnXiGIF67DMDlX0xHuV1JUBxj52fh/Z6DMBWly8aoG7uRe7MiRqg1+mM/cju5aSnvhJ8jDeJBKtsnLQKrWTkC8xIbT4m0IYL+S7h3L83nII1jJffwvHuoznb08yMRcXuPmaJEbrzCJ8dUZCyDDPxq5xQiOyB5Uy/+LQSJNLlX7tibK6R+nVIqxf5X1hLZBrPEkKSk//pjiX6wDuJ9Da0CHjdtsoCw0Dt+g0JKsWfIjVtRFzXT5e/kTTFN7TVZ8C7o1qOBaVE4t85+WjQv91IxGlnVJHviTCARrxHMekTahbGsGwep/2ly0BVpnvOuGkjuCx3ye6sV69Ee6+VN9KV9YTrkAnO8BP/f7jGcW+GvEjl/gbrOlXeCYJ6T5eKHJx5aFMFihdB28lBIm4eNf98fslEWtp1JwY6tLaL3DqqSJsPrVnp0o4vYFO/+kHPThmA647Ro+COx8eNV/mw6Eik9StBGqj516E6IfaMYDBEPvid4CC5Yrvq+r/dmxuDTBIhGtV6FpOgVoUhPKAXpp9tUu77CdTWQ/WIfEZFTX22k7DOU6ysZEUV2SX41Ru+1aeftWa/OdFduwJGyOyCZ/Ttj9RKqdo+kHkkc7qLUAJ2/TlxSm0CvqYUputUb6BLJFdhEWJl1im5dmaVTPAX7f9s8vNKsiHxv4i+qnYQnhOhZ/Qb7rQTaus60YBw2jWWgOkCTsd7OJiYBP8kpApA2SCJ4pXAEfvjhWlPz1pftBoeAbezSp7eXUmKCbQ3By24Rq7C3QKXi4tPEpREZpRWs9A4SW1tCf4aOckd6FlQWEnzt86HDjmUHDEMRhNzD3wQGUw25YzHe5OaGlThab+yFV5gbQK5oa7mw+/SBfCnRhz3dQ44jsb1VjMTQ9xfyFQKE6gHFEMy1AMhONP9sMy6Ne04OAv0Ed4k8u+8XRskAKJM6c0sH2ZflNvBp/WHCQ1zLHvwTaHxfk13wuT6Vx+Jbyc/v1FTzbowcV8jBqGx33jYUEVoci7gfoxn6JtaTEhl1U9dOXhrWnQKqAcWF8SLQEKrEXc8kQr3WBPoRu0PZLe43unDZuyFdw0UIW/B6WIvjmZTieeILGEx5rIy4tPRbRUKtuDwMBfxF4usUa9RzkRLqeHffYT1dkIUv6Npu8nR04Mqbp6fFHjG3kK1bVN0Z24tv68By9i3AZ0uyrzk39ymDOfymiBkPIEFo7iGb4cvOD1D0rpt5//TIkYbqsee61pvP3dbb9Nou9zX2RGlUVzaXx+iSEVqkOJTssRFmcCYVwkRxXk2mJ39+Tv7wwi+fc9a/n5808H9NfWei5FYDaRdtDza18JQ3ucGVk3m0PlY331j+kkc9tNFIZb1DZ3A/MZz0Uublav8RAyEhPqY0jWd/veojvIhdHdT6t14RdA1ioX4siAn9xxBAGoPjXWQ83KzGXaEhur09fX8pXipCczk0Zx7FRtVAhyyB6T+hjZuBUYMs8nwEuoocqgf29aGNDQ7KZXMFBLJpRDKmMzkW81Fv6kqbRMObuZq2TAM2unAY/3vAGxS4c+lRLjOT2w0FOL6LU2yWyqU0IbaHFhI7OHeG4gtIWPiMKMZYZIUlfuGkC2dhdcmw2PsvH1mEIxPgfUwktV/r5q2Jv3YLWeY6R/ah1DoSzCdP3cQ5fp2eKKnMJGQfiC3zag/dhSgK+BkfqMFEc6zmN6bX/2cmD1LCWYMJ6u00hvSTiXbgmYU+EXD6VCyBqZiBkDGldchPiIiDwq5TeahcTV5eu6wIZHa5apEqzSE856XETTDCnCf/Y/WaO7i8cnodtq/Aavc31vQoGS+HUikw+ZqcDUEtGhiQHJEYrFyNRMwXJfCiVtX7E9KhZahWE3QOQmBQyStHnx/P3jmmuj2lljcpYJUuwJBbqvKfgnXfymQ0eKk8POnc9YcvS3nEZ9x7ESIMyq9FHkY7ksewi8/f699WWrInK5N4YsY9JOzmoW1WyK8/dQB9PDndDLuB3RcbaSfDb6ftBUG2hrcpHjpbX2haQO/TLUI/JMPkb0/rvELuh0MTfI8bMebGBKCvYaehWZYAuKtULIg6GbM808EO68ha+iy22TWXkNFKBTzQRUIQHMixLbLYImmdCkhxVcuASpBcuzk8G7oQ6HR0AgMJ1FIeQZR/ecsamO+QgqJ/qxK3fg7wd5e4p5GCRIMt5ZtoxVF1nyC/1jFF10FjONYZzqlHDv2mYfSnFj9SbnbxpECy1Td/YSdxOlq4qRWpxXtPnBVsKhcv2qfvcEgdK8qJa0hRV5O8qCnpTv+5aFNUM5y9UYsNZtyjpYjQhmofBAQkgIePTRf5bB3Ef8prhWJnGp78qnv5IgXZVDUd9MuU7FEzcs8UBiPM/HglAmkQc/8b5b7VlZEFC7pTx1vvLJ4n78T5OnApT6ZMkAqH8HCT8KdQ3W4wRl2UOGLgsyNtUWFS0jZwm88Fyxm83+g887NMQrqId/Cses+wh+V2Q3AO5jBsNBuRW5QjKKSRlfiBBQlvvzmYSRyQoo8wLR6x0K6pSKQYHNp9UURGR6frWqEmL+SlaJjYNb1VcFvAnKHuCmwy93gIV6XI0tYjhI0N4SrzYratipHwOnPIePFCG/WdQcxP7LHj/L2hwPJsX4TxKlCSMvgb7DG4IEyXlr+cw3Fsc+Ixru03Hog2f9atM1GnOcOQk5Fhx9KxM1Wxgvzh+2W+7xJq8TgE9oswpKj7omVQJLljiSbvFZ8PkOz0j0X5nB4SrrSutnlJPAVypjLTU3su/2OaajWfsaBbifyPFa32Lom9dhJYZ/xJ6jEXtY1KKz64GWcRvefHFJmy5mEa7OTj1aZYzjW905RiBjdg+N+0Pi0FBW/6BqnB8Ij/6QCpXmKtDFbZCHBGL5vL47FGWEdnwXT6ACiYoHmqNLsYzNoFvAOtmf7fO3gK+5I+3PJiozkcmRRvNgX4tzIwzm0ecfGxifLLX9qG9efeQysv8al+fGnuR7ezXgwBv4ZbdFe9LJkt9BvpLu3U6eQazvoUTsMb//W50yJTKqWDPI4pT4Eeuz1AI/JGi/vf83LQY+6FG3TUXob5QpniBEKG8IgcZph4+Zqsr7wzwzpjyu30hWWIQNuGPHtES2lFOloB6b//npPboskKwUBBsA3wdLvLXL6gNwcQKS+VnlbyT+t9XpjLYj11y9ZgMIUqq9xXLvpEjDxTSWVOG9VRBSPO2cwgfwPoWWE9wrMkTvu4RAd8NefhrLhfKlN7+5H0uuAUBl2E1ru3jiTIp0/S7La2cK/3+McWVnxdgH1SOlWhkF1ZB2tiTc6cTYX0lKQ/4ao5xeL+PkBieuBPQFZK9gYVz+nU8r8wgBolt8JdYvA+ijltSx+3Ta9Ufo78ncbI+pSv2AyigohsXHkxlMyy5X1GFdBeblxOPyubtdR6oamxiKASk/c1ZUQElLXThBGffDn7ZoTWEJ6Mw9PoD6RZFhKLJCwzwprCAEl4nDR1c/Ma3oVw4YHngH/8ZF1LygBP8IljjpI1My5FemCzqRw3kxKDlqO3Zli+YXRNUMsV3IR81ZFhXCVO1T30agE6cnVqhU5Aklf4H0VDHM8Zmu/OKti4zoVjtNr6CXOtTNYGNwzDJjthD/VNKsJbWrhVtvk6H3kSL32IrH3P9sMcos0fhPC+/Rp4UiEKxMqcEpdin/gJfvjM0KwUEYjIGEcIg4if2QY/EUCUZj+cr1x+oH4k7UYHPXIij7YsbPQb52looktcRau0HXPAo9P3aZv9/LzcEr4Pps+Ipq98k0irjUjcXHQFUr94XhYFkFZaZrC5bqoPyJovZz4+g/CcckHuPU3kxW9jf9NzZvPprbwwMWyjoR9kW4MLelqJdeBEpn2aRqPv1w2f1+wk1teohH9DQ6Q7f+i+G9828m1merAnCGPKYn903BfHXy7Oh2rKDbyEdiMV4avzYrsHJqvZqCaYU+khN77/IxzZ6MVZ/u04y55q3lC7lH7wBuSvCyrCJQVo/IUr2PZiTR0Z98p58YC/YBug3Yr7tV2I+VrRzjKLAly9p12fxBOOFWz2ndbadbMSBc+SGKl5AQJoHqpUyH/bhxJnIpPxSRMmYd/pKUXcU9HZS7pBduwVYlRmQuyLuLKyrNcKTup0LDdPzSi6M5tTz/ndyo1de6XUQ4ycD+/ou+tO/GKDMTaiMghPqMMZfqGZNo56FvV6neFvrEtN5BxEI/q1O38LTz7SyuFlaLwBkmGn20wWOE1/KyELyrLrjOrZEqHl8LzWOiT6kXE+PKjzTpgWimaPMN0raYOBOjiHNeobNVY2yU6DLfvF+jzspxCW9iMkvue0l3LXbZs8bieafN6EbQ8/lWFtz4A4JT8VDNtiwpIM4EtnMYCUPSyBzxzp9igOnmg8pPgAgnTFd+hhr8rNJ+UPIt1pWox9+noHuu/St5UWInZ9QWSBQE9SFVx2/1Cfb0gN/ZRlwQHhpPQpbZp+Me0U6o0xg95o3M+Zdst5qmhLnQH0tyYUamEtVVsKgV6HKDRmpP7pEaFAUOBAwgugYMYo4pEE+yOdzQCKIqFHw0A6yjtDz49ASrUZXC0MrGIrz+/mFsoy2Lpql3OAVgykxw7WTWb9qXqQhP7g85dPJLMO04tOzAcJaJiJPhuriur6NkdVsoOguw6JVk4mjhqkNWecP2ZzhxzaCJGbdIIAS4gBDaZSsAUzzJerwl1QoEFgvIIxqBy2Jy005o70EhzBNfCd8YR3g0VcZ9SWhzftOxoupIEhmuxtO5rkp90oQfApEjsj5v71bsbkyulserHovhKFGokeMvyA7BghpHG8JuXyv1rrH2xK7NLO3LO/nbI3B7B6XzAmGVboD4rEK3ugjij0gaWKUX4HP2M3ZuM9z+Svqsl9DeRLCpZWce6MiNsELbtROyuLW9XvjrGiGEZhf53BuC/xy16BGaW0X+vCgx0vYMl7u+xJdsIw8IfZ7pxmmtivwohSroloiX20tLpeIR5yOqPE0DEayZ0azZNPFBOPsDu558kdJ+Fs/ZjW8knpDbb3qTdLo515aP1X10BQrnx64XaM+/Cb17mmwZbwktXcwFN0MlwctkHwA6vEmonk8UyprQpPGV1oZZhq9NAfSPXr8nr9B4oXWHRAD/VFMQLsO6rUWt/O/1NaGXsat9zvSTxLo1syGsiYgMJtFMWKrRMsjhgD9O+7UR3oMX7erDGt+8hc+KbEK8DjIyvd/D+CTVGb11DfWte+A/pVmi6MbaR1LX241RWlPNiDx6BBINIIeLrWJw31D0yRen6w6QPJab6+wd0rEPhrEKVhI8De6sTQWDS59jtc54syQg9OeKlNhKHBZQeculNTlLuKzB1W9QftuXuP2PzFbGFkL6zmn5sS8VTsN3JxtKRD8gfcPR5sAzYrs1nQJdqPUviVbnCLTICDKitLZ6l+uwcuvQ9/Bhx8MCsWP8E8zJaiasZwJysQUVH7cMXVoUkhIO1od/FudHXHMk08evboUyZhrbfW7PJhMzOMAbxU0kYbgecB0C1wdf5Tw8/slO++EzcH74i8YUgOaDHMr+k4tgixAEdjD4UtZyEcY/vr4z497fiyFUdMV8ZJmLfUbalAyM/VzMkXzIpLamxuCrEeUlWx41Fv0D+2SGGpC3UHTpn7x01gfv44zpqoL0HSQwG0icOgVm/mkaDwh/xjhlsySpvoVs6BtqkIkDpX9zkHy2LG/G7YTjP3Q3stsQBTVtUzSktEi8bHdauWvGfLNfz22HX/Klev3bCBEOc0f9OvjsFgOE5V1URmVOvyCiTK2vmFGdDD8YjkFe0EEHP4HRKoCXYdggAtZMqYCKdQs0TwFovK1XW602WjXM5iBWIRT77EVKmExFbH2zKrR9bRYyY1oAAJgvNxQ5ISAZZKSvNRrh67x3CQhmtIiUoKHQSG8LjsX7+kKzHThKnY279dx0/8bed1d5Z3Qa5JsVzPuHeABzTV5byLX6KlhJ1TDiP0OoYPXlnR0/9hLVaRwTaSm5Bylr2O7zl7xGpiRT231Ww8ssFPOFHWa7E4glSZMl1bIaLZPwuXTaZOB+vSHznoJ/n2aqFFjUOF2Wu70gAxstiFRKbDoTj50j4HEPQxrf4efcmyXMjCcmUClJ366NfgnNEXIk2SDH0emhS4kPLlK7B81Iim6ihJFzXRX6uAI7Xve8oi8lkyTrguvUw3FkOTio6bmLoJnEIoBY3GX+DI023ZfxKtz+4Bx4rxLVxH6mtr9MLbSO0tb/FC6E841lkP8Y0P8QPPmumMftb3DC7Z+PAZBeVZ7wUj3msYKFxn/py+YBObX8WvpUOr/AKxw0bQASfFOLef+FBDQ03m8fYVgMQG02dPTf3P4wBK7p4yW1grGCpqPxtz2oaPeSIb+7650YDmj0/qyZO13da4fSzlO3x5WXwJM9MmOPDnyKzddzXYAW9+Dp9MMAPcGZnW72e8yxDETRIE32vHfgFY2QIYTlgF2IL5pbAvwUuyq2d42x6Zld9tEWPSb8R4/tO4KAfThiP1MFUC+66su0HWnhF/rCxDU5tK0XWAdu8l1fSbAoAI/T1L8Q5TnmUrG9lA2ZWsR4X8Buz9Ui4ARYjhOjAkwKObch5IMC5MTOQ0q6GM9R6pqscEoPv2ZnnoW9iGh6IWZ38STN3CmYa0QhoNtIHDnw5B8moxO2Pp3oFCyO1lfuxF/gOkuTCOOkEBFg/8mtKvHMbYnUy70u3Y8VwgmTcJQCeZh235sdC0VzkCguSZ9jKnim+lvu/ZxhXUAW5u/uV2i1vWS30WyGUUnvNzcFqOpVxF5LKiDqIRTVZODQZiVi93T9UwT0rMf27BhXe++ssJv6TuCq5Hz4TQH86s9Z1Jr25bEfkBukdHyfFQGmU0JZQYf+AaPamLlDnykd3dhu89Z4OJbBlfvXNLORAtgzqg6BiE2vkBfQ87yxJ0AOT5SaFpnl1TxOzcKAdvijJTlhghEqf/7o522V96FhEWbceqRJlXf1TZWl77pyaayoJv8Fn5/tvlHH4IN+w4lS7sLLyKTf8C7erpERElEqrB9WEKkS9xBsOfhJNF7MaS4OE/3HRPrt57MSTw1xxaj9uMM/74brvzz7iufwxQ3HjiDAE1dgchN3nuV6EZTkDoq6et65RLMdkn2K7dLTq4sOZWs5kcnzPivk7Dii+ZS4wTUjduJURnGyFJA47WdfaZJj6x1eowxXRDQN1n/RMW9A39zkCqtx+acaUZn4HIwawtlWpfJGsswCN+15xNWepDqEE7n57qlv7kQDCWHHjBBM4/4dNvuzKYOzRJ70SyCZQEZ1VYrLtPoL9VBVwa904Sf6yPiJ1caj5TpPN49dEErfjq3ARou5LY864VmLEe9LUBX9y0U6lOYliBJxRn4hOS4rmVwZd0+9Br6FoiPeFtBlH5ssad/3XGU1AvFy9vmPS5KNLZvVNNAlLrCXnXP7REqMSECK4aFnW7F6BBlisJWO2tG7BZMd/eREdqcURIhQccMf/9ogT0KbLtywpL9I+ThD0LVllA0GbXgC5aVJvEnorCK2PTedtltQ7vTCKlxidSdN3TaQV5QJ2x1MSxTfQjR1ucyI+JW+ZgImfQHkuzRmcKtdeTzYRz3nP3/Ysreo/+y+5dHQYpjNJ7+wYdyLXrx29/6v5Ym+VetufSgPiw+bPHN1w5+p4vt0wl9oBuorA8641Y6iRCjdmbZC3+p2qrtKTzGa//i1DNKje7Vg5zdL1zecXX0Eix289pvLva4aWqQl47vZjt3Wof/YpLTTcSY+jsrax9JQqYzC2e3hIWO0n55r7vnHxiJVimEt346ZFo5LvuHDD9zpqjQoKIMGRoZcnOsEUxKRbYCH4jcOGo7DBI5hOX8c+jsFIICP84Y/gP5KxvwbdXXvaSSi8u4c5E4o/CWUa8VYRc26yul+0dRRVk3HhopydfdWWC9xTONZjjyRvxc/vHXPi9cvKSunZBBpbLAAwalvUGChO6tq50RK4HS1C0CLQBRjKlAt7mH7IK4HKz7pQLN1iskXdjjQFChSKHFJEiskq+MWF2q5h4UfzPal8TfmK+5/AGK+nH9uhnav43GMrIjZSmjJ6XX17/Sjl+03EK4BG0G2iWnp7CGfkF8cAP5qri/5pY6/UM9Eb0BoOjtKFDnGQbeP/5OGI8wic04gGgzjy7xDMWYFjt5Uuyavipzjk5HFd18gwjazhZxCP5DOI6wN4qDSNJh8fRk46V0CQUR351Qtuy+VjkGt6vmHPdYFskIPzSF0MtApDerCPF28Q5neEoJ7Fbk+4MGuSdCXNy67rw/R0snkjhyejYH+Pe2+emxoZSlIqFnIzR5SBOsIzQgXEGJ/zdIGS9gZk6l4a0ptgoYKZG03rlaWpWN+d1QC3zYzgwpBbsEB3HMp3wnyvKF4lFJleF809mohiPeM8QUdzj3sduUxDfAOSTH+KrMq6mnTAOqQ+lzVWBS52qK5ZRznK+oNSIvnubVSFMH3LoKYPL7Sb7t6+1Ij2UlpsyrhD6r7A1Jj3Y7EIrsP+oddSUopK0qzFLtenC9U79lpObsFIveQPIzWVbd5hspMB7KuJtJ9eam2RmJXTHPYx4TJPZTdmyQnTNJLVPQG9lyiXZobgWaruk3TW1/Ew0TY4LtTtTJlqt3Zr9r19PvyW4RYEXNjpaS66AfXmpp630Zj/L4SRyae2NiJBDgl1Pq0XygAllHlmJnmOikwwBnTLMi5p0tFC5JeDsKMOKqlsNTYXL/fxbphfyhkE/Aueb9sQ5HXw26vnIpX1TtVRWY0oliRF8vwvTBEoQNRYQZbhIml9PF3Sg1Tmn3IjLGKI8K9TRFwmhDSY+if3whPxI8HYsUZtNZkrUlRsdTEx8D9KHbSlwZqaHNg+rI0rmmmIfaNsIEpIVOPdQMu7zL11MdnCvLGMS4vs/csFlzceIBY2hDfWpXP9GRTH840d3VemPx4A900z+6mnQpdnxKACO38BRcnlOfLtCsf5BfWBtu3sx6XNWwLTkdGig0g5urOOvMMWT25L7jDHmA/dSOyEztimes+VDOshqw8JGoOtwYD3TJfH8svDhq7tHZxna4cFvNf5WgVas9EYxprv5eooMe9o5g2Z+xGzdFy92yS5EgSFCMOUM4iHmN4Wrm1eS7iONscQPsaXWzaBBTxI6jSiAdXqIxSsjs+BcRgKWkibQKSII7KuenCkae8APOS+MA6t9iD+5DY/Qwrp1WjImrh3tZ6F34nPwQOjGZjvB5T2Dk2SasrjFoP03ykiUpBPhwiHGfybPOE/xcLjY6ygdXLzDOiomnKRfhcLMzI4ffuXWIPBpTu0c2edwP9RZm/n7Xk1d24XM4KMYyOU7w3BG1Sr8L+ax9iVqI9v1GYDAtjGOaZUUbDANa4pHLQrshqs0kopKpfc6UuwastNaYyzQSb9ojverOeMoPEV8ayJHDqtiA15DWU/LlHGTsNJ1CCSgUEqNNSiWJ10FaH0SUH3wj9Hukrnu1ug9+WY++loIR4Up2cQ3YHFkbe89/t5gaozfgflhlx7CAW7EkfIAxEVYZ5CSVfznpkLC+x/ePYr5odtvLtnSnJKbxWHwctplEq5O0Nle4GhCNjFskmZGGIi2i0UZgUWs4he0NMD21m69Cs0H2vsZmuUN53SwCPCB9jWko8LRx7D4d9v8Oztg/Fl5jOBAIXb0/B1Ld+ULu5Gxji+z170Uhhss+uyMPwmfYlikhilwVrR/qYnpn6/1cwGdB0r6HjoNrDXZgg2MRNrJT6fX0Qqdi1x2+tOaAcO/95Nsm+GR/iG5BlSv/Cxs7DU1/ZUsKFKoMb4P70Y8P77lYwXwMkQeCMvp6kDHhnBlTPvPz5ZZG+kjOJmAZE2KXPIniEqz+P/sub4FFmEKRCTXyEuohm8qOAm4XQvDIrnaTwoqANyodGTiCg506ykV3q6CyV1NTV14zYFThiPYl5kWJPxsV1SaUXlTzi60jFq4ZMvKQRUR0RZHq7pIyJJ6XBzjq0+H3RdarQM1RwI6P/oHi2f7wbnx/S3es/bB3DAugA8XDHH+lVpXr8cmp/HwgHb28UZKdmvR0Xzzu6e8Amr5oPis/mCeNcJn2Ty1gFhQS44Md+MSCM4tgp8fnzyi7tMayvoF9kr0SaKD9R2uLKSrlTGxx+PsHTlvRnmgsnPQfAYJ6sNqASkJPJ8Lu1mhzHLGm9DHJdL9MwB3pgSF732i5tV+haCxZSOy/xkYO/u5qjgZVT0X15HR+myqAgTZ6fHi4/j5baaf/kNN06r+eSUMUihL3w9N9Jk1JSPGYz2S304dmLs3cViCHrBqO41zzqLcsb0I9q+RffEL6QnqTcQdZpy2qN762ScKkrGXxzb55zPfOGCHOqSjm6eYTQQghnTobPmNgUrfIm//A7Tjy7N5QB8sfqOWnWPVHSYP2C/3zkyMPKhCPzv4E4eEoJZ+X4cBfY9dhITZF4AzCdeLD0CYl8GgSkmEknjLb99CqVfqg4MlHJgG4ey+vsJAW+e5BZww+EtcjLmhtOMo6+5kwGa1XkwSIoFC3UmN0U6ZWqRnTFQpBYybYe30E0woLJCTRp7KeiAdQann2b57bGgvWlIRWne2w3ADGvKxje4YXhgeOa/uCS4eG8gbfNoXb6fnyp49v5pGfsXRfzb4+GVAAvgmcCS8ykydEmpXhzDV+c1tQ4q+aEpVgjSIv/PPM790ua8TatMmGMYbrDSp84jOYfBfehoD15JqGa9NPvGacQMQH43CpXWH70LYHVHAa3ax0LdQOYPzn3iRMJYq11/dB1k1wHusiZqz3cEjyTPRIn1knb9iVQdvqSz2spy9UVCQJOf7wHDYVrGoK7RmNr9LnKxCJXnw6XWJEq5HL/15ETw3vQbdTK/8vnxOBaiY5G61OaZQ40Z5ditbL4OHe4l7xsFCRzIT7wXDhwvM3Q1jiP4LtL7R76oa53BRH4REaclETIiDlkYCERqNstZ5aOWKzSIwoXigyYB8WVUazQccVgn29QJqJx5lR7StMMEXJugki+/GSffzVvxjKGamMo7s9ugLse0HE7QikWkRfaHNdYqWitb2fxzc7qzg6oevsGZZMNC65+hT41J1rE1bcSmEfLJZVu2Hogrcj4g70Ew4Si2qnWeG7w4RUbvkkBunHI8HwLurB56kA1h2vR/f7wkcZRVFWz6D5FMJeK9sEStJSst2I96sGtnR+BdMN7WB4nJslwVczYzmoH/ma4qw1N/OKMJRynciwWXTGBj/F9lDBV1/TkM6a8uSxMdZZbHimPFflSJ4RyG8k0NYU1cTdQY9AKnBd0KCpIn5pWzMtSF5aL07qJDijs+KdEkxnWA2p+Nd4TCiOcB3Tpo4IgABA05hfcskhaw7SY2vnS24/dfUMfmaKfBAihwFkBOQqG4LNKqpxOFgNiAyZlNEREpt4ZJ8vatu7nx6I/cVAD+FCET8iOH1xfK7Dm0IAcSiWMHqLpY3DA8dp+Qt/sv6midGaG2igBMyZF7Jy0EutO8iDV15XX9D+Q4CpxAEgm+9xzFAVjFZ39J7z8s5Yy5MQZLgWvWuYhXZfiOeu6BQ4gsgfdUnr2lCkfMqEvWQD9pHJXDO9H5ZwOKVpQNGZ3CLzxP1BSUvJ9/KJkA8876zbhjfp5Lkbk+DTNdSW2FzZjXpaIBGFfNQWY/xx3YPFcSKVa67MDZneeM9erd9jnAV+IoPgRvazhYJIKEFcjDTWyHWWzyuQS6TiXrfnyMLi6XRXqihL7bOVAmBBR6J1BIvFC93hhGboVFs4otmG7MmQ97WxlKqitOfs8s+v2mdW8bpwhMtv+04VAyz727fbJW94/g3B8W3ME1UKngn25a1qT3Gy4QLKy8TrX/4qmON6R5Tt8cPpTdU7wioBTqww5T+xMLJjX9a2IFEkqPk37qmgjkrq5mytRugsAxOWxYS728y70kx7zEte4vMNKEEu//rp8PxomYUOB+EIroa3D404nP1q/2iM8WsYcxyLwlpWj3nrJt7gFElQOtzeu56CcZlNfQ64TanzBN4g2lOVl1XOooWYj7Qp66pFhr5pJWlFTPloGDxechC+t0FXheI3/VdSPVwnvkM8IdNtJrQ3CHPTUfQIBcaemFD1B2j/jQV7310F3J6QBrgmf8oG8OPS3cLQ8dYIBMMRaxo3m1Xlp9TGN0Culg6Von/Vir1CnKbpcFfhf5ZbxuwYKlcEKpGOlexfRl0ksEKr/pKaRgSymxgq1U2zWaUtI8MLSegdzGn5lBvlnuwGdkOCZFSYmTcDCU4Ni+XWnTpYK1XK/r42NHjjV2q6jYnXnn22sCL5O+rvjcd7bUNkq8o8VOu8jlbyG3g0AWqGtbE2rr9i/O04vYn24EYGfRGFKclMzJcHZh8f3C0lus6aqz/sctLIhms8erKdS6f12EyVPI5bgu1GvCITcdQ7EMKA5LPnzQP2xorSCuFPLsbPZ+d+OcnOn11U4hF/GH4uuXo48FkvOEPugNeMGmiuJF0GBZrFCHY8HRCQS1q1FbE5DYE6HrgIzB8lGWWCDkKPjkE0pMgDOL6nV9dyzjBHsf0JyN5g2g+CreFvcOux5PepFF2pAaplpZYLT5ushaFB732HgdgAa6lAPk6aHBy8mk2eMhvtwN32AG3cQX4kBb5zl1yP/nyXThGH+ykKTzT+PVvD5LiICLlRhAlyjah+h0tDktUIsme6gj+XLGDU1VBjLnYwJq+7VLa1v2/+tydJNkAV4InrJx791bqA6FbmqRqOIvoKko8KpOgzM7BXFcpPEAzrmocBMJZHI6oPnOfyTBXDQ29A1pukUFLauFbBIqKRLPNRImfRJ4JTJ//azkUlB+u3u2zjVk8ac6AE7iLlTlP3bmxhTRtgs9oGoXNZnTteF15rrU8YiW1kRum9/G2mBg8e0mN+YbPw55NX9tBP33K9cK8J4kAKDqYp7NDtl8R0/OPZ1bE1NE5Bg5/2bdGDMJfGYKcWWNWIyt5dPAyQm8HVOBmOXpbaMLdFYZxky1OiFbitzjWEBnjsuhlXODeGD4+JvuTDwOKgIpGQsn+zjF5gS51VgCvHq0+wDuvIONGAd41xb5QzZlVRBNhDwhPi3hafYtdP+EPaXQvgAnJcRRKnln8QRQETFKDRptyut8ml6vUBZ6YiCkafnCxnTunWkk/qSnQTzxAR8BkuY5m5mnBMzhiJ82+ECvZYfPw2lxzpdNBQdHr04nEr41ZWqUDAwQ0PJXMmAWle4vjplPuKNr1kfKT6XaYe989GoxdPatVQE3RUQL/nHnDtPxMt8AW+xh4dEqScDFwelYotFKcplLpFiEDydPqt5Cziyrr49b6OnVBRNtXOvreEUFFp9eptaKEPx+2ah3fsLiJRaZ+3OlkzEbbcLsM8jgOIK8WnBBNCkbh/TVNJQ1NIaiVJvJEFHmJNhRuokmvWpEs8nJ0sDPZK2cd7doIZ773JUvKZAvUx3UDrI7mbfG3P77oVtbEbglhQQcBraMaO06Xrue0VBi1CQO9PPemuumHNIcivGMee4u/+4l5FEkiFvNSV2aqSMF/NgxzSS+FSFvUISOtFchvlq61qx+vyX9e05rjoXBM/N+9RpmndnvpIDU8SaBv/I2OAowFsV+Ft2UqygzjP+hgZDfe61AO7LPYs8XdqDmAL6FTFUXD5BhIBF8Kk/ml7uXZoHLMDMZ2tIiSrVBXR7BP09DH0p4m8kaYfOKqA6yfgswLt9tuQzk4c/LACFbk9ztakbWteVJ7T1qit+e+qQ2r/2OPGCZSRS9f5i/NOw7BIzWF9/OjO5P1XEe0jpgqz8zJOapgXjqypWV8pnwi3MgiAgxYibv2Aasd3NQRHo9NhU4shSATX6Qj/r4U1/OP0QxEMlDV8U6e24IpCfA/vidv7WC7/Rwn4yAex6bpvk62lMCXBHeWVf+xTlaw3GMHO8xGcAmgoOHhpmETwl7y31agoF7PR2Z/k7X8rryFfmqequM0mikzZZ5gKf2uiZPDjqZO7w7rpaNe3LdOGysq+R1rJwKtTiSvgsO34w8SY73IyNq4vOo/J5/en3EzN0XcymJrhPCXu2W+n41BrSiRHBqZJT8FIamd/8d3R1W7xvZ5XEvUGeROSeepAVYPRrapkAVMEVmU6zSR4hyqSesX3n/utUEh1PFoJsvKn3VFYyuq7+tWQwybOejcgbcwTE6gEXloKh0668HOkCt8Y4BW58/NSE8TzcvIG0QrcZ7p3NtgD9QHSn5/t39+Gn3oXnrZdwmRe7tYEY/62BsXAvzTRW53RvwHT830Dp6SiWm1J43a1u0fT5NFOTU8Q6DQDnZLaoD0VEuhDtOJmQzaSfwMC8OV0V/7wdumJIGNGaVoTc1uFDipPmvlPsi/2snVI6/7RBWlVMGWdYEigRzgApUedOxrZk6IQPhoetAjUZIcoYTrzBlnuFoZdq48pLlL8x4lXWXVg+TbbdUfHgw06qZsWBe1Ud8nzgVtcigyuS07jMtYov1aKA08dggJvhOaUekOhAqmPELVe6TEmmMpikt6nJ4FbH85TBe3vIDDazvELqyB9reYm6XjO/qqCeSaGJGIXwv7XGsJTrW0p2b8Zf7DhxEKxW0JoZLRvzMYAvSBvAgyjcbDSEs+kJX54eak5rNJa8wFy8k7wZLtjyJs5RvxaVpSEvMVkWfEPW5iKccCpNIWnWeNSqyeU6ymYZGOkcO0SIi99YBeKGlDuxJUdc1VWoL9txZyspOjsoujvCkNtUd7WTRuDjkbj4ow9IRIjHdsNkLZvHUXQ0o2JCB7+ZWyO6Crh0+l1qEDeMaTInSOgbVaNt+5Q0EhPE2JlrZ2/hxo3bz+hEmhD/piYcCQ3ykxkjbOUXJLWfPfrq10qca3gbsZpvVMHfGtRGULWRLFbReS8QW5VT7GiXli3nN3Nrh8PsCSr7aNeGEmHOAjkMwz3+FjTpGSgOLVMC9Mf/Mxe1fi6GeUYpfrrRN7Mh395J2nZZMABusG+XhjSkFzDKuutiSLAzf53JRhqrMeGx9aCEBOw2MuLlp4KQSO01RbYkgBUCb+DkADzYBuHiXalo1yfuazQS+3Lr11ubA1yQZl3xiGrQwY6hAMrZkuD2AjKjOUmUBkG+dFyDV06H1V6UNGcnG504X6juXBh9+ndQuZUUConqDcEmXQaC8O1pf6h5HGv4tJ/ToxU4YA+YeLxuDjquxiWeLTWRg0p8I850iX6gwOBbpZd32qVX6uDyY6gUPdkPc7BaiRJlddw4/qXdU5aCt0HsnIe/QNWt2gYOLJAew2RPO/iitjrPArVK66/sj+ym2tmYGC+tzqzG/i6lXYbiv4naOADgKFT2FreZDBVjUFty2hfpkWH9uJPlB+J4bC6xuxK9yVGyS9tjuUUoG7ZPyX7aefl2sFI1Vnak7VNMPTekffvnz3bkAyluDTfYlq/ZsKsB/iEf49TSk6pq8ouTkYy/dxhbJ6kklWt7p/r7KIELXfnwEsysVfiu+E28WyciDmUGIWsC2ia4SaUkRr19rarVKs7y/VoSsjOvXnlRVPcqOdKoJwDcPa2kyX7v9+wIFdjZ+TvBFjjf8jHbG+8GI6cU0Uo7ix5dy3bkH8j1VQN9ruJm6cE7Stk1z+w0L0AVNpa0sVaIrMoxjponZuRUlc2WpQHAyAUAI9sp0bhi+UIuNbzdl39PCXDb0Pkvwm9jT1dHCdBK4zyiep6ePbaPb5M5kWe1z08HRGCLObrGMXDW2TsOhARd+qzaGufWkGTa/9uCT0oDpfo2RoVDJlTjCd2YYGIBJuonbAEaNR9y8YffcKMHMME89LKxEz09Epdj4hyQz2L8fwpqeM8yK5RmDqe6MK4Pmt4VoKZ7ZMcHROq1d+kzLufFsYvHkTKWjg89kozN3MilXfar54uzfk455XeiDiysSO0mU6Kpm55m7yqfLPw6Ujk5NZIBtmdIvVisdveBJstOENMDBCXj/a52kH4UxJ2B+iYw0yzu5BRvrvMcZBOaGhzxGNvsZdp4159tvTR4sHscDK1F6VivimgbnqyKYkksFQPHgXkjmv9Dk+7Lfmp/SifEsU1Kqw/RqsttqwX0yM+H/6dp6BFm7WhTXVqxMW2pkF/rkUcTi7yGPM8ZFO/5ggty2Vny7BkC0ZFfwAx/qcK//o1/Jlzdx2hYYXK16sHcBVoYF1xkbIuFEuPqAP/ylXCeUXRTUJc7sTqMhWVWDzpDZv2Goa0/iK80MSZzHz3AU/tBv29qcNu7np8X5ENgOm3kEq76B8ULVTgnWlcu7TWvHzZvfsXwmPHIG2gUTqkpedpTMWqMfroXQV58uNFk7xWdv5SqLCUA88HW61CiMIbOpe3mSUgX6sXRSVjGlFQaXVA8GK7RSLi70DgXOBfUecG9+rjzqNQrG4IzccdIHaoiOGtViv9yXIgh3g2UrvIccPwQZKSDvMayyMRb0UnEndfHoiTL+ToGlid2QnlbmkVsXbrR1M47SS3JpNj41/qWfbbHBKGxjwyghlkXAPwucJCe7YSxwJGQA7XiOk4Bl/6OepTfgfsYi9mjOfTxUIY2tylw7aM46ZYP4yuW/O+53fZAjeJk2etq8VDKXTV0sTAURtS72giOX9DK0aqa3u0dMFWEdN0PQuWdO/G4qmauD6lP6Ce/U+aJD5snU5Z2BN3nwu4Zcuivmb5qaua+jrRyok7DP/VZBQrLQ0r4eV0cD+tWIUyWOs9UsLon1B6hFf0b67QdsJuwJF0ZFqWh4f+yfh3bALAspRz6OgcTDLe2+Ty0Gb3MWqxgdbNdK5nOxzUruF/01T+4y2ci2WY6/gtf92f5tZZ/kxwULWK/Y2fCIudZTCG+VAJxb8+/d3BfaYqagwyDt3zNnJERn0N1WGDxYKV9yeJXJeVWbfbQoVOdS7j1Zu8n/Solfj0nksY+bxlR/3cfXIq2SUOfuhm83R8fTg9UORqaEyfr+7NtnGUyaAYDEEPw4+zYD7Wkh7bNYqB1rLNtYN/xHjWCR7CVRn5qOIAvVR9LS4TndLgK3C2AmzzbfDU0ti6iBh68sF28PNbxcFu/M4BuGUTpgraRvX8vrqQVRCNR2aelsvaYJ7vaNVB2XCI5wLx0qI2Zc8qWZz4Zdq1MypimHmemEe7lffoAiY3bsjJIOP/1TDfvWTpW1GwBSAuy97q9Jw1n0Wa5sC9ONHexNvpJ/ZlBc6aAUjmJwClNYxAEtuCSBk/dfEBTsSTfJKocykeOtclP/sZwknmZ/+43/Ojf4fm75BFRVVwZYob1MhBtqJB9uiWW15qDChgtXBUdLayRTmXfEjKj1tREEtQYNey+QwqJ1+Kb+YfhgudDsc8iirMN85mcZFgyOZ6HZAvcOWdegmphnWt/hPx9zgoGoVWN/nC4UJGsSyV3Hk/vWPVI+4Hq/L3aHogV1Z54GuO9OyFMXfw+uiVXrGQ40FXfaHj5lk4Lb6RLYdpIxgQ9eqLYllSPVFd3FI9CTGl3OgoBUc8NRwxIDt5etbs5bNgpKr+kBZOrKs4i7j8dE7GpEvFYSCG+9LyqbqVKjDJNy8Dlfh2M6L5D6L6qR9aEDSqOKL994luq6Nn852a/m3cbG3Zi8AcAHIeQLovOFZk1hZuPwiCCRfNpLDOKi9fFT2fjzg3NAz53fZAw3lJTr1Sh6/t1D/fRMfpQWcLPlD9OFfQh1rVrmpGubItS19sHxSEmcVFyoEdZ7rw+RuMHxcgFVr+r3le1c8q90qWL1lq2k74LGj7Ot2lypIu+o6T/xa9Sm1OiPf0lsOrIclpKsr/K0TX7Jeyp9dSDlzozO6okkMgdPiT9gK5IpdCOyOQm+AdnQGk9LrufXqvhwoTVpb2cbVgZOsQXh3C+fj4Wh/0v/ohHf7ujoxGcu58kQ60rGZRyOlObX7aACr/ca6eXCN2++5O0lbiWdeDc9gw4WGLY2IKgbUaB7zjtPTucx3kByX5RIbAGtcpVjSAd6ZpxdF2VwVIo1CBxwi9Fj/WQuA1GolfOCiWi4M61s+IoQUY8zERxLPxWDy7SsCX0fzw55yJZxfzUsMfAYo1ovkAxmHhfCYgo1AHtWCvvRQUycK18e2JkaxeI8ke13/wkHI5g9pQsp9iIZIchcSQR1UXEHdH6+cxC3aFijLIjaAZEWt4Gk+TC7Mk8vaWq3LOaCoBl4gAizdz89Le3GUgeCNaGd8SspQYYrCmQJOInpOkSIolxHlg7rZEJIukROI1Uy2OnpaT3s/p19f1VHu48WWbjTt9V85Cxk1f9HgAIME/pE8QJKgbTov10xrgbu5Y0Nm1+qg9nso4PQArEAbCn/Qu0qqkLK5nHyf6QJBR8IVJjO7Ye7gOF5NumH3Z1eNZhoHECjc6EqAisOPSmfsVMKR18i3kY2XPJgROoB9PQ5Tj0nkoOnipWbkcXjWjRqcHKIAUYM8rze7aKweqCd/1fS0ttKRRt68/Xt3oCtGAWb4l6dVOZNr0JVlONqKyz4JPSYxK7KkFTxpo1YcItv7B0xpRTmCx7WOfxpGYqSVAKxl8cdJ6lRVmIZbNoMjrC3GoG17Hd8M/CUC8eUliXwKHVg7pfgXtFU+TpSvgzFrmg4d5SJ16Zpoisrps5NUZ3xvFG4cFbRA+2qvS8zO8OQUReAER73Gz+3lNd1jXVlTe9IhhcyizCNctxmdrqFOgI/5hv1w14o1WEdoNosJ69yH6dHyN+kG0QigE3M+FLLcPESnxCulzfggg1adSdO0TNjqT8d1ymGVPTdKmYPa38sq6tuw9Fgx5YFVeOEtnle/Q4/Qb1nsAtHtarHexSAiK1i0pP6Dwf6IC9gq2Drum8riw8tv1Gyk54Mr54jkaL0dgVcd/jy6lbF7MJpOTJnxGGEPRotuovk4xlICPoVNXgKf7gsKfMV4ECmYtCVHeFa7RdzFKvTdEfVn75/7X8EqIfTMYHEthbgCORdUk9ibRg4QY2FO4PpqyfDVTlJFCUv6/dnEKu0AfwZ7Ts0TXy21ttbqWObE36qBChrj5HIxrG1Ae3So/kweTHDfsTdtGtyjrPtRZpa4638YPT8vZc+nWDsRKTvmcsBuKULR1FSmzaBu7fA+MGDB4ToCYhVy3PbQkEeg74cR7Hn6j+FF6E+aU2+EIMJGyL5Kfp6Chde6uJjUlcBTr0rI3lCL/kDOQVZC8O22qyrdI9oj6ydX38lT0p0vi7y30IhFyYJza43io/wa1H9lnJe5ckiEbzxUB34wUoseN/5qCe+y1+CYIAdoZ1++0UmyjdpWqL1AzKyL/iTFsd/vIqtMAk/YlcmASl025K/YLhnxSYs1HRofQIrBHoZSgY9RnFWzZzn9GODNiWJsND2C8ROhINdjz1yRkL4dFsc2EPKcFwj75m5Isu09xs69PuhjGLtH2aMaHnEI/EDunHnov37Ddeb55LLsE7MsHQefBxmJWK+V9ZitTxIhgsKLisuUbWZloA9lm6vcU+0BeKhbewp9bkxzR+f93NDo/hOVq5aMCUU0oQUJeYpE+J8Si1082kRd3ZCgAuUGXXcTIOSwiA5qvVOFrx4QQ9TNXnIugCq68pHsR7Cet2IyvOyzg9s15My8OPxgPStBIVuiQKVnsf0Qxi10c+vUCKmw7Z4tQZYYyzkTNliAnH8v1swj6cVaZrQv5dn1LmKCa3o0J5B7f5kpxPXpmd/dKlzDdqJi9/aLcTYX2B2gTmmtAATH5Ti/efF8jaTn/eb8Ogx4qo8cbHmDTaHT74Ygp9KYJ6BE9etbQQDemZORSiZwVIO5AEK3mZvtegEHC2krQoJ2Toqtb2WGuLnLJHmc4xpXQMdd3O1rC7W6hg24TOoGBHEa/mvY2fjjQCwhj4m0ZXs3Tv/foQPAjrmp63Hrvk1kKmy4wsi6Ro+3d8TpW1r4KtGEz8UL5K3JY09VbCGDUutKIaKU8qKl+BcPp42e87D/dWwQ/XGxBmgHynRDqOOpccE8aIfRNtpZgt+7Ga4wiPtYaP90A2ptWNH+4HeEnFKx8ab5DgRrIvUXMcKsJrhXGhCh5b9H0+DUe+5ydFOjDnLPUgtbs4doV6ka6FLJ017Ypte1KBDIiCax/DuSjjvJs4JTANu+ThQ1wId7V9W2knKI9UN71YUJrclYu9Cgd+6STKlNMdKsIdYqaAVU3rfGFSpkbmV92Ybu/TW58IK8JleMM8CqyZOeM+9jG0bK0Bj/o91m2WsdF6FABJhFkCJVkb/04jVuJWnu3ylK6B4VNACS+OGhw5bdrPeLSOb+x4GwLm6uA8cJdiKQLyIvWMiuzlyQe1cl6UZgHgisTFtRrmBCU9pIn3TTpQh+Vwvr+shy1BDEPZwUuKLz9a1XLkeDPZoTR1Gk/k0ZGeF2/1jm2c2uuJ8G8i2kc14CWT+pKTDzp6jqhhNl9IMhtMFO0+fMmene06AKXn5FPL/8/ti8BQ+fAgtEV/DDN9vnShy51dqHgfz3JgOqmgrCD+5FhwStBjBoofDUyK3rWNqZFg1akzbYWWTjbmVx/4SnHf1aHcAG6kc3G5NI1YDi97YuTYKGei8YwgXZRoYy/MPhhtsyl13YGm6WZ9ZCifeO3QijTraJNp2wLQqMbv+aYTukRPEFAgDCvFctHakH6SHpZvKw6gIpK4vQCgdPyT7VUpw4Lrk5TjhsooW4DpeIxbuOcFUN3eQbU4KhAKbmUMB1lE3QTW0LnN5bdtG4kfXuiIRIP+BU3B+x+8Mn7JZZ/ng90i31ZY1aXphflvSufk6zkEK/jzMeSK4/t7xbWp8KcyERni8xFrCa7M/LyagvYO62EGDTm3R9FSTn3JVJlLAbtyMCzPLbJksdA3fhNoCaLqvgedzoTU7uiwvz5XH+AC+Z/QIXabxms2UUhljEjm3TW69OpW8W7H2fd3xYk4S5ZRgungHRInr7Htb88ZQ7gB9ydNKz0RBrJlBLnWQiuYOt15yP0fkhlGPs2/wPI24duUeGjpbF1ttzlaqxyTL/LmZsfzmufTbiF50BtFDXHHYOV5G3ZSGaQMDqMQV/4+TdpWBI53teuc01BE0ElQ4B1OZdzp4YLcMROhAckZfjrAuNx64YyxXHYiCIar3+hypfXnzr64gcRVAigXbLl5nZ/25Jo3nayTjodO0km236j9ykhdTqGB3CAPZdrQySUf9tosfP+1UtQ/dgs0Dq2e8ygLfkDlanU4UJp1p4wrVoOemUBjLUC9GROH7nTDkTx4K02H3ZSCE71/W4RCz9Bi2NNTTb1xvcTwRs3G+OuV5KJqF/1XOoj8Dv4+QY38U0+zt6kpOjk0Ti7pUIfeJqERdz0THnbNhJS4SBHufhpTAdeqxtmJcHg06ezaiazmkPGwGFDRXzzh4u9gpUaV3MJ4K6zwnnaMfa3WqukpFLGc0HniD2T+8ZI2pS7GMZHaNFLl8NEQYX528m7iz2lQ2ZXu5UFsr26Lp/RXj9nKCuc7Y5B9aGb6DrEBfxQHJHcrGWR+GhSsppw/BfcgYKF8XCcGCcxBsWlA3U1D5QxwOVY1BCeHmhexy66z+c5DiNS7O8V+Fs4WZ7YKqSHMz5r5+tUa8Z6h/zu2x86toJs5OibIz7zs31REc6PVFWDBk0zvb/Ls9amu0QiXAs7a+eHgRLpAQPUpp1Dq7UOWxR5kiIFablxi9frJouznSH7w5UKDf/CJ7AOkPp5S3lUyOiGBv6JLjDBwUcjtgq60kUccCOQcrbNMND7XMd0ElofrsX4PYvjmAvLdFYw77NcbBTQXoohMs3N5aZCoK4hFavjDu3vV64wWrAJhLaCDqdIHuUQsHQJvi5J1Gn0rh3wfWxtnqwY6MqkVXMJ7PYYnBpvSHgUigWYiYRdKEB35zHiW37++Oc1hhOIBxjLJu+yPefgysykbZajOEySvekPDJ51Wj+/I7VSbESciNNoMOk9uSv31ZpTMk6to8iCGjnXFbGf/45D8KOGtFw7GgFT6AqplyasrCw3sx/gl3088JnQRKN1q685ZiwINBTOyrUuNaspBsLmlgFJZMfhC93J8Da6fo7LPpd1Ib4MDQZxyNTTa8bE4bFotdQOikXkXKB59/LNRbozwYF1a1rmM9sZiUoeXgGXd6Yg2bgk8phumDd0QSFnkEqXqxWX2jphiOFQk3eP47BI8/DTXgRy94MyDVCXfNW8EVHkQ1vBKzURM+k/lDKMBEE4l0GUZueOZZlA+4JqRScGRt0ef6/P/BaZkXX+ws3jFwOGqmEsJIqmv8T846087OW8EePpXfJx7Rm2Rv9eVcHtWY6r0wgoR+zRe+2KRFFXuanZPT1YsswyrhPbWBs6k8+KTqETjEQuZMlpDG8L3gmz6EhuX0KnNi4/AuZfrfJaGrcTmu4Fub/cwvIrt0/a+DCgv1rFDWJn14+/F0Qq5z06rrJlGaljEfysrDVyQKEEx+dp6a7H65WeMVRe7ADWj0iS94B2tWS7HnO8h/CYMUNMfcfX0T3Yq0puYEL//2cYAyySZRoHaBRoBv2Y13FYW3H7R8h/XWhebSQtgfegB6qal3c+U/lvlbqxluyYXslKcce7Tb6LkuMH0HmHeY8Gq41aZih3GboyA/A2C2nCDheO931Zaj2r17LPff/Hx5QTNo9uKjdD0ReqZBMIEp/lsq9SXPNZuOvIDL8dmlXO7WHJBl/3ioXgk/20s3XSGsO+C8kVZcE+bXwtU2jUMUGkvdoe4p/WbnzzqosZ1HaQnllf0Nq8ZBug2EquHwZ4h1PrVA78WP3QNEnKiw09db3erGqV+mfkRrOqJa+S6y43d1F4vPBCcrvWe25wkmfR1mU5KbKMtc1yypOMhVkPLJ7qhsph2irbsgoJ8tLJrcRXmzfpk8H613yPENqqhli4+zC9uS1XJ4A3mXzgBLTETNM4ObF1FdJaqh06NTTVn2M8vByHcTgfkJf+2s39AfFYHJA4x/t90MWI25OJiQ0iiVxoBp86l8ZYIwqRC6dfK/v6RdbxX0l8a0yZJmOXAJaNlUgnN36/NdOUabDPnbv8EvV/Xet+QjA90nPjOQJ6u5mYz5pMDpEYw8hNBHr2qbEXbFFK2A52cpKTJoi9lhBguSpSobfbqY4A7bB/k3inX7wM5Qw4dbSQSyfy0w/P2rmJWj5KLedNbwR4Sgbopxub1hUxmFTDRNxqNI3UfktYykEg+iAugjspg4XQdp0hrjW05hK1zf/fZr69P0cKKQYbELfEwQQwgd7ygXk8mnc459EEYJDG5Ke2PIFb+ejQ+qcGV5dloXk2TYdjyN6+hDxjTvH7fLlNy+aQPxVmZenJ0JfAurHclvqClpvtMtYaxE0VkQw/ens9vC5k7CvCDWuVJ7qvoF8VUOetX8qs+itNZPX9F7pbx47RKNnEEhdvIM/CoLb1EnfMTMhae1kfqw4jmHhY3Y1ILEWNidL+hda7Wp1j5wqp0b2epilXt7JDtloWZLSk94cRvE1UJ5ZBfcQQyi86i7vk6MlcLfgqn55RfTQojiexRU7kbvarPWFnOSHiO6pXiEzskyoFHjuZ7kQJZTnuiL09UHeIW1WdiaVFj1i7sCbkYB+u0d4b8ilQjuS5pOJWhklLu6spEH6wUtcmbklnkSfQPBKF/5y0vSo7GYBqlcVgT/4oT2WO/5ZhyLeulYcM8ABd/qYVrHEy+U+spATCVzuDmH0VUk3//Nl6QuIvsLNTDzzgJTNkG1h5uzH5vD+r2owoaH0q97WeRQJuwZ04mfZ4eMyfshHGVShXkc6duogSPD7Oy09KwPNXyFowG5KQ7uH5VXQfL2G4zABFsNSq7/xJXrFg1YsGNOqM5xMg4ZYsIQCsmPKiCe1Js86TOwaAUlTyaFNvHwEtt6HdaPsgA2a4Lp9+Tc2lLPlX6/O62fRpgI9/gj3Gd0YDD60o8Xyg1msjMrjpHa8cqs3FRmJJn7FBIUeRNZnO79GnSS+I7EL0d36jhiLy6FY7PDCZUY0Z1BsoPkLTE4tk0dnFB670nj46DCNft2CvWAr0rBbTd20du9n582RXJma0+Twyd+nV6QZucsu5R83+m/lkUTXt3ocWf014TLLcMBEkkgjS0ExOQCpnheO4sxJYxqY/rONn2I0HAXlRLQaHibuATWVwcxZYKjKw8DYpKUOlRaHpkOA8YWu71x23N2+J+hrlMg4sqobM09vXLEBiWl392Dte4xQj7c2AXis24vMph1l8fFIlTUIqir3Vx+8ABTlGYTrQpznD6QKqqPb2yqbaMfZqYtIDJVpviCN+hvoFbCsUr4g2iyCtJvjgRgKoQnSwxlHXHUMbPVTYlO+wwpHX+J67/mPNLrWxRqxN9HLhidxSWTHeDO5XlYXhsrXVX46zpEMaDYhHwaHjSF0k4JHwXLoGE5FwSwXBunaFT70XHGszInlL/oyyzY3ojH3UZqL0XszJbSZuVk8pzpoeuT3Jz8/SCXHAvj22ZRhSSaylgH4bw9J2KoqGkkypNAW+s/C4ORJ4mPqfDcv5/SQABIRcJt+gEZHl0jcd8NPtDscrWMxzFq5a3bM4cISiXlBY3Q0NMYPUkpi7/OxcfB6BU5zBees8bQS4JstU2sfXUt5M55dqmtkKSTHzCYivGWvzntaOxXoG0Yyf5cVrv4GB5W+aqRQXAAM6m2G982aYkTogOMH6J1a2NOfDTs91e8KSLNz9rR50Oy2dK0EEcSWDFV+rwFwlXUUUa/w7IUQbFqnX/11IiOhpAjXMKAVSrSJO3iG+LN15Zp1FaMSBfd/yX2XHTmn0qj7QjkOGOXzGQ4jtlDpXj0a/fT3moQl022buw8e7/6TfVW5MiWY/zUIR7aQoE+OdzkyjInLbuceboTIbJpEozyJOEPL0snJQRlItBwek+o2siLLJYWdYcZ0UhFQrrdXFWMD3J7BJIMUx6jfcX1Aiz1AQS7CxqMR1YeOvi/37K/W7y5Atgitc8+z9ygNF0cHPOWKt/XciPQZjq7FlJHkaoAVdr0jOpuk3ee6WlYKS77InMktjpQI8f8cbMI0EZ7c2PfGebc6yAyWFfaIMHc6KQ5rtnhe93c1gtSCksgFPZyOkXDd5p3MazBywcGvP8cN3Rnkm2FwxGaN9sj0CnzCqonHTUiK7z3d0S8WAb/pwn7j92S3GCelduV9+oM3NKEdstFbzgaMZUlI7CuCkSsZqE+70dWYzkd+SkM8U2ycAXpv6KEY5vEI9xp9t6Z68Rzf0NDHv5mcYySbH1CYokjz453i4BSZLFKNQASJCwxiID3MNFBX40FMKr4ZQ+FNyxvFRh4Ypl+L3u9LUbcMwj/h+1Ig9q+8TRlj5m7bidJfMCg2UWslnfZgMbjzf6pUOOBBEuMeek4jtep5TRVE7BnPXuOkxY4kI1jWrvThgmfJ9+cfmUexmcaSovFQjs8GB96wk8Z2aiBHy3wEGwfqHZZLWMP+dKD8EkBsyiKU/di4gD/q0cISAdz0B2IbeVf2RgCEFjGuEVKEJvi+Y/6+ddI1oRksnvA25yZ47SpmyqP860Mhdana4LGPOGa1x2sXJXP2L84HKph2be8wXum9rk1tTttcYq5ioix9KOmEI8oLL+vCpj8K+sf7elK9Pz2rqWtwuZuZnQdDPe/QFdm+6uakVLNA76iQK5lU0sTNTjjoHcyEoos/nNcPziSW5NkOx9pM1aUe5pVgEhF9BsAoPkrWl7dNd9vJTCpgGBSAea0VuWMPM4s0/O8vRZqI3eV2oyEEHR5Fjq6W6Y2xe0NTt60JXlIohxr67w+DRJUbRLjklL0pr/y3iMlA1CmYUH3ltRQqNtNj6CopjsVcUM5PCytxfhQtcvsJJ0jyJo05L1oQUDzDpgngp7xrwDKKPt/yuq/aujphnuZVRmk3ZCMD29Rm/t3KMQtj6cXH6QGGywf8wwiZa6EjrAYIK1vgus99PHDH8fgxmYyg4vWTguaCQR0u8WlotINH/OXSeLSjSyye33Et2oeP4eGD81v0OHuXtPtBNPCMX6Htn5rQjkt/yF9ooKDMCQO51cRvxT//t2VXxS6tRiZYk+xvcJW5eWJ03g4wOpRF3VCz9ucx4bn5p8Nf7GNJllwTp+oEGL3SYkitL2W1Mbw0FzjYuRXzeFYWr9nH8nksSaPFGFhA4eckNFGFs6/+7vMyEuNGO6sTaM1OfvzmZUIJ5wEHAroxO2ma2qscSXJ8jO4hDqnyhg6Sw5Vq/srnFLj8KU0UfWIqAEJZYpFzYbcCEOCm77HdB89j5uikI8h6y1mTQUV9JlMfRgs31UNAWR1Z+jY4uE++OTeqofKjaEpNFLPpTuugvPxQrGqES1L0dCLxweCtZtWjXcTjAo+qvDLXPzOhTqCu4xx6n9phXwLEXGlKehNJpKZMgLXZu+JIVeW4lraE4N7l77hTZcRR1sCM/En6e9s6lllYgb4xVtVM8mVKFjwc/rVAqwtn7BAyuDJWXwtt/ZQykXa0sifBH2Uzhhv2wuphKu82heTwLMeyQWH3ys8ErPdOZe5q55Hwwz8+12CjQrtDANugrWu2Kox/ESrS88PJAWdYoGk9XhVvbUxTZXTE3ZDbi082+9CMB/uIHje+pYDS4tYVH4vfdMdTn27oJSxXc4DuFOXtXASqC11x5NUab+w6hAVqSjGQMT5rXQET/Lp+YCBchEWE5BdhHql777sbDdbKYlWCzcG0bPCzJ7XCSkSTlGlY5CBDcEj8tAcPhje6i2oP8WUm3AMVhFPTAQSKmSmOKDjFghHdvjIuGiAP18u1yIKa5/e7RxlD15cYNBrVmx4X5EVk+61MaxRVxFrELAxIuu2YISlgLs/4MTe9wL/lMHkYWTm/ZFqBJqR4xjVd4+geOIrm6NWW9CHsLfB7HVKEY2M1Jf43fNF23aqRxmeWdWLTcN6Xy8HNqVg+It1womElQt3AfXziMOedRmAWNnFs6trdrcnzsse1jWanNEA6zMBP8cQWH/fdaFy9Zc6B4BbVW69kvcueN+KMQdoCL57TyGII9pSQCf+xWytcvqJQYpJC6ct0kLG0YVk7HD8uVeKJAfxZiCyQg15rU+90bn0E/5qD+Jj2KnC2hX+LrWWVn/5BxOi3M5URxwm0TNC0NJYUWJcboC8VGoG1t9MgLGqj1+oarQiGdqMVWN70dTRRUXxSZxK6iilYUPc36cy1meZSnOrD6/FX2k/YI9sbI37/s3c0SlF6y4/4vjeCk6kaJhUwRAXaIUbcVDfT0aKKPCSbXHZytr1zTQ/vSu/3FXs3F6GtnWFBB2FpOQmKPzDJQE9HAYnAwSeTaSMb0dgJZksOr3wrVOu74ZMXObkTYGISF2Rq0cOnP1Xgxldt0AkSulsAwZqyG797SgS5LWxh/Ex1joBKlPdkD0eCNc0OWmpFkCLa/EAijzh0O2jk2lLxGwGtTH6GheWRP9bNVfcF/rHLoVc/YrrfrdYNc5NhR7UAOy6Psm5KKnx3gF2rmo7s17PO9NakXdyoUezNaqy0tTwpFvSHdoJqgYVWY5fpiVSCy6EwRrwYIgMC+BkWgPsMCqNbX5bhldDF4w8td3enAHc3p9RJ0s1IZB5r9m95//3rZ0kbnyVXW0s4hfFqwjeiw/5Ab6C4IVY8QEajlByX8oqBvB/20X8BaKrUYuF62at5VlIGgPvB68oyL1TWRKrpExjrHsksZMTfam0kNtOHN184FECNOOqEcs82HQs3u2TbhSIju7IiZvmUV4+CBODTw62GclOGQWEzKrL0uXOnTy10ItubHPT5irRCq6aa4MvWiZLHLcWSQKCcqZDCZk4zMwt9jFZOtZmeEj5cc3yNEjd3U+2A+JNlWRo3X45/dJcBmFHhbY/oSdto0CXuUlq7y+s+pu+lFWFPwtRe9H10Xldg7iJu1C8BQwIO0c8M1bvh6ZRptqNKbq3H0bshF8AR/fiyXcEZsVVVaCUyySUG0wEUsaFnvUI7S6meqkpc0YNY/EVSL8S7N/kpl4TLK+rr5lZbWaqb2qDSjESLWV0w2n7QFbnI+LRNfNRPCKzu7AMoD3e5BtQJ7wJ/lFDWo25862bWP+hOoeo1BXpXbrsKsvUdlJShhbz61UkhV5QOEAyD56Hwvp4gS5zV2Jz+XncabFY1BVts64tz4LErbsT676fbXnrjT0mEPBOsY5ZZaXqL0qKnlxtPordsoPxTwt3Rt46DRHk+Hy9m7ENAMTrC4NVt/ZOLzWIKnPMwA+nk4AyYcoaajXstZeHUvlTVHv7MrTSRH9SI44EE+czOnbInEKkWQS+xFwjOUfB8gQNSp5ArTO+yGBWpp40wgBfvIh84Iw5K1VTGnTXQ/azAofwiqXxqp8zDzsrp3r2LKd+8g8YuaqTxz4hK+w5X1o29rO+bZUahLGK45K8kWWyxmu1XJ2HMxinIGeXFM2LXtwH1B1OZFl8wCYHRTWrjmkzOgG4VZ7WILDOl9PKgyIY1ZWGhIWTYJ3WsrYJXMM+tYQkTJ0FB/e6WqJmaID8AyDyl0sPsO964k+vcYUvrkMm66+8lbiMtWU+C1MWhBn+eq1GDrAH6BH7W62lBWoCWuTN96GpYhb3rxfUuP6FuypNBgG52rgfbI5Tr53ej3XRJody4A6+vDfeThZ16P0ONIBqZu3GerdRxUs1U8ivIUzhfmonsoiKMBgz/9/nQ7zhoixIHgzB2OOiRUXveUkkRjlWGRbJROHYd77b923uCnf3++qO0KFadvmAk0lXsRNCRMBBuw2lL++eJ20Tkm7BW5UuTKzjWh+PypWKbEViVQCm7MU+TuAUCJswRrlcHs3woFbh9uuh4yGuEZfZvvSzZadXlT5h22IjL2oYy/qOm4EQShQFHVApd2Y1YH1KKU4DkZw+7/hQFgjFKzPUscrUepA9TfuVguhpeYd3uR5zK3DEu155x0hbk1gmWGs2bnXpNX68HUoXOVMi0L1gxz6Xq1iSynY+E9rAz7Dvde7nKY9Vr6yTZv3H5y1HVKR7+Me9eQOJJSMVSO4V4K1Oz3K+C44uJ4kFFHY+1613Vc5yvtK6oiy/c9cWfUPxAQFsbPCkIV9rtFcaX0ULmVR7+aM9SUHjxCEE8MLQcvvZ/iN0uAJ1HkZg4fuOeCyfhFu8n5aHtip/d8BhEHkuDJYUyf7dl3fTOpXMnkaZdc5189ivnLFl7Gbb81imI4Sn286cJA/HFlc3x7tPWztszZ/mMJh0JvgRu5hHaj34AwNbdnNmQ34ROOYgj/vfuuzlUD89gXnRxVJ+NeWj6lxcPom86YZA+kJFPBO0gr3U1BCj4x92334yNawThdhvHMUYrYFb16miunojpi6d/KhUHWJU9zq0PZ3Udzvs/EOBi8o/rPtDfCNKwh9wg1Ci4sQZuSKbDa0wubTLcGV4bxdudZQFqnojuER6KVbulBsT7QVL8P7it3ChKJn4PBoeQA3W3tO35wsWx07XbBBaUhfH7sTLy/CdHRfrwAJOwAFsuSwBOmrrnPDHk89l0dOMTjYphPYDHXDyJK7opvx2jQ8tjQL3G6dL2G//cktbIW8liPuuOJoSNQoPRiajJ98ubMUrBPoaQYE1tf5sVgFF+sQ02hP9sMtwH+IGD4yk+Dty9MVyX5PgPnrnmF0WcWior4Pt3vUNX5Wog64NR1+vAPiC+fZrwtOibfVtjZJpxRByIcDt1z3rcDOaOhQLBS7yDbe+qnVVSWodFfo91xhl6/bj2Eg1UreZHO4fYGikHi7NEUCDHkEVcp1CzZWcxTqRy+yF9b1RKjb3kqJFaqyKyyhI19wTFwU/tktWsYHiiU/RXG02RcVex9UARVZDZEIMvKs7W+dQ5v2CnA8618PhVaXm7wzHIfK7VxlN0KsC0G+DIUtjRKbYMzWPm8mExOocFYwChtlcN2PoesIj952nqNrRQc4BeW86++JLLa6vXpk2s/CD/PkWCb7H+HA5tIWEze4WgKQntzHBzup2Br79imNv+Ppthnre4FWk739bSTNZVsDSMA0b0ZNdKjpRAvyYCLJ7gGN79zXfLt+jKEwj3vA8euXvOTFThRo4ZVnPT6CmjqAIgMGAqqvfAdipoYx9ACSBaGqGt5jxu+nlVamJv1em5kQazE2mYY9E5x3xjX4keC/SO2x+us8hgKEdjYWvN89Prj5ru0JW+JMJW8vBnlN+PW/IoUTp+3n7WFAakYnv542fVVa9KtZYjRHZEfa7OyLl984rqFxSE+2sq4fkqmATbxHw47umTzbD8SuwdU6dzhMfIOc3l7145x/p8ux2xg4+31gUHZl4dVPdpo5mC9QehrRN2LdcGlRveWMW8a5gC1NlrGar2xhqGUM0kF6/4TDdO/gnW3csepPa7YRxBLiuXVDUZGQHu+ZJRozBL7gTcLKmyWPSlr43xi4IHtMSsnBMRwC/WKPSoRq6FYeHVjWgx8F0k5EgL7siwtLz8POsXfSLQwW0QE4/GK63KPkMs6UYhMKqkmzbYLE13pK1/h189+IENJcQSq4BysON7KXQDJmg1kTxemI+HdNExMznon7K6addC+/txvhlpyR2FSuBTRaPiPlbtOEsW4XKVkjF7dZ3G9Kl5tbRtjvzugHislimr3c6d2Kcgg31BbbWtBH4VWZ/gPINT9rMZD1hKFfEOw+rR2vI1GjpEKqJDfASpyldg6bHEEHrCf5+jTHww2NK95PCnA2A9lunLfBueOfDDxXIN0zSKshspctJKzfZg9Bc8XFtvg9NMddpTkvd12MstNw4SB2CL1uYU7ZY7t3kZFYJSDzie7Hd0/z9oLXjIFuxoxVrWms7obgU/na4ExEILOVGQuQvknePB9aAfAhF24UA5kP6exyJeRUzbwjNnFIWO6rFdyEL7bXDK7Hbi7qBcA2RH+fPdAo59Df2JMtlhL5E9bwWvqhovTicwMO8oop+591hHdpkxuMdlMguaHBvXNAokmUQh563Q4TNT2aQWqELQ1FTtc/HBKnS7EfPifOn/ub874GJ2S70tM269vvuvvxdDnvwLH/yKzru3ckLBX2q5ydRoG7Q6aQtn38JvUqzjzOQSEJeuJcu5TJGMvBXkktjCnijzTVDiTKoX8+N/ITAQNIxrXWth5OzmBtMiBID2StcP8VFJl+nXxEw1Z5FgwoySIlE9HjpPInx8A1fzfxKuoZvMhSkh7LWcPSVZ1nacSJY0+wHBR9axVC0X/vU8p6hmPinn4PX9wxE5jPYTHwqnSKlFpqbq6LXVFzq/NGCTv+syu/6KYH4l6DXj2+2TcJr5qzO5yE3E3hxdsEhL94G49GCL8ucD/7cY2j+3RraGkWrr1DboxkeQtLgzjyBCHfaz52Lo9Cocp+eeNz1/2aExdp3g4lfSWoWGP1f2ORCl5MjU+6EL1CQhAkkxdMpVGYGJa3q+IfKWRsIJZIEZOyxh8HFp3PnDAO7urSSCSq1Bb9cgi2sI67d925TdPnpxd/7nQyJaZB5+Vb7CkSmKx8njNKn6+UgZSzHP0ol2m+E+Pz2dNmFJJXFGz4GI214nSsjZ5sWUfDIRfd4v/uWSdS/EFs7Ii2UVRc1X4MHlvVpb5u0Fm58CdG21HmaUKNiBluinKt+3yUe3i1sN54xwkOBsz7GdyjXnyM/DEjwTkeu8qQbK0nVz6ewbt8S4jB4IRgcn+r79sR5zGW9/Hdw0IjC7R2AFVts0bVZz9nUPspe2BE+XH5DaQ3qAhC95zSMdYjHjG34LMoBjV64hg4R7XEbppkIcXHT17SHZ19ZBAlbbBdoR/lgBSm3DgOxWtRL5dCkqzEy1Dsr/FYzjcxT3KpEC6b+jSlxFCEIs3haZ4IFFYBVAPl0mW+DI0plzQtFq6BLLGPcWhLerOFEsYH6X6cTaD1xowqQp0ecUFlXWtTL5OIMFJV2G7eOFKrgF7fSnLMKkV326Tlr84dy5zHWm8oMEk+VuUE3+HrDpysxWZdYNgqNlYBNkdovUGbVLPdUUmhZ3iHWXOCVK60OaJumsSDKwwJBvXzySAhVFPkz9Roz2fgxjumYSoYeHwOUlOKhOGwCE7Ev6s3Ph4qkSqhMv63cU1+sJd9gVTBAzGcEo0rXeqAL3xEoXy1XT/v29MMNLQTn/eikAYAezIQ6rlP52RqCqPGmUaUsjwyR4+4JztbskSTBD+PCqjjxS/tq4B+leQaWCp1b4v0nmrQ3EC0SRccJ0SF9gXyy8X1sdkQBb913ofP+ZSR++4d1jDY/shoeKASMldWEysdcr3d52YfOiUdB49LIWVODSUeJhJCoVfk6qX77FSEaKndzqbePZYWE/PoG/YiDSkAR8YbtcIDifmJ1DrvMogBqllg6W1r5ntdNN/KaD1+Vr8GHDt+Rzsjxmy5ecQjtCRkf+ndUXj1Do2oaqdjKPKbzLLlv672kawGKOkjjroC53LAMFnzDa7EYCb8G7gAyEkOyN3g6pkYXhCAZWC+FOqlRJq8YJ/vaxXv/F8SgGnfQYrHKtQkT7QZrg7rlYh/tLESZGb3SXU83EOFzGxQR/zrO1FtCg685WddU5LrWNTOheV+YBA912WYWTe8o8TLowo1r93JraNQhjijc9rQEtl2ChXJS599ywahub6xj7XHHwaoFG3QbLhYjiKqSnLziaztg8x4a930315NXg1Brz6PBCR42pnC6uLK6hC6kXNkw6Es94aABAhcLGTUFS/e41FHokWHFE5tYYfppwXMhY22ViBoF0lJh1dG61bNbpsj14eEelDwKrQf1jGtqAG3ohOa2RQobuBxO+XAdQiVMzjRK8Cv40+sp+SNW2zq+KLhNOmTQZFD5x8QMbm7Sf8R4dtz93d2Azjh1j/Aj8RqDgL9PM6wVjNdhpdzKJhnJsNjBd5kaV/RuJBa7LKXOp0TlR5TzVqB8eLyndpWKENkcxELn8tTi7IA7ul1PeJpVXzADRaqD2VBQR1OnjqM+lVtrqGPOyjAtD5z64kOhv1Veo0W490+v8vbEcgWx9PzntEB1eEXM47qDcfB9KMX3Z0+sgwNeQg2iZwgolCH3ccsGLYRoDh8maAkudtOiQcpau7Zpzxa42dXrY2QaSumKBpescO5OJe4W3ExaoBR/NZTnCA1JxMfLK3cRqRHoBSptTv/lKRFDHkiji9wZfReHMa2ShfBn+sKYyIrQbWyLpYDBGcrcAuRzKrQdNaQp/cXuRTW+f4FjICrRpZ/5C1wfzv86EiTpN6lHUtT49k3yxHgAJxwfETxh13eJBspdnZzUA2TUV0g38H+/Lf4JrgyBPgBQW9QmLrJvlNmakA4UoseFcEK6YYRfEtuRjygRuXuFM8d1a6yOs5iU6HtQ1Ek5NjZk0vxUNFj8rg2xk0WLVefwXaXO0bNWO40JVvmyUQGV564/4aUoVx8MJNbLTiV2ttb78AdMDq9tDvsTEUUFVosNA3noJXWW9agYJytGhvVNYmVTtTBg1gtgj+gBV+A4WEB2Rdc5Uwgp3LP6h3PEQJoahkInJYelG12m4tpyM4N6Tf8DSzAvMErfZgS6CeUc7tvXhaAf64Zq7i1WmkwikqUl7gxa5iso4BVtIzhLB9B073kX0LoXMHLsl6UOD4qY/T54rMRGonjyLbt/sKYrxnzB+mjk7RsZ0urK13jmyFM5QVp/goOBi3GMpvPp1cdxLQDszZEh2ZnfAfG1DC0QViF9Xo2d7lD/48MWzLrSGJJD4zFo4yES/t+ZItD6YmoC6ADyHr4yKZXM2jwm2KvWvJvpAaoXdoSsIhw00sQEa+MH/57dxO3EL3xzVvIvl+52Nth0sr/Hgz/DCUongfDxilmLQmhvY6/WJKKPzQYgu2EJiqhcC6Mrem0dmKy9OZbP9x5QIxp7Beyw1AW8dwEY6/35AkeKhp82dYS0C95HEjvdZq7jqyq8Rw5n5Hlq0ONCdIDpNld1bnkzN42wBDbxmwQ0tZuqX2NmYZ1h4eD5RMhEAfOG5fXAzIbbLDWkIVS6+f61zhqmM9S+eviU+DlrbNFMtZ/qoCBOeCuyYbCCMaiTOTtYy5S8md0Gwa4fmyOmlkL0MdQ+zSS51W/8UabzyRLbnM7r9gRGCBSwvZaO0iTmAtdOtZeY1D0Ly0JEbIpjOg41E0TR0YCV05CS4SIaF4BbTmcEo35tS3Y+z5oHcjmLoScrt5S1R+z7Hn/MAZzYZdsAPIdg8zsb5nZut7UWa2neR9bXZV6xT3argaU8TXPgDptj04RQyoTo7UV2jsUxyBsWnaTgAoQP4Btw1DX7VzuFbc66kKXSP7mMwAMCEYN6eBQl1cgJRzePNS4ecd5ZNfDFalX10gMfNcjQx5ObeEoRaBxmP1PSbAMrzDqAIjg5vE1ZbU2xc8mnabD8ZMoR14diS1HQVDdyvcWpZ4JPEAq+WWOf6iKaunLIFDzGgf14BDrjPH/PSMbc2TkFAKjuQk5eF6Fe/b5PD7xdnXiDAiEtcngO8PR5lPwlNI3ZnofEV/X6Y8o2bJYD5dxlWBc0NKp+FM3viMHNgCk0PJAbDYiCKKiCoGleQhKxjZ0EopKy5evKWElgAhbUi88cMFz9cczIBOmru4pEWGrQn+iqQ78WcXRYmdXnFxVG3B6FsYhivr5pjXruzc8hAEWZEFWxAY3aELEzOp+JvW7tvOauBNLQ7Wgh9XhfTlTHLMjIs/PMyQM6vXmABX9lN9ZOWUnFH7pTpJrjYgULreyOuRb5wQVAu/tzGUlbl60J1YSCPlpPIy7tLPEItI5nrrc65l+SXqimCzfzmq4J8zebDFGTSkIeyu0UD/xQyEgBK8OeEV8rsUNyri8sqELr3KlFylx2Dl2GuF3s9IybpJuSMknF7H5LvXZVVbXP1O21fqmTRnyHWdxu1t83Ug0mYoi+XCmTVrSTueMyhZ1lkTx1MntHlLttyH/UMpczecBEjAXjFsfwPX3NPbcBvvyhhibPwChb48INEc5FbGpoUhq0sVjD/W0Vmb+/JXdkcrlTN2dEKN4uJGoeUOQ3tJ3CLjPvstZmnPfLF40J3RzozoHbRe61WnxHhemXDX7qI9P2WncO6Kj7Trdbg8kyeiQfUFvNwPYb9pJ9DEJfEyc8ZUUUIDU3i0gP0PkUNwgbzEgJcNDrIuFlM7SkoqUykow6uY18G0EVcIqenXoqiftqkS9orhITTlCcJhA1DJPMqRsma7S4vJoh/LjV+uNiBgrMU9Wnh2r0GwjpGjNJigzIdFT4CwRao6TRIB6d9bxEnlaxnq/kvt3lfY+y2QcD++6DHrDGP8kqOkXjtLXVaAqHQxu1tbZV99l1Ekvmglf+hHbnK6TwGjRJDIXcEerw6A+jeZUXgNAK7B6XefECvQGRwxGGPElq30Si42nYuqyAtaoakSMI8NBFUalIGJHaXU4aJ+Lc9VuYlyxyp67Bw+ZAeIfiW3uRejLUnewWbrEHDQDA7Xl5acnTNupOWTRy+5v1Fc5bl9UA3oPLVVjh3beC6yBp799hCScOLez2n50RH5K9glwYoUiGLlvab2SFHDWOtLhMj7i0+PhYrede+TlOzrWAWIF7amNf8D+kA25Ti6UIPefFQ/ixsaehfbec64utagFiueXur5xlZ3EPjNBSzNxORVX4bed5GfIhIa+c7HgnBeZ8CefvsfUOYrF7mSyE0QoYwK46norvkASMo+0EGmhoPjm2MDQtxpp5gSq1a7GySmfIhUrNkBIDI0l7CKQ9StE7/K45tJ6p9ATzD8ZISyJ+TZMFRhaqvV+rVqab1N93zWdRcyV+9i3nV8816bWSkd+ZABnLiE+5i9c7XWjm34Lj5lHrZSHk75Ta6VSKdXWUIkh5juC98m7MWSq0wQiAuaandEKgemDp2Y2ib8tcRjYshSQUtPzBWZh7JCkYYGjfU6TyfJnSxlpb0hYFtTxq2qymkwJ1bhGWIXxSMcEA6QLbpz1h1JvTKhM6Xn++Ren7TxWH64qP68kkWv8GAXUKhv3Amvcm7FXr6tyR1+qc70DO4CR572yXmbOIUoNLiqVv4hMve9r1FnNJsDJbkCNL4Rrel6vRwkk2DC5JBcWVwy+QG0dKE0+H0T5RU0f3zn1pFjqYKnwjfrS5DabMGY6kVcrWA40bLXc6bvmpfvK9xcngbkSws1Cw2c+I0N4P+7FFPkJFfuIyQtlET3sxxrEOBnZfXVZSpiEg9dfcDOAJjE8J9iXVrzSb2cqhIiNdqboOTDn6TGLums+piYKZhiXzgR4/KIAplbkIcTBygpdVWPyve2l5JVs+EgPO3j6/XORqQZwKtNWw1bDYPMd/pPuCui37oz2UaGzCbTRHsBXj/rdJZuYgQubgeEYBt9affFQ93wMSqwE1Dy0JzJ/gg+RuZQrtsfhQTexeBv4/L3tAArrbl0b70bfGwa9hSq+UyCORXmrJpeOJSe565bdB9Vc2CrnhJ0OoORlQ5C1pw/hIJgitk8AuUCDuH3lQ9Lcmw/9y7kC+6t9ppMfKY2nro+DaX09lTsK66DbsQJp96E4SBNuai7dVfUjqo7/qClpTxCbYnn1JIqZMzgrwsOnbJrdWUaY3qiPFBXB/DQM6oFDmM9+WH9+HPZTYUrupi8L91E0LG4wyQP7FqShOxp53DtiNaHeaLNsSIU500+eESib3JrXkUJJa2Ahd51aWoo+tSwHLwpx2h5eJtDSTkw0V0sKaBY77k+u7mwi7zzdLTLhxUXAyxORBq/SEdDt+DxH7cDzJUPNd+nVJoeE9LdxyTMgCczdeDQlcRsc+brvL/TpgyCRUOkY3JfBETGjGeJJQsz7wgjsS67arD4snm8M9qx+bStHD4gSssORD64IMoQoJ+BZL7THBKLSztX3tERYBP2gG7nOI1JGwxXMf5iaGp8pIrmEhOB+3/uLKSAQ3YF7p6/dmTgifH4w/iJa2HUrNNYxz+AUNtR2snkUk20xSSuPrWmkQ64ZpP5pX1qrsr63TmtA2mTRFh6wetANRjxXdWqf7bPCv7rNISt5HFIRbly6l1ARicRvbdpy1IbFlON9DMHk2QWlANlSTOuX+Rz+aWmTy4GRFqKfo29nR+CotDb0Y5FgSYFaVaFonVkMYrv/XiRXn7pMmnM7u+rlw8C0mi/N+8me6hVpU1UIgJpGzTmSar7ITQ1+a1EcytG2wzMOS5DYs6ryWiG7gZDQj0R6YJZvh41WnrYVVJNLj+eCRi+ibC7UDJntffHcEVRbmf8qiXFEAzDW6jkw18xhH93jfVrR6zHjkBla4NFlkmQbhs3H6KFCRuKIeUhAohRPrhIlzFBNkc3+r25eYS/tQ7CoxADSfmrIpZR3mGkgISLA5SHJ7fHuIlsG3vh2dWpWvaYt/MawGDKwvD0kv7j0p9StjMqT4SSGbJwwGoe7bN1DF1JNCx5Oi5wYNBsLWf1hU6BWm+uIFfbbAOM6aVVwVDDnpDJ5geFutDxluSRyrZmU56xsTQ5cqee49dkEmjZcEhLBhJjEbN7OwiSmlf6X5uoXGxf2P+no/jFRiNf2x2zILK5Lbj5CQP7ZlsFjkgoP89ptWMgBioN+TnDu5ofqA96CIrQV0i6xzerfOrkC3ldQp1/dsE6SGR+jXNHtyvTB5HOiJ/OW9kkt04IYIH0dWO9o25vKk3fQrCH3tVW5Ut85LWAtUafhcYEsGJ4j6UEBblNw54QgcdEcxQWVqFY32Cz5OqZfflaGbtOEBBB+nnh8DkrY/BbqnVAyH95IdYNidwxrB+YL7+KFPPULthLNsOVdgEPrUDgeVRXw/vky7ZPiW4OEf40UQZlV/gB3kGiAuFNRcbonhHWWL5zk4IXFT6GWuHnir862Nbj3D8LwtrMnTCkQPte2BZUVEOF8LLroEMTxwmrOyJGpxVXPai9UYpEOIeSki6dcHTQufvjYL4fEleKeY4j7cAKxv/Cq9dY5sNVZ5ce3e/t9T0jmaBNkS3Cp93AeGaERVegxFx9jmtUzvK6r6s3495+W63yoMnHVEc7dzYMLlAC2K2wvTEoAsLnaDXp4GgHABOothnIIsIk6vPc2vmre/zLpg5xuTFkpviEzFiXm/lD1R3M84e3Prp2Bo+/vyNjCe9KMvE2cMVj7DM8zqH4fI01LhDlO/uQxgmdWX7ioDddaf1bZRbyI7r+Q0MXnXai+CHsLHerCfc+KPwWVrezOdWRolNyF5R9GWbc/YAp5vnyJfBeZwdHguZsqisvuMUqxODldj314i1CUOTmPD2BwCPqkV5k/z6oyydJ+Yx+ORVfLUgwh9Z4YJcbgtvhslJX0gqATqnzSlziLsVV3aHaV+LcSptmiHY6dIEZ5noCw3F+kazqG3ee07G0NzVR2pvTPN/RHQ8uhpkTBmmbIAgRsSTgC4v1VRIRcshlRvTSXV0d1Nqz4qA2qGVh2/MwLdMFJ8ODJA2fFPe6kALRI1QRiCpV+bXfeE6RM3ftYMd+4f8VmTXiDJzmFjxFZthBc8/yDmzTuZdmHZR/TTudQJz7TNytA4JiAwtnM9w5iJuKF1DzEjAI81ziUogmqvev+38NVeD6/mc91EvtC7y4v23Nl+wumeXESUSdyMoL1VeOsuFXuBQLkrh4+kUmBzSZuug/G79kwtknCvszGkkr1vEKGt3aH0AuSo18I9d4Xbm/w72ATmrY2wqtZvPdVl0GM7gYI2S1lM6Ex/h91dXiHg/OOfsE6FMdCIKV+sTr2pdVSzyowEnO9b6JjPv+5APCMmElXvHT6KG2s5ETUMO81IdxR6ifPO8kwcOEkSKRqgt2KX+6WWIQNbEiW86oaYw3XJfZlvZfjHUtMLEjlRnkdPNOvdxQaEScJRN6fm5nqqppPBrYEq4b07CNplD0XDffth3rkmOmTubqUvvqk+5rjNPnmnwspyCYBytyp/Sj7iHIWXGWWIAJQpX45ZzndBN9P8X38NEIhDMiVHZ1V83QyrhfuoeTLGCnV26Tn5ZtM+WMRc3kef6DE5D99aqrGf+mK/5xZV3/5WJ5uslMJxA3f0kcbjkZXV5SqBigb4Ae2TmJukhEqmYN2tK4SwCKBXrdvghzXlaupZ5Zf/c3YSzMI4zPF3KLNgUC28mNnTiQF4V36DJdTXCZLLQ2248t36u0ol4bCr3BEQ9Zpu1eubcLIQJHPbGhHs+ZNKeS//KXZLtgXOGOb2GEDpsuMM4KWCdYDpLQQWY5RXsj9U55afJwPBTWM+jGsfa+evWK8gWBhpWrsooMgLzFrHwODz1+ncsx0SJJ9dPo7hOrqcQwpLcY00tM2atnvLJlHspA8tIGCUhnx3ZuqvIpIhKdA7e/i3vf29dn96tHJ+y4bCgcGyRF4JB64PxYRPmQsDizk8s4yxg2duIV8frk6Wuy1BXKoSN9CcFyxRkFrl2TGayP27IIvCmpVIcbZGhZ6uMAmhrW+CEQ3HbVxNJt4kbhPo9LKz8zMQf4iDpaoDQfzjfOVr2RiHcjqP8g1LPUw486Pn6hP20yCkVwFZMZqnlTy6dIvNNtWIKzRUp4cd0jCTIozScqzM4lyGLZWUrNILuEpi9vd0iujfSQL7IF8WmCTfM/pvvLSuuVafBLRMp+PumuhZ09l/ARQS1LDpQW7sUbVkkkcclfJ+pFVYOiVUFEeJUWKzc/IVEPigPhwUk7rXNN+xxYZFezwzGw2RwlFq2hAbeAPtysmWqcVfHQJ4HFRXwwF1C2ghKlH2zgr/BVbErmNyJYnXNgwSe82DdSoxoO6z7gZM/rP9hzpU0sx+rfF2bNrzbbsTuvxpsilWp/szOnfj0qCNzNktS6JDy3Ben9HRXUW7CLP/P5gCRcwTn1DJc4H8O10TTjAZ28kiFtrkuZznaCuF6Bl0MM1RbooP0svZZZoZkuJxTv9QmmM9rSZrsJ67VddOxeDh6qW1zBXktkTJTVUOl8zzRYVAwKTPjnLVGVH9D8TVJZ/K4tlydJJnd3tF0M/lgDV8unZ1GiPFBruh6iObNDUOHse2c3szwBfQdiqD8ycxKaGCREx/TO+dxREPDiS9WRxHcq7lxxxLNDw8MUgRJ+1fYCxHwPx2ct/gwSyjYo6zsFQfcdYPCumLQLl48rHcgs5Fh/lkTdkroeQ76NPAjTs/9R8AtHXzztrEaKBTGc0ufg8u+MVGA/9Rep95QEUP5tJFHU3WoUF29XboK44Z81y44uiulyIgPwek0+TH5uw8+9gobnbOX7v+rgp8z8KwFXxxNSpMFDcd81LCXXSJkSxvcPygXxxhVSeTRxY9v3yn7qlakwKCBkyrXCuOwkoscdM/Ace8qt39ZYd97IlJMuGi39IsZ1N9ySHX4O6ma+BNPMIgMM6wb9sPD/bmG5TdEN3g0vqEaxPuPa0m+L32G0BM4ufEc6fKk2S8FE35jkQOTjajFkEmSKpMYMIkXPdzNMDWk/uCPz7NFHuQgb4SDqajYJVBS2XxBINAV82+Xvs5GjnIqzByfeHg8EiYu+1git7rV7ThIE1PjoNnS4lY/03LPeQ911g3UeD5VQcb7f7ogyiTkf9y6ewjpBW+1bOzD9EMz/S2sm9OdtnXQwqx5q+Jp9v3bjNV3XquAmT8kbTd2yl8MOhxa/atuMy+Og9DBKBZOzIi4cdbfuWFXS1+NGfBhrVXEMbn00wpJajmBfBaQDvdRx6+cfoOl9RBNr7yyrk5oBuKcWD0IQPqIqhWIGZIGOw4eBEQNakYb3zr/6UAmRHL2Akv47qTvV9mV42La/hGX9RoMSp0fvBRmiNL7GaLfnZ61gKeFDvLDAB/8WquhRK9xMVOTzQJQpeld60F6ZQNlXpT4v/ZCOEQufH0ALKFVatXFwDD3Y0pzYeBs127zHXe7j2GdMvYib8Hdl5EAxpI1IMvh4/T+fzY0QsUt4nnPH1GzaqpliCNxMPHrkQnlJkAHMvrWV73N7HsDneZJMHwvpcKsuuTn9b/9nl9fiW7krdOXrSMhnc7Hzqvtsh+oCVpZRoXq9SF7qZt3TOsynYS/2WhU7Oz5AYZQg55+qDr5LoU5bBEJ+27cgcs1CtQ41ILX4+Sxtbhvyka/UyqAr/Zd7pir5wMphvRbVFJb/oqYvjBVdi6tGWGtgWNk4gP6j3la+kDWR9wtV5fFJXorlnyB4u0Ov19nqieoeBPojsvUUmQ09Qllm7wjVm4nLoyP3RB2/dONOWPv7jmGjg1DHHlZmy4gTsjV0J2KI2ed2GOnjyjhEdA5y1Bveqxd4h7XX03Rh5Zro8st7PUu3le2CtkHMqYBKquIizKchMgWI2stuZwob3nRj3ADRmAbKj17u/LJaLvj8Fnq8KXSZTy/08F0VH1kLaF719EKfuca15vKKMNrKX4Lzf5hfumhD+zuchl/ihJ5GnKfVepoOSbiDLnPC8ymPARFJTOwCM2BtR09wZ8LBtuxCSgSrn6xg+KbN4ui16alv3Ht93Zd99lqsTsyiVLx8p5hHSxjONNmTXnWlwY+r874ZDZuERNh2e8JhLw5RgU90YooNhdKleWCFrb+DPtp5Lj3Z0VTAuX7UM0opybo4e/hN7tX+M5bkEz/fSVPGb4OhSMdplAb0/UepTbI3+mWklLysZdy0kGPKLp0w5ZehNZN21a6W5fVsDjNSMNntOii6YuALi5UDJ0uJZVoGhT4JS2xjQa4bhcwQd/zkzDoa1dkPyc84rjgxfixRXMs+0JNdkxhMiqOVj5ZosPLdV6d1h3hUb2HmmnxYUFzVc1xmz3/4qHGZABSq3zWvpJoCOQaKOU7PP2dDEonD9GUzUkgzK6SiBjPQT2ItDFktcYPnpjkN2DMNE1eK0/jM9w7LAUWES8Pn+Yb9BApsisNJD4ZikA314LXp+dXRdgJL3WXZzy2M2qNnKORiglT+LyMgkd3X7ZznxSDCOXd/wgbm8rfnWmP6Vw4xMqUvC5Yh6TtjJx2XMjiXMv89mWYb9ilcscEVfdxhDeHcT9aJNllUDhWLYbRwpapseDUinTLwGm64LUrDBWuEHM0xjUkWIebyyOXVI28pv5JJ4XsIL6OFLBORJvCO2npqCeNqZN514B0FqhtKO8Ymyln+MfJdniwt9os69d3ZxZeq04VCUt1IcPj3iKQX6q8AYgIGHCqnVUid6Lafx476AKtPwqHCfBBakYiBjNT2gkiSnoDytE1gKNDJsnm0YRGjkYnwT300JyZrQYOX5MrkDZZW/+IvSItwzgDNlb+cD3eRQKNK6KJ8MRQUqsSOSUcbQZElMewkiA48ykjK+VvQLBqiZiX9+9b5HqePuUMKfvAcgbKuhj6WI3zhyU8tqCcXtbgivlg1VOleYeLew2Ac+i1GyzYigvmf7X/sf7YouMHVgqscb2sZdVeGUFTj1UojJhtPf+c6MlFW5QOjAaacvbw/dpU699vsujsHf+gzeduGKdmmOBYfGj+QT6ZywGfKgKaJ7o5REFVj4/P3SWgveSOC+YjSf4F9Lx1yoZ85OYvyDkIAcvn8mRx/W6SRqH+Ydq2O7KbpiWhOmmOJIl4Mczb6zEgL/Xhxt7BZQlGRivvT256fixPHCHyI9rRaPRO9NBgz5l7C+0egvGxnY9Cxa+Sf08Vv3WvCTww4mbTjLyRrNpYY8sUPYUTBYElEZZYPbiPOlipDJRNte+9WFrrcs8Ll6DyS14aN+w4XjEYelNcQXMReFcaJIVXYAp9QihPweaxddomZSCnqYeDeOK1ba7ZKIUrWWz1IVOQTlpUlmTSHVQo4sQMfMK+dY1/JyzqTulKOGbLcR7BZzwVLZ3x7fmiy36P2wtBbi2+NCHU1WT5Q2jHZy004E6kv3l1aPMq9GmcUp+LYldl67hjccoggyVWHgOBpeSAkQmjEJYnXHqf4jFw9Sg/0kiZFfKB0pRGbPwSP5+ayL/nKPPxJR1av6xmyPQu4A/q0QFNXbDI0rXUdhCSq0O6zpWwSYEVFJUckSgSIVjY+u5c6sOF4R0PCnoL3ZuzMqp25Du5H8hPyi4MkeiCDDg6uefzIuyZ0aVrQcnP1LUazdHRB/kCsdx1XuKhelzsCKbziHArF0Xry9yPx8bMPI8bh8LGvVSkFzIjC9cI1/Ln8vTqXQ7rhTI6swJL0j2bUPZwetyxGPoT/ELiTFnqOB8C4FbXh28BiYAbDsEFsAiubw0elsiG10PYWebrfa77zhf9ov3Soulq8tg4Gb6HcyiHQlo832U48HpqaeuJoWss997C0VSVi+5U7DHfhKEXjkCzNkuW/bB5dYIy2G7UAi+t4NTNQuqkXbEno44MkHSiiTbgA7OAnwQXhN66CG2CrWZ+e3EmBb9ofPa+PiHylWrXpoDhV6K8/Z8Sg9rKa7W/sbGDr5HQnicWF09unJynrtVy5b8I6h+cFfCc6DD8rF/6um1I7O19RIPVV7bBWve7tnWS7Z2uHOaL2yXmDidy14kCpzS78cHYYAqgWRnUm1gz5ETgwBwB/RNNn2PFyWNCgMuTlptrg8Q/d/7j64zkXz21P8LFLcQ/QEmDxswEcqTIYFS7E12rd4GJcmXEbj96qgTYuWyV/95UVShEn9Kixqu9SFaK01k2qc64Xer8GbsslRd3GRfxVH80f6XXKawjEZMWclNHFX/ioSopBkZeDWo8ntssti9pRNUwOMcsXls+enTb5um/d6ivYq+3e7BZMxfVSHEr5MQ4R4ZdZRDeRk2V4RdDO+l/BzcOiRq3M7xcTGzoK5s7cwlO22JjVJrCMxsFOlJLwL8D67kRMyXS/PfErP3Q3Ni8bKR1cHeC6n7c2RcZotrYLISq+OIHPblumCIcGlvVMohx8nrnlM8cLEp5Gws4tyKaTZDX2V966RIQueBTJwX6+9x0GWr3EarvrqLcTXIKxhY3tmIv8HWcl+ZVeo9v7qFO47nG2dVkb44PR/RP2zWcOv3hQlH9fS21RkfCMs4ZSI0KsBdA+qK1ulkd+G85ZmgS+pV2e2BFmTlM9B3ALYTpuKsxzJpVHkdpozJUwvkkt75ZJN/3UApBgpLXO9QkPzRuz6ouLlOv+NKqaWCQQzSAdpQ9/mNbkSutBZ+67jKuX0Kaq9vhIgSMLIphjg6//gxqx341/9/hn7T4K0vZ9SVwOoLzZe0d5f64V2VGaSQOvhjEBvyJPWJ57ePPgBogZNjhPMlZBFthFmn3ZawILwIxb8877/9Mq0MiO2PdZTw22QtdvrlELAw3SvOx602nhl6wKogrc56ZMszhzB0hJSbIoa96t8jBscP2yHCWl+nOGznZRA2y/7LDC/HDAk/tFTD3g6p6QDUY2aKRKJ10LEmtQnKkkZPs+IzvrfeQdAKPev5P9VngaUb8Wqy36OstbGPlA3USIrQx2PqmnhVn49CHO3gz0JgqjR88MWS7BjsB+oglY64Yyj4udc4ZaHQsmPtsKsisoF5zilZjQfiUBf3Ctc5nrvOaugNvTo7oF7CrQ8doz0zrR9FyGOGF92d4X2j2kyq5Mj8x35YJ09ETAuv3FRw4h/667saYVtVM1prjiprSWoEboBHxrLRVj/IDrJON0zuv00B5lCOuJukk7QfwkMkQIPtIfkf4BV2KTjQi2o1JFGGC9hr2xVsA+oanutJlisHVVU0KUSI4JagdXVhywIoUbC/kNi08P/8AX6F9by2iqm+WehEXTcCVHEzHaMst4AX6kde0NfruxalY8lQwAWdBHddRdmhvu1DLoDedrHae9Mo6XwOuXht1AYfeeBtf/C37/wUKbYakRSstIPnz2isuHBah3n/lwE6YJG+XYS+5TgogG/GokkTX1I3+PIUmnyAcrKV4uN3mFpGO+JmzAnv/mPVoivPANpSfk6vairJaD1d05HF/kx0oZsTKkFzMVQnzq+0emXJ6uADVxK6dRWvQrnKbAluQp51mTbUKfR4Ef+A8KX7b5MR1OZNHJ9poCMoxbYER7DgIuJ7f6iFYoeSQetDk5AQ8PTqn8qRxJSgyG87IPCcyqbeQop3bg0CKEKf4Hx85NWqgCR4Om8jNPrdy3yeDgIwRHIY3EX8KvAS1o/r6OLvr+2wXV9BVwCg2aYVLcpAcfv6rcR/0Hb7IF477GhtOINXhAKDZumMYfCbd30u3ktqFl5PHv7xx0PpFg2j5YME/jaFpmTz8p3+SZFAb2G1wWqVVj7VVu9XY1XXSuK+9Hc6iWsub8BJLQPR86pUEmtuH9ZiA01fTNtqMpGycHA5ajGbz9fIq4sUiOkT6yEFkByI2iJCwXvr7lGgntAy5Wg9iL+o7ICQCxFFVeapME4BrjgIEGwVfUrXhXm6M0GikifCdWPDBh8imNulFy0/JCpmhWYQB4w69d6AxPvLzXRMuTG0f3rCDOX6ujp7gTUwL73r9HdcQJHZjzI5AJ/QqqfZcmeF7Xt8Qv1wEwaLLiIpJ+lqyYCikJaFfkxWo59bGINHcMg9rRm5COHOBTYFvh3A6OJdBE0mU2K0fEIzSfvhMGXf9fx1WBXYnRUnNwSD+tyPGuZR8GaMaYFFwMo7n4ihpjJ5vyAwolq4HkYa2G2IqNQUcV2MQZIWEFbAXp8AEFZmyNCojDdq3rOGIe+ThUi+9Te8OkCD6SQ6ZhhAvLSpLg12llTJHRsFTv47UhMT+kBBJ8JgTm0Xiwmb+0/Rk595KIUhC7QD4Kt6LvP1WSjfnKvf1ZmpPtuK7TiJ1ZEhpXjQqv8oLWrj3Z4D2ZPiuOb2P+Fva4JLGDUaOZ+aaD4MElS/YC92zwMy3wFtMFuJaTScxMzk5BGhfPlnY2cTbgHhiwRJs6X1IPl00A+zYxP1XSntezE56rT0kSHBb1JQBiSGy5OAuKyrKlpPcLzCmycbi7nE5QsRQtKunAcNYgVTDVnYF6DVFaWVu7uJLB7HA0TNIYbY76e0Q/OjnoZzw4A+hrZ1MQYne17Rs0ry83OieE8Cy3C7HUdiY1zzRLxna/ou24G1IhTuTgcKmyJI2rTMeBQKxpzzeVfU7Kvhx8XKKFTb9kVjlBrSqoS0AwYm5TCvHrl0CQAw9fLSll4yQ8/pdvypvgvptQEyqXaAXTKT7lpDQhTmyzFhjgVZ1z0rDVL3EsgSF9+nn4yBQvwKYCEL6wPshK4f79mbxWSreaUUnkdQktrTRMrRDuny6sQTAL4ZDvMgReTnKXc2xqPsJ2fyQLyqQGGKCzyeqc46kIq2TFfHDzH4jFNSUPKoL3+WA1yc38TdQ//2ZbN4Lniv5DIa+eTy2pTW1V2SSEFhIMnDpf68faSQk9JRp7WINrCwsblCYR8gIobvs1L//JQmctcokSdJlFkiIx4eSS/S3E0g5kx5uiLGgI0v7WtuaA4dUi6mhdpegMyLmiSk7l/VwHuYBk9BG+xouxPnKruPUcIzyyDWEOc1dB6HPmRdPAzMJqlnDlnLt4ttNvlOGu7rzWdvt10TihgJCS7ON5t0ShxoduHnhg6pKpURj/P2v/cf228HXdUzdFVRt038Zf6pG3Z81Na9T5RUcPNMNCfRkaxXRUz4yxd+IMtYb2Sqcq9y8lbo4vHEeUlEqY4An5n2xBnLoYQ6ZkVPh3Q3sDC+nyvwmx4bO0rA0DoTSTg74ym3P9SK17lp53KVoYm3p8wBDlfWTDRuHHhx6lJcFTwCNR0d+YjowAkLl5RpNfzwzdZ4vs2WcG1ZqUW2T9lP6xa47LCAFJrjc1Jo4cl5+RChluBSbt6y6jpaReqY+fXrqsSvKE3n1yIeM4CEun03sdz02mkt/LsdYkMeGbp1f+q8tb0wFNrtLJc9KO83GMmWhrlUWOEVFDadLIXofehuMTBYd+TubQKXGNWWhAVD3XtTgTi5UyQ9JJiEc90bGokfDZHF+R3q5zxOsqmzjyTVii3BfnfYn3uB7F4CIor4a4hlPUFy0jbgk9tNKKkpA3+89ay5rT/2KGATCPmrCB/dOQl+yKmfp2txGnN4I0HZ73uChF+4eqXgCCXeJn7ES2ZJNCdL5rSPYcH8zxh4cNuvDB+RuIuvwuqvVhodcrVL0nZtOGv+yVY7gPEDaSLAXMUPrHmsiysm3LSAjvzWNPa9hrB71B+sQG6sP5eZWqvlsOaqgbcewF5r4ZvbswEfhvIYscKabkwDKWJs5PDePr7G5Cp0neJi8cdhS89RBXYGXJ6f2686S56aFHiVFeSaQrOiUh0I2WW+UXqurjoYnAJfgRntMeUF+0fzoSF02R/iPSKK3nkI3IKVJH2+f9o6qhBXcjhs7f5Ma8SgsXEjLuZ/nmVvI2wRdTcfdphBg5QQKOa66Ecrlw2YG/43+J9AAwzQRw7bO1hBn8mNG7qXqYOnrg02kmEgComKXf7WL4FfdfZx3bPVPLgKhxu+wie38fPpWRHVQEh0k+uTjthpP7Ae8crYNBZTHYM91wHSqlLtYJ+McbnYsXK6t9vvlPMoGz4Apw8ZWjaIpulr0rMJ2b2nGfthDp7c8daHMDH+AQ11OL6crK7veGfjPdWrrWHygnLYSmTJAM8NQrJnMSWmfdx/SULqKc/yMQ6QePmeWgudbsafUPiBRxV9KMPS2DsqeQBkyUDCzB/vDLRMVo8wwzcZePWfj40Rnpwn2JJVGS/CtAHB7iQI3jzl/QVNtgMDWaJIQlq2NMF43Ncn/AiffhmvkdavazqZGVbH8s1J+CPL2315z/OxpGpHPkR1a78ai6k9ZrYVb5Qn4jYgEt4rrlYJu6cn3bYVO8TaB6cjYGwgLpuYarCQljYAUvnfdfBAvCBHAH0+CD4ybIjTGsFv+wx+J34DToqrj+ASxyDawmQIJFresDYdMppOLIYr+1Hsw2R0pdybqVhU/vSenrn0sHM61yNIrd4dK4HCsU9BDzUcUN2VRK9yzxgw+No/P8ls0CbJOsk1uvS3U7NI/gl6jGbPA2R1p9IOJTC1M8xOPEXyF5ovqx+Y6fKRlxWITPbscImVSO+gFDrBP0uOH58s0/GQ+75M+6hx/dyS2IPgBwvbRIW84KLkwyPm1eVsflSH70gKs6uUa75ZbXbn15H5BUNHpO3xwS84AqEF2JA1BIY/jJzjEI/X/vquYG0VKcsIdYe0fEzU9QxV3tb3r7dilPr66uYRIxipqyqEkHg7c313b21iPla8T5MI915fu8MvRdJ+J6ocuNEdVI9xNW58U5c26POqZTnfIptxldT40AWdMkcap3PhiXV7Nv7HkrQ69Q3JWtNM2dOrS/HGYfTrvadbGHvu1bAylbvVdXyL8jByu/QUF8D6zOGzuXM6Qm4c+vALnsOVjj74I44fPGxgroAupivvM+eB3ub/Bs8owyKjZixdsSbB3JJUFDMdXwLc5SsK2y1DvRVXjPJ8L41gVlVOCI8H3osUm5nlDVaPV07kV/wZScj+TSHYeXwiYwaf0vs9BPahuMsYa+qfkuJDheHExHlv9A+FFE5gmiklAETJ8qVEOwxi748VSDRtKNy/P1VShZ4p2uqZDFI2ZTAg5p1+dFjzPFbp+9A5xZ98VVHnjKznOffkj2L6VgLMhrFFlYn/XesP9P4N6C58NW7hvwtxzKw/htO0C8IflPrNVuOPuft1VtWeCOwyo0iO1cgcLS6ytaqGQX3y0bJmeqxZnprOWYlBH90Gw5nARRdvXpSkMQiFqM7VB56dsFNTOD88m3aE48Wggn8edd6NL9bbe77zJ97wLeOB/0L9LmTwSiuenrubLJ0IbIzku5JaefZRiu2TPO2CfnmmijtCIWgCMgWnCIbo4yTgHoGOfsBYfjBU9RThshvJ38jE21O8eVCZI8D9PtL6RGXrQNKwPXOVORBvyd6i+Pb5LRcXrFXZt8BRy9jnWaGIfjpu675mQD6Ii0b3GeBZLhzQ0id7kgHwhlyD/11LoaDv/weXFmI1uLoLHRYhHQbRtdJrktVGXxRJaJlyDQvyXAxwgvGTRjxqzmAELVvwv+K4sjszZnHzyiQSKLj+8q/LXrzmBD8zaeczgC9sJNlPuHgP5/eumuSyULgW3cVBpzV7foVJrYms2YU4zQOyctcEuPIsFYLqmvIrpMeolOJI57c43X7q+HzBOsad5rct3/CaIUuEXZKZcNfXS6cNE0Qc7aSBlUP88CzQBnx7r+r9zH///2zNV8cyAlr/LxF3esuVDgxiDZwvC1kq0r1jSCnL17JM1PwWr/VY59Rb80lEj7/wq+1oXt3evknTJ5El+/jPmGug8ajKHc9NpbsF625gFYsw/QZy+moMkwivm1pMcsN4Gl5op9mQhssK1Z5f/Ju5in+SknmaDzSyh0cGaBQbnRMt4btS5YgbztGZWi+5obc6pytB7WmTRD6KW2bwMgosj7UFh+PhO3yfVgLtFu4Tmw8U1ZL+qsAjc8AwsEYuBvO7umDHoe9xGcwLCFn+i4t0qUsLO9PuE/G1oLLyoXngw4oZLIgpAeVVXRakQacR1crwMUoGGf3jcvH0Is+8kvFK6B1qODbbQtBeh6I0yJQKowBzioH3gjfSYAt00sEgE4poy5DaRelVw5rXNVkhGIcm0EsyMs1MWT2a+tbdIJ9FT9ztyykA+WGGfZYUdH43fTVDCGpnIS3UBHBe8e5tJDk5PmIHzRfIwn5O8oRKfhpuCNLosNcrdviLIB35hek4C/JME8l99tipRxfLDeyzNHvm4+qyBinoco+Kbzph6vSJJCslQLR5yAdsDKbPF8rZ4xy+l2Z4yI06+pZPuxTXzx8UFVVhwu49pwENhmq5l6zUx0A1zJ1j3wNVoltmQRm8RPSo85EldMqsPq7G7ydAwNg/0HWZaUfYV7mXnm1vzUHdnyBKRoKCDR0vXFNgQXOjRa6dDax4dALh0RaCPot2WIDwrUvHkyJEdF17zTKU2qd4umc678M75YB2bsP5pzHIZrv5AdXSrePMHH+mpTEtg0lakvLpl5n6cBeD6o+55ydpGqQ2LoMXlPkW8JBYO2NtMHiJ0G+IbL+S9SNsjpq6ZFs9TGGNKsJA+mgIXUfFHD8KyASWhB0yBKpSOBwW6vhHULcaylMwXDh0VfCKZ+rpLuKvkIuEjYt9i2KE3h2UK+K5ip0j/2YYBH9j1ZTi0eOc0LgFwcHITKaZ2+xFLIr++SsjVsZuOqg+FqTY2jY44wQjH+diDfdDQM+F5DXX0UkYtRfXBvx3jBCPrCYnwwZjUW7JIaF7xda6+Rh63V+yzSR48KVeu4A6ulGjLpiooKEUjw5oHNNBfuPXhSG0uaO0ICk/0VPXj+5D2cybXW4t2Jis+Pn9omdIKcSJ/5hzr8Tx6/B54YKmzNVDoaDBddcm2D+oIdJHMmtz75/fKkndYsoj7dE6N3y3Ms7MBYArCSsEVkToDyjucQfq/HuxbVYOgFYGZ/PI1omuZ8NjVPfOqT1KA8CqGYT9M+vQOlGVD/VApvewrlOB1ZY2snLWMmeJxGoHC/EsmPzlNybD/J5/x7CNRyFsdy9a9zGy0B9VYSafBDg/U20Y6C8by6hbFiPt7sI2wsQyzGFAoQqYCXaXMHLlzZMOAInMYGBN5r2hykCIQtaC//KhQSfMRVFRf6qgaZf1zK+6Ho6fK8V/z+n9dh4ggInL1fKbeVVGedo2gIb60lTcxGtYE8UmR9TQ+Bj+XiS8Q2Q13Sxf/S8+e86Jf/tLHXCd7zFe4DiuMNBk7HOBsvLZnyRxKLqsKXkcB7LvhJEWu4LN20ZRmairNn0s8Lz8H7HdChKbLrB5vVjMObUIGnJ3GtlR5qt3F1EhK9WpEyGGTNGy98sYh55sXqE4OkxaP5VPQDFp6G1ELoh3CL24B4QKrVc2rffXkIt98bSUqBkuGT6V/5LJgqDyuitiMmVtj32rxyIH87Hsifp7WtatqVCZWhV7Tym9o+1VVYky76rJbsdDC6Y0gb66ZbuFOybab3+NQglB6/JZjkUlsAJ0InT/vl9VlIKB2PJpmvICdVX3QHQ++7mjUxUCpKJza8Xr+Vnv21rIQCDq4lIYK0UVLte0qFKPnqGQfP5zvgYJydQaIus2WHeJjDLIZwzs+F8URIp3UcsWYndW07a+W1L2q1aQztZnamxZxcT/U59YzN3hNKaBsfflJOJGpy+gf5MOog9gYXBtsFQIQ0wdB4Bk8ZaBCM/2xq6WBg51zlyuU4JVJlxn2sCoXYEXEndBqcm9ltnaHYWd5PITlqMVWGBw2rDXtGaM7YtQClV73KupSonkljRlyaRwBeGncaSg6XF4QpaJuLR2xONaB7zYk8CZNMNQ7AD4geYB1sUTXmDSXDQkxmTbmTQ2CrlyJkxGa3D0qK4B5Igg1HHNu0BQFd+x1G6/jTKweKhnmvsLRIvYJCunWfCDnCRs2ZzLU+M8O27pm+BAfEmiGjNbW1/H9pKrg/HLZWyvG7IJq09TBpsghTguYMTLzDbDxrv/ksVHTHJIVA/fa6aw6lD81ZxpJ0nA2lwbStETqyyqgW6U++miYDpE65L1LANCA6Ojh5Cvc05n0Q/eCWKUDA6EUwt6/zpU30rqhBLHPERas2PGqoEFTptT7uHU88qt49bFMbazbdKdV3fupXuE3/PNlhNHvQBMbm/zp1i4nkyxD5Vttl2+40uevMs0eTotwu9AbPnVFCMmaIY6ZKXGUesS3ifumd7YQYD7T+xFi3zEKRf2as/2YzniM2Vx2C+MCiKIU0Jc32u5H2v2SBskDJn4TeX/Bot+SrYteoRT4Q866K98SQIV4BvfheIBPVAqcwSAs4AI4zFeaFsVCEnNijvFy8g5+/WUxBIxm1mPDZ8cisXmumdp3MpV5LvSaMep+OVZI6cSOa5aQtlTJU/ChZVee+2/Y/kjzbyVY3aDJc4UqOYJanh+yWIMPftgqir5ho2H0TgfxNC8LSSn2gFeHrmyzEdWAsJ8+IkDBknjm//E1AD5DBspDqJD0uYM5n4RHeycnX2z6xizDcsr0csU34tJS2krmSDAE8Ymad0Ort5vtEEsg/ojPr947OpBG9d8f/5hAiXjZYJX/MLUgtZHBNOqB9anmiZ+cnpRjc5RreBfulehWDfF1UUPrlgN9eSiSuXG/ZsDYZ7fqpNPx7jXAPCFqcD8LmNil8JmH/g8kPOLQ1o8JT4roJiejq7IjD8d3/tOwWkNx2XAyw9AAceya6q0S9zhdUB4sZZ6wYq91JcUcugPTjluE3guR+UmoZW6lWU2FonK0f2++eyBHnj4b1ybqLKqok1+38tw7VkblisWp3Q5qhTJtSlsq9bDRnPzxTHiG0g301EnXFqpyws9xvlktYWPQtj+j6Vqp1ET8zRGiRcFfB6RO6kwlOSZ63dbwyH6vOSXhnetL+cQlkiA1UbInbxWsSyJ01w/LF/XHktY5W2Tj48QFA6bMp3tk0lqwLpgVCWb8NKt3smJ2eWXANbcsLHkzqlgRZFbroiHXp02rwF7M3zrnLz4MSusftpGFpLHZofB+HTIFCQKYlHq35hTu6Spju2E7eUpyjmKkyDziLxObcW1FupjT/t6wNeAsVWpM5nnCXp+/BZG8Dd1WEd9nS0iad0C5cg5D0VhDobMSd4+eIvRDT0zWREuNrA5JDUgz53NDOcpJLXWDVnv7zyawe7mR5dXCOLk7kbiFgc3CH2EyWryC3VKSK4X9RuSflROOu8ISXXqtf/8C4JUBxtoIcs8xsEAnAXi6F1NgsRzgX0CHYb6SMtEzwJpJz+jGIiNxXsJ5f9yOGx1VSPVxY8wzp+3jGbjou95kvpONOR7yCILMc53AK7g4Kk3Mvv/nGyTAvNr83eTD2kd63KFmKt3yHqmq+jAlhxL6ZOxibzX+9GHphWVyZ+1Mau2xUOZ/kIDoNDe3JSOAlvRCX6EoPW18c5mQUS0zE/Huoj7WKUG3bpeNUazdj8yF8HLipFjyo2MesGw4rjcoaoENEsM1g/cKaK9KPGq8RPZ9jAW/UXGd6g4Yp4bl7yBGVzjVhmCCx/yp10hzXGpyoZyA+5xBnHdI1qMkqrMKg0w6ZX+dojLaJgW8HgIkjKe7/wz7mT48XUKbYIA40Xj4u8WnukE5uLygkT4fbawJUEvvb3oBiHgMTJQBh2H+R7sB2LfIFwAap1PpY1hRZn2pU98P6BENc96aV5IGnmDpU79DGvfAbB1Vxio+vL9gX9TpADN3MzWfpsibv4T0vnymGFyz08SbFIbsL3OIkiwCIwVeHsNrL6fIwzVbT7dfOW4I7ZN9Vx7g5QPLX/jQhNeRKxAwJUrJ/mKUc6DTexyjlZRhy/EG4XVN89u++JfVlefsiQBLQ5rcAB+hOzOlZVgs8iCx4yGGINb12QSkHNZRZwlhyN9k2I5hxtRPJf1NlSSqagwhXte2MAo5EJ5Bqvsvr0+Y28yPzLAr4SOLXiL1RsROTWS4Su+fHAea8uiPobw/51ClTKKtvLnKyFLiUhNl3ea98pXywES6uVJRYq4cuugtFfX/UPjfE8jbbbhWs2T/q03PoXN62PB7ICC5e4uDVvv6jqvf7kjXxQItbtD3hHyImNSulawNzf2K8u1ULOzTRNs87Oj2FdS5rP7hMW6UR5svWX0/F+B+BtULuqzq7b0m0xQpWt0oa3nCUe1ovJN0qWgnuYiZtJEQ+9vqckJ+IeOMTnth4XPpsyDit0hCYBEfjAaYIrJgIFu12lB72z9v0mecY/Y7uZ2ZegURvdKO0dXgDPmhEWKYhoAk74G3GSUBPyLprTeof20kHBAmTWInd6pNkiUTC73E98IrA+AucBl2jb2iw99PrbEu1MWo+E5VtxffeUDm+bOg860ouRbwNE5aoXXgEqsc0QxFgjbv/vbEnflA+Mqzzc5S+NxTdi/biyvk+x7RmXplBk/I2li9GFHyPo2nbdDVjyTczDQLDXIDnnAxcSE75vfSqGknFLEyJNJPDjx1rEBt11nTBH9bpMIF5f8jCWF3qLjT1eqGv68BRFY4QeWzdUnPOm0DAUv7sXzeMV6idsxJ3Sly6eS5VEcW6HLrUzPCHbo5Oc3HcMdxWfel3SrdKuS0ksarLS/mjdQkDrVO3h6nXfZ3LuNoxp1wQn0fSA6PLFR5uxQlYpaYLbt/5nySbYqQDDO6iMUviN3wSr1mluViXux0/5k3Pslh+DIm1JAU9eDZvlQZI6f5yUGQfZrf1/SjQQ+rvAwgJ2A3nZaEyI6MCpfcCfHKaExyGDtQ3eaRgMCCDdrF8/Ud+DcpzpgaqxwQZeNNwSntm9wkBc4qFi4c2464I3x6d78IX/fSD10fMfMK9tisrRYnXKgicGsKC0j/IP0bFxy+aXVrBdaqKYJ5wWKna1qWssP+OxdABTKg1KsK0cyeeH/Tws5OA9eREU8ka3hnoEtzv/kVb6g18BKkbsx3nyeER8C2XcZ/kNmveqmwTzwrAlYGCaHflikZ5IIQqDP5+u6rIDcqf7HFrUWiOApklJ6Mq/DYej+0JVVpowG7nn3sEw+01BUGwTppDDHDp6mOVEvUw4yKVt3qXif17puGD1xdWvDwwusN3ryg/+KxIls+ZQ8VPir5yJvybn19mgZIsQTZWIDzHwZWBpuurhenYfnWuzh8C3gI+88UbFEAtA0pQ43pgnWbmcSUNBgQGGN54H7PxVYGp840QXV+6Lf+gVcj83n2S1VbDQgE57O7IUbXxiwpde2Huod/8z3cOd3beh9JaDLTh1JrlnNgXuN0L7WBDXGHoO4P2F9uhaoMH8bWFMU6qhCVDx1JtEL6EwEvJP1vqq8Jl1wHMyLxEcKY+cWldcmQ1WuE5ZbY3aXHUJPhOTbGs+cnBjcodUHqkgV+tZKFSY2ToL876tMVmVUX3Uebez5HsyTwWbsnTqzGSDb8mcWg/9xB9J4bTPk3xkdJRnGN+Kf7Xiov9MLxtv/qTjcqFSxNnNLcuKSdqJAGRmEqfLl61UtdAXoH261iguyhFFSUfJ6sYplAOgizn+aYjTU6jgZqBe+WrpCjkrcpGWBw9vTsJ/ZPBHXV6WBVGap/LM3gB75F8a/ZIwYUqfaFS9DsXhc3yc035sQUudz7zFI+4+GyHx+KrYrtvKRg+Ssr9lzgNcWbrxWR426VbUgGX8ybtUKtboCrCF5lq/AGh1EWnN/41OErZ25P7TDp1bjdj3FJoIqCywS0GJvvYsUb6VwahY1KoXEk8Ug5NQqf9Bt+PUwNcnakYMu4vnArvlcSIyAEI14o1WnjiH+8gos8tOs2vmazMRtiEb/pXq/FtCdG1lnoGeK+xebf1VPDxpPBddVAo9ws0nrhS/UfBkiDVTISiwJ9IGMeOdaSHsDjxkIjuhRhvp8Lok/meQbiZH+ZVnlRr0d3Fsg9ymdoxsjexsi/58isbEQ+c8u/90EcUZFPviFXQ4rBPOrUauCzP5CKXgWG7EBbIJHNembJb3385pLlCj7g7ly1XQtUrqTwy23RxIBXadd86ZVneFgYalvMx9kI1NF/nXQ3Vokj/C0y7DGdHMtGrDWy36kBD8+L0tm9UluvTjpKJy0sUu7fmCNbEv7NW+ukbtHovhjTiX31i9GbHEFNAmsfWJcdhbWJ7ekFM9GrPuoyDO+fX5ddFRsDe64E70kA4tZAgWD1EOHp3TrNnhEmspdjMZWK7wJPGK0JmBVuAf5Ul+wTg8JgZ3T2s+OrMj5waiGGOqArmsyUOZ9mDrDqJ+R/RkuEegcYVXuJ/tLkGu3lM68llkyB43AEA5GEvVL+QSYfcgCIkTLY5DURAggalWI1OQNx+agmjnfSGgnK8zx1b5r/hd8tNyhOfFjSv3r2CX6xwWNMdRgsLfCan05BH4xrdx/MOVLJ7ivCmQ4AaZvzG138/Pq+u6GNgbBRt7yA5EDXNmvjYd3vjdj20dyexLlrFHYNxD3hmUL6U4Woep0nNdOhb5mQQnuOn0M3BFowO/5VI5ZNbgAJEPiFG+faM8rxhScH86YMhKBFOadpD1y+xal5Pf89f4eMMQmhA2M8sxHDgINY1JvhkC9f80cEGAQe7Z4JB2ruorcE4ATDu/nWdjjFbyd9OyzoKaYm+R/ruafSF3XhmUnPckIJQv2m2xhOPxyyXzUzqPVt9tH895gu/I0Jm/wW+ZCT/XTLgfgPqCZ1LQGZwuX61AoC703BNWPJ2NRjp3fH7jqzKulycMYtT/dRiMtKeBym5DueMCOoqnyjAO1SeXLuFFpB12OXxQaCfdTmYOXRjiKpDdXMXrmbqqSxNXTF9h2MXiQ+8l/VgHTeAkdJB4jNqedY5rR+sjKnfi3qvl69LsOlrTFqVfPkEgyB+Hv3mpaTijjxLjNxna6MTzxFXszJJMTPvlwa3bHfhnxrV5OQF7G+tkqwr24HdSrAGVtOxhSyArbFdZVPWqvEZNZlqqU+X6KxQr1y2DSKZf81ZaesfLFGNr0f9UM+iKK63UU+7E5g5ZGZXrhUv7ny+wrZp10WbOnCgq+ZcJ0Eh8mWaFxD1CFgOFZORA8e7S/WWXemNra2IWqmPD20LActmiGlurwIvSEBidCFN0VmbjxMFkgh/9O52mDTDmOEYsEHXrI6oyMpXlHZMKTSNiGobTwG3bQlMi+A4fLh4WLpLqVP1xesRspLxzmbMIFQo55s5xvqz59LZiP4givtatl0Id0bqNuiKTmvc/OK+w5rVO4KEKuf3gKUoWkCFEau33Ad6UHA2rTblzRbVUUB7F1JyH+hMu813GVI7tm5rV1+oAdBhR9yEoS90yy+1PzNpCjsJaRNu7PxYxULdX5Gipr0JaelS87f16d3EKhC3Il13K2Hvs11+GLRPwjv86QB7lihPJ8EM8E/tq2uyWMC6KOpqescQ79gTyAIEMJvivawGj1GrThfAYTnWAJ4EoyDlGucgnC6fnnsUJSyrsi8xs6ps8UMmc7/G7ge/p59XmgsAJnnejKPuWDNWLzOFEmdPGBXp/2zxUxQ6JZLWUm/NSf1VfXCaEiAWQpAmTbWElEZd3KoIUOv/VD0W8xcdzG5F8Lx/CCqUv2LcrW2f+3FBOJaA5EfjW5wdsxX6ccJXAZOK0O/335SL1OQWvZJcQWCRTRzUYjLzNHbBBH7SIAc+F7SgT1LtPB9LaqEb49NN//8T0Va1bgfK16B5nPoLHqfTyoLlmcuLmFvURZOt3q6OV0ffYabAq1FJJjR74Q8uSI2DOQl53sAAqiGi1Tdz4bIjeh6kb758Z6Z0obleEvgzXwaJjZcE7+opJmK54agvrpf/IpXnyPp2VcQOvQPfuILzFahY0WpZStShxqlK0Ty6hgH5FaUwov3hNrD//Yln5LoavBZdxRxvmFXEBUxdUNB+NHThDynGnzvjfusM2CUK/JRWkuadmvgdS7k904knsDvCMmvjnuU0Xtpibwelky/3hfdelKZc7LEIUCviRG+Uq1ZgvS/p7tT129jHWkzVOI1itoY5FeujOOxD4sPZp0daDaH6HhaT1TwUt2iPsU9+ab+8eT+V3FyO/qOOJu/8hpUMHBbdD2sGuuRmpoDLZxt0sFf2fr1Ci8P8p8r+Vo7xlZi7yETo8hAYwXaZ2PQ0u4b0NcrAEsHA8Y8x3k6FOeW4dX8SLpYVu6f65e4YPXNzxD7fWxcJyGmrJlNfk//zmZko3lpKzOWRkylaWxmrBvy/mWTq8nnJ6No8DpCxeNHRJjEy6WvftcICYmuUwTYPZl7iM6u6DrL/W1pkHk6WaKruEouZnrZKw2NUWSCuCJ4AxXQucltUR3JeysoUF3v0RlgakqUkw9jPqhIli9hycPK8eeqZ181XswrWyNd/8Zkj4clGweMryh5KLMfravYB+isy1TzFXanlD2GrMOTkCAB8BUBnUM29Iw6Sqpl0tCjRptWW9WSoJb+jIOoJkxq20GYWetqsGN04DK6ZrNhKu7Elv5nCjp/2sbMQlxmj8jHI4k69Sd3jygErYBTpxBm/tRg6CM9rj0f57KYUCNJ0IYexXJVJ8ALnHy6koNZiVLJ7UMh6Mvm3TbGZigQK+ZQUYNtU1kuSgdtp4pVBI3W2x9vEtLyQ7hDAJB9k1KjAZ3mfO/P0yDjO+JBpah2WzpaU6ivooLRVdQ1hqKa988Ov9uvgK7Pw9eQj7wF5vX7IsntoDOiYXBhm9oXoCu+Is6q6PpKuKITESgCLryd21GidWw+teJyH/RyycUCGVdkDG5haIS96G8/rRdMjt9aYUsqgLjkqI5uOe7O5dN0caJW0ZW49iqXMRajrJityZtQRHvO/eb5gPvrU2cdvIThk0JhpUNQaWRyWMmCy7hc1BaNlEwMG1JxYuFkLHR9GuV8Tifn6zksbOv/ZLY5fqHpREi/wlPtLEf+7fD74YBkOkBbmUiL+ez8ucQ+H3q7Vcu4PTPcfFjA9PMwemE0CMQgP1j4yVodHaMpbZ5vKn39+WPdiWPUUTDs2d2OuVVxN1Sv2On5bf47kDY0YdSoh0aJCFOxuAIJBEdatSpAqUdJUO3R/8uudUpARJLCDXR9Us80CgFgJolkIzlYhdtY8sJcjgD50cK6StZLVx0rIaVf+hLu2uVyeS9RjMafPpXbzeHtb3yD7mCzyCFSoOa9aunirM4qta3QpJbWpYU+79mUoHICixAGy8V+jgFWsJd2tLhT19Btn/oMSLMLmMuYHzqHz/Awar+pZcbOzQghtKowjkVjd7PFCc7skHpbBJxPeFTR2VMH13/HH2YAH/pV8Zs09HhXvlWPBCOX0U6cRTy+Eru079RQ+09sAEINX54TLXQPbCc9FtjxWiinTtlSV7tHIQe/RvyFN6wsok7SrfbskRBTyCNWl1s6ntQZFlD7fy2/KjzlVVubjLX/kGluPEcoYYl3tXiUijUbgdcL1dsIsUagatoWBiOLUeeyeQR2lqOzCKNET2n2FBNfAaJNXZ3I66yODlUhZ7KbfdgDMsDnxYYjpwx3PttK6sKdBbZVRGKkWxQO4hAjp6agOVDNw/2w3TYLAEDaIF6oHxxTZUDxkAL/wArocLNjM8TdFB9pejl+CkarHs4ugqZbz4/9hRjgfjarVPwVSrGkpCAWV2onWbGHxJqAozscz0OODIbQttUYjty+GZkakXrze3fi6l0mYGPiiDmDvs6r4rtr5jGldeWw7IiqszCuOeakw0i9Y0tANANRj4VXij4vkkOdIbPGhnaOrqeMYv6dyIIDMQfgc0pFI3Ign9vyWnSV1xYshQwRLPbfws86FDq2YYg+YbSiuIQdo20PY4N+6Gd/tqUQadgiT8lY0D1msnQfi2KLNF/llhd9BA7OqNidK5eCjvzUycwVp584gP7XpkyDbaigbrLrBEVMFfDEBAmCeyNwQnwTdU0BUuT7Ck1ZE6H+88hgwmt0oI7LBQVyrcVFfyQVv/Fo+81pJsyqCD25nqAj0BeHWwCm5vMqdgSV30ybGffNMfIa+qDHFQQ33c+O6R+mzDPnJTqd9vPXZl8z0/CS+0oJBU781AomMMpEwiWiQw1vAnMkyIGmW1CLRgpspSs9Iq9kU3cuY9gzTx4PjWtFDnSesOcfUHIuSKaNeQR4Omi75FlTX76J2ln/VbT4eLpBzVA98JyaNcKYfKjQH/YRri7hWpLBWt6FEI5e7ZD7CZBEiae5McWlvfswt8pFhz7erAEWU/zddWSa4+S2gcTj825nqNEBB8TQ+XoKPnctrljqV6/yqjuVu7RZwP2lWaaaQBYunRxwJa72l2Y7idhmOhl4abQZIxTLuOvWp2+kY5eQHpCUpvDz4LDlbmKxLIz6WZQ/xaDLLfvMi7AI8qBdpqQ8HmGGmZucc8ryFbDrAkC6dmmnhigbw39tTjANeVGpyuoyi4FLOxOlG1GZgFJeXp4SS4iKxYtx5zNDiXV1iPIiHMtBUW8r79I0Tl7MnhJIgQ7co3y1VQAObbnwio//3jABrqLsRGPp7JslGNXM2yrrYuKo7DuTeF8b5dR5XPPlQ3cgULorwxFoNMOvHVCiis+vrYMjOz5clsJGfpvMkhE33gE1sgV7UD2mUlFm+TdZdEDfq1u41P5XxO9PdVfrV58azhyygFXyeWWEp8L1BjE7u3XqxAR325oAGasTYm1J/tacO2stsALBATFWLDtiqimVC8rx/TivbB9W7jKKSlKbgpc6Zmk1SdawwtQVL/hLHue+YD0BnNVCsuEFZ2IR+dVOFVFgAGaargG7X1ZazDhHNHVZJwq7Lf9AZW06toZHsD/X+n+VW01lX0kKIzz2edGdyZucajg/CcpbY/QduQTC42g76DrkCa8LF6g2HlS72N1ctCtHGFvENiQHd2DGlMGTQrVSKSj2M+7HjuPUT96FaK8in8K8YqPtzK/QvoDe1H7D22S5Vx7CAyO/JvuDtzqw55ok0U1jqlZ/eCwn88AOw+mTKRSzSL61+/iqekuyGOu2aF48Ifd5OUUdvpOd4lR77rBex6HOw9OcJ6PmdYVszJY/TVQ3DzklxcLbv8ijYOmhUc0zcZyeBh0x0fU7zn8tiOBwMUOz7D/rwXT7HQsnG3gQEKGYs6b4Cbt6VaCa0p8aPKI407bnbh4mfuvwtpHfkokHQSV7iqPfVjcPNUemxljXXPjQJhdHMPF7fdm6Fu19ymx096K7VEUY/BLqY4XyBqGQOw67vI3yrWqz0i7oKnik68Bnx9/q/TyhuWByVpWbXJUex0OPB+FmnY2zk8eJQAhCykZWB9jqC+ZJoPsW3Ozd8nzgAU0StdAvAD+Fc/zWjmVbFFBaZRFqvvFBbgFFmBh2bEs6186jRxY8mmmlr6RaaujA8AsWI3vvYDVUixv3J4DK06uA5o2FAED3j6om2eAt/BZFq+2Wjku/BHhu5+TPrkkOVYrBMpi2U1GKT3nARO8DAr83Y2JE/iX4o/yvWFgWEoK6/7+MgR5MHiI17QfZSq7XLo28nFkJFfgnxKX3pBZwuOO/WqdF6UE5Uiy1rQEFx6YFcK/uKcVFDE6n9Ab+MEMjQeQEvYid0bZr0PHyzVbagM0m8EixJn07BlmU0+/yawhSQMc2IpE9fAVHj2KYcZSgmjUmesuMQC2l0yo6mR5iU8e8o/u7wnbQYwf2I3d/SiF2Mhe03NReb6C43vdSIiO2xEXfnOcTRR1ldcLhN66Bo2yGvdJwaLigjk/mT7/96dCXdHbw8/fUahw02kC0Pe8cl4eplQ/+P7yJuZ/p9SsPLjiFvGo3Vw4WGL5p7o2U2JaNtHEbKcQtxT1PMlAMe+uRIpC5cIE6mTbpnEJALLMT22LAKaBibVKgYRfhoJB29eueeupe6mnREhFWC65HJeOXCGXZ5twvbLaL04qxGcW9+23uP2y2OH943z6m5w9c4wYsOX/r6cak9moMS27t99JGxUuFvKPb7u3TfY3pkW1uj3CYkLJbjAF2jPtu4QMsTKcvsrvW5oxKSJrRaU68rS+A8DRS/tmOxwwprvDRbTTgHqBXbDcilIKvpwxqD1CtitedjxDERn+Abn5x9WEeBvRrEcQxBHNMI5mKABzuW7Tjsg/HZCSf3J1GAhMapZtx3KIXrt2+i6xJqS7ZX7aFRgGSsQmeOL9NPCU0vYZmDymtNSm5T0aE+fgM5Lg2hU3MkluuHs8RgUJ4g/xKxSwkus4Kbq3KP6ldRrMu/6L7KvHio4DchboeLOehVyqEaPnkbGllfhBCmpPuliqZLhnGpZg01ZW7TkNTdZ7PAKZNQlhfTLYRvtFIrSpcCDyTw5CW+5K7IBhQW03WJ77FnhCua00oixcOE1vRSnrFt1ez7OUVVliDbHLt5QbRBrK2YrSDuBqgvxkfCoet3LqOnm2OS25JTRI97wZvPKuc1zaMOjfncBpHOW6rfJdX5gpLEUcsOELriSIB8uEnA72zP/TSmrEBnpv/p3BS3fvVFJYYTKfgHy6MF0HSUNkbdxGafcBeyJfBefmxMRAuC7blhrvXQKR/mBrWG5wrJ/9ivu6CeutyalV/pKKwqIrqq4zeZHdxcgrm+57s4sIBs/JXaFbtIvM/6gzI4Us3utDr/I4ThEXixyaXPK0rh1syyUTFKACYLsVW4okI/c/41bdr2c5D1nzIRuPHXQphZll1wj8TZnS4L3ZmtUnSa7FscIe02XdJMFCWCegTehe5V+VBBMqQFObbUUXGyi71HDgIhhjjAhzQLr3dOpyDDLCjWuo6VqkHAZrfmtwKEs0eTKs65Nqsrcr8ppC/dC8LhznD/3tg/6qdaDLKlabxu8hImTRI561631P197z8/E/sPDrUdMQECYtv/F0/6ysVJX762Jgx+pJAxoBf8yLDGMCzWf6C6CWCA4ODK1pE7C1XCq9DHS7a1j0N5Dt7tgrqHF75UPY8C5hqHGjdMB5QvDwydNzfONq+Uw/EVb2v29oxovlPmv7o67LeyTUsy4U8s+uV1uu/nqfAvtJrpk7thO+DTfHLzAd7H+NkaYUcFcY2y+FkH1hAZkaG9sfxMQsVdQTymeWlt1I9A3zlLrIGHRqjGxFWDu9XkZ7rsLd9ZuKqE5Avs7FFwNVGzXpvJoD7+HDC8HDdBkUhjeAn0s3n3KsaMOr+remmRbZaCBp6DWrX7wXBr7wBIcLlroh1PNlXs1j7drL0hOkOA1vMWHRO5KVVeastYfnPxpOnzqMrenFSIGmNrZwc42wFj4qscbCVwoPaH7Il7PF56gmnrCuPoMPKY40NaM5fOH52PRAFWYK71QC2pM0sxp26ViDABFMiOnSmCempb3afZ5fOMl3ZwlIQoSgdow22Zp9T36ZTUJC0oWnS5o3XxZSPvl2fZAGsShQ5riy2SeBa8en1PY2zuJo7che0myFJKMKt2nM9r0IdOkEtfLbMJUY3eK7SGuzmrrC9ncJQJlwEuA1lrWlgXBK/uX9jnFHICXi8BBH6nAyX97h8/EEfLDhuk+EH7bVo1cLueH1G2RbJZesXk6rBK+eYZ2HLOWH2ZVgTEFOTM3G8CB3F6crWULV0qaFE9sXY57HsmGz7Dcu4kcx+7RED/uJE8ZoOk/TXWqMxPmB6aiO1jw9tf3/m9IrrXmlC2RIukQXZqmos4kgkauA4AkDdRBwovTcGmFTNjFJNgO3dlr0+QiHZrXFQTM1YfiSUYPXGRAvPd2XG5tNjN0jTzDYe9yUT5T1W05crCl0ExU+M+FNIUsS6W3tpNaauO6/wEqqG5Eebjs0Bv6442/fLXFueEueZh8f3EqNNXIgTMqDskIjMRUlSAGeA6fdoxhbeOXYE6RfVGL7kKGWicjR4WIQ0hoMKHjlcJYd4tCoSC4zmGL5xsWzZgrkLwI9+rbnJ9b1i1UK+2fugAatlzCHNaTqwKEmHxQ+xmfsZERSbgO+Mk53YATdEHJ5zBOTjc9XMENoPO8xz2n0de9XnDe9LbVoRIJ6TWmYamXlbBqBZ2qwvLLib1gzYPGCg3zbkWwUVVJx1MJIh7f8bQtBunwhBy+OP1ewGqoGQbjNp9bvNDEql3OndbSlhk2vRdpxbkoFG/6lR7zgCt2/hkyPkbW33pdVpCVp+m3OgIjXSqHi7R49Bi7KCXlZnePxZ0hVHG2XMdICJ6wIfeQb241rWCUda94z0mfrk7umD9ls1XwaBMqQeLuQX4rVBFlQDa7S+uoswM/aVITjxxAOmmXfbcFQAB6o/F86670XDIdtMiT+s8CsNB7/B0zxt5KdL3Hz7ihO04d/NcAG3ST/tB+aMgHtPEmdr5XK1INujj2wOLTdyGroWdDodX6okm5Xrav9TIMdh5nQGD3nGsaHTLpjYt0uxh4XpdnvMHkOn//BwP63WEBFq9mYJirlhevTy9fG/ncAC4rGJxjIbVMJjC9zSBJ4sSMC375ZNfuGh8K4wFgJ0ZJaF0IvWf0FreioSQesZZ3fkDYYPDFL9Vt9DRIzBVHygzcUIXw2SXn62ptEMrSy5HnWB10qzPJ4ZJsNkESbddAculE778qP49t+ob1m1ZHKahsWnXfvwWA9EV2ZwcLr8EwN/NGG0U6chBXMSINMEbE6Uehqpzvl0x0piPAFOA4jiQRHgIfCVpCcR/r2ykrDwVai18lKkzmIYNvBUq3AXvrjD8cRbJSW60o3xk8Y6x/uQpn3tfKpxSE+5hDWWLX/SEnA07dsgiRfVEJZp/a66XyP3McoPcGg0ky5dVAaKOok94s2PF8RF2RoU9fXm9G3Jj6sGrXyo0XDy2Vk9vmRwMofjR6MlvZXLdC1vttbzaMO4GJoqcwYbxWb9QF8pOjaw1zeyWucA8xG8njbdBlrk5N0FlwOarMKCv35F2Sg1RxSuFx54j8dWUiBNornNiQ9Ssi6hAB0HiN6tOx4dHEkMR5+rBORdavnYFrMSG+TDGLFukYWxyS6lTNbFsViwZUDuSN9ITUImx2d/j6I/rs5OQ4SS4VZIc77CurCrbjUhQ3/unSWizvV7fCggDeO4/saP0G0xsvk8szjkOoTSQJtV5JfrWkGO9H+xb2RI0VW7ktIhGYVWtgFoD6SgvI/pkK13pQYTy7n+EohAjeKIxy4xSwxzuOv8gPLmXCMgZZSASQi9K5Aklr17mW2FlbcO82wtYuYc8wkbRYRH0Sgl4A3/PFlzcZgVjc9rPRAOb1W45eGhO3kHnT1qrf5DwOGperspOEHS4jNQjOfXqBhDC7cEglsbcYWrdrhlSZfTb0Ofn3m51YXET6gtAm61kWTAsRF/++JOf1cW6DNPfF7NpZICjWQer3RFK4NTeIjwkHTliOl3tECq8meuCMTk/JBiJHUlwExRuKuJFPIvNTS5CxPBkBwWQgFxEBrJciTksVaRcgNPHQUeNftgbEYFJ+qT8wb5k9P7evb82pHR5uSKvdiKjXiCKJMobiwyp6ZfbwGbGIu7g15LECCUvPBJ/pYSzREeV6tC6W1PjnDjzehfbcJKFmvp5jnxdGMpNf+yZEW/AEoto3w7iLiFnOeFr4pK1VShmbUakjKtnGueRjUKLEKKD1oYZHnOQpvdU172aWDYwMMGZMmQxam3IcMtwlIH9VxtMc5aW1Pw4SfCO4U5Guyie7L7XXCbqrlbnYuw4Dl1q1PqVw1JbC8XgrGYHzcuHmp+dBLjlV0sLpAZ47tZesos6sfysZtZaXoXkm34Guhsb4h870PjQDDev7NWLZXMC37Df4TaiiBSPd/D1fRr7CA+9zlD980QE+StirkqosS0e5T0lAPTU10giKyJj07djWDBNKjouLY7JjlTCWDAZ/UXKOjx/DrLRoJLFiYSViFMjbjWIKvm0sAtqoskktLRx3o887V9MooGm/8wKNiIJValqZi+PDLPaAXX7tB4XAmJBPQSgMjKZw21OLBIvi00Gww8Bb9bykunPw8YqKsKA838sP6uORm007HDD3GAkhjWCOFXtPp8Iac7a2JEBxv+w01Fya1nFTrh0DGf9BBozZIbQ+sNIGAamKplaUOgvNTZK20hftiMOb/ZIE7sOaZG1THqHdNsbsiFap+MwEMLHWmfkdTrMvdZiSJnqIN3I0iu0jc0dStszqxyjYwaQwfL5Xdtcv/yumgRtkP9SY7G6bGwnq/AFG0WOHk5/utTrUw+sSIt1m0ePhIcpc2AEyrXtBAf/BynhnxAL7U5jDWz3qBL8vrLYCDgLHJHG1Ajyt6Do2o5HhLjL85pQzitNKushUulzkO5uwcYRdqMeB7Q2GoiNjdk6GudnWstVQ9tFx8m7/30Li7eC4ESLuNSAUTbR3s3El99ToLNA7jqogTRhST1lUb9pmgE153Q4aCAMQhaAKCZd5JBPb5D2JrDYvgQD4mm3m/HyLzoeD7CoCCKtD/O2G+tGn4nJdvZqVjXqsz9LsNWiN6Og8v76Vmn3VcPd/gTh2mIAasvq45tGni03pMhFmBm5wN2EXIsffM3mKJdTsojoKV/zGKsA7lb9H1JTC2dPM9V/LnZwQUg9aCphnAldej2+5eqKPYg9JaxuY8qCPca0uJxq9FAh1vlA6cxJwc1H7dQQthxCA5gZ0whqkbN9+U8pep0WKF3rlzpd+VAzqHI+lGdENCIqGqURkWHS2tYAs3tpwRueYyieREfa2sh4QQKlUK78Hnh9+XZZKx8yujxBWgSoELPvFYCXlEGlaPek6dxXr54pyM5en9TDuCy8KQTLLzQYraO34rLbVBN9Nk8uLniZBphL6DJ6MXmzsuvw6hWJv2DrHocREF/FwfxpmjcZCJVbykOO58YXeYIgKR5x4ntO1ynMFd8pIFdv+hyXX/ZislPWKgFViU2ApvNWH73BlZwnSmBiOT5ZTCWVOw3dMX8baZFRA+SZoTxbdArf3NPik6UHoJ11mARRu6TuRQv/haInwgaW59MAZZZFs7Z1gNxsjQDvOQvvbfoD3Mt64JiSngSki497kC1ZMH/OXlwmNn3BnNvZAWa5DqXFZSA5KAHpJHhzt4F+Va/vqQLAKYsbtxB6XfUomxd4I0wCHy5ScLlt/E6kmq3rw2vJ8rOcNk9xYrLv4Yc2L/t6fG0RYN6Zr8bbeU/OndHscZNEu98w8+7+5/EjrzTnDOxgDAASSYFhLC7waRUe3x73Mp1LoH2aP+vEwiHWiuhFv8gxqrPNjPGVMVOSABrnud4NXjt8K3fACQOsTWIArFOTjOjj+4pRhxfn0bB6zCXVggCytMhgX+BWK0MeYjIcg1PRlv5uY6Dvj+SRodU35xvuW9cQolEjDcVpa730siFTHYY39w/hLpVhEPLpXX6ZzHigjTgSC5D9Rz0gWARQG3hiB83/j52i6Eg+1pA3BE5psckh/3UpmKdHUiXgihgO5VONiDp0eiWltfik6cz9ibZsRQl+0tsTaWsSPk+5NEN5AaRAGGlkCuko/z534kyleZJ9cWl9UEKoY2LJykaDsjVx7dOdjgZmsU+bVskU26/SG/ZQrHx0fpxo+rmUGKtuqvQ1xWvngjPbyvYsDzwBZ22wjcJ2smmbpmzE+3S6l1NMd/O8cRfnrj7vNv7VPoQcFOCXhP/os9DpKn6OfoVMqgtZTKwOICOPPgCJ9IoBBeJBnWiHDkQ1cFgsuEty1CYiBRXwEoxBh2Rg6qQdiT+g9izeRnXPdipZlvJ6DlYEA+osClst+FsIeegOQVDttFWJmy6sEcNes7JmHHFxHpTXt9Eo0jtaw0cT13Nw9JA0cYvBoM7Wa0jsrdfdChA+zWjPkEUNpDJLDonUj+Aabcu6FpRYcu4gWSuO10cwOj0BjTnsPEOUD4PnQPcfaQTqvJeOQ9unAknYPQBtkTbQPLFZMEn4DPan3ET21DLEXTYEu6fJYuEMPlbttn3JCOsUJ3o6lGwtkpx0IEfugl5WpMYrA3TpEVF5sxGw9HamX5+X8VXLbgAEPuvGkBtrR/5FPDihVirLay2c9+/TNK9+XOS4gXUlHni7kaLJy1P+zDFSeglYn7b6MAeprIk7Bop8N/eUaa6L5XRkSbIUwjrb7qSDD3mjK0ucbXQ2KFwPNmJFWPO5PdS6bg5hgPg8AzJR5XZO0i9Hl1XNtJqOvvhQuHsFy/AusS2TZkTQjOmo0PiIvps5gbQukaODs6NZr+PQX7Kx+SpUyLB/mpXVusHYNz3yGasyxq6fQfhHXcPSE9AIwgM9pkzlvy1gyNMQS34c/wfGsOkHFZeIJcGFeitpE42LZeSUmeK6yAkgR5Fvfcw8etcGlOTBvJaNeIURZu6Bmrwsho73Z6ZkOY28Z0YfZQxGULIfJ06oIXvUt9pFIzNIA2jTRHxxGzOCO9iKh5gex3hTHRZLddPKsI/8zCrph1NoVn+ezSwzTQbDMcEupIfL8yIGIh7bLxSVsSjfZF4HANjGW+QCbCitQ7Rwp/BEnchIAACGbuDmVMJRRSzOVPgB4SObt6i/YEFHByzikW4hnhar0EX5RBQu7xRASuac2yY5KWycS6TiHuv1r07TrZgRrKYQwLWDvaGGQ7yUZNb2KU8PsfMXcpTWD7dHB+IiSZdm4vrAP4IrfmiaioNvrLVNsO6ZiF6vHm6RXuTm3jsR/Rp/QagXNnxXxJjouAIJN1TUlxTx9+Fa20tNw+WoGMUoWynd7YfQ1gjvYuAth0MD5Z9Md+bdS2Wbu1BtOgwo8pU3K8nBNF2ECRFkXiSizdFeCLricEw2S7fOAbMsdfMndXZjBEhqNM7U433JhmFRA80lXKTqaGb0tFCrEHDKqKp3cnDOE7dTO/yA5/klWnpA7qrwfrtcwYoYBbwmtRiYQRPsgftDPT0oKxi1fB4jybSgrlwfUquzaYTiSyIlFF+N1lDtdeDKHFZWfXVzCHpJti5IjNeHRe+CAF8sbEBIIWHYyHK0jmZKKryGm+n3Y1SG5wj+E1mCD61shj5BSPYTKj8sudMVoRMw05fwCpcBCpMlvC/JRwH1uuRiD0mMNQScAcZZcNUFeOtigcIQu1roRrLXkVmWppTY7VDcCsyIGEHUPTRPeVTMNwjlf2qHUE9tDy1S8o4wuyI+4Zkg3Rpq+UIGjr/9MX1I0dGRP2pfrqoI7WIRzvvG2MUWJTxZrMGU+0FSzm26P66p3j+BxtWgbI3uWx8emRCc+CVt6UR4i0oaa5BPpURyMpRO+NMw8E4qhRmnPt06j19ULqP35D1JqPPMCAnI1B9l0Dc7/ru995pC5aA/TLJ2dhnIg4NWbc8jeSrJUgqoxxcPHk0fqWEtFQfywINWedKHVlWLhbDwiL+bb+YiVLvPlr9t78UETShtANbhHLtmh+J5A+/IcgG531gdJ8rCtqNDF0DiBDTLMgz2/6YIU9lMOhQdOWfd1z1ye5Tec5VV7k1e4nnNonlCieP6CuDVWd9Q79yVVE0XQy8VAfmibikhEBcPK2tNywPlqeThU4wiexjtdL2sqnmrZQlnr0L+1OEI3z4fwwEBCpRkS7H7kasG0td7xfAp8T6lAh0Soe//MhWi/7jH3yjUWOB1poRCTi0F5OcLAt8QzlswssKmXxszpBO5fVPFiPy41GUzqGNV3TscZ/bX+FnZR9ZNojcmNHxtwGVyZ3ITsVBMDggJtSxLfT7ShQaMk+zubaDFdm7Fw64ltMpIRaWS3aI+SxzE+ifraxZDOlU6aGxi25x/1DC2/jWQ2k5N0wixZriQy+11rxpKad6lQLQSLsyXw7j3bwA/BSp5pjC3RcIloNQ+5SgK+NpRzfFU0378yJ02wnbcYNB+tn4F5PcLXv71L5CyUBGisiKKP51NPRj0IcV7OH6JUtXinZj7YhPignRYWHyxrUND9q08USe77awsmpjDTHCqZmCIbynW09DmoMoJ+UV5llPqZhnIt6AxUGnlgtrf7znml8g5q6oucfLTfC68tx2GMdoWKNtxcGvfmHXOeSKcG7SGAQYO1MtpoHSYsk/sI2mxRwesUqCgjBt2SMg5g9xRHZfWrL7szPDJ0OLurcRun7mEtO3vrkcdPzsNjFVfPdFzwBKNPOE5gKwtnlnKyXF2SHN2cIXieTXeF/zJTCBuXNqqwCA/IJbxUjDoJcfQMOvXTVX0hLWi5oyw4V0eZIKX3yLBkEMYJblYi3t2EFhy173gX93P3/V34PoJYKotMlg2s1/O+AUmgUsrDMP9bjDDWYqGs2CTT8EUJl6rWoELYSiCLUv0KqaQL2hXUYJbaPhPS4QxoRnLfrEknrUGRCQGVpI/V8v6sz+jViJZa3/5lvSWiekrbdVU7vkv5kxlNvK3BCQiEjAZjZTKXVV5DG3EROB11bfqldWvIK7ZDEVSpM0ycbilHJZQNXkiFeFAgKhMRBNxyVvVIz0dAvYiJaWI2Wicg7j0qhXftUQv+aoN4RoaDeqAS9Dy5GSURbyTALNJQj4TiH24vMelBNXVaK8N74YF70QzwCrC8OiPtxjhh3cuHzzRvn3bWXAAWINI9eQZ2Qd0Njm+nclKybV9xxajQ2B+0XVHnoItEeOUXxQo4Z462QNneHD00PBcYeK09M8yJNtmIVVbYU0vCKymdXLMhUcL1lb21q0GGOWCQLyXmzaHNvJz/ucH1/qpDsatNrAoAfhjzZENiXmLqpo826Ex5wZXb7NpDdUQsovZ5nWMyfP241AJ2zqfejD+LhkC0Hb2mLloImBOvHpegHZMVsz0c/XvALt90jDf2IBmlgBMbv21e6/H5K3q76moRM/WayNNiACR3wLMtEUBNdlJFYF/6bg26dofp1lAXQLQYLV2XldFLKwRip/38EDOOXrVJGm7J3h2Ee1Nksek7ei2L5e3D1jI+YiL7y1wSRaQJEJ/onp7iTw9Ne7pSVbhxBgJ+/ZUCR9psz3/yFK9w9GZK84ML1XVT3hVzOR+iAYw6WUo1Z0QKUr1xPKEGdkLt8RCkW9+joDMK+mCFPt3fVJm9+K/tgyx082ujekLmDYN6lCIipTstNy+LR3l2gUk3c2PZkymZXFvdP7VrlFIzONzVvbugt7R3t0q6idu2teL8qwasJeCfFtwZ1S5Du4AVvMy5yIw2S/n/Z4tuG6ZYNXXmLheeoI2NKtbWOztC15Peo+MVag5gdBcF/VES1pK5H/xZDIQUYqKq/OCKghVszwesPBCK6g9BZ2ALfmLJSgwQpV/JTR5D4joWErPBo7zZO1hgpwMtsSUQ/Sd8xOSgf/OtpXwlHdKk10dNlSK/SDP7V6bM6h2w830k5Z7Ru5ScQGXl76eFFC0MGwXfDly02tL2m8Jog+5Tk0i19Zo9tlAVmi3GcSOl0wA/kGc6RkzDIlmh7+6pSgcECBnBRzzmda/o4DQZNSFJ2HzLFn1dE1yu42L6qW3QaXVjtIqT/9GLlqosFA8Amu34JSzPZGP8WcY+9fjmFzYAxtEvzkye1hnnoNoWophAtu+dWQKhLUI78NezlwbkMHjDl2XBIwFHErCMWDjgZ/zlQEtRH/gtKIleDBaYl4+XZiJtf/Qz/4jcWP+PFIHMZvUhBV1JGWy0Mh+hc+Z+mmol7txpvkEAqjpE1PPceTTmAQJMSolDjuDxbGTULT1iY0BBBzOAdOuphKPMtkwl0vYc0WOfMWdxuLCLH+dcBVHfB/48FbucovKsAT6IY/WWrw3AB8oXm/dN4ROSgHouaV6SML0z8T94Ed/Xv0zXEYV14KLttOKU0jD0osqfxnplbFo6jHSMVgR9dT6rzoqjEDxSaVJJu0oe8K0hnF7SfCdEfq9DFqFgwaBCRXIb/mImbQNNnp9JkzQn+Xf3BNzZaEva9TkcHlb/HEPRRg0DqXr+WI6bwfGczAjSy92pbGiDT8XBO/4/2+nTlOKuIqcUYFh93wSDkq6NbE5SSU8bm3EWU7XilDfAjqhU21gsquc5k7LZIs85VRUzPAAHbtF5UDV5V8LSycy8hoC/fgO69PcLplGyQS4Tld0SSNEM9UuLLXxYBh2emZymF8Ujl5i+s98ZqhUdteShFSztgHLeQGrAsMAtSR1Bz2t9NlB+6yk+7dbK11y94mzegvGdMQU+4OIPOZhHlzqyovhFnm4ehkRh2g35yrxD5kp2XEN1frut5fD4pbwrecaqp0hR5Rsrf/di7Jdz0lQCljzNfXmZoSo1tY9gBDu5xy4RfACWzq60zYDViY3PFCXWyJphA/6QJv8z/IbsHgrqPxQqJeAItNMOI0B+/IqxLGez4+gGfA8AKUUqvI/7DGZ4uLdk3rEnMK9NAhglXnf9n6z4n75opbkDf0ayjtWmdXpeedVDSzNnH2l6doLmFFmzjakbnXTnk2BJtRlvtSIkkOyYHH281vZCMeJgeqwblxL0aWekLJ3tRnA86Cwx5PcaxFSQ2Jego5mSFDGoCPohK69R71U2DRptJBaQORXvVvIVUe8t7VdOUbpuavEVDHM92SdXL/kyjzYtPwRz4PnUxf+b4gqZWhwGe2FdS2unrcfUX/Qw9Y92RxBQ+HADyf9f/dKB1oLlPYWXugANqMeO+mb/hz6cIYBTghm2f4nILKj6t18Gt1jTBIdWyPNOkV1jaQ97wEdgC+DKxE+FIJsVEwTKJn1Ed6AG4DmIgg+6nAhll8aqTTB8jdxMV6BRJuPohWDlYDqkHWXn3Lu3yE+30p38RvKO+dI3Wzwj8pisQ0owHQpm+ghesxDvfKDvNAxBuRkUm6tsNH+aM0YTb3+a92XaAAFA2aq/63L4rHMZn5ekyLkpA37asnXFUYstgnH0wyl9NA+1J5Vxi9fIVShsVMjW1AQTFYlo1v4E+9B/sqbRbREcdeAhFUTDAl9UQjqWY53uflkSEtSuDrf3+mNsjUTFM9Fn02vgcxA9MBkNXZXhU8dmG6Fnvt7Ju2b5dD59mGNRuRsXQyRbRQ8+G16jxqXEHOpuqySkC/yJ3VyX3bKAmvwsaMYa6P4oG/MU71fq1N9DswaoE5rWltToBg36mrMyCUp6KKogX8UD/U2SIwgg7JtpCa7curnYfd62vgmmr5W3d07Oi++H0csYYsbmd2tsd/qWcAZg454Ozm3vImqOBuVlAab1Wxt6JJPOp5vyrTUTv0vbKAmEpBfbbDhxLGu8NIgWE+lQaJy9QGZG/aH05Dl4u+7ty6qwg3RjeYewNSjVj9HMkCjQK4HYrydt2qNH3j4zjWC4fHWdTjtTFoY8qqo9OSS+JAKZOEtGCyOA+yW78L8mrItMFqe4HJ3mA+j2NAb52O2Xc3DswUej2td363w+9PZi78TmvNWTELLgDXmEUCC0NE9flDG692ukW2gHDnt0crAwyv7n78EHhw8zAoiX6GhbXnoYbRjjwW6gRNIsw+2o6QoHM3Gh4ArfpO3asbUMnwf+GxtGkswEONsrvRqpAeRlySZKHOAXt1gfheO+CTVIsGvEO9RvvpyUU6xpP2Gm0Yt04rXIxx3oW0SB7PB7PIlewVk3SG/uBl+s7NpM5lRU6R0JxpKZBX9BkqS/gB4D09RgIhiOjkBl+azQ7V+Ul1UFCFDwOm/1LiEMFHDUPBeWHXa3i/T54Plu5C1v4MG2SRnUHLvXKx6FlgxlFAF2TEqtcQJjBmcS5YM1mDrn/GJuCEht78jOiLKymH8/AEKSxtkwprSHZSh5VC4XLbdRQYyGr41ajvQpn5k21ppRFEG6GiikmjwqP78ZRDelOsDPCuZXkM9lebISsn7OOwwqPraiXlIkEBr762oO2dWOhafQNHFk/7kv12Clq8VUqb6MmeAlw6AnAyVGJvGmniBT/M/4lAzhPGHLmI1CNunEUnztT05zUkmN4qxvAfTIcWvCLSxJIp6G5azwPzcbcSoy8NLHiaE+ZjkP+keSivLg7DyZfgy7jpqp8sM89x7xHzlpf/XDM2ETLB5lWyD0F4WwQTjVyj0g67ZltPs49ba//HEn6nqcFuvZCtvrldafC7AT7664tJ44beVrFEf66zJHL5KHKLDwAUWWhAQlLCFBKtrvFg9hWm21D/sMcfaNphbMEwaXJ72G3AnaeNnhpllS5Ic6tIusXE9DwSpkdUv5QwDyJ1AziOsOwiyeq+xddHXxkuy7h9qfhUHlENHyFDtQpWbS817MLr+EiNusTUnWRuhVSszVo7/Cd9YmIXiS8T+nu/J+B0scjkSopDIY/RWOsTruEKxlyw/GZ4wKDPZ9qIYZS+u9+OnQLE1Lu+NBjb+ygnsE8C8Wild3rqNHb5OXAIsYUkz2bHXkeRT2rFuwO2nJOqiKn5XrrhGgpAAKx0VSRoS1acjahAckZ9z1G3q9VcGAxnUKYYc7RP0SdyEl6vVclEC5PFAeI2kMQVmzEswGKlsJMRNzuEIOvTKjl54dKBdrhteKlfU7YUQBdHSvUs96/XAE96FwV/rNSiYROorhQzalzeV/Bgpry3g1KCpeQnqnu6vC3BKZuJ/BDF58ChCbwm7QDVPhcpET1UqVsPc1ZNm6YcYzreivy0+r0XIl/g1+XISncBTxJgklkEMfDZuF11mSoKc/RtnB4qjMBPEc8NZ5mDNAyuYQzVb0RuSqe4MRvG0ZS1i9uLSwTxFt+VIYD1TcbKhMWAEce2MJn8dJWD4wU6uK7tvcyYcNl1sSQCixsxx/L2xzW/4nbH5m18zy/4kZztKecrIKnoU1k24/5ICRgK0rjazXE4lxOLtWjtzzNQAwk48NC+ZuISrO05xnVukVhPlKQqsNL9nLaFLz+MHyBU7UZEOqmkfkVvifv5MbSz+U6SMbCYvagXyorPBewb0tWs5SXu06EyiJNHSPF6UTO31yC43hW/aDrVmzMdAok71MQM9crXTjJUF5EauwXjutPlCZyqYQLO2/7zSI8tXnI0+UaL+mrrYU1aLI3F9ZBFxjWVQNX6J+QflhCB0CSQ4SvtMNwON7zhgCgZOIkVdSxmuqXdAW3vCzEP9O40xbhhxNhOmtLJjaplT00KngoqqMC4D28kJ+83CYpg1Oh43wkZCpHFfbOQAt5QEUlVKGrEE2yIqbGtvsdmqJWVhqkJzcqZ6h1hAe/X/u0n+FTazb43/5AsDycaGLrVO9P7qMlpnEQU7YAc2Hz9cGMB/ZlPrG8bwylO/cWccl430s/8SUOQ2I/VKOJjl7pDb0DzD4xpPoYeyLbdt4/YlvOe+QK1tpXYzqBeIJ5MEKhyecosl5lQqX4P3mFWcbMznrP38sJ0RLQpL+VAiH1gEeQp7MRHA+B8tOCHTuzl0DPAriocn61GXbfHvzvIdoJDwITrJJQd0Jh0ovyC+reyn5cxHqXlWINjhB18Pwy1/1DEm8icq7LfXpMj50DkoYhoS1MfnGAvyO/KBAUBerFUjpJYW5eGhRegEOgR0gvanSEp4KDVZ01Dx2MD1Cp42wgN+tHXvXKwVn02TpTUDxPhKbJA3A6EmgN+Z2NjF+djZ7OjBf40e3DlncweBaCSORqikfrMHp0SuRHnSCo12oSCVuorQsBELx9qxCrLvSTG6ukj+f8oDcqEyIdkiQWI2g+Xiom7eH6rAgaRYXC/5HRkz+gpZGsxzlfBAEfSeueGlwRFYnuoe7wSN7m8T3M9eSebOlLYWmaMh5HosnTsSEzBiolG+CYAdf/6Co0yVUeqDDntPr+uXjy7gceDX/PLc9vBElSrW4K/9s+q90vbHfcXDaSvxoB3crrPRw+wBojO2R/R+sN5b08hInUla6/XOuit/G4mK7+GP8euPohaP1jIqZqEJy0UV2c+c2MbCONxNd9e3NngL2JolX1YkgrSTc6lahl8F1xEQTV322rFbeAoi1gLQIb/+q+1fQvzF9pXZ3X9GFhyLv69WiwACB3EHHOS3DXLVvQQ3a39BUCCNVNQ0queHwd61YWwxbigTm/zrr5JiiKrF+5vRddNTxhks6acjO3Yy6UdA6JHmzp9+d/Fs9M2aamux4vS2rjWnYNtvT1dyeSzrP2gP0eOuSheH1i2cLnfFAAF55rC21IPQTlsWOsgeOFPD+FM7umMXLCMCj0tCkx8OB5yxjb1ticSY/6RyAVAS+eJ8cJDhbwjpDZKeFgK1vuUPI2lTtpRAoEF6AGr08CcquTkDlsZFto0SVmRx89TZQyPSvQMjipPPRDG2/qA7brfwnMa7YtRtkls6S6ueN8IbPBUPWrjWYjPJ9tJtXTtLMxBA3yftJvWJqCWzzdpvoEbZKF/JMgmXsTfIbiLWqDIXLl6K4oeadxrh3CKPiW2wGfF8YYPaKjuraY4qC6T65qyL7aK19Cll9qKvDPVO38OLH/K5JJH7teQ4wIXcPtshtHG6Ei29aey50yOYszCf0gx2fXtqqsF8NAG+ukVY1J4OkhKbntZeUEcReSV6pkko4bUzRFFvWJLbRL8r8vx/5EDkuagONwnJC3Nki07f7IuybLGtCmdR/lCTETNm816E0XU55RYeI/HuLL29wyY1gfeEqPCEfyBiwtP99hYtx78B+caURnmWHLxANERV8URpAOqe3gj1tuK9YtIGKfJ9vAV7o4FXMV5MDbeSKPzYr6KE4PBXV9damZv/+5G7dePX+KYFFI8hh8+I5pGRCv49k2eZZqTpT3ahj6S60Ys1lasZmCDlBoSAuc2eWGhvLhCw5/atrHdTQjA5J5JOSXQDOF/Y/+d5tzG1kqLV6H4shog1DTc8WT4u32CZP+WeX1qhpLfMWp5DWEelrFW7hv7cnFZtYTzu1qTg0AOYBaiZFw0Pu3c/8mNuAyW9fkn9WeCxrVgtjlKE8HCbcRBOmPKNikMlHt+hjadlA2USpNLP0Azevghe3kc4pLT3DYIaNX1sU/jy7FyY8SIjrYHhu3OR6UTGmacM6L5Zq+rpk0MtUKdBUWSIu1GHNtvgRUstfO7vFI5HvASmWPV2jVtlKTkC+txikw7mVzeRz77WkCEKFBoabNY5V3raRjjYuHCpxLb0zrl9iM9ow+7hbH9ckYoRQ/l2xLHwAVp1kA+sWMYcTGFlzrIOMjeHO7kXrrjHPVZAzRl1tWdYMZfAyA6ke1MrsTsnOUYi5ymzYIer4Sw3+El3hMAD9wkh0OBF4bbX9+fh4zMaI1Omf7Vg7HlWhajCUgtJleATjFQcJ2hteksKOE/DZkyIJbS62R8c1FfN3E4HZKGp1CCacQcINWy7tp0xgTp8EAbQTpqDGMXKjpsUXualJDKf2cajR2cxPjnH9p3qYCcRipmOqoWSQRco8ax3CWdPRCyI2+Ki7eRPYSeYTLzrNcun65JnqHRTsG9A9B6WFEUnvvODVqqAeohSrWfVBbzGIm+VmH8d1sHuKfowWo/HmmOIrVAPd/R8AS68SHr/u4sxgM+No26Zk/Ub0+FYekbZOUGiJXqtQ38EjaIlXhN1OBH/bi0orMOsytCQLRL41R40oF6Tuc85Dbpx3MtAB+85JTgycjkEDOlJAbfCdPb/vN/yW+XEog3Imk3mJwoW6CoVU4wADHv4coXGWs16U8AiDapxs/YliDYtJzgq0SGr8Lb7xxO0MEy//Ly5B93G8je5FoAF3+BeS3xGGP76WrmfWx3bl2fLanl2irvYjbi3jQH8JOtuqVhlKr4S+jJF94ugBXmcn5BJoauA2DLJmNuB2EMc6G0iuYABUw2fAnyQvGdsV9Go49C50ujwlrFm67Dal2ytyCnZ+ge6jU14Zcc7fNvgpuYSvz/RLd2rKbCZPw301ssttW8g7A2q3t9Jzva47Dww9tIJsOjqh9PoR3jKhPPNKX9QtWEcAPf6O4YiF9VAO3C7H+9zFrTSjbPF27GKrcwtgsx1WABRW3dRx/jTKyYihORAbzqQqkSri/2XdvVFmyw/PrCcOircpDrO4NhSqfd6kozc00oHOlRaRjJbBqiobq7qN4s6Qn+5zkM6+5IqmaEstJjvzeZpiEHgSx9Fw+rbiRG92TkSwVe9rFaNCZuGazZt6Gjpl51LxgOsxM/tOCB2fgIYpb47nvP+lzSlhFzIbFAbw3EkIg/7Gee5icvBkI/x8ndkfkMIV26izooxtyiGDqaqaZyShzs7Fle/nBS0Gq5V8E+Vip/lIaIxaOsivG5NI63ClTF7QmuYVBfvfvn3ATpubRHnRGChxdF+Lds0532j60KPgTDBAx8YSJTDoWIZvRTJ6OCa5+SSrIzRHgRaQU9vHcoqKCOXgTfdGztD6NeiydOsX3KITa4BHuFEtugm3fRuN5C0nV1oQuVvK2bCXkDLMwLcq8m0C8ui03jAfNYLSLNwINd6g1oTtPx/ZKHLjhOYFOK4PylBuo2xRnCZQwoYyDraD1RNFp1gatVWUieXTkT2hfLvWX5TuDIsWTWWJDLpTrQP09qiouwul2HKl37vAy7YiKOjozV1EaUJp36BWVZSFrbi81zsaVt2/tIpoRj3yX8qJ5PshMIqX496HckjD9LaHxYGOVM2yt+KeIpWDI2Q77VCYIVvcEZHEji5oTasNwuVeldxmrzPWJ3/KHFlURlDCiiybfFw6tBqBtfqeV/IlKeDbwg4SA56ZBx0q7uFDDZhfhbIG3Rcf1UCqD1NCwA5uh8GXUj8AoCTdexD+SC302/dK/gkjPE/PzAXSMSxI0DlmsqKuSrjTtle7Fznjezm0OLxKkJ9Vt/PqSqfI1v4N8nko/4wlJlijzw5mfUbjk35zf3FvRmJhAy26+PYGSpNJPHG0fd11vpiDVedgvotFiVa2smzyG96x7uC4nNqkGcIYaDVqRP5kfGD3udW94j+XpJZcttvCURC98qmYckKejSszBVJgaPcAfgJeZEBThvRy45h4kl8t2JmG4T0I7uUEvNQTxuC+hLxEi2yBeg+1sHUdx9IdDAC767o0kNSCQk0dBQVT6yAQIvnzc/grNK/dBzd57v2DtMgj/hZnvkIjzjHBdsFsf7gwX+/H42lPlgzLq+CWNWAByow9X3WKubIYWZ+L0naWikteXr+S9JNZ/mlfvKWhA5nkCZlFyDofhNvVWurA0hjmMEYpBJdc8TmtdWUR/XW6kJXMunYtgStqYkNRoqN0Itbm1LlyG+Pg1QAiSVaxtfuzKtVWp2xma9l6V/gfVa5QswYMzHadZX/t78zcR4rEcE1tP9cuUljRg4pevUzt8QJnsObofNWB22qnQJeDjJnsKUn6imepaZy+CM6t96QyjU6uZXxi1mdCHKwTyXpvWMiWeci2dQupi/j8ZfGDlsKGzxmXmIUuWjJmmtOKKm9AifbxCVdPDmtTtfQzoGrmglE29FtmCe8gJ2wDbKh45V2vqV/eWtkMx4tRz9OEXyQXk2FRwZ2EdFF9YEy1IX+TE/EyB+iIuaD3mE7PVyNbcdzLOKlAGuM5wCFVZvNbHK+cDBD8rwQrojCDk2eT/WG0QxIm+ngqDiz2yLxfDCt11gsW/zukVHMspeDK7N6E92cVx45DZ6KbUFjxFCpQUEmttjPHYm5jmKAQpFhTElQP94FW1+RF6ozo4JekE7qqm/nZrC4g8mrvIaqL9abQRAPTeOiJcS5DuFxNMENrRIScXOYNqfIXwgCUB8Ng5tyS37t6IVJrenZ7pY3kO2NMn9W+sE5hPutHO92psa7GMzlmnlCBhb9h9O8tth6BjG6+qh6nOuMJPXaZ8Nr8wt+HGZzYpvQMCPre3OBeljCdKZU8SbyICFiD+tp6/Aq8+7oL0eyiBR03M2veC+/pt7akDa4TZLv7K56YTjV/5TCpoax9VQS0MSS1kiwyq8WPFTJjMcFMCc++NFEuNtkxievEr1ZhceLsb5M6QHqFg99pBqpUzOW72Q6tGUgSPUQPN0WcNKPbvfs39syod76cXFWVdpIl9+vJOfFV1/E8UWQeMtGgIyj8tKSr+uSPa2hEpABmAiffX4D+cO4DhqFddrlK/hiZMoDRZvaJ0vwvVrakps80IK4qVFAwMlOKezEfnkxzLVbEnQkdqewnNBQD3QqGfRD0GX05G9e+YlbGcWmtbmhxoeHyghr3etAvj5y0DZ4CaHW3trrkQWhxHe/TT1dEhgVhJvADOAVTCw4ucrYTc+mi5xKH1yvyNgFayjWWb2UbPDfovN0ewz0Hnli1ALpgeYZF3ZxkW0LSalGZTE/+ZZoT5g+JANxbABeZa1pFb2Gkq6kqtkO3wn1PZTkThHy0YmjDqr4sk9VeN+vMVe7CRzNQuoupiTLuWh93dlDGm1IbEYay59Lu34S7DE0GgAkzmnUhwNVngJ8oxoTy/A2XPzl4a41VqyQXl4Tuc7/qgwC/xVgCEqGaF0B8cRED5XRrnIG0UBlodzeuW0RUIvtKUyKz2IwWU364CNx73bzkCMTtKPoQwLssA0x0J9XJVVPtbYyPuYhizn1aDsaC2J4sPxhGHT7RDVd3AY+RwQM6iw6OCj/RG4dSBDt9LHWYcyPtAMU0haZaXMchy8PkwgAobQC9Kyda0+To2QV0ywadaRWbh1DM6c/ITuOrPUhEHzHxzht1rxVzwdoQYCpip8Okyznbn3tRp0jstCRiLF6xcpByyiiYmtjxFD4azNlM0b1UIz3VYGRmEaKzwMYrcIIh4Sv6lglTlwuC3mo4OxUVGV1SsbG5sms9UgbLRp4yixG1LWJizxBX7+THwHGAR09k5zEFIbszesMfoyZ34CMhFH6rB43zacjlkcwBJBbB0VwACZmcQK7yh3LR4eq7po0yueE/fP2kpecpa+Tyj/YqKPo8wPWjtGKUWsIRQ/TW43mkgWLePmeZu4AVZluH6mwrrD7bRn1VbvamgdTvpnhCGf6jsvrJikIx1N6BG7V14o+RSLyAt7XOP3vcR6X0OvMpKM0sef1hhNMuh/dusJb5/E9+N/UITpn/hXk5azLFkVz+umPHQQP+H50OsyE2BfTgrzX/ci0j9//SRm0mLr7TnhnWdeYqVFs/QvUXFvBiH+e0VLRJgT0JHe37g9mmgI6vimlPan8jVvIRU/6HOPCXHj1P4ouM1DE/RXgCM+e2v1p7ggrT3Zc0v/tQSgxsSKB4cWXFCjyxiiiwQYurFHs6a2hS/AVsQf1G32blGwdyHiDu1GKjkNpLOJKoPbuviT/FpkvCSnRqwj85u3Zt//gpXDNqaKwCl+DRL3n203GAeH/oxa3G6mhUgXsoQgmJhE4P97Pw671n4fbso3DD6+yyQ2GpCxaaUb8cVYD8kSTl/R59rjp1PVLyUQnnpsv7TQUAPaFQ1zfNVSZQDoHCnx3Va/qHOuz+V8B4Q5tSwNXqoO7d/tAEcwC180PXQW7j5Bd0qCuM5+n4sE0kGgTgA3cPWJKXsQAC83Xbh0st3QvfYnwZ3/vcfdSU9gETL+ghfEhYTFPC+5x5ZtlWmYNtl+E1oa734lNg5q5y4+VVZFBHjhcg5vMYE6D3JHK2WWQsPFlEXE3GPvotVGZmyyN4XPZt7QaWiE3E+n5pee3b+fOeMnAeD8NrSNCXt4NSavPTPdjb9QlrVZAFxbU5KOXEFFa0PbCMTv5RxTbCD2ujze03D200SITlJDVTAaG43St7ro2REWtVEf4DsAjzFdBAMJi9yMNtqrZxv+Ih/Z9zofFBrC6IwC0NEY45ivGgo8+HCJq+jMIKeVI1mO43Of4n9ZzgbjN7co6BNxwX2f5nHk5MrnEDFBIqF9XSBrwTHzwXbCh/pMv2dzMHbidcxJ3NqZAN2HGZIR9eyHpBZyMvxtYIzsYUNwvACNwjZyCJa4kuRzzH7v904s2iaqOfZ1lM4pNG8+1bMeoF5wf3SF6qY75MbC4ULmOJh1T7Y+MgGkqmxxas4kkjKM1Vt7DwtK/yFs6IONtig/1KgUdS73QNusA83E1oZLGVQDKRrBCjny8NHsB4Nc0cQcOq6Et7VykV1tfKindm12cQ2UxZkq5r/vCh3aP6ComDDLe7KKOtr6J9AsMmm2ZB7EwcUvnJqDNC/UBMhE00KrXIOwPZ3khewFj3O0OjCFAl7yjTvrTsfduH4Q9mF4oG7cvrQTrRbFVO98NVMEkcEKAn0EyIJavScrW9qNUyDLt/ds0JANwTmMVTCSZQLu3PYgtPV8ydPSUWznO/rEQyufglBUF+pEBlyLS6mqeGh5nDV2aDvq6JXgVIGKLlBGxiXu5gWK+f3oTtP2rduLGhyrJ8oH37yC0TuswLIxsnanGfqFfQvsLodoYFXixVba0R+Qy3odr2LcTg9XDcPw/XDmzMoE6o16oZH9EyL3eFh0ALWFI3T/KF39fvSpoe8zecdas2Zfrjju+xoMEXbhKawpFI2E4/n7aOjL8jKMVUzONexymSPO9fptnbdR7gPdMNHORRqs0ILXGhMbD0o/qte3PcRYoPIFfvOvihm41VqbiEJgYZStDZwc/TG1UIgqWm+IL4j4tqbrmj04ASz2RBxGpcHw+48zPBjp0c7IxnrxZ7BsnEAdbkZZtG7G7MRuoATYAp+jqZIlobf5P0hwpz9Y3ktmnANHJED7cn4bT6LGWs3c+kz7f1GvMcnKM2B/EbzYoy7wDhJgwbiJocDU1sAhXlI9X/d21A/uPW+r+ZO7FZyOH9kPtymDWrX7ay+01bG9CWadrTSEqykvS2fDamFcDVnuDjdLQ7zIcU4ma8HaUjIO0zxFjrOz7wn4lkX2kbQZgaTtijSfH0YRgzysgklbDbeCR38LhxgqDx+dx3GvDfiTG1/62lOWcM4MWtr0xZkIkKI09Um9jEroJyJK97PCxHHgF+CGTy6oNtF7buCjRS0wIjTAXt6Zl839v2JkjBVOD2BHVpt7N4jqdODZuDVHmRI7E1Yx1cV1nKOsDcjY5Heo61kvBa7WoLcay9DQO2s8drNmLjSPKajPL+sNY8vBuRHvuZgU9WXA/+eVsr0OuwynYl+3M6vBnOY25TUH0nqJBi8w9E+p9shP7vyaQKB9hdhi0kDTvHJmgEawI5BkNqXZqLdh2x6Bv6vX9KUWaQNuVcVobjKQTxZw+WKyXVg/t3ZbB7+a0dLQ/MAkc6wtn9GUStyLFOWxly/ty6Vzflw6Bcd3aKSW3DCwOy859if+B5xCh43GtMcelRsgSEBaVLuL7Cqr39/W2Wxj3E2Wa9zirwasNWXCNXu2rlcjIFzgyXpCoX9B1sB2Y7X5mK7abwbrYxnvuayEaBkyui7KjOBWcQHi+vdkx8MWlNhwfolbfrTtcfmoaS8lTiB9mmkTCYPTCbhxWpeE8Ytly7MGkIN7vODOvz6WoP9hAWGtIfIxAEpPRRX8mMNDkHj33STQrPptqTZd2uXXh3gDORIIyyPpmPqURZlA/ckfG+r2naW6Gr9fd5ua0FPDb+1dCgTcQZcNAsdf35QjeKPDYF1i7kZiGSFi22+i7bTo2BlZMFrRjS/LNmkAkdonRnZGbx0N+tB3+zvL6fiFdEG12O6dnx4BMOFietpJDm0Ro4AfL5pbEqSOorhrKItP9VXHPh5iv+erRiiVi4isdbSuunPTUA2VOgLZRh+njfMfsSQw2SIbOij8ViiriSk6Cr8CDb1OGC6b4TE/mVh3fqy0PL8FtJQDJ0aXcVctTzQTgFgkvzkzOtdXheAj7QF01BCG2HaBP3HN511zv+fF0cfuTpBL7E27PVbSj68c9pPPtBurcxeEsgFW3tPfSCbW0Q8dib6mhYgcAYqGgSGOK1zjVXiDhY+MZud5RNADzedtAEcjYsVLaDPOipxrmEQo0VhQS/VnBSqqilzVDBOC6lmfFmUI4CcvX0ic/cFAhQWs3hM41OoOPuLcIRuUJ22DGWxMzsgNIFbMgYHq5pQCxhbXZDSlgYcN7MUj3X62r/RUMdoL2N1NS2vX3AbJkS5EnLW80aAfjH3+HsPicYphWA75v1Xwh9ppF7eH7UoJKKN3OnzPbric/T7Yeh2XWGKpkjb/4rddy7qwQI7oApAEJZydmzH6koK/Am+NPakbcJaxdkc95mmtEzDc/f8LE3VA4ssTdaGj1Nop14qoqDuQqGcGqbt50tRI6reDuTKLWMyeVLGqI/gB+PaX//MXgNGMspF+5rmWEVv86O3Kc2AU3uf6zm3N9yppMknRd5j/UapQyQVHx4dx+MhNu6WKIXC2cb9xQfD7XKmYJDh66EWeMB9BcbUHbvu2/WlvsUxNKzENnc1GU07m1n5EibPBy8vrTAAS/aH7EDw0XG95vDOj0y099aduMT+EA0F3EbzgGDHB+sitBkgjdBPVdghVoybITf23YOJ3mgEevhdMW0N0gadOiqS1TDOPovbF6XDw3Z9PJLin9umRkkGf1Ij1aVcbv5t9jrrH+WGbrfIoNpDY3/KLz97msDQWE4K/sqvAdRuMIUSydcyrX/kUCASrmzEu9577YGpZxkvGAYOSiE60rGyHtlIJMWZdOsmry7ZVEJcnvwIqN0Xy2f0tM02vNCtqZKI0VRwJvN9nYF66/W8ORi4eTnQ0+HPjsaA1f7gAQ+yt9XMEhP8PXyOvUVYCQkhYT/0y6KLiLbqZs12BuzZuv0by1jy+GlDLm+NACfhEgW9taCPLpnrqDZ8jIwUAtJYfNoFfGqcNro3ZK5yCa8yjGAwx1r9tUAGG0emuwQ0J83T7fnY+P99QMGb/vJC8ogmx/q9akIXlMhhwby3NDcD5YYkeYlzhuYJalIo0NemLK3vGDpGA637rAdqmIqYr1fVy1T+hdWbSGaIXCXKui+NV2fswVvmtwcGV1AIWgbgQXfq8QDoewwpWQUauASgk4tcA8ZqKe3momKYQmGrM7YbXgR6po47auWuw/Z/h2BfEU+L9oU/QZbO+w7Pr70yInluDas40wZ57f3eythbgIQoxAbdkAfz+LjmJICYwIP+v5j5Myj0QmO243Qs045GIkEY9H5VpRLxEEzp4kuPhyPXuQo2hJnRG1DYzZ3BYdE5NX1gvR8eqawZC35NgQAuCGxr+ZisdGjsTYPm1yW/xDlWpO35S3XfFMbjv3bkoRbpfQle6taPTGoFWBiTiLpXVxYRQypbsSneAOBOFojE2APL7+uEz+/2AGsqz2cqVTsWO3tUU44CGIgxxoRSi6+c+bMEDAvKcEaKR88g7erMw2amvmZ5htXHMArmI5S83f0P5lFNWhxuWAPHCIoWs4hQFEko96BbwE4eSI0pSvbz950+hUkFHJ8hjiOW+K0W3E/STAvN7SiVLhOnsne4EUBRn1KVMU3SZv71pll5e9VUDuoqKyXe3a5Xvs29lgb2JuVFLpLbyS2xw9o1/oQmdn8Bmw6nhd2CTFExdH99LLbF57kaq6B6VWNknU7xpnng7U1cXjVDKhmS8V4aAy1sy7UaX9Eqz7G4WiOCLYDBdtp3CUvUw87TU0thEPPsbfYdPqNOR0UeO3NM1dYEY9AmvbVtuaOpCvenIFvkJxyWMTDEUQPX/sxB7Qie8iVm/3KLb1WHAVJKXCe69Z6ScJvCuhDljk8c8CnVCUKlTKPz5PNIpR3T45YNx5GBPwj1hUhfdtElhEqdf1Gvw8b1KNKp4ebaKyUm03g4cehUtLeyUcvEh/mjW9yc4uCFH3fqimcCEa6nTjyFGHNQ3oQ5XXuflRaf+0jGVw/NPKJg/mQ9nE6Gi8r9TQWCCi/kwlHHcO/wdBhJbOEsEZ3StKLEk43dmw4u8BSskhicyo5U8QKJERZFlW5RBPK47QUELdLv29yZOcdx5eYylG67yzLJy7Cxdh2VJxe3bv4gkh+/0ZYb4awmNlSmAwKyio8BL6mQCWdI26SDVp9/5hjKofbZZmhvJNWELSHSsUkEd+OM5W8sjQc73Ydgi1mJO62YQWswm8XmN34BnP4eo0jtxKPfClE+NBuRQg5yPTSyzezRWwVKmY9mz7EEhFg6cyhSRmDfP6F26jiYilzos9vUXrr1Q7z4JDi7fiFalgfxeBBqaBZ0QThGswdfR/HPjC7iGdmPh/1AJxMQUix/H5hVUgfFyQmSnFwxe2fMf8+0GpFzgrQKCuLwp6Afc62pkkc+PjT+0sOAmuxqYvJCryPgQBxQoavJ1SlnZ7MIi+35M9nRH47Bp5bhqxTjhbopN/BJhqNiThy3n5IKMmxci72Bi1qtikib+k7b2wopgaBQTCOk/QFOEQZ8Ta+bkZCFMwlOXjuV0Q4j4F1MN2rvYLMfkTbWQz2qFDxyt41O1oVuoDtSQ61p0OHrTsg4iMJi8boCz7a2OUeRIr438DkvJ5jWZIpafy2p/dpSiRVD7pBw5UnnLsYtPUf9MbCiRGgSEH4hJoNFKU8Y5eag/TKV2tU3YendKKE2dul/IAsquhBZxaU8gQhb8ofm5zCxYWA8sifrM5ZezciIEhaiAIMor++VcFeJ0zZe5soStZ6Vpu0hCqXdsdePaHBe6ZW/BeEckUHYbiwWTYRLv14bNnVrv288W7AdgPtN2GsbFuiJBUkkDGe/aKePUG+E90f0zpRf7zc+RO9N/v/mhWl+nFAy63qKKtiFHqvNjroOkbytz0nkCS2mVxZPX0IZHVL/Y0AmoVv3xSJNLb45lI3MtZvWy7yrpGnQ0DPVNHj5MwcOyu1y/dJlfjpJM4xJJOm+uxuZyPMhv/4gGUKejEsFBErYvumjVc8kswWY/iHglMhNEqz4gxhRqOvKEeR28YpuUpuqBB1/A6mRcH/bevfJJIuoCDJbhWCwWY9o7YlAd3obuvlEPfBOuiYIz8MAxFS73DwTcz8dgmVA4Ypz1p+yAQJWMxvirTwUyUjTj0s1fKKM6Cp44OtOlYhY2U9MC+/KMwVLVTHmheQV64Poy6kkFg7X4lyFJxY+SMFvvVlch/jFBuhISpo5jrq2C7K5TEZqPU6RzAvm0m16beJNR6xjOJiG/4JxI+v52ZSt42TXuI5RArRZaf/OetU/AXerCO0/lv+V0DBxGCo6WmgkHnMoZR5u3dbkvHiAuGrrj3ygQvdiEi9u/otiYFp0RXMYgEGt4gcgWtA1OXoFuZj8FO3HFV38bVUCClQQFcmTjsnxEbTQD3OoCAphliXaCWUEIJyNayZKifFIrdcBEEobbzKnmLYGmdoCc7T//exziB0EInMydsknKYKVWtxI9+AQxdHKcoxx6BkQaPp8kX99vGIhgB76Eua44XlTEx8yM3522GOhObeof68l3Vr3c28L692vhW31HcOF/KoKiMY/TvpYw0Xo3AW5KhUQ7rWaVBde2kaNUEEgGEeAXPntOtJXVqdRdtLG4rf8ZzD1Zmx16o8vRpII3kI47j5JOGQ7eRHFsRe5NZ5oXRQ9iu7FDvAOwTx/0uT2Hv1BGLYzBJvof7SlUrDYldx/3ynGVA5qnFQB/6J6xHW5fLstKVeNcC4XcJ6e1we3Kot1qPMTkV3/M0HGakIClHwBkscOStJSBH90mR7chiiWCSReRGV8HxpqqY7qO80nSjZmKa4U2inCLwutqZEKAuAoASDUFeReLJj02K6Fcs2eq3BAaTlCWnoPLSN7ZhQZAA8YC380IxPnJAFmbByi+Xb981N7iF0z/pGlgXE+l4w7qW4ToWqs311dTWLC1jy82P6D2PQXNAspTV7Z08Kfp1pKA+QDYqaJMFiuSrAQwQP2y7V/Ncr+HLa3xava7hT3uQ1iNzTzmwE4n2P8dRQ58SsCTrVgrY4FogWD/sqK9C9M51yoppSpszXZvE+WcwejBmc/z9+Jy+1tY4FtQX3EG0kGBzWepz+H44bSVJJw/d5ApzX1Uo+CGcMJBxRMmnvMt6NR7eiKW5L4YK6ymA8/2H9Cy2MOI/ci2DPjDpmsrVeOrzfrlyVHjcNmCe4+uyJ3/wZErlXWY5oJuO2WljcvmlpwIHyVH6HXVqxRoMACHfgJMSWuWHHRZ1tkR9y0Vxacj5d72IkVstXr1BKOpvecyrx19epkqN27RKwfLxlHZqTCR/WbUvRdSRY51r+EoyunClZhARRx2dpEy1W16trb9CwENKw0pJDHcO3IfbePgeZzjA/i3+kMqf3YQA68P3x+TwkbltfnZ/CcyU3cs/mlt53sCUVUXnpET6cyn2vw0Z6csQBfIddER5DzKdUuIccWnkdjUniFcqF0bGWdNdDav75+6Z12trWtRPkqmn+SJB6a5nStP+oVXQf5l2zljppJ9/ByWv5r/mbzBA5hdGZbONniJOkkEPlAguQamiA2T8Z8sIxuSb5pjPq1sFixqjI9ZAVdboClWkH+/gjYOs8kh7l4PvoAHFX6LhbfDdDNvLCBxv8s88awyxgBYrSdlY7phHLfLFFA+OtqQeK23kP9Pax36pjCkFpm7kGV336+bi0KLD2WkUAAnN1c1GBIezn+AjdAQBU7Rcik0Ld9i4epBxcq8pmjVeltGOj2zJQkSAkud7blnQHPb6EwXwLgqV/EqTxJRCbKm9bfMX5vuUte7gD5fYLDL9NkkTIk2oM3Mggym2kc3R2zq8m1T90UgUp2eGnXxDkkg+HDDxD+UGPFrNt5xdxav5dJwXXzIcjnxyPOlSyf4+4iaIPqu0RGsGZfQ47UfdPQfH2hF4VNjtR2fvj7ol1SdZsPyOrztkvtytpD2SQJA59wnTosdTfdaBI6wo41yHOl/c7DXdf63bvPRLDXv6mR2O/TFfigSIDoF/YlnvdExWDR9WicuOozvMpd5ARXs4i+BH6PjsUyQ3IAyLEuAX4bh4LKM0bp3SNc4c6z+85+Y7BjxIPK3T5Lq5cuG0ViE3zp+vHlYv74Fdz5f183nWmAjb9JgIfzvq5NF1/hpIfxraThhPt7PdhUgJihyyj4BY/JmMvGAoCL8MgpoTcMNbKdixejwsNAxJ39t08ro4aB5cAFPPi58CEc+NiM+j/R7jZWpTpem8wG3vRHzHEYBEpCv6vWPj3vNRrSLisu47alFFUKHeund6VTH1G8YKhWLk3lnsQ0z4ukAQd+tNZM77HCfL++eJh1JGaQfoad3rAdtQjgprQDFditlNE0LzoRI7NQI5zVSMtUyZRTkI8Zoc3d/m6vtN9Il4hP3o5XOGHRBy9nk8Emga4CLQFhOfLu+xLVPrFMqqbzdzkoxDLCRNq1F/Mfi17y273I/wImjrFr5XEwE9Z+BbTIseUyI/rbezMytPBF1tW3x3QCG60UfgVmvl6djumZc9Zog8HbkHz2Csnhg618mrtJdlVJhXN11Bj05bz2kZK97abDNVcKTNQRwGxQrxhrs+rFsiOVZCFsSc+E5m7D3Xo3DHRZcvofdjr0o9SkIjiuDtg1OR/7NH+H2RH0UEFPhTd59tWFVEEwygjomXxX19YNUN4mp9jNLcCjht/O+8ZfjVQ8LYEn9WV7oZpTF0WkE3HOUX4w+09J0Zgxq9OYgulsqCZhiH8MhYxu4NnQOCrtkWYHTkhf4S6k6jTEjyt2OkbDyBZAm4iuHFNJdd3MS5wPdrK2o9o7CCARLTMXq8bZgphZ1wgBr6TBwTubO9AJOoJBQkZY6VWF54vk4y5p1G/1RcJyETA8HsF+Oi9ynbMng55icu8zpaVnTbQz2xozOpMx+1fv9+1UEx9Pk8kvoBcQDREHv84alkfugmrMukAENursAw51iQ88Guha9S56dpnB01LcpiHC0qwSUOTYWrsm5Yi/rntEmzoSdkkYMa7XlDgnlkP2sezw0qMqxQRrVMh1W/ZNgQkVFFv0h6K93jyOhY5yVda1VUp+mjAt7PXDmY3fuUM982g5tLWrks30KVJzx0gryvuGLZTOdGhUG3SziXdET9T55ju8QrOmV+hAkOh53auTiPGnlNbTS0Dw/wRvSLBpygpilWRYGvJ0Ne7mLgTPj5skwKMTpgj5XaKdRZ9x8DVJNF6+2Ux/oBw42eLPGlJF/Ff/7lj3igcXbsnWAxk2moWhPiS+cILcL9IcCXoqh1Rjkjy9qV/ph/Nrim49Y4FR9BIlwq9sD9tzyU7Kw8J+Om779HCZeiOnY040/vZDB5X1Rw1Gp88fIr/K/tIXnLjdbd8pxswx2CY7zCfhKWbluqDACG8MxA6L3zs8fY/atA0hl8Hhg4KKl+58I97uniE+von75AdQE1HAOZM4b1PjKJMBYYLTwWEy4kaJKZkrxAxvsCCfbZqhqZlQOM3I2J1kVfs5/KUFfec0TXzpcKhY0THxcQz+/Rneph8hNwvyetk5HGfwuAO8zqF3gxnhGLsjY0LzyLGh6XHQn6oMEB6TsrSVYQM7VurZM9u4RdxtXeg/XvMbM3ikciBzOCnAXxrt60EZFteLsN4ERxNf7Twqq0ir17ntHMx1UJycckHUxxBqhyT6HIpahHRA52gnmsjot136/vqsTmbNC/o8DAM/+vZpLEOHjHE6zdKC5c9COg66mFOBixVinMsEUBWy22VF2XqA1b5QwCk4bNIuUC72tRSyI4/U8tfIIP8mnFmXk73+K1BZgFRvooK3FvS8L9bcL8GUaz3+qyfwbDxkl2g3KY4fz7Zv8cuIk49HNiesUzXeJIdCs+6s+zYer8OrL9LYHQKw6bh9yms39d/K9VQ7pgRlH4aRFeufofd60mCvlT+gO7PqUULiZ17uBivr1mI/oUGPniMENi6RIZgssJj+yXsyqZTVQ4uGwawVyv8Ld6t+Bw/3SdtIRGKils2GqadFyZcQSPcnTyw+HeiNGKT6OHXRHeQcS5YmSqGdnBSoVpHN+bN1wPaFRS8JF1XFMfedYCzyZwwX+rIVajUQVJngJuAUB5VpuqJ9s/TyHz2YJq5+i6i1YUqgPziMX3a+e2rpHbAYycneGGPZDORHVzmGXFFT9/rNsDQPskGQroWbdOAYJ9h82i0hp0EkTFr8hApuzwma6W08TGDrafsIYer8eWoAduLRbXhiYz0rxtnkc338s9767STD8F2zbte4gdq046n4obQCVW42rDjm6/cTzlYfHu7r1UTaJ/DTd7ibFiPPUkzgTPlqd1tWmpoeRdJllsVJsvAvlSXhrhcSOph/uwDn/2wABAl85f8MOtqj48Bb3avqhgQMvHj4cG3QpcychUG7nuG37IzoQ9PArheHhF1ztpuq+xsy3fnHJ+hJS8oCZmXOt7SvH9RMi2Bx/7MP8EUWU1tnbUuZbyi0CeCqKy9EkqDlPyNnjH7BwqHMbdrkK2lyiOxPwkWoNmvPZY9lZVx5EyY3UeqOVl5TXXcTrbc15LZXYNflOaaUgVqS9QPmWcFWWQSCq+7Jsz27kWZXQBDKuGfQ/MnM3TChnDiSph99jqS6HmBtn4eHuVzKewI96786tBa9SNe1JqkqExDZlnlRAT1spne5w53al+owMy0Q9XwivPzDRkiFGySyddly8tMj5p9FZFjYYaWS1boScOkAMQVWniuXXkbmNAHMKpDjgw1PXnlMsAYs55f4eoovg31vD3HATyN9L1Po56P/fyM8tUo5tJejCjJzIH5viUVr839QBLRxpioCRBw8m3DMMdlhTteq6LWxDSYQAUTyg7WbEA4Nd+Gp/K6Y16cRoeOxnZvwzpJMZ1zgXUmnPBFId5Gziu"/>
  <p:tag name="MEKKOXMLTAGS" val="1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OSqo7NVRTVivc5973JNOlDVuBk4FQmhNNpm2SiScR+JIhhSpArFy5ttc9fa+O9Xq+6dHyJSEBCKhL5Lp7F3ZGhNK1yZfFWEtYUIZ7kOZBz8Gyo19arNzN/kq75L3TZRdV7NHEMxd+G1RwHqb63jJ2WlAU4XF5jE137NIiHOehGmb/tAM7s8aS3KwB3XqwV3GaSI+73eGQ/uXvdWIn4PhLMNepA2VCL+TZnBQTqRPQ7/G3Q3VFYSH0+GIfAzmJ9dSrTR4trE83AvXmjDomby7kkqW1tAlouvsYy2UD/CQqgQLX03ZdvPf4Vj/AzKeQU5UN1oz3F5YCf4XPcCMMtwRIIP0CIVytzn2HxwVhpw4hHYgvPRa3ISXXfBHaK3Ax093rR1Cf+DVKrIKdjydmBE8gyDhXVtmVGU4nW1lJUmhLgBq0XsP9b8PEUPWotvKFyevKG+mo5iNf44GI6L7XG3o3UBJ3CepV8lFjb4yHZgS7yfTomP80Zc9dMbuolruPmSfstdciSHJIr+IO+EecbfOpVIwwX4hYYP6YiDi8NHRob97nQHawJBFvB5dzaMC1LWiPKNRqbYGGkTF2zvNPoNavsHX5Hwo7wq5kCbLJg+A54qHgXzYK5+FXyirk9xmRpXm/FRAMnw43tn2J99tzllLyjc+LRwV5No9xaeZzKD+iy1E92/MiCnAFVst0gg4V0Uf2crJxp4Zo3CEzUalHm/kc+qy0TGIl6ZZG7ZYmY7cVexxUviFW9ngccLDvcgGDaZZytjAluGDqW4Fw3yRwYYGP1T0AcJJiFnJ16GQK2w4AVznzxn3/i4CUBd56Gw3QZ1uj9VeOkzEOtcQe8YBvCuX8ipJbS1JpFIDZjW6bC8LrhJP+bvDU7WIQ7OMtZ81twVAAwRRKOjMN1Xkb8PcZlKUIqfhI5E7KNF3uWZnHzKnpS1etwO1O7gNdlhFpTVbSSN8t4QnLdl1aHNYGctXT4Oj1SRzBX2WWFHi62UkODLjlvcR4dGhJBK6VhhHQ0UuTMTyZ7sXOHauMK6EnMJKA3RAdVcALohdVXrt0cKdKuXuiu1MKxqE5Gvy8KC0GF33+tvrLYrxVfAGbVR59su0iO5PDyOOn7RCtyE5nvvH2rkMl3rBE4AL3BgwCV8id6spb0pdw8Pafl+47gXxbDwyqbWkYTT8dylKUcaY6Rsxytqe6ah8S8fNKQX1+a4U0qsVIsj5LlJQd+QCV237sMOUEjKOivicfd5xuTQBFVHOQCEalctUT9f1I+3V0AxBMaDcFGmTw2OI66Q3fJnl7f/2yRhWdCbX6GDGYWJ1y6zUgmM5WdhRQFmOgxA9BnDUXLFg/pYDenRMWblkycUItdJ6YVLumZWKpru86K/Axjv4duFcbQ+qHzkxIAZXz0TF8xNb9pYIVxqtJiwqG5VL0/pJtNEHn6Fg0UrP7VqjNymzmzknguYAxcOwOktKjKtVw/wOEoCNpZWZenWLB0KrHj5+ODzxWhQ7Q8Axp942JPPhvPidCSVKo43YDJjNU/tFTcBNJtQMHFLNZR0eO4ywhcY+2oXrUHupu9zOi4jC04CSdqpqMcZ4NQkv0GpDdbFY7q14a+fTho4CtZsKPWq1ahMM5KDIMzRwDy3l0XtTvySch0jlPNFTvU65I7KlrV7Pa7OswTZ/OZyS8r3TyTPUavPhVFp1Df8dD/ole5pYpzEpW3MlKPv9Jgs9vIex8lzhziME2k9lhC8BvsBII0YKcaPzyXO18NlZCgyh2QtQmpOAax2toynhVBplYf++HxRX6D5lX4xb6qtHAtFm57CzD38dRmhNp2NnFl/MU+3RsyM3SLlxUmi36m7EKYg0KxH5kSbE2/XO8y4IA2JacEmXpelDYsW7dYHsT2trAOKTwzRCjxO1xfJNeDAFfvc0D0QHEvXXDb5RmwBUKObg8ierHQqZMqfGQyPHUPh01YTF+VlfSuXADTCi4Q7+tDxv2uUPMmCFCFg8XrOK7IaJxxrJHfZWQnyubim490f8rM/aeXu5hhMFc88JKzdbePGc7efaeqcyWybEXUpw4Fg4uJ+hqM0RnoGuwc1hI5g4cxnLNs5/NkRql+lIKyPabS67EdKyDgLIbaU/MZqM+ENWWbXjIwIVzmWwLx7tUGK+i4lMToUlXBZRFFQphrL+72gQe1gFl04EwWQhQS+9Ow77KE8v5vHm2JQHu7P92StszXvXO2Xr7rCror3cve1xI3lIu+tbByzQs3pmec+EpdY5BPC4wfGDYKlgVGGK9j8L3frMNZfl/s2LxrJ3uUZs2Lq73eVe03F+6vjtVTjdNRYjrtNi1Iif+Fu9jiV/m9WNHaGTBR/CaWfRzfOvFxwDv6bHjTnY1IPrSLIbBOaoidrhAUPeLRREAVTbzU47cmliZxuUnWOJyiinX+g1P3V5UBvweT3858Y2bD+HLuq4g119HdXxnSOEoR9vimnppAMvh3Stnr+Sucukr1HfWxGBesEyax6iIPC6e4Y3QiGCcReNjyR5elcgSuXHvfmosvG5Ak4zXuKJUcCDWPDgi8ROI0dDNbTtZfzM1/Zejv3ue1Z6Zl3kPWMMpf9Rqfx+VS+MOTSeG0TGmn3Uy+rcuIMui0ZsqcukYlWErrPjenY/zSAxmFJNa8W0+gz3othLmMuOr/fH9/O3byYbG37W6JgRBRsrYoYmDWA4DKx1K44z76YtU9iT2Bi9XLG91hnmG1FEgZVVuZGzmzm0WfyZoBI8YUwmO00fleoClsMH6sOYp8QZ00GfnNU6Q6SI1i0/IXbZb4H6NP8JvjK+OlKHFJZCNPAZw3JI4GjKTdCqF46uW+3wQRhXHUKYlcW8tAE3bMBTptbsdEfSgkj2UE3THx65ZuIzu8sCos4UU3GMU2A7YKKjeolnPcFrr1fdjBgyRVV6HhX+21e3wQzn94RSsj50Xd/TyGwmLgdVnIfYLPn9BOyC2JfpQJeIBo4NP/zcRXDn+D8KzkAuoDhKH8x2S02EqM0AyFdrytRo9t09fbDpodMUzXUFI9MxMGLCGb3NBVu1yYjE0pcMdzjJnJxXEWdsEMWr9Mbrx/pI8237DuETvITdB8YTqVOwZ5uecsSfzVfqIs7miymOIur/7UWjpbkiJNW597ysPMApgqokezFtVKq6RPXgqgfrIPhSzSNeFGo98nTvX157AP/nLlqDrVCXhVSdY8cAPED8M2EOu4uSrS7GzUSSvFzZJ29fab2tBKS2p1pVfxwpMmxX+Snuc9dHJhPIoNpQmGI3BP4DbIdxWBWQzBAVr3j7Qbulol5+kd9By5O347wgClLvjAlNKxM821I+cO3f7N6YKZn6owz+8dD/r0ZV1xkbg9wyiSFQSuX4J2zd7oYpSOX+3fcOzkTGZF3y8pOtW2OYqj7m4nNxS6wC/E+/zBa9ItAM1u/aUCHmWxoAB5w03m7/45YuwV9Ja1yGRGA+QIoIHU1Oy4ldPaIoBTOwSMmxVHakam6CUr9Sfmp+/W8m9czgdqinoWQzUiTlzDi/4irI+vqFldT+1H02WqA0/PgErars5NCihUgqpy/VydrjVPO/Sx+GJN5DiKzRMqA+csV041462hig/HYhMzEjubTUj4tXTh1HihEAcaK8HdHjE0zQPnBLAC/HcmZlrdbSV7EXZVPgAhodJZTA+WkoddpqBfgvSom1My7EFVCD/a7KggA6mN2xOGZAIrPo7ZbWh7uhPNLhFBTz9lz1Yw3Oo7ovLetkWwR3fkoqhJ6XDJq6DsfuLx7t45HlcIHFnTzbpt5jUAYckxKuIZCkp9zyepcAylveuzkp5myTVZgrCfKc5gkSgSGLcW/ipuPt6xVJ3S2AxyoZmSbR1V+vXzvbn8XFAKnCHPTw9AH4++WDaQGcnFMw52IvSznQuB8u4Dy9hlKp9K95428qDgXdp5/xcqDmFMOmGfdQ6f2nUQ2anDR6m58Vzy1WZPDghofP0NozhgC+V9Y4j5Wsq+O833NS5NUI3tMI3Fx2AHWDurSx96tepq6QLDbM4jEtTvvgKbRQlDjvIjDE3LEBJFB8cDu5wKEmPDK8h1xZvhS9/n/YmAbR2+nwhfnALz2lhtVP823nJbKacgH+QP9XL1L7Q6WSiFY/qmICuUUYoEEzlVvcH+wi+67dfiBlurFHQh/7E6/7jUu+MQwhgoX4NKlQZE4vUMXP7ndB5uPUmmbk2Y7oxew1Ts3TjU4ki6pSX7kb976vqOVrtd8+LW6Yp7LINTW2zYmtnz7yXHANaggKUzi7teocQHQC2NYJfnUW7qj8vvrQeqLounCxyZSHHOUAuDNoqALPPmT938bjqUzr/ElvNwYYTVGcGaQ8/GUEs/46fcUUaotWyWtfc3SZUZHKmeScPrE2vXsqKjd07KOAE3XnDiWzUT0ZuRWVSZOhRC7dieFzODPy4859Thg30/6QOOWo39zOOKwPbel23dOHszS3g/xcG6IOFI0p++kk8nIw31cFhzKygs+QNOgxp1EFfZ6uvGq8jZxCGt6qPBUBs6Ja2B76Udg5E9ROfv7XZr7VtRnjGxc1rjKdDVJxJ6HbeOLegt1Ahy/F8NyVsqh1QCfhmG0PvgRTqd7cNTKO2Q5a0oWhIDfKWToZwVqusV/8jLOIWu4Tlm9IdFouV7r5FnBHVB0lDDrGiIqZnIAyNsSxa4auo5nZccLzNiUhk9y3/sBWZx4C8Qyp8cknTg4QMHWCKtU73mzcko7pp0fAjIHRcrhGKLPXtekV5WdxhAfEi8Ma+aMBVIO3HlDpmx6dwC33i0lYTHKwhHmydnQEAJf0743oHkroTLqoS82NBUU+pm6ZZlPO29OOArPonBUOsOZsDiavRSAHgHZVQtYiR1iSSoq9RvPw5ADOAPV9bojDXie1GteBwdY1jF0VSBKEVkSgwuIZWBzWihaLPZskn8Zng9lw+ErCw5hnOh4aLTbedqYG9Y/vVMBIPsBCornHVq3eULAjAE23I5VkSHjWjWAYfe7h4hpp3ZEf4l7N6H40ulABJArFnMc4DXSZbwp1fuCDNN85kpgEyTo1EnmwYhc7oZVcqyJsXrL+HNeZ8PGrEYm5mxFViq85OzJrgjoDUzJYnyEq2fbWwlmeX9GebUy1HfzMM8XAaacFC5wz0a+rcGKphrQAU4iXAUgmNiCJwu2kxW5oxCrxtIUunYs1+/kGWWUX6P/I43lzEhsxwdC0vMlQStSYBK9w1B6jycfL6nlr+gNfQCjrQ9griytRST3xg9HiZUol5pORDQ/Rle1PytsD4BGbNgjzUQEOsWAGIJLQHFwH2y6s7LE2tDBMBxEQVGze398vg19e90PUhasPNmLP2Ajz68vNguy5nLc/1DYGsRXtfksRd5DXTFXP4VPwmEPGak2JEG4LjupDJpQNQaNdjHB9BAwK0Jd3ZvO//DH88uNNXm5vMPYFVIUVFGB9kNwvnFsaCjzTG1DnQoUNjW7X0GdlqP6NMsmUPVv91Dr02QwRWLJpo/lDc9vDkJbMMdvZEz/fg/X6CTmNHZqnrPt+fMFk0zO7fA/ucO/3Rq/YS/HctvpDGyFq8nLBGb4SXyfbXBHp5t6+qY4UafAKtXheBP6AUio7ci9GWvqaUR4Wr+lhoPyIZXdeoRMTnyP0oaH4JYhfPzrBZZxpjWxU34o0TCbo2YPMajqPdlPppzhxW0LoQbbRhvbTqCHGQRrbnZqwkqarN/qPiAm/keOAllmVT/lDyKqX9bsmHyhb9b+RfcUGUhYZMfHGNf2etIxfmWTtdQaXxqri4jfSCh9jDKLVu7cHdQqOLl8gff+4rxmkmTF8wrho61Nbt2GOdkksqzkjYkK1fiRMMGqPn6JfA2HbIjcZ2AuxEsSq+WFWAz3M5OzItOpWMv0MjLmTMjIwJYhExP20GPkHRz9aPGqJj4TzPPdllfH045NLW68JvuG5gkeBk9GtwGDagCaWxWGsVM7PxDwtA7FgzmKFrC65qxN9d8WZAvL5dw7PgYJFdLW9PG24gQpvG4fpPE9y8sVyWSREZVF5PFmfcDxjA+fLtz9S9Z0BOAKyTgDw3s7A7ZmM1ndf0yhprHL18CvAy1JFyqHiXTaIrNhy5amW7q5lBHZiEOdXtIKmJVPwuiYNssLG64yqmF+M4S7MJT2D00XIdqVFdEP1GlRoSRfRQbWlp7WJ0s2iFuz+TvonhBxtUeQfd0uOWcOOkRtAzOdMjvWJiY2SyeG8vVN4jaUWO7nPJXkCqxyHd1bgTfijHgvT3n8IwKYYGDLvWC5p1afks1K5dre9x/xjaMxZ5HVQMYTbHhcK6uqX3jxFhvE6DaHbecpo9l+jkAJDIXuBWdUoSF510ZJtf/X46VpZf5iucJ4lm7FymWU9Akfy48tDUw3hy097bW5gHqbHxlXXCPCHb4p85NntR79OnXEbV8H/nLAxo8wcg9eUQcpRfyxlTfVswxj/82E08HSjtmT0q4I9nV5lkZE3xyjmPi6Z15wOUFpWp8W4qwxOXZZwlspcfS10BFJ9uMv28hFCwcq96VZZ7XaUQ/4RmfVHN1k7EM6DA57n6fEPLTjZhJykzMl6NeAJ3fcUoqDbGHmSIZFomoBuaK6y5kxRx88jNAwBOWYPolWFUUOSSBJrF1+YhRW8pB0drSPIcqYX7vqGPUh0e1HJD80L2uumWmEWDN5rwEK13xlnh1C7h7D4yAhLAj1Qu4S8LdNYF0g/NlShxdYPE3et9a92CzgCPyO4W/OZvWBdabfcyRBlViJFtIQYEmAGOzgHal+MhviLsxY+FiUMi1Hf2izpKw1FByLiHDE2Hd1kvEVWdrZGQyL2ziVgLzRzBDkTFp2rZz7ASb/7FJFZC9nyoxnBMVl01XPYKkAKqeoerEKWf4mkiKBmCo+ucnOpqBXKEhuEvHhNW181Qw/tm1SrDC0n8LJun19SBf0aib4s5a5+AAel6+z4MSCUKqASbLsr6B4xJikwLhKFXEmMW5taXSE4sBTCLug9XvjSJxX4r9jnJwhcTZC3mVoqhemKgWcI2jZXHb/1+9LD5SXsGJQD7sGjJ8CmhzS83sbPqcUkMn6n9DrIOllhGkZU1IzTDjPc5guGdoXWfcvu8b7D+yzTvILWjSgaw/WF7wVSQMtf/rmpFrDZCIj05FLhavERUfG7cGcvg39ZHRms9XXCAt/croLepmAaN+V7sZYLHiLD3SQa/4v1UJFNkqaZqA6ovqLGP5ItTtGxDX2+rXKZ6oGr3swWU9QJ3o3YmVCWQuIzcrrWQPQuQmccw6RMYDalHmbgRnZnAp7Y5l34gJpzkupZdNJ65dKkWIQe6M6FSJaRmpzDaUMJ89xJ2kmLomLGeCbceFzx8CtwxyLAkNRdpXJtgCBVc3jVIdIEw8WqCAHNLLYHJuolowbJAEdiQ6JUR2GTdrkhLT/WxAcNvgIuPLU5y4sBLeUFsfMShaVXGvewq+vzfXC7Kt2dRrRZgG8Xv02Rppem2WauL7uxfN2mYBSN+s8O28m+MGRB/hYkRBfqf3jOnPBPTrMcl2jtuiLlCi8v1aaNyooSf9uhBbiFrtAVD83fTUrfKYZG4QzP1H70MJ3Io2LQhYQCMguBmjH9cjuh/YkuyGmmXHWyyAfcdnPrSDkaOUfmWHTBnuTaHYEhhUarZvnyiYAaEWCTfJNzK68nNHy/D180IntagXK/Yih7LOJjCPKo8+iq+m6mXE8J9NEdZqlz7uATIqQWInGiLNDeDQt1DawE2hcMFNva104E6LqEJNN0f6xaJqWQLGjDQU/wUMQS5h7cENJWoMgcRTqEGkWiHRag2vVc9qdGqo+Bd1GODq7peVdMn9EDn4CCDPL6pdufHqgkxgmX9ACIFNcbq4Q2L/ENWzgtiC7FEAnBaudxwAH2Y45gF5BOXhpyfbeZU69A8AxSj5InxKnvcCnHLWz/YMpG0ODLCxmnewXDZI5jMY3d1w5KclQXYA/llgrluyyigmP0tnuQbTjYaDYRvaMWhkQcZTsFYXbGk7rgVFn1F4+U1F9v90qeLvUrJHCSXG3YmBOheFd+UXegMWE5mNHL2j27QS0gjeuGa1afC0SJvboPxf3gQmhHwaTeoJcXzFovxgIACfKxOU3+uLg+3B9ABHLUjsv5G8TV/k9RzWqGZwheQNGHVOWSt0nUWenheQwscLKTB+HP4RwfhG8OuEBsxJFVHYZLqwW57QYljuHAwmSQ5A1J5ZDjNfnc5m65OxN4BFK/b4KOD6oyI6bHOzRS98lGkX8Mqe3J68IM7xg+siePEFx9KctKN+lE3Ieh+LgpcDLY9aJDrR9C9KM5KdJFPdki/WyhrV+lG2w+haHdLsBX+fwAPrA6n/avYWtilON0X+nr5UeN+CWNvyhmxfYr6rxYKGLbQ2Y8CmnonQGRqmNO/5uztpR6sSHmguZsLRL87q0Wqz1Xr5+wnelTUuRZl2BarB977U7nCbchw0qyBRKOjTY+WEiqpU34Vfgvys1oMUnSHL/lPEEEkoKz1MR+a0vTNeip8n1AdDgSjRFuy9ODkTpFshE3PQZgpp8NrIU/lnuSBVYS2niXNIHgeRlNUnJiP8W/SSDdgG/zI7CANvZgXz+gHNQ5CpxaPlRYoeLswzPHNTbG97ISddhF+Oh1gP5Zhc9o4ESPQMceyhl947R+Ir4i2gyiJQ/xSHkmV8wZ0vyfsnDUPB69sjmnnSECPVdmplc8ucfPZxz5+6/TySRPO0iDw4xzDma3pxIsSdMm4JowukA36Dky/FVdwN2J5HZwkpLr//PbSxWCNpixJHM2WI40Z4Y/g4w8BBHBJCxsSPiXAAI3csiv4ckriapVyKKflAD0t2vl3O4qK8stCQYJRAxcHgLQht2O8vh7BRVSXjnAlczJBa/1gZwlz1rq62XW8/N338qw3Hlrq3zWbJXkOJ9oVrutGo7jzve+L8AYUBOoMhVtjYyV+1UwocgQlXQzUTD0iXW0L8LOM/8NPZ5kIWqY7eIHlBI+AyfO9L2N9Y3wdAHymGc3RSSChgKnNVUOJc1aQG3Im9gSNwiKCRGVbk9nGtDObIzjafaizOf+mp5etfoDQOGq7DmjY3m0Y3bHqfLSrxstU9pHlk2CKiIO/7ZrrppKTGOuz9LOSi+Pa4kjtQrcPU6mPC+h45H0Bo03iK1ikke6JSUuQ5wg/ma/R8qSkCkgsT+FpK4l0NDvc4wmvkucdMut9yH8rc6SVGxMa6fnfBM6HbENX6lHdvuw8ofXGfIQNxwpieLFhtKmfIUyVp9LqTHwlWSSBcqe2sVoJHmJG9wXJYLmZTLxU8xL1IMbXc5/V95Ejg6GLLFfeUgZea5yupyfbN+V98KvfB7BHZOtcdHSbq0FwR82wiB3TDrDp1N2bvvyiJ4ymS/lPSevRMCS7/DMds8Xg0bm3MmNbPQewmRHVdUAI5IbBkl5oe49h7bH68JlInTACSvOMThCtyasxDwncegTczptnmj07C+m/1/PDleSwZc7sOS5j+Bwc+QgmSU59kYNmX5vJaxQQVfbNupW8OF9SmSXNvVkRUEfvyq+qGmeKiIahlFZsn/XuEh0Xof0HnUxxHCRvfLiN5nlpt801S264H6TnhuuRj3h2sFdFmp9fgijmOIxnrF3paiNyS6wxl0gnYZLeTfOZu6n5T8AO4jPKpKX9pzmGizLx+LYhxqczDPwd6MQfiKQCyoae4QXW7AQ1pggGv1h3R4+fJqqVAGsdI0fl+lP6I/z+oyImWIrRlqvmgIF8GdXPa1sF28W7DkRNCbdQFSHBVN8nC6ZKVRqLraQk+epGC17qtHtXy6gKMdnan8/SnZl508No6SwkJghtZ19KIdEcQWyk8Lbv0+1gMJafe5tAzfA4Fo5DCWQEKfUs54ELAD3ghN5adBAnjKmlEE51zxYSRmRW6h9/Vg2DsyG0h3wve0UyUHYHr7u+XH1C9AZX7a9tdic34vk5DrjIpR19yS6dfM3YuJwA4NqEywWj2WutL+o41/8klsgJLcILiAOLIeYnxmHTJ0YIAGpY25oVtyEU7peCeUmVCegGIIpLaLAylZQ+JKM9YqumclF3JK6Smw8PJGPwMjgQMn0MOEa8hIOwmRSWm+0zRQx4BVW4GlorppG3mGrZ3Zs3yt17S9WVsWTxf+Trj9LffUkbWiDQBldXaXX4zgrimmbOk1W4pUjVg/6vKxzb20Tg/LyIbILgd0E0r+lFJbv5he9/1EYAAIaWiwDfNJuzgPZ3qV6Kwv9XLmNDA53rTXXcGkN5XOQrYLuDZ3g3vZcLuu6sNODJxK7wMozhUODNKuccxibRwbfEOGK99xmAsc4SNbRdjZCAWPCuHxS+5oILECuUwx7FYaLbO98WqEHmt/+xY9sVgRwNX2J5LOPtlizKt+b/mqyVjBC8jQBl57syr4xMZs9HsUcMWxComD4ydC+VR9s2IOw4HZBN06kuCanp4dkVMetX86/G9TIAjwTjOpU9ciwVXk8n2Y6GGFtLNgUrjAINQsilI3YMlprXXILZtiV6rj4a2Dxv6Od2ESZKZMRD8ZmkUvmi9RsjGm8NN11AMMUCXck/43rBEos6BzJnOT4m3WBftlPSgt97s5efKQ3pfT42bclKab26XBvBX6HCYX2Y6o8I7zK80JDwZWq0lRyL3uN3RG5i6LGJPVcjSQ9KVhxO3yt9qn/LoHopwlwf4VA4ow8EennTxzUb92b/QRVeR6CZAmbEJ5yrfquBsI0InhqGa7UzLlP/eO/SoJycPQ3P+Ac3h5NMUg1TbAN4W2hL5lifDAEGZYGq20GtEpbolBRpPWyVjcFvPhwoGHK9/P0nWhf4E3gxPRMAU0Spsl8m5kFZQlsRZDgca1q3dU1SF3Zc9YeS9ZuGpnyWfDfLgA4AX0KIh/PPxtW54MeLJv/fRxMek9oioypmb/uGWtoKmKFK4FDAqzTJEXLwwvY+jWV9AqpbVtP98AyeFcZuh1ONUT8JppDdDKz4VDobtjN2hLmwu2Sq4Uchj22zU9uoGS8ReCOMiTb1LubUJGfV4OqpKigfjkn0vptCVoisj1p0OlGuQCiEoMR+Z0w6UIiVXmBjAEkqfEpVFZzVuhGoApeYddgIPl6SAoDH5mHWT5fkRPs+S2eh5GB0PcUHK4nRQG8kcrkQml/qmtDcUAOPQm1GqoYNBw5opoHFS6KSj3Di7Ye1m/UD9Vq7Qqs2ovwZY1893gtCPKvXQL65TaPd+KnKQUYKxmNKyk8ZuMADfPFkWUeKhDZFOMwwD9mheQYLH/aROLrjY4nDx4OVNR222GXhvlF0ike6ADBXJGKMEmxl2Va6sf7f+44S4bZasc4HF2EAQnVDWwM6eccReIGounc5asrVExqwwbuhjaipfx5xLxVz3ld+Vz6zISNUCt43zE1/XIH9dkHqIdTpgUInHd1159xbaNkFdaW06eMqiczibnZz2jvjkbi2Lov30GjsZtoRfLPs9lELXOHdLw12R2NvapeUdH+eCB3B2tdlvqV+5Cj9kxUXvfpGKtHTBbhFTLEVCHDT7EqsNvgRuuCWcW2Ov8PexVMBTqnGw3S2sfF9NGRhuzTjMnMtv6YAb7irOILXxX6k+K5sPQAvKHnh1nHZ1nL8BgElpWIkIRhTyiV5vEApAzzEospVsqu/erxC6QBXlbvbBbf6RI87lTiD4JF7h+8se3RHlPeD+2fkTangEE4YWn7PqLsl8wfuwOR//s961HAELBLqu0esZa5r2CBDY0q3hXqrKP+9pQokPwoqSRcdYiroSCikyYb6VF7ioyxXbVjs/wCjxgXwu7gph/AObtVx70nLzqM3owMuJFBBr1EHejNpbiIq/FtHavSTixue1SnSVwKYapvmFvH9TGQnBJMdxhPnP7Tu6OEQ9Py/+0dr8jZz56aZqC3ePEI3qtJm4yxhsEOwRj9C6gd8yFI8Iytp3LdrE/K00cE8EjSp7m9dRh2BOIiT2JjTiKlMLbzFgUyeeiMXssK4iLUZupycDEiwE/+6Qv4l5CpQH/G6p5oTf6VBnCz/Xk7vaoaJNS3UteWG9jnZetTOUPLOPMsNHKno8Pl9Ek4JYMIWwIWafsHGNmWY2rEwHjO8mo7r1AsqesKEjbJ6VIkrJ/ffO9VTsbU+p/Fa7et5DjOEaqMwv4ocbJE4WsfB7+JB821+Ne+JRmQ5ddhlBfV0fC2zeJ554tPVbdr60p1rqZY7/ZzxoZyMJXE+xHZG+Vvkao0cKvWLRiN7NDdcwzhDyrJ+EhdTw4Yc6jPxnrC6kUmMDQEF/7TT4Hg4C6HKNMPX600tXt7MJl6FImvxj0jef1dXEJT92b1WNgPCvTCku+5F+IBHLI/wc2W/TpSeciwcVki7FS/8Z01+1L00MDrZOa8ghJXFVMbOLI/ckBOXKDi8fa276p2jpRRSDezz1GtyXPcwuu9M4Y0Ck5DS/TyhB/hoB9zIu1OqlTPzATtU8dgxzK3Yv/5H24mxoI5rU7d7BvgdnK9VeTHCv3349e1yO5G1u1ZxUV2/hIAdO1E0yMmuUEVo8rB2evbleguCzP3JcykGG65ON0iFqJ0sB9qxmNX4V4MdXvd6wTum1nzRgyIUvobqhVBcpHCl597I/xnQy5I1I2ujcdxlUV8+IWTs+BMBz+l3hthnmPF9l2VU3+ImztJTvlMBv8OjZBHfHyiEHlrX9wKp3sceIvacsjv850IY2I7UojR1uthZpHbCOyCVYQ1Cfa+V96sMq2KhoqOsKWGFz2hKvYkYcXf7znX44RYnyKDisVr959j7e6iZFhB7CAFX3mNVz0q66ARXqqYX92CDSYI/iNAgUDao/79WNQ0A6JkCj8zRijnb1KDy0T9asj7+//jr8mK+gh1bhviSepiB+ELFsxXwK1lzzY3eAIZ5wKrEJ5JlcKE+SuRyvZSXD3qCuj+xSMZ/1ncI3Bj/gh27813f8pjt2xN9eGLF14XXTeIoKY8ZZNi2j0CC74Q4XEOorrSEVGzIWaaj2BR4XZNPTXtalyU2a0MuS98r1H+oST+ZpeDaOgMip+RMOIshhZWTcASfvH3yg2H+QS/o1LrCM/zIFZJUKozghWn/JQQtZdi1zFFIBO7l4s7MNLqdfTRAAksykko0s19X4zA6gCrWVDA0Xw3G8sao63bZ0N6G5xwoksJn332VF5fJKDnkdlsqLcgq+l9f1dfnKOG4Xwoe3tFdFZkB85g2rLzPjndxOni/GObDaTB8+a0l9sA6NodVKaTsGH4y53Y7rBts2iPkICpJCfyMJTI8p27y2mQEPm4czLMRQM+aIOT3VBW1aMf+KRbr/tfWUwYXpuLuEFirihNxO66MD4v8LqJ+Q9MQnBqCXfNT3O0rnekW7bVySfgf1wSR8HfB0ZoCl2y4tfXw6AVpM772SLFaCnlDh0WuOddMpI4xzL6OStJG54+hUqVadpNE8kAWGon8GK4mGFLmVDDfxnASQsDTEDYNSNaZs4+H0h0sGd0/z5u3KNtJu/tb9+7C6HgP2NLO8elVBrHFaRFf4Oa0aS/iYNijAcAmFHkLBkNdMYfeuttG0joy2SdDQs4Ik3Em9h3dST1fkB7YXME/5HrlD52/aUB5vdBGeTlonzpRlWcIP2ZMd+de9y6zBXEwmyIVUOXjWPiSuaO8rgkp+AlO4uTPIw3LWqwXXjx1x/hzt54CZvj7XqqNgEbAdn59ZRF1GB+Sxed5H1QijMz63T4kwm9b4CvPSAkVJRP3lIRuLDx+S7gMGNNyv6eH5BnH3rGjZAkvjAlAHDT0tNDWejVWcwtTntyqmUeYV72Ez+h4tqOFVucD96EV5oJ5q+eLvDeqBpdAA8BgwvPnA9emBATKpmLfAG362RmibyZjfu9zL+VLlPOfNfHDWThq5tY0GkxssCXWihaT1v5fW8Iob+g9tcjb3TdeXcUjaMiX60EUslYRSjTX5v10wZw81APwkv0wx9FOgyVmCGP2jUYPpJasn6Nu8PjXqAZM7odVipM1cSUyHuxiGIMdcLx/v2fCxs4BvSf11T07nzVwOjjhMRC3MNMj5qBc/aZBcd4bYGVQkjxHbUZntmVjDvE/UtQGNEaqLaBBHpH0cp3p3naPzSKrK9eUPR6t6VoW9xndwbiTN5AXpnFV+YW2/9geXP8z3SDEtJ4Zt4E8qr7AEnuy1FDrC/mR+A91YsMDbIv8u1P/sMh//uVkcjz5C49U9d9KKiAp750p2bdJopaa0ji6tDq0ktddWJuMcQVEDJkVGE98ODa9/pp8j/QVoxqwH0TWyDu6zjMVvws8Qy9JkkWk8weH1ARvFYuINAgiz9eFTQjxHezN1isjsvXGO6JQfgfV9XUr4M8rSOMKxhfhg2y9LLqMarwZkBOIGv/VVgRPNl6OSK9Wjz17+wtHCNZT0yvlSBqDGKONHdCcfZRnz501+G3c/l5USSubVsrJYX9snxmVAmN5pbxx0/10FWOFGx/niBiNh76TuE268x+qaaOst1Zuxkr1tf+n3Z2zZww9Ozl6HeKfsXXp0dCcYzgv2JDoJb7i2hGntz96b6FZESauyMHUuDODii6VbFWsOzLNZJoEl000cDkcxCF7u+XfOFwvyNuUlLdzVSOjVkRBqZmZPHQ0PUfudaTqWA3hJzoIMHr61SfBRn/VA+5N3BYM8ZIIwF8rxoLu5CVEkVfUyVk3eRLA1AwH9oK8KH5oht1m98UIG6iGKUw3JrlO1D5LGBEw6DMcukaKiXRToPG86xHwq83K/HsgICb+RZtIPCTCFOqyYsNsmuu5LBa14JO6aSoD29g9y7R/Y0a7dkF8CScftZ/W9gZECv4lcjrCvTsG/yTemlhXlVfEYWKeUe2s+uBSzNSZ6e97w2wKYYZUxbAEJiOwxkDfRYhIWG0K8H7PtG6qXznkOuvoFnfKM0Lj3dqxpgCFw6aeaR3MqHH7Kf+Y0kmFh0KLq/095JZEq9VUWgWqwyJBmYfHiPBmJcBHbIcXNhpKPTpUf2r7Y05dfB+rfgbyOim6e4xEKJ973RZ9pYeoiva04XxTrdd5zt4OM+7yoOCxkftClPsf9S8YO63AvQZthlUwOpMR2rqxVfzjRATbbx/q/1XW2PgZqVCMmOIoiq0GcuC7Rtz37eHCZ/HDWBEq0DwGS7+fEN+PiE3iW9T1o0mSV87CRmNG6RmuFZmPBljeFM3O4HHzNEzWGjx3W5PPrhekUNLTN3wLkISGKDX6O/L/s1KunBLU7lhbIqm5YBt7JgQ/EMb8Iy1DfQgQee3Br9Pi0P7zyDBIJpagHmI23vN/r3Pg5xFzISl7tXUoPCTjUh4m3epgq76S0QqWO1+2V3iYsHxqGGb3UuNdTTduTY7kE8NBodhpyAAAZQnYdpUJYIMmlC52MakV3t85ipYwV6V54XGFwWR1eQVRtY0wIFLQzPPwCw8n5lxfEyLH+ZmaV/yF0s9cvYwvpe2/mDbMh41uzd4qHVg0T0RFyh3kjYvCXWxCrp1qQ36XAd4ui4DvF8zEUJ/+AP2n6Zl/KZP1W5E8Esg9ctgQAAdbw3aVJ1HeOv/r2qBh9f4t5Cb+yKgEqhKCD3EiO/lD8f1jxAzAu4jy4CbAtjbmW9XIu7R75nBulpAOWUn4MSnfX+DPO8mvZbiDFFTLVmFZax5FLRQPDqC+2azY6JLh5JX4Vxii+Ca+iPDd20Ue3FUxRHFxzfLPZ1kUE8lM8PLXfUiEaNgqdL3woLhM9oilEPniS9uBmLpPJb0kZLrk0yssvKroLgORpi2Gwy6oRhh3McZEveYmXZxTchL9iG43n6k/yrNmmiei6J/DSgisJE3l6dbmocevFDIv30UMJmb05gPRBWGNAPA2n7ejCVx1SYMj3EkS2t6kXuWhFr4DNoXyLCAFXPWjMsTbmxCxJ+SyCtF+Mf0zPcIpiHozKvYgPYj/04wt+PBkdqkjQlhZ6KtN4DxW5O5d5SOsTtCsVZvh4TQiRdC/AFBZ+HhzvL8beIJwuxLxQ2p1jzM577spGjTbdmFYAGCE0wC+8JfYuo6+6zmaSgyh4VVtCOefqEE/NuqKb6U6kOL4oK9eAESS8jggAPGqLbR5YTDa2BTKAAFmqP3J1JHsZZbp4VkWmwwBsOKYEfqBnQWjB8+6cDLlX7/wF0Lg9SdSTsWhwSgj7NFEERxrDKpa0tfbnpiXZNsL720MUPauQPdvWF5T+5hU/sx8GaO25/ZwCyLQ1UM8Orz3RhDEmYVsu+QwpjuEPWsDXwusQHOod+yk2gB9sEYRtG+MmG2b4nGGbyLdOMLjgYwU8IXNLTumZskpuDsorRMAu97VJgpsTdvA5MIbBLExm5qocRvY8sbauWLT1yO2NpaXveYVsyNhfTyXcJNUTK2v0/zrbGWh7WHOCiyUcdQNX1t7eHwCKvl4YJzRFEMTHJpAOfveBH5U2tsLEtdE0nsx4VXB1jgeujr3AhO3WFtkW3bgNgk9gQnHRyxmMOVF0nyyp0w0wKjLI7GE/QsLqqV+4FJb07ZjkxMtJk2LwmgT3vA8pJV++TlXjKMCU3hHUsRi+YcPrEiwOV0V1mR8zBU/Tumza0OCchXu3KOD857oLQm+HM5gnPLgChypr3y3LfWReXDfvFMHz4DM8qjckploQ0qbQbvYopiLpDS6Ir9I5lS6Avpv0TG2FkvFr4lqczAtnwGCGZ6jOW3VRiyAxTOAEmWbFsCTTtw2RHNWEa6S8ywo+2PRqjPCOYJJXkvdw5Wg6z2aXyB3cIh8G9QZOYTMQFsSg/Ow7FMZYMCR7CAAnKfVCIa/cLQkyUO7V2RAoq3571XTzSIYvZLwqnvXUweyKOvKpIECI9q+MS4so6ZmPgBv8kA7qDeXWkNfox70seTxn+06qfjUX2MuPnhon3gPbugtd2NFh7vBW/HCthOw2kziotgyAlWnxdUHNN5KFSh5doEzxLa3eIr2vhT+hgyQgpxfKZcwQgfUzxGp6fY+0tINjN09UBbPMEvYFAhpHLgYzqAOrFK+X05FCDuDtEt+/wzVQtmshoEnIObG4wo3NTpCXLLqQFKogN+MRR/AVTVHd7y4qHkRSvJ4pvfxM8jYwRHzTFKjJvilgG4/c2BK9YRA5snF5uttTXS9W8w2VxQPn57eZah4L0tK6myKO45bxr/PKwiD8v47MBWDrAVUQC9Ki8FaS+m7IaMmXhqwja/WL2Q4Zsj3O1Cv4MPev7bKq+MkshAmvAUPpJtkP2zRAgG0ZFyjebLfurs7OuTBzsQlLpYd4fftbdf6h+ZB/qpSlPYsxq/RfJJjmeaMSPScUdZ+Wsj9MwriCYU3ZOcLjQmRyFJv71J3DpZ//VHOKSCK/2+IX2dGuJr+izMhVl2ZMTUCgWiQbGOKxUo94RENZ45BhfdTds+/36aMQzTj4xxkwdPpLrxn9MA4p+ysxS6MCnQ0vMVsiZeVcbZI5C/NkXOHipRdGuCrf/dT0OQrCOh/hZ+WPhG9rYh6/d3zY4h1RQk0CSWQCLpP3ceR6snKkBHB3xOZBa3I9KT6xg3lOLo0Y4zHJBAucc0tJOleuUUdhazx1fsC9zg9Mnse2JL+ulY+js4lib4jjACW0ZXh8RPSv2HB9TUcZbIpWpAw5xpAcJKx0n1xSTuOwcwsS1CzwQEr8K5fIuXeDLFulOG/yBLipN+ohrY8QCxvVHYFHEIXz0T1O1UMGGkfJFzAHezzFu9YEael9eQakt8Dx21nIkRm2UdMJWBQMygV4LylJNSFAiVSvNdlwo1wckZYgV2Tm9519tLQH8PzA/zpDkFItZwkM05wXrsGDM6FTETvBXro/fTL4XkdGvFfok4zaNmlJnqEou3Thz58yzFHtE0nkUekB9kaUbNBH3Lc8biQxwqMJlxOYg93EZzRiwTnkHc2jUFGNVk5J281HiQPXr485ynXZuzPg8NE4ugX/Y3j+xIEg7DxytqbeUgFVX53yD0Gj9x+lwob0VbTZ9H6J77YVcpFecz+wAF0gqP7/9p7PtPS5clUNdVMCuHv+Ptlxp6eQSAg2q0vUUaqxCrcnOGrILkOUalBIIq8hVM+CGiPoPCgUlelCeUP8JS3kMcTV+JW0pydI2WpQTjskzc+7QDiahWY86shkggwi1a3WVhDoEtIXyB0bHkUxkLGqaDN1SM2fuogI7/wehlaDIwRLcEbpR47La5WFBKJh8f14Zawe/VEGyxijl1HferXHu38YgtBV3UK/cqjcYqghN2UZ9gGval1Py2Z1yaubYZJwyYoF5suS0W8sFeQ95Iu5VOv2oDCrAIOM7NcPoeMedboaWvcWnKGtmHSGXO/AIvmBWPzY7THLu+oJBl3DwClQMsvf6p0FnVdqq6bVI0qutd3uOvaK1qFemJxHtglqUIiXUN3xnmh9vuSvXG2lajq0WPUGkuEjHisioI/xvWvuhY3JB82t+CcCyfZ8LGzY+aQGRj8ixQj5U1M8FYY2P9UmHThnBeUZiP7tAsYIU2guUzBPdcYYlsuDjQ3CXHKL6a4ygIeN/HXmHCixhnaNp29tXQBEkc/BUINmyPNnPf6bOi6//gQI1FPBhmM1g+V6US6HcnfpufZlYSsbGK8gFdMmcl1iFM5jL9eEeRMCRjWK31tiZcyfsf+uxGxVdmb0NFwzCOnb5b00nkcgYVLsQ+rJhm5pG/LedooWtTeebhm2DnPSUtXO2X1MGI1y2L9s/H2Xwj8WsMlXDQ1hv+dWOOQIPT9ormsttzclxSBPJVshV9i+VtuVD1BRMaI1chjh3Y11h6Vglolo9VG5592jrI7oGgUyaaoz9QFYiapl8OaqSfIyFs4N38QJj3d5Qbq6fknG+8Q9KuLh86yecmymAZ1xrLn5lkyqqmV5msp+qFQ9rVcv/wPZPWc82xLRsPVxhe9bEMNJhiFK3Deuxnfr4jQeDVRXBoNAxMON/sC7JYCOpxHlLJDp3l/4IubTyx4d8pA3gvTF+Pw0nBfCJWd6jWdn0pIUdPH2yziYZMAraliNtWzR7rBbfjUuODgwWQEQ2biEzYBZJgPJn0Ied6kE2ZtNDOvxMnj4PJrpj5H1Z2vG/MdZRdE5005+HC0qCjfW3rPkXwRh6EFZDL+vfxqh+Kxx/KGhsCSoLHy9494xnNFaQCB8OjqbrVr+ACwhhugv4GPFCUX79LOp+T0L0nXj02QuB8t3zEX5hinqWpo+IokoQIiFrQQsgPBDHWGYXBM8aCxdUVpbZ/DSBZ4qwp7vRE82oiD3Ijr1pxj0DCvJ1dIrC50XBX0B2/viNr+XT2Z/TaHNPGz9moEIfzo8Xj3wsmkS87yapKZ3SiehyLxfU4DMHl0R4N2m0j/FQHtASniB+VPNvP/mQhXJouHAZk+Ir85MAzqER42k1ruFNIX7BnzgckOG7c5yIr1ljgmZWD+8/kNSbesTkluebF7Qil5GY+9Wd23ah7vpgmAVw8RGa7BV7pF5vbdXjShbToZCPMhc3CMIP5wB4zdPfty5B8mOPTtjYSpbixuH92A2QKLn5/UFxfPWVeMJ403vVUE1Vh+3j8isxrxXxLRe3+RmiJLZMNr0yAIMi2dR0I9jYT15P4mMeeca+QLLHYyWR49BmwFkyldCggC4AotDQhAEUe9QnZ/AQQaxCc1LWv9xKHRf48R9uwX4xLb8KZ3oi5eiB//dA1uS/E5ZLwqXlH5SZNrUGk10AULB+P4nI2eimXYT34G3yDTbLn1bHbYdjqtd3eORu9XcKsdCCw/H69TqD3o38KccUZyWdp3LHMmFWjI1CQRSU0v7AtwDuJurYBv5GsN5kAy6PLEqOlLjr/bVGdx2jj51k1lvI8/hxB9fDQQ4rza9odCW7zfVGWqfmu5Ea/qQzTZVUCwgGQkHYquw/vObOZSUWnSxX984Z1dd7bmdAf+Vhq1f9GBqqyl8+z7n29qaB4ucWbIsaPkRmEYnxlr2qebSD5L1+Yh4BRwu0u7dwGZH56A8znda6Gd7Dya800opx5gH1j8wSXyaNHF/6gANKzrPaqybxovD0q3WcrQcQcKFZXZSn+SkJLz1x3yS1HZXiHc9LxAK21GzytiUT7jbnJTYJRjEcjAlUwvSWbq3aiN7F8tHahmwmWrhFz1362aSrdKELu/eZPFXMtrUO/pynrjM64X7GY0N++rmlUn4R1lxuKR5GjwuqCExCgYWtnI77VokAgLeZy7U0n9GkYihRWiJxuOjbRKevqPM2I23En5EZIaTCdxlTcr58fbTIUDXGAt33E9CFFadAhealddVpdziYoKvfyYaFjSxeb6/yEvXYHEkmSYxttVaIFHSO+NZzCE7yGWTA8R8XYIs1+vOgBEvb7jJUMdMhdh1pyxB5hvFe91R0mUa4+Dj+d34lqheGzFiDDvkq++P/c5em05/YT8TWH8hjPLI68QdcBJJz6ezTAKzyKGI5d+wFPQu47TsSVFqP6W6WyKekW1ZFrrEsQ0c2Dfk6kUTK9hT4Em1yxkp+TNhWhWH857bg5Vq5DsL6sgnnpeKcJ0cDThTCHZBJJ+7qEz7W9Q0nP40P64UzvocZWr8bMIufqXln8utl/BDOzD9chDRBS1yCTONR8fHDbK9NVtFAK5fdv5XEGJGi+ERc5fsDp35oZlJB7ahWFKwAlYNKeDyt8JfCNL7HYYp0j45F9wurp49csgM0nTliPmK1Ac58ELocKYDHyvBDIZkUIatCV+uFmhoByYFdKX/HRNHptegz7ZugwLKY2B++iM4iOg/Q0R1CPOUGP6pTEcLcaxUdbZHI4BKUBmmQJ8pxli0MJkNzvQsS7+cuZw+b3DoKqY3gZrDVba6N+asfZxQPf3ndrFjfZj6pHPbuyxTrTSg7eoiGnj4009y6gM1CnHNInylRwaqqwk9TUoLw8B+fP3Sjasf3ZqU0MA2JZIEvJyDevuzPCIu/nnQghp/5EFdVuQBdS3WDZG5uOr7LJfkgjYKGyLHPVPJK4Up8BybPz9ePxXHEkSAydLIylkhAXnX63eLAKVzjdYq4JE2Mr0Zw7mrHL36zl+O+P+UIli9HcBQ3CFpVBedl6gM+4XU7oxTYMSP3tZXbGhRvR+aXh4IlyLGjwdIW5TWzJMr05TP/oArtkh/tPqLMOzbx3TpOAL34lhGmMTozVY2eJFaljF6ljgg3FO4onmOzRShZh3uhnymrhSGPralcgjq7SsNz8tyL2/o3mecgi+sLlrLNXyKQlxMGosQ/kGjlCr17tGTMes/qzJp4LS8zbA0qEhShk7HMnxgonB/QrZ/WOlA21eh+1lmQCyDCsWZqLyz5o3dBwqySDzxFQtG1PurVJUPBUxKGZA7U9rRlevqJY6PQyz+6+6DJ4JLm4Y110UmvIRGtki0fqhA4GCfmOmo1EeWmVWMfOFasMGt2TwRkb+UB/veS9LkxfXZM4T2FvzLmKt69UQdcp41TT1SvjjKcyZ/gBeh3L3s3Ei6f4jUj2R85eBYltLjq7TVAOET2x1oZ6NqCk9XPM8ftDnmybMYJqn5H+W4UNxy3ZzFs5QsPqVdhsappwjXZ160wPhKkIAtSedudppiWcr0qWgdXW5/Gt6h71msIRCboyI3AsuqFPJkQPxBOmM0UCY7+SK4vePlqSaoPhjVIN07Kk8wRMmYpXuznYl12tfX4uaggaIRKxvKHGB8cfvzf7O2STADGmFrSsJbw1g1xrfHUBL94ttEi/7S4TulC0h7qYAaJO3huwjWlrhJ6d2LFagLqd/VXqLz7RhGwnGk8klmdAJdRHAt6GxhGI9lzLO1IU6/SbxXVsZKm+4tdpDs4tOJFZ3IaMA7j4J2rqz0NSStiyLBBbaS+1wl4F8pptVlecoxl8h3ko/TiYvtfg5XvFiVqhlLUBPUgw8RnANr7gRX4cE+6W+awhOBQAzRlmCP3g2sWPyaic1MpULAy1RuE6bireKS2oMBDuTGLe1q9qHwUBzHwC88+fUX57b2JSEyE1tBMsy2BHANddLKm5M3obOewXjTbh8t75+MVV3ayiF3ZabEtjz5ZoHNXNlHojJHIl1PZnIbRTgAVClCKCUncLI6y1C7CKviGHuB4JfkyTOfqRciaJl1d9fmbWQWwtKHZx8hQjzcfodrrQjwvVQTV3KTqhnAjVgIkST9T0kri5dGL/dilLpuHi/R3h2MeYVtKnizMQpWHnr+Z0KK66dBGlwlPcQmWEzaQxrw+G0g2cm84cXdC+3IzGWWAFu8FGq7ONlkwu2Uq1No4vxIfplesqAGor5qcUUZQIegr/0Vf0rG4AonVLZ8mdKHbDawe8SvDA6dZt166003KsvUTPvtSy55z06b7FGgal9QGJHw1EBIuEjm98Vt8vqa8Qs8Kudb4NtPv0KI8kEp/bRKu2DACyUA+pF7arJvkkkZIlNrOE7eHyGON2i6MozUgR5aLje9gvMQbtZ+9otuprI9jxqv/iZjOOSjANg2ufLAxHkOKOf1AHGBhuQNx6ze381B7V7xcgVqvIQaLvyOlbCWUr5/1tqt4GMs1vajUllnFgvyEaFQLkpoyIdaJJ3XjOJSJA8HVLaOV6UZHbWkjVwL7VkhqW28t+LXoNsTEhp9Hwibcq5Dx6gjl5Emzy9Nv/BCQpdqZgxoVVzZzF8D3Yt0TA5WevKjM1CM88zoDbiMfeOT8wPGPzR7RqvWZ1bTqXuo0Ln7+5bxsAstMVof1KBhmV513eWooTZ9/T0xHtXlHWVTifW2BBTYyXRGTVOde6qArCSzZN5mYQIwS9P9dnTfH7E+kdXoeHz7xnjpTqAPHSt+5PNPTyz2GF5CN5Lr42E3Tf5vB2Xdm91qPNO4hfAPDaYPG0+4KYFGdD9O5DHwO4Q8HYv+ONxc0kNaKuvEtHhEivR9Sz9/3byDAC/MfEFUpJq/Jy3iMqOP7UGaQyr3fRaJF4aNAPOhHPHaC2kehgKOyaJxIFM5o2KCS2aecak5NowZ5Tk4XDYcl3FkUgL8zkC8tsM/nfvoNn8BRsk77vOv6jrW9m7m43isoPLGJPFACrUtUmbCu3rj5S0j6mt6KFC+ucFmcOJTcmfwDywvIqSK7P+nhIiI0CPrpAY+iYkMudrYxvyZC40VryaOhNZl/Qu+4YWD7Tmau+ZlPEkZCY+gJnT/ug/8L02Fw3MJ0aimqIxbHpQwi8D0XIGKKwjpNl923Vcjp6agJ/IWvBLUK+/LoJv13jZMxgODjWW8JCjrU6JZxtLxQ+n/5NC5VPJjD6VYDcSY1mmZz8ZUt2KqOnNEpzyECGfyiThmE1ok4jmWWdDHw4oBUKFi9gO7OTCFUoKQDJ3l4mCuNzy8GsjRzpAlR3yzYPqEy+rKNwCYG2lIC+GLf7jLNSCNUOTMD3tuUbW4i6Yb8dLFWf6UpFvOD2wYgjf9aRezvk1iG1NESLSt8eDe9Auff0CZjjUM/waTbwJgiu5GkrvWRi8kc3Rx+3qv2Z7Rlo7q261ZSwEF7aHrM7yeNYHm3vTw/JLHbhzmhLBRA1KV0dsT/P/l5NKd9Ic5OvY3aPHrGv6FDn2muxciCkDZMCVyLXEt5Ee7nijEZs21BvWNlqtamD8wG5bGhN9lDEkexInMPOaIT1DHYfaD6nRAWD7iaRX5o20aXM6LZA12vdNWRMlnE3y8E8k5QeNpEPd2qpIU3Bk+6gF6f1qqT9yRJcuxIuqQ4yX9SOZHkJinWgMg+NALCFHmDPeM3I0P+BlBDTlmSfhSZ+fAD7Y9TMPtiqwOStgnyVncquydzlBPAVYuUMbDM8Q3bYn7abotaBFS9aKbgE13pqQpAk40dCAEN4XbR/KOsWgqFbGxXjkXKwtCY3utl5x4cNgJEb/PcWT2ir5LS2MaW2p7fxOxujobwfgRMP/mjJ+PoqcHn46ALb+30aBgaR4dzwNEd4PKknU6mUWdeLPb/H0vUr9p9/7NyOEG9JQHyrJBhAv8i90ydtGKGLggAQCbFdLF28nfdw1ru8VudguATAn00+v7DHPD9zX1n9DwqHe6mHjAWGClISK2tR2+ZH4PapwTqdaKZW5l4znSRHUts+H9jCZ7RDEe42aCh+JvFK9HnSRnBaho7CKs1nbA+wqRtHP3Sj9pLhKmMF2uEJkOt8ARdUjHlnlLNnONjEUXxDMnZmxkSYZUHkkYo4fad+uCnsrZJmkLDoB10r2I2LvflFny69ClmCVBEZS/5I0vV4BbPQnII12LkUL/8XUUDGhmBZUnDG4PqKpaio1qGL8XnDDlkjQavLiEkrr37O6JMPKJOJaev0NVTSF9Nr/fsE7HP9yn4Yh6SJzf/Hs15IqjOGRWzyl3Leh2sDA8X2XG5GXgXnQDoI8OE1e3OD65g3R9mks9LlVLmT6CqSkR07CHh9GZom9b5qza+YQvv076WCxiS419wQ8zDj/hghmmaCgMqVtCNg4leo6sN9V3vjsldDDgWlTefbmpvMrqzxM9auK/ENb4eo1uqcwHGt/AqRreLT9lGvOlyF3CD1AzdHjvD//dovnh+ovKTb6GKRm9lQZzUVS3wPW+m/LoARfhIT0N83WYWK2ZhhV1ceASLflJfguth5nk2HC1uTTNNHiyzS9y+TVFlKB1YR2smDo+8pGNa5CJkXFu2xajusD0iC8256gBe6vv5MrqKtvx6zZ7phTFDSK6qUeYTU8oRSA+DZrtWz2VDz0VCkUk/QJvaLUM4VN0MsoecgCpKZvQdL063T9mtKDlSnndypjW5deQSdgd0hT54sFmivp9Tb/cdGAcyCLK3Zx3gorUMX9k9/vf9Z3V4xXhyLwFC+zal/A0TNKXxzM5dJTA/6cG9c4Rfvcas4/ipDzmIF3X/XJjEYE8IqzEHUnhwWFJFokTK/4qBRm5FzRpBrWtWBcsbky5LcxGIqTVMHeth6wNDEKTD+ZfbVqvK32ZjfA11Of8HqUl7u/JeqIry9TeskvAERgJkPjYKEpa/ZK82U1JD+lsgiGDSqBqEPThcp8zHZ+uwpuyuIvwSX0du4Nx0mriq+NQrpJzUToCKTmASTk+3Kq+eMjjpLG3ysEadrGIQUSmN2i3Tb4JuS3GhF9uBcFqLcIy/ak7XZl1Z4G/b1nN6x/PLfiysS7PO0aDoaimXCQnT7RsVUtFOZnB6p8+3PKjPH4Sm0orJy2Musi94jfdXFb0XoC19ffvKAqRrwjpNIN/5E5X20oMv2kog7Lpfgd8iDaeTdEbfzpv1SC923JUbWXZJsl4xX/2ZHRLd6tBlEWbxFjrkcxiskF1mVevHu4BXf0wn/k+Zoz/XAU0Mx7F3g42qOnphqe2phXW19ZrDk4E19b5AHnPr5qegwqdm63JhfAS76OkjqtfGGA7Bm5fCB4ml4iD6mu9WyK69/JJVI8MlA0XwcAFp1FCfbq1cSuIi0Iv3ZfG5u2j/vYrFYN8dXM3J1d/o/77FCoaaCAvy609inf1WzSsBTZomkD+ixh4lhhzOZgUr46qZZymdmizs5yWvTMMU2k5zw1lNG+5h+U67S90hEhLHrHVwFQaafAqTmNU5j/pJ+4mB9BOU4Sg5FQLDwcKJZPn6lwCxN2q0QJHtjLOIClNbkxjJWBr6AwuZzk4NR3qsxRz6iS+HN3wagjrZKYgJ/ylvHdHEVPDRWKK5WZfYXNNbaIIz6a4qaawizy9CFsodOLGZt29CXo098WlbN4aaDQhJRvQ9anDpv/zvyjTfs57zYzg3rZkjyjbBM6OpY0Og5LWZoyi7prjsblGqXpER2zwNuHsjoWCPVMRjzKoGmFXjNzy1MtK5SuKpQS7dRL8APCrOxCpJI0lgvMrQV06XW+vV6b/3YYGWkJ/8US06CvQLFVsJPdpkTJ80qxtvk6UApEo29n8gt2y/2pJnOOvxGH3SRwYcIHRVNV6mJDzY+G03TQz7NTqCFf7iN33lLdDrKE7x8mTylR+TefKotUyz44zwitmJDMZK6dZsJM/NnqbnMXDE3rgwU5su/YrXexq8SkCo0lfUIEdhtwdhEruT5PdZNVWH/6XMjuQfzsgelAH+tHdD0T9iPzd5VHYT0l6qwjDjdEV+G3g+2rz5Ny4N2VIWZPilEH7NcRCXOxzZnidz0EdVY0JQRxTIBOTqKMRM5WFbpn1aliemC60KNU+M68KFhuIdTokW1ahfWspoFZ37N7t2pwrsgMGimcgF9QZ8mJURscTUfrvAXwZ/mVlXGvy9aV1pQFbV0Jwllwry93suM09xUoA+QxM0/yjbc1jFB0Eq6GD8Mfd7lqeItGzeiYahtZ3ZJtwa5JUKozq0srCYidATeZT83UpaEe2yUGz4QKlZcoP4eZD05l7slWwt0hAjKSv9w105Vp/KV+bD5ceP+VEJFtOEgkcfPhwsLNv2UNp3P24RWxmkzqtJjTPOHg122sHEjnriD08jfCWuHz02D997af2xm+tdAKKuh+ogk0rh1SQ5XtMA/WN6byQy2LS59M1QCK5o5HCSwQQzI7mjGHle7l1fRGxzqtRouWNJvmIglo8RQwSSFqeXt+ruvXcZPbGU63iLw9aveXpcc9xvjUH/OpB0eHdZbHzwyYSd/96huyyNeUT3DiqN/xOcJW/RVbMNfP4QCAiFUVcUIfMIqHp3UrGzJUy1THVtAnEAqZHcChl4EC159/Pymh6LuKbXwkguqgbnIBvoFaEE0/BlcL3oGLfaZPsmUr9ai2bP4aYinsEnbySu2Rs3ZMvoC/+e1vfX3GjPynjwNW1ml/mnGYWjFcleVbWWYkEn5cDn9w2tI5QYQFjwad5vhERV24tHqUTHfJIhwaE4UIyIyOQaGod6uzcOTApeLQW1x43WSZJ0F1gxnmiifSgmMj/X19xOXfGpj1tEA0RVYDN0RCpKUfV2PhGxpqxlabUDRV/ID5jhve8gAgXTR2WwigoXSZRcXZPreQKfmz8Vu7WUmO2n2O5Re0huhsgWI2gbcrJdN3l3v6MLqFNWosHFGTUnJ8TfmMeUg5T+3UYtFJyg+763YvZ6v9Qw6DB4CCBeyIAXSKRHLLD80VZd90I4JIhe93SDU6oedUgrSR/XeA7D/XXCiJkOVlA4ZWtodUb01kXsPdRUHxY2skLbsuF/5AuC1wToiz3SEzXQzLeG+QgIMx3fv3h0BFi7Zy5ZDprdzoy1en9t6SMQSPW1WEXi3rGVZ0M/9OLOtSQUtydxD5CYcIk1qJH3yK3tjtK8Pr4UCObGpEQpvjy3B98bTsrTZv5XK800FzTFJ+8VI5eqDe0DMvnD+SEgV/xoR8dvO0gJMqb+vRsXexCmDIFRVB7//qFqOWPmggnuBsSHgRdLjQ4XZoZ+ARe136XeM3jx+Dr4vYrQtg1i5iv2Yxl4BKn3hNg+NzLxj24zkgpKzZN/QKy6UO2hHCuSc+KGnSgYD07AnlWT9rQRpWcT0G26Qs2tTucSCpufwnflC6iqdT1fyO3MEhiBofWrk5E8/dMRyOwTlzbQ+oUAfXS9O9kHL0C2NpOC3IPF3hFDgaeV29F42s0ohrsVI9wD55u6Lpd8LIMi13XCRVBdNwvRdVDuin4B3h5l9+bQh3Dlnuobc+//pfemLGUL0QwvJXiJ0D2Vy2mkZ3pYzWTPpJofM85/wem5H1QoPivvg0xNjGHYAR6aCbgGsoIMq75V92q0SrJQn8xgFesPJeor9pbZFY8Y8bRMtJsUkGJnLc6cngG0kHsDOedzY28EAhOvWjiNga+S37oTeEMl1wTxN1KESVUGf+q7mwIMOeC7GKBa2qltBUURf6f83QiaTjtwrdSAoQzNs8Gon+lakpogKGY/w8MUbeJGZ+mV+TrRJq5tbiLmUzDaVz1qHz31f8JiTxVYPRdC1QAYFkBZbTVMKW2d9dVAbFIL8Orv9L5JtopaNUzGIv5YBdeapyWAJARbYWqp5ZxD4pnfmWW54hN9kyiWaQfWPfKmlt+KfyXKhrmQasGxRqNXidSUreJvqZfjRVlwAK/qJcT5O3vmXR6r61ZRk/6bFI4zK6GZkhv0nQhCWGHTnlW6ySEsdDqrhB0zw4cw5n8QMdAZUdRTthoIdaM6fvSHKKfziklX2kwQsAGGvy1K55gWgnGvgDkFKF0Y/2rhcrht1z95iT5PRiv8jyeLYOFKA7aH0Wp9j+TozCjG/rAIpB5aLHKE67ZdhDBe1NnZPa+ZZFOMOiuCt0P0+oe+vFp7QY5mR5M4Guevs6sYikrKe4U40kmW//ZD1mKbZ6TqoSFkYj/JLgT3vNBX4vK5oK0+ErMC0JxmbdIYO9NASWvxlLAYbDT8fEo6aJcYd58YXhGAbvGLHPrX9PAxJ0dTy2gmmkSuqkx//ZOVQUof8yI3KfhOknC8Fxwdz0Tk6ENUol4dJtSRNsxvs3Oc9yOn58/5UkfZn8r8CW+qtNfmeR332X/Yy+dpXt0Ri4/WSM3fs8Dh0MQGIo83d3ffCs5aKX9qfHPrClw1jDjh9nxDPVkj5PQtvoVLTkV9vLOnYGREbrHcSn18xjBXnyHj5JtG6SBKEOY1BO48T67PRTAsiXesjezOdoHU0QF+4+GBPuw+RLh9pLNXQIyhoxucFwMLGh6CNFhAOzh+dMzxHhUTcL9qpZTE+I3QV2dCxJkBN7GJlm1v0bwCuIlhR8p9E7Sr5opNLQpp4178Xi47j+6M22Zi47yJlpe9kai7jUDmLL6SAlKmRsK42oAFPv1zomV2L3IF95zRI7ZdeZw+Qaiw6wS0glci4nIXDmuZTAz4esCSS47U4E/F1sUgJnzAy3kIyVWePBcg3dOa1/qJZe4bovoKfFOslS+0vhTV79VOlGgGh8CpE1mNiSu05qPg7MMliZ/RbMJryaFKQEPDOIZUYQssxxe7qKZOBZ0uNg4ZgyRzsvMmYfNtnfkyUtuou+a8ZnZS1U08OWifqLVfv/MDe0ouNZkuxy58mUnCnWG2mPb4XEdNI2i2lSRspGQ8KNkj4tYCWG2oSHcjYxsokL/0SVP0opB0yqBaLXKXtXuv45xWF1vY5bsmCQZgzAYl77j9KaQuqK1ELkkAKkNzv2ImWRrVDrC80pdzRrUItSFKhQoBvbuj44ffp5haadmsN/X48GqO0/aEfNFVs+/hUUyralO9YeoMe/IxzmvhpzWyVp+/PFpFeIuH2uipwP5Kmuk4tH/KNS0Y4mtUdkklfQKVYiHju81lwpFOF36YZBn5UPQ8yXH0vb2wDBpMLLc+PE5tpKTDdSfIvbuRCN2VCpLl+UZsZxE1pfiyK/SzpHh9uUH688nXpn/TJ4NkSG2z/Ug7fgxaBhWXDFz6Pf7wpJ2vy0d/nxCLPSD7lnH3YwkLFu7gjKQokMHbEHj8dLmYUI7VdvCy1QoGyeitLzZnmT3o28Uux2x4wCDr4OBzhriqmxxvzF98D1ZYreZ91DzxVXxAe2igYEe/j7bTrhlJBTuztRm+CtA4k1PrYVdLHM8RCV9ZNIartuI2F2U/a40hxiPa2Z3GN0HjrcwDeB4xC1o217npTbsWRxEEqcsOTToYwLIU2EakdrSad+sJQn80Q3EIv82y3wqazgL6T2FfUokORmqP0hpbivR+O1IoUu2E2JE8vrs8f4xfVcySe+A93EQG2ro8mZYe1pGy1ic0L1jEDxM+04M9HaBGspEuGhqzdSYT3/+Adbwi5RTMbajr5VI6dI7YgJYFTjPspcKLUqHiilUciny41daubvWwNwRF+TUtCINyWdAkVgQq8tS04QnKHa/+HcsSmFHGOmcaPH2i+L4eJBFjkID0uXU+E4NNNLb7n0ERGSbW890nzoiYi5eADgKb70FtcXIgDeyGdjRxF3efQszCF3RzKp6VHyfc0Q/5IgxnjxOglA8CH9/no8Hko4Dza4C7+trcTFgqZ/0V72nbM0ueHlg1TnJiHJYojHdWsmQBujaeYWnhkx0JboHkJ/X0uZYrZU9K5Pvo409aib48fB0OqdFoeUuvit8ZCFDiyBt90fqYYdHbJN9dBHLnYvrmTy307ayQ+7y0tcIM/fgRA4A6jhiDP0A/u79GY5tp8YhG7PNHmX8q44OpVy9SANHfVtqSgTQZl7KFtJuK+ghQUIOM6x2Y3LUXdsPCq7EnhRn3eWZmAvzqfjcktUHX622NMlwjwF5sO2PLoBej835WdeqVco7dAVbcQlRsDP+gubN5+TxVKb1B7pk46b0k4Kgd6P87O7obXrWPOzSJqmbO6x+PGjVRUcVb85AeGauxpAGppe2oPJ5eSTF89QLnMeOrGVgKeqh2Ap6gAsBbo9hvth0vBsxZlUhsz2i7lfgnpla3vT3ao2nvRWaAOMkTGdpj3oZetlImAFv5x+kA2GDvOTDNCV7YDw2vd3vjUZOQnb5vldINSpKsBYCpn8XVak2Y2g3kT+cEmoAGFTWzqbMYo4S0BVzNdHD5N3CamrysbyetMkbkRaxeC03Hukvc32jyy5UmKWVmJ6CoyiSgooZa1acoRok15KJ1ODlb0MAFq+Shx2I+X3Td+FJHczQsc5xyrzTwW47/WSGE56gjpp9ONXLj0+2Pl6zB7KvHRozf3RSNkR+8BmNdrcJVL/eMAR5004io8lF+JvYfT06s6Oa9ZdMdT+3jA302m4mWYJBowSyYNDrM/fY8e0Iq5KkxGtiYP5E0aqK3cbs2omLsCItQknDNC9YhMAgTpV9lkT2dl/+zzcLEJMkCXe1hoavPkc1BCj8twyFfqnLdgf5tZSdinV2364Z+eHUjaaF84ZGeYrfOCDDwM1Wawyp54+w4s/084ckWH0zRuH0HVtC7SVIuDlRu5apMDN6QE2th3Jl9qItL32f1QWpUTi8KcnqMR48V7Qe2DVhzaA38mDcKFCpH2apcfEF1Rnav4YdV/xZbEpYQc7iSwT2IojniPTyIFjVtCocED1wsWkup6KIqZ1MP1JA/RkEBICb1y2Gz51Q5pW6rKDXO5KytzgXC08EYhSAjfBa1x8bngxrD84GYy5qqqJ9U8T4FsFO/l8M39lRcCx5rnVOEP1zNt0Rg1o0UziWx+i3MI+f8HI4HNa8B5UebfUso6OHfFxSyK2UJfD6EjyCsx6D7z4r04xOuinJjUp8avjsJJnKQXfGyLk54cuZprXRwrb56vaK3DdrmUbvUhcthyC6S6q9ZkH+HqY/NI+Ys7jzQOm/WFV6y/x54byP6QakkeklsyPuJknFTuO8+2p2P36dUp8CxivtXippJzDKYht2p6zmHJL59ODRiv2Lyy5o0EjhT37CNIdlK4Lwey3ADV+sCncdW8JEX3EwvExZFJexW5NFqCK0BkvWkT5oj985/L+lXI82od0X2AjSLQMwEdy/vnK1aoFWKC2lMd6MYuYkAYgVXweQe04PHwsxBcf58qkHj2xcUIBUy9WWj64Gvspydh82+plw7x8V4AsU2AAn7U4sQk1GNnEgbGJlAhA7mBzmgDD9EyTeSyq4m3UY5oa3XIXsYA3qNjOZ3RiuSXMzojCCkNGMOKo1s//Bj+Wi3vF0VcJo9JU3AonnGhepvfs/qfYWUgZuJbWPAa+wN9CSvNIbdYMte7bMVdgTdWKwsm4l5tWsbR7NyRe6M4LNk/iGlAdROBJ/H3cNRhIk+5XWA1s7s3fUt+VI19hgl9W0QMgYqwNsdAlVwcnTtmvdfj76QBZQT/nHxAYY2DmPSvq2vL02Gtif7NFSAtOTf7OBO4bS1lGi3DAb10VPYgHVGqt0ceT8MlZOcsC5VOnLKSeh7g80S5mkvdVRqD5cbhvUqKAnMGiIvDP/ujf4SfmKDddHaR2n8pNrqS3hud8I/aKyWKs/vlQeSRcmvVKKQkoJ6P9uU3h3BW/c96O0h6UpyOl//OuDoNnWrt6oH6e4TVrq9UxDLHI20KyZU/XBpC9vfF5LtUg3Sk1U7N6irVcecNmGJCM+jUe63gR1a8AbaJg7JvIyyjgpgtmHSy5VynhNG5mlqZE63q/ZjCx1zmuC0+ncMPti0vojtZpnETmUyRqIJ1NMYHTMJJSM6TZ+HGdWpjNk9xwdWEtaXTmvvTKvzXsyk7FhgLP9JcHCYdclO+XFRs8oC0Ys0zJGrDjEDQTcAeVr63wJpH3Qf14WzlGU9fROTjEfB6Yk6V1ATxFYoVicycIAVyqtE8DYY4bNUZcR1037EpJY44i2qS+hiL0oMSdn1i0TYXt0AYZY5izbJiavKNuXYadI8zCXCLXn4LciXpNcSqfOzkwXGO7b47lwrZJTnGz+sMSsfOsiCa0h4HsMeylsR76eGvr19M5e4+Do/3rar8CfKVgyD6g7jSPDHeXNXUjA9ywn+QJ4fnr+ta1hHS/7O5N/BNGt38Os9uV64+qyNLqwBQW0AS7hyfQ5k1y4xzvIRMJmb72BD8tJGwkacXnBZX3ZqXtWGo0FlR818up4f8FF4lVryNx8ShDOLmSxXGb4r169/jrahBnqvCZ4NtCegKEqnNWqSUGy5Dmmva2s+0sOYPs9HO/5Bs8rnWZDwqffpC3jhSIJthdIYCTA8Xgxp2lXjvCcsHhs6M3CR1i0OsSy3IWbh3XwprhH7BCK127HJye1/iweml5UwXaV6jlBnD/9jKJ9EGiIVNy5KoO7LpHDGP/e4NUopbji1fBPQKEHYMP1//kCDVhhKVCaYgsRCQpEae3P7qlQhIePD4fgKrK6rg6ivKZ2vScfchlOEjLZsfC/5UPI6A7M9bHyssKQbweSX2OaA4rK3lU3utqP7d0frLRdiLURJ7TTSPSKDGrSuzFtRTBuyE4E+uaHAy0fPh8kFYUVP0SDEkoTUFrXnBDjHLxpaird28LU1yXAB2GdUQS36x5xYrkV4Ow3muaDSuOuM006hDF5Wv0GpmDShT+CBgSemxRoGfuif+IvA2ig2MccEFBXh5MUs/sv1wLvFef2nL80K2dlcUb3nH4AmvFUQAi2+GIszspASv+GbwrRIt/iXYg+ityIG6FstDvKBC6jKweivJap+lk12LR+9X7aBMldSZ0zS8Go8m+rgIA2qCEivW26j6dLbVEH1YeNZZ6ygkHtwyYX/MAYT4NItW19S7bF+8VXR8zxgtIAdrxLg6uDTtXbY4wYObii9pY5I96t3uUwErpsgdVVuCXitXzTVUu3hjvCTJbrj4VLaInVfFkRLiIRb693MzdqEu5gCteUl0SsmFpZ8lptzU0wRGspE1fl+tzQoItD/VIhP4VU4ru+ou1LYfPXWIJplDoDI6dUKzUoCk37//i2lRFUHGh0FNTpLxgWOAl7c5+H7HvYK+ZfGKas1otvkpIPIdS2xApF6WypBebnxZkNi3IHozwKxZxshb1ahlfh+E8MHQZk0I3ORNNORlWJZsDw77NSVIzE+21qA9ZUQl08KybNKU17ZNK5ehX8Kx2xG+HVKFGR1NBZCuURTcVH3WEgQySeWe0vhEcsfKRWJp6JQ1FgKINUJR9RgOHR7C623V37O+A7bvMWuHtSHL7PqF4N/EKVPYeVVIOEaxr7p4oOi0kY///KpkErLNQrWCy665Hihq6D/BCMI7s+twcwtX4mr5SeDqmogHdc0pMLXZvBrkjoARCMKdY2F1DfvUDawYKzQgdI8CGC1f94saSbJo+7OobBI/yzwCUhv99vAJ7bhplwmJ4Y6ZKASDn7d0O6fLFazkRt1JUCru42ZJcdPCZDCfFg/xXTYn/spjugihVjiuCvEA9laN8+8s+0VRR+pJk/UMS2EaSFldz3H54wNWa+THI+BlcmqVjd/GXTRk7Q0qNR38nuuzsG23/tU3w0A9BHAQaad59FaECUO0mpHcm1dIk68pAgk7jg66/xa9NldDGHRPfhEjOIJYAiCcDNmsfJtKwjryDZIa0CdhdB6th4ZzHyIjGs7BsZz3DGKkAeP9L7KBmWCXlwFEDyCdUHuRO1UZlQzugbi656sX9yelMA6pu2m/wDWdGk6KkXzSVqR1wm4vT0W8O7P8+7DRsGwaJME3qfCDlBqmPDNTKanCKQR8iBegVelAZOJ7rNj0O2oOzMMU49wOt8AmpY/MajXC8G24hApTseYezDebH0DCs2vREgp48MGuJm7StncLyiqEVBHubJkDFDcJDWUNM1CPrR2ftXEO4TijcWN9B0tqeve0ga2k55BlCdYGdEuteriPAokz6VGrMmhya6XkYeMjRAICIXVYaInAjbDTnl4SrQoaIOy7vq1AC83GjSV83j+EZPmamIgrYraPA3Wc0l/Fs5mdQ21yH/T/n7pvT5UIvL+fDbezPEXNH0xI5X6brfrCM4pxu41T+edLe42L7/hF3F/ATkR1oZz2+x+g84gF1oUyeTO05/GJe+fn+11ZIa8Dp9XjVQauJ80D7K73w+7aOHeBQ9Ob1lILtO0rEe8PliBANM9DK/koJTbKXA1ReqrJphemAt+ecuBgFgVbUwSnOgraCpqfy96jvYFkFC+4DxvPuCJxN+e0c4RtOyIosV32fnAGBpwzIRaaeJ6l/3Ano2JRnxxySN6Wlz9AE5kynebpcqdJd/2Fn4/mBgPcf+u7OUp7uUvftUlo3pHk2aykXsF5p4Xei34GWBh361/UhvQs+NmsEdMOkNHtr9aFi99m/oaC4gQxE0qhYnUI5hFu6CbBRxnuIJiA0S/rczkZCYTj3jgYyxa5pjrGxklh7bsjWjXLQpUxshd+8TsaD2abscLo7+943R9gb4HQaZ4fg/XQ/0RLEvfcpZOdvTSrt/+oowxhsyGe+PL57erBe09V35t1n1mVdG03w/fdIdFMqcT9f2/QlPDVJRw9XYBrSPqMYUw0YejadSphB+l3ztwm4Zd7FKY2ZcOJqCLa7B4dSV/RN099Z0Xl44WQnk6cAan2xY1mLFwVtULeqfz9gczkTBVkuFjs7L6IQAK9tf6dXoIGhLYBA3tpzqPY2Ic+P8FdOdcH52U/1nXR1plxGQ21tUIJD2nCBoV8ZVkJCTYsBGijCML4RL0UnOxc6e9PXCAqEfovxplZDWCyfRuf0B556+pEs3UXbIZk1VGdfZY1zjtTizKM646DnaqTrM2g8BF2d0CCMvR44tFYtSwwtCnlvbJERK226ZH64iOkjbevaysf6PJ0HqCaaTg+XANU014EV6z6uVjfx65Ad+YIeQM+W8iaNntCfatYMRuhunRLDct3NuQEpSCeToHN/nUi/AU8mf5FzL12NOgxUBMO8qQquRlPyh1PLJAq54GZw3j3xaiFbprHiiA8FlVV2P+CZAWQT8JFIZJrLs/ZWdvLr5ROFVmBFVnwdSSkGwcQt/OJWipJvAXp2ZrgvTzUsiiBPsfY/ofF5+M/+qCAkwnYoEot8MBMF0xBDvPq8wuDUallb9jaqG9yxOiRorcOuf58g8Q3211NZdNINahWHdmHC5pKozLbwgHK/QizGwTkDHCtA/kqRALWUcmkWwWVV+k1GMKmwspNg3CIFSnbMVC5KgvQy9ppcktPVOmForLmkyWXPIzJH6mlcJiZdkUf0cEXhU75DfalXjAXSiGF5MEkfpQRshrO3i3SLXxYmBdsAM3zQ3073ORZWBeUrUUrW5/pFRsIlE50teSl9KuN9O7ocPFi6WDw1hlt/a1JwlQrEsawqajs9Giwkpr+MnrFUUDmoGdkgBOJyXrsMPaOs5EJtDw/27LqNo+cXj/xsLifHN8+jbDNIiy1bp5cRWgIGibWxN+y7KcAioYkVyjPa+Z2zzd1DVhI0vzvxn3rT/kAfg3W5q/mjl22GMXaxFAbGbrXHelaZ+ttmFFcWlPACeof/kkAcCfmXd77Z9BrLKKYtpMijLA3fqweaDrzsMVsKXivx5WYe6Niw6vj5DAe1D7opl3uNk9w5sJoCWquXbwx932SSTTSYpaxKEU+3rWUaCWQwm3Z+Qd+vpfV0QFcihV4eMi2rVXWpobLdHLvnJX+6CfXF0mJ+5YT9cRJzFRagcg4yk6SUw1AJBf+2fz9IWeHPjE7CckbenSYfmb+JD/2c2N24NGJ3ZswbZpL2MRn/YGdHkbdSIWxgF0vAjEdBwks6+V2M6/XE7agkLkSM5sftpc9ZKbdCTWFbqvcvdtvPLmHfN+MA5ccTc+vTz09Z4iWv7gDVx/Y/Se5wfX0AF+GOLh9JtojYBYXkTq8JJvvai7uGBFmkcJAVJ+foia3eZQStOuDLKGIR+KNh6JHnEWH/wYM3ns20p7QhjDi0q+y5WscudsE0Nwu/bLXP7HIAHoPf2BbnuWBLcOM695natnuNEqfmWXZ2QxroWRnU31ifeYJ72xMyNh6Q+pXprygJ4RczRN8fNe4oYkThHM/uolIMOr1SPFao5vflXRx/N2wyJevfDdHlC+Ye5N2sZMhehd7pRw6h/KFvvgYjuxotfTb5RmTdQAAf/8Wk/Y67HbR5Z435doG1D0JsyKqD1vKbbZMK2LiKQkFaO8EjN2YAkMdeHVQ298jGmllPID94hY5+Y3ZjBbXShfLKQ2yH4H3SKx5u6lOVLh6vFUDfiIw3nj9bdstG4i6bAAxUZ3pXv8Hr+DfFCUKo2rbKB20h9JCuTzwH4v1AELaOkaos4tk3bjEi6nwyurunpf63vu5Mj8ggoDpD5hKKKruIehYgINyE8U0gx1Rjvo2CdCzB0TvqxomuQDzw8yLSMz0IN1dO5PsbKL6fzJ26QtmWeoKdSdhXLNXqvmD+GUKSw6S1DShpycRfURFWCIKLyPa9SCQt00ymd+cIdMInaJXrLgPn871oMjim5kZa2DvqiB1GENxe+18+hRWxB8lJ7LOjAuO5k9IxfSsL0/g89hsD0nBQCGXzce5fBjudE8JNKWJGBRziLFSsMS+RxDuIml1ZjvVdNPj3mI9JVv6Kxb6Xqb54G0oq494rImeMbVib9zzWKbQ6nVwqSGxI7YeQvQXvRQ6EynQ31cX0uLLAXENWPqlBVS53aUAq2MkgIK3skVfXGcZZMNpWOvN3UEMrKD0Cpi1bPSmD8DVvjAAQMKYs6eXl5yAnSCQ9Pl+zvExRsBaQcUb6YQvCU3XotSRXn3josFIeMRvri03folYlt05ggPJ/WiUVmkRQp3rc5SvnpJf4ryuj/IQTZTIeTS+lLYFoBIJtKm08SdJR7kdRH03Su1EdWJ++U6VYeuwMB1nui3bhxbMM1W4M2M0jXnM1jEPDcAPxFywqWhgcxacmWZCDzhJwNVxJejLbdFuzLaEL1HVlHORahly3YAeHiM5kJjAsmsdMY/JQ00Roz6Hf6P37xAld3vD9O66Bm5xtA0vMnsrnRpImSNBUegP6NVVtxXMBOo3hIGLPcKi7PQ4iDr7u1+o0G51bm4qNkJUq+/GS+faMtdY8/Imy/Oxs+9zUQYJTNHeRDyi8b0HEuNP/LmaYS0FEdDnsn2nSsHDrBEms4BJ68e38XlHkKs22oN380bqX2DedUltA3PnT+c3YrBhXEeSGmpZhHgFQAmD2wzDeBxtZGWD7nJvQ+mnrbRJwcQVP/xK4UojM5aq3zFSKsA9kKc5BjXhyXhi8lkNQrJSCB7HCAfoa8zwgFT0jDoFKFfnq/hrAKn0p/v6iitwbnb7OyWZf3QS+txXpU+TJc9gCH4Ydk8sjuXCcDN96x3MN7PRE2VSHCPwy210v9OsXQoiQ/4mNcw1UVD1iQ6ssnsT1iAGXOMw6e0mUavI3fJVOxcAbNaRNg+ZttRCZ98wx1ianslODWad/hiUq2+58vlbi2int7jV9ENS6AD2pJ/1m6Mucw0FoulL3rvV51VFwfOXSYmZBGDQ+D6rhQlwtYvyZoMh4jP+8RlHjzW0x6+bfqJ24kMHXde9nJvqZFleS9qJV+YB5ZRTNngeaZ0D/KE+prt8m1bhMIm7GmDqObkkR+Oe8tXSmMoF9A2ykIiztcdWFJaf1ZkRZby3dTKHQvkVPzyRBdzktFha92qJUy3DDoZQWJSlREzaFYlUpK1QlFkQ9lO4lUMexU52CWUUtknNXdQquhmgXx7SPP0tLS4f1jnNwbRFPmkvoGQ6Tu3Q2tntjTE+2ScnyARGrO4pJb2MtNo6YxOPZT9gsLmHHQBfoH1kfJqI6UamixRkDCkR8AI/CAMD0W7oDGpyC+Qx9xDxZOpOMX4sp8emMqZRcePnZc9auXZEL/NkFLUrVy7ivrs2EpG7/llBh+b6s6Mv60y16J2fXX0BMRNtTSmVZBnhwUykp9oDRUH6y9GIrlhWMJMg44Eo72rl53rdf+KOC7adxUn83gC6rWWMlZluauxJoYCthhxrYYqGrMgCnaB9KyFrIM4Sj13shzk0vlnwc6/CZeGyZze8MxgN4uGEfCcH6Jpye8CrQf6Rb4Cd892M17mfyT8XgaliBckIuc4C7zzmBf0kDrmg73cltaPPcBWFDTW4W3/qjQW9vvRu8NFZqobdXDlJi9NsCXw/VrGWmk4yJDzOiJVU7SrBGp7/owFGwWqPX8BI0lC7XyzG6Pb5UTav7UEWNx/Gm70DmIprlTHXJlanT2FV4v3jEdlk12RWZMYZNv+MIUzub3+ooFDwm1s345Gz76bZHsAq0re4GWvmNnOa7IEnMf4t7mpLNq1+WtZLHaL/51CG8ZTCsgKa7GSUSzWCTibqqVaBkXzkv4Qgrg7xCWUwOvjRV3zRUsOlwUs/caRV+m2LDfPsQPMwsMJiZUVgVJaEd/SdXawmm7+HPcJ3jFNnh/ihXcknKg/PWFO4raDGLYxqfOQsoF5JPnbmxAnrG5slZjCsKEdy+5Kv2n+0wLkdIGgaymwe2700BHaTYSz/M3kmwURAAL/VbuwCZLe804hkyLrJGZGC8oxLNB6aFV1L0TZWBeuJc/qnfIB3GbT9NK2fWeo6xI4BkK+gqE0hkQRr9Yfp3ZfpA0Uz1fAPVhDkNFTqftcqJrGm0BbdxmfaQbCC7PVOoDcmu71Z56kodVQ0da6EysCGE/W4nu6AHcyEETesj6Z8tAe2VdZg3LVolq7DM1zukzFM4hSwfg0kMZsZjrDdV61Ia8jbdt00VHaEEJwtDXn01g6Wcg6yjRvZrNQ+Bi8xBBJa494GDTt9+9KoqbOw8ljzLaAzYyQVRXa338XngeueCtoMKbQ1+2aNlU0LpEoymjv9Fhyc8j9T6a4IWWrmWC50CixUWtiy9AlO+vHjZykaHVFwFoPi0hJbifxnJVTVc31GPBLTW+26sLkrN2m9H8pkq5KPrv8OPwRI2ikQ0yuDmVANCbjSfk6Oa1ImWg5AWqGk+BSnBfJbzOgL6xbdsBI0FMhbI4L24kZBkmdHVX01z8o978uCfyHGazTGXjSSAOAyzsdUA5Hk9IsP8IAaDIb1vMdpfdKVOs0bFGPjkHa07ZivwQYfKkjmAkC7ECG7J6R4ko0nKS8ba7TaMtFSEiA6W6tfz66uRoO8fEGRoWWgca3+OhaZbdkR9W/qhPm1SbPXlrbR3JwmfkiSBJjU1J9WWt00Tvi4CaYFxjpuIWbVjsrvUtLrBY2lvB0OwWAmlPwZTvuvvX6OxFcPrDpXvGIDDPUcSrzX6KQWsETWhTKBQ=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B8B7B9EC50D84686AAAD4098783FD4" ma:contentTypeVersion="2" ma:contentTypeDescription="Create a new document." ma:contentTypeScope="" ma:versionID="a7a82a68beb88968fb935b4545f4b591">
  <xsd:schema xmlns:xsd="http://www.w3.org/2001/XMLSchema" xmlns:xs="http://www.w3.org/2001/XMLSchema" xmlns:p="http://schemas.microsoft.com/office/2006/metadata/properties" xmlns:ns2="abf27a4b-0855-4696-9a36-93e890b511e0" targetNamespace="http://schemas.microsoft.com/office/2006/metadata/properties" ma:root="true" ma:fieldsID="841d737819eae57712bdd14d7b172a8a" ns2:_="">
    <xsd:import namespace="abf27a4b-0855-4696-9a36-93e890b511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27a4b-0855-4696-9a36-93e890b511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75B744-15EC-4E06-8B10-80D624B1134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5576025-089F-49F1-A7ED-9D1ADB7AC1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E476CF-B9AB-48A2-B3B2-5DF267F41C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f27a4b-0855-4696-9a36-93e890b511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4497</TotalTime>
  <Words>1504</Words>
  <Application>Microsoft Office PowerPoint</Application>
  <PresentationFormat>On-screen Show (4:3)</PresentationFormat>
  <Paragraphs>245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MBTA Default Template</vt:lpstr>
      <vt:lpstr>MBTATemplate</vt:lpstr>
      <vt:lpstr>Lean at the MBTA</vt:lpstr>
      <vt:lpstr>Executive summary</vt:lpstr>
      <vt:lpstr>Recap: What is Lean</vt:lpstr>
      <vt:lpstr>Recap: Our Lean framework</vt:lpstr>
      <vt:lpstr>Promotion: First wave of Lean Liaisons trained, with ~10 projects completed and ~20 additional underway</vt:lpstr>
      <vt:lpstr>Lean Case Study - Everett Subway: Non-standard process for handling inbound &amp; outbound components, negatively impacting Car Houses</vt:lpstr>
      <vt:lpstr>Recap: $30M target set across entire organization for FY19 budget</vt:lpstr>
      <vt:lpstr>For FY19, $30M target has been operationalized across 25 departments, but 65% concentrated in 2 key areas</vt:lpstr>
      <vt:lpstr>For FY19, top down and bottom-up support for continuous improvement and budget adherence</vt:lpstr>
      <vt:lpstr>To hit targets, greatest focus is on key garages and car houses to develop new processes</vt:lpstr>
      <vt:lpstr>In Bus Maintenance, the plan for FY19 will build on the work done to date to decrease costs and increase productivity</vt:lpstr>
      <vt:lpstr>APPENDIX: Example list of Lean projects completed to date or in implementation (not exhaustive)</vt:lpstr>
      <vt:lpstr>APPENDIX: Gloss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Roundtable</dc:title>
  <dc:creator>Fuller, Mark</dc:creator>
  <cp:lastModifiedBy>NP</cp:lastModifiedBy>
  <cp:revision>1489</cp:revision>
  <cp:lastPrinted>2018-06-25T12:31:48Z</cp:lastPrinted>
  <dcterms:created xsi:type="dcterms:W3CDTF">2016-05-02T13:07:16Z</dcterms:created>
  <dcterms:modified xsi:type="dcterms:W3CDTF">2018-06-25T14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B8B7B9EC50D84686AAAD4098783FD4</vt:lpwstr>
  </property>
</Properties>
</file>